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80.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9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1"/>
  </p:sldMasterIdLst>
  <p:notesMasterIdLst>
    <p:notesMasterId r:id="rId28"/>
  </p:notesMasterIdLst>
  <p:handoutMasterIdLst>
    <p:handoutMasterId r:id="rId29"/>
  </p:handoutMasterIdLst>
  <p:sldIdLst>
    <p:sldId id="317" r:id="rId2"/>
    <p:sldId id="360" r:id="rId3"/>
    <p:sldId id="336" r:id="rId4"/>
    <p:sldId id="337" r:id="rId5"/>
    <p:sldId id="361" r:id="rId6"/>
    <p:sldId id="341" r:id="rId7"/>
    <p:sldId id="348" r:id="rId8"/>
    <p:sldId id="363" r:id="rId9"/>
    <p:sldId id="340" r:id="rId10"/>
    <p:sldId id="339" r:id="rId11"/>
    <p:sldId id="347" r:id="rId12"/>
    <p:sldId id="350" r:id="rId13"/>
    <p:sldId id="343" r:id="rId14"/>
    <p:sldId id="364" r:id="rId15"/>
    <p:sldId id="346" r:id="rId16"/>
    <p:sldId id="345" r:id="rId17"/>
    <p:sldId id="352" r:id="rId18"/>
    <p:sldId id="365" r:id="rId19"/>
    <p:sldId id="351" r:id="rId20"/>
    <p:sldId id="286" r:id="rId21"/>
    <p:sldId id="366" r:id="rId22"/>
    <p:sldId id="367" r:id="rId23"/>
    <p:sldId id="368" r:id="rId24"/>
    <p:sldId id="369" r:id="rId25"/>
    <p:sldId id="370" r:id="rId26"/>
    <p:sldId id="371" r:id="rId27"/>
  </p:sldIdLst>
  <p:sldSz cx="9144000" cy="6858000" type="screen4x3"/>
  <p:notesSz cx="7099300" cy="10234613"/>
  <p:custDataLst>
    <p:tags r:id="rId30"/>
  </p:custDataLst>
  <p:defaultTextStyle>
    <a:defPPr>
      <a:defRPr lang="de-DE"/>
    </a:defPPr>
    <a:lvl1pPr algn="l" defTabSz="457200" rtl="0" fontAlgn="base">
      <a:spcBef>
        <a:spcPct val="0"/>
      </a:spcBef>
      <a:spcAft>
        <a:spcPct val="0"/>
      </a:spcAft>
      <a:defRPr kern="1200">
        <a:solidFill>
          <a:schemeClr val="tx1"/>
        </a:solidFill>
        <a:latin typeface="Tele-GroteskFet"/>
        <a:ea typeface="+mn-ea"/>
        <a:cs typeface="+mn-cs"/>
      </a:defRPr>
    </a:lvl1pPr>
    <a:lvl2pPr marL="457200" algn="l" defTabSz="457200" rtl="0" fontAlgn="base">
      <a:spcBef>
        <a:spcPct val="0"/>
      </a:spcBef>
      <a:spcAft>
        <a:spcPct val="0"/>
      </a:spcAft>
      <a:defRPr kern="1200">
        <a:solidFill>
          <a:schemeClr val="tx1"/>
        </a:solidFill>
        <a:latin typeface="Tele-GroteskFet"/>
        <a:ea typeface="+mn-ea"/>
        <a:cs typeface="+mn-cs"/>
      </a:defRPr>
    </a:lvl2pPr>
    <a:lvl3pPr marL="914400" algn="l" defTabSz="457200" rtl="0" fontAlgn="base">
      <a:spcBef>
        <a:spcPct val="0"/>
      </a:spcBef>
      <a:spcAft>
        <a:spcPct val="0"/>
      </a:spcAft>
      <a:defRPr kern="1200">
        <a:solidFill>
          <a:schemeClr val="tx1"/>
        </a:solidFill>
        <a:latin typeface="Tele-GroteskFet"/>
        <a:ea typeface="+mn-ea"/>
        <a:cs typeface="+mn-cs"/>
      </a:defRPr>
    </a:lvl3pPr>
    <a:lvl4pPr marL="1371600" algn="l" defTabSz="457200" rtl="0" fontAlgn="base">
      <a:spcBef>
        <a:spcPct val="0"/>
      </a:spcBef>
      <a:spcAft>
        <a:spcPct val="0"/>
      </a:spcAft>
      <a:defRPr kern="1200">
        <a:solidFill>
          <a:schemeClr val="tx1"/>
        </a:solidFill>
        <a:latin typeface="Tele-GroteskFet"/>
        <a:ea typeface="+mn-ea"/>
        <a:cs typeface="+mn-cs"/>
      </a:defRPr>
    </a:lvl4pPr>
    <a:lvl5pPr marL="1828800" algn="l" defTabSz="457200" rtl="0" fontAlgn="base">
      <a:spcBef>
        <a:spcPct val="0"/>
      </a:spcBef>
      <a:spcAft>
        <a:spcPct val="0"/>
      </a:spcAft>
      <a:defRPr kern="1200">
        <a:solidFill>
          <a:schemeClr val="tx1"/>
        </a:solidFill>
        <a:latin typeface="Tele-GroteskFet"/>
        <a:ea typeface="+mn-ea"/>
        <a:cs typeface="+mn-cs"/>
      </a:defRPr>
    </a:lvl5pPr>
    <a:lvl6pPr marL="2286000" algn="l" defTabSz="914400" rtl="0" eaLnBrk="1" latinLnBrk="0" hangingPunct="1">
      <a:defRPr kern="1200">
        <a:solidFill>
          <a:schemeClr val="tx1"/>
        </a:solidFill>
        <a:latin typeface="Tele-GroteskFet"/>
        <a:ea typeface="+mn-ea"/>
        <a:cs typeface="+mn-cs"/>
      </a:defRPr>
    </a:lvl6pPr>
    <a:lvl7pPr marL="2743200" algn="l" defTabSz="914400" rtl="0" eaLnBrk="1" latinLnBrk="0" hangingPunct="1">
      <a:defRPr kern="1200">
        <a:solidFill>
          <a:schemeClr val="tx1"/>
        </a:solidFill>
        <a:latin typeface="Tele-GroteskFet"/>
        <a:ea typeface="+mn-ea"/>
        <a:cs typeface="+mn-cs"/>
      </a:defRPr>
    </a:lvl7pPr>
    <a:lvl8pPr marL="3200400" algn="l" defTabSz="914400" rtl="0" eaLnBrk="1" latinLnBrk="0" hangingPunct="1">
      <a:defRPr kern="1200">
        <a:solidFill>
          <a:schemeClr val="tx1"/>
        </a:solidFill>
        <a:latin typeface="Tele-GroteskFet"/>
        <a:ea typeface="+mn-ea"/>
        <a:cs typeface="+mn-cs"/>
      </a:defRPr>
    </a:lvl8pPr>
    <a:lvl9pPr marL="3657600" algn="l" defTabSz="914400" rtl="0" eaLnBrk="1" latinLnBrk="0" hangingPunct="1">
      <a:defRPr kern="1200">
        <a:solidFill>
          <a:schemeClr val="tx1"/>
        </a:solidFill>
        <a:latin typeface="Tele-GroteskFe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showPr>
  <p:clrMru>
    <a:srgbClr val="666666"/>
    <a:srgbClr val="368F9A"/>
    <a:srgbClr val="427BAB"/>
    <a:srgbClr val="64B9E4"/>
    <a:srgbClr val="9F4C97"/>
    <a:srgbClr val="EDA95A"/>
    <a:srgbClr val="FDD167"/>
    <a:srgbClr val="3C729E"/>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0913" autoAdjust="0"/>
    <p:restoredTop sz="96341" autoAdjust="0"/>
  </p:normalViewPr>
  <p:slideViewPr>
    <p:cSldViewPr snapToGrid="0" snapToObjects="1">
      <p:cViewPr>
        <p:scale>
          <a:sx n="75" d="100"/>
          <a:sy n="75" d="100"/>
        </p:scale>
        <p:origin x="102" y="78"/>
      </p:cViewPr>
      <p:guideLst>
        <p:guide orient="horz" pos="210"/>
        <p:guide orient="horz" pos="710"/>
        <p:guide orient="horz" pos="1117"/>
        <p:guide orient="horz" pos="829"/>
        <p:guide orient="horz" pos="3634"/>
        <p:guide orient="horz" pos="3815"/>
        <p:guide orient="horz" pos="4124"/>
        <p:guide orient="horz" pos="3999"/>
        <p:guide pos="2922"/>
        <p:guide pos="201"/>
        <p:guide pos="5556"/>
        <p:guide pos="2838"/>
        <p:guide pos="1560"/>
        <p:guide pos="1470"/>
        <p:guide pos="4197"/>
        <p:guide pos="428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snapToObjects="1">
      <p:cViewPr varScale="1">
        <p:scale>
          <a:sx n="93" d="100"/>
          <a:sy n="93" d="100"/>
        </p:scale>
        <p:origin x="-5460" y="-120"/>
      </p:cViewPr>
      <p:guideLst>
        <p:guide orient="horz" pos="3224"/>
        <p:guide pos="309"/>
        <p:guide pos="4163"/>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31.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sz="quarter" idx="1"/>
          </p:nvPr>
        </p:nvSpPr>
        <p:spPr bwMode="gray">
          <a:xfrm>
            <a:off x="5068888" y="9647238"/>
            <a:ext cx="1150937"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pPr>
              <a:defRPr/>
            </a:pPr>
            <a:fld id="{261781DF-DFD3-48CE-913B-76DDFC1495D3}" type="datetimeFigureOut">
              <a:rPr lang="de-DE"/>
              <a:pPr>
                <a:defRPr/>
              </a:pPr>
              <a:t>11.09.2013</a:t>
            </a:fld>
            <a:endParaRPr lang="de-DE"/>
          </a:p>
        </p:txBody>
      </p:sp>
      <p:sp>
        <p:nvSpPr>
          <p:cNvPr id="4" name="Fußzeilenplatzhalter 3"/>
          <p:cNvSpPr>
            <a:spLocks noGrp="1"/>
          </p:cNvSpPr>
          <p:nvPr>
            <p:ph type="ftr" sz="quarter" idx="2"/>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pPr>
              <a:defRPr/>
            </a:pPr>
            <a:r>
              <a:rPr lang="de-DE"/>
              <a:t>– </a:t>
            </a:r>
            <a:r>
              <a:rPr lang="de-DE" err="1"/>
              <a:t>Strictly</a:t>
            </a:r>
            <a:r>
              <a:rPr lang="de-DE"/>
              <a:t> </a:t>
            </a:r>
            <a:r>
              <a:rPr lang="de-DE" err="1"/>
              <a:t>confidential</a:t>
            </a:r>
            <a:r>
              <a:rPr lang="de-DE"/>
              <a:t>, </a:t>
            </a:r>
            <a:r>
              <a:rPr lang="de-DE" err="1"/>
              <a:t>Confidential</a:t>
            </a:r>
            <a:r>
              <a:rPr lang="de-DE"/>
              <a:t>, Internal – Autor / Thema der Präsentation</a:t>
            </a:r>
          </a:p>
        </p:txBody>
      </p:sp>
      <p:sp>
        <p:nvSpPr>
          <p:cNvPr id="5" name="Foliennummernplatzhalter 4"/>
          <p:cNvSpPr>
            <a:spLocks noGrp="1"/>
          </p:cNvSpPr>
          <p:nvPr>
            <p:ph type="sldNum" sz="quarter" idx="3"/>
          </p:nvPr>
        </p:nvSpPr>
        <p:spPr bwMode="gray">
          <a:xfrm>
            <a:off x="6362700" y="9647238"/>
            <a:ext cx="490538"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a:latin typeface="+mn-lt"/>
              </a:defRPr>
            </a:lvl1pPr>
          </a:lstStyle>
          <a:p>
            <a:pPr>
              <a:defRPr/>
            </a:pPr>
            <a:fld id="{DEE9E789-7C6E-441C-AE20-23B7D46E6833}" type="slidenum">
              <a:rPr lang="de-DE"/>
              <a:pPr>
                <a:defRPr/>
              </a:pPr>
              <a:t>‹Nr.›</a:t>
            </a:fld>
            <a:endParaRPr lang="de-DE" dirty="0"/>
          </a:p>
        </p:txBody>
      </p:sp>
      <p:sp>
        <p:nvSpPr>
          <p:cNvPr id="34"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spcBef>
                <a:spcPts val="0"/>
              </a:spcBef>
              <a:spcAft>
                <a:spcPts val="0"/>
              </a:spcAft>
              <a:defRPr/>
            </a:pPr>
            <a:endParaRPr lang="de-DE">
              <a:latin typeface="+mn-lt"/>
            </a:endParaRPr>
          </a:p>
        </p:txBody>
      </p:sp>
      <p:pic>
        <p:nvPicPr>
          <p:cNvPr id="452614"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bwMode="gray">
          <a:xfrm>
            <a:off x="477838" y="1012825"/>
            <a:ext cx="6113462" cy="4586288"/>
          </a:xfrm>
          <a:prstGeom prst="rect">
            <a:avLst/>
          </a:prstGeom>
          <a:noFill/>
          <a:ln w="3175">
            <a:solidFill>
              <a:schemeClr val="tx1"/>
            </a:solidFill>
          </a:ln>
        </p:spPr>
        <p:txBody>
          <a:bodyPr vert="horz" lIns="99048" tIns="49524" rIns="99048" bIns="49524" rtlCol="0" anchor="ctr"/>
          <a:lstStyle/>
          <a:p>
            <a:pPr lvl="0"/>
            <a:endParaRPr lang="de-DE" noProof="0"/>
          </a:p>
        </p:txBody>
      </p:sp>
      <p:sp>
        <p:nvSpPr>
          <p:cNvPr id="5" name="Notizenplatzhalter 4"/>
          <p:cNvSpPr>
            <a:spLocks noGrp="1"/>
          </p:cNvSpPr>
          <p:nvPr>
            <p:ph type="body" sz="quarter" idx="3"/>
          </p:nvPr>
        </p:nvSpPr>
        <p:spPr bwMode="gray">
          <a:xfrm>
            <a:off x="482600" y="5765800"/>
            <a:ext cx="6127750" cy="3743325"/>
          </a:xfrm>
          <a:prstGeom prst="rect">
            <a:avLst/>
          </a:prstGeom>
        </p:spPr>
        <p:txBody>
          <a:bodyPr vert="horz" wrap="square" lIns="0" tIns="0" rIns="0" bIns="0"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8" name="Datumsplatzhalter 2"/>
          <p:cNvSpPr>
            <a:spLocks noGrp="1"/>
          </p:cNvSpPr>
          <p:nvPr>
            <p:ph type="dt" sz="quarter" idx="1"/>
          </p:nvPr>
        </p:nvSpPr>
        <p:spPr bwMode="gray">
          <a:xfrm>
            <a:off x="5070475" y="9647238"/>
            <a:ext cx="1150938" cy="288925"/>
          </a:xfrm>
          <a:prstGeom prst="rect">
            <a:avLst/>
          </a:prstGeom>
        </p:spPr>
        <p:txBody>
          <a:bodyPr vert="horz" wrap="square" lIns="0" tIns="0" rIns="0" bIns="0" numCol="1" anchor="ctr" anchorCtr="0" compatLnSpc="1">
            <a:prstTxWarp prst="textNoShape">
              <a:avLst/>
            </a:prstTxWarp>
          </a:bodyPr>
          <a:lstStyle>
            <a:lvl1pPr algn="ctr">
              <a:lnSpc>
                <a:spcPct val="100000"/>
              </a:lnSpc>
              <a:spcBef>
                <a:spcPct val="0"/>
              </a:spcBef>
              <a:buClrTx/>
              <a:buSzTx/>
              <a:buFontTx/>
              <a:buNone/>
              <a:defRPr sz="1200">
                <a:latin typeface="Tele-GroteskNor" pitchFamily="2" charset="0"/>
              </a:defRPr>
            </a:lvl1pPr>
          </a:lstStyle>
          <a:p>
            <a:pPr>
              <a:defRPr/>
            </a:pPr>
            <a:fld id="{2C925357-307B-4973-B9DD-933ED0228841}" type="datetimeFigureOut">
              <a:rPr lang="de-DE"/>
              <a:pPr>
                <a:defRPr/>
              </a:pPr>
              <a:t>11.09.2013</a:t>
            </a:fld>
            <a:endParaRPr lang="de-DE"/>
          </a:p>
        </p:txBody>
      </p:sp>
      <p:sp>
        <p:nvSpPr>
          <p:cNvPr id="9" name="Fußzeilenplatzhalter 3"/>
          <p:cNvSpPr>
            <a:spLocks noGrp="1"/>
          </p:cNvSpPr>
          <p:nvPr>
            <p:ph type="ftr" sz="quarter" idx="4"/>
          </p:nvPr>
        </p:nvSpPr>
        <p:spPr bwMode="gray">
          <a:xfrm>
            <a:off x="492125" y="9647238"/>
            <a:ext cx="4679950" cy="288925"/>
          </a:xfrm>
          <a:prstGeom prst="rect">
            <a:avLst/>
          </a:prstGeom>
        </p:spPr>
        <p:txBody>
          <a:bodyPr vert="horz" wrap="square" lIns="0" tIns="0" rIns="0" bIns="0" numCol="1" anchor="ctr" anchorCtr="0" compatLnSpc="1">
            <a:prstTxWarp prst="textNoShape">
              <a:avLst/>
            </a:prstTxWarp>
          </a:bodyPr>
          <a:lstStyle>
            <a:lvl1pPr>
              <a:lnSpc>
                <a:spcPct val="100000"/>
              </a:lnSpc>
              <a:spcBef>
                <a:spcPct val="0"/>
              </a:spcBef>
              <a:buClrTx/>
              <a:buSzTx/>
              <a:buFontTx/>
              <a:buNone/>
              <a:defRPr sz="1200">
                <a:latin typeface="Tele-GroteskNor" pitchFamily="2" charset="0"/>
              </a:defRPr>
            </a:lvl1pPr>
          </a:lstStyle>
          <a:p>
            <a:pPr>
              <a:defRPr/>
            </a:pPr>
            <a:r>
              <a:rPr lang="de-DE"/>
              <a:t>– </a:t>
            </a:r>
            <a:r>
              <a:rPr lang="de-DE" err="1" smtClean="0"/>
              <a:t>Strictly</a:t>
            </a:r>
            <a:r>
              <a:rPr lang="de-DE" smtClean="0"/>
              <a:t> </a:t>
            </a:r>
            <a:r>
              <a:rPr lang="de-DE" err="1" smtClean="0"/>
              <a:t>confidential</a:t>
            </a:r>
            <a:r>
              <a:rPr lang="de-DE" smtClean="0"/>
              <a:t>, </a:t>
            </a:r>
            <a:r>
              <a:rPr lang="de-DE" err="1" smtClean="0"/>
              <a:t>Confidential</a:t>
            </a:r>
            <a:r>
              <a:rPr lang="de-DE" smtClean="0"/>
              <a:t>, Internal– </a:t>
            </a:r>
            <a:r>
              <a:rPr lang="de-DE"/>
              <a:t>Autor / Thema der Präsentation</a:t>
            </a:r>
          </a:p>
        </p:txBody>
      </p:sp>
      <p:sp>
        <p:nvSpPr>
          <p:cNvPr id="10" name="Foliennummernplatzhalter 4"/>
          <p:cNvSpPr>
            <a:spLocks noGrp="1"/>
          </p:cNvSpPr>
          <p:nvPr>
            <p:ph type="sldNum" sz="quarter" idx="5"/>
          </p:nvPr>
        </p:nvSpPr>
        <p:spPr bwMode="gray">
          <a:xfrm>
            <a:off x="6364288" y="9647238"/>
            <a:ext cx="490537" cy="288925"/>
          </a:xfrm>
          <a:prstGeom prst="rect">
            <a:avLst/>
          </a:prstGeom>
        </p:spPr>
        <p:txBody>
          <a:bodyPr vert="horz" lIns="0" tIns="0" rIns="0" bIns="0" rtlCol="0" anchor="ctr" anchorCtr="0"/>
          <a:lstStyle>
            <a:lvl1pPr algn="l" fontAlgn="auto">
              <a:lnSpc>
                <a:spcPct val="100000"/>
              </a:lnSpc>
              <a:spcBef>
                <a:spcPts val="0"/>
              </a:spcBef>
              <a:spcAft>
                <a:spcPts val="0"/>
              </a:spcAft>
              <a:buClrTx/>
              <a:buSzTx/>
              <a:buFontTx/>
              <a:buNone/>
              <a:defRPr sz="1200">
                <a:solidFill>
                  <a:schemeClr val="tx1"/>
                </a:solidFill>
                <a:latin typeface="+mn-lt"/>
              </a:defRPr>
            </a:lvl1pPr>
          </a:lstStyle>
          <a:p>
            <a:pPr>
              <a:defRPr/>
            </a:pPr>
            <a:fld id="{34BB54F5-119C-4B40-B2FE-8716E3321280}" type="slidenum">
              <a:rPr lang="de-DE"/>
              <a:pPr>
                <a:defRPr/>
              </a:pPr>
              <a:t>‹Nr.›</a:t>
            </a:fld>
            <a:endParaRPr lang="de-DE" dirty="0"/>
          </a:p>
        </p:txBody>
      </p:sp>
      <p:sp>
        <p:nvSpPr>
          <p:cNvPr id="40" name="Freeform 5"/>
          <p:cNvSpPr>
            <a:spLocks noChangeAspect="1" noEditPoints="1"/>
          </p:cNvSpPr>
          <p:nvPr userDrawn="1"/>
        </p:nvSpPr>
        <p:spPr bwMode="black">
          <a:xfrm>
            <a:off x="490538" y="169863"/>
            <a:ext cx="547687" cy="266700"/>
          </a:xfrm>
          <a:custGeom>
            <a:avLst/>
            <a:gdLst/>
            <a:ahLst/>
            <a:cxnLst>
              <a:cxn ang="0">
                <a:pos x="1" y="604"/>
              </a:cxn>
              <a:cxn ang="0">
                <a:pos x="274" y="604"/>
              </a:cxn>
              <a:cxn ang="0">
                <a:pos x="274" y="871"/>
              </a:cxn>
              <a:cxn ang="0">
                <a:pos x="1" y="871"/>
              </a:cxn>
              <a:cxn ang="0">
                <a:pos x="1" y="604"/>
              </a:cxn>
              <a:cxn ang="0">
                <a:pos x="650" y="1032"/>
              </a:cxn>
              <a:cxn ang="0">
                <a:pos x="688" y="1197"/>
              </a:cxn>
              <a:cxn ang="0">
                <a:pos x="797" y="1237"/>
              </a:cxn>
              <a:cxn ang="0">
                <a:pos x="875" y="1238"/>
              </a:cxn>
              <a:cxn ang="0">
                <a:pos x="875" y="1313"/>
              </a:cxn>
              <a:cxn ang="0">
                <a:pos x="219" y="1313"/>
              </a:cxn>
              <a:cxn ang="0">
                <a:pos x="219" y="1238"/>
              </a:cxn>
              <a:cxn ang="0">
                <a:pos x="335" y="1231"/>
              </a:cxn>
              <a:cxn ang="0">
                <a:pos x="431" y="1144"/>
              </a:cxn>
              <a:cxn ang="0">
                <a:pos x="442" y="1032"/>
              </a:cxn>
              <a:cxn ang="0">
                <a:pos x="442" y="63"/>
              </a:cxn>
              <a:cxn ang="0">
                <a:pos x="180" y="171"/>
              </a:cxn>
              <a:cxn ang="0">
                <a:pos x="71" y="475"/>
              </a:cxn>
              <a:cxn ang="0">
                <a:pos x="0" y="463"/>
              </a:cxn>
              <a:cxn ang="0">
                <a:pos x="13" y="0"/>
              </a:cxn>
              <a:cxn ang="0">
                <a:pos x="1081" y="0"/>
              </a:cxn>
              <a:cxn ang="0">
                <a:pos x="1094" y="463"/>
              </a:cxn>
              <a:cxn ang="0">
                <a:pos x="1023" y="475"/>
              </a:cxn>
              <a:cxn ang="0">
                <a:pos x="913" y="171"/>
              </a:cxn>
              <a:cxn ang="0">
                <a:pos x="650" y="63"/>
              </a:cxn>
              <a:cxn ang="0">
                <a:pos x="650" y="1032"/>
              </a:cxn>
              <a:cxn ang="0">
                <a:pos x="824" y="604"/>
              </a:cxn>
              <a:cxn ang="0">
                <a:pos x="1096" y="604"/>
              </a:cxn>
              <a:cxn ang="0">
                <a:pos x="1096" y="871"/>
              </a:cxn>
              <a:cxn ang="0">
                <a:pos x="824" y="871"/>
              </a:cxn>
              <a:cxn ang="0">
                <a:pos x="824" y="604"/>
              </a:cxn>
              <a:cxn ang="0">
                <a:pos x="1641" y="604"/>
              </a:cxn>
              <a:cxn ang="0">
                <a:pos x="1914" y="604"/>
              </a:cxn>
              <a:cxn ang="0">
                <a:pos x="1914" y="871"/>
              </a:cxn>
              <a:cxn ang="0">
                <a:pos x="1641" y="871"/>
              </a:cxn>
              <a:cxn ang="0">
                <a:pos x="1641" y="604"/>
              </a:cxn>
              <a:cxn ang="0">
                <a:pos x="2459" y="604"/>
              </a:cxn>
              <a:cxn ang="0">
                <a:pos x="2731" y="604"/>
              </a:cxn>
              <a:cxn ang="0">
                <a:pos x="2731" y="871"/>
              </a:cxn>
              <a:cxn ang="0">
                <a:pos x="2459" y="871"/>
              </a:cxn>
              <a:cxn ang="0">
                <a:pos x="2459" y="604"/>
              </a:cxn>
            </a:cxnLst>
            <a:rect l="0" t="0" r="r" b="b"/>
            <a:pathLst>
              <a:path w="2731" h="1313">
                <a:moveTo>
                  <a:pt x="1" y="604"/>
                </a:moveTo>
                <a:lnTo>
                  <a:pt x="274" y="604"/>
                </a:lnTo>
                <a:lnTo>
                  <a:pt x="274" y="871"/>
                </a:lnTo>
                <a:lnTo>
                  <a:pt x="1" y="871"/>
                </a:lnTo>
                <a:lnTo>
                  <a:pt x="1" y="604"/>
                </a:lnTo>
                <a:close/>
                <a:moveTo>
                  <a:pt x="650" y="1032"/>
                </a:moveTo>
                <a:cubicBezTo>
                  <a:pt x="650" y="1117"/>
                  <a:pt x="663" y="1171"/>
                  <a:pt x="688" y="1197"/>
                </a:cubicBezTo>
                <a:cubicBezTo>
                  <a:pt x="710" y="1218"/>
                  <a:pt x="746" y="1232"/>
                  <a:pt x="797" y="1237"/>
                </a:cubicBezTo>
                <a:cubicBezTo>
                  <a:pt x="813" y="1238"/>
                  <a:pt x="838" y="1238"/>
                  <a:pt x="875" y="1238"/>
                </a:cubicBezTo>
                <a:lnTo>
                  <a:pt x="875" y="1313"/>
                </a:lnTo>
                <a:lnTo>
                  <a:pt x="219" y="1313"/>
                </a:lnTo>
                <a:lnTo>
                  <a:pt x="219" y="1238"/>
                </a:lnTo>
                <a:cubicBezTo>
                  <a:pt x="271" y="1238"/>
                  <a:pt x="310" y="1236"/>
                  <a:pt x="335" y="1231"/>
                </a:cubicBezTo>
                <a:cubicBezTo>
                  <a:pt x="386" y="1221"/>
                  <a:pt x="418" y="1192"/>
                  <a:pt x="431" y="1144"/>
                </a:cubicBezTo>
                <a:cubicBezTo>
                  <a:pt x="438" y="1119"/>
                  <a:pt x="442" y="1082"/>
                  <a:pt x="442" y="1032"/>
                </a:cubicBezTo>
                <a:lnTo>
                  <a:pt x="442" y="63"/>
                </a:lnTo>
                <a:cubicBezTo>
                  <a:pt x="330" y="66"/>
                  <a:pt x="243" y="102"/>
                  <a:pt x="180" y="171"/>
                </a:cubicBezTo>
                <a:cubicBezTo>
                  <a:pt x="121" y="238"/>
                  <a:pt x="84" y="339"/>
                  <a:pt x="71" y="475"/>
                </a:cubicBezTo>
                <a:lnTo>
                  <a:pt x="0" y="463"/>
                </a:lnTo>
                <a:lnTo>
                  <a:pt x="13" y="0"/>
                </a:lnTo>
                <a:lnTo>
                  <a:pt x="1081" y="0"/>
                </a:lnTo>
                <a:lnTo>
                  <a:pt x="1094" y="463"/>
                </a:lnTo>
                <a:lnTo>
                  <a:pt x="1023" y="475"/>
                </a:lnTo>
                <a:cubicBezTo>
                  <a:pt x="1010" y="339"/>
                  <a:pt x="973" y="238"/>
                  <a:pt x="913" y="171"/>
                </a:cubicBezTo>
                <a:cubicBezTo>
                  <a:pt x="850" y="102"/>
                  <a:pt x="762" y="66"/>
                  <a:pt x="650" y="63"/>
                </a:cubicBezTo>
                <a:lnTo>
                  <a:pt x="650" y="1032"/>
                </a:lnTo>
                <a:close/>
                <a:moveTo>
                  <a:pt x="824" y="604"/>
                </a:moveTo>
                <a:lnTo>
                  <a:pt x="1096" y="604"/>
                </a:lnTo>
                <a:lnTo>
                  <a:pt x="1096" y="871"/>
                </a:lnTo>
                <a:lnTo>
                  <a:pt x="824" y="871"/>
                </a:lnTo>
                <a:lnTo>
                  <a:pt x="824" y="604"/>
                </a:lnTo>
                <a:close/>
                <a:moveTo>
                  <a:pt x="1641" y="604"/>
                </a:moveTo>
                <a:lnTo>
                  <a:pt x="1914" y="604"/>
                </a:lnTo>
                <a:lnTo>
                  <a:pt x="1914" y="871"/>
                </a:lnTo>
                <a:lnTo>
                  <a:pt x="1641" y="871"/>
                </a:lnTo>
                <a:lnTo>
                  <a:pt x="1641" y="604"/>
                </a:lnTo>
                <a:close/>
                <a:moveTo>
                  <a:pt x="2459" y="604"/>
                </a:moveTo>
                <a:lnTo>
                  <a:pt x="2731" y="604"/>
                </a:lnTo>
                <a:lnTo>
                  <a:pt x="2731" y="871"/>
                </a:lnTo>
                <a:lnTo>
                  <a:pt x="2459" y="871"/>
                </a:lnTo>
                <a:lnTo>
                  <a:pt x="2459" y="604"/>
                </a:lnTo>
                <a:close/>
              </a:path>
            </a:pathLst>
          </a:custGeom>
          <a:solidFill>
            <a:srgbClr val="E20074"/>
          </a:solidFill>
          <a:ln w="9525">
            <a:noFill/>
            <a:round/>
            <a:headEnd/>
            <a:tailEnd/>
          </a:ln>
        </p:spPr>
        <p:txBody>
          <a:bodyPr/>
          <a:lstStyle/>
          <a:p>
            <a:pPr fontAlgn="auto">
              <a:spcBef>
                <a:spcPts val="0"/>
              </a:spcBef>
              <a:spcAft>
                <a:spcPts val="0"/>
              </a:spcAft>
              <a:defRPr/>
            </a:pPr>
            <a:endParaRPr lang="de-DE">
              <a:latin typeface="+mn-lt"/>
            </a:endParaRPr>
          </a:p>
        </p:txBody>
      </p:sp>
      <p:pic>
        <p:nvPicPr>
          <p:cNvPr id="451592" name="Picture 9" descr="T_Logo_3c_Slogan_p_INT"/>
          <p:cNvPicPr>
            <a:picLocks noChangeAspect="1" noChangeArrowheads="1"/>
          </p:cNvPicPr>
          <p:nvPr>
            <p:custDataLst>
              <p:tags r:id="rId2"/>
            </p:custDataLst>
          </p:nvPr>
        </p:nvPicPr>
        <p:blipFill>
          <a:blip r:embed="rId3"/>
          <a:srcRect l="45206"/>
          <a:stretch>
            <a:fillRect/>
          </a:stretch>
        </p:blipFill>
        <p:spPr bwMode="black">
          <a:xfrm>
            <a:off x="5656263" y="169863"/>
            <a:ext cx="952500" cy="25876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hf hdr="0"/>
  <p:notesStyle>
    <a:lvl1pPr marL="141288" indent="-1412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1pPr>
    <a:lvl2pPr marL="269875" indent="-127000"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2pPr>
    <a:lvl3pPr marL="438150" indent="-1666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3pPr>
    <a:lvl4pPr marL="617538" indent="-177800"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4pPr>
    <a:lvl5pPr marL="785813" indent="-166688" algn="l" defTabSz="457200" rtl="0" eaLnBrk="0" fontAlgn="base" hangingPunct="0">
      <a:spcBef>
        <a:spcPts val="300"/>
      </a:spcBef>
      <a:spcAft>
        <a:spcPts val="300"/>
      </a:spcAft>
      <a:buClr>
        <a:schemeClr val="tx2"/>
      </a:buClr>
      <a:buSzPct val="75000"/>
      <a:buFont typeface="Wingdings" pitchFamily="2" charset="2"/>
      <a:buChar char="§"/>
      <a:defRPr sz="1200" kern="1200">
        <a:solidFill>
          <a:schemeClr val="tx1"/>
        </a:solidFill>
        <a:latin typeface="+mn-lt"/>
        <a:ea typeface="+mn-ea"/>
        <a:cs typeface="Arial"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7" name="Datumsplatzhalter 2"/>
          <p:cNvSpPr>
            <a:spLocks noGrp="1"/>
          </p:cNvSpPr>
          <p:nvPr>
            <p:ph type="dt" sz="quarter" idx="1"/>
          </p:nvPr>
        </p:nvSpPr>
        <p:spPr>
          <a:noFill/>
          <a:ln>
            <a:miter lim="800000"/>
            <a:headEnd/>
            <a:tailEnd/>
          </a:ln>
        </p:spPr>
        <p:txBody>
          <a:bodyPr/>
          <a:lstStyle/>
          <a:p>
            <a:fld id="{C14E87A9-E5F4-4248-8A75-EF6C94346BA8}" type="datetime1">
              <a:rPr lang="de-DE" smtClean="0">
                <a:latin typeface="Tele-GroteskNor"/>
              </a:rPr>
              <a:pPr/>
              <a:t>11.09.2013</a:t>
            </a:fld>
            <a:endParaRPr lang="de-DE" smtClean="0">
              <a:latin typeface="Tele-GroteskNor"/>
            </a:endParaRPr>
          </a:p>
        </p:txBody>
      </p:sp>
      <p:sp>
        <p:nvSpPr>
          <p:cNvPr id="454658" name="Rectangle 2"/>
          <p:cNvSpPr>
            <a:spLocks noGrp="1" noRot="1" noChangeAspect="1" noTextEdit="1"/>
          </p:cNvSpPr>
          <p:nvPr>
            <p:ph type="sldImg"/>
          </p:nvPr>
        </p:nvSpPr>
        <p:spPr>
          <a:noFill/>
          <a:ln>
            <a:miter lim="800000"/>
            <a:headEnd/>
            <a:tailEnd/>
          </a:ln>
        </p:spPr>
      </p:sp>
      <p:sp>
        <p:nvSpPr>
          <p:cNvPr id="454659"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81" name="Datumsplatzhalter 2"/>
          <p:cNvSpPr>
            <a:spLocks noGrp="1"/>
          </p:cNvSpPr>
          <p:nvPr>
            <p:ph type="dt" sz="quarter" idx="1"/>
          </p:nvPr>
        </p:nvSpPr>
        <p:spPr>
          <a:noFill/>
          <a:ln>
            <a:miter lim="800000"/>
            <a:headEnd/>
            <a:tailEnd/>
          </a:ln>
        </p:spPr>
        <p:txBody>
          <a:bodyPr/>
          <a:lstStyle/>
          <a:p>
            <a:fld id="{BA04E2E9-914E-447B-9BBA-1D6D9DBCED20}" type="datetime1">
              <a:rPr lang="de-DE" smtClean="0">
                <a:latin typeface="Tele-GroteskNor"/>
              </a:rPr>
              <a:pPr/>
              <a:t>11.09.2013</a:t>
            </a:fld>
            <a:endParaRPr lang="de-DE" smtClean="0">
              <a:latin typeface="Tele-GroteskNor"/>
            </a:endParaRPr>
          </a:p>
        </p:txBody>
      </p:sp>
      <p:sp>
        <p:nvSpPr>
          <p:cNvPr id="481282" name="Rectangle 2"/>
          <p:cNvSpPr>
            <a:spLocks noGrp="1" noRot="1" noChangeAspect="1"/>
          </p:cNvSpPr>
          <p:nvPr>
            <p:ph type="sldImg"/>
          </p:nvPr>
        </p:nvSpPr>
        <p:spPr>
          <a:noFill/>
          <a:ln>
            <a:miter lim="800000"/>
            <a:headEnd/>
            <a:tailEnd/>
          </a:ln>
        </p:spPr>
      </p:sp>
      <p:sp>
        <p:nvSpPr>
          <p:cNvPr id="481283"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3329" name="Datumsplatzhalter 2"/>
          <p:cNvSpPr>
            <a:spLocks noGrp="1"/>
          </p:cNvSpPr>
          <p:nvPr>
            <p:ph type="dt" sz="quarter" idx="1"/>
          </p:nvPr>
        </p:nvSpPr>
        <p:spPr>
          <a:noFill/>
          <a:ln>
            <a:miter lim="800000"/>
            <a:headEnd/>
            <a:tailEnd/>
          </a:ln>
        </p:spPr>
        <p:txBody>
          <a:bodyPr/>
          <a:lstStyle/>
          <a:p>
            <a:fld id="{09E1E893-6E94-472C-9BD6-CFAFD37BAFF4}" type="datetime1">
              <a:rPr lang="de-DE" smtClean="0">
                <a:latin typeface="Tele-GroteskNor"/>
              </a:rPr>
              <a:pPr/>
              <a:t>11.09.2013</a:t>
            </a:fld>
            <a:endParaRPr lang="de-DE" smtClean="0">
              <a:latin typeface="Tele-GroteskNor"/>
            </a:endParaRPr>
          </a:p>
        </p:txBody>
      </p:sp>
      <p:sp>
        <p:nvSpPr>
          <p:cNvPr id="483330" name="Rectangle 2"/>
          <p:cNvSpPr>
            <a:spLocks noGrp="1" noRot="1" noChangeAspect="1" noTextEdit="1"/>
          </p:cNvSpPr>
          <p:nvPr>
            <p:ph type="sldImg"/>
          </p:nvPr>
        </p:nvSpPr>
        <p:spPr>
          <a:noFill/>
          <a:ln>
            <a:miter lim="800000"/>
            <a:headEnd/>
            <a:tailEnd/>
          </a:ln>
        </p:spPr>
      </p:sp>
      <p:sp>
        <p:nvSpPr>
          <p:cNvPr id="483331" name="Rectangle 3"/>
          <p:cNvSpPr>
            <a:spLocks noGrp="1"/>
          </p:cNvSpPr>
          <p:nvPr>
            <p:ph type="body" idx="1"/>
          </p:nvPr>
        </p:nvSpPr>
        <p:spPr>
          <a:noFill/>
        </p:spPr>
        <p:txBody>
          <a:bodyPr/>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5377" name="Datumsplatzhalter 2"/>
          <p:cNvSpPr>
            <a:spLocks noGrp="1"/>
          </p:cNvSpPr>
          <p:nvPr>
            <p:ph type="dt" sz="quarter" idx="1"/>
          </p:nvPr>
        </p:nvSpPr>
        <p:spPr>
          <a:noFill/>
          <a:ln>
            <a:miter lim="800000"/>
            <a:headEnd/>
            <a:tailEnd/>
          </a:ln>
        </p:spPr>
        <p:txBody>
          <a:bodyPr/>
          <a:lstStyle/>
          <a:p>
            <a:fld id="{E9EF7AAE-B643-4794-9AF9-94996C1F5C6F}" type="datetime1">
              <a:rPr lang="de-DE" smtClean="0">
                <a:latin typeface="Tele-GroteskNor"/>
              </a:rPr>
              <a:pPr/>
              <a:t>11.09.2013</a:t>
            </a:fld>
            <a:endParaRPr lang="de-DE" smtClean="0">
              <a:latin typeface="Tele-GroteskNor"/>
            </a:endParaRPr>
          </a:p>
        </p:txBody>
      </p:sp>
      <p:sp>
        <p:nvSpPr>
          <p:cNvPr id="485378" name="Rectangle 2"/>
          <p:cNvSpPr>
            <a:spLocks noGrp="1" noRot="1" noChangeAspect="1"/>
          </p:cNvSpPr>
          <p:nvPr>
            <p:ph type="sldImg"/>
          </p:nvPr>
        </p:nvSpPr>
        <p:spPr>
          <a:noFill/>
          <a:ln>
            <a:miter lim="800000"/>
            <a:headEnd/>
            <a:tailEnd/>
          </a:ln>
        </p:spPr>
      </p:sp>
      <p:sp>
        <p:nvSpPr>
          <p:cNvPr id="485379"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7425" name="Datumsplatzhalter 2"/>
          <p:cNvSpPr>
            <a:spLocks noGrp="1"/>
          </p:cNvSpPr>
          <p:nvPr>
            <p:ph type="dt" sz="quarter" idx="1"/>
          </p:nvPr>
        </p:nvSpPr>
        <p:spPr>
          <a:noFill/>
          <a:ln>
            <a:miter lim="800000"/>
            <a:headEnd/>
            <a:tailEnd/>
          </a:ln>
        </p:spPr>
        <p:txBody>
          <a:bodyPr/>
          <a:lstStyle/>
          <a:p>
            <a:fld id="{0C532265-8B32-4D1D-A511-530F800A8D6C}" type="datetime1">
              <a:rPr lang="de-DE" smtClean="0">
                <a:latin typeface="Tele-GroteskNor"/>
              </a:rPr>
              <a:pPr/>
              <a:t>11.09.2013</a:t>
            </a:fld>
            <a:endParaRPr lang="de-DE" smtClean="0">
              <a:latin typeface="Tele-GroteskNor"/>
            </a:endParaRPr>
          </a:p>
        </p:txBody>
      </p:sp>
      <p:sp>
        <p:nvSpPr>
          <p:cNvPr id="487426" name="Rectangle 2"/>
          <p:cNvSpPr>
            <a:spLocks noGrp="1" noRot="1" noChangeAspect="1"/>
          </p:cNvSpPr>
          <p:nvPr>
            <p:ph type="sldImg"/>
          </p:nvPr>
        </p:nvSpPr>
        <p:spPr>
          <a:noFill/>
          <a:ln>
            <a:miter lim="800000"/>
            <a:headEnd/>
            <a:tailEnd/>
          </a:ln>
        </p:spPr>
      </p:sp>
      <p:sp>
        <p:nvSpPr>
          <p:cNvPr id="487427"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3569" name="Folienbildplatzhalter 1"/>
          <p:cNvSpPr>
            <a:spLocks noGrp="1" noRot="1" noChangeAspect="1" noTextEdit="1"/>
          </p:cNvSpPr>
          <p:nvPr>
            <p:ph type="sldImg"/>
          </p:nvPr>
        </p:nvSpPr>
        <p:spPr>
          <a:xfrm>
            <a:off x="809625" y="846138"/>
            <a:ext cx="5481638" cy="4111625"/>
          </a:xfrm>
          <a:noFill/>
          <a:ln>
            <a:miter lim="800000"/>
            <a:headEnd/>
            <a:tailEnd/>
          </a:ln>
        </p:spPr>
      </p:sp>
      <p:sp>
        <p:nvSpPr>
          <p:cNvPr id="493570" name="Notizenplatzhalter 2"/>
          <p:cNvSpPr>
            <a:spLocks noGrp="1"/>
          </p:cNvSpPr>
          <p:nvPr>
            <p:ph type="body" idx="1"/>
          </p:nvPr>
        </p:nvSpPr>
        <p:spPr>
          <a:noFill/>
        </p:spPr>
        <p:txBody>
          <a:bodyPr lIns="99803" tIns="49902" rIns="99803" bIns="49902"/>
          <a:lstStyle/>
          <a:p>
            <a:pPr eaLnBrk="1" hangingPunct="1">
              <a:spcBef>
                <a:spcPct val="50000"/>
              </a:spcBef>
              <a:buClr>
                <a:srgbClr val="FF0000"/>
              </a:buClr>
              <a:buSzPct val="85000"/>
              <a:buFont typeface="Wingdings" pitchFamily="2" charset="2"/>
              <a:buNone/>
            </a:pPr>
            <a:r>
              <a:rPr lang="de-DE" smtClean="0"/>
              <a:t>Rural area</a:t>
            </a:r>
          </a:p>
          <a:p>
            <a:pPr eaLnBrk="1" hangingPunct="1">
              <a:spcBef>
                <a:spcPct val="50000"/>
              </a:spcBef>
              <a:buClr>
                <a:srgbClr val="FF0000"/>
              </a:buClr>
              <a:buSzPct val="85000"/>
              <a:buFont typeface="Wingdings" pitchFamily="2" charset="2"/>
              <a:buNone/>
            </a:pPr>
            <a:r>
              <a:rPr lang="de-DE" smtClean="0"/>
              <a:t>Trade fair</a:t>
            </a:r>
          </a:p>
          <a:p>
            <a:pPr eaLnBrk="1" hangingPunct="1">
              <a:spcBef>
                <a:spcPct val="50000"/>
              </a:spcBef>
              <a:buClr>
                <a:srgbClr val="FF0000"/>
              </a:buClr>
              <a:buSzPct val="85000"/>
              <a:buFont typeface="Wingdings" pitchFamily="2" charset="2"/>
              <a:buNone/>
            </a:pPr>
            <a:r>
              <a:rPr lang="de-DE" smtClean="0"/>
              <a:t>Tourism</a:t>
            </a:r>
          </a:p>
          <a:p>
            <a:pPr eaLnBrk="1" hangingPunct="1">
              <a:spcBef>
                <a:spcPct val="50000"/>
              </a:spcBef>
              <a:buClr>
                <a:srgbClr val="FF0000"/>
              </a:buClr>
              <a:buSzPct val="85000"/>
              <a:buFont typeface="Wingdings" pitchFamily="2" charset="2"/>
              <a:buNone/>
            </a:pPr>
            <a:r>
              <a:rPr lang="de-DE" smtClean="0"/>
              <a:t>Industry</a:t>
            </a:r>
          </a:p>
          <a:p>
            <a:pPr eaLnBrk="1" hangingPunct="1">
              <a:spcBef>
                <a:spcPct val="50000"/>
              </a:spcBef>
              <a:buClr>
                <a:srgbClr val="FF0000"/>
              </a:buClr>
              <a:buSzPct val="85000"/>
              <a:buFont typeface="Wingdings" pitchFamily="2" charset="2"/>
              <a:buNone/>
            </a:pPr>
            <a:r>
              <a:rPr lang="de-DE" smtClean="0"/>
              <a:t>Connected to DB – inter-modal transportation</a:t>
            </a:r>
          </a:p>
          <a:p>
            <a:pPr eaLnBrk="1" hangingPunct="1">
              <a:spcBef>
                <a:spcPct val="50000"/>
              </a:spcBef>
              <a:buClr>
                <a:srgbClr val="FF0000"/>
              </a:buClr>
              <a:buSzPct val="85000"/>
              <a:buFont typeface="Wingdings" pitchFamily="2" charset="2"/>
              <a:buNone/>
            </a:pPr>
            <a:endParaRPr lang="de-DE" smtClean="0"/>
          </a:p>
          <a:p>
            <a:pPr eaLnBrk="1" hangingPunct="1">
              <a:spcBef>
                <a:spcPct val="50000"/>
              </a:spcBef>
              <a:buClr>
                <a:srgbClr val="FF0000"/>
              </a:buClr>
              <a:buSzPct val="85000"/>
              <a:buFont typeface="Wingdings" pitchFamily="2" charset="2"/>
              <a:buNone/>
            </a:pPr>
            <a:endParaRPr lang="de-DE" smtClean="0"/>
          </a:p>
        </p:txBody>
      </p:sp>
      <p:sp>
        <p:nvSpPr>
          <p:cNvPr id="493571" name="Foliennummernplatzhalter 3"/>
          <p:cNvSpPr txBox="1">
            <a:spLocks noGrp="1"/>
          </p:cNvSpPr>
          <p:nvPr/>
        </p:nvSpPr>
        <p:spPr bwMode="auto">
          <a:xfrm>
            <a:off x="3089275" y="209550"/>
            <a:ext cx="3448050" cy="133350"/>
          </a:xfrm>
          <a:prstGeom prst="rect">
            <a:avLst/>
          </a:prstGeom>
          <a:noFill/>
          <a:ln w="9525">
            <a:noFill/>
            <a:miter lim="800000"/>
            <a:headEnd/>
            <a:tailEnd/>
          </a:ln>
        </p:spPr>
        <p:txBody>
          <a:bodyPr lIns="0" tIns="0" rIns="0" bIns="0" anchor="b"/>
          <a:lstStyle/>
          <a:p>
            <a:pPr algn="r" defTabSz="487363" eaLnBrk="0" hangingPunct="0">
              <a:lnSpc>
                <a:spcPct val="68000"/>
              </a:lnSpc>
              <a:buClr>
                <a:srgbClr val="FFFFFF"/>
              </a:buClr>
              <a:buSzPct val="100000"/>
              <a:buFont typeface="Wingdings" pitchFamily="2" charset="2"/>
              <a:buNone/>
            </a:pPr>
            <a:fld id="{56237411-1130-48A7-A1F7-B16D25C2A6DE}" type="slidenum">
              <a:rPr lang="de-DE" sz="600">
                <a:cs typeface="Arial" charset="0"/>
              </a:rPr>
              <a:pPr algn="r" defTabSz="487363" eaLnBrk="0" hangingPunct="0">
                <a:lnSpc>
                  <a:spcPct val="68000"/>
                </a:lnSpc>
                <a:buClr>
                  <a:srgbClr val="FFFFFF"/>
                </a:buClr>
                <a:buSzPct val="100000"/>
                <a:buFont typeface="Wingdings" pitchFamily="2" charset="2"/>
                <a:buNone/>
              </a:pPr>
              <a:t>26</a:t>
            </a:fld>
            <a:endParaRPr lang="de-DE" sz="60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5" name="Datumsplatzhalter 2"/>
          <p:cNvSpPr>
            <a:spLocks noGrp="1"/>
          </p:cNvSpPr>
          <p:nvPr>
            <p:ph type="dt" sz="quarter" idx="1"/>
          </p:nvPr>
        </p:nvSpPr>
        <p:spPr>
          <a:noFill/>
          <a:ln>
            <a:miter lim="800000"/>
            <a:headEnd/>
            <a:tailEnd/>
          </a:ln>
        </p:spPr>
        <p:txBody>
          <a:bodyPr/>
          <a:lstStyle/>
          <a:p>
            <a:fld id="{1DAA50F8-A04E-412B-9304-203510492171}" type="datetime1">
              <a:rPr lang="de-DE" smtClean="0">
                <a:latin typeface="Tele-GroteskNor"/>
              </a:rPr>
              <a:pPr/>
              <a:t>11.09.2013</a:t>
            </a:fld>
            <a:endParaRPr lang="de-DE" smtClean="0">
              <a:latin typeface="Tele-GroteskNor"/>
            </a:endParaRPr>
          </a:p>
        </p:txBody>
      </p:sp>
      <p:sp>
        <p:nvSpPr>
          <p:cNvPr id="456706" name="Rectangle 2"/>
          <p:cNvSpPr>
            <a:spLocks noGrp="1" noRot="1" noChangeAspect="1"/>
          </p:cNvSpPr>
          <p:nvPr>
            <p:ph type="sldImg"/>
          </p:nvPr>
        </p:nvSpPr>
        <p:spPr>
          <a:noFill/>
          <a:ln>
            <a:miter lim="800000"/>
            <a:headEnd/>
            <a:tailEnd/>
          </a:ln>
        </p:spPr>
      </p:sp>
      <p:sp>
        <p:nvSpPr>
          <p:cNvPr id="456707"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3" name="Rectangle 2"/>
          <p:cNvSpPr>
            <a:spLocks noGrp="1" noRot="1" noChangeAspect="1" noTextEdit="1"/>
          </p:cNvSpPr>
          <p:nvPr>
            <p:ph type="sldImg"/>
          </p:nvPr>
        </p:nvSpPr>
        <p:spPr>
          <a:noFill/>
          <a:ln>
            <a:miter lim="800000"/>
            <a:headEnd/>
            <a:tailEnd/>
          </a:ln>
        </p:spPr>
      </p:sp>
      <p:sp>
        <p:nvSpPr>
          <p:cNvPr id="458754" name="Rectangle 3"/>
          <p:cNvSpPr>
            <a:spLocks noGrp="1"/>
          </p:cNvSpPr>
          <p:nvPr>
            <p:ph type="body" idx="1"/>
          </p:nvPr>
        </p:nvSpPr>
        <p:spPr>
          <a:noFill/>
        </p:spPr>
        <p:txBody>
          <a:bodyPr/>
          <a:lstStyle/>
          <a:p>
            <a:pPr eaLnBrk="1" hangingPunct="1"/>
            <a:r>
              <a:rPr lang="en-US" smtClean="0"/>
              <a:t>darmstadt</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1825" name="Datumsplatzhalter 2"/>
          <p:cNvSpPr>
            <a:spLocks noGrp="1"/>
          </p:cNvSpPr>
          <p:nvPr>
            <p:ph type="dt" sz="quarter" idx="1"/>
          </p:nvPr>
        </p:nvSpPr>
        <p:spPr>
          <a:noFill/>
          <a:ln>
            <a:miter lim="800000"/>
            <a:headEnd/>
            <a:tailEnd/>
          </a:ln>
        </p:spPr>
        <p:txBody>
          <a:bodyPr/>
          <a:lstStyle/>
          <a:p>
            <a:fld id="{AC9A2269-1D97-4110-B339-1B2FB67D73BE}" type="datetime1">
              <a:rPr lang="de-DE" smtClean="0">
                <a:latin typeface="Tele-GroteskNor"/>
              </a:rPr>
              <a:pPr/>
              <a:t>11.09.2013</a:t>
            </a:fld>
            <a:endParaRPr lang="de-DE" smtClean="0">
              <a:latin typeface="Tele-GroteskNor"/>
            </a:endParaRPr>
          </a:p>
        </p:txBody>
      </p:sp>
      <p:sp>
        <p:nvSpPr>
          <p:cNvPr id="461826" name="Rectangle 2"/>
          <p:cNvSpPr>
            <a:spLocks noGrp="1" noRot="1" noChangeAspect="1"/>
          </p:cNvSpPr>
          <p:nvPr>
            <p:ph type="sldImg"/>
          </p:nvPr>
        </p:nvSpPr>
        <p:spPr>
          <a:noFill/>
          <a:ln>
            <a:miter lim="800000"/>
            <a:headEnd/>
            <a:tailEnd/>
          </a:ln>
        </p:spPr>
      </p:sp>
      <p:sp>
        <p:nvSpPr>
          <p:cNvPr id="461827"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3873" name="Rectangle 2"/>
          <p:cNvSpPr>
            <a:spLocks noGrp="1" noRot="1" noChangeAspect="1" noTextEdit="1"/>
          </p:cNvSpPr>
          <p:nvPr>
            <p:ph type="sldImg"/>
          </p:nvPr>
        </p:nvSpPr>
        <p:spPr>
          <a:noFill/>
          <a:ln>
            <a:miter lim="800000"/>
            <a:headEnd/>
            <a:tailEnd/>
          </a:ln>
        </p:spPr>
      </p:sp>
      <p:sp>
        <p:nvSpPr>
          <p:cNvPr id="463874" name="Rectangle 3"/>
          <p:cNvSpPr>
            <a:spLocks noGrp="1"/>
          </p:cNvSpPr>
          <p:nvPr>
            <p:ph type="body" idx="1"/>
          </p:nvPr>
        </p:nvSpPr>
        <p:spPr>
          <a:noFill/>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6945" name="Datumsplatzhalter 2"/>
          <p:cNvSpPr>
            <a:spLocks noGrp="1"/>
          </p:cNvSpPr>
          <p:nvPr>
            <p:ph type="dt" sz="quarter" idx="1"/>
          </p:nvPr>
        </p:nvSpPr>
        <p:spPr>
          <a:noFill/>
          <a:ln>
            <a:miter lim="800000"/>
            <a:headEnd/>
            <a:tailEnd/>
          </a:ln>
        </p:spPr>
        <p:txBody>
          <a:bodyPr/>
          <a:lstStyle/>
          <a:p>
            <a:fld id="{3CDC14DA-1753-474C-8C9E-36B72A590ED2}" type="datetime1">
              <a:rPr lang="de-DE" smtClean="0">
                <a:latin typeface="Tele-GroteskNor"/>
              </a:rPr>
              <a:pPr/>
              <a:t>11.09.2013</a:t>
            </a:fld>
            <a:endParaRPr lang="de-DE" smtClean="0">
              <a:latin typeface="Tele-GroteskNor"/>
            </a:endParaRPr>
          </a:p>
        </p:txBody>
      </p:sp>
      <p:sp>
        <p:nvSpPr>
          <p:cNvPr id="466946" name="Rectangle 2"/>
          <p:cNvSpPr>
            <a:spLocks noGrp="1" noRot="1" noChangeAspect="1"/>
          </p:cNvSpPr>
          <p:nvPr>
            <p:ph type="sldImg"/>
          </p:nvPr>
        </p:nvSpPr>
        <p:spPr>
          <a:noFill/>
          <a:ln>
            <a:miter lim="800000"/>
            <a:headEnd/>
            <a:tailEnd/>
          </a:ln>
        </p:spPr>
      </p:sp>
      <p:sp>
        <p:nvSpPr>
          <p:cNvPr id="466947"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113" name="Datumsplatzhalter 2"/>
          <p:cNvSpPr>
            <a:spLocks noGrp="1"/>
          </p:cNvSpPr>
          <p:nvPr>
            <p:ph type="dt" sz="quarter" idx="1"/>
          </p:nvPr>
        </p:nvSpPr>
        <p:spPr>
          <a:noFill/>
          <a:ln>
            <a:miter lim="800000"/>
            <a:headEnd/>
            <a:tailEnd/>
          </a:ln>
        </p:spPr>
        <p:txBody>
          <a:bodyPr/>
          <a:lstStyle/>
          <a:p>
            <a:fld id="{06B8FAA4-C085-4BDB-84DA-5C83DF16DFDE}" type="datetime1">
              <a:rPr lang="de-DE" smtClean="0">
                <a:latin typeface="Tele-GroteskNor"/>
              </a:rPr>
              <a:pPr/>
              <a:t>11.09.2013</a:t>
            </a:fld>
            <a:endParaRPr lang="de-DE" smtClean="0">
              <a:latin typeface="Tele-GroteskNor"/>
            </a:endParaRPr>
          </a:p>
        </p:txBody>
      </p:sp>
      <p:sp>
        <p:nvSpPr>
          <p:cNvPr id="474114" name="Rectangle 2"/>
          <p:cNvSpPr>
            <a:spLocks noGrp="1" noRot="1" noChangeAspect="1"/>
          </p:cNvSpPr>
          <p:nvPr>
            <p:ph type="sldImg"/>
          </p:nvPr>
        </p:nvSpPr>
        <p:spPr>
          <a:noFill/>
          <a:ln>
            <a:miter lim="800000"/>
            <a:headEnd/>
            <a:tailEnd/>
          </a:ln>
        </p:spPr>
      </p:sp>
      <p:sp>
        <p:nvSpPr>
          <p:cNvPr id="474115" name="Rectangle 3"/>
          <p:cNvSpPr>
            <a:spLocks noGrp="1"/>
          </p:cNvSpPr>
          <p:nvPr>
            <p:ph type="body" idx="1"/>
          </p:nvPr>
        </p:nvSpPr>
        <p:spPr>
          <a:noFill/>
        </p:spPr>
        <p:txBody>
          <a:bodyPr/>
          <a:lstStyle/>
          <a:p>
            <a:pPr eaLnBrk="1" hangingPunct="1"/>
            <a:endParaRPr lang="de-DE"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7185" name="Rectangle 2"/>
          <p:cNvSpPr>
            <a:spLocks noGrp="1" noRot="1" noChangeAspect="1" noTextEdit="1"/>
          </p:cNvSpPr>
          <p:nvPr>
            <p:ph type="sldImg"/>
          </p:nvPr>
        </p:nvSpPr>
        <p:spPr>
          <a:noFill/>
          <a:ln>
            <a:miter lim="800000"/>
            <a:headEnd/>
            <a:tailEnd/>
          </a:ln>
        </p:spPr>
      </p:sp>
      <p:sp>
        <p:nvSpPr>
          <p:cNvPr id="477186" name="Rectangle 3"/>
          <p:cNvSpPr>
            <a:spLocks noGrp="1"/>
          </p:cNvSpPr>
          <p:nvPr>
            <p:ph type="body" idx="1"/>
          </p:nvPr>
        </p:nvSpPr>
        <p:spPr>
          <a:noFill/>
        </p:spPr>
        <p:txBody>
          <a:bodyPr/>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9233" name="Datumsplatzhalter 2"/>
          <p:cNvSpPr>
            <a:spLocks noGrp="1"/>
          </p:cNvSpPr>
          <p:nvPr>
            <p:ph type="dt" sz="quarter" idx="1"/>
          </p:nvPr>
        </p:nvSpPr>
        <p:spPr>
          <a:noFill/>
          <a:ln>
            <a:miter lim="800000"/>
            <a:headEnd/>
            <a:tailEnd/>
          </a:ln>
        </p:spPr>
        <p:txBody>
          <a:bodyPr/>
          <a:lstStyle/>
          <a:p>
            <a:fld id="{2EE15554-D707-42E9-9BF1-A05236EA7735}" type="datetime1">
              <a:rPr lang="de-DE" smtClean="0">
                <a:latin typeface="Tele-GroteskNor"/>
              </a:rPr>
              <a:pPr/>
              <a:t>11.09.2013</a:t>
            </a:fld>
            <a:endParaRPr lang="de-DE" smtClean="0">
              <a:latin typeface="Tele-GroteskNor"/>
            </a:endParaRPr>
          </a:p>
        </p:txBody>
      </p:sp>
      <p:sp>
        <p:nvSpPr>
          <p:cNvPr id="479234" name="Rectangle 2"/>
          <p:cNvSpPr>
            <a:spLocks noGrp="1" noRot="1" noChangeAspect="1" noTextEdit="1"/>
          </p:cNvSpPr>
          <p:nvPr>
            <p:ph type="sldImg"/>
          </p:nvPr>
        </p:nvSpPr>
        <p:spPr>
          <a:noFill/>
          <a:ln>
            <a:miter lim="800000"/>
            <a:headEnd/>
            <a:tailEnd/>
          </a:ln>
        </p:spPr>
      </p:sp>
      <p:sp>
        <p:nvSpPr>
          <p:cNvPr id="479235" name="Rectangle 3"/>
          <p:cNvSpPr>
            <a:spLocks noGrp="1"/>
          </p:cNvSpPr>
          <p:nvPr>
            <p:ph type="body" idx="1"/>
          </p:nvPr>
        </p:nvSpPr>
        <p:spPr>
          <a:noFill/>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xml"/><Relationship Id="rId7" Type="http://schemas.openxmlformats.org/officeDocument/2006/relationships/oleObject" Target="../embeddings/oleObject15.bin"/><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xml"/><Relationship Id="rId7" Type="http://schemas.openxmlformats.org/officeDocument/2006/relationships/oleObject" Target="../embeddings/oleObject17.bin"/><Relationship Id="rId2" Type="http://schemas.openxmlformats.org/officeDocument/2006/relationships/tags" Target="../tags/tag24.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27.xml"/><Relationship Id="rId4" Type="http://schemas.openxmlformats.org/officeDocument/2006/relationships/tags" Target="../tags/tag26.xml"/><Relationship Id="rId9"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Master" Target="../slideMasters/slideMaster1.xml"/><Relationship Id="rId7" Type="http://schemas.openxmlformats.org/officeDocument/2006/relationships/image" Target="../media/image7.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9.png"/><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7.xml"/><Relationship Id="rId7"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tags" Target="../tags/tag10.xml"/><Relationship Id="rId5" Type="http://schemas.openxmlformats.org/officeDocument/2006/relationships/tags" Target="../tags/tag9.xml"/><Relationship Id="rId10" Type="http://schemas.openxmlformats.org/officeDocument/2006/relationships/image" Target="../media/image8.emf"/><Relationship Id="rId4" Type="http://schemas.openxmlformats.org/officeDocument/2006/relationships/tags" Target="../tags/tag8.xml"/><Relationship Id="rId9"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image" Target="../media/image9.png"/><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_Magenta">
    <p:bg>
      <p:bgPr>
        <a:solidFill>
          <a:schemeClr val="tx2"/>
        </a:solidFill>
        <a:effectLst/>
      </p:bgPr>
    </p:bg>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2001" name="think-cell Folie" r:id="rId4" imgW="360" imgH="360" progId="">
              <p:embed/>
            </p:oleObj>
          </a:graphicData>
        </a:graphic>
      </p:graphicFrame>
      <p:pic>
        <p:nvPicPr>
          <p:cNvPr id="5" name="Picture 23" descr="T_Logo_3c_Slogan_n_DE_EMF CD EXPORT"/>
          <p:cNvPicPr>
            <a:picLocks noChangeAspect="1" noChangeArrowheads="1"/>
          </p:cNvPicPr>
          <p:nvPr userDrawn="1"/>
        </p:nvPicPr>
        <p:blipFill>
          <a:blip r:embed="rId5"/>
          <a:srcRect r="69640"/>
          <a:stretch>
            <a:fillRect/>
          </a:stretch>
        </p:blipFill>
        <p:spPr bwMode="black">
          <a:xfrm>
            <a:off x="323850" y="6137275"/>
            <a:ext cx="908050" cy="396875"/>
          </a:xfrm>
          <a:prstGeom prst="rect">
            <a:avLst/>
          </a:prstGeom>
          <a:noFill/>
          <a:ln w="9525">
            <a:noFill/>
            <a:miter lim="800000"/>
            <a:headEnd/>
            <a:tailEnd/>
          </a:ln>
        </p:spPr>
      </p:pic>
      <p:pic>
        <p:nvPicPr>
          <p:cNvPr id="6" name="Picture 25" descr="T_Logo_3c_Slogan_n_INT"/>
          <p:cNvPicPr>
            <a:picLocks noChangeAspect="1" noChangeArrowheads="1"/>
          </p:cNvPicPr>
          <p:nvPr userDrawn="1"/>
        </p:nvPicPr>
        <p:blipFill>
          <a:blip r:embed="rId6"/>
          <a:srcRect l="45840"/>
          <a:stretch>
            <a:fillRect/>
          </a:stretch>
        </p:blipFill>
        <p:spPr bwMode="black">
          <a:xfrm>
            <a:off x="7391400" y="6138863"/>
            <a:ext cx="1436688" cy="395287"/>
          </a:xfrm>
          <a:prstGeom prst="rect">
            <a:avLst/>
          </a:prstGeom>
          <a:noFill/>
          <a:ln w="9525">
            <a:noFill/>
            <a:miter lim="800000"/>
            <a:headEnd/>
            <a:tailEnd/>
          </a:ln>
        </p:spPr>
      </p:pic>
      <p:sp>
        <p:nvSpPr>
          <p:cNvPr id="45058" name="Titelplatzhalter 1"/>
          <p:cNvSpPr>
            <a:spLocks noGrp="1"/>
          </p:cNvSpPr>
          <p:nvPr>
            <p:ph type="ctrTitle"/>
          </p:nvPr>
        </p:nvSpPr>
        <p:spPr bwMode="black">
          <a:xfrm>
            <a:off x="304800" y="1773238"/>
            <a:ext cx="8496300" cy="2492990"/>
          </a:xfrm>
        </p:spPr>
        <p:txBody>
          <a:bodyPr/>
          <a:lstStyle>
            <a:lvl1pPr>
              <a:defRPr sz="6000" smtClean="0">
                <a:solidFill>
                  <a:schemeClr val="bg1"/>
                </a:solidFill>
              </a:defRPr>
            </a:lvl1pPr>
          </a:lstStyle>
          <a:p>
            <a:r>
              <a:rPr lang="en-US" noProof="0" smtClean="0"/>
              <a:t>TITELMASTERFORMAT DURCH KLICKEN BEARBEITEN</a:t>
            </a:r>
          </a:p>
        </p:txBody>
      </p:sp>
      <p:sp>
        <p:nvSpPr>
          <p:cNvPr id="45059" name="Textplatzhalter 2"/>
          <p:cNvSpPr>
            <a:spLocks noGrp="1"/>
          </p:cNvSpPr>
          <p:nvPr>
            <p:ph type="subTitle" idx="1"/>
          </p:nvPr>
        </p:nvSpPr>
        <p:spPr bwMode="black">
          <a:xfrm>
            <a:off x="304800" y="3676650"/>
            <a:ext cx="8496300" cy="332399"/>
          </a:xfrm>
        </p:spPr>
        <p:txBody>
          <a:bodyPr>
            <a:spAutoFit/>
          </a:bodyPr>
          <a:lstStyle>
            <a:lvl1pPr>
              <a:defRPr sz="2400" smtClean="0">
                <a:solidFill>
                  <a:schemeClr val="bg1"/>
                </a:solidFill>
                <a:latin typeface="Tele-GroteskNor" pitchFamily="2" charset="0"/>
              </a:defRPr>
            </a:lvl1pPr>
          </a:lstStyle>
          <a:p>
            <a:r>
              <a:rPr lang="en-US" noProof="0" smtClean="0"/>
              <a:t>Formatvorlage des Untertitelmasters durch Klicken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1217" name="think-cell Folie" r:id="rId4" imgW="360" imgH="360" progId="">
              <p:embed/>
            </p:oleObj>
          </a:graphicData>
        </a:graphic>
      </p:graphicFrame>
      <p:pic>
        <p:nvPicPr>
          <p:cNvPr id="5"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6"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2" name="Titel 1"/>
          <p:cNvSpPr>
            <a:spLocks noGrp="1"/>
          </p:cNvSpPr>
          <p:nvPr>
            <p:ph type="title"/>
          </p:nvPr>
        </p:nvSpPr>
        <p:spPr>
          <a:xfrm>
            <a:off x="304800" y="333375"/>
            <a:ext cx="8496300" cy="415498"/>
          </a:xfrm>
        </p:spPr>
        <p:txBody>
          <a:bodyPr/>
          <a:lstStyle/>
          <a:p>
            <a:r>
              <a:rPr lang="en-US" dirty="0" smtClean="0"/>
              <a:t>Titelmasterformat durch Klicken bearbeiten</a:t>
            </a:r>
            <a:endParaRPr lang="de-DE" dirty="0"/>
          </a:p>
        </p:txBody>
      </p:sp>
      <p:sp>
        <p:nvSpPr>
          <p:cNvPr id="3" name="Inhaltsplatzhalter 2"/>
          <p:cNvSpPr>
            <a:spLocks noGrp="1"/>
          </p:cNvSpPr>
          <p:nvPr>
            <p:ph idx="1"/>
          </p:nvPr>
        </p:nvSpPr>
        <p:spPr>
          <a:xfrm>
            <a:off x="319086" y="1773238"/>
            <a:ext cx="8496300" cy="4283075"/>
          </a:xfrm>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3"/>
          <p:cNvSpPr>
            <a:spLocks noGrp="1"/>
          </p:cNvSpPr>
          <p:nvPr>
            <p:ph type="dt" sz="half" idx="10"/>
          </p:nvPr>
        </p:nvSpPr>
        <p:spPr/>
        <p:txBody>
          <a:bodyPr/>
          <a:lstStyle>
            <a:lvl1pPr>
              <a:defRPr/>
            </a:lvl1pPr>
          </a:lstStyle>
          <a:p>
            <a:pPr>
              <a:defRPr/>
            </a:pPr>
            <a:fld id="{803C1900-F280-4BC9-8D2F-D545B472B518}" type="datetime1">
              <a:rPr lang="de-DE"/>
              <a:pPr>
                <a:defRPr/>
              </a:pPr>
              <a:t>11.09.2013</a:t>
            </a:fld>
            <a:endParaRPr lang="de-DE"/>
          </a:p>
        </p:txBody>
      </p:sp>
      <p:sp>
        <p:nvSpPr>
          <p:cNvPr id="8" name="Fußzeilenplatzhalter 4"/>
          <p:cNvSpPr>
            <a:spLocks noGrp="1"/>
          </p:cNvSpPr>
          <p:nvPr>
            <p:ph type="ftr" sz="quarter" idx="11"/>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9" name="Foliennummernplatzhalter 5"/>
          <p:cNvSpPr>
            <a:spLocks noGrp="1"/>
          </p:cNvSpPr>
          <p:nvPr>
            <p:ph type="sldNum" sz="quarter" idx="12"/>
          </p:nvPr>
        </p:nvSpPr>
        <p:spPr/>
        <p:txBody>
          <a:bodyPr/>
          <a:lstStyle>
            <a:lvl1pPr>
              <a:defRPr/>
            </a:lvl1pPr>
          </a:lstStyle>
          <a:p>
            <a:pPr>
              <a:defRPr/>
            </a:pPr>
            <a:fld id="{6F0B499B-356B-46E3-84DC-05E9ACE8EE2E}" type="slidenum">
              <a:rPr lang="de-DE"/>
              <a:pPr>
                <a:defRPr/>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2241" name="think-cell Folie" r:id="rId4" imgW="360" imgH="360" progId="">
              <p:embed/>
            </p:oleObj>
          </a:graphicData>
        </a:graphic>
      </p:graphicFrame>
      <p:pic>
        <p:nvPicPr>
          <p:cNvPr id="6"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7"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2" name="Titel 1"/>
          <p:cNvSpPr>
            <a:spLocks noGrp="1"/>
          </p:cNvSpPr>
          <p:nvPr>
            <p:ph type="title"/>
          </p:nvPr>
        </p:nvSpPr>
        <p:spPr>
          <a:xfrm>
            <a:off x="304800" y="333375"/>
            <a:ext cx="8496300" cy="415498"/>
          </a:xfrm>
        </p:spPr>
        <p:txBody>
          <a:bodyPr/>
          <a:lstStyle/>
          <a:p>
            <a:r>
              <a:rPr lang="en-US" dirty="0" smtClean="0"/>
              <a:t>Titelmasterformat durch Klicken bearbeiten</a:t>
            </a:r>
            <a:endParaRPr lang="de-DE" dirty="0"/>
          </a:p>
        </p:txBody>
      </p:sp>
      <p:sp>
        <p:nvSpPr>
          <p:cNvPr id="3" name="Inhaltsplatzhalter 2"/>
          <p:cNvSpPr>
            <a:spLocks noGrp="1"/>
          </p:cNvSpPr>
          <p:nvPr>
            <p:ph sz="half" idx="1"/>
          </p:nvPr>
        </p:nvSpPr>
        <p:spPr>
          <a:xfrm>
            <a:off x="304799" y="1773238"/>
            <a:ext cx="42005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38674" y="1773238"/>
            <a:ext cx="41624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Datumsplatzhalter 4"/>
          <p:cNvSpPr>
            <a:spLocks noGrp="1"/>
          </p:cNvSpPr>
          <p:nvPr>
            <p:ph type="dt" sz="half" idx="10"/>
          </p:nvPr>
        </p:nvSpPr>
        <p:spPr/>
        <p:txBody>
          <a:bodyPr/>
          <a:lstStyle>
            <a:lvl1pPr>
              <a:defRPr/>
            </a:lvl1pPr>
          </a:lstStyle>
          <a:p>
            <a:pPr>
              <a:defRPr/>
            </a:pPr>
            <a:fld id="{4025EBC1-2CEF-44F7-A9AD-40614FDF7F81}" type="datetime1">
              <a:rPr lang="de-DE"/>
              <a:pPr>
                <a:defRPr/>
              </a:pPr>
              <a:t>11.09.2013</a:t>
            </a:fld>
            <a:endParaRPr lang="de-DE"/>
          </a:p>
        </p:txBody>
      </p:sp>
      <p:sp>
        <p:nvSpPr>
          <p:cNvPr id="9" name="Fußzeilenplatzhalter 5"/>
          <p:cNvSpPr>
            <a:spLocks noGrp="1"/>
          </p:cNvSpPr>
          <p:nvPr>
            <p:ph type="ftr" sz="quarter" idx="11"/>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10" name="Foliennummernplatzhalter 6"/>
          <p:cNvSpPr>
            <a:spLocks noGrp="1"/>
          </p:cNvSpPr>
          <p:nvPr>
            <p:ph type="sldNum" sz="quarter" idx="12"/>
          </p:nvPr>
        </p:nvSpPr>
        <p:spPr/>
        <p:txBody>
          <a:bodyPr/>
          <a:lstStyle>
            <a:lvl1pPr>
              <a:defRPr/>
            </a:lvl1pPr>
          </a:lstStyle>
          <a:p>
            <a:pPr>
              <a:defRPr/>
            </a:pPr>
            <a:fld id="{E4EA3DC9-1AF6-47B3-B3E9-EF528BD9119F}" type="slidenum">
              <a:rPr lang="de-DE"/>
              <a:pPr>
                <a:defRPr/>
              </a:pPr>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Zwei Inhalte">
    <p:spTree>
      <p:nvGrpSpPr>
        <p:cNvPr id="1" name=""/>
        <p:cNvGrpSpPr/>
        <p:nvPr/>
      </p:nvGrpSpPr>
      <p:grpSpPr>
        <a:xfrm>
          <a:off x="0" y="0"/>
          <a:ext cx="0" cy="0"/>
          <a:chOff x="0" y="0"/>
          <a:chExt cx="0" cy="0"/>
        </a:xfrm>
      </p:grpSpPr>
      <p:graphicFrame>
        <p:nvGraphicFramePr>
          <p:cNvPr id="6"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3265" name="think-cell Folie" r:id="rId4" imgW="360" imgH="360" progId="">
              <p:embed/>
            </p:oleObj>
          </a:graphicData>
        </a:graphic>
      </p:graphicFrame>
      <p:pic>
        <p:nvPicPr>
          <p:cNvPr id="7"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9"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2" name="Titel 1"/>
          <p:cNvSpPr>
            <a:spLocks noGrp="1"/>
          </p:cNvSpPr>
          <p:nvPr>
            <p:ph type="title"/>
          </p:nvPr>
        </p:nvSpPr>
        <p:spPr>
          <a:xfrm>
            <a:off x="304800" y="333375"/>
            <a:ext cx="8496300" cy="415498"/>
          </a:xfrm>
        </p:spPr>
        <p:txBody>
          <a:bodyPr/>
          <a:lstStyle/>
          <a:p>
            <a:r>
              <a:rPr lang="en-US" dirty="0" smtClean="0"/>
              <a:t>Titelmasterformat durch Klicken bearbeiten</a:t>
            </a:r>
            <a:endParaRPr lang="de-DE" dirty="0"/>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Datumsplatzhalter 4"/>
          <p:cNvSpPr>
            <a:spLocks noGrp="1"/>
          </p:cNvSpPr>
          <p:nvPr>
            <p:ph type="dt" sz="half" idx="14"/>
          </p:nvPr>
        </p:nvSpPr>
        <p:spPr/>
        <p:txBody>
          <a:bodyPr/>
          <a:lstStyle>
            <a:lvl1pPr>
              <a:defRPr/>
            </a:lvl1pPr>
          </a:lstStyle>
          <a:p>
            <a:pPr>
              <a:defRPr/>
            </a:pPr>
            <a:fld id="{E080D440-53F3-4776-BCF2-32F1842234FA}" type="datetime1">
              <a:rPr lang="de-DE"/>
              <a:pPr>
                <a:defRPr/>
              </a:pPr>
              <a:t>11.09.2013</a:t>
            </a:fld>
            <a:endParaRPr lang="de-DE"/>
          </a:p>
        </p:txBody>
      </p:sp>
      <p:sp>
        <p:nvSpPr>
          <p:cNvPr id="11" name="Fußzeilenplatzhalter 5"/>
          <p:cNvSpPr>
            <a:spLocks noGrp="1"/>
          </p:cNvSpPr>
          <p:nvPr>
            <p:ph type="ftr" sz="quarter" idx="15"/>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12" name="Foliennummernplatzhalter 6"/>
          <p:cNvSpPr>
            <a:spLocks noGrp="1"/>
          </p:cNvSpPr>
          <p:nvPr>
            <p:ph type="sldNum" sz="quarter" idx="16"/>
          </p:nvPr>
        </p:nvSpPr>
        <p:spPr/>
        <p:txBody>
          <a:bodyPr/>
          <a:lstStyle>
            <a:lvl1pPr>
              <a:defRPr/>
            </a:lvl1pPr>
          </a:lstStyle>
          <a:p>
            <a:pPr>
              <a:defRPr/>
            </a:pPr>
            <a:fld id="{D39CBC60-CBAA-4068-8708-5729584396F2}" type="slidenum">
              <a:rPr lang="de-DE"/>
              <a:pPr>
                <a:defRPr/>
              </a:pPr>
              <a:t>‹Nr.›</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Zwei Inhalte">
    <p:spTree>
      <p:nvGrpSpPr>
        <p:cNvPr id="1" name=""/>
        <p:cNvGrpSpPr/>
        <p:nvPr/>
      </p:nvGrpSpPr>
      <p:grpSpPr>
        <a:xfrm>
          <a:off x="0" y="0"/>
          <a:ext cx="0" cy="0"/>
          <a:chOff x="0" y="0"/>
          <a:chExt cx="0" cy="0"/>
        </a:xfrm>
      </p:grpSpPr>
      <p:graphicFrame>
        <p:nvGraphicFramePr>
          <p:cNvPr id="7"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4289" name="think-cell Folie" r:id="rId4" imgW="360" imgH="360" progId="">
              <p:embed/>
            </p:oleObj>
          </a:graphicData>
        </a:graphic>
      </p:graphicFrame>
      <p:pic>
        <p:nvPicPr>
          <p:cNvPr id="10"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11"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2" name="Titel 1"/>
          <p:cNvSpPr>
            <a:spLocks noGrp="1"/>
          </p:cNvSpPr>
          <p:nvPr>
            <p:ph type="title"/>
          </p:nvPr>
        </p:nvSpPr>
        <p:spPr>
          <a:xfrm>
            <a:off x="304800" y="333375"/>
            <a:ext cx="8496300" cy="415498"/>
          </a:xfrm>
        </p:spPr>
        <p:txBody>
          <a:bodyPr/>
          <a:lstStyle/>
          <a:p>
            <a:r>
              <a:rPr lang="en-US" dirty="0" smtClean="0"/>
              <a:t>Titelmasterformat durch Klicken bearbeiten</a:t>
            </a:r>
            <a:endParaRPr lang="de-DE" dirty="0"/>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2" name="Datumsplatzhalter 4"/>
          <p:cNvSpPr>
            <a:spLocks noGrp="1"/>
          </p:cNvSpPr>
          <p:nvPr>
            <p:ph type="dt" sz="half" idx="15"/>
          </p:nvPr>
        </p:nvSpPr>
        <p:spPr/>
        <p:txBody>
          <a:bodyPr/>
          <a:lstStyle>
            <a:lvl1pPr>
              <a:defRPr/>
            </a:lvl1pPr>
          </a:lstStyle>
          <a:p>
            <a:pPr>
              <a:defRPr/>
            </a:pPr>
            <a:fld id="{CDC6B155-BAE0-41E5-8759-BA442C8B7C0D}" type="datetime1">
              <a:rPr lang="de-DE"/>
              <a:pPr>
                <a:defRPr/>
              </a:pPr>
              <a:t>11.09.2013</a:t>
            </a:fld>
            <a:endParaRPr lang="de-DE"/>
          </a:p>
        </p:txBody>
      </p:sp>
      <p:sp>
        <p:nvSpPr>
          <p:cNvPr id="13" name="Fußzeilenplatzhalter 5"/>
          <p:cNvSpPr>
            <a:spLocks noGrp="1"/>
          </p:cNvSpPr>
          <p:nvPr>
            <p:ph type="ftr" sz="quarter" idx="16"/>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14" name="Foliennummernplatzhalter 6"/>
          <p:cNvSpPr>
            <a:spLocks noGrp="1"/>
          </p:cNvSpPr>
          <p:nvPr>
            <p:ph type="sldNum" sz="quarter" idx="17"/>
          </p:nvPr>
        </p:nvSpPr>
        <p:spPr/>
        <p:txBody>
          <a:bodyPr/>
          <a:lstStyle>
            <a:lvl1pPr>
              <a:defRPr/>
            </a:lvl1pPr>
          </a:lstStyle>
          <a:p>
            <a:pPr>
              <a:defRPr/>
            </a:pPr>
            <a:fld id="{CCEF021A-B957-40D4-AA9F-A9BF731F3E08}" type="slidenum">
              <a:rPr lang="de-DE"/>
              <a:pPr>
                <a:defRPr/>
              </a:pPr>
              <a:t>‹Nr.›</a:t>
            </a:fld>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obj" preserve="1">
  <p:cSld name="Navigationsleiste_Titel und Inhalt">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5313" name="think-cell Folie" r:id="rId7" imgW="360" imgH="360" progId="">
              <p:embed/>
            </p:oleObj>
          </a:graphicData>
        </a:graphic>
      </p:graphicFrame>
      <p:pic>
        <p:nvPicPr>
          <p:cNvPr id="5" name="Picture 53" descr="T_Logo_3c_Slogan_p_DE_EMF CD EXPORT"/>
          <p:cNvPicPr>
            <a:picLocks noChangeAspect="1" noChangeArrowheads="1"/>
          </p:cNvPicPr>
          <p:nvPr/>
        </p:nvPicPr>
        <p:blipFill>
          <a:blip r:embed="rId8"/>
          <a:srcRect r="65157"/>
          <a:stretch>
            <a:fillRect/>
          </a:stretch>
        </p:blipFill>
        <p:spPr bwMode="auto">
          <a:xfrm>
            <a:off x="319088" y="6340475"/>
            <a:ext cx="757237" cy="288925"/>
          </a:xfrm>
          <a:prstGeom prst="rect">
            <a:avLst/>
          </a:prstGeom>
          <a:noFill/>
          <a:ln w="9525">
            <a:noFill/>
            <a:miter lim="800000"/>
            <a:headEnd/>
            <a:tailEnd/>
          </a:ln>
        </p:spPr>
      </p:pic>
      <p:sp>
        <p:nvSpPr>
          <p:cNvPr id="6"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graphicFrame>
        <p:nvGraphicFramePr>
          <p:cNvPr id="7"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p:oleObj spid="_x0000_s525314" name="think-cell Folie" r:id="rId9" imgW="360" imgH="360" progId="">
              <p:embed/>
            </p:oleObj>
          </a:graphicData>
        </a:graphic>
      </p:graphicFrame>
      <p:sp>
        <p:nvSpPr>
          <p:cNvPr id="8" name="Rectangle 5"/>
          <p:cNvSpPr>
            <a:spLocks noChangeArrowheads="1"/>
          </p:cNvSpPr>
          <p:nvPr userDrawn="1">
            <p:custDataLst>
              <p:tags r:id="rId4"/>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lstStyle/>
          <a:p>
            <a:pPr>
              <a:lnSpc>
                <a:spcPts val="1800"/>
              </a:lnSpc>
              <a:spcBef>
                <a:spcPct val="50000"/>
              </a:spcBef>
              <a:buClr>
                <a:schemeClr val="tx2"/>
              </a:buClr>
              <a:buSzPct val="75000"/>
              <a:buFont typeface="Wingdings" pitchFamily="2" charset="2"/>
              <a:buNone/>
              <a:defRPr/>
            </a:pPr>
            <a:endParaRPr lang="en-US">
              <a:latin typeface="Tele-GroteskFet" pitchFamily="2" charset="0"/>
            </a:endParaRPr>
          </a:p>
        </p:txBody>
      </p:sp>
      <p:sp>
        <p:nvSpPr>
          <p:cNvPr id="2" name="Titel 1"/>
          <p:cNvSpPr>
            <a:spLocks noGrp="1"/>
          </p:cNvSpPr>
          <p:nvPr>
            <p:ph type="title"/>
          </p:nvPr>
        </p:nvSpPr>
        <p:spPr>
          <a:xfrm>
            <a:off x="304800" y="333375"/>
            <a:ext cx="8496300" cy="415498"/>
          </a:xfrm>
        </p:spPr>
        <p:txBody>
          <a:bodyPr/>
          <a:lstStyle/>
          <a:p>
            <a:r>
              <a:rPr lang="en-US" noProof="0" smtClean="0"/>
              <a:t>Titelmasterformat durch Klicken bearbeiten</a:t>
            </a:r>
            <a:endParaRPr lang="en-US" noProof="0"/>
          </a:p>
        </p:txBody>
      </p:sp>
      <p:sp>
        <p:nvSpPr>
          <p:cNvPr id="3" name="Inhaltsplatzhalter 2"/>
          <p:cNvSpPr>
            <a:spLocks noGrp="1"/>
          </p:cNvSpPr>
          <p:nvPr>
            <p:ph idx="1"/>
          </p:nvPr>
        </p:nvSpPr>
        <p:spPr>
          <a:xfrm>
            <a:off x="321467" y="1773237"/>
            <a:ext cx="8496300" cy="4575175"/>
          </a:xfrm>
        </p:spPr>
        <p:txBody>
          <a:body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9" name="Foliennummernplatzhalter 5"/>
          <p:cNvSpPr>
            <a:spLocks noGrp="1"/>
          </p:cNvSpPr>
          <p:nvPr>
            <p:ph type="sldNum" sz="quarter" idx="10"/>
            <p:custDataLst>
              <p:tags r:id="rId5"/>
            </p:custDataLst>
          </p:nvPr>
        </p:nvSpPr>
        <p:spPr>
          <a:xfrm>
            <a:off x="8540750" y="6430963"/>
            <a:ext cx="288925" cy="139700"/>
          </a:xfrm>
        </p:spPr>
        <p:txBody>
          <a:bodyPr/>
          <a:lstStyle>
            <a:lvl1pPr>
              <a:defRPr/>
            </a:lvl1pPr>
          </a:lstStyle>
          <a:p>
            <a:pPr>
              <a:defRPr/>
            </a:pPr>
            <a:fld id="{85C66C55-673E-4209-AD59-61F7B7530F9C}" type="slidenum">
              <a:rPr lang="en-US"/>
              <a:pPr>
                <a:defRPr/>
              </a:pPr>
              <a:t>‹Nr.›</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Navigationsleiste_Zwei Inhalte">
    <p:spTree>
      <p:nvGrpSpPr>
        <p:cNvPr id="1" name=""/>
        <p:cNvGrpSpPr/>
        <p:nvPr/>
      </p:nvGrpSpPr>
      <p:grpSpPr>
        <a:xfrm>
          <a:off x="0" y="0"/>
          <a:ext cx="0" cy="0"/>
          <a:chOff x="0" y="0"/>
          <a:chExt cx="0" cy="0"/>
        </a:xfrm>
      </p:grpSpPr>
      <p:graphicFrame>
        <p:nvGraphicFramePr>
          <p:cNvPr id="5"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6337" name="think-cell Folie" r:id="rId7" imgW="360" imgH="360" progId="">
              <p:embed/>
            </p:oleObj>
          </a:graphicData>
        </a:graphic>
      </p:graphicFrame>
      <p:pic>
        <p:nvPicPr>
          <p:cNvPr id="6" name="Picture 53" descr="T_Logo_3c_Slogan_p_DE_EMF CD EXPORT"/>
          <p:cNvPicPr>
            <a:picLocks noChangeAspect="1" noChangeArrowheads="1"/>
          </p:cNvPicPr>
          <p:nvPr/>
        </p:nvPicPr>
        <p:blipFill>
          <a:blip r:embed="rId8"/>
          <a:srcRect r="65157"/>
          <a:stretch>
            <a:fillRect/>
          </a:stretch>
        </p:blipFill>
        <p:spPr bwMode="auto">
          <a:xfrm>
            <a:off x="319088" y="6340475"/>
            <a:ext cx="757237" cy="288925"/>
          </a:xfrm>
          <a:prstGeom prst="rect">
            <a:avLst/>
          </a:prstGeom>
          <a:noFill/>
          <a:ln w="9525">
            <a:noFill/>
            <a:miter lim="800000"/>
            <a:headEnd/>
            <a:tailEnd/>
          </a:ln>
        </p:spPr>
      </p:pic>
      <p:sp>
        <p:nvSpPr>
          <p:cNvPr id="7"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graphicFrame>
        <p:nvGraphicFramePr>
          <p:cNvPr id="8" name="Object 3"/>
          <p:cNvGraphicFramePr>
            <a:graphicFrameLocks noChangeAspect="1"/>
          </p:cNvGraphicFramePr>
          <p:nvPr>
            <p:custDataLst>
              <p:tags r:id="rId3"/>
            </p:custDataLst>
          </p:nvPr>
        </p:nvGraphicFramePr>
        <p:xfrm>
          <a:off x="1588" y="1588"/>
          <a:ext cx="1587" cy="1587"/>
        </p:xfrm>
        <a:graphic>
          <a:graphicData uri="http://schemas.openxmlformats.org/presentationml/2006/ole">
            <p:oleObj spid="_x0000_s526338" name="think-cell Folie" r:id="rId9" imgW="360" imgH="360" progId="">
              <p:embed/>
            </p:oleObj>
          </a:graphicData>
        </a:graphic>
      </p:graphicFrame>
      <p:sp>
        <p:nvSpPr>
          <p:cNvPr id="9" name="Rectangle 5"/>
          <p:cNvSpPr>
            <a:spLocks noChangeArrowheads="1"/>
          </p:cNvSpPr>
          <p:nvPr userDrawn="1">
            <p:custDataLst>
              <p:tags r:id="rId4"/>
            </p:custDataLst>
          </p:nvPr>
        </p:nvSpPr>
        <p:spPr bwMode="gray">
          <a:xfrm>
            <a:off x="0" y="6057900"/>
            <a:ext cx="8461375" cy="800100"/>
          </a:xfrm>
          <a:prstGeom prst="rect">
            <a:avLst/>
          </a:prstGeom>
          <a:solidFill>
            <a:schemeClr val="bg1"/>
          </a:solidFill>
          <a:ln w="9525" algn="ctr">
            <a:noFill/>
            <a:miter lim="800000"/>
            <a:headEnd/>
            <a:tailEnd/>
          </a:ln>
          <a:effectLst/>
        </p:spPr>
        <p:txBody>
          <a:bodyPr wrap="none" lIns="144000" tIns="72000" rIns="144000" bIns="72000" anchor="ctr"/>
          <a:lstStyle/>
          <a:p>
            <a:pPr>
              <a:lnSpc>
                <a:spcPts val="1800"/>
              </a:lnSpc>
              <a:spcBef>
                <a:spcPct val="50000"/>
              </a:spcBef>
              <a:buClr>
                <a:schemeClr val="tx2"/>
              </a:buClr>
              <a:buSzPct val="75000"/>
              <a:buFont typeface="Wingdings" pitchFamily="2" charset="2"/>
              <a:buNone/>
              <a:defRPr/>
            </a:pPr>
            <a:endParaRPr lang="en-US">
              <a:latin typeface="Tele-GroteskFet" pitchFamily="2" charset="0"/>
            </a:endParaRPr>
          </a:p>
        </p:txBody>
      </p:sp>
      <p:sp>
        <p:nvSpPr>
          <p:cNvPr id="2" name="Titel 1"/>
          <p:cNvSpPr>
            <a:spLocks noGrp="1"/>
          </p:cNvSpPr>
          <p:nvPr>
            <p:ph type="title"/>
          </p:nvPr>
        </p:nvSpPr>
        <p:spPr>
          <a:xfrm>
            <a:off x="304800" y="333375"/>
            <a:ext cx="8496300" cy="415498"/>
          </a:xfrm>
        </p:spPr>
        <p:txBody>
          <a:bodyPr/>
          <a:lstStyle/>
          <a:p>
            <a:r>
              <a:rPr lang="en-US" noProof="0" smtClean="0"/>
              <a:t>Titelmasterformat durch Klicken bearbeiten</a:t>
            </a:r>
            <a:endParaRPr lang="en-US" noProof="0"/>
          </a:p>
        </p:txBody>
      </p:sp>
      <p:sp>
        <p:nvSpPr>
          <p:cNvPr id="3" name="Inhaltsplatzhalter 2"/>
          <p:cNvSpPr>
            <a:spLocks noGrp="1"/>
          </p:cNvSpPr>
          <p:nvPr>
            <p:ph sz="half" idx="1"/>
          </p:nvPr>
        </p:nvSpPr>
        <p:spPr>
          <a:xfrm>
            <a:off x="304799" y="1773237"/>
            <a:ext cx="42005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4" name="Inhaltsplatzhalter 3"/>
          <p:cNvSpPr>
            <a:spLocks noGrp="1"/>
          </p:cNvSpPr>
          <p:nvPr>
            <p:ph sz="half" idx="2"/>
          </p:nvPr>
        </p:nvSpPr>
        <p:spPr>
          <a:xfrm>
            <a:off x="4638674" y="1773237"/>
            <a:ext cx="4162425" cy="4575175"/>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10" name="Foliennummernplatzhalter 6"/>
          <p:cNvSpPr>
            <a:spLocks noGrp="1"/>
          </p:cNvSpPr>
          <p:nvPr>
            <p:ph type="sldNum" sz="quarter" idx="10"/>
            <p:custDataLst>
              <p:tags r:id="rId5"/>
            </p:custDataLst>
          </p:nvPr>
        </p:nvSpPr>
        <p:spPr>
          <a:xfrm>
            <a:off x="8540750" y="6430963"/>
            <a:ext cx="288925" cy="139700"/>
          </a:xfrm>
        </p:spPr>
        <p:txBody>
          <a:bodyPr/>
          <a:lstStyle>
            <a:lvl1pPr>
              <a:defRPr/>
            </a:lvl1pPr>
          </a:lstStyle>
          <a:p>
            <a:pPr>
              <a:defRPr/>
            </a:pPr>
            <a:fld id="{68DE12A7-B479-4F6E-B531-05CE11852F00}" type="slidenum">
              <a:rPr lang="en-US"/>
              <a:pPr>
                <a:defRPr/>
              </a:pPr>
              <a:t>‹Nr.›</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Navigationsleiste_Trennfolie_Grau">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7361" name="think-cell Folie" r:id="rId5" imgW="360" imgH="360" progId="">
              <p:embed/>
            </p:oleObj>
          </a:graphicData>
        </a:graphic>
      </p:graphicFrame>
      <p:sp>
        <p:nvSpPr>
          <p:cNvPr id="4" name="Rectangle 2"/>
          <p:cNvSpPr>
            <a:spLocks noChangeArrowheads="1"/>
          </p:cNvSpPr>
          <p:nvPr userDrawn="1">
            <p:custDataLst>
              <p:tags r:id="rId3"/>
            </p:custDataLst>
          </p:nvPr>
        </p:nvSpPr>
        <p:spPr bwMode="white">
          <a:xfrm>
            <a:off x="0" y="0"/>
            <a:ext cx="9144000" cy="6348413"/>
          </a:xfrm>
          <a:prstGeom prst="rect">
            <a:avLst/>
          </a:prstGeom>
          <a:solidFill>
            <a:schemeClr val="accent4"/>
          </a:solidFill>
          <a:ln w="9525">
            <a:noFill/>
            <a:miter lim="800000"/>
            <a:headEnd/>
            <a:tailEnd/>
          </a:ln>
          <a:effectLst/>
        </p:spPr>
        <p:txBody>
          <a:bodyPr wrap="none" anchor="ctr"/>
          <a:lstStyle/>
          <a:p>
            <a:pPr>
              <a:lnSpc>
                <a:spcPts val="1800"/>
              </a:lnSpc>
              <a:spcBef>
                <a:spcPct val="50000"/>
              </a:spcBef>
              <a:buClr>
                <a:schemeClr val="tx2"/>
              </a:buClr>
              <a:buSzPct val="75000"/>
              <a:buFont typeface="Wingdings" pitchFamily="2" charset="2"/>
              <a:buNone/>
              <a:defRPr/>
            </a:pPr>
            <a:endParaRPr lang="en-US">
              <a:latin typeface="Tele-GroteskFet" pitchFamily="2" charset="0"/>
            </a:endParaRPr>
          </a:p>
        </p:txBody>
      </p:sp>
      <p:sp>
        <p:nvSpPr>
          <p:cNvPr id="45058" name="Titelplatzhalter 1"/>
          <p:cNvSpPr>
            <a:spLocks noGrp="1"/>
          </p:cNvSpPr>
          <p:nvPr>
            <p:ph type="ctrTitle"/>
          </p:nvPr>
        </p:nvSpPr>
        <p:spPr bwMode="black">
          <a:xfrm>
            <a:off x="304800" y="1773238"/>
            <a:ext cx="8496300" cy="2492990"/>
          </a:xfrm>
        </p:spPr>
        <p:txBody>
          <a:bodyPr/>
          <a:lstStyle>
            <a:lvl1pPr>
              <a:defRPr sz="6000" smtClean="0">
                <a:solidFill>
                  <a:schemeClr val="bg1"/>
                </a:solidFill>
              </a:defRPr>
            </a:lvl1pPr>
          </a:lstStyle>
          <a:p>
            <a:r>
              <a:rPr lang="en-US" noProof="0" smtClean="0"/>
              <a:t>TITELMASTERFORMAT DURCH KLICKEN BEARBEITEN</a:t>
            </a:r>
          </a:p>
        </p:txBody>
      </p:sp>
      <p:sp>
        <p:nvSpPr>
          <p:cNvPr id="5" name="Foliennummernplatzhalter 5"/>
          <p:cNvSpPr>
            <a:spLocks noGrp="1"/>
          </p:cNvSpPr>
          <p:nvPr>
            <p:ph type="sldNum" sz="quarter" idx="10"/>
          </p:nvPr>
        </p:nvSpPr>
        <p:spPr>
          <a:xfrm>
            <a:off x="8540750" y="6430963"/>
            <a:ext cx="288925" cy="139700"/>
          </a:xfrm>
        </p:spPr>
        <p:txBody>
          <a:bodyPr/>
          <a:lstStyle>
            <a:lvl1pPr>
              <a:defRPr/>
            </a:lvl1pPr>
          </a:lstStyle>
          <a:p>
            <a:pPr>
              <a:defRPr/>
            </a:pPr>
            <a:fld id="{7C66A7F8-7E45-4823-BB5C-3B99627732D9}" type="slidenum">
              <a:rPr lang="en-US"/>
              <a:pPr>
                <a:defRPr/>
              </a:pPr>
              <a:t>‹Nr.›</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_mit_Bild">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3025" name="think-cell Folie" r:id="rId4" imgW="360" imgH="360" progId="">
              <p:embed/>
            </p:oleObj>
          </a:graphicData>
        </a:graphic>
      </p:graphicFrame>
      <p:pic>
        <p:nvPicPr>
          <p:cNvPr id="5" name="Picture 3"/>
          <p:cNvPicPr>
            <a:picLocks noChangeAspect="1" noChangeArrowheads="1"/>
          </p:cNvPicPr>
          <p:nvPr userDrawn="1"/>
        </p:nvPicPr>
        <p:blipFill>
          <a:blip r:embed="rId5"/>
          <a:srcRect/>
          <a:stretch>
            <a:fillRect/>
          </a:stretch>
        </p:blipFill>
        <p:spPr bwMode="auto">
          <a:xfrm>
            <a:off x="319088" y="327025"/>
            <a:ext cx="8497887" cy="4832350"/>
          </a:xfrm>
          <a:prstGeom prst="rect">
            <a:avLst/>
          </a:prstGeom>
          <a:noFill/>
          <a:ln w="9525">
            <a:noFill/>
            <a:miter lim="800000"/>
            <a:headEnd/>
            <a:tailEnd/>
          </a:ln>
        </p:spPr>
      </p:pic>
      <p:pic>
        <p:nvPicPr>
          <p:cNvPr id="6" name="Picture 30" descr="magenta_flaeche_70"/>
          <p:cNvPicPr>
            <a:picLocks noChangeArrowheads="1"/>
          </p:cNvPicPr>
          <p:nvPr userDrawn="1"/>
        </p:nvPicPr>
        <p:blipFill>
          <a:blip r:embed="rId6"/>
          <a:srcRect r="11" b="-468"/>
          <a:stretch>
            <a:fillRect/>
          </a:stretch>
        </p:blipFill>
        <p:spPr bwMode="ltGray">
          <a:xfrm>
            <a:off x="319088" y="3768725"/>
            <a:ext cx="8501062" cy="430213"/>
          </a:xfrm>
          <a:prstGeom prst="rect">
            <a:avLst/>
          </a:prstGeom>
          <a:noFill/>
          <a:ln w="9525">
            <a:noFill/>
            <a:miter lim="800000"/>
            <a:headEnd/>
            <a:tailEnd/>
          </a:ln>
        </p:spPr>
      </p:pic>
      <p:pic>
        <p:nvPicPr>
          <p:cNvPr id="7" name="Picture 26" descr="T_Logo_3c_Slogan_p_DE_EMF CD EXPORT"/>
          <p:cNvPicPr>
            <a:picLocks noChangeAspect="1" noChangeArrowheads="1"/>
          </p:cNvPicPr>
          <p:nvPr userDrawn="1"/>
        </p:nvPicPr>
        <p:blipFill>
          <a:blip r:embed="rId7"/>
          <a:srcRect r="63742"/>
          <a:stretch>
            <a:fillRect/>
          </a:stretch>
        </p:blipFill>
        <p:spPr bwMode="black">
          <a:xfrm>
            <a:off x="323850" y="6138863"/>
            <a:ext cx="1079500" cy="395287"/>
          </a:xfrm>
          <a:prstGeom prst="rect">
            <a:avLst/>
          </a:prstGeom>
          <a:noFill/>
          <a:ln w="9525">
            <a:noFill/>
            <a:miter lim="800000"/>
            <a:headEnd/>
            <a:tailEnd/>
          </a:ln>
        </p:spPr>
      </p:pic>
      <p:pic>
        <p:nvPicPr>
          <p:cNvPr id="8" name="Picture 39" descr="T_Logo_3c_Slogan_p_INT"/>
          <p:cNvPicPr>
            <a:picLocks noChangeAspect="1" noChangeArrowheads="1"/>
          </p:cNvPicPr>
          <p:nvPr userDrawn="1"/>
        </p:nvPicPr>
        <p:blipFill>
          <a:blip r:embed="rId8"/>
          <a:srcRect l="45888"/>
          <a:stretch>
            <a:fillRect/>
          </a:stretch>
        </p:blipFill>
        <p:spPr bwMode="black">
          <a:xfrm>
            <a:off x="7392988" y="6138863"/>
            <a:ext cx="1435100" cy="395287"/>
          </a:xfrm>
          <a:prstGeom prst="rect">
            <a:avLst/>
          </a:prstGeom>
          <a:noFill/>
          <a:ln w="9525">
            <a:noFill/>
            <a:miter lim="800000"/>
            <a:headEnd/>
            <a:tailEnd/>
          </a:ln>
        </p:spPr>
      </p:pic>
      <p:sp>
        <p:nvSpPr>
          <p:cNvPr id="45058" name="Titelplatzhalter 1"/>
          <p:cNvSpPr>
            <a:spLocks noGrp="1"/>
          </p:cNvSpPr>
          <p:nvPr>
            <p:ph type="ctrTitle"/>
          </p:nvPr>
        </p:nvSpPr>
        <p:spPr bwMode="ltGray">
          <a:xfrm>
            <a:off x="319088" y="4078287"/>
            <a:ext cx="8496300" cy="1690687"/>
          </a:xfrm>
          <a:solidFill>
            <a:srgbClr val="E20074"/>
          </a:solidFill>
        </p:spPr>
        <p:txBody>
          <a:bodyPr lIns="144000">
            <a:noAutofit/>
          </a:bodyPr>
          <a:lstStyle>
            <a:lvl1pPr>
              <a:defRPr sz="4000" smtClean="0">
                <a:solidFill>
                  <a:schemeClr val="bg1"/>
                </a:solidFill>
              </a:defRPr>
            </a:lvl1pPr>
          </a:lstStyle>
          <a:p>
            <a:r>
              <a:rPr lang="en-US" noProof="0" smtClean="0"/>
              <a:t>TITELMASTERFORMAT DURCH KLICKEN BEARBEITEN</a:t>
            </a:r>
          </a:p>
        </p:txBody>
      </p:sp>
      <p:sp>
        <p:nvSpPr>
          <p:cNvPr id="45059" name="Textplatzhalter 2"/>
          <p:cNvSpPr>
            <a:spLocks noGrp="1"/>
          </p:cNvSpPr>
          <p:nvPr>
            <p:ph type="subTitle" idx="1"/>
          </p:nvPr>
        </p:nvSpPr>
        <p:spPr bwMode="white">
          <a:xfrm>
            <a:off x="468000" y="5158800"/>
            <a:ext cx="8496300" cy="332399"/>
          </a:xfrm>
        </p:spPr>
        <p:txBody>
          <a:bodyPr>
            <a:spAutoFit/>
          </a:bodyPr>
          <a:lstStyle>
            <a:lvl1pPr>
              <a:defRPr sz="2400" smtClean="0">
                <a:solidFill>
                  <a:schemeClr val="bg1"/>
                </a:solidFill>
                <a:latin typeface="Tele-GroteskNor" pitchFamily="2" charset="0"/>
              </a:defRPr>
            </a:lvl1pPr>
          </a:lstStyle>
          <a:p>
            <a:r>
              <a:rPr lang="en-US" noProof="0" smtClean="0"/>
              <a:t>Formatvorlage des Untertitelmasters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1_Titelfolie_mit_Bild">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4049" name="think-cell Folie" r:id="rId4" imgW="360" imgH="360" progId="">
              <p:embed/>
            </p:oleObj>
          </a:graphicData>
        </a:graphic>
      </p:graphicFrame>
      <p:pic>
        <p:nvPicPr>
          <p:cNvPr id="5" name="Grafik 12" descr="t-labs-cebit-motiv_03.bmp"/>
          <p:cNvPicPr>
            <a:picLocks noChangeAspect="1"/>
          </p:cNvPicPr>
          <p:nvPr userDrawn="1"/>
        </p:nvPicPr>
        <p:blipFill>
          <a:blip r:embed="rId5"/>
          <a:srcRect t="9807" b="2716"/>
          <a:stretch>
            <a:fillRect/>
          </a:stretch>
        </p:blipFill>
        <p:spPr bwMode="auto">
          <a:xfrm>
            <a:off x="323850" y="331788"/>
            <a:ext cx="8499475" cy="5437187"/>
          </a:xfrm>
          <a:prstGeom prst="rect">
            <a:avLst/>
          </a:prstGeom>
          <a:noFill/>
          <a:ln w="9525">
            <a:noFill/>
            <a:miter lim="800000"/>
            <a:headEnd/>
            <a:tailEnd/>
          </a:ln>
        </p:spPr>
      </p:pic>
      <p:pic>
        <p:nvPicPr>
          <p:cNvPr id="6" name="Picture 30" descr="magenta_flaeche_70"/>
          <p:cNvPicPr>
            <a:picLocks noChangeArrowheads="1"/>
          </p:cNvPicPr>
          <p:nvPr userDrawn="1"/>
        </p:nvPicPr>
        <p:blipFill>
          <a:blip r:embed="rId6"/>
          <a:srcRect r="11" b="-468"/>
          <a:stretch>
            <a:fillRect/>
          </a:stretch>
        </p:blipFill>
        <p:spPr bwMode="ltGray">
          <a:xfrm>
            <a:off x="319088" y="3768725"/>
            <a:ext cx="8501062" cy="430213"/>
          </a:xfrm>
          <a:prstGeom prst="rect">
            <a:avLst/>
          </a:prstGeom>
          <a:noFill/>
          <a:ln w="9525">
            <a:noFill/>
            <a:miter lim="800000"/>
            <a:headEnd/>
            <a:tailEnd/>
          </a:ln>
        </p:spPr>
      </p:pic>
      <p:pic>
        <p:nvPicPr>
          <p:cNvPr id="7" name="Picture 26" descr="T_Logo_3c_Slogan_p_DE_EMF CD EXPORT"/>
          <p:cNvPicPr>
            <a:picLocks noChangeAspect="1" noChangeArrowheads="1"/>
          </p:cNvPicPr>
          <p:nvPr userDrawn="1"/>
        </p:nvPicPr>
        <p:blipFill>
          <a:blip r:embed="rId7"/>
          <a:srcRect r="63742"/>
          <a:stretch>
            <a:fillRect/>
          </a:stretch>
        </p:blipFill>
        <p:spPr bwMode="black">
          <a:xfrm>
            <a:off x="323850" y="6138863"/>
            <a:ext cx="1079500" cy="395287"/>
          </a:xfrm>
          <a:prstGeom prst="rect">
            <a:avLst/>
          </a:prstGeom>
          <a:noFill/>
          <a:ln w="9525">
            <a:noFill/>
            <a:miter lim="800000"/>
            <a:headEnd/>
            <a:tailEnd/>
          </a:ln>
        </p:spPr>
      </p:pic>
      <p:pic>
        <p:nvPicPr>
          <p:cNvPr id="8" name="Picture 39" descr="T_Logo_3c_Slogan_p_INT"/>
          <p:cNvPicPr>
            <a:picLocks noChangeAspect="1" noChangeArrowheads="1"/>
          </p:cNvPicPr>
          <p:nvPr userDrawn="1"/>
        </p:nvPicPr>
        <p:blipFill>
          <a:blip r:embed="rId8"/>
          <a:srcRect l="45888"/>
          <a:stretch>
            <a:fillRect/>
          </a:stretch>
        </p:blipFill>
        <p:spPr bwMode="black">
          <a:xfrm>
            <a:off x="7392988" y="6138863"/>
            <a:ext cx="1435100" cy="395287"/>
          </a:xfrm>
          <a:prstGeom prst="rect">
            <a:avLst/>
          </a:prstGeom>
          <a:noFill/>
          <a:ln w="9525">
            <a:noFill/>
            <a:miter lim="800000"/>
            <a:headEnd/>
            <a:tailEnd/>
          </a:ln>
        </p:spPr>
      </p:pic>
      <p:sp>
        <p:nvSpPr>
          <p:cNvPr id="45058" name="Titelplatzhalter 1"/>
          <p:cNvSpPr>
            <a:spLocks noGrp="1"/>
          </p:cNvSpPr>
          <p:nvPr>
            <p:ph type="ctrTitle"/>
          </p:nvPr>
        </p:nvSpPr>
        <p:spPr bwMode="ltGray">
          <a:xfrm>
            <a:off x="319088" y="4078287"/>
            <a:ext cx="8496300" cy="1690687"/>
          </a:xfrm>
          <a:solidFill>
            <a:srgbClr val="E20074"/>
          </a:solidFill>
        </p:spPr>
        <p:txBody>
          <a:bodyPr lIns="144000">
            <a:noAutofit/>
          </a:bodyPr>
          <a:lstStyle>
            <a:lvl1pPr>
              <a:defRPr sz="4000" smtClean="0">
                <a:solidFill>
                  <a:schemeClr val="bg1"/>
                </a:solidFill>
              </a:defRPr>
            </a:lvl1pPr>
          </a:lstStyle>
          <a:p>
            <a:r>
              <a:rPr lang="en-US" noProof="0" smtClean="0"/>
              <a:t>TITELMASTERFORMAT DURCH KLICKEN BEARBEITEN</a:t>
            </a:r>
          </a:p>
        </p:txBody>
      </p:sp>
      <p:sp>
        <p:nvSpPr>
          <p:cNvPr id="45059" name="Textplatzhalter 2"/>
          <p:cNvSpPr>
            <a:spLocks noGrp="1"/>
          </p:cNvSpPr>
          <p:nvPr>
            <p:ph type="subTitle" idx="1"/>
          </p:nvPr>
        </p:nvSpPr>
        <p:spPr bwMode="white">
          <a:xfrm>
            <a:off x="468000" y="5158800"/>
            <a:ext cx="8496300" cy="332399"/>
          </a:xfrm>
        </p:spPr>
        <p:txBody>
          <a:bodyPr>
            <a:spAutoFit/>
          </a:bodyPr>
          <a:lstStyle>
            <a:lvl1pPr>
              <a:defRPr sz="2400" smtClean="0">
                <a:solidFill>
                  <a:schemeClr val="bg1"/>
                </a:solidFill>
                <a:latin typeface="Tele-GroteskNor" pitchFamily="2" charset="0"/>
              </a:defRPr>
            </a:lvl1pPr>
          </a:lstStyle>
          <a:p>
            <a:r>
              <a:rPr lang="en-US" noProof="0" smtClean="0"/>
              <a:t>Formatvorlage des Untertitelmasters durch Klicken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_Layer">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5073" name="think-cell Folie" r:id="rId8" imgW="360" imgH="360" progId="">
              <p:embed/>
            </p:oleObj>
          </a:graphicData>
        </a:graphic>
      </p:graphicFrame>
      <p:sp>
        <p:nvSpPr>
          <p:cNvPr id="5" name="Titel 3"/>
          <p:cNvSpPr>
            <a:spLocks/>
          </p:cNvSpPr>
          <p:nvPr userDrawn="1">
            <p:custDataLst>
              <p:tags r:id="rId3"/>
            </p:custDataLst>
          </p:nvPr>
        </p:nvSpPr>
        <p:spPr bwMode="invGray">
          <a:xfrm>
            <a:off x="319088" y="4402138"/>
            <a:ext cx="8510587" cy="1366837"/>
          </a:xfrm>
          <a:prstGeom prst="rect">
            <a:avLst/>
          </a:prstGeom>
          <a:solidFill>
            <a:srgbClr val="E20074">
              <a:alpha val="70000"/>
            </a:srgbClr>
          </a:solidFill>
          <a:ln w="9525">
            <a:noFill/>
            <a:miter lim="800000"/>
            <a:headEnd/>
            <a:tailEnd/>
          </a:ln>
        </p:spPr>
        <p:txBody>
          <a:bodyPr lIns="144000" tIns="72000" rIns="144000" bIns="72000"/>
          <a:lstStyle/>
          <a:p>
            <a:pPr>
              <a:lnSpc>
                <a:spcPts val="4000"/>
              </a:lnSpc>
              <a:defRPr/>
            </a:pPr>
            <a:endParaRPr lang="en-US" sz="4000">
              <a:solidFill>
                <a:schemeClr val="tx2"/>
              </a:solidFill>
              <a:latin typeface="Tele-GroteskUlt" pitchFamily="2" charset="0"/>
            </a:endParaRPr>
          </a:p>
        </p:txBody>
      </p:sp>
      <p:sp>
        <p:nvSpPr>
          <p:cNvPr id="6" name="Titel 3"/>
          <p:cNvSpPr>
            <a:spLocks/>
          </p:cNvSpPr>
          <p:nvPr userDrawn="1">
            <p:custDataLst>
              <p:tags r:id="rId4"/>
            </p:custDataLst>
          </p:nvPr>
        </p:nvSpPr>
        <p:spPr bwMode="invGray">
          <a:xfrm>
            <a:off x="319088" y="3340100"/>
            <a:ext cx="8186737" cy="2428875"/>
          </a:xfrm>
          <a:prstGeom prst="rect">
            <a:avLst/>
          </a:prstGeom>
          <a:solidFill>
            <a:srgbClr val="E20074">
              <a:alpha val="70000"/>
            </a:srgbClr>
          </a:solidFill>
          <a:ln w="9525">
            <a:noFill/>
            <a:miter lim="800000"/>
            <a:headEnd/>
            <a:tailEnd/>
          </a:ln>
        </p:spPr>
        <p:txBody>
          <a:bodyPr lIns="144000" tIns="72000" rIns="144000" bIns="72000"/>
          <a:lstStyle/>
          <a:p>
            <a:pPr>
              <a:lnSpc>
                <a:spcPts val="4000"/>
              </a:lnSpc>
              <a:defRPr/>
            </a:pPr>
            <a:endParaRPr lang="en-US" sz="4000">
              <a:solidFill>
                <a:schemeClr val="tx2"/>
              </a:solidFill>
              <a:latin typeface="Tele-GroteskUlt" pitchFamily="2" charset="0"/>
            </a:endParaRPr>
          </a:p>
        </p:txBody>
      </p:sp>
      <p:pic>
        <p:nvPicPr>
          <p:cNvPr id="7" name="Picture 26" descr="T_Logo_3c_Slogan_p_DE_EMF CD EXPORT"/>
          <p:cNvPicPr>
            <a:picLocks noChangeAspect="1" noChangeArrowheads="1"/>
          </p:cNvPicPr>
          <p:nvPr userDrawn="1">
            <p:custDataLst>
              <p:tags r:id="rId5"/>
            </p:custDataLst>
          </p:nvPr>
        </p:nvPicPr>
        <p:blipFill>
          <a:blip r:embed="rId9"/>
          <a:srcRect r="63742"/>
          <a:stretch>
            <a:fillRect/>
          </a:stretch>
        </p:blipFill>
        <p:spPr bwMode="black">
          <a:xfrm>
            <a:off x="323850" y="6138863"/>
            <a:ext cx="1079500" cy="395287"/>
          </a:xfrm>
          <a:prstGeom prst="rect">
            <a:avLst/>
          </a:prstGeom>
          <a:noFill/>
          <a:ln w="9525">
            <a:noFill/>
            <a:miter lim="800000"/>
            <a:headEnd/>
            <a:tailEnd/>
          </a:ln>
        </p:spPr>
      </p:pic>
      <p:pic>
        <p:nvPicPr>
          <p:cNvPr id="8" name="Picture 39" descr="T_Logo_3c_Slogan_p_INT"/>
          <p:cNvPicPr>
            <a:picLocks noChangeAspect="1" noChangeArrowheads="1"/>
          </p:cNvPicPr>
          <p:nvPr userDrawn="1">
            <p:custDataLst>
              <p:tags r:id="rId6"/>
            </p:custDataLst>
          </p:nvPr>
        </p:nvPicPr>
        <p:blipFill>
          <a:blip r:embed="rId10"/>
          <a:srcRect l="45888"/>
          <a:stretch>
            <a:fillRect/>
          </a:stretch>
        </p:blipFill>
        <p:spPr bwMode="black">
          <a:xfrm>
            <a:off x="7392988" y="6138863"/>
            <a:ext cx="1435100" cy="395287"/>
          </a:xfrm>
          <a:prstGeom prst="rect">
            <a:avLst/>
          </a:prstGeom>
          <a:noFill/>
          <a:ln w="9525">
            <a:noFill/>
            <a:miter lim="800000"/>
            <a:headEnd/>
            <a:tailEnd/>
          </a:ln>
        </p:spPr>
      </p:pic>
      <p:sp>
        <p:nvSpPr>
          <p:cNvPr id="45058" name="Titelplatzhalter 1"/>
          <p:cNvSpPr>
            <a:spLocks noGrp="1"/>
          </p:cNvSpPr>
          <p:nvPr>
            <p:ph type="ctrTitle"/>
          </p:nvPr>
        </p:nvSpPr>
        <p:spPr bwMode="ltGray">
          <a:xfrm>
            <a:off x="319088" y="3608975"/>
            <a:ext cx="7736400" cy="2160000"/>
          </a:xfrm>
          <a:solidFill>
            <a:srgbClr val="E20074"/>
          </a:solidFill>
        </p:spPr>
        <p:txBody>
          <a:bodyPr lIns="144000">
            <a:noAutofit/>
          </a:bodyPr>
          <a:lstStyle>
            <a:lvl1pPr>
              <a:defRPr sz="4000" smtClean="0">
                <a:solidFill>
                  <a:schemeClr val="bg1"/>
                </a:solidFill>
              </a:defRPr>
            </a:lvl1pPr>
          </a:lstStyle>
          <a:p>
            <a:r>
              <a:rPr lang="en-US" noProof="0" smtClean="0"/>
              <a:t>TITELMASTERFORMAT DURCH KLICKEN BEARBEITEN</a:t>
            </a:r>
          </a:p>
        </p:txBody>
      </p:sp>
      <p:sp>
        <p:nvSpPr>
          <p:cNvPr id="45059" name="Textplatzhalter 2"/>
          <p:cNvSpPr>
            <a:spLocks noGrp="1"/>
          </p:cNvSpPr>
          <p:nvPr>
            <p:ph type="subTitle" idx="1"/>
          </p:nvPr>
        </p:nvSpPr>
        <p:spPr bwMode="white">
          <a:xfrm>
            <a:off x="468000" y="4942800"/>
            <a:ext cx="7587488" cy="332399"/>
          </a:xfrm>
        </p:spPr>
        <p:txBody>
          <a:bodyPr>
            <a:spAutoFit/>
          </a:bodyPr>
          <a:lstStyle>
            <a:lvl1pPr>
              <a:defRPr sz="2400" smtClean="0">
                <a:solidFill>
                  <a:schemeClr val="bg1"/>
                </a:solidFill>
                <a:latin typeface="Tele-GroteskNor" pitchFamily="2" charset="0"/>
              </a:defRPr>
            </a:lvl1pPr>
          </a:lstStyle>
          <a:p>
            <a:r>
              <a:rPr lang="en-US" noProof="0" smtClean="0"/>
              <a:t>Formatvorlage des Untertitelmasters durch Klicken bearbeiten</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_mit_Bild_und_Layer">
    <p:spTree>
      <p:nvGrpSpPr>
        <p:cNvPr id="1" name=""/>
        <p:cNvGrpSpPr/>
        <p:nvPr/>
      </p:nvGrpSpPr>
      <p:grpSpPr>
        <a:xfrm>
          <a:off x="0" y="0"/>
          <a:ext cx="0" cy="0"/>
          <a:chOff x="0" y="0"/>
          <a:chExt cx="0" cy="0"/>
        </a:xfrm>
      </p:grpSpPr>
      <p:graphicFrame>
        <p:nvGraphicFramePr>
          <p:cNvPr id="4"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6097" name="think-cell Folie" r:id="rId4" imgW="360" imgH="360" progId="">
              <p:embed/>
            </p:oleObj>
          </a:graphicData>
        </a:graphic>
      </p:graphicFrame>
      <p:pic>
        <p:nvPicPr>
          <p:cNvPr id="5" name="Grafik 12" descr="t-labs-cebit-motiv_03.bmp"/>
          <p:cNvPicPr>
            <a:picLocks noChangeAspect="1"/>
          </p:cNvPicPr>
          <p:nvPr userDrawn="1"/>
        </p:nvPicPr>
        <p:blipFill>
          <a:blip r:embed="rId5"/>
          <a:srcRect t="9807" b="2716"/>
          <a:stretch>
            <a:fillRect/>
          </a:stretch>
        </p:blipFill>
        <p:spPr bwMode="auto">
          <a:xfrm>
            <a:off x="0" y="3175"/>
            <a:ext cx="9144000" cy="6854825"/>
          </a:xfrm>
          <a:prstGeom prst="rect">
            <a:avLst/>
          </a:prstGeom>
          <a:noFill/>
          <a:ln w="9525">
            <a:noFill/>
            <a:miter lim="800000"/>
            <a:headEnd/>
            <a:tailEnd/>
          </a:ln>
        </p:spPr>
      </p:pic>
      <p:sp>
        <p:nvSpPr>
          <p:cNvPr id="6" name="Titel 3"/>
          <p:cNvSpPr>
            <a:spLocks/>
          </p:cNvSpPr>
          <p:nvPr userDrawn="1"/>
        </p:nvSpPr>
        <p:spPr bwMode="invGray">
          <a:xfrm>
            <a:off x="319088" y="4402138"/>
            <a:ext cx="8510587" cy="2144712"/>
          </a:xfrm>
          <a:prstGeom prst="rect">
            <a:avLst/>
          </a:prstGeom>
          <a:solidFill>
            <a:srgbClr val="E20074">
              <a:alpha val="70000"/>
            </a:srgbClr>
          </a:solidFill>
          <a:ln w="9525">
            <a:noFill/>
            <a:miter lim="800000"/>
            <a:headEnd/>
            <a:tailEnd/>
          </a:ln>
        </p:spPr>
        <p:txBody>
          <a:bodyPr lIns="144000" tIns="72000" rIns="144000" bIns="72000"/>
          <a:lstStyle/>
          <a:p>
            <a:pPr>
              <a:lnSpc>
                <a:spcPts val="4000"/>
              </a:lnSpc>
              <a:defRPr/>
            </a:pPr>
            <a:endParaRPr lang="en-US" sz="4000">
              <a:solidFill>
                <a:schemeClr val="tx2"/>
              </a:solidFill>
              <a:latin typeface="Tele-GroteskUlt" pitchFamily="2" charset="0"/>
            </a:endParaRPr>
          </a:p>
        </p:txBody>
      </p:sp>
      <p:sp>
        <p:nvSpPr>
          <p:cNvPr id="7" name="Titel 3"/>
          <p:cNvSpPr>
            <a:spLocks/>
          </p:cNvSpPr>
          <p:nvPr userDrawn="1"/>
        </p:nvSpPr>
        <p:spPr bwMode="invGray">
          <a:xfrm>
            <a:off x="319088" y="3340100"/>
            <a:ext cx="8186737" cy="3189288"/>
          </a:xfrm>
          <a:prstGeom prst="rect">
            <a:avLst/>
          </a:prstGeom>
          <a:solidFill>
            <a:srgbClr val="E20074">
              <a:alpha val="70000"/>
            </a:srgbClr>
          </a:solidFill>
          <a:ln w="9525">
            <a:noFill/>
            <a:miter lim="800000"/>
            <a:headEnd/>
            <a:tailEnd/>
          </a:ln>
        </p:spPr>
        <p:txBody>
          <a:bodyPr lIns="144000" tIns="72000" rIns="144000" bIns="72000"/>
          <a:lstStyle/>
          <a:p>
            <a:pPr>
              <a:lnSpc>
                <a:spcPts val="4000"/>
              </a:lnSpc>
              <a:defRPr/>
            </a:pPr>
            <a:endParaRPr lang="en-US" sz="4000">
              <a:solidFill>
                <a:schemeClr val="tx2"/>
              </a:solidFill>
              <a:latin typeface="Tele-GroteskUlt" pitchFamily="2" charset="0"/>
            </a:endParaRPr>
          </a:p>
        </p:txBody>
      </p:sp>
      <p:sp>
        <p:nvSpPr>
          <p:cNvPr id="8" name="Titelplatzhalter 1"/>
          <p:cNvSpPr txBox="1">
            <a:spLocks/>
          </p:cNvSpPr>
          <p:nvPr userDrawn="1"/>
        </p:nvSpPr>
        <p:spPr bwMode="ltGray">
          <a:xfrm>
            <a:off x="319088" y="3608388"/>
            <a:ext cx="7735887" cy="2921000"/>
          </a:xfrm>
          <a:prstGeom prst="rect">
            <a:avLst/>
          </a:prstGeom>
          <a:solidFill>
            <a:srgbClr val="E20074"/>
          </a:solidFill>
          <a:ln w="9525">
            <a:noFill/>
            <a:miter lim="800000"/>
            <a:headEnd/>
            <a:tailEnd/>
          </a:ln>
        </p:spPr>
        <p:txBody>
          <a:bodyPr lIns="144000" tIns="0" rIns="0" bIns="0"/>
          <a:lstStyle>
            <a:lvl1pPr>
              <a:defRPr sz="4000" smtClean="0">
                <a:solidFill>
                  <a:schemeClr val="bg1"/>
                </a:solidFill>
              </a:defRPr>
            </a:lvl1pPr>
          </a:lstStyle>
          <a:p>
            <a:pPr>
              <a:lnSpc>
                <a:spcPct val="90000"/>
              </a:lnSpc>
              <a:defRPr/>
            </a:pPr>
            <a:endParaRPr lang="en-US">
              <a:latin typeface="Tele-GroteskUlt" pitchFamily="2" charset="0"/>
              <a:ea typeface="+mj-ea"/>
              <a:cs typeface="TeleGrotesk Headline Ultra"/>
            </a:endParaRPr>
          </a:p>
        </p:txBody>
      </p:sp>
      <p:pic>
        <p:nvPicPr>
          <p:cNvPr id="9" name="Picture 23" descr="T_Logo_3c_Slogan_n_DE_EMF CD EXPORT"/>
          <p:cNvPicPr>
            <a:picLocks noChangeAspect="1" noChangeArrowheads="1"/>
          </p:cNvPicPr>
          <p:nvPr userDrawn="1"/>
        </p:nvPicPr>
        <p:blipFill>
          <a:blip r:embed="rId6"/>
          <a:srcRect r="69640"/>
          <a:stretch>
            <a:fillRect/>
          </a:stretch>
        </p:blipFill>
        <p:spPr bwMode="black">
          <a:xfrm>
            <a:off x="484188" y="5964238"/>
            <a:ext cx="908050" cy="396875"/>
          </a:xfrm>
          <a:prstGeom prst="rect">
            <a:avLst/>
          </a:prstGeom>
          <a:noFill/>
          <a:ln w="9525">
            <a:noFill/>
            <a:miter lim="800000"/>
            <a:headEnd/>
            <a:tailEnd/>
          </a:ln>
        </p:spPr>
      </p:pic>
      <p:pic>
        <p:nvPicPr>
          <p:cNvPr id="10" name="Picture 25" descr="T_Logo_3c_Slogan_n_INT"/>
          <p:cNvPicPr>
            <a:picLocks noChangeAspect="1" noChangeArrowheads="1"/>
          </p:cNvPicPr>
          <p:nvPr userDrawn="1"/>
        </p:nvPicPr>
        <p:blipFill>
          <a:blip r:embed="rId7"/>
          <a:srcRect l="45840"/>
          <a:stretch>
            <a:fillRect/>
          </a:stretch>
        </p:blipFill>
        <p:spPr bwMode="black">
          <a:xfrm>
            <a:off x="7240588" y="5965825"/>
            <a:ext cx="1436687" cy="395288"/>
          </a:xfrm>
          <a:prstGeom prst="rect">
            <a:avLst/>
          </a:prstGeom>
          <a:noFill/>
          <a:ln w="9525">
            <a:noFill/>
            <a:miter lim="800000"/>
            <a:headEnd/>
            <a:tailEnd/>
          </a:ln>
        </p:spPr>
      </p:pic>
      <p:sp>
        <p:nvSpPr>
          <p:cNvPr id="45058" name="Titelplatzhalter 1"/>
          <p:cNvSpPr>
            <a:spLocks noGrp="1"/>
          </p:cNvSpPr>
          <p:nvPr>
            <p:ph type="ctrTitle"/>
          </p:nvPr>
        </p:nvSpPr>
        <p:spPr bwMode="white">
          <a:xfrm>
            <a:off x="319088" y="3608974"/>
            <a:ext cx="7736400" cy="1107996"/>
          </a:xfrm>
          <a:noFill/>
        </p:spPr>
        <p:txBody>
          <a:bodyPr lIns="144000"/>
          <a:lstStyle>
            <a:lvl1pPr>
              <a:defRPr sz="4000" smtClean="0">
                <a:solidFill>
                  <a:schemeClr val="bg1"/>
                </a:solidFill>
              </a:defRPr>
            </a:lvl1pPr>
          </a:lstStyle>
          <a:p>
            <a:r>
              <a:rPr lang="en-US" noProof="0" smtClean="0"/>
              <a:t>TITELMASTERFORMAT DURCH KLICKEN BEARBEITEN</a:t>
            </a:r>
          </a:p>
        </p:txBody>
      </p:sp>
      <p:sp>
        <p:nvSpPr>
          <p:cNvPr id="45059" name="Textplatzhalter 2"/>
          <p:cNvSpPr>
            <a:spLocks noGrp="1"/>
          </p:cNvSpPr>
          <p:nvPr>
            <p:ph type="subTitle" idx="1"/>
          </p:nvPr>
        </p:nvSpPr>
        <p:spPr bwMode="white">
          <a:xfrm>
            <a:off x="468000" y="4942800"/>
            <a:ext cx="7587488" cy="332399"/>
          </a:xfrm>
        </p:spPr>
        <p:txBody>
          <a:bodyPr>
            <a:spAutoFit/>
          </a:bodyPr>
          <a:lstStyle>
            <a:lvl1pPr>
              <a:defRPr sz="2400" smtClean="0">
                <a:solidFill>
                  <a:schemeClr val="bg1"/>
                </a:solidFill>
                <a:latin typeface="Tele-GroteskNor" pitchFamily="2" charset="0"/>
              </a:defRPr>
            </a:lvl1pPr>
          </a:lstStyle>
          <a:p>
            <a:r>
              <a:rPr lang="en-US" noProof="0" smtClean="0"/>
              <a:t>Formatvorlage des Untertitelmasters durch Klicken bearbeiten</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7121" name="think-cell Folie" r:id="rId4" imgW="360" imgH="360" progId="">
              <p:embed/>
            </p:oleObj>
          </a:graphicData>
        </a:graphic>
      </p:graphicFrame>
      <p:sp>
        <p:nvSpPr>
          <p:cNvPr id="45058" name="Titelplatzhalter 1"/>
          <p:cNvSpPr>
            <a:spLocks noGrp="1"/>
          </p:cNvSpPr>
          <p:nvPr>
            <p:ph type="ctrTitle"/>
          </p:nvPr>
        </p:nvSpPr>
        <p:spPr bwMode="black">
          <a:xfrm>
            <a:off x="304800" y="1773238"/>
            <a:ext cx="8496300" cy="2492990"/>
          </a:xfrm>
        </p:spPr>
        <p:txBody>
          <a:bodyPr/>
          <a:lstStyle>
            <a:lvl1pPr>
              <a:defRPr sz="6000" smtClean="0">
                <a:solidFill>
                  <a:schemeClr val="bg1"/>
                </a:solidFill>
              </a:defRPr>
            </a:lvl1pPr>
          </a:lstStyle>
          <a:p>
            <a:r>
              <a:rPr lang="en-US" noProof="0" smtClean="0"/>
              <a:t>TITELMASTERFORMAT DURCH KLICKEN BEARBEITEN</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8145" name="think-cell Folie" r:id="rId4" imgW="360" imgH="360" progId="">
              <p:embed/>
            </p:oleObj>
          </a:graphicData>
        </a:graphic>
      </p:graphicFrame>
      <p:sp>
        <p:nvSpPr>
          <p:cNvPr id="45058" name="Titelplatzhalter 1"/>
          <p:cNvSpPr>
            <a:spLocks noGrp="1"/>
          </p:cNvSpPr>
          <p:nvPr>
            <p:ph type="ctrTitle"/>
          </p:nvPr>
        </p:nvSpPr>
        <p:spPr bwMode="black">
          <a:xfrm>
            <a:off x="304800" y="1773238"/>
            <a:ext cx="8496300" cy="2492990"/>
          </a:xfrm>
        </p:spPr>
        <p:txBody>
          <a:bodyPr/>
          <a:lstStyle>
            <a:lvl1pPr>
              <a:defRPr sz="6000" smtClean="0">
                <a:solidFill>
                  <a:schemeClr val="bg1"/>
                </a:solidFill>
              </a:defRPr>
            </a:lvl1pPr>
          </a:lstStyle>
          <a:p>
            <a:r>
              <a:rPr lang="en-US" noProof="0" smtClean="0"/>
              <a:t>TITELMASTERFORMAT DURCH KLICKEN BEARBEITEN</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19169" name="think-cell Folie" r:id="rId4" imgW="360" imgH="360" progId="">
              <p:embed/>
            </p:oleObj>
          </a:graphicData>
        </a:graphic>
      </p:graphicFrame>
      <p:pic>
        <p:nvPicPr>
          <p:cNvPr id="3"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4"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5" name="Datumsplatzhalter 1"/>
          <p:cNvSpPr>
            <a:spLocks noGrp="1"/>
          </p:cNvSpPr>
          <p:nvPr>
            <p:ph type="dt" sz="half" idx="10"/>
          </p:nvPr>
        </p:nvSpPr>
        <p:spPr/>
        <p:txBody>
          <a:bodyPr/>
          <a:lstStyle>
            <a:lvl1pPr>
              <a:defRPr/>
            </a:lvl1pPr>
          </a:lstStyle>
          <a:p>
            <a:pPr>
              <a:defRPr/>
            </a:pPr>
            <a:fld id="{78FBF67D-9FBE-420D-841B-247F8B281E9D}" type="datetime1">
              <a:rPr lang="de-DE"/>
              <a:pPr>
                <a:defRPr/>
              </a:pPr>
              <a:t>11.09.2013</a:t>
            </a:fld>
            <a:endParaRPr lang="de-DE"/>
          </a:p>
        </p:txBody>
      </p:sp>
      <p:sp>
        <p:nvSpPr>
          <p:cNvPr id="6" name="Fußzeilenplatzhalter 2"/>
          <p:cNvSpPr>
            <a:spLocks noGrp="1"/>
          </p:cNvSpPr>
          <p:nvPr>
            <p:ph type="ftr" sz="quarter" idx="11"/>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7" name="Foliennummernplatzhalter 3"/>
          <p:cNvSpPr>
            <a:spLocks noGrp="1"/>
          </p:cNvSpPr>
          <p:nvPr>
            <p:ph type="sldNum" sz="quarter" idx="12"/>
          </p:nvPr>
        </p:nvSpPr>
        <p:spPr/>
        <p:txBody>
          <a:bodyPr/>
          <a:lstStyle>
            <a:lvl1pPr>
              <a:defRPr/>
            </a:lvl1pPr>
          </a:lstStyle>
          <a:p>
            <a:pPr>
              <a:defRPr/>
            </a:pPr>
            <a:fld id="{127AA3C5-4E2C-4614-AE56-0714AA18D315}" type="slidenum">
              <a:rPr lang="de-DE"/>
              <a:pPr>
                <a:defRPr/>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520193" name="think-cell Folie" r:id="rId4" imgW="360" imgH="360" progId="">
              <p:embed/>
            </p:oleObj>
          </a:graphicData>
        </a:graphic>
      </p:graphicFrame>
      <p:pic>
        <p:nvPicPr>
          <p:cNvPr id="4" name="Picture 53" descr="T_Logo_3c_Slogan_p_DE_EMF CD EXPORT"/>
          <p:cNvPicPr>
            <a:picLocks noChangeAspect="1" noChangeArrowheads="1"/>
          </p:cNvPicPr>
          <p:nvPr/>
        </p:nvPicPr>
        <p:blipFill>
          <a:blip r:embed="rId5"/>
          <a:srcRect r="65157"/>
          <a:stretch>
            <a:fillRect/>
          </a:stretch>
        </p:blipFill>
        <p:spPr bwMode="auto">
          <a:xfrm>
            <a:off x="319088" y="6340475"/>
            <a:ext cx="757237" cy="288925"/>
          </a:xfrm>
          <a:prstGeom prst="rect">
            <a:avLst/>
          </a:prstGeom>
          <a:noFill/>
          <a:ln w="9525">
            <a:noFill/>
            <a:miter lim="800000"/>
            <a:headEnd/>
            <a:tailEnd/>
          </a:ln>
        </p:spPr>
      </p:pic>
      <p:sp>
        <p:nvSpPr>
          <p:cNvPr id="5"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
        <p:nvSpPr>
          <p:cNvPr id="2" name="Titel 1"/>
          <p:cNvSpPr>
            <a:spLocks noGrp="1"/>
          </p:cNvSpPr>
          <p:nvPr>
            <p:ph type="title"/>
          </p:nvPr>
        </p:nvSpPr>
        <p:spPr>
          <a:xfrm>
            <a:off x="304800" y="333375"/>
            <a:ext cx="8496300" cy="415498"/>
          </a:xfrm>
        </p:spPr>
        <p:txBody>
          <a:bodyPr/>
          <a:lstStyle/>
          <a:p>
            <a:r>
              <a:rPr lang="en-US" dirty="0" smtClean="0"/>
              <a:t>Titelmasterformat durch Klicken bearbeiten</a:t>
            </a:r>
            <a:endParaRPr lang="de-DE" dirty="0"/>
          </a:p>
        </p:txBody>
      </p:sp>
      <p:sp>
        <p:nvSpPr>
          <p:cNvPr id="6" name="Datumsplatzhalter 2"/>
          <p:cNvSpPr>
            <a:spLocks noGrp="1"/>
          </p:cNvSpPr>
          <p:nvPr>
            <p:ph type="dt" sz="half" idx="10"/>
          </p:nvPr>
        </p:nvSpPr>
        <p:spPr/>
        <p:txBody>
          <a:bodyPr/>
          <a:lstStyle>
            <a:lvl1pPr>
              <a:defRPr/>
            </a:lvl1pPr>
          </a:lstStyle>
          <a:p>
            <a:pPr>
              <a:defRPr/>
            </a:pPr>
            <a:fld id="{7F466E57-79D3-4F28-949C-A9C6483C4EE9}" type="datetime1">
              <a:rPr lang="de-DE"/>
              <a:pPr>
                <a:defRPr/>
              </a:pPr>
              <a:t>11.09.2013</a:t>
            </a:fld>
            <a:endParaRPr lang="de-DE"/>
          </a:p>
        </p:txBody>
      </p:sp>
      <p:sp>
        <p:nvSpPr>
          <p:cNvPr id="7" name="Fußzeilenplatzhalter 3"/>
          <p:cNvSpPr>
            <a:spLocks noGrp="1"/>
          </p:cNvSpPr>
          <p:nvPr>
            <p:ph type="ftr" sz="quarter" idx="11"/>
          </p:nvPr>
        </p:nvSpPr>
        <p:spPr>
          <a:xfrm>
            <a:off x="2557463" y="6432550"/>
            <a:ext cx="4102100" cy="136525"/>
          </a:xfrm>
        </p:spPr>
        <p:txBody>
          <a:bodyPr/>
          <a:lstStyle>
            <a:lvl1pPr>
              <a:defRPr/>
            </a:lvl1pPr>
          </a:lstStyle>
          <a:p>
            <a:pPr>
              <a:defRPr/>
            </a:pPr>
            <a:r>
              <a:rPr lang="en-US"/>
              <a:t>– Strictly confidential, Confidential, Internal –</a:t>
            </a:r>
            <a:endParaRPr lang="de-DE"/>
          </a:p>
        </p:txBody>
      </p:sp>
      <p:sp>
        <p:nvSpPr>
          <p:cNvPr id="8" name="Foliennummernplatzhalter 4"/>
          <p:cNvSpPr>
            <a:spLocks noGrp="1"/>
          </p:cNvSpPr>
          <p:nvPr>
            <p:ph type="sldNum" sz="quarter" idx="12"/>
          </p:nvPr>
        </p:nvSpPr>
        <p:spPr/>
        <p:txBody>
          <a:bodyPr/>
          <a:lstStyle>
            <a:lvl1pPr>
              <a:defRPr/>
            </a:lvl1pPr>
          </a:lstStyle>
          <a:p>
            <a:pPr>
              <a:defRPr/>
            </a:pPr>
            <a:fld id="{D01ABC54-3329-4EEB-BF1F-AAA0E08BCB1F}" type="slidenum">
              <a:rPr lang="de-DE"/>
              <a:pPr>
                <a:defRPr/>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27" name="Object 103"/>
          <p:cNvGraphicFramePr>
            <a:graphicFrameLocks noChangeAspect="1"/>
          </p:cNvGraphicFramePr>
          <p:nvPr>
            <p:custDataLst>
              <p:tags r:id="rId19"/>
            </p:custDataLst>
          </p:nvPr>
        </p:nvGraphicFramePr>
        <p:xfrm>
          <a:off x="1588" y="1588"/>
          <a:ext cx="1587" cy="1587"/>
        </p:xfrm>
        <a:graphic>
          <a:graphicData uri="http://schemas.openxmlformats.org/presentationml/2006/ole">
            <p:oleObj spid="_x0000_s1127" name="think-cell Folie" r:id="rId20" imgW="360" imgH="360" progId="">
              <p:embed/>
            </p:oleObj>
          </a:graphicData>
        </a:graphic>
      </p:graphicFrame>
      <p:sp>
        <p:nvSpPr>
          <p:cNvPr id="1129" name="Titelplatzhalter 1"/>
          <p:cNvSpPr>
            <a:spLocks noGrp="1"/>
          </p:cNvSpPr>
          <p:nvPr>
            <p:ph type="title"/>
          </p:nvPr>
        </p:nvSpPr>
        <p:spPr bwMode="gray">
          <a:xfrm>
            <a:off x="304800" y="333375"/>
            <a:ext cx="8496300" cy="415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smtClean="0"/>
              <a:t>MASTERTITELFORMAT BEARBEITEN</a:t>
            </a:r>
          </a:p>
        </p:txBody>
      </p:sp>
      <p:sp>
        <p:nvSpPr>
          <p:cNvPr id="1130" name="Textplatzhalter 2"/>
          <p:cNvSpPr>
            <a:spLocks noGrp="1"/>
          </p:cNvSpPr>
          <p:nvPr>
            <p:ph type="body" idx="1"/>
          </p:nvPr>
        </p:nvSpPr>
        <p:spPr bwMode="gray">
          <a:xfrm>
            <a:off x="304800" y="1773238"/>
            <a:ext cx="8496300" cy="4284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nvPr>
        </p:nvSpPr>
        <p:spPr bwMode="gray">
          <a:xfrm>
            <a:off x="6804025" y="6432550"/>
            <a:ext cx="18002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pPr>
              <a:defRPr/>
            </a:pPr>
            <a:fld id="{166AF296-2A34-4B1D-9D20-3B1704954013}" type="datetime1">
              <a:rPr lang="de-DE"/>
              <a:pPr>
                <a:defRPr/>
              </a:pPr>
              <a:t>11.09.2013</a:t>
            </a:fld>
            <a:endParaRPr lang="de-DE"/>
          </a:p>
        </p:txBody>
      </p:sp>
      <p:sp>
        <p:nvSpPr>
          <p:cNvPr id="5" name="Fußzeilenplatzhalter 4"/>
          <p:cNvSpPr>
            <a:spLocks noGrp="1"/>
          </p:cNvSpPr>
          <p:nvPr>
            <p:ph type="ftr" sz="quarter" idx="3"/>
          </p:nvPr>
        </p:nvSpPr>
        <p:spPr bwMode="gray">
          <a:xfrm>
            <a:off x="2557463" y="6430963"/>
            <a:ext cx="4102100" cy="1397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pPr>
              <a:defRPr/>
            </a:pPr>
            <a:r>
              <a:rPr lang="en-US"/>
              <a:t>– Strictly confidential, Confidential, Internal –</a:t>
            </a:r>
            <a:endParaRPr lang="de-DE"/>
          </a:p>
        </p:txBody>
      </p:sp>
      <p:sp>
        <p:nvSpPr>
          <p:cNvPr id="6" name="Foliennummernplatzhalter 5"/>
          <p:cNvSpPr>
            <a:spLocks noGrp="1"/>
          </p:cNvSpPr>
          <p:nvPr>
            <p:ph type="sldNum" sz="quarter" idx="4"/>
          </p:nvPr>
        </p:nvSpPr>
        <p:spPr bwMode="gray">
          <a:xfrm>
            <a:off x="8540750" y="6432550"/>
            <a:ext cx="2889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pPr>
              <a:defRPr/>
            </a:pPr>
            <a:fld id="{49B5ACF7-5E8F-4E07-BB6B-3CE08B2978CC}" type="slidenum">
              <a:rPr lang="de-DE"/>
              <a:pPr>
                <a:defRPr/>
              </a:pPr>
              <a:t>‹Nr.›</a:t>
            </a:fld>
            <a:endParaRPr lang="de-DE"/>
          </a:p>
        </p:txBody>
      </p:sp>
      <p:pic>
        <p:nvPicPr>
          <p:cNvPr id="1134" name="Picture 53" descr="T_Logo_3c_Slogan_p_DE_EMF CD EXPORT"/>
          <p:cNvPicPr>
            <a:picLocks noChangeAspect="1" noChangeArrowheads="1"/>
          </p:cNvPicPr>
          <p:nvPr/>
        </p:nvPicPr>
        <p:blipFill>
          <a:blip r:embed="rId21"/>
          <a:srcRect r="65157"/>
          <a:stretch>
            <a:fillRect/>
          </a:stretch>
        </p:blipFill>
        <p:spPr bwMode="auto">
          <a:xfrm>
            <a:off x="319088" y="6340475"/>
            <a:ext cx="757237" cy="288925"/>
          </a:xfrm>
          <a:prstGeom prst="rect">
            <a:avLst/>
          </a:prstGeom>
          <a:noFill/>
          <a:ln w="9525">
            <a:noFill/>
            <a:miter lim="800000"/>
            <a:headEnd/>
            <a:tailEnd/>
          </a:ln>
        </p:spPr>
      </p:pic>
      <p:sp>
        <p:nvSpPr>
          <p:cNvPr id="36" name="Text Box 10"/>
          <p:cNvSpPr txBox="1">
            <a:spLocks noChangeArrowheads="1"/>
          </p:cNvSpPr>
          <p:nvPr/>
        </p:nvSpPr>
        <p:spPr bwMode="auto">
          <a:xfrm>
            <a:off x="1055688" y="6324600"/>
            <a:ext cx="3455987" cy="322263"/>
          </a:xfrm>
          <a:prstGeom prst="rect">
            <a:avLst/>
          </a:prstGeom>
          <a:solidFill>
            <a:schemeClr val="bg1"/>
          </a:solidFill>
          <a:ln>
            <a:noFill/>
          </a:ln>
          <a:effectLst/>
          <a:extLst/>
        </p:spPr>
        <p:txBody>
          <a:bodyPr>
            <a:spAutoFit/>
          </a:bodyPr>
          <a:lstStyle>
            <a:defPPr>
              <a:defRPr lang="de-DE"/>
            </a:defPPr>
            <a:lvl1pPr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1pPr>
            <a:lvl2pPr marL="4572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2pPr>
            <a:lvl3pPr marL="9144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3pPr>
            <a:lvl4pPr marL="13716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4pPr>
            <a:lvl5pPr marL="1828800" algn="l" defTabSz="457200" rtl="0" fontAlgn="base">
              <a:lnSpc>
                <a:spcPts val="1800"/>
              </a:lnSpc>
              <a:spcBef>
                <a:spcPct val="25000"/>
              </a:spcBef>
              <a:spcAft>
                <a:spcPct val="0"/>
              </a:spcAft>
              <a:buClr>
                <a:schemeClr val="tx2"/>
              </a:buClr>
              <a:buFont typeface="Wingdings" pitchFamily="2" charset="2"/>
              <a:defRPr kern="1200">
                <a:solidFill>
                  <a:schemeClr val="bg1"/>
                </a:solidFill>
                <a:latin typeface="Tele-GroteskFet" pitchFamily="2" charset="0"/>
                <a:ea typeface="+mn-ea"/>
                <a:cs typeface="+mn-cs"/>
              </a:defRPr>
            </a:lvl5pPr>
            <a:lvl6pPr marL="2286000" algn="l" defTabSz="914400" rtl="0" eaLnBrk="1" latinLnBrk="0" hangingPunct="1">
              <a:defRPr kern="1200">
                <a:solidFill>
                  <a:schemeClr val="bg1"/>
                </a:solidFill>
                <a:latin typeface="Tele-GroteskFet" pitchFamily="2" charset="0"/>
                <a:ea typeface="+mn-ea"/>
                <a:cs typeface="+mn-cs"/>
              </a:defRPr>
            </a:lvl6pPr>
            <a:lvl7pPr marL="2743200" algn="l" defTabSz="914400" rtl="0" eaLnBrk="1" latinLnBrk="0" hangingPunct="1">
              <a:defRPr kern="1200">
                <a:solidFill>
                  <a:schemeClr val="bg1"/>
                </a:solidFill>
                <a:latin typeface="Tele-GroteskFet" pitchFamily="2" charset="0"/>
                <a:ea typeface="+mn-ea"/>
                <a:cs typeface="+mn-cs"/>
              </a:defRPr>
            </a:lvl7pPr>
            <a:lvl8pPr marL="3200400" algn="l" defTabSz="914400" rtl="0" eaLnBrk="1" latinLnBrk="0" hangingPunct="1">
              <a:defRPr kern="1200">
                <a:solidFill>
                  <a:schemeClr val="bg1"/>
                </a:solidFill>
                <a:latin typeface="Tele-GroteskFet" pitchFamily="2" charset="0"/>
                <a:ea typeface="+mn-ea"/>
                <a:cs typeface="+mn-cs"/>
              </a:defRPr>
            </a:lvl8pPr>
            <a:lvl9pPr marL="3657600" algn="l" defTabSz="914400" rtl="0" eaLnBrk="1" latinLnBrk="0" hangingPunct="1">
              <a:defRPr kern="1200">
                <a:solidFill>
                  <a:schemeClr val="bg1"/>
                </a:solidFill>
                <a:latin typeface="Tele-GroteskFet" pitchFamily="2" charset="0"/>
                <a:ea typeface="+mn-ea"/>
                <a:cs typeface="+mn-cs"/>
              </a:defRPr>
            </a:lvl9pPr>
          </a:lstStyle>
          <a:p>
            <a:pPr>
              <a:buClr>
                <a:srgbClr val="E20074"/>
              </a:buClr>
              <a:defRPr/>
            </a:pPr>
            <a:r>
              <a:rPr lang="en-US" sz="1050" dirty="0" smtClean="0">
                <a:solidFill>
                  <a:srgbClr val="E20074"/>
                </a:solidFill>
                <a:latin typeface="Tele-GroteskUlt"/>
              </a:rPr>
              <a:t>TELEKOM  INNOVATION  LABORATORIES</a:t>
            </a: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Lst>
  <p:timing>
    <p:tnLst>
      <p:par>
        <p:cTn id="1" dur="indefinite" restart="never" nodeType="tmRoot"/>
      </p:par>
    </p:tnLst>
  </p:timing>
  <p:hf hdr="0"/>
  <p:txStyles>
    <p:titleStyle>
      <a:lvl1pPr algn="l" defTabSz="457200" rtl="0" eaLnBrk="0" fontAlgn="base" hangingPunct="0">
        <a:lnSpc>
          <a:spcPct val="90000"/>
        </a:lnSpc>
        <a:spcBef>
          <a:spcPct val="0"/>
        </a:spcBef>
        <a:spcAft>
          <a:spcPct val="0"/>
        </a:spcAft>
        <a:defRPr lang="de-DE" sz="3000" kern="1200" dirty="0">
          <a:solidFill>
            <a:schemeClr val="tx2"/>
          </a:solidFill>
          <a:latin typeface="TeleGrotesk Headline Ultra" pitchFamily="2" charset="0"/>
          <a:ea typeface="TeleGrotesk Headline Ultra"/>
          <a:cs typeface="TeleGrotesk Headline Ultra" pitchFamily="2" charset="0"/>
        </a:defRPr>
      </a:lvl1pPr>
      <a:lvl2pPr algn="l" defTabSz="457200" rtl="0" eaLnBrk="0" fontAlgn="base" hangingPunct="0">
        <a:lnSpc>
          <a:spcPct val="90000"/>
        </a:lnSpc>
        <a:spcBef>
          <a:spcPct val="0"/>
        </a:spcBef>
        <a:spcAft>
          <a:spcPct val="0"/>
        </a:spcAft>
        <a:defRPr sz="3000">
          <a:solidFill>
            <a:schemeClr val="tx2"/>
          </a:solidFill>
          <a:latin typeface="TeleGrotesk Headline Ultra"/>
          <a:ea typeface="TeleGrotesk Headline Ultra"/>
          <a:cs typeface="TeleGrotesk Headline Ultra"/>
        </a:defRPr>
      </a:lvl2pPr>
      <a:lvl3pPr algn="l" defTabSz="457200" rtl="0" eaLnBrk="0" fontAlgn="base" hangingPunct="0">
        <a:lnSpc>
          <a:spcPct val="90000"/>
        </a:lnSpc>
        <a:spcBef>
          <a:spcPct val="0"/>
        </a:spcBef>
        <a:spcAft>
          <a:spcPct val="0"/>
        </a:spcAft>
        <a:defRPr sz="3000">
          <a:solidFill>
            <a:schemeClr val="tx2"/>
          </a:solidFill>
          <a:latin typeface="TeleGrotesk Headline Ultra"/>
          <a:ea typeface="TeleGrotesk Headline Ultra"/>
          <a:cs typeface="TeleGrotesk Headline Ultra"/>
        </a:defRPr>
      </a:lvl3pPr>
      <a:lvl4pPr algn="l" defTabSz="457200" rtl="0" eaLnBrk="0" fontAlgn="base" hangingPunct="0">
        <a:lnSpc>
          <a:spcPct val="90000"/>
        </a:lnSpc>
        <a:spcBef>
          <a:spcPct val="0"/>
        </a:spcBef>
        <a:spcAft>
          <a:spcPct val="0"/>
        </a:spcAft>
        <a:defRPr sz="3000">
          <a:solidFill>
            <a:schemeClr val="tx2"/>
          </a:solidFill>
          <a:latin typeface="TeleGrotesk Headline Ultra"/>
          <a:ea typeface="TeleGrotesk Headline Ultra"/>
          <a:cs typeface="TeleGrotesk Headline Ultra"/>
        </a:defRPr>
      </a:lvl4pPr>
      <a:lvl5pPr algn="l" defTabSz="457200" rtl="0" eaLnBrk="0" fontAlgn="base" hangingPunct="0">
        <a:lnSpc>
          <a:spcPct val="90000"/>
        </a:lnSpc>
        <a:spcBef>
          <a:spcPct val="0"/>
        </a:spcBef>
        <a:spcAft>
          <a:spcPct val="0"/>
        </a:spcAft>
        <a:defRPr sz="3000">
          <a:solidFill>
            <a:schemeClr val="tx2"/>
          </a:solidFill>
          <a:latin typeface="TeleGrotesk Headline Ultra"/>
          <a:ea typeface="TeleGrotesk Headline Ultra"/>
          <a:cs typeface="TeleGrotesk Headline Ultra"/>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p:titleStyle>
    <p:bodyStyle>
      <a:lvl1pPr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0" fontAlgn="base" hangingPunct="0">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0" fontAlgn="base" hangingPunct="0">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2.xml"/><Relationship Id="rId1" Type="http://schemas.openxmlformats.org/officeDocument/2006/relationships/vmlDrawing" Target="../drawings/vmlDrawing18.vml"/><Relationship Id="rId5" Type="http://schemas.openxmlformats.org/officeDocument/2006/relationships/oleObject" Target="../embeddings/oleObject2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4.xml"/><Relationship Id="rId1" Type="http://schemas.openxmlformats.org/officeDocument/2006/relationships/vmlDrawing" Target="../drawings/vmlDrawing26.vml"/><Relationship Id="rId5" Type="http://schemas.openxmlformats.org/officeDocument/2006/relationships/image" Target="../media/image30.jpeg"/><Relationship Id="rId4" Type="http://schemas.openxmlformats.org/officeDocument/2006/relationships/oleObject" Target="../embeddings/oleObject28.bin"/></Relationships>
</file>

<file path=ppt/slides/_rels/slide12.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image" Target="../media/image31.jpeg"/><Relationship Id="rId39" Type="http://schemas.openxmlformats.org/officeDocument/2006/relationships/image" Target="../media/image41.png"/><Relationship Id="rId3" Type="http://schemas.openxmlformats.org/officeDocument/2006/relationships/tags" Target="../tags/tag46.xml"/><Relationship Id="rId21" Type="http://schemas.openxmlformats.org/officeDocument/2006/relationships/tags" Target="../tags/tag64.xml"/><Relationship Id="rId34" Type="http://schemas.openxmlformats.org/officeDocument/2006/relationships/image" Target="../media/image37.jpeg"/><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oleObject" Target="../embeddings/oleObject29.bin"/><Relationship Id="rId33" Type="http://schemas.openxmlformats.org/officeDocument/2006/relationships/image" Target="../media/image36.jpeg"/><Relationship Id="rId38" Type="http://schemas.openxmlformats.org/officeDocument/2006/relationships/image" Target="../media/image40.jpeg"/><Relationship Id="rId2" Type="http://schemas.openxmlformats.org/officeDocument/2006/relationships/tags" Target="../tags/tag45.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hyperlink" Target="http://www.mantruckandbus.com/de/Services/MAN_Service/MillionMobility.jsp" TargetMode="External"/><Relationship Id="rId1" Type="http://schemas.openxmlformats.org/officeDocument/2006/relationships/vmlDrawing" Target="../drawings/vmlDrawing27.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slideLayout" Target="../slideLayouts/slideLayout9.xml"/><Relationship Id="rId32" Type="http://schemas.openxmlformats.org/officeDocument/2006/relationships/image" Target="../media/image35.jpeg"/><Relationship Id="rId37" Type="http://schemas.openxmlformats.org/officeDocument/2006/relationships/image" Target="../media/image39.png"/><Relationship Id="rId40" Type="http://schemas.openxmlformats.org/officeDocument/2006/relationships/image" Target="../media/image42.png"/><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image" Target="../media/image33.jpeg"/><Relationship Id="rId36" Type="http://schemas.openxmlformats.org/officeDocument/2006/relationships/image" Target="../media/image38.png"/><Relationship Id="rId10" Type="http://schemas.openxmlformats.org/officeDocument/2006/relationships/tags" Target="../tags/tag53.xml"/><Relationship Id="rId19" Type="http://schemas.openxmlformats.org/officeDocument/2006/relationships/tags" Target="../tags/tag62.xml"/><Relationship Id="rId31" Type="http://schemas.openxmlformats.org/officeDocument/2006/relationships/hyperlink" Target="http://www.google.de/imgres?imgurl=http://www.manager-magazin.de/img/0,1020,469535,00.jpg&amp;imgrefurl=http://www.manager-magazin.de/koepfe/unternehmerarchiv/0,2828,grossbild-469535-356006,00.html&amp;usg=__XnKENOyTLJ7obDHDCbvBrF0l0BA=&amp;h=303&amp;w=420&amp;sz=22&amp;hl=de&amp;start=7&amp;sig2=klqHsIEQITht62bSkPC2Iw&amp;itbs=1&amp;tbnid=H9fSKPIefoJAYM:&amp;tbnh=90&amp;tbnw=125&amp;prev=/images?q=schmitz+cargobull&amp;hl=de&amp;gbv=2&amp;tbs=isch:1&amp;ei=ULvOS5OHIaKqmwOMtr05" TargetMode="Externa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image" Target="../media/image32.jpeg"/><Relationship Id="rId30" Type="http://schemas.openxmlformats.org/officeDocument/2006/relationships/image" Target="../media/image34.jpeg"/><Relationship Id="rId35" Type="http://schemas.openxmlformats.org/officeDocument/2006/relationships/hyperlink" Target="http://www.sap.de/" TargetMode="Externa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4.pn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9.xml"/><Relationship Id="rId1" Type="http://schemas.openxmlformats.org/officeDocument/2006/relationships/vmlDrawing" Target="../drawings/vmlDrawing28.vml"/><Relationship Id="rId5" Type="http://schemas.openxmlformats.org/officeDocument/2006/relationships/oleObject" Target="../embeddings/oleObject30.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45.jpe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slideLayout" Target="../slideLayouts/slideLayout9.xml"/><Relationship Id="rId5" Type="http://schemas.openxmlformats.org/officeDocument/2006/relationships/tags" Target="../tags/tag74.xml"/><Relationship Id="rId4" Type="http://schemas.openxmlformats.org/officeDocument/2006/relationships/tags" Target="../tags/tag73.xml"/></Relationships>
</file>

<file path=ppt/slides/_rels/slide16.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47.jpe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46.jpeg"/><Relationship Id="rId17" Type="http://schemas.openxmlformats.org/officeDocument/2006/relationships/image" Target="../media/image51.jpeg"/><Relationship Id="rId2" Type="http://schemas.openxmlformats.org/officeDocument/2006/relationships/tags" Target="../tags/tag76.xml"/><Relationship Id="rId16" Type="http://schemas.openxmlformats.org/officeDocument/2006/relationships/image" Target="../media/image50.jpeg"/><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20.emf"/><Relationship Id="rId5" Type="http://schemas.openxmlformats.org/officeDocument/2006/relationships/tags" Target="../tags/tag79.xml"/><Relationship Id="rId15" Type="http://schemas.openxmlformats.org/officeDocument/2006/relationships/image" Target="../media/image49.jpeg"/><Relationship Id="rId10" Type="http://schemas.openxmlformats.org/officeDocument/2006/relationships/notesSlide" Target="../notesSlides/notesSlide8.xml"/><Relationship Id="rId4" Type="http://schemas.openxmlformats.org/officeDocument/2006/relationships/tags" Target="../tags/tag78.xml"/><Relationship Id="rId9" Type="http://schemas.openxmlformats.org/officeDocument/2006/relationships/slideLayout" Target="../slideLayouts/slideLayout9.xml"/><Relationship Id="rId14" Type="http://schemas.openxmlformats.org/officeDocument/2006/relationships/image" Target="../media/image48.jpeg"/></Relationships>
</file>

<file path=ppt/slides/_rels/slide1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3.xml"/><Relationship Id="rId1" Type="http://schemas.openxmlformats.org/officeDocument/2006/relationships/vmlDrawing" Target="../drawings/vmlDrawing29.vml"/><Relationship Id="rId5" Type="http://schemas.openxmlformats.org/officeDocument/2006/relationships/oleObject" Target="../embeddings/oleObject31.bin"/><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vmlDrawing" Target="../drawings/vmlDrawing19.vml"/><Relationship Id="rId5" Type="http://schemas.openxmlformats.org/officeDocument/2006/relationships/oleObject" Target="../embeddings/oleObject2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84.xml"/><Relationship Id="rId1" Type="http://schemas.openxmlformats.org/officeDocument/2006/relationships/vmlDrawing" Target="../drawings/vmlDrawing30.vml"/><Relationship Id="rId5" Type="http://schemas.openxmlformats.org/officeDocument/2006/relationships/oleObject" Target="../embeddings/oleObject32.bin"/><Relationship Id="rId4" Type="http://schemas.openxmlformats.org/officeDocument/2006/relationships/notesSlide" Target="../notesSlides/notesSlide1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5.xml"/><Relationship Id="rId1" Type="http://schemas.openxmlformats.org/officeDocument/2006/relationships/vmlDrawing" Target="../drawings/vmlDrawing31.vml"/><Relationship Id="rId5" Type="http://schemas.openxmlformats.org/officeDocument/2006/relationships/oleObject" Target="../embeddings/oleObject33.bin"/><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4.png"/><Relationship Id="rId5" Type="http://schemas.openxmlformats.org/officeDocument/2006/relationships/image" Target="../media/image53.jpeg"/><Relationship Id="rId4" Type="http://schemas.openxmlformats.org/officeDocument/2006/relationships/image" Target="../media/image51.jpe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56.png"/><Relationship Id="rId5" Type="http://schemas.openxmlformats.org/officeDocument/2006/relationships/image" Target="../media/image48.jpeg"/><Relationship Id="rId4" Type="http://schemas.openxmlformats.org/officeDocument/2006/relationships/image" Target="../media/image55.jpeg"/></Relationships>
</file>

<file path=ppt/slides/_rels/slide24.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32.vml"/><Relationship Id="rId6" Type="http://schemas.openxmlformats.org/officeDocument/2006/relationships/image" Target="../media/image58.jpeg"/><Relationship Id="rId5" Type="http://schemas.openxmlformats.org/officeDocument/2006/relationships/oleObject" Target="../embeddings/oleObject34.bin"/><Relationship Id="rId4"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slideLayout" Target="../slideLayouts/slideLayout8.xml"/><Relationship Id="rId1" Type="http://schemas.openxmlformats.org/officeDocument/2006/relationships/tags" Target="../tags/tag92.xml"/><Relationship Id="rId4" Type="http://schemas.openxmlformats.org/officeDocument/2006/relationships/image" Target="../media/image60.png"/></Relationships>
</file>

<file path=ppt/slides/_rels/slide26.xml.rels><?xml version="1.0" encoding="UTF-8" standalone="yes"?>
<Relationships xmlns="http://schemas.openxmlformats.org/package/2006/relationships"><Relationship Id="rId8" Type="http://schemas.openxmlformats.org/officeDocument/2006/relationships/notesSlide" Target="../notesSlides/notesSlide14.xml"/><Relationship Id="rId13" Type="http://schemas.openxmlformats.org/officeDocument/2006/relationships/image" Target="../media/image65.jpeg"/><Relationship Id="rId3" Type="http://schemas.openxmlformats.org/officeDocument/2006/relationships/tags" Target="../tags/tag95.xml"/><Relationship Id="rId7" Type="http://schemas.openxmlformats.org/officeDocument/2006/relationships/slideLayout" Target="../slideLayouts/slideLayout8.xml"/><Relationship Id="rId12" Type="http://schemas.openxmlformats.org/officeDocument/2006/relationships/image" Target="../media/image64.jpeg"/><Relationship Id="rId2" Type="http://schemas.openxmlformats.org/officeDocument/2006/relationships/tags" Target="../tags/tag94.xml"/><Relationship Id="rId16" Type="http://schemas.openxmlformats.org/officeDocument/2006/relationships/image" Target="../media/image68.png"/><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image" Target="../media/image63.png"/><Relationship Id="rId5" Type="http://schemas.openxmlformats.org/officeDocument/2006/relationships/tags" Target="../tags/tag97.xml"/><Relationship Id="rId15" Type="http://schemas.openxmlformats.org/officeDocument/2006/relationships/image" Target="../media/image67.png"/><Relationship Id="rId10" Type="http://schemas.openxmlformats.org/officeDocument/2006/relationships/image" Target="../media/image62.jpeg"/><Relationship Id="rId4" Type="http://schemas.openxmlformats.org/officeDocument/2006/relationships/tags" Target="../tags/tag96.xml"/><Relationship Id="rId9" Type="http://schemas.openxmlformats.org/officeDocument/2006/relationships/image" Target="../media/image61.png"/><Relationship Id="rId14" Type="http://schemas.openxmlformats.org/officeDocument/2006/relationships/image" Target="../media/image66.png"/></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slideLayout" Target="../slideLayouts/slideLayout9.xml"/><Relationship Id="rId7" Type="http://schemas.openxmlformats.org/officeDocument/2006/relationships/image" Target="../media/image13.jpeg"/><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image" Target="../media/image12.jpeg"/><Relationship Id="rId11" Type="http://schemas.openxmlformats.org/officeDocument/2006/relationships/image" Target="../media/image17.png"/><Relationship Id="rId5" Type="http://schemas.openxmlformats.org/officeDocument/2006/relationships/oleObject" Target="../embeddings/oleObject22.bin"/><Relationship Id="rId10" Type="http://schemas.openxmlformats.org/officeDocument/2006/relationships/image" Target="../media/image16.jpeg"/><Relationship Id="rId4" Type="http://schemas.openxmlformats.org/officeDocument/2006/relationships/notesSlide" Target="../notesSlides/notesSlide3.xml"/><Relationship Id="rId9" Type="http://schemas.openxmlformats.org/officeDocument/2006/relationships/image" Target="../media/image1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vmlDrawing" Target="../drawings/vmlDrawing21.vml"/><Relationship Id="rId4" Type="http://schemas.openxmlformats.org/officeDocument/2006/relationships/oleObject" Target="../embeddings/oleObject2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6.xml"/><Relationship Id="rId1" Type="http://schemas.openxmlformats.org/officeDocument/2006/relationships/vmlDrawing" Target="../drawings/vmlDrawing22.vml"/><Relationship Id="rId5" Type="http://schemas.openxmlformats.org/officeDocument/2006/relationships/oleObject" Target="../embeddings/oleObject24.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8" Type="http://schemas.openxmlformats.org/officeDocument/2006/relationships/hyperlink" Target="http://smart-cities.eu/model.html" TargetMode="External"/><Relationship Id="rId3" Type="http://schemas.openxmlformats.org/officeDocument/2006/relationships/slideLayout" Target="../slideLayouts/slideLayout10.xml"/><Relationship Id="rId7" Type="http://schemas.openxmlformats.org/officeDocument/2006/relationships/image" Target="../media/image21.png"/><Relationship Id="rId2" Type="http://schemas.openxmlformats.org/officeDocument/2006/relationships/tags" Target="../tags/tag37.xml"/><Relationship Id="rId1" Type="http://schemas.openxmlformats.org/officeDocument/2006/relationships/vmlDrawing" Target="../drawings/vmlDrawing23.vml"/><Relationship Id="rId6" Type="http://schemas.openxmlformats.org/officeDocument/2006/relationships/image" Target="../media/image20.emf"/><Relationship Id="rId5" Type="http://schemas.openxmlformats.org/officeDocument/2006/relationships/oleObject" Target="../embeddings/oleObject2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38.xml"/><Relationship Id="rId1" Type="http://schemas.openxmlformats.org/officeDocument/2006/relationships/vmlDrawing" Target="../drawings/vmlDrawing24.vml"/><Relationship Id="rId4" Type="http://schemas.openxmlformats.org/officeDocument/2006/relationships/oleObject" Target="../embeddings/oleObject26.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vmlDrawing" Target="../drawings/vmlDrawing25.vml"/><Relationship Id="rId5" Type="http://schemas.openxmlformats.org/officeDocument/2006/relationships/oleObject" Target="../embeddings/oleObject27.bin"/><Relationship Id="rId4"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slideLayout" Target="../slideLayouts/slideLayout10.xml"/><Relationship Id="rId4" Type="http://schemas.openxmlformats.org/officeDocument/2006/relationships/tags" Target="../tags/tag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221217" name="Object 33"/>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221217" name="think-cell Folie" r:id="rId5" imgW="360" imgH="360" progId="">
              <p:embed/>
            </p:oleObj>
          </a:graphicData>
        </a:graphic>
      </p:graphicFrame>
      <p:sp>
        <p:nvSpPr>
          <p:cNvPr id="221219" name="Titel 19"/>
          <p:cNvSpPr>
            <a:spLocks noGrp="1"/>
          </p:cNvSpPr>
          <p:nvPr>
            <p:ph type="ctrTitle"/>
          </p:nvPr>
        </p:nvSpPr>
        <p:spPr>
          <a:xfrm>
            <a:off x="319088" y="3608388"/>
            <a:ext cx="7735887" cy="998537"/>
          </a:xfrm>
        </p:spPr>
        <p:txBody>
          <a:bodyPr/>
          <a:lstStyle/>
          <a:p>
            <a:pPr eaLnBrk="1" hangingPunct="1"/>
            <a:r>
              <a:rPr lang="en-US" sz="3600" b="1">
                <a:latin typeface="TeleGrotesk Headline Ultra"/>
                <a:cs typeface="TeleGrotesk Headline Ultra"/>
              </a:rPr>
              <a:t>Smart Cities –</a:t>
            </a:r>
            <a:br>
              <a:rPr lang="en-US" sz="3600" b="1">
                <a:latin typeface="TeleGrotesk Headline Ultra"/>
                <a:cs typeface="TeleGrotesk Headline Ultra"/>
              </a:rPr>
            </a:br>
            <a:r>
              <a:rPr lang="en-US" sz="3600" b="1">
                <a:latin typeface="TeleGrotesk Headline Ultra"/>
                <a:cs typeface="TeleGrotesk Headline Ultra"/>
              </a:rPr>
              <a:t>a Matter of Communication</a:t>
            </a:r>
            <a:endParaRPr lang="en-US" sz="3800">
              <a:latin typeface="TeleGrotesk Headline Ultra"/>
              <a:cs typeface="TeleGrotesk Headline Ultra"/>
            </a:endParaRPr>
          </a:p>
        </p:txBody>
      </p:sp>
      <p:sp>
        <p:nvSpPr>
          <p:cNvPr id="221220" name="Untertitel 20"/>
          <p:cNvSpPr>
            <a:spLocks noGrp="1"/>
          </p:cNvSpPr>
          <p:nvPr>
            <p:ph type="subTitle" idx="1"/>
          </p:nvPr>
        </p:nvSpPr>
        <p:spPr>
          <a:xfrm>
            <a:off x="468313" y="4943475"/>
            <a:ext cx="7586662" cy="1077913"/>
          </a:xfrm>
        </p:spPr>
        <p:txBody>
          <a:bodyPr/>
          <a:lstStyle/>
          <a:p>
            <a:pPr eaLnBrk="1" hangingPunct="1"/>
            <a:r>
              <a:rPr lang="en-US">
                <a:latin typeface="Tele-GroteskNor"/>
              </a:rPr>
              <a:t>From T-City to the Smart City Vision</a:t>
            </a:r>
          </a:p>
          <a:p>
            <a:pPr eaLnBrk="1" hangingPunct="1"/>
            <a:r>
              <a:rPr lang="de-DE">
                <a:latin typeface="Tele-GroteskNor"/>
              </a:rPr>
              <a:t>Jörg Heuer, Research &amp; Innovation Director; </a:t>
            </a:r>
            <a:br>
              <a:rPr lang="de-DE">
                <a:latin typeface="Tele-GroteskNor"/>
              </a:rPr>
            </a:br>
            <a:r>
              <a:rPr lang="de-DE">
                <a:latin typeface="Tele-GroteskNor"/>
              </a:rPr>
              <a:t>Joachim Schonowski, Smart City topic responsible</a:t>
            </a:r>
            <a:endParaRPr lang="en-US">
              <a:latin typeface="Tele-GroteskNor"/>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68994" name="Title 1"/>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Selected Running Activities in more Detail</a:t>
            </a:r>
            <a:br>
              <a:rPr lang="en-US" smtClean="0">
                <a:latin typeface="TeleGrotesk Headline Ultra"/>
                <a:cs typeface="TeleGrotesk Headline Ultra"/>
              </a:rPr>
            </a:br>
            <a:r>
              <a:rPr lang="en-US" smtClean="0">
                <a:latin typeface="TeleGrotesk Headline"/>
                <a:cs typeface="TeleGrotesk Headline Ultra"/>
              </a:rPr>
              <a:t>Organizations, Products and Initiatives</a:t>
            </a:r>
          </a:p>
        </p:txBody>
      </p:sp>
      <p:sp>
        <p:nvSpPr>
          <p:cNvPr id="468995" name="Date Placeholder 2"/>
          <p:cNvSpPr>
            <a:spLocks noGrp="1"/>
          </p:cNvSpPr>
          <p:nvPr>
            <p:ph type="dt" sz="quarter" idx="10"/>
          </p:nvPr>
        </p:nvSpPr>
        <p:spPr>
          <a:xfrm>
            <a:off x="6804025" y="6430963"/>
            <a:ext cx="1800225" cy="139700"/>
          </a:xfrm>
          <a:noFill/>
        </p:spPr>
        <p:txBody>
          <a:bodyPr/>
          <a:lstStyle/>
          <a:p>
            <a:fld id="{EEF84233-27DD-40C8-88BA-731E9701FD6C}" type="datetime1">
              <a:rPr lang="en-US" smtClean="0">
                <a:latin typeface="Tele-GroteskNor"/>
              </a:rPr>
              <a:pPr/>
              <a:t>9/11/2013</a:t>
            </a:fld>
            <a:endParaRPr lang="en-US" smtClean="0">
              <a:latin typeface="Tele-GroteskNor"/>
            </a:endParaRPr>
          </a:p>
        </p:txBody>
      </p:sp>
      <p:sp>
        <p:nvSpPr>
          <p:cNvPr id="468996" name="Slide Number Placeholder 4"/>
          <p:cNvSpPr>
            <a:spLocks noGrp="1"/>
          </p:cNvSpPr>
          <p:nvPr>
            <p:ph type="sldNum" sz="quarter" idx="12"/>
          </p:nvPr>
        </p:nvSpPr>
        <p:spPr>
          <a:xfrm>
            <a:off x="8540750" y="6430963"/>
            <a:ext cx="288925" cy="139700"/>
          </a:xfrm>
          <a:noFill/>
        </p:spPr>
        <p:txBody>
          <a:bodyPr/>
          <a:lstStyle/>
          <a:p>
            <a:fld id="{CE41AB06-A21E-4B1A-99D2-3E7BDB03FCC9}" type="slidenum">
              <a:rPr lang="en-US" smtClean="0">
                <a:latin typeface="Tele-GroteskNor"/>
              </a:rPr>
              <a:pPr/>
              <a:t>10</a:t>
            </a:fld>
            <a:endParaRPr lang="en-US" smtClean="0">
              <a:latin typeface="Tele-GroteskNor"/>
            </a:endParaRPr>
          </a:p>
        </p:txBody>
      </p:sp>
      <p:sp>
        <p:nvSpPr>
          <p:cNvPr id="6" name="Rounded Rectangle 6"/>
          <p:cNvSpPr/>
          <p:nvPr/>
        </p:nvSpPr>
        <p:spPr bwMode="auto">
          <a:xfrm>
            <a:off x="412750" y="3883025"/>
            <a:ext cx="2282825" cy="2087563"/>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7" name="Rounded Rectangle 6"/>
          <p:cNvSpPr/>
          <p:nvPr/>
        </p:nvSpPr>
        <p:spPr bwMode="auto">
          <a:xfrm>
            <a:off x="393700" y="1801813"/>
            <a:ext cx="2282825" cy="1722437"/>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8" name="Freeform 9"/>
          <p:cNvSpPr/>
          <p:nvPr/>
        </p:nvSpPr>
        <p:spPr>
          <a:xfrm>
            <a:off x="508000" y="1801813"/>
            <a:ext cx="2152650"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dirty="0">
                <a:solidFill>
                  <a:schemeClr val="tx1"/>
                </a:solidFill>
                <a:latin typeface="Tele-GroteskFet" pitchFamily="2" charset="0"/>
              </a:rPr>
              <a:t>Smart Living /Home</a:t>
            </a:r>
            <a:endParaRPr lang="en-US" dirty="0">
              <a:solidFill>
                <a:schemeClr val="tx1"/>
              </a:solidFill>
              <a:latin typeface="+mj-lt"/>
            </a:endParaRPr>
          </a:p>
        </p:txBody>
      </p:sp>
      <p:sp>
        <p:nvSpPr>
          <p:cNvPr id="9" name="Rectangle 2"/>
          <p:cNvSpPr/>
          <p:nvPr/>
        </p:nvSpPr>
        <p:spPr>
          <a:xfrm>
            <a:off x="454593" y="1898143"/>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pic>
        <p:nvPicPr>
          <p:cNvPr id="469001" name="Picture 31"/>
          <p:cNvPicPr>
            <a:picLocks noChangeAspect="1" noChangeArrowheads="1"/>
          </p:cNvPicPr>
          <p:nvPr/>
        </p:nvPicPr>
        <p:blipFill>
          <a:blip r:embed="rId2"/>
          <a:srcRect/>
          <a:stretch>
            <a:fillRect/>
          </a:stretch>
        </p:blipFill>
        <p:spPr bwMode="auto">
          <a:xfrm>
            <a:off x="638175" y="1920875"/>
            <a:ext cx="1241425" cy="931863"/>
          </a:xfrm>
          <a:prstGeom prst="rect">
            <a:avLst/>
          </a:prstGeom>
          <a:noFill/>
          <a:ln w="9525">
            <a:noFill/>
            <a:miter lim="800000"/>
            <a:headEnd/>
            <a:tailEnd/>
          </a:ln>
        </p:spPr>
      </p:pic>
      <p:sp>
        <p:nvSpPr>
          <p:cNvPr id="11" name="Freeform 10"/>
          <p:cNvSpPr/>
          <p:nvPr/>
        </p:nvSpPr>
        <p:spPr>
          <a:xfrm>
            <a:off x="425450" y="2598738"/>
            <a:ext cx="2001838" cy="757237"/>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Provisioning of a certified connected device steering  platform  + SDK for 3rd parties for a smart home. </a:t>
            </a:r>
            <a:endParaRPr lang="en-US" sz="1200" dirty="0">
              <a:solidFill>
                <a:schemeClr val="tx1"/>
              </a:solidFill>
              <a:latin typeface="+mj-lt"/>
            </a:endParaRPr>
          </a:p>
        </p:txBody>
      </p:sp>
      <p:sp>
        <p:nvSpPr>
          <p:cNvPr id="12" name="Rectangle 2"/>
          <p:cNvSpPr/>
          <p:nvPr/>
        </p:nvSpPr>
        <p:spPr>
          <a:xfrm>
            <a:off x="413719" y="4016840"/>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13" name="Freeform 9"/>
          <p:cNvSpPr/>
          <p:nvPr/>
        </p:nvSpPr>
        <p:spPr>
          <a:xfrm>
            <a:off x="508000" y="3946525"/>
            <a:ext cx="2287588"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dirty="0">
                <a:solidFill>
                  <a:schemeClr val="tx1"/>
                </a:solidFill>
                <a:latin typeface="Tele-GroteskFet" pitchFamily="2" charset="0"/>
              </a:rPr>
              <a:t>Smart Government</a:t>
            </a:r>
          </a:p>
        </p:txBody>
      </p:sp>
      <p:pic>
        <p:nvPicPr>
          <p:cNvPr id="469005" name="Picture 35"/>
          <p:cNvPicPr>
            <a:picLocks noChangeAspect="1" noChangeArrowheads="1"/>
          </p:cNvPicPr>
          <p:nvPr/>
        </p:nvPicPr>
        <p:blipFill>
          <a:blip r:embed="rId3"/>
          <a:srcRect/>
          <a:stretch>
            <a:fillRect/>
          </a:stretch>
        </p:blipFill>
        <p:spPr bwMode="auto">
          <a:xfrm>
            <a:off x="1554163" y="4816475"/>
            <a:ext cx="1106487" cy="1106488"/>
          </a:xfrm>
          <a:prstGeom prst="rect">
            <a:avLst/>
          </a:prstGeom>
          <a:noFill/>
          <a:ln w="9525">
            <a:noFill/>
            <a:miter lim="800000"/>
            <a:headEnd/>
            <a:tailEnd/>
          </a:ln>
        </p:spPr>
      </p:pic>
      <p:sp>
        <p:nvSpPr>
          <p:cNvPr id="15" name="Freeform 15"/>
          <p:cNvSpPr/>
          <p:nvPr/>
        </p:nvSpPr>
        <p:spPr>
          <a:xfrm>
            <a:off x="414338" y="4821238"/>
            <a:ext cx="1260475" cy="1065212"/>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Creating Citizen Centric Cities (CCC)</a:t>
            </a:r>
          </a:p>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to enhance the participation of the citizens</a:t>
            </a:r>
            <a:endParaRPr lang="en-US" sz="1200" dirty="0">
              <a:solidFill>
                <a:schemeClr val="tx1"/>
              </a:solidFill>
              <a:latin typeface="+mj-lt"/>
            </a:endParaRPr>
          </a:p>
        </p:txBody>
      </p:sp>
      <p:sp>
        <p:nvSpPr>
          <p:cNvPr id="16" name="Rounded Rectangle 6"/>
          <p:cNvSpPr/>
          <p:nvPr/>
        </p:nvSpPr>
        <p:spPr bwMode="auto">
          <a:xfrm>
            <a:off x="3303588" y="1795463"/>
            <a:ext cx="2282825" cy="1465262"/>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17" name="Rectangle 2"/>
          <p:cNvSpPr/>
          <p:nvPr/>
        </p:nvSpPr>
        <p:spPr>
          <a:xfrm>
            <a:off x="3304090" y="1826690"/>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18" name="Freeform 9"/>
          <p:cNvSpPr/>
          <p:nvPr/>
        </p:nvSpPr>
        <p:spPr>
          <a:xfrm>
            <a:off x="3316288" y="1838325"/>
            <a:ext cx="2370137"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a:solidFill>
                  <a:schemeClr val="tx1"/>
                </a:solidFill>
                <a:latin typeface="Tele-GroteskFet" pitchFamily="2" charset="0"/>
              </a:rPr>
              <a:t>Smart Living / Senior</a:t>
            </a:r>
            <a:endParaRPr lang="en-US">
              <a:solidFill>
                <a:schemeClr val="tx1"/>
              </a:solidFill>
              <a:latin typeface="+mj-lt"/>
            </a:endParaRPr>
          </a:p>
        </p:txBody>
      </p:sp>
      <p:sp>
        <p:nvSpPr>
          <p:cNvPr id="19" name="Freeform 15"/>
          <p:cNvSpPr/>
          <p:nvPr/>
        </p:nvSpPr>
        <p:spPr>
          <a:xfrm>
            <a:off x="3316288" y="2551113"/>
            <a:ext cx="2273300" cy="4667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Modular service offerings enabling the elderly to continue living in their own homes, based on Home Gateway for Ambient Assisted Living (AAL) - </a:t>
            </a:r>
            <a:r>
              <a:rPr lang="en-US" sz="1200" dirty="0" err="1">
                <a:solidFill>
                  <a:schemeClr val="tx1"/>
                </a:solidFill>
                <a:latin typeface="Tele-GroteskFet" pitchFamily="2" charset="0"/>
              </a:rPr>
              <a:t>Quivicon</a:t>
            </a:r>
            <a:endParaRPr lang="en-US" sz="1200" dirty="0">
              <a:solidFill>
                <a:schemeClr val="tx1"/>
              </a:solidFill>
              <a:latin typeface="+mj-lt"/>
            </a:endParaRPr>
          </a:p>
        </p:txBody>
      </p:sp>
      <p:pic>
        <p:nvPicPr>
          <p:cNvPr id="469011" name="Picture 36"/>
          <p:cNvPicPr>
            <a:picLocks noChangeAspect="1" noChangeArrowheads="1"/>
          </p:cNvPicPr>
          <p:nvPr/>
        </p:nvPicPr>
        <p:blipFill>
          <a:blip r:embed="rId4"/>
          <a:srcRect/>
          <a:stretch>
            <a:fillRect/>
          </a:stretch>
        </p:blipFill>
        <p:spPr bwMode="auto">
          <a:xfrm>
            <a:off x="4441825" y="2108200"/>
            <a:ext cx="1016000" cy="411163"/>
          </a:xfrm>
          <a:prstGeom prst="rect">
            <a:avLst/>
          </a:prstGeom>
          <a:noFill/>
          <a:ln w="9525">
            <a:noFill/>
            <a:miter lim="800000"/>
            <a:headEnd/>
            <a:tailEnd/>
          </a:ln>
        </p:spPr>
      </p:pic>
      <p:sp>
        <p:nvSpPr>
          <p:cNvPr id="21" name="Rounded Rectangle 6"/>
          <p:cNvSpPr/>
          <p:nvPr/>
        </p:nvSpPr>
        <p:spPr bwMode="auto">
          <a:xfrm>
            <a:off x="3332163" y="3276600"/>
            <a:ext cx="2282825" cy="1287463"/>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22" name="Rectangle 2"/>
          <p:cNvSpPr/>
          <p:nvPr/>
        </p:nvSpPr>
        <p:spPr>
          <a:xfrm>
            <a:off x="3333658" y="3260702"/>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23" name="Freeform 9"/>
          <p:cNvSpPr/>
          <p:nvPr/>
        </p:nvSpPr>
        <p:spPr>
          <a:xfrm>
            <a:off x="3346450" y="3271838"/>
            <a:ext cx="2370138"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a:solidFill>
                  <a:schemeClr val="tx1"/>
                </a:solidFill>
                <a:latin typeface="Tele-GroteskFet" pitchFamily="2" charset="0"/>
              </a:rPr>
              <a:t>Smart Economy</a:t>
            </a:r>
            <a:endParaRPr lang="en-US">
              <a:solidFill>
                <a:schemeClr val="tx1"/>
              </a:solidFill>
              <a:latin typeface="+mj-lt"/>
            </a:endParaRPr>
          </a:p>
        </p:txBody>
      </p:sp>
      <p:sp>
        <p:nvSpPr>
          <p:cNvPr id="24" name="Freeform 15"/>
          <p:cNvSpPr/>
          <p:nvPr/>
        </p:nvSpPr>
        <p:spPr>
          <a:xfrm>
            <a:off x="3281363" y="3952875"/>
            <a:ext cx="2238375" cy="757238"/>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Smart port logistics – port Hamburg M2M market places for enhanced logistics</a:t>
            </a:r>
            <a:endParaRPr lang="en-US" sz="1200" dirty="0">
              <a:solidFill>
                <a:schemeClr val="tx1"/>
              </a:solidFill>
              <a:latin typeface="+mj-lt"/>
            </a:endParaRPr>
          </a:p>
        </p:txBody>
      </p:sp>
      <p:sp>
        <p:nvSpPr>
          <p:cNvPr id="25" name="Rounded Rectangle 6"/>
          <p:cNvSpPr/>
          <p:nvPr/>
        </p:nvSpPr>
        <p:spPr bwMode="auto">
          <a:xfrm>
            <a:off x="3341688" y="4579938"/>
            <a:ext cx="2282825" cy="1425575"/>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26" name="Rectangle 2"/>
          <p:cNvSpPr/>
          <p:nvPr/>
        </p:nvSpPr>
        <p:spPr>
          <a:xfrm>
            <a:off x="3342855" y="4611541"/>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27" name="Freeform 9"/>
          <p:cNvSpPr/>
          <p:nvPr/>
        </p:nvSpPr>
        <p:spPr>
          <a:xfrm>
            <a:off x="3355975" y="4622800"/>
            <a:ext cx="2370138"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a:solidFill>
                  <a:schemeClr val="tx1"/>
                </a:solidFill>
                <a:latin typeface="Tele-GroteskFet" pitchFamily="2" charset="0"/>
              </a:rPr>
              <a:t>Smart Energy - DESI</a:t>
            </a:r>
            <a:endParaRPr lang="en-US">
              <a:solidFill>
                <a:schemeClr val="tx1"/>
              </a:solidFill>
              <a:latin typeface="+mj-lt"/>
            </a:endParaRPr>
          </a:p>
        </p:txBody>
      </p:sp>
      <p:cxnSp>
        <p:nvCxnSpPr>
          <p:cNvPr id="28" name="Gerade Verbindung 34"/>
          <p:cNvCxnSpPr/>
          <p:nvPr/>
        </p:nvCxnSpPr>
        <p:spPr>
          <a:xfrm>
            <a:off x="2973388" y="1730375"/>
            <a:ext cx="0" cy="4533900"/>
          </a:xfrm>
          <a:prstGeom prst="line">
            <a:avLst/>
          </a:prstGeom>
          <a:ln w="12700" cmpd="sng">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469020" name="Picture 39"/>
          <p:cNvPicPr>
            <a:picLocks noChangeAspect="1" noChangeArrowheads="1"/>
          </p:cNvPicPr>
          <p:nvPr/>
        </p:nvPicPr>
        <p:blipFill>
          <a:blip r:embed="rId5"/>
          <a:srcRect/>
          <a:stretch>
            <a:fillRect/>
          </a:stretch>
        </p:blipFill>
        <p:spPr bwMode="auto">
          <a:xfrm>
            <a:off x="4676775" y="3522663"/>
            <a:ext cx="769938" cy="411162"/>
          </a:xfrm>
          <a:prstGeom prst="rect">
            <a:avLst/>
          </a:prstGeom>
          <a:noFill/>
          <a:ln w="9525">
            <a:noFill/>
            <a:miter lim="800000"/>
            <a:headEnd/>
            <a:tailEnd/>
          </a:ln>
        </p:spPr>
      </p:pic>
      <p:pic>
        <p:nvPicPr>
          <p:cNvPr id="469021" name="Picture 34"/>
          <p:cNvPicPr>
            <a:picLocks noChangeAspect="1" noChangeArrowheads="1"/>
          </p:cNvPicPr>
          <p:nvPr/>
        </p:nvPicPr>
        <p:blipFill>
          <a:blip r:embed="rId6"/>
          <a:srcRect/>
          <a:stretch>
            <a:fillRect/>
          </a:stretch>
        </p:blipFill>
        <p:spPr bwMode="auto">
          <a:xfrm>
            <a:off x="3162300" y="2278063"/>
            <a:ext cx="1046163" cy="195262"/>
          </a:xfrm>
          <a:prstGeom prst="rect">
            <a:avLst/>
          </a:prstGeom>
          <a:noFill/>
          <a:ln w="9525">
            <a:noFill/>
            <a:miter lim="800000"/>
            <a:headEnd/>
            <a:tailEnd/>
          </a:ln>
        </p:spPr>
      </p:pic>
      <p:cxnSp>
        <p:nvCxnSpPr>
          <p:cNvPr id="31" name="Gerade Verbindung 38"/>
          <p:cNvCxnSpPr/>
          <p:nvPr/>
        </p:nvCxnSpPr>
        <p:spPr>
          <a:xfrm>
            <a:off x="6018213" y="1779588"/>
            <a:ext cx="0" cy="4484687"/>
          </a:xfrm>
          <a:prstGeom prst="line">
            <a:avLst/>
          </a:prstGeom>
          <a:ln w="12700" cmpd="sng">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Rounded Rectangle 6"/>
          <p:cNvSpPr/>
          <p:nvPr/>
        </p:nvSpPr>
        <p:spPr bwMode="auto">
          <a:xfrm>
            <a:off x="6405563" y="1803400"/>
            <a:ext cx="2282825" cy="1287463"/>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33" name="Rectangle 2"/>
          <p:cNvSpPr/>
          <p:nvPr/>
        </p:nvSpPr>
        <p:spPr>
          <a:xfrm>
            <a:off x="6406730" y="1834224"/>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34" name="Freeform 9"/>
          <p:cNvSpPr/>
          <p:nvPr/>
        </p:nvSpPr>
        <p:spPr>
          <a:xfrm>
            <a:off x="6419850" y="1844675"/>
            <a:ext cx="2370138"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dirty="0">
                <a:solidFill>
                  <a:schemeClr val="tx1"/>
                </a:solidFill>
                <a:latin typeface="Tele-GroteskFet" pitchFamily="2" charset="0"/>
              </a:rPr>
              <a:t>4</a:t>
            </a:r>
            <a:r>
              <a:rPr lang="en-US" baseline="30000" dirty="0">
                <a:solidFill>
                  <a:schemeClr val="tx1"/>
                </a:solidFill>
                <a:latin typeface="Tele-GroteskFet" pitchFamily="2" charset="0"/>
              </a:rPr>
              <a:t>th</a:t>
            </a:r>
            <a:r>
              <a:rPr lang="en-US" dirty="0">
                <a:solidFill>
                  <a:schemeClr val="tx1"/>
                </a:solidFill>
                <a:latin typeface="Tele-GroteskFet" pitchFamily="2" charset="0"/>
              </a:rPr>
              <a:t> Industrial Revolution</a:t>
            </a:r>
            <a:endParaRPr lang="en-US" dirty="0">
              <a:solidFill>
                <a:schemeClr val="tx1"/>
              </a:solidFill>
              <a:latin typeface="+mj-lt"/>
            </a:endParaRPr>
          </a:p>
        </p:txBody>
      </p:sp>
      <p:sp>
        <p:nvSpPr>
          <p:cNvPr id="35" name="Freeform 15"/>
          <p:cNvSpPr/>
          <p:nvPr/>
        </p:nvSpPr>
        <p:spPr>
          <a:xfrm>
            <a:off x="6405563" y="2563813"/>
            <a:ext cx="2187575" cy="757237"/>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ts val="0"/>
              </a:spcAft>
              <a:buClr>
                <a:schemeClr val="tx2"/>
              </a:buClr>
              <a:buSzPct val="75000"/>
              <a:buFont typeface="Wingdings" pitchFamily="2" charset="2"/>
              <a:buNone/>
              <a:defRPr/>
            </a:pPr>
            <a:r>
              <a:rPr lang="en-US" sz="1200" dirty="0">
                <a:solidFill>
                  <a:schemeClr val="tx1"/>
                </a:solidFill>
                <a:latin typeface="Tele-GroteskFet" pitchFamily="2" charset="0"/>
              </a:rPr>
              <a:t>Project support of Industry 4.0 projects  with industry partners.</a:t>
            </a:r>
          </a:p>
        </p:txBody>
      </p:sp>
      <p:sp>
        <p:nvSpPr>
          <p:cNvPr id="36" name="Rounded Rectangle 6"/>
          <p:cNvSpPr/>
          <p:nvPr/>
        </p:nvSpPr>
        <p:spPr bwMode="auto">
          <a:xfrm>
            <a:off x="6415088" y="3324225"/>
            <a:ext cx="2282825" cy="2030413"/>
          </a:xfrm>
          <a:prstGeom prst="roundRect">
            <a:avLst>
              <a:gd name="adj" fmla="val 4173"/>
            </a:avLst>
          </a:prstGeom>
          <a:gradFill flip="none" rotWithShape="1">
            <a:gsLst>
              <a:gs pos="0">
                <a:srgbClr val="DDDDDD"/>
              </a:gs>
              <a:gs pos="50000">
                <a:schemeClr val="bg1"/>
              </a:gs>
              <a:gs pos="100000">
                <a:schemeClr val="bg1"/>
              </a:gs>
            </a:gsLst>
            <a:lin ang="16200000" scaled="1"/>
            <a:tileRect/>
          </a:gradFill>
          <a:ln w="12700" cap="flat" cmpd="sng" algn="ctr">
            <a:solidFill>
              <a:srgbClr val="DDDDDD"/>
            </a:solidFill>
            <a:prstDash val="solid"/>
            <a:round/>
            <a:headEnd type="none" w="med" len="med"/>
            <a:tailEnd type="none" w="med" len="med"/>
          </a:ln>
          <a:effectLst/>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37" name="Rectangle 2"/>
          <p:cNvSpPr/>
          <p:nvPr/>
        </p:nvSpPr>
        <p:spPr>
          <a:xfrm>
            <a:off x="6415927" y="3356513"/>
            <a:ext cx="2246931" cy="885097"/>
          </a:xfrm>
          <a:prstGeom prst="rect">
            <a:avLst/>
          </a:prstGeom>
          <a:solidFill>
            <a:schemeClr val="bg1">
              <a:lumMod val="50000"/>
            </a:schemeClr>
          </a:solidFill>
          <a:ln w="12700" cap="flat" cmpd="sng" algn="ctr">
            <a:solidFill>
              <a:srgbClr val="DDDDDD"/>
            </a:solidFill>
            <a:prstDash val="solid"/>
            <a:round/>
            <a:headEnd type="none" w="med" len="med"/>
            <a:tailEnd type="none" w="med" len="med"/>
          </a:ln>
          <a:effectLst/>
          <a:scene3d>
            <a:camera prst="perspectiveRelaxed" fov="6300000">
              <a:rot lat="18000000" lon="0" rev="0"/>
            </a:camera>
            <a:lightRig rig="threePt" dir="t"/>
          </a:scene3d>
        </p:spPr>
        <p:txBody>
          <a:bodyPr lIns="0" tIns="0" rIns="0" bIns="0"/>
          <a:lstStyle/>
          <a:p>
            <a:pPr>
              <a:lnSpc>
                <a:spcPts val="1800"/>
              </a:lnSpc>
              <a:spcBef>
                <a:spcPct val="50000"/>
              </a:spcBef>
              <a:buSzPct val="75000"/>
              <a:defRPr/>
            </a:pPr>
            <a:endParaRPr lang="en-US" sz="1400">
              <a:latin typeface="Tele-GroteskFet" pitchFamily="2" charset="0"/>
              <a:cs typeface="Arial" charset="0"/>
            </a:endParaRPr>
          </a:p>
        </p:txBody>
      </p:sp>
      <p:sp>
        <p:nvSpPr>
          <p:cNvPr id="38" name="Freeform 9"/>
          <p:cNvSpPr/>
          <p:nvPr/>
        </p:nvSpPr>
        <p:spPr>
          <a:xfrm>
            <a:off x="6429375" y="3367088"/>
            <a:ext cx="2370138" cy="50482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lnSpc>
                <a:spcPts val="1800"/>
              </a:lnSpc>
              <a:spcAft>
                <a:spcPts val="0"/>
              </a:spcAft>
              <a:buClr>
                <a:schemeClr val="tx2"/>
              </a:buClr>
              <a:buSzPct val="75000"/>
              <a:buFont typeface="Wingdings" pitchFamily="2" charset="2"/>
              <a:buNone/>
              <a:defRPr/>
            </a:pPr>
            <a:r>
              <a:rPr lang="en-US">
                <a:solidFill>
                  <a:schemeClr val="tx1"/>
                </a:solidFill>
                <a:latin typeface="Tele-GroteskFet" pitchFamily="2" charset="0"/>
              </a:rPr>
              <a:t>EU - Future Internet</a:t>
            </a:r>
            <a:endParaRPr lang="en-US">
              <a:solidFill>
                <a:schemeClr val="tx1"/>
              </a:solidFill>
              <a:latin typeface="+mj-lt"/>
            </a:endParaRPr>
          </a:p>
        </p:txBody>
      </p:sp>
      <p:pic>
        <p:nvPicPr>
          <p:cNvPr id="469030" name="Picture 37"/>
          <p:cNvPicPr>
            <a:picLocks noChangeAspect="1" noChangeArrowheads="1"/>
          </p:cNvPicPr>
          <p:nvPr/>
        </p:nvPicPr>
        <p:blipFill>
          <a:blip r:embed="rId7"/>
          <a:srcRect/>
          <a:stretch>
            <a:fillRect/>
          </a:stretch>
        </p:blipFill>
        <p:spPr bwMode="auto">
          <a:xfrm>
            <a:off x="6440488" y="3683000"/>
            <a:ext cx="936625" cy="328613"/>
          </a:xfrm>
          <a:prstGeom prst="rect">
            <a:avLst/>
          </a:prstGeom>
          <a:noFill/>
          <a:ln w="9525">
            <a:noFill/>
            <a:miter lim="800000"/>
            <a:headEnd/>
            <a:tailEnd/>
          </a:ln>
        </p:spPr>
      </p:pic>
      <p:pic>
        <p:nvPicPr>
          <p:cNvPr id="469031" name="Picture 38"/>
          <p:cNvPicPr>
            <a:picLocks noChangeAspect="1" noChangeArrowheads="1"/>
          </p:cNvPicPr>
          <p:nvPr/>
        </p:nvPicPr>
        <p:blipFill>
          <a:blip r:embed="rId8"/>
          <a:srcRect/>
          <a:stretch>
            <a:fillRect/>
          </a:stretch>
        </p:blipFill>
        <p:spPr bwMode="auto">
          <a:xfrm>
            <a:off x="7580313" y="3654425"/>
            <a:ext cx="862012" cy="393700"/>
          </a:xfrm>
          <a:prstGeom prst="rect">
            <a:avLst/>
          </a:prstGeom>
          <a:noFill/>
          <a:ln w="9525">
            <a:noFill/>
            <a:miter lim="800000"/>
            <a:headEnd/>
            <a:tailEnd/>
          </a:ln>
        </p:spPr>
      </p:pic>
      <p:pic>
        <p:nvPicPr>
          <p:cNvPr id="469032" name="Picture 39"/>
          <p:cNvPicPr>
            <a:picLocks noChangeAspect="1" noChangeArrowheads="1"/>
          </p:cNvPicPr>
          <p:nvPr/>
        </p:nvPicPr>
        <p:blipFill>
          <a:blip r:embed="rId5"/>
          <a:srcRect/>
          <a:stretch>
            <a:fillRect/>
          </a:stretch>
        </p:blipFill>
        <p:spPr bwMode="auto">
          <a:xfrm>
            <a:off x="7750175" y="2095500"/>
            <a:ext cx="769938" cy="411163"/>
          </a:xfrm>
          <a:prstGeom prst="rect">
            <a:avLst/>
          </a:prstGeom>
          <a:noFill/>
          <a:ln w="9525">
            <a:noFill/>
            <a:miter lim="800000"/>
            <a:headEnd/>
            <a:tailEnd/>
          </a:ln>
        </p:spPr>
      </p:pic>
      <p:sp>
        <p:nvSpPr>
          <p:cNvPr id="42" name="Freeform 15"/>
          <p:cNvSpPr/>
          <p:nvPr/>
        </p:nvSpPr>
        <p:spPr>
          <a:xfrm>
            <a:off x="6440488" y="3968750"/>
            <a:ext cx="2162175" cy="1158875"/>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
            </a:r>
            <a:br>
              <a:rPr lang="en-US" sz="1200" dirty="0">
                <a:solidFill>
                  <a:schemeClr val="tx1"/>
                </a:solidFill>
                <a:latin typeface="Tele-GroteskFet" pitchFamily="2" charset="0"/>
              </a:rPr>
            </a:br>
            <a:r>
              <a:rPr lang="en-US" sz="1200" dirty="0">
                <a:solidFill>
                  <a:schemeClr val="tx1"/>
                </a:solidFill>
                <a:latin typeface="Tele-GroteskFet" pitchFamily="2" charset="0"/>
              </a:rPr>
              <a:t>Development of a pan-European common Internet platform  providing a generic infrastructure to foster open innovation. </a:t>
            </a:r>
            <a:endParaRPr lang="en-US" sz="1200" dirty="0">
              <a:solidFill>
                <a:schemeClr val="tx1"/>
              </a:solidFill>
              <a:latin typeface="+mj-lt"/>
            </a:endParaRPr>
          </a:p>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Develop future sustainable services towards Horizon 2020.</a:t>
            </a:r>
          </a:p>
        </p:txBody>
      </p:sp>
      <p:sp>
        <p:nvSpPr>
          <p:cNvPr id="43" name="Freeform 15"/>
          <p:cNvSpPr/>
          <p:nvPr/>
        </p:nvSpPr>
        <p:spPr>
          <a:xfrm>
            <a:off x="3333750" y="5259388"/>
            <a:ext cx="2238375" cy="757237"/>
          </a:xfrm>
          <a:custGeom>
            <a:avLst/>
            <a:gdLst>
              <a:gd name="connsiteX0" fmla="*/ 0 w 1114956"/>
              <a:gd name="connsiteY0" fmla="*/ 0 h 1112795"/>
              <a:gd name="connsiteX1" fmla="*/ 1114956 w 1114956"/>
              <a:gd name="connsiteY1" fmla="*/ 0 h 1112795"/>
              <a:gd name="connsiteX2" fmla="*/ 1114956 w 1114956"/>
              <a:gd name="connsiteY2" fmla="*/ 1112795 h 1112795"/>
              <a:gd name="connsiteX3" fmla="*/ 0 w 1114956"/>
              <a:gd name="connsiteY3" fmla="*/ 1112795 h 1112795"/>
              <a:gd name="connsiteX4" fmla="*/ 0 w 1114956"/>
              <a:gd name="connsiteY4" fmla="*/ 0 h 1112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4956" h="1112795">
                <a:moveTo>
                  <a:pt x="0" y="0"/>
                </a:moveTo>
                <a:lnTo>
                  <a:pt x="1114956" y="0"/>
                </a:lnTo>
                <a:lnTo>
                  <a:pt x="1114956" y="1112795"/>
                </a:lnTo>
                <a:lnTo>
                  <a:pt x="0" y="111279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lIns="84877" tIns="0" rIns="0" bIns="0" spcCol="1270"/>
          <a:lstStyle/>
          <a:p>
            <a:pPr defTabSz="1066800">
              <a:spcAft>
                <a:spcPct val="35000"/>
              </a:spcAft>
              <a:buClr>
                <a:schemeClr val="tx2"/>
              </a:buClr>
              <a:buSzPct val="75000"/>
              <a:buFont typeface="Wingdings" pitchFamily="2" charset="2"/>
              <a:buNone/>
              <a:defRPr/>
            </a:pPr>
            <a:r>
              <a:rPr lang="en-US" sz="1200" dirty="0">
                <a:solidFill>
                  <a:schemeClr val="tx1"/>
                </a:solidFill>
                <a:latin typeface="Tele-GroteskFet" pitchFamily="2" charset="0"/>
              </a:rPr>
              <a:t>Aligning and adapting energy provisioning with real traffic loads opens up a huge carbon decrease potential.</a:t>
            </a:r>
          </a:p>
          <a:p>
            <a:pPr defTabSz="1066800">
              <a:spcAft>
                <a:spcPct val="35000"/>
              </a:spcAft>
              <a:buClr>
                <a:schemeClr val="tx2"/>
              </a:buClr>
              <a:buSzPct val="75000"/>
              <a:buFont typeface="Wingdings" pitchFamily="2" charset="2"/>
              <a:buNone/>
              <a:defRPr/>
            </a:pPr>
            <a:endParaRPr lang="en-US" sz="1200" dirty="0">
              <a:solidFill>
                <a:schemeClr val="tx1"/>
              </a:solidFill>
              <a:latin typeface="Tele-GroteskFet" pitchFamily="2"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0466" name="Object 18"/>
          <p:cNvGraphicFramePr>
            <a:graphicFrameLocks/>
          </p:cNvGraphicFramePr>
          <p:nvPr>
            <p:custDataLst>
              <p:tags r:id="rId2"/>
            </p:custDataLst>
          </p:nvPr>
        </p:nvGraphicFramePr>
        <p:xfrm>
          <a:off x="0" y="0"/>
          <a:ext cx="158750" cy="158750"/>
        </p:xfrm>
        <a:graphic>
          <a:graphicData uri="http://schemas.openxmlformats.org/presentationml/2006/ole">
            <p:oleObj spid="_x0000_s360466" name="think-cell Folie" r:id="rId4" imgW="360" imgH="360" progId="">
              <p:embed/>
            </p:oleObj>
          </a:graphicData>
        </a:graphic>
      </p:graphicFrame>
      <p:sp>
        <p:nvSpPr>
          <p:cNvPr id="360468" name="Title 1"/>
          <p:cNvSpPr txBox="1">
            <a:spLocks/>
          </p:cNvSpPr>
          <p:nvPr/>
        </p:nvSpPr>
        <p:spPr bwMode="gray">
          <a:xfrm>
            <a:off x="304800" y="333375"/>
            <a:ext cx="8496300" cy="830263"/>
          </a:xfrm>
          <a:prstGeom prst="rect">
            <a:avLst/>
          </a:prstGeom>
          <a:noFill/>
          <a:ln w="9525">
            <a:noFill/>
            <a:miter lim="800000"/>
            <a:headEnd/>
            <a:tailEnd/>
          </a:ln>
        </p:spPr>
        <p:txBody>
          <a:bodyPr lIns="0" tIns="0" rIns="0" bIns="0">
            <a:spAutoFit/>
          </a:bodyPr>
          <a:lstStyle/>
          <a:p>
            <a:pPr>
              <a:lnSpc>
                <a:spcPct val="90000"/>
              </a:lnSpc>
            </a:pPr>
            <a:r>
              <a:rPr lang="en-US" sz="3000">
                <a:solidFill>
                  <a:schemeClr val="tx2"/>
                </a:solidFill>
                <a:latin typeface="TeleGrotesk Headline Ultra"/>
                <a:ea typeface="TeleGrotesk Headline Ultra"/>
                <a:cs typeface="TeleGrotesk Headline Ultra"/>
              </a:rPr>
              <a:t>QiVICON for Smart Living</a:t>
            </a:r>
            <a:br>
              <a:rPr lang="en-US" sz="3000">
                <a:solidFill>
                  <a:schemeClr val="tx2"/>
                </a:solidFill>
                <a:latin typeface="TeleGrotesk Headline Ultra"/>
                <a:ea typeface="TeleGrotesk Headline Ultra"/>
                <a:cs typeface="TeleGrotesk Headline Ultra"/>
              </a:rPr>
            </a:br>
            <a:r>
              <a:rPr lang="en-US" sz="3000">
                <a:solidFill>
                  <a:schemeClr val="tx2"/>
                </a:solidFill>
                <a:latin typeface="TeleGrotesk Headline"/>
                <a:ea typeface="TeleGrotesk Headline Ultra"/>
                <a:cs typeface="TeleGrotesk Headline Ultra"/>
              </a:rPr>
              <a:t>From the Labs to the Product</a:t>
            </a:r>
          </a:p>
        </p:txBody>
      </p:sp>
      <p:sp>
        <p:nvSpPr>
          <p:cNvPr id="360469" name="Foliennummernplatzhalter 1"/>
          <p:cNvSpPr>
            <a:spLocks noGrp="1"/>
          </p:cNvSpPr>
          <p:nvPr>
            <p:ph type="sldNum" sz="quarter" idx="12"/>
          </p:nvPr>
        </p:nvSpPr>
        <p:spPr>
          <a:noFill/>
        </p:spPr>
        <p:txBody>
          <a:bodyPr/>
          <a:lstStyle/>
          <a:p>
            <a:fld id="{45109C4B-298E-456D-B303-A7631F2919A7}" type="slidenum">
              <a:rPr lang="de-DE" smtClean="0">
                <a:solidFill>
                  <a:srgbClr val="000000"/>
                </a:solidFill>
                <a:latin typeface="Tele-GroteskNor"/>
                <a:cs typeface="Arial" charset="0"/>
              </a:rPr>
              <a:pPr/>
              <a:t>11</a:t>
            </a:fld>
            <a:endParaRPr lang="de-DE" smtClean="0">
              <a:solidFill>
                <a:srgbClr val="000000"/>
              </a:solidFill>
              <a:latin typeface="Tele-GroteskNor"/>
              <a:cs typeface="Arial" charset="0"/>
            </a:endParaRPr>
          </a:p>
        </p:txBody>
      </p:sp>
      <p:pic>
        <p:nvPicPr>
          <p:cNvPr id="360470" name="Picture 3" descr="D:\Smart City\T-Labs\Qivicon.jpg"/>
          <p:cNvPicPr>
            <a:picLocks noChangeAspect="1" noChangeArrowheads="1"/>
          </p:cNvPicPr>
          <p:nvPr/>
        </p:nvPicPr>
        <p:blipFill>
          <a:blip r:embed="rId5"/>
          <a:srcRect/>
          <a:stretch>
            <a:fillRect/>
          </a:stretch>
        </p:blipFill>
        <p:spPr bwMode="auto">
          <a:xfrm>
            <a:off x="187325" y="1663700"/>
            <a:ext cx="4441825" cy="3973513"/>
          </a:xfrm>
          <a:prstGeom prst="rect">
            <a:avLst/>
          </a:prstGeom>
          <a:noFill/>
          <a:ln w="9525">
            <a:noFill/>
            <a:miter lim="800000"/>
            <a:headEnd/>
            <a:tailEnd/>
          </a:ln>
        </p:spPr>
      </p:pic>
      <p:sp>
        <p:nvSpPr>
          <p:cNvPr id="360471" name="Rectangle 2"/>
          <p:cNvSpPr>
            <a:spLocks noChangeArrowheads="1"/>
          </p:cNvSpPr>
          <p:nvPr/>
        </p:nvSpPr>
        <p:spPr bwMode="auto">
          <a:xfrm>
            <a:off x="4741863" y="1790700"/>
            <a:ext cx="4175125" cy="4275138"/>
          </a:xfrm>
          <a:prstGeom prst="rect">
            <a:avLst/>
          </a:prstGeom>
          <a:solidFill>
            <a:schemeClr val="bg1"/>
          </a:solidFill>
          <a:ln w="38100">
            <a:solidFill>
              <a:schemeClr val="tx2"/>
            </a:solidFill>
            <a:miter lim="800000"/>
            <a:headEnd/>
            <a:tailEnd/>
          </a:ln>
        </p:spPr>
        <p:txBody>
          <a:bodyPr lIns="144000" tIns="540000" rIns="144000"/>
          <a:lstStyle/>
          <a:p>
            <a:pPr marL="138113" indent="-138113">
              <a:lnSpc>
                <a:spcPts val="1800"/>
              </a:lnSpc>
              <a:spcBef>
                <a:spcPct val="50000"/>
              </a:spcBef>
              <a:buClr>
                <a:schemeClr val="tx2"/>
              </a:buClr>
              <a:buSzPct val="75000"/>
              <a:buFont typeface="Wingdings" pitchFamily="2" charset="2"/>
              <a:buChar char="§"/>
            </a:pPr>
            <a:r>
              <a:rPr lang="en-US" sz="1400">
                <a:latin typeface="Tele-GroteskNor"/>
              </a:rPr>
              <a:t>Energy and Living</a:t>
            </a:r>
            <a:br>
              <a:rPr lang="en-US" sz="1400">
                <a:latin typeface="Tele-GroteskNor"/>
              </a:rPr>
            </a:br>
            <a:r>
              <a:rPr lang="en-US" sz="1400">
                <a:latin typeface="Tele-GroteskNor"/>
              </a:rPr>
              <a:t>QIVICON is an Internet based home-automation platform for future home, supporting multiple scenarios to connect and safe energy and life and provide technically enhanced convenience for their inhabitants, especially supporting the silver generation at home. Partners, e.g.: EON, EnBW, Miele, Samsung, WinkelSolar eQ-3.</a:t>
            </a:r>
          </a:p>
          <a:p>
            <a:pPr marL="138113" indent="-138113">
              <a:lnSpc>
                <a:spcPts val="1800"/>
              </a:lnSpc>
              <a:spcBef>
                <a:spcPct val="50000"/>
              </a:spcBef>
              <a:buClr>
                <a:schemeClr val="tx2"/>
              </a:buClr>
              <a:buSzPct val="75000"/>
              <a:buFont typeface="Wingdings" pitchFamily="2" charset="2"/>
              <a:buChar char="§"/>
            </a:pPr>
            <a:r>
              <a:rPr lang="en-US" sz="1400">
                <a:latin typeface="Tele-GroteskNor"/>
              </a:rPr>
              <a:t>The small box „QIVICON Home-Base“ provides an Internet-platform using powerline and an appstore. The system can  communicate over the air with all Qivicon certified electronic devices at home and is steered by any Internet connected device.</a:t>
            </a:r>
          </a:p>
          <a:p>
            <a:pPr marL="138113" indent="-138113">
              <a:lnSpc>
                <a:spcPts val="1800"/>
              </a:lnSpc>
              <a:spcBef>
                <a:spcPct val="50000"/>
              </a:spcBef>
              <a:buClr>
                <a:schemeClr val="tx2"/>
              </a:buClr>
              <a:buSzPct val="75000"/>
              <a:buFont typeface="Wingdings" pitchFamily="2" charset="2"/>
              <a:buChar char="§"/>
            </a:pPr>
            <a:r>
              <a:rPr lang="en-US" sz="1400">
                <a:latin typeface="Tele-GroteskNor"/>
              </a:rPr>
              <a:t>Examples: Developed by partners, Apps provide tasks like: activate a washing machine, once enough solar power is available or power tariffs are cheap. . </a:t>
            </a:r>
            <a:r>
              <a:rPr lang="de-DE" sz="1400"/>
              <a:t/>
            </a:r>
            <a:br>
              <a:rPr lang="de-DE" sz="1400"/>
            </a:br>
            <a:endParaRPr lang="en-US" sz="1400">
              <a:sym typeface="Wingdings" pitchFamily="2" charset="2"/>
            </a:endParaRPr>
          </a:p>
        </p:txBody>
      </p:sp>
      <p:sp>
        <p:nvSpPr>
          <p:cNvPr id="360472" name="Rectangle 4"/>
          <p:cNvSpPr>
            <a:spLocks noChangeArrowheads="1"/>
          </p:cNvSpPr>
          <p:nvPr/>
        </p:nvSpPr>
        <p:spPr bwMode="auto">
          <a:xfrm>
            <a:off x="4741863" y="1782763"/>
            <a:ext cx="4175125" cy="395287"/>
          </a:xfrm>
          <a:prstGeom prst="rect">
            <a:avLst/>
          </a:prstGeom>
          <a:solidFill>
            <a:schemeClr val="tx2"/>
          </a:solidFill>
          <a:ln w="9525">
            <a:noFill/>
            <a:miter lim="800000"/>
            <a:headEnd/>
            <a:tailEnd/>
          </a:ln>
        </p:spPr>
        <p:txBody>
          <a:bodyPr lIns="144000" tIns="72000" rIns="144000" bIns="72000">
            <a:spAutoFit/>
          </a:bodyPr>
          <a:lstStyle/>
          <a:p>
            <a:pPr>
              <a:lnSpc>
                <a:spcPct val="90000"/>
              </a:lnSpc>
              <a:spcBef>
                <a:spcPct val="50000"/>
              </a:spcBef>
              <a:buClr>
                <a:schemeClr val="tx2"/>
              </a:buClr>
              <a:buSzPct val="75000"/>
              <a:buFont typeface="Wingdings" pitchFamily="2" charset="2"/>
              <a:buNone/>
            </a:pPr>
            <a:r>
              <a:rPr lang="de-DE">
                <a:solidFill>
                  <a:schemeClr val="bg1"/>
                </a:solidFill>
                <a:cs typeface="Arial" charset="0"/>
              </a:rPr>
              <a:t>Service overview</a:t>
            </a:r>
            <a:endParaRPr lang="en-US">
              <a:solidFill>
                <a:schemeClr val="bg1"/>
              </a:solidFill>
              <a:cs typeface="Arial" charset="0"/>
            </a:endParaRPr>
          </a:p>
        </p:txBody>
      </p:sp>
      <p:sp>
        <p:nvSpPr>
          <p:cNvPr id="360473" name="Date Placeholder 2"/>
          <p:cNvSpPr>
            <a:spLocks noGrp="1"/>
          </p:cNvSpPr>
          <p:nvPr>
            <p:ph type="dt" sz="quarter" idx="10"/>
          </p:nvPr>
        </p:nvSpPr>
        <p:spPr>
          <a:noFill/>
        </p:spPr>
        <p:txBody>
          <a:bodyPr/>
          <a:lstStyle/>
          <a:p>
            <a:fld id="{0C5F4DEB-07EA-4FD7-A7B7-C74B0308B9DF}" type="datetime1">
              <a:rPr lang="de-DE" smtClean="0">
                <a:latin typeface="Tele-GroteskNor"/>
              </a:rPr>
              <a:pPr/>
              <a:t>11.09.2013</a:t>
            </a:fld>
            <a:endParaRPr lang="de-DE" smtClean="0">
              <a:latin typeface="Tele-GroteskNor"/>
            </a:endParaRPr>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2515" name="Object 19"/>
          <p:cNvGraphicFramePr>
            <a:graphicFrameLocks/>
          </p:cNvGraphicFramePr>
          <p:nvPr>
            <p:custDataLst>
              <p:tags r:id="rId2"/>
            </p:custDataLst>
          </p:nvPr>
        </p:nvGraphicFramePr>
        <p:xfrm>
          <a:off x="0" y="0"/>
          <a:ext cx="158750" cy="158750"/>
        </p:xfrm>
        <a:graphic>
          <a:graphicData uri="http://schemas.openxmlformats.org/presentationml/2006/ole">
            <p:oleObj spid="_x0000_s362515" name="think-cell Folie" r:id="rId25" imgW="360" imgH="360" progId="">
              <p:embed/>
            </p:oleObj>
          </a:graphicData>
        </a:graphic>
      </p:graphicFrame>
      <p:sp>
        <p:nvSpPr>
          <p:cNvPr id="42" name="Titel 2"/>
          <p:cNvSpPr txBox="1">
            <a:spLocks/>
          </p:cNvSpPr>
          <p:nvPr/>
        </p:nvSpPr>
        <p:spPr bwMode="gray">
          <a:xfrm>
            <a:off x="304800" y="333375"/>
            <a:ext cx="8496300" cy="415925"/>
          </a:xfrm>
          <a:prstGeom prst="rect">
            <a:avLst/>
          </a:prstGeom>
          <a:noFill/>
          <a:ln w="9525">
            <a:noFill/>
            <a:miter lim="800000"/>
            <a:headEnd/>
            <a:tailEnd/>
          </a:ln>
        </p:spPr>
        <p:txBody>
          <a:bodyPr lIns="0" tIns="0" rIns="0" bIns="0">
            <a:spAutoFit/>
          </a:bodyPr>
          <a:lstStyle>
            <a:lvl1pPr algn="l" defTabSz="457200" rtl="0" fontAlgn="base">
              <a:lnSpc>
                <a:spcPct val="90000"/>
              </a:lnSpc>
              <a:spcBef>
                <a:spcPct val="0"/>
              </a:spcBef>
              <a:spcAft>
                <a:spcPct val="0"/>
              </a:spcAft>
              <a:defRPr lang="de-DE" sz="3000" kern="1200" dirty="0">
                <a:solidFill>
                  <a:schemeClr val="tx2"/>
                </a:solidFill>
                <a:latin typeface="TeleGrotesk Headline Ultra" pitchFamily="2" charset="0"/>
                <a:ea typeface="+mj-ea"/>
                <a:cs typeface="TeleGrotesk Headline Ultra" pitchFamily="2" charset="0"/>
              </a:defRPr>
            </a:lvl1pPr>
            <a:lvl2pPr algn="l" defTabSz="457200" rtl="0" fontAlgn="base">
              <a:lnSpc>
                <a:spcPct val="90000"/>
              </a:lnSpc>
              <a:spcBef>
                <a:spcPct val="0"/>
              </a:spcBef>
              <a:spcAft>
                <a:spcPct val="0"/>
              </a:spcAft>
              <a:defRPr sz="3000">
                <a:solidFill>
                  <a:schemeClr val="tx2"/>
                </a:solidFill>
                <a:latin typeface="Tele-GroteskUlt" pitchFamily="2" charset="0"/>
              </a:defRPr>
            </a:lvl2pPr>
            <a:lvl3pPr algn="l" defTabSz="457200" rtl="0" fontAlgn="base">
              <a:lnSpc>
                <a:spcPct val="90000"/>
              </a:lnSpc>
              <a:spcBef>
                <a:spcPct val="0"/>
              </a:spcBef>
              <a:spcAft>
                <a:spcPct val="0"/>
              </a:spcAft>
              <a:defRPr sz="3000">
                <a:solidFill>
                  <a:schemeClr val="tx2"/>
                </a:solidFill>
                <a:latin typeface="Tele-GroteskUlt" pitchFamily="2" charset="0"/>
              </a:defRPr>
            </a:lvl3pPr>
            <a:lvl4pPr algn="l" defTabSz="457200" rtl="0" fontAlgn="base">
              <a:lnSpc>
                <a:spcPct val="90000"/>
              </a:lnSpc>
              <a:spcBef>
                <a:spcPct val="0"/>
              </a:spcBef>
              <a:spcAft>
                <a:spcPct val="0"/>
              </a:spcAft>
              <a:defRPr sz="3000">
                <a:solidFill>
                  <a:schemeClr val="tx2"/>
                </a:solidFill>
                <a:latin typeface="Tele-GroteskUlt" pitchFamily="2" charset="0"/>
              </a:defRPr>
            </a:lvl4pPr>
            <a:lvl5pPr algn="l" defTabSz="457200" rtl="0" fontAlgn="base">
              <a:lnSpc>
                <a:spcPct val="90000"/>
              </a:lnSpc>
              <a:spcBef>
                <a:spcPct val="0"/>
              </a:spcBef>
              <a:spcAft>
                <a:spcPct val="0"/>
              </a:spcAft>
              <a:defRPr sz="3000">
                <a:solidFill>
                  <a:schemeClr val="tx2"/>
                </a:solidFill>
                <a:latin typeface="Tele-GroteskUlt" pitchFamily="2" charset="0"/>
              </a:defRPr>
            </a:lvl5pPr>
            <a:lvl6pPr marL="457200" algn="l" defTabSz="457200" rtl="0" fontAlgn="base">
              <a:lnSpc>
                <a:spcPct val="90000"/>
              </a:lnSpc>
              <a:spcBef>
                <a:spcPct val="0"/>
              </a:spcBef>
              <a:spcAft>
                <a:spcPct val="0"/>
              </a:spcAft>
              <a:defRPr sz="3000">
                <a:solidFill>
                  <a:schemeClr val="tx2"/>
                </a:solidFill>
                <a:latin typeface="Tele-GroteskUlt" pitchFamily="2" charset="0"/>
              </a:defRPr>
            </a:lvl6pPr>
            <a:lvl7pPr marL="914400" algn="l" defTabSz="457200" rtl="0" fontAlgn="base">
              <a:lnSpc>
                <a:spcPct val="90000"/>
              </a:lnSpc>
              <a:spcBef>
                <a:spcPct val="0"/>
              </a:spcBef>
              <a:spcAft>
                <a:spcPct val="0"/>
              </a:spcAft>
              <a:defRPr sz="3000">
                <a:solidFill>
                  <a:schemeClr val="tx2"/>
                </a:solidFill>
                <a:latin typeface="Tele-GroteskUlt" pitchFamily="2" charset="0"/>
              </a:defRPr>
            </a:lvl7pPr>
            <a:lvl8pPr marL="1371600" algn="l" defTabSz="457200" rtl="0" fontAlgn="base">
              <a:lnSpc>
                <a:spcPct val="90000"/>
              </a:lnSpc>
              <a:spcBef>
                <a:spcPct val="0"/>
              </a:spcBef>
              <a:spcAft>
                <a:spcPct val="0"/>
              </a:spcAft>
              <a:defRPr sz="3000">
                <a:solidFill>
                  <a:schemeClr val="tx2"/>
                </a:solidFill>
                <a:latin typeface="Tele-GroteskUlt" pitchFamily="2" charset="0"/>
              </a:defRPr>
            </a:lvl8pPr>
            <a:lvl9pPr marL="1828800" algn="l" defTabSz="457200" rtl="0" fontAlgn="base">
              <a:lnSpc>
                <a:spcPct val="90000"/>
              </a:lnSpc>
              <a:spcBef>
                <a:spcPct val="0"/>
              </a:spcBef>
              <a:spcAft>
                <a:spcPct val="0"/>
              </a:spcAft>
              <a:defRPr sz="3000">
                <a:solidFill>
                  <a:schemeClr val="tx2"/>
                </a:solidFill>
                <a:latin typeface="Tele-GroteskUlt" pitchFamily="2" charset="0"/>
              </a:defRPr>
            </a:lvl9pPr>
          </a:lstStyle>
          <a:p>
            <a:pPr>
              <a:defRPr/>
            </a:pPr>
            <a:r>
              <a:rPr lang="en-US" smtClean="0"/>
              <a:t>SMART PORT LOGISTICS</a:t>
            </a:r>
            <a:br>
              <a:rPr lang="en-US" smtClean="0"/>
            </a:br>
            <a:r>
              <a:rPr lang="en-US" smtClean="0">
                <a:latin typeface="+mn-lt"/>
              </a:rPr>
              <a:t>COOPERATION BETWEEN</a:t>
            </a:r>
            <a:endParaRPr lang="en-US">
              <a:latin typeface="+mn-lt"/>
            </a:endParaRPr>
          </a:p>
        </p:txBody>
      </p:sp>
      <p:pic>
        <p:nvPicPr>
          <p:cNvPr id="40" name="Grafik 7" descr="HH.jpg"/>
          <p:cNvPicPr>
            <a:picLocks noChangeAspect="1"/>
          </p:cNvPicPr>
          <p:nvPr/>
        </p:nvPicPr>
        <p:blipFill>
          <a:blip r:embed="rId26">
            <a:duotone>
              <a:schemeClr val="accent4">
                <a:shade val="45000"/>
                <a:satMod val="135000"/>
              </a:schemeClr>
              <a:prstClr val="white"/>
            </a:duotone>
            <a:extLst>
              <a:ext uri="{BEBA8EAE-BF5A-486C-A8C5-ECC9F3942E4B}"/>
              <a:ext uri="{28A0092B-C50C-407E-A947-70E740481C1C}"/>
            </a:extLst>
          </a:blip>
          <a:srcRect b="-603"/>
          <a:stretch>
            <a:fillRect/>
          </a:stretch>
        </p:blipFill>
        <p:spPr bwMode="auto">
          <a:xfrm>
            <a:off x="0" y="1127125"/>
            <a:ext cx="9144000" cy="5060950"/>
          </a:xfrm>
          <a:prstGeom prst="rect">
            <a:avLst/>
          </a:prstGeom>
          <a:noFill/>
          <a:ln>
            <a:noFill/>
          </a:ln>
          <a:extLst>
            <a:ext uri="{909E8E84-426E-40DD-AFC4-6F175D3DCCD1}"/>
            <a:ext uri="{91240B29-F687-4F45-9708-019B960494DF}"/>
          </a:extLst>
        </p:spPr>
      </p:pic>
      <p:sp>
        <p:nvSpPr>
          <p:cNvPr id="362519" name="Foliennummernplatzhalter 1"/>
          <p:cNvSpPr>
            <a:spLocks noGrp="1"/>
          </p:cNvSpPr>
          <p:nvPr>
            <p:ph type="sldNum" sz="quarter" idx="12"/>
          </p:nvPr>
        </p:nvSpPr>
        <p:spPr>
          <a:noFill/>
        </p:spPr>
        <p:txBody>
          <a:bodyPr/>
          <a:lstStyle/>
          <a:p>
            <a:fld id="{10A52144-F186-4FA1-B48B-9EECFDF39BBA}" type="slidenum">
              <a:rPr lang="de-DE" smtClean="0">
                <a:solidFill>
                  <a:srgbClr val="000000"/>
                </a:solidFill>
                <a:latin typeface="Tele-GroteskNor"/>
                <a:cs typeface="Arial" charset="0"/>
              </a:rPr>
              <a:pPr/>
              <a:t>12</a:t>
            </a:fld>
            <a:endParaRPr lang="de-DE" smtClean="0">
              <a:solidFill>
                <a:srgbClr val="000000"/>
              </a:solidFill>
              <a:latin typeface="Tele-GroteskNor"/>
              <a:cs typeface="Arial" charset="0"/>
            </a:endParaRPr>
          </a:p>
        </p:txBody>
      </p:sp>
      <p:sp>
        <p:nvSpPr>
          <p:cNvPr id="11" name="Cloud 48"/>
          <p:cNvSpPr/>
          <p:nvPr/>
        </p:nvSpPr>
        <p:spPr bwMode="gray">
          <a:xfrm>
            <a:off x="2846388" y="4075113"/>
            <a:ext cx="3451225" cy="1916112"/>
          </a:xfrm>
          <a:prstGeom prst="cloud">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6000" tIns="36000" rIns="36000" bIns="36000" anchor="ctr"/>
          <a:lstStyle/>
          <a:p>
            <a:pPr algn="ctr">
              <a:lnSpc>
                <a:spcPts val="1800"/>
              </a:lnSpc>
              <a:spcBef>
                <a:spcPct val="50000"/>
              </a:spcBef>
              <a:buClr>
                <a:srgbClr val="F0AB00"/>
              </a:buClr>
              <a:buSzPct val="80000"/>
              <a:buFont typeface="Wingdings" pitchFamily="2" charset="2"/>
              <a:buNone/>
              <a:defRPr/>
            </a:pPr>
            <a:endParaRPr lang="en-US" sz="1100" b="1" kern="0">
              <a:solidFill>
                <a:srgbClr val="000000"/>
              </a:solidFill>
              <a:latin typeface="Arial" charset="0"/>
              <a:ea typeface="Arial Unicode MS" pitchFamily="34" charset="-128"/>
              <a:cs typeface="Arial Unicode MS" pitchFamily="34" charset="-128"/>
            </a:endParaRPr>
          </a:p>
        </p:txBody>
      </p:sp>
      <p:sp>
        <p:nvSpPr>
          <p:cNvPr id="12" name="Rechteck 11"/>
          <p:cNvSpPr/>
          <p:nvPr/>
        </p:nvSpPr>
        <p:spPr>
          <a:xfrm>
            <a:off x="3246438" y="4281488"/>
            <a:ext cx="2909887" cy="314325"/>
          </a:xfrm>
          <a:prstGeom prst="rect">
            <a:avLst/>
          </a:prstGeom>
        </p:spPr>
        <p:txBody>
          <a:bodyPr>
            <a:spAutoFit/>
          </a:bodyPr>
          <a:lstStyle/>
          <a:p>
            <a:pPr algn="ctr">
              <a:lnSpc>
                <a:spcPts val="1800"/>
              </a:lnSpc>
              <a:spcBef>
                <a:spcPct val="50000"/>
              </a:spcBef>
              <a:buClr>
                <a:srgbClr val="F0AB00"/>
              </a:buClr>
              <a:buSzPct val="80000"/>
              <a:buFont typeface="Wingdings" pitchFamily="2" charset="2"/>
              <a:buNone/>
              <a:defRPr/>
            </a:pPr>
            <a:r>
              <a:rPr lang="en-US" sz="1600" b="1" kern="0" dirty="0">
                <a:solidFill>
                  <a:srgbClr val="000000"/>
                </a:solidFill>
                <a:latin typeface="Arial" pitchFamily="34" charset="0"/>
                <a:ea typeface="Arial Unicode MS" pitchFamily="34" charset="-128"/>
                <a:cs typeface="Arial" pitchFamily="34" charset="0"/>
              </a:rPr>
              <a:t>Mobile Business Cloud</a:t>
            </a:r>
          </a:p>
        </p:txBody>
      </p:sp>
      <p:sp>
        <p:nvSpPr>
          <p:cNvPr id="13" name="Rechteck 12"/>
          <p:cNvSpPr/>
          <p:nvPr/>
        </p:nvSpPr>
        <p:spPr>
          <a:xfrm>
            <a:off x="3084513" y="4610100"/>
            <a:ext cx="3111500" cy="554038"/>
          </a:xfrm>
          <a:prstGeom prst="rect">
            <a:avLst/>
          </a:prstGeom>
        </p:spPr>
        <p:txBody>
          <a:bodyPr>
            <a:spAutoFit/>
          </a:bodyPr>
          <a:lstStyle/>
          <a:p>
            <a:pPr algn="ctr">
              <a:lnSpc>
                <a:spcPts val="1800"/>
              </a:lnSpc>
              <a:spcBef>
                <a:spcPct val="50000"/>
              </a:spcBef>
              <a:buClr>
                <a:srgbClr val="F0AB00"/>
              </a:buClr>
              <a:buSzPct val="80000"/>
              <a:buFont typeface="Wingdings" pitchFamily="2" charset="2"/>
              <a:buNone/>
              <a:defRPr/>
            </a:pPr>
            <a:r>
              <a:rPr lang="en-US" sz="1400" kern="0" dirty="0">
                <a:solidFill>
                  <a:srgbClr val="000000"/>
                </a:solidFill>
                <a:latin typeface="Arial" pitchFamily="34" charset="0"/>
                <a:ea typeface="Arial Unicode MS" pitchFamily="34" charset="-128"/>
                <a:cs typeface="Arial" pitchFamily="34" charset="0"/>
              </a:rPr>
              <a:t>Cloud services for Hamburg port logistics ecosystem</a:t>
            </a:r>
            <a:endParaRPr lang="en-US" kern="0" dirty="0">
              <a:solidFill>
                <a:srgbClr val="000000"/>
              </a:solidFill>
              <a:latin typeface="Arial" pitchFamily="34" charset="0"/>
              <a:ea typeface="Arial Unicode MS" pitchFamily="34" charset="-128"/>
              <a:cs typeface="Arial" pitchFamily="34" charset="0"/>
            </a:endParaRPr>
          </a:p>
        </p:txBody>
      </p:sp>
      <p:grpSp>
        <p:nvGrpSpPr>
          <p:cNvPr id="362523" name="Gruppieren 174"/>
          <p:cNvGrpSpPr>
            <a:grpSpLocks/>
          </p:cNvGrpSpPr>
          <p:nvPr/>
        </p:nvGrpSpPr>
        <p:grpSpPr bwMode="auto">
          <a:xfrm>
            <a:off x="3397250" y="1909763"/>
            <a:ext cx="2413000" cy="1663700"/>
            <a:chOff x="395776" y="2886985"/>
            <a:chExt cx="2412000" cy="1665048"/>
          </a:xfrm>
        </p:grpSpPr>
        <p:grpSp>
          <p:nvGrpSpPr>
            <p:cNvPr id="362552" name="Gruppieren 175"/>
            <p:cNvGrpSpPr>
              <a:grpSpLocks/>
            </p:cNvGrpSpPr>
            <p:nvPr>
              <p:custDataLst>
                <p:tags r:id="rId18"/>
              </p:custDataLst>
            </p:nvPr>
          </p:nvGrpSpPr>
          <p:grpSpPr bwMode="auto">
            <a:xfrm>
              <a:off x="395776" y="2886985"/>
              <a:ext cx="2412000" cy="1665048"/>
              <a:chOff x="278732" y="1078276"/>
              <a:chExt cx="2160000" cy="1665048"/>
            </a:xfrm>
          </p:grpSpPr>
          <p:sp>
            <p:nvSpPr>
              <p:cNvPr id="19" name="Abgerundetes Rechteck 18"/>
              <p:cNvSpPr/>
              <p:nvPr>
                <p:custDataLst>
                  <p:tags r:id="rId22"/>
                </p:custDataLst>
              </p:nvPr>
            </p:nvSpPr>
            <p:spPr bwMode="gray">
              <a:xfrm>
                <a:off x="278732" y="1078276"/>
                <a:ext cx="2160000" cy="1665048"/>
              </a:xfrm>
              <a:prstGeom prst="roundRect">
                <a:avLst>
                  <a:gd name="adj" fmla="val 4756"/>
                </a:avLst>
              </a:prstGeom>
              <a:solidFill>
                <a:srgbClr val="FFFFFF">
                  <a:lumMod val="95000"/>
                </a:srgbClr>
              </a:solidFill>
              <a:ln w="6350" cap="flat" cmpd="sng" algn="ctr">
                <a:noFill/>
                <a:prstDash val="solid"/>
                <a:round/>
                <a:headEnd type="none" w="med" len="med"/>
                <a:tailEnd type="none" w="med" len="med"/>
              </a:ln>
              <a:effectLst/>
            </p:spPr>
            <p:txBody>
              <a:bodyPr wrap="none" lIns="90000" tIns="46800" rIns="90000" bIns="46800"/>
              <a:lstStyle/>
              <a:p>
                <a:pPr algn="ctr">
                  <a:lnSpc>
                    <a:spcPts val="1800"/>
                  </a:lnSpc>
                  <a:spcBef>
                    <a:spcPts val="200"/>
                  </a:spcBef>
                  <a:buClr>
                    <a:srgbClr val="E20074"/>
                  </a:buClr>
                  <a:buSzPct val="75000"/>
                  <a:buFont typeface="Wingdings" pitchFamily="2" charset="2"/>
                  <a:buNone/>
                  <a:defRPr/>
                </a:pPr>
                <a:endParaRPr lang="en-US" sz="1600" kern="0">
                  <a:solidFill>
                    <a:srgbClr val="000000"/>
                  </a:solidFill>
                  <a:latin typeface="Tele-GroteskHal" pitchFamily="2" charset="0"/>
                  <a:cs typeface="Arial" charset="0"/>
                </a:endParaRPr>
              </a:p>
            </p:txBody>
          </p:sp>
          <p:sp>
            <p:nvSpPr>
              <p:cNvPr id="20" name="AutoShape 36"/>
              <p:cNvSpPr>
                <a:spLocks noChangeArrowheads="1"/>
              </p:cNvSpPr>
              <p:nvPr>
                <p:custDataLst>
                  <p:tags r:id="rId23"/>
                </p:custDataLst>
              </p:nvPr>
            </p:nvSpPr>
            <p:spPr bwMode="gray">
              <a:xfrm>
                <a:off x="318521" y="1114818"/>
                <a:ext cx="2080421" cy="1628506"/>
              </a:xfrm>
              <a:prstGeom prst="roundRect">
                <a:avLst>
                  <a:gd name="adj" fmla="val 5111"/>
                </a:avLst>
              </a:prstGeom>
              <a:solidFill>
                <a:srgbClr val="FFFFFF"/>
              </a:solidFill>
              <a:ln w="6350" algn="ctr">
                <a:solidFill>
                  <a:srgbClr val="999999"/>
                </a:solidFill>
                <a:round/>
                <a:headEnd/>
                <a:tailEnd/>
              </a:ln>
            </p:spPr>
            <p:txBody>
              <a:bodyPr lIns="90000" tIns="82800" rIns="90000" bIns="46800" anchor="ctr"/>
              <a:lstStyle/>
              <a:p>
                <a:pPr algn="ctr">
                  <a:lnSpc>
                    <a:spcPts val="1800"/>
                  </a:lnSpc>
                  <a:spcBef>
                    <a:spcPts val="400"/>
                  </a:spcBef>
                  <a:buClr>
                    <a:srgbClr val="E20074"/>
                  </a:buClr>
                  <a:buSzPct val="75000"/>
                  <a:buFont typeface="Wingdings" pitchFamily="2" charset="2"/>
                  <a:buNone/>
                  <a:defRPr/>
                </a:pPr>
                <a:endParaRPr lang="en-US" sz="1600" kern="0">
                  <a:solidFill>
                    <a:srgbClr val="E20074"/>
                  </a:solidFill>
                  <a:latin typeface="Tele-GroteskFet" pitchFamily="2" charset="0"/>
                  <a:cs typeface="Arial" charset="0"/>
                </a:endParaRPr>
              </a:p>
            </p:txBody>
          </p:sp>
        </p:grpSp>
        <p:pic>
          <p:nvPicPr>
            <p:cNvPr id="362553" name="Picture 106" descr="http://www.bildarchiv-hamburg.de/hamburg/hafenelbe/elbtunnel/062_elbtunnel.jpg"/>
            <p:cNvPicPr>
              <a:picLocks noChangeAspect="1" noChangeArrowheads="1"/>
            </p:cNvPicPr>
            <p:nvPr>
              <p:custDataLst>
                <p:tags r:id="rId19"/>
              </p:custDataLst>
            </p:nvPr>
          </p:nvPicPr>
          <p:blipFill>
            <a:blip r:embed="rId27"/>
            <a:srcRect/>
            <a:stretch>
              <a:fillRect/>
            </a:stretch>
          </p:blipFill>
          <p:spPr bwMode="auto">
            <a:xfrm>
              <a:off x="552309" y="3770134"/>
              <a:ext cx="979488" cy="735013"/>
            </a:xfrm>
            <a:prstGeom prst="rect">
              <a:avLst/>
            </a:prstGeom>
            <a:noFill/>
            <a:ln w="9525">
              <a:noFill/>
              <a:miter lim="800000"/>
              <a:headEnd/>
              <a:tailEnd/>
            </a:ln>
          </p:spPr>
        </p:pic>
        <p:sp>
          <p:nvSpPr>
            <p:cNvPr id="15396" name="Textfeld 167"/>
            <p:cNvSpPr txBox="1">
              <a:spLocks noChangeArrowheads="1"/>
            </p:cNvSpPr>
            <p:nvPr>
              <p:custDataLst>
                <p:tags r:id="rId20"/>
              </p:custDataLst>
            </p:nvPr>
          </p:nvSpPr>
          <p:spPr bwMode="auto">
            <a:xfrm>
              <a:off x="538592" y="2968013"/>
              <a:ext cx="2191429" cy="1015235"/>
            </a:xfrm>
            <a:prstGeom prst="rect">
              <a:avLst/>
            </a:prstGeom>
            <a:noFill/>
            <a:ln>
              <a:noFill/>
            </a:ln>
            <a:extLst>
              <a:ext uri="{909E8E84-426E-40DD-AFC4-6F175D3DCCD1}"/>
              <a:ext uri="{91240B29-F687-4F45-9708-019B960494DF}"/>
            </a:extLst>
          </p:spPr>
          <p:txBody>
            <a:bodyPr lIns="0" tIns="0" rIns="0" bIns="0">
              <a:spAutoFit/>
            </a:bodyPr>
            <a:lstStyle>
              <a:lvl1pPr eaLnBrk="0" hangingPunct="0">
                <a:defRPr>
                  <a:solidFill>
                    <a:schemeClr val="bg1"/>
                  </a:solidFill>
                  <a:latin typeface="Tele-GroteskFet" pitchFamily="2" charset="0"/>
                </a:defRPr>
              </a:lvl1pPr>
              <a:lvl2pPr marL="742950" indent="-285750" eaLnBrk="0" hangingPunct="0">
                <a:defRPr>
                  <a:solidFill>
                    <a:schemeClr val="bg1"/>
                  </a:solidFill>
                  <a:latin typeface="Tele-GroteskFet" pitchFamily="2" charset="0"/>
                </a:defRPr>
              </a:lvl2pPr>
              <a:lvl3pPr marL="1143000" indent="-228600" eaLnBrk="0" hangingPunct="0">
                <a:defRPr>
                  <a:solidFill>
                    <a:schemeClr val="bg1"/>
                  </a:solidFill>
                  <a:latin typeface="Tele-GroteskFet" pitchFamily="2" charset="0"/>
                </a:defRPr>
              </a:lvl3pPr>
              <a:lvl4pPr marL="1600200" indent="-228600" eaLnBrk="0" hangingPunct="0">
                <a:defRPr>
                  <a:solidFill>
                    <a:schemeClr val="bg1"/>
                  </a:solidFill>
                  <a:latin typeface="Tele-GroteskFet" pitchFamily="2" charset="0"/>
                </a:defRPr>
              </a:lvl4pPr>
              <a:lvl5pPr marL="2057400" indent="-228600" eaLnBrk="0" hangingPunct="0">
                <a:defRPr>
                  <a:solidFill>
                    <a:schemeClr val="bg1"/>
                  </a:solidFill>
                  <a:latin typeface="Tele-GroteskFet" pitchFamily="2" charset="0"/>
                </a:defRPr>
              </a:lvl5pPr>
              <a:lvl6pPr marL="2514600" indent="-228600" defTabSz="457200" eaLnBrk="0" fontAlgn="base" hangingPunct="0">
                <a:lnSpc>
                  <a:spcPts val="1800"/>
                </a:lnSpc>
                <a:spcBef>
                  <a:spcPct val="25000"/>
                </a:spcBef>
                <a:spcAft>
                  <a:spcPct val="0"/>
                </a:spcAft>
                <a:buClr>
                  <a:schemeClr val="tx2"/>
                </a:buClr>
                <a:buFont typeface="Wingdings" pitchFamily="2" charset="2"/>
                <a:defRPr>
                  <a:solidFill>
                    <a:schemeClr val="bg1"/>
                  </a:solidFill>
                  <a:latin typeface="Tele-GroteskFet" pitchFamily="2" charset="0"/>
                </a:defRPr>
              </a:lvl6pPr>
              <a:lvl7pPr marL="2971800" indent="-228600" defTabSz="457200" eaLnBrk="0" fontAlgn="base" hangingPunct="0">
                <a:lnSpc>
                  <a:spcPts val="1800"/>
                </a:lnSpc>
                <a:spcBef>
                  <a:spcPct val="25000"/>
                </a:spcBef>
                <a:spcAft>
                  <a:spcPct val="0"/>
                </a:spcAft>
                <a:buClr>
                  <a:schemeClr val="tx2"/>
                </a:buClr>
                <a:buFont typeface="Wingdings" pitchFamily="2" charset="2"/>
                <a:defRPr>
                  <a:solidFill>
                    <a:schemeClr val="bg1"/>
                  </a:solidFill>
                  <a:latin typeface="Tele-GroteskFet" pitchFamily="2" charset="0"/>
                </a:defRPr>
              </a:lvl7pPr>
              <a:lvl8pPr marL="3429000" indent="-228600" defTabSz="457200" eaLnBrk="0" fontAlgn="base" hangingPunct="0">
                <a:lnSpc>
                  <a:spcPts val="1800"/>
                </a:lnSpc>
                <a:spcBef>
                  <a:spcPct val="25000"/>
                </a:spcBef>
                <a:spcAft>
                  <a:spcPct val="0"/>
                </a:spcAft>
                <a:buClr>
                  <a:schemeClr val="tx2"/>
                </a:buClr>
                <a:buFont typeface="Wingdings" pitchFamily="2" charset="2"/>
                <a:defRPr>
                  <a:solidFill>
                    <a:schemeClr val="bg1"/>
                  </a:solidFill>
                  <a:latin typeface="Tele-GroteskFet" pitchFamily="2" charset="0"/>
                </a:defRPr>
              </a:lvl8pPr>
              <a:lvl9pPr marL="3886200" indent="-228600" defTabSz="457200" eaLnBrk="0" fontAlgn="base" hangingPunct="0">
                <a:lnSpc>
                  <a:spcPts val="1800"/>
                </a:lnSpc>
                <a:spcBef>
                  <a:spcPct val="25000"/>
                </a:spcBef>
                <a:spcAft>
                  <a:spcPct val="0"/>
                </a:spcAft>
                <a:buClr>
                  <a:schemeClr val="tx2"/>
                </a:buClr>
                <a:buFont typeface="Wingdings" pitchFamily="2" charset="2"/>
                <a:defRPr>
                  <a:solidFill>
                    <a:schemeClr val="bg1"/>
                  </a:solidFill>
                  <a:latin typeface="Tele-GroteskFet" pitchFamily="2" charset="0"/>
                </a:defRPr>
              </a:lvl9pPr>
            </a:lstStyle>
            <a:p>
              <a:pPr eaLnBrk="1" hangingPunct="1">
                <a:lnSpc>
                  <a:spcPts val="1800"/>
                </a:lnSpc>
                <a:spcBef>
                  <a:spcPct val="50000"/>
                </a:spcBef>
                <a:buClr>
                  <a:srgbClr val="E20074"/>
                </a:buClr>
                <a:buSzPct val="75000"/>
                <a:buFont typeface="Wingdings" pitchFamily="2" charset="2"/>
                <a:buNone/>
                <a:defRPr/>
              </a:pPr>
              <a:r>
                <a:rPr lang="en-US" sz="1600" b="1" dirty="0" smtClean="0">
                  <a:solidFill>
                    <a:srgbClr val="000000"/>
                  </a:solidFill>
                  <a:latin typeface="Arial" pitchFamily="34" charset="0"/>
                  <a:cs typeface="Arial" pitchFamily="34" charset="0"/>
                </a:rPr>
                <a:t>Logistics Infrastructure Service</a:t>
              </a:r>
              <a:endParaRPr lang="en-US" sz="1600" b="1" dirty="0">
                <a:solidFill>
                  <a:srgbClr val="000000"/>
                </a:solidFill>
                <a:latin typeface="Arial" pitchFamily="34" charset="0"/>
                <a:cs typeface="Arial" pitchFamily="34" charset="0"/>
              </a:endParaRPr>
            </a:p>
            <a:p>
              <a:pPr marL="92075" indent="-92075" eaLnBrk="1" hangingPunct="1">
                <a:lnSpc>
                  <a:spcPts val="1800"/>
                </a:lnSpc>
                <a:spcBef>
                  <a:spcPct val="50000"/>
                </a:spcBef>
                <a:buClr>
                  <a:srgbClr val="E20074"/>
                </a:buClr>
                <a:buSzPct val="75000"/>
                <a:buFont typeface="Wingdings" pitchFamily="2" charset="2"/>
                <a:buNone/>
                <a:defRPr/>
              </a:pPr>
              <a:r>
                <a:rPr lang="en-US" sz="1200" dirty="0" smtClean="0">
                  <a:solidFill>
                    <a:srgbClr val="000000"/>
                  </a:solidFill>
                  <a:latin typeface="Arial" pitchFamily="34" charset="0"/>
                  <a:cs typeface="Arial" pitchFamily="34" charset="0"/>
                </a:rPr>
                <a:t>Traffic/ infrastructure </a:t>
              </a:r>
              <a:r>
                <a:rPr lang="en-US" sz="1200" dirty="0">
                  <a:solidFill>
                    <a:srgbClr val="000000"/>
                  </a:solidFill>
                  <a:latin typeface="Arial" pitchFamily="34" charset="0"/>
                  <a:cs typeface="Arial" pitchFamily="34" charset="0"/>
                </a:rPr>
                <a:t>s</a:t>
              </a:r>
              <a:r>
                <a:rPr lang="en-US" sz="1200" dirty="0" smtClean="0">
                  <a:solidFill>
                    <a:srgbClr val="000000"/>
                  </a:solidFill>
                  <a:latin typeface="Arial" pitchFamily="34" charset="0"/>
                  <a:cs typeface="Arial" pitchFamily="34" charset="0"/>
                </a:rPr>
                <a:t>tatus    </a:t>
              </a:r>
              <a:r>
                <a:rPr lang="en-US" sz="1200" dirty="0" smtClean="0">
                  <a:latin typeface="Arial" pitchFamily="34" charset="0"/>
                  <a:cs typeface="Arial" pitchFamily="34" charset="0"/>
                </a:rPr>
                <a:t>information</a:t>
              </a:r>
              <a:endParaRPr lang="en-US" sz="1200" dirty="0">
                <a:latin typeface="Arial" pitchFamily="34" charset="0"/>
                <a:cs typeface="Arial" pitchFamily="34" charset="0"/>
              </a:endParaRPr>
            </a:p>
          </p:txBody>
        </p:sp>
        <p:pic>
          <p:nvPicPr>
            <p:cNvPr id="362555" name="Picture 4" descr="HPA_Pressemitteilung_Logo"/>
            <p:cNvPicPr>
              <a:picLocks noChangeAspect="1" noChangeArrowheads="1"/>
            </p:cNvPicPr>
            <p:nvPr>
              <p:custDataLst>
                <p:tags r:id="rId21"/>
              </p:custDataLst>
            </p:nvPr>
          </p:nvPicPr>
          <p:blipFill>
            <a:blip r:embed="rId28"/>
            <a:srcRect/>
            <a:stretch>
              <a:fillRect/>
            </a:stretch>
          </p:blipFill>
          <p:spPr bwMode="auto">
            <a:xfrm>
              <a:off x="1661980" y="3789341"/>
              <a:ext cx="570012" cy="247754"/>
            </a:xfrm>
            <a:prstGeom prst="rect">
              <a:avLst/>
            </a:prstGeom>
            <a:noFill/>
            <a:ln w="9525">
              <a:noFill/>
              <a:miter lim="800000"/>
              <a:headEnd/>
              <a:tailEnd/>
            </a:ln>
          </p:spPr>
        </p:pic>
      </p:grpSp>
      <p:grpSp>
        <p:nvGrpSpPr>
          <p:cNvPr id="362524" name="Gruppieren 181"/>
          <p:cNvGrpSpPr>
            <a:grpSpLocks/>
          </p:cNvGrpSpPr>
          <p:nvPr/>
        </p:nvGrpSpPr>
        <p:grpSpPr bwMode="auto">
          <a:xfrm>
            <a:off x="503238" y="2230438"/>
            <a:ext cx="2413000" cy="1439862"/>
            <a:chOff x="395776" y="1268920"/>
            <a:chExt cx="2412000" cy="1440000"/>
          </a:xfrm>
        </p:grpSpPr>
        <p:grpSp>
          <p:nvGrpSpPr>
            <p:cNvPr id="362545" name="Gruppieren 182"/>
            <p:cNvGrpSpPr>
              <a:grpSpLocks/>
            </p:cNvGrpSpPr>
            <p:nvPr>
              <p:custDataLst>
                <p:tags r:id="rId11"/>
              </p:custDataLst>
            </p:nvPr>
          </p:nvGrpSpPr>
          <p:grpSpPr bwMode="auto">
            <a:xfrm>
              <a:off x="395776" y="1268920"/>
              <a:ext cx="2412000" cy="1440000"/>
              <a:chOff x="278732" y="1078276"/>
              <a:chExt cx="2160000" cy="1440000"/>
            </a:xfrm>
          </p:grpSpPr>
          <p:sp>
            <p:nvSpPr>
              <p:cNvPr id="27" name="Abgerundetes Rechteck 26"/>
              <p:cNvSpPr/>
              <p:nvPr>
                <p:custDataLst>
                  <p:tags r:id="rId16"/>
                </p:custDataLst>
              </p:nvPr>
            </p:nvSpPr>
            <p:spPr bwMode="gray">
              <a:xfrm>
                <a:off x="278732" y="1078276"/>
                <a:ext cx="2160000" cy="1440000"/>
              </a:xfrm>
              <a:prstGeom prst="roundRect">
                <a:avLst>
                  <a:gd name="adj" fmla="val 4756"/>
                </a:avLst>
              </a:prstGeom>
              <a:solidFill>
                <a:srgbClr val="FFFFFF">
                  <a:lumMod val="95000"/>
                </a:srgbClr>
              </a:solidFill>
              <a:ln w="6350" cap="flat" cmpd="sng" algn="ctr">
                <a:noFill/>
                <a:prstDash val="solid"/>
                <a:round/>
                <a:headEnd type="none" w="med" len="med"/>
                <a:tailEnd type="none" w="med" len="med"/>
              </a:ln>
              <a:effectLst/>
            </p:spPr>
            <p:txBody>
              <a:bodyPr wrap="none" lIns="90000" tIns="46800" rIns="90000" bIns="46800"/>
              <a:lstStyle/>
              <a:p>
                <a:pPr algn="ctr">
                  <a:lnSpc>
                    <a:spcPts val="1800"/>
                  </a:lnSpc>
                  <a:spcBef>
                    <a:spcPts val="200"/>
                  </a:spcBef>
                  <a:buClr>
                    <a:srgbClr val="E20074"/>
                  </a:buClr>
                  <a:buSzPct val="75000"/>
                  <a:buFont typeface="Wingdings" pitchFamily="2" charset="2"/>
                  <a:buNone/>
                  <a:defRPr/>
                </a:pPr>
                <a:endParaRPr lang="en-US" sz="1600" kern="0">
                  <a:solidFill>
                    <a:srgbClr val="000000"/>
                  </a:solidFill>
                  <a:latin typeface="Tele-GroteskHal" pitchFamily="2" charset="0"/>
                  <a:cs typeface="Arial" charset="0"/>
                </a:endParaRPr>
              </a:p>
            </p:txBody>
          </p:sp>
          <p:sp>
            <p:nvSpPr>
              <p:cNvPr id="28" name="AutoShape 36"/>
              <p:cNvSpPr>
                <a:spLocks noChangeArrowheads="1"/>
              </p:cNvSpPr>
              <p:nvPr>
                <p:custDataLst>
                  <p:tags r:id="rId17"/>
                </p:custDataLst>
              </p:nvPr>
            </p:nvSpPr>
            <p:spPr bwMode="gray">
              <a:xfrm>
                <a:off x="318521" y="1114791"/>
                <a:ext cx="2080421" cy="1366969"/>
              </a:xfrm>
              <a:prstGeom prst="roundRect">
                <a:avLst>
                  <a:gd name="adj" fmla="val 5111"/>
                </a:avLst>
              </a:prstGeom>
              <a:solidFill>
                <a:srgbClr val="FFFFFF"/>
              </a:solidFill>
              <a:ln w="6350" algn="ctr">
                <a:solidFill>
                  <a:srgbClr val="999999"/>
                </a:solidFill>
                <a:round/>
                <a:headEnd/>
                <a:tailEnd/>
              </a:ln>
            </p:spPr>
            <p:txBody>
              <a:bodyPr lIns="90000" tIns="82800" rIns="90000" bIns="46800" anchor="ctr"/>
              <a:lstStyle/>
              <a:p>
                <a:pPr algn="ctr">
                  <a:lnSpc>
                    <a:spcPts val="1800"/>
                  </a:lnSpc>
                  <a:spcBef>
                    <a:spcPts val="400"/>
                  </a:spcBef>
                  <a:buClr>
                    <a:srgbClr val="E20074"/>
                  </a:buClr>
                  <a:buSzPct val="75000"/>
                  <a:buFont typeface="Wingdings" pitchFamily="2" charset="2"/>
                  <a:buNone/>
                  <a:defRPr/>
                </a:pPr>
                <a:endParaRPr lang="en-US" sz="1600" kern="0">
                  <a:solidFill>
                    <a:srgbClr val="E20074"/>
                  </a:solidFill>
                  <a:latin typeface="Tele-GroteskFet" pitchFamily="2" charset="0"/>
                  <a:cs typeface="Arial" charset="0"/>
                </a:endParaRPr>
              </a:p>
            </p:txBody>
          </p:sp>
        </p:grpSp>
        <p:sp>
          <p:nvSpPr>
            <p:cNvPr id="362546" name="Textfeld 140"/>
            <p:cNvSpPr txBox="1">
              <a:spLocks noChangeArrowheads="1"/>
            </p:cNvSpPr>
            <p:nvPr>
              <p:custDataLst>
                <p:tags r:id="rId12"/>
              </p:custDataLst>
            </p:nvPr>
          </p:nvSpPr>
          <p:spPr bwMode="auto">
            <a:xfrm>
              <a:off x="538661" y="1371228"/>
              <a:ext cx="2205524" cy="554051"/>
            </a:xfrm>
            <a:prstGeom prst="rect">
              <a:avLst/>
            </a:prstGeom>
            <a:noFill/>
            <a:ln w="9525">
              <a:noFill/>
              <a:miter lim="800000"/>
              <a:headEnd/>
              <a:tailEnd/>
            </a:ln>
          </p:spPr>
          <p:txBody>
            <a:bodyPr wrap="none" lIns="0" tIns="0" rIns="0" bIns="0">
              <a:spAutoFit/>
            </a:bodyPr>
            <a:lstStyle/>
            <a:p>
              <a:pPr>
                <a:lnSpc>
                  <a:spcPts val="1800"/>
                </a:lnSpc>
                <a:spcBef>
                  <a:spcPct val="50000"/>
                </a:spcBef>
                <a:buClr>
                  <a:srgbClr val="E20074"/>
                </a:buClr>
                <a:buSzPct val="75000"/>
                <a:buFont typeface="Wingdings" pitchFamily="2" charset="2"/>
                <a:buNone/>
              </a:pPr>
              <a:r>
                <a:rPr lang="en-US" sz="1200" b="1">
                  <a:solidFill>
                    <a:srgbClr val="000000"/>
                  </a:solidFill>
                  <a:latin typeface="Arial" charset="0"/>
                  <a:cs typeface="Arial" charset="0"/>
                </a:rPr>
                <a:t>Expedition</a:t>
              </a:r>
            </a:p>
            <a:p>
              <a:pPr>
                <a:lnSpc>
                  <a:spcPts val="1800"/>
                </a:lnSpc>
                <a:spcBef>
                  <a:spcPct val="50000"/>
                </a:spcBef>
                <a:buClr>
                  <a:srgbClr val="E20074"/>
                </a:buClr>
                <a:buSzPct val="75000"/>
                <a:buFont typeface="Wingdings" pitchFamily="2" charset="2"/>
                <a:buNone/>
              </a:pPr>
              <a:r>
                <a:rPr lang="en-US" sz="1200">
                  <a:solidFill>
                    <a:srgbClr val="000000"/>
                  </a:solidFill>
                  <a:latin typeface="Arial" charset="0"/>
                  <a:cs typeface="Arial" charset="0"/>
                </a:rPr>
                <a:t>Truck &amp; trailer status information</a:t>
              </a:r>
            </a:p>
          </p:txBody>
        </p:sp>
        <p:grpSp>
          <p:nvGrpSpPr>
            <p:cNvPr id="362547" name="Gruppieren 184"/>
            <p:cNvGrpSpPr>
              <a:grpSpLocks/>
            </p:cNvGrpSpPr>
            <p:nvPr>
              <p:custDataLst>
                <p:tags r:id="rId13"/>
              </p:custDataLst>
            </p:nvPr>
          </p:nvGrpSpPr>
          <p:grpSpPr bwMode="auto">
            <a:xfrm>
              <a:off x="538661" y="1878562"/>
              <a:ext cx="1874230" cy="734400"/>
              <a:chOff x="409740" y="1593850"/>
              <a:chExt cx="1874230" cy="734400"/>
            </a:xfrm>
          </p:grpSpPr>
          <p:pic>
            <p:nvPicPr>
              <p:cNvPr id="362548" name="Picture 98" descr="http://www.mantruckandbus.com/mn-prod-neu/man2/mn_te_group/datapool/imagepool/900/Teaser_MillionMobility.jpg">
                <a:hlinkClick r:id="rId29"/>
              </p:cNvPr>
              <p:cNvPicPr>
                <a:picLocks noChangeAspect="1" noChangeArrowheads="1"/>
              </p:cNvPicPr>
              <p:nvPr>
                <p:custDataLst>
                  <p:tags r:id="rId14"/>
                </p:custDataLst>
              </p:nvPr>
            </p:nvPicPr>
            <p:blipFill>
              <a:blip r:embed="rId30"/>
              <a:srcRect/>
              <a:stretch>
                <a:fillRect/>
              </a:stretch>
            </p:blipFill>
            <p:spPr bwMode="auto">
              <a:xfrm>
                <a:off x="409740" y="1593850"/>
                <a:ext cx="777884" cy="734400"/>
              </a:xfrm>
              <a:prstGeom prst="rect">
                <a:avLst/>
              </a:prstGeom>
              <a:noFill/>
              <a:ln w="9525">
                <a:noFill/>
                <a:miter lim="800000"/>
                <a:headEnd/>
                <a:tailEnd/>
              </a:ln>
            </p:spPr>
          </p:pic>
          <p:pic>
            <p:nvPicPr>
              <p:cNvPr id="362549" name="Picture 110" descr="0,1020,469535,00">
                <a:hlinkClick r:id="rId31"/>
              </p:cNvPr>
              <p:cNvPicPr>
                <a:picLocks noChangeAspect="1" noChangeArrowheads="1"/>
              </p:cNvPicPr>
              <p:nvPr>
                <p:custDataLst>
                  <p:tags r:id="rId15"/>
                </p:custDataLst>
              </p:nvPr>
            </p:nvPicPr>
            <p:blipFill>
              <a:blip r:embed="rId32"/>
              <a:srcRect/>
              <a:stretch>
                <a:fillRect/>
              </a:stretch>
            </p:blipFill>
            <p:spPr bwMode="auto">
              <a:xfrm>
                <a:off x="1223628" y="1593850"/>
                <a:ext cx="1060342" cy="734400"/>
              </a:xfrm>
              <a:prstGeom prst="rect">
                <a:avLst/>
              </a:prstGeom>
              <a:noFill/>
              <a:ln w="9525">
                <a:noFill/>
                <a:miter lim="800000"/>
                <a:headEnd/>
                <a:tailEnd/>
              </a:ln>
            </p:spPr>
          </p:pic>
        </p:grpSp>
      </p:grpSp>
      <p:grpSp>
        <p:nvGrpSpPr>
          <p:cNvPr id="362525" name="Gruppieren 189"/>
          <p:cNvGrpSpPr>
            <a:grpSpLocks/>
          </p:cNvGrpSpPr>
          <p:nvPr/>
        </p:nvGrpSpPr>
        <p:grpSpPr bwMode="auto">
          <a:xfrm>
            <a:off x="6270625" y="2230438"/>
            <a:ext cx="2587625" cy="1439862"/>
            <a:chOff x="395776" y="4502151"/>
            <a:chExt cx="2412000" cy="1440000"/>
          </a:xfrm>
        </p:grpSpPr>
        <p:grpSp>
          <p:nvGrpSpPr>
            <p:cNvPr id="362539" name="Gruppieren 190"/>
            <p:cNvGrpSpPr>
              <a:grpSpLocks/>
            </p:cNvGrpSpPr>
            <p:nvPr>
              <p:custDataLst>
                <p:tags r:id="rId5"/>
              </p:custDataLst>
            </p:nvPr>
          </p:nvGrpSpPr>
          <p:grpSpPr bwMode="auto">
            <a:xfrm>
              <a:off x="395776" y="4502151"/>
              <a:ext cx="2412000" cy="1440000"/>
              <a:chOff x="278732" y="1078276"/>
              <a:chExt cx="2160000" cy="1440000"/>
            </a:xfrm>
          </p:grpSpPr>
          <p:sp>
            <p:nvSpPr>
              <p:cNvPr id="34" name="Abgerundetes Rechteck 33"/>
              <p:cNvSpPr/>
              <p:nvPr>
                <p:custDataLst>
                  <p:tags r:id="rId9"/>
                </p:custDataLst>
              </p:nvPr>
            </p:nvSpPr>
            <p:spPr bwMode="gray">
              <a:xfrm>
                <a:off x="278732" y="1078276"/>
                <a:ext cx="2160000" cy="1440000"/>
              </a:xfrm>
              <a:prstGeom prst="roundRect">
                <a:avLst>
                  <a:gd name="adj" fmla="val 4756"/>
                </a:avLst>
              </a:prstGeom>
              <a:solidFill>
                <a:srgbClr val="FFFFFF">
                  <a:lumMod val="95000"/>
                </a:srgbClr>
              </a:solidFill>
              <a:ln w="6350" cap="flat" cmpd="sng" algn="ctr">
                <a:noFill/>
                <a:prstDash val="solid"/>
                <a:round/>
                <a:headEnd type="none" w="med" len="med"/>
                <a:tailEnd type="none" w="med" len="med"/>
              </a:ln>
              <a:effectLst/>
            </p:spPr>
            <p:txBody>
              <a:bodyPr wrap="none" lIns="90000" tIns="46800" rIns="90000" bIns="46800"/>
              <a:lstStyle/>
              <a:p>
                <a:pPr algn="ctr">
                  <a:lnSpc>
                    <a:spcPts val="1800"/>
                  </a:lnSpc>
                  <a:spcBef>
                    <a:spcPts val="200"/>
                  </a:spcBef>
                  <a:buClr>
                    <a:srgbClr val="E20074"/>
                  </a:buClr>
                  <a:buSzPct val="75000"/>
                  <a:buFont typeface="Wingdings" pitchFamily="2" charset="2"/>
                  <a:buNone/>
                  <a:defRPr/>
                </a:pPr>
                <a:endParaRPr lang="en-US" sz="1600" kern="0">
                  <a:solidFill>
                    <a:srgbClr val="000000"/>
                  </a:solidFill>
                  <a:latin typeface="Tele-GroteskHal" pitchFamily="2" charset="0"/>
                  <a:cs typeface="Arial" charset="0"/>
                </a:endParaRPr>
              </a:p>
            </p:txBody>
          </p:sp>
          <p:sp>
            <p:nvSpPr>
              <p:cNvPr id="35" name="AutoShape 36"/>
              <p:cNvSpPr>
                <a:spLocks noChangeArrowheads="1"/>
              </p:cNvSpPr>
              <p:nvPr>
                <p:custDataLst>
                  <p:tags r:id="rId10"/>
                </p:custDataLst>
              </p:nvPr>
            </p:nvSpPr>
            <p:spPr bwMode="gray">
              <a:xfrm>
                <a:off x="318487" y="1114791"/>
                <a:ext cx="2080491" cy="1366969"/>
              </a:xfrm>
              <a:prstGeom prst="roundRect">
                <a:avLst>
                  <a:gd name="adj" fmla="val 5111"/>
                </a:avLst>
              </a:prstGeom>
              <a:solidFill>
                <a:srgbClr val="FFFFFF"/>
              </a:solidFill>
              <a:ln w="6350" algn="ctr">
                <a:solidFill>
                  <a:srgbClr val="999999"/>
                </a:solidFill>
                <a:round/>
                <a:headEnd/>
                <a:tailEnd/>
              </a:ln>
            </p:spPr>
            <p:txBody>
              <a:bodyPr lIns="90000" tIns="82800" rIns="90000" bIns="46800" anchor="ctr"/>
              <a:lstStyle/>
              <a:p>
                <a:pPr algn="ctr">
                  <a:lnSpc>
                    <a:spcPts val="1800"/>
                  </a:lnSpc>
                  <a:spcBef>
                    <a:spcPts val="400"/>
                  </a:spcBef>
                  <a:buClr>
                    <a:srgbClr val="E20074"/>
                  </a:buClr>
                  <a:buSzPct val="75000"/>
                  <a:buFont typeface="Wingdings" pitchFamily="2" charset="2"/>
                  <a:buNone/>
                  <a:defRPr/>
                </a:pPr>
                <a:endParaRPr lang="en-US" sz="1600" kern="0">
                  <a:solidFill>
                    <a:srgbClr val="E20074"/>
                  </a:solidFill>
                  <a:latin typeface="Tele-GroteskFet" pitchFamily="2" charset="0"/>
                  <a:cs typeface="Arial" charset="0"/>
                </a:endParaRPr>
              </a:p>
            </p:txBody>
          </p:sp>
        </p:grpSp>
        <p:sp>
          <p:nvSpPr>
            <p:cNvPr id="362540" name="Textfeld 145"/>
            <p:cNvSpPr txBox="1">
              <a:spLocks noChangeArrowheads="1"/>
            </p:cNvSpPr>
            <p:nvPr>
              <p:custDataLst>
                <p:tags r:id="rId6"/>
              </p:custDataLst>
            </p:nvPr>
          </p:nvSpPr>
          <p:spPr bwMode="auto">
            <a:xfrm>
              <a:off x="538661" y="4601596"/>
              <a:ext cx="1954421" cy="554051"/>
            </a:xfrm>
            <a:prstGeom prst="rect">
              <a:avLst/>
            </a:prstGeom>
            <a:noFill/>
            <a:ln w="9525">
              <a:noFill/>
              <a:miter lim="800000"/>
              <a:headEnd/>
              <a:tailEnd/>
            </a:ln>
          </p:spPr>
          <p:txBody>
            <a:bodyPr wrap="none" lIns="0" tIns="0" rIns="0" bIns="0">
              <a:spAutoFit/>
            </a:bodyPr>
            <a:lstStyle/>
            <a:p>
              <a:pPr>
                <a:lnSpc>
                  <a:spcPts val="1800"/>
                </a:lnSpc>
                <a:spcBef>
                  <a:spcPct val="50000"/>
                </a:spcBef>
                <a:buClr>
                  <a:schemeClr val="tx2"/>
                </a:buClr>
                <a:buSzPct val="75000"/>
                <a:buFont typeface="Wingdings" pitchFamily="2" charset="2"/>
                <a:buNone/>
              </a:pPr>
              <a:r>
                <a:rPr lang="en-US" sz="1600" b="1">
                  <a:solidFill>
                    <a:srgbClr val="000000"/>
                  </a:solidFill>
                  <a:latin typeface="Arial" charset="0"/>
                  <a:cs typeface="Arial" charset="0"/>
                </a:rPr>
                <a:t>Parking Space Rental</a:t>
              </a:r>
            </a:p>
            <a:p>
              <a:pPr>
                <a:lnSpc>
                  <a:spcPts val="1800"/>
                </a:lnSpc>
                <a:spcBef>
                  <a:spcPct val="50000"/>
                </a:spcBef>
                <a:buClr>
                  <a:srgbClr val="E20074"/>
                </a:buClr>
                <a:buSzPct val="75000"/>
                <a:buFont typeface="Wingdings" pitchFamily="2" charset="2"/>
                <a:buNone/>
              </a:pPr>
              <a:r>
                <a:rPr lang="en-US" sz="1200">
                  <a:solidFill>
                    <a:srgbClr val="000000"/>
                  </a:solidFill>
                  <a:latin typeface="Arial" charset="0"/>
                  <a:cs typeface="Arial" charset="0"/>
                </a:rPr>
                <a:t>Service/ status information</a:t>
              </a:r>
              <a:endParaRPr lang="en-US" sz="2000">
                <a:solidFill>
                  <a:srgbClr val="000000"/>
                </a:solidFill>
                <a:latin typeface="Arial" charset="0"/>
                <a:cs typeface="Arial" charset="0"/>
              </a:endParaRPr>
            </a:p>
          </p:txBody>
        </p:sp>
        <p:pic>
          <p:nvPicPr>
            <p:cNvPr id="362541" name="Picture 5" descr="http://us.123rf.com/400wm/400/400/pancaketom/pancaketom0911/pancaketom091100030/5990615-blau-lkw-parkplatz-auf-dem-linken-zeichen-mit-blauer-himmel-hintergrund.jpg"/>
            <p:cNvPicPr>
              <a:picLocks noChangeAspect="1" noChangeArrowheads="1"/>
            </p:cNvPicPr>
            <p:nvPr>
              <p:custDataLst>
                <p:tags r:id="rId7"/>
              </p:custDataLst>
            </p:nvPr>
          </p:nvPicPr>
          <p:blipFill>
            <a:blip r:embed="rId33"/>
            <a:srcRect/>
            <a:stretch>
              <a:fillRect/>
            </a:stretch>
          </p:blipFill>
          <p:spPr bwMode="auto">
            <a:xfrm>
              <a:off x="1558458" y="5114656"/>
              <a:ext cx="944566" cy="734400"/>
            </a:xfrm>
            <a:prstGeom prst="rect">
              <a:avLst/>
            </a:prstGeom>
            <a:noFill/>
            <a:ln w="9525">
              <a:noFill/>
              <a:miter lim="800000"/>
              <a:headEnd/>
              <a:tailEnd/>
            </a:ln>
          </p:spPr>
        </p:pic>
        <p:pic>
          <p:nvPicPr>
            <p:cNvPr id="362542" name="Picture 7" descr="Bundesweit herrscht Parkplatznot für Lkw "/>
            <p:cNvPicPr>
              <a:picLocks noChangeAspect="1" noChangeArrowheads="1"/>
            </p:cNvPicPr>
            <p:nvPr>
              <p:custDataLst>
                <p:tags r:id="rId8"/>
              </p:custDataLst>
            </p:nvPr>
          </p:nvPicPr>
          <p:blipFill>
            <a:blip r:embed="rId34"/>
            <a:srcRect/>
            <a:stretch>
              <a:fillRect/>
            </a:stretch>
          </p:blipFill>
          <p:spPr bwMode="auto">
            <a:xfrm>
              <a:off x="538661" y="5114656"/>
              <a:ext cx="979200" cy="734400"/>
            </a:xfrm>
            <a:prstGeom prst="rect">
              <a:avLst/>
            </a:prstGeom>
            <a:noFill/>
            <a:ln w="9525">
              <a:noFill/>
              <a:miter lim="800000"/>
              <a:headEnd/>
              <a:tailEnd/>
            </a:ln>
          </p:spPr>
        </p:pic>
      </p:grpSp>
      <p:cxnSp>
        <p:nvCxnSpPr>
          <p:cNvPr id="362526" name="Gerade Verbindung 115"/>
          <p:cNvCxnSpPr>
            <a:cxnSpLocks noChangeShapeType="1"/>
            <a:stCxn id="19" idx="2"/>
          </p:cNvCxnSpPr>
          <p:nvPr/>
        </p:nvCxnSpPr>
        <p:spPr bwMode="auto">
          <a:xfrm>
            <a:off x="4603750" y="3573463"/>
            <a:ext cx="4763" cy="681037"/>
          </a:xfrm>
          <a:prstGeom prst="line">
            <a:avLst/>
          </a:prstGeom>
          <a:noFill/>
          <a:ln w="12700" algn="ctr">
            <a:solidFill>
              <a:schemeClr val="tx1"/>
            </a:solidFill>
            <a:round/>
            <a:headEnd type="triangle" w="med" len="med"/>
            <a:tailEnd type="triangle" w="med" len="med"/>
          </a:ln>
        </p:spPr>
      </p:cxnSp>
      <p:cxnSp>
        <p:nvCxnSpPr>
          <p:cNvPr id="362527" name="Gerade Verbindung 115"/>
          <p:cNvCxnSpPr>
            <a:cxnSpLocks noChangeShapeType="1"/>
          </p:cNvCxnSpPr>
          <p:nvPr/>
        </p:nvCxnSpPr>
        <p:spPr bwMode="auto">
          <a:xfrm flipH="1">
            <a:off x="6029325" y="3633788"/>
            <a:ext cx="1063625" cy="893762"/>
          </a:xfrm>
          <a:prstGeom prst="line">
            <a:avLst/>
          </a:prstGeom>
          <a:noFill/>
          <a:ln w="28575" algn="ctr">
            <a:solidFill>
              <a:schemeClr val="tx2"/>
            </a:solidFill>
            <a:round/>
            <a:headEnd type="triangle" w="med" len="med"/>
            <a:tailEnd type="triangle" w="med" len="med"/>
          </a:ln>
        </p:spPr>
      </p:cxnSp>
      <p:cxnSp>
        <p:nvCxnSpPr>
          <p:cNvPr id="362528" name="Gerade Verbindung 115"/>
          <p:cNvCxnSpPr>
            <a:cxnSpLocks noChangeShapeType="1"/>
            <a:stCxn id="28" idx="2"/>
          </p:cNvCxnSpPr>
          <p:nvPr/>
        </p:nvCxnSpPr>
        <p:spPr bwMode="auto">
          <a:xfrm>
            <a:off x="1709738" y="3633788"/>
            <a:ext cx="1592262" cy="927100"/>
          </a:xfrm>
          <a:prstGeom prst="line">
            <a:avLst/>
          </a:prstGeom>
          <a:noFill/>
          <a:ln w="28575" algn="ctr">
            <a:solidFill>
              <a:schemeClr val="tx2"/>
            </a:solidFill>
            <a:round/>
            <a:headEnd type="triangle" w="med" len="med"/>
            <a:tailEnd type="triangle" w="med" len="med"/>
          </a:ln>
        </p:spPr>
      </p:cxnSp>
      <p:cxnSp>
        <p:nvCxnSpPr>
          <p:cNvPr id="362529" name="Gerade Verbindung 153"/>
          <p:cNvCxnSpPr>
            <a:cxnSpLocks noChangeShapeType="1"/>
            <a:stCxn id="27" idx="3"/>
            <a:endCxn id="19" idx="1"/>
          </p:cNvCxnSpPr>
          <p:nvPr/>
        </p:nvCxnSpPr>
        <p:spPr bwMode="auto">
          <a:xfrm flipV="1">
            <a:off x="2916238" y="2741613"/>
            <a:ext cx="481012" cy="207962"/>
          </a:xfrm>
          <a:prstGeom prst="line">
            <a:avLst/>
          </a:prstGeom>
          <a:noFill/>
          <a:ln w="28575" algn="ctr">
            <a:solidFill>
              <a:schemeClr val="tx2"/>
            </a:solidFill>
            <a:round/>
            <a:headEnd type="triangle" w="med" len="med"/>
            <a:tailEnd type="triangle" w="med" len="med"/>
          </a:ln>
        </p:spPr>
      </p:cxnSp>
      <p:grpSp>
        <p:nvGrpSpPr>
          <p:cNvPr id="362530" name="Group 52"/>
          <p:cNvGrpSpPr>
            <a:grpSpLocks/>
          </p:cNvGrpSpPr>
          <p:nvPr/>
        </p:nvGrpSpPr>
        <p:grpSpPr bwMode="auto">
          <a:xfrm>
            <a:off x="4422775" y="5116513"/>
            <a:ext cx="1368425" cy="363537"/>
            <a:chOff x="3410804" y="3677438"/>
            <a:chExt cx="1368000" cy="363630"/>
          </a:xfrm>
        </p:grpSpPr>
        <p:sp>
          <p:nvSpPr>
            <p:cNvPr id="41" name="AutoShape 47"/>
            <p:cNvSpPr>
              <a:spLocks noChangeArrowheads="1"/>
            </p:cNvSpPr>
            <p:nvPr>
              <p:custDataLst>
                <p:tags r:id="rId4"/>
              </p:custDataLst>
            </p:nvPr>
          </p:nvSpPr>
          <p:spPr bwMode="gray">
            <a:xfrm>
              <a:off x="3410804" y="3677438"/>
              <a:ext cx="1368000" cy="363630"/>
            </a:xfrm>
            <a:prstGeom prst="roundRect">
              <a:avLst>
                <a:gd name="adj" fmla="val 8792"/>
              </a:avLst>
            </a:prstGeom>
            <a:solidFill>
              <a:schemeClr val="bg1"/>
            </a:solidFill>
            <a:ln w="6350">
              <a:solidFill>
                <a:schemeClr val="bg1">
                  <a:lumMod val="50000"/>
                </a:schemeClr>
              </a:solidFill>
              <a:round/>
              <a:headEnd/>
              <a:tailEnd/>
            </a:ln>
            <a:effectLst>
              <a:outerShdw blurRad="50800" dist="38100" dir="2700000" algn="tl" rotWithShape="0">
                <a:prstClr val="black">
                  <a:alpha val="40000"/>
                </a:prstClr>
              </a:outerShdw>
            </a:effectLst>
          </p:spPr>
          <p:txBody>
            <a:bodyPr wrap="none" lIns="72000" tIns="0" rIns="36000" bIns="0" anchor="ctr"/>
            <a:lstStyle/>
            <a:p>
              <a:pPr algn="r">
                <a:lnSpc>
                  <a:spcPts val="1800"/>
                </a:lnSpc>
                <a:spcBef>
                  <a:spcPct val="50000"/>
                </a:spcBef>
                <a:buClr>
                  <a:srgbClr val="E20074"/>
                </a:buClr>
                <a:buSzPct val="75000"/>
                <a:buFont typeface="Wingdings" pitchFamily="2" charset="2"/>
                <a:buNone/>
                <a:defRPr/>
              </a:pPr>
              <a:r>
                <a:rPr lang="en-US" sz="1000" b="1" dirty="0" err="1">
                  <a:solidFill>
                    <a:srgbClr val="000000"/>
                  </a:solidFill>
                  <a:latin typeface="Arial" charset="0"/>
                  <a:cs typeface="Arial" charset="0"/>
                </a:rPr>
                <a:t>NetWeaver</a:t>
              </a:r>
              <a:r>
                <a:rPr lang="en-US" sz="1000" b="1" dirty="0">
                  <a:solidFill>
                    <a:srgbClr val="000000"/>
                  </a:solidFill>
                  <a:latin typeface="Arial" charset="0"/>
                  <a:cs typeface="Arial" charset="0"/>
                </a:rPr>
                <a:t> </a:t>
              </a:r>
              <a:br>
                <a:rPr lang="en-US" sz="1000" b="1" dirty="0">
                  <a:solidFill>
                    <a:srgbClr val="000000"/>
                  </a:solidFill>
                  <a:latin typeface="Arial" charset="0"/>
                  <a:cs typeface="Arial" charset="0"/>
                </a:rPr>
              </a:br>
              <a:r>
                <a:rPr lang="en-US" sz="1000" b="1" dirty="0">
                  <a:solidFill>
                    <a:srgbClr val="000000"/>
                  </a:solidFill>
                  <a:latin typeface="Arial" charset="0"/>
                  <a:cs typeface="Arial" charset="0"/>
                </a:rPr>
                <a:t>Cloud</a:t>
              </a:r>
            </a:p>
          </p:txBody>
        </p:sp>
        <p:pic>
          <p:nvPicPr>
            <p:cNvPr id="362538" name="Picture 2" descr="SAP Logo">
              <a:hlinkClick r:id="rId35"/>
            </p:cNvPr>
            <p:cNvPicPr>
              <a:picLocks noChangeAspect="1" noChangeArrowheads="1"/>
            </p:cNvPicPr>
            <p:nvPr/>
          </p:nvPicPr>
          <p:blipFill>
            <a:blip r:embed="rId36"/>
            <a:srcRect/>
            <a:stretch>
              <a:fillRect/>
            </a:stretch>
          </p:blipFill>
          <p:spPr bwMode="auto">
            <a:xfrm>
              <a:off x="3450822" y="3705293"/>
              <a:ext cx="618919" cy="307920"/>
            </a:xfrm>
            <a:prstGeom prst="rect">
              <a:avLst/>
            </a:prstGeom>
            <a:noFill/>
            <a:ln w="9525">
              <a:noFill/>
              <a:miter lim="800000"/>
              <a:headEnd/>
              <a:tailEnd/>
            </a:ln>
          </p:spPr>
        </p:pic>
      </p:grpSp>
      <p:grpSp>
        <p:nvGrpSpPr>
          <p:cNvPr id="362531" name="Group 64"/>
          <p:cNvGrpSpPr>
            <a:grpSpLocks/>
          </p:cNvGrpSpPr>
          <p:nvPr/>
        </p:nvGrpSpPr>
        <p:grpSpPr bwMode="auto">
          <a:xfrm>
            <a:off x="3068638" y="5116513"/>
            <a:ext cx="1368425" cy="363537"/>
            <a:chOff x="1913840" y="1516850"/>
            <a:chExt cx="1269208" cy="363630"/>
          </a:xfrm>
        </p:grpSpPr>
        <p:sp>
          <p:nvSpPr>
            <p:cNvPr id="44" name="AutoShape 47"/>
            <p:cNvSpPr>
              <a:spLocks noChangeAspect="1" noChangeArrowheads="1"/>
            </p:cNvSpPr>
            <p:nvPr>
              <p:custDataLst>
                <p:tags r:id="rId3"/>
              </p:custDataLst>
            </p:nvPr>
          </p:nvSpPr>
          <p:spPr bwMode="gray">
            <a:xfrm>
              <a:off x="1913840" y="1516850"/>
              <a:ext cx="1269208" cy="363630"/>
            </a:xfrm>
            <a:prstGeom prst="roundRect">
              <a:avLst>
                <a:gd name="adj" fmla="val 8792"/>
              </a:avLst>
            </a:prstGeom>
            <a:solidFill>
              <a:schemeClr val="bg1"/>
            </a:solidFill>
            <a:ln w="6350">
              <a:solidFill>
                <a:schemeClr val="bg1">
                  <a:lumMod val="50000"/>
                </a:schemeClr>
              </a:solidFill>
              <a:round/>
              <a:headEnd/>
              <a:tailEnd/>
            </a:ln>
            <a:effectLst>
              <a:outerShdw blurRad="50800" dist="38100" dir="2700000" algn="tl" rotWithShape="0">
                <a:prstClr val="black">
                  <a:alpha val="40000"/>
                </a:prstClr>
              </a:outerShdw>
            </a:effectLst>
          </p:spPr>
          <p:txBody>
            <a:bodyPr wrap="none" lIns="72000" tIns="0" rIns="72000" bIns="0" anchor="ctr"/>
            <a:lstStyle/>
            <a:p>
              <a:pPr algn="r">
                <a:lnSpc>
                  <a:spcPts val="1800"/>
                </a:lnSpc>
                <a:spcBef>
                  <a:spcPct val="50000"/>
                </a:spcBef>
                <a:buClr>
                  <a:srgbClr val="E20074"/>
                </a:buClr>
                <a:buSzPct val="75000"/>
                <a:buFont typeface="Wingdings" pitchFamily="2" charset="2"/>
                <a:buNone/>
                <a:defRPr/>
              </a:pPr>
              <a:r>
                <a:rPr lang="en-US" sz="1050" b="1" dirty="0" err="1">
                  <a:solidFill>
                    <a:srgbClr val="000000"/>
                  </a:solidFill>
                  <a:latin typeface="Arial" pitchFamily="34" charset="0"/>
                  <a:cs typeface="Arial" pitchFamily="34" charset="0"/>
                </a:rPr>
                <a:t>Telematic</a:t>
              </a:r>
              <a:r>
                <a:rPr lang="en-US" sz="1050" b="1" dirty="0">
                  <a:solidFill>
                    <a:srgbClr val="000000"/>
                  </a:solidFill>
                  <a:latin typeface="Arial" pitchFamily="34" charset="0"/>
                  <a:cs typeface="Arial" pitchFamily="34" charset="0"/>
                </a:rPr>
                <a:t/>
              </a:r>
              <a:br>
                <a:rPr lang="en-US" sz="1050" b="1" dirty="0">
                  <a:solidFill>
                    <a:srgbClr val="000000"/>
                  </a:solidFill>
                  <a:latin typeface="Arial" pitchFamily="34" charset="0"/>
                  <a:cs typeface="Arial" pitchFamily="34" charset="0"/>
                </a:rPr>
              </a:br>
              <a:r>
                <a:rPr lang="en-US" sz="1050" b="1" dirty="0">
                  <a:solidFill>
                    <a:srgbClr val="000000"/>
                  </a:solidFill>
                  <a:latin typeface="Arial" pitchFamily="34" charset="0"/>
                  <a:cs typeface="Arial" pitchFamily="34" charset="0"/>
                </a:rPr>
                <a:t>One</a:t>
              </a:r>
            </a:p>
          </p:txBody>
        </p:sp>
        <p:pic>
          <p:nvPicPr>
            <p:cNvPr id="362536" name="Picture 3" descr="C:\Users\chveit\Documents\50_Medien\03_Media\T_Kurzform_1920x1080px_Transparent.png"/>
            <p:cNvPicPr>
              <a:picLocks noChangeAspect="1" noChangeArrowheads="1"/>
            </p:cNvPicPr>
            <p:nvPr/>
          </p:nvPicPr>
          <p:blipFill>
            <a:blip r:embed="rId37"/>
            <a:srcRect l="38403" t="30872" r="9138" b="30733"/>
            <a:stretch>
              <a:fillRect/>
            </a:stretch>
          </p:blipFill>
          <p:spPr bwMode="auto">
            <a:xfrm>
              <a:off x="1932891" y="1574690"/>
              <a:ext cx="533924" cy="219815"/>
            </a:xfrm>
            <a:prstGeom prst="rect">
              <a:avLst/>
            </a:prstGeom>
            <a:noFill/>
            <a:ln w="9525">
              <a:noFill/>
              <a:miter lim="800000"/>
              <a:headEnd/>
              <a:tailEnd/>
            </a:ln>
          </p:spPr>
        </p:pic>
      </p:grpSp>
      <p:pic>
        <p:nvPicPr>
          <p:cNvPr id="362532" name="Picture 4" descr="http://www.fraujansen.de/bilder/preview/agenturprofil/hpa_logo.jpg"/>
          <p:cNvPicPr>
            <a:picLocks noChangeAspect="1" noChangeArrowheads="1"/>
          </p:cNvPicPr>
          <p:nvPr/>
        </p:nvPicPr>
        <p:blipFill>
          <a:blip r:embed="rId38"/>
          <a:srcRect/>
          <a:stretch>
            <a:fillRect/>
          </a:stretch>
        </p:blipFill>
        <p:spPr bwMode="auto">
          <a:xfrm>
            <a:off x="4433888" y="641350"/>
            <a:ext cx="985837" cy="422275"/>
          </a:xfrm>
          <a:prstGeom prst="rect">
            <a:avLst/>
          </a:prstGeom>
          <a:noFill/>
          <a:ln w="9525">
            <a:noFill/>
            <a:miter lim="800000"/>
            <a:headEnd/>
            <a:tailEnd/>
          </a:ln>
        </p:spPr>
      </p:pic>
      <p:pic>
        <p:nvPicPr>
          <p:cNvPr id="362533" name="Picture 2" descr="SAP Logo">
            <a:hlinkClick r:id="rId35"/>
          </p:cNvPr>
          <p:cNvPicPr>
            <a:picLocks noChangeAspect="1" noChangeArrowheads="1"/>
          </p:cNvPicPr>
          <p:nvPr/>
        </p:nvPicPr>
        <p:blipFill>
          <a:blip r:embed="rId39"/>
          <a:srcRect/>
          <a:stretch>
            <a:fillRect/>
          </a:stretch>
        </p:blipFill>
        <p:spPr bwMode="auto">
          <a:xfrm>
            <a:off x="6088063" y="655638"/>
            <a:ext cx="722312" cy="360362"/>
          </a:xfrm>
          <a:prstGeom prst="rect">
            <a:avLst/>
          </a:prstGeom>
          <a:noFill/>
          <a:ln w="9525">
            <a:noFill/>
            <a:miter lim="800000"/>
            <a:headEnd/>
            <a:tailEnd/>
          </a:ln>
        </p:spPr>
      </p:pic>
      <p:pic>
        <p:nvPicPr>
          <p:cNvPr id="362534" name="Grafik 10" descr="T_Kurzform_weiss_4C.png"/>
          <p:cNvPicPr>
            <a:picLocks noChangeAspect="1"/>
          </p:cNvPicPr>
          <p:nvPr/>
        </p:nvPicPr>
        <p:blipFill>
          <a:blip r:embed="rId40">
            <a:clrChange>
              <a:clrFrom>
                <a:srgbClr val="FFFFFF"/>
              </a:clrFrom>
              <a:clrTo>
                <a:srgbClr val="FFFFFF">
                  <a:alpha val="0"/>
                </a:srgbClr>
              </a:clrTo>
            </a:clrChange>
          </a:blip>
          <a:srcRect/>
          <a:stretch>
            <a:fillRect/>
          </a:stretch>
        </p:blipFill>
        <p:spPr bwMode="auto">
          <a:xfrm>
            <a:off x="7137400" y="642938"/>
            <a:ext cx="1411288" cy="461962"/>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72066" name="Title 1"/>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SMART ENERGY </a:t>
            </a:r>
            <a:br>
              <a:rPr lang="en-US" smtClean="0">
                <a:latin typeface="TeleGrotesk Headline Ultra"/>
                <a:cs typeface="TeleGrotesk Headline Ultra"/>
              </a:rPr>
            </a:br>
            <a:r>
              <a:rPr lang="en-US" smtClean="0">
                <a:latin typeface="TeleGrotesk Headline"/>
                <a:cs typeface="TeleGrotesk Headline Ultra"/>
              </a:rPr>
              <a:t>degrees of freedom in the Telco network</a:t>
            </a:r>
          </a:p>
        </p:txBody>
      </p:sp>
      <p:sp>
        <p:nvSpPr>
          <p:cNvPr id="472067" name="Date Placeholder 2"/>
          <p:cNvSpPr>
            <a:spLocks noGrp="1"/>
          </p:cNvSpPr>
          <p:nvPr>
            <p:ph type="dt" sz="quarter" idx="10"/>
          </p:nvPr>
        </p:nvSpPr>
        <p:spPr>
          <a:noFill/>
        </p:spPr>
        <p:txBody>
          <a:bodyPr/>
          <a:lstStyle/>
          <a:p>
            <a:fld id="{C2B2BEDF-9632-41FC-B49E-EF6E41334DB2}" type="datetime1">
              <a:rPr lang="de-DE" smtClean="0">
                <a:latin typeface="Tele-GroteskNor"/>
              </a:rPr>
              <a:pPr/>
              <a:t>11.09.2013</a:t>
            </a:fld>
            <a:endParaRPr lang="de-DE" smtClean="0">
              <a:latin typeface="Tele-GroteskNor"/>
            </a:endParaRPr>
          </a:p>
        </p:txBody>
      </p:sp>
      <p:sp>
        <p:nvSpPr>
          <p:cNvPr id="472068" name="Slide Number Placeholder 4"/>
          <p:cNvSpPr>
            <a:spLocks noGrp="1"/>
          </p:cNvSpPr>
          <p:nvPr>
            <p:ph type="sldNum" sz="quarter" idx="12"/>
          </p:nvPr>
        </p:nvSpPr>
        <p:spPr>
          <a:noFill/>
        </p:spPr>
        <p:txBody>
          <a:bodyPr/>
          <a:lstStyle/>
          <a:p>
            <a:fld id="{3A10F6CE-6936-4A3D-AA9C-23BEA0EDB5EF}" type="slidenum">
              <a:rPr lang="de-DE" smtClean="0">
                <a:latin typeface="Tele-GroteskNor"/>
              </a:rPr>
              <a:pPr/>
              <a:t>13</a:t>
            </a:fld>
            <a:endParaRPr lang="de-DE" smtClean="0">
              <a:latin typeface="Tele-GroteskNor"/>
            </a:endParaRPr>
          </a:p>
        </p:txBody>
      </p:sp>
      <p:sp>
        <p:nvSpPr>
          <p:cNvPr id="6" name="Rectangle 2"/>
          <p:cNvSpPr>
            <a:spLocks noChangeArrowheads="1"/>
          </p:cNvSpPr>
          <p:nvPr>
            <p:custDataLst>
              <p:tags r:id="rId1"/>
            </p:custDataLst>
          </p:nvPr>
        </p:nvSpPr>
        <p:spPr bwMode="auto">
          <a:xfrm>
            <a:off x="4654550" y="1790700"/>
            <a:ext cx="4175125" cy="4275138"/>
          </a:xfrm>
          <a:prstGeom prst="rect">
            <a:avLst/>
          </a:prstGeom>
          <a:solidFill>
            <a:schemeClr val="bg1"/>
          </a:solidFill>
          <a:ln w="38100">
            <a:solidFill>
              <a:schemeClr val="tx2"/>
            </a:solidFill>
            <a:miter lim="800000"/>
            <a:headEnd/>
            <a:tailEnd/>
          </a:ln>
          <a:effectLst/>
          <a:extLst>
            <a:ext uri="{AF507438-7753-43E0-B8FC-AC1667EBCBE1}"/>
          </a:extLst>
        </p:spPr>
        <p:txBody>
          <a:bodyPr lIns="144000" tIns="540000" rIns="144000"/>
          <a:lstStyle/>
          <a:p>
            <a:pPr marL="287338" lvl="1" indent="-285750" defTabSz="914400">
              <a:spcBef>
                <a:spcPts val="0"/>
              </a:spcBef>
              <a:buClr>
                <a:schemeClr val="tx2"/>
              </a:buClr>
              <a:buSzPct val="75000"/>
              <a:buFont typeface="Wingdings" pitchFamily="2" charset="2"/>
              <a:buChar char="§"/>
              <a:defRPr/>
            </a:pPr>
            <a:r>
              <a:rPr lang="en-US" sz="1600" dirty="0">
                <a:latin typeface="Tele-GroteskNor" pitchFamily="2" charset="0"/>
              </a:rPr>
              <a:t>Telco and power are parallel network-based maintenance structures with system-wide presence.</a:t>
            </a:r>
          </a:p>
          <a:p>
            <a:pPr marL="287338" lvl="1" indent="-285750" defTabSz="914400">
              <a:spcBef>
                <a:spcPts val="0"/>
              </a:spcBef>
              <a:buClr>
                <a:schemeClr val="tx2"/>
              </a:buClr>
              <a:buSzPct val="75000"/>
              <a:buFont typeface="Wingdings" pitchFamily="2" charset="2"/>
              <a:buChar char="§"/>
              <a:defRPr/>
            </a:pPr>
            <a:r>
              <a:rPr lang="en-US" sz="1600" dirty="0">
                <a:latin typeface="Tele-GroteskNor" pitchFamily="2" charset="0"/>
              </a:rPr>
              <a:t>Energy elements of the Telco network may, thus, be sensibly integrated into the future ‘Smart Grid’:</a:t>
            </a:r>
          </a:p>
          <a:p>
            <a:pPr marL="1588" lvl="1" defTabSz="914400">
              <a:spcBef>
                <a:spcPts val="0"/>
              </a:spcBef>
              <a:buClr>
                <a:schemeClr val="tx2"/>
              </a:buClr>
              <a:buSzPct val="75000"/>
              <a:buFont typeface="Wingdings" pitchFamily="2" charset="2"/>
              <a:buNone/>
              <a:defRPr/>
            </a:pPr>
            <a:r>
              <a:rPr lang="en-US" sz="1600" dirty="0">
                <a:latin typeface="Tele-GroteskNor" pitchFamily="2" charset="0"/>
              </a:rPr>
              <a:t>	ca. 65,000 power consumer sites</a:t>
            </a:r>
          </a:p>
          <a:p>
            <a:pPr marL="1588" lvl="1" defTabSz="914400">
              <a:spcBef>
                <a:spcPts val="0"/>
              </a:spcBef>
              <a:buClr>
                <a:schemeClr val="tx2"/>
              </a:buClr>
              <a:buSzPct val="75000"/>
              <a:buFont typeface="Wingdings" pitchFamily="2" charset="2"/>
              <a:buNone/>
              <a:defRPr/>
            </a:pPr>
            <a:r>
              <a:rPr lang="en-US" sz="1600" dirty="0">
                <a:latin typeface="Tele-GroteskNor" pitchFamily="2" charset="0"/>
              </a:rPr>
              <a:t>	ca. 18,500 battery parks with </a:t>
            </a:r>
          </a:p>
          <a:p>
            <a:pPr marL="1588" lvl="1" defTabSz="914400">
              <a:spcBef>
                <a:spcPts val="0"/>
              </a:spcBef>
              <a:buClr>
                <a:schemeClr val="tx2"/>
              </a:buClr>
              <a:buSzPct val="75000"/>
              <a:buFont typeface="Wingdings" pitchFamily="2" charset="2"/>
              <a:buNone/>
              <a:defRPr/>
            </a:pPr>
            <a:r>
              <a:rPr lang="en-US" sz="1600" dirty="0">
                <a:latin typeface="Tele-GroteskNor" pitchFamily="2" charset="0"/>
              </a:rPr>
              <a:t>	ca. 22 </a:t>
            </a:r>
            <a:r>
              <a:rPr lang="en-US" sz="1600" dirty="0" err="1">
                <a:latin typeface="Tele-GroteskNor" pitchFamily="2" charset="0"/>
              </a:rPr>
              <a:t>MAh</a:t>
            </a:r>
            <a:r>
              <a:rPr lang="en-US" sz="1600" dirty="0">
                <a:latin typeface="Tele-GroteskNor" pitchFamily="2" charset="0"/>
              </a:rPr>
              <a:t> capacity and </a:t>
            </a:r>
          </a:p>
          <a:p>
            <a:pPr marL="1588" lvl="1" defTabSz="914400">
              <a:spcBef>
                <a:spcPts val="0"/>
              </a:spcBef>
              <a:buClr>
                <a:schemeClr val="tx2"/>
              </a:buClr>
              <a:buSzPct val="75000"/>
              <a:buFont typeface="Wingdings" pitchFamily="2" charset="2"/>
              <a:buNone/>
              <a:defRPr/>
            </a:pPr>
            <a:r>
              <a:rPr lang="en-US" sz="1600" dirty="0">
                <a:latin typeface="Tele-GroteskNor" pitchFamily="2" charset="0"/>
              </a:rPr>
              <a:t>	ca. 2,700 emergency generators.</a:t>
            </a:r>
          </a:p>
          <a:p>
            <a:pPr marL="287338" lvl="1" indent="-285750" defTabSz="914400">
              <a:spcBef>
                <a:spcPts val="0"/>
              </a:spcBef>
              <a:buClr>
                <a:schemeClr val="tx2"/>
              </a:buClr>
              <a:buSzPct val="75000"/>
              <a:buFont typeface="Wingdings" pitchFamily="2" charset="2"/>
              <a:buChar char="§"/>
              <a:defRPr/>
            </a:pPr>
            <a:r>
              <a:rPr lang="en-US" sz="1600" dirty="0">
                <a:latin typeface="Tele-GroteskNor" pitchFamily="2" charset="0"/>
              </a:rPr>
              <a:t>The energy provisioning of a system-wide load-adaptive Telco network is ideally positioned to mediate between the challenges of variable load and Smart Grid operation (e.g. volatility). </a:t>
            </a:r>
          </a:p>
        </p:txBody>
      </p:sp>
      <p:sp>
        <p:nvSpPr>
          <p:cNvPr id="472070" name="Rectangle 4"/>
          <p:cNvSpPr>
            <a:spLocks noChangeArrowheads="1"/>
          </p:cNvSpPr>
          <p:nvPr>
            <p:custDataLst>
              <p:tags r:id="rId2"/>
            </p:custDataLst>
          </p:nvPr>
        </p:nvSpPr>
        <p:spPr bwMode="auto">
          <a:xfrm>
            <a:off x="4654550" y="1782763"/>
            <a:ext cx="4175125" cy="422275"/>
          </a:xfrm>
          <a:prstGeom prst="rect">
            <a:avLst/>
          </a:prstGeom>
          <a:solidFill>
            <a:schemeClr val="tx2"/>
          </a:solidFill>
          <a:ln w="9525">
            <a:noFill/>
            <a:miter lim="800000"/>
            <a:headEnd/>
            <a:tailEnd/>
          </a:ln>
        </p:spPr>
        <p:txBody>
          <a:bodyPr lIns="144000" tIns="72000" rIns="144000" bIns="72000">
            <a:spAutoFit/>
          </a:bodyPr>
          <a:lstStyle/>
          <a:p>
            <a:pPr defTabSz="914400">
              <a:lnSpc>
                <a:spcPct val="90000"/>
              </a:lnSpc>
              <a:spcBef>
                <a:spcPct val="50000"/>
              </a:spcBef>
              <a:buSzPct val="75000"/>
            </a:pPr>
            <a:r>
              <a:rPr lang="en-US" sz="2000">
                <a:solidFill>
                  <a:schemeClr val="bg1"/>
                </a:solidFill>
                <a:cs typeface="Arial" charset="0"/>
              </a:rPr>
              <a:t>Two system-wide network structures</a:t>
            </a:r>
          </a:p>
        </p:txBody>
      </p:sp>
      <p:sp>
        <p:nvSpPr>
          <p:cNvPr id="472071" name="Rechteck 1"/>
          <p:cNvSpPr>
            <a:spLocks noChangeArrowheads="1"/>
          </p:cNvSpPr>
          <p:nvPr/>
        </p:nvSpPr>
        <p:spPr bwMode="auto">
          <a:xfrm>
            <a:off x="1631950" y="1912938"/>
            <a:ext cx="1565275" cy="323850"/>
          </a:xfrm>
          <a:prstGeom prst="rect">
            <a:avLst/>
          </a:prstGeom>
          <a:noFill/>
          <a:ln w="9525">
            <a:noFill/>
            <a:miter lim="800000"/>
            <a:headEnd/>
            <a:tailEnd/>
          </a:ln>
        </p:spPr>
        <p:txBody>
          <a:bodyPr wrap="none">
            <a:spAutoFit/>
          </a:bodyPr>
          <a:lstStyle/>
          <a:p>
            <a:pPr>
              <a:lnSpc>
                <a:spcPts val="1800"/>
              </a:lnSpc>
              <a:spcBef>
                <a:spcPct val="50000"/>
              </a:spcBef>
              <a:buClr>
                <a:schemeClr val="tx2"/>
              </a:buClr>
              <a:buSzPct val="75000"/>
              <a:buFont typeface="Wingdings" pitchFamily="2" charset="2"/>
              <a:buNone/>
            </a:pPr>
            <a:r>
              <a:rPr lang="en-US" sz="800"/>
              <a:t>* http://www.cs.ucy.ac.cy/CIT2011</a:t>
            </a:r>
          </a:p>
        </p:txBody>
      </p:sp>
      <p:pic>
        <p:nvPicPr>
          <p:cNvPr id="472072" name="Picture 6" descr="HVT_to_NGF900"/>
          <p:cNvPicPr>
            <a:picLocks noChangeAspect="1" noChangeArrowheads="1"/>
          </p:cNvPicPr>
          <p:nvPr/>
        </p:nvPicPr>
        <p:blipFill>
          <a:blip r:embed="rId4"/>
          <a:srcRect/>
          <a:stretch>
            <a:fillRect/>
          </a:stretch>
        </p:blipFill>
        <p:spPr bwMode="auto">
          <a:xfrm>
            <a:off x="323850" y="1646238"/>
            <a:ext cx="3257550" cy="4402137"/>
          </a:xfrm>
          <a:prstGeom prst="rect">
            <a:avLst/>
          </a:prstGeom>
          <a:noFill/>
          <a:ln w="9525">
            <a:noFill/>
            <a:miter lim="800000"/>
            <a:headEnd/>
            <a:tailEnd/>
          </a:ln>
        </p:spPr>
      </p:pic>
      <p:pic>
        <p:nvPicPr>
          <p:cNvPr id="472073" name="Diagramm 1"/>
          <p:cNvPicPr>
            <a:picLocks noChangeAspect="1" noChangeArrowheads="1"/>
          </p:cNvPicPr>
          <p:nvPr/>
        </p:nvPicPr>
        <p:blipFill>
          <a:blip r:embed="rId5"/>
          <a:srcRect/>
          <a:stretch>
            <a:fillRect/>
          </a:stretch>
        </p:blipFill>
        <p:spPr bwMode="auto">
          <a:xfrm>
            <a:off x="1225550" y="3924300"/>
            <a:ext cx="3316288" cy="2141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9679"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69679" name="think-cell Folie" r:id="rId5" imgW="360" imgH="360" progId="">
              <p:embed/>
            </p:oleObj>
          </a:graphicData>
        </a:graphic>
      </p:graphicFrame>
      <p:sp>
        <p:nvSpPr>
          <p:cNvPr id="369681" name="Rectangle 1037"/>
          <p:cNvSpPr>
            <a:spLocks noGrp="1"/>
          </p:cNvSpPr>
          <p:nvPr>
            <p:ph type="ctrTitle"/>
          </p:nvPr>
        </p:nvSpPr>
        <p:spPr>
          <a:xfrm>
            <a:off x="304800" y="1773238"/>
            <a:ext cx="8496300" cy="609600"/>
          </a:xfrm>
        </p:spPr>
        <p:txBody>
          <a:bodyPr/>
          <a:lstStyle/>
          <a:p>
            <a:pPr eaLnBrk="1" hangingPunct="1"/>
            <a:r>
              <a:rPr sz="4400">
                <a:latin typeface="TeleGrotesk Headline Ultra"/>
                <a:cs typeface="TeleGrotesk Headline Ultra"/>
              </a:rPr>
              <a:t>The T-City Experience</a:t>
            </a:r>
            <a:endParaRPr lang="en-US" sz="4400">
              <a:latin typeface="TeleGrotesk Headline"/>
              <a:cs typeface="TeleGrotesk Headline Ultra"/>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75138" name="Title 1"/>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T-CITY OBJECTIVES</a:t>
            </a:r>
            <a:br>
              <a:rPr lang="en-US" smtClean="0">
                <a:latin typeface="TeleGrotesk Headline Ultra"/>
                <a:cs typeface="TeleGrotesk Headline Ultra"/>
              </a:rPr>
            </a:br>
            <a:r>
              <a:rPr lang="en-US" smtClean="0">
                <a:latin typeface="TeleGrotesk Headline"/>
                <a:cs typeface="TeleGrotesk Headline Ultra"/>
              </a:rPr>
              <a:t>Experience since 2007</a:t>
            </a:r>
          </a:p>
        </p:txBody>
      </p:sp>
      <p:sp>
        <p:nvSpPr>
          <p:cNvPr id="475139" name="Date Placeholder 2"/>
          <p:cNvSpPr>
            <a:spLocks noGrp="1"/>
          </p:cNvSpPr>
          <p:nvPr>
            <p:ph type="dt" sz="quarter" idx="10"/>
          </p:nvPr>
        </p:nvSpPr>
        <p:spPr>
          <a:noFill/>
        </p:spPr>
        <p:txBody>
          <a:bodyPr/>
          <a:lstStyle/>
          <a:p>
            <a:fld id="{C21931F7-1905-4782-9EFA-08528FC6D0E5}" type="datetime1">
              <a:rPr lang="de-DE" smtClean="0">
                <a:latin typeface="Tele-GroteskNor"/>
              </a:rPr>
              <a:pPr/>
              <a:t>11.09.2013</a:t>
            </a:fld>
            <a:endParaRPr lang="de-DE" smtClean="0">
              <a:latin typeface="Tele-GroteskNor"/>
            </a:endParaRPr>
          </a:p>
        </p:txBody>
      </p:sp>
      <p:sp>
        <p:nvSpPr>
          <p:cNvPr id="475140" name="Slide Number Placeholder 4"/>
          <p:cNvSpPr>
            <a:spLocks noGrp="1"/>
          </p:cNvSpPr>
          <p:nvPr>
            <p:ph type="sldNum" sz="quarter" idx="12"/>
          </p:nvPr>
        </p:nvSpPr>
        <p:spPr>
          <a:noFill/>
        </p:spPr>
        <p:txBody>
          <a:bodyPr/>
          <a:lstStyle/>
          <a:p>
            <a:fld id="{C6860F86-68B6-4026-A91D-E23C709F0BB4}" type="slidenum">
              <a:rPr lang="de-DE" smtClean="0">
                <a:latin typeface="Tele-GroteskNor"/>
              </a:rPr>
              <a:pPr/>
              <a:t>15</a:t>
            </a:fld>
            <a:endParaRPr lang="de-DE" smtClean="0">
              <a:latin typeface="Tele-GroteskNor"/>
            </a:endParaRPr>
          </a:p>
        </p:txBody>
      </p:sp>
      <p:pic>
        <p:nvPicPr>
          <p:cNvPr id="475141" name="Picture 15" descr="20080813_TCityLeitbild_089"/>
          <p:cNvPicPr>
            <a:picLocks noChangeAspect="1" noChangeArrowheads="1"/>
          </p:cNvPicPr>
          <p:nvPr>
            <p:custDataLst>
              <p:tags r:id="rId1"/>
            </p:custDataLst>
          </p:nvPr>
        </p:nvPicPr>
        <p:blipFill>
          <a:blip r:embed="rId7"/>
          <a:srcRect/>
          <a:stretch>
            <a:fillRect/>
          </a:stretch>
        </p:blipFill>
        <p:spPr bwMode="auto">
          <a:xfrm>
            <a:off x="315913" y="1560513"/>
            <a:ext cx="8621712" cy="4427537"/>
          </a:xfrm>
          <a:prstGeom prst="rect">
            <a:avLst/>
          </a:prstGeom>
          <a:noFill/>
          <a:ln w="9525" algn="ctr">
            <a:solidFill>
              <a:srgbClr val="C0C0C0"/>
            </a:solidFill>
            <a:miter lim="800000"/>
            <a:headEnd/>
            <a:tailEnd/>
          </a:ln>
        </p:spPr>
      </p:pic>
      <p:sp>
        <p:nvSpPr>
          <p:cNvPr id="7" name="AutoShape 2" descr="verlauf hellgrau"/>
          <p:cNvSpPr>
            <a:spLocks noChangeArrowheads="1"/>
          </p:cNvSpPr>
          <p:nvPr>
            <p:custDataLst>
              <p:tags r:id="rId2"/>
            </p:custDataLst>
          </p:nvPr>
        </p:nvSpPr>
        <p:spPr bwMode="gray">
          <a:xfrm>
            <a:off x="319088" y="4700588"/>
            <a:ext cx="1927225" cy="1247775"/>
          </a:xfrm>
          <a:prstGeom prst="roundRect">
            <a:avLst>
              <a:gd name="adj" fmla="val 7403"/>
            </a:avLst>
          </a:prstGeom>
          <a:gradFill>
            <a:gsLst>
              <a:gs pos="40000">
                <a:srgbClr val="64B9E4"/>
              </a:gs>
              <a:gs pos="100000">
                <a:srgbClr val="2393CB"/>
              </a:gs>
            </a:gsLst>
            <a:lin ang="5400000" scaled="0"/>
          </a:gradFill>
          <a:ln w="12700">
            <a:noFill/>
          </a:ln>
          <a:effectLst>
            <a:outerShdw blurRad="2286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nSpc>
                <a:spcPct val="90000"/>
              </a:lnSpc>
              <a:spcBef>
                <a:spcPct val="50000"/>
              </a:spcBef>
              <a:buClr>
                <a:schemeClr val="tx2"/>
              </a:buClr>
              <a:buSzPct val="75000"/>
              <a:buFont typeface="Wingdings" pitchFamily="2" charset="2"/>
              <a:buNone/>
              <a:defRPr/>
            </a:pPr>
            <a:r>
              <a:rPr lang="en-US" sz="1600" dirty="0">
                <a:solidFill>
                  <a:srgbClr val="FFFFFF"/>
                </a:solidFill>
                <a:latin typeface="Tele-GroteskFet" pitchFamily="2" charset="0"/>
              </a:rPr>
              <a:t>Increase quality of life with ICT</a:t>
            </a:r>
          </a:p>
        </p:txBody>
      </p:sp>
      <p:sp>
        <p:nvSpPr>
          <p:cNvPr id="8" name="AutoShape 2" descr="verlauf hellgrau"/>
          <p:cNvSpPr>
            <a:spLocks noChangeArrowheads="1"/>
          </p:cNvSpPr>
          <p:nvPr>
            <p:custDataLst>
              <p:tags r:id="rId3"/>
            </p:custDataLst>
          </p:nvPr>
        </p:nvSpPr>
        <p:spPr bwMode="gray">
          <a:xfrm>
            <a:off x="2520950" y="4700588"/>
            <a:ext cx="1927225" cy="1247775"/>
          </a:xfrm>
          <a:prstGeom prst="roundRect">
            <a:avLst>
              <a:gd name="adj" fmla="val 7403"/>
            </a:avLst>
          </a:prstGeom>
          <a:gradFill>
            <a:gsLst>
              <a:gs pos="40000">
                <a:srgbClr val="64B9E4"/>
              </a:gs>
              <a:gs pos="100000">
                <a:srgbClr val="2393CB"/>
              </a:gs>
            </a:gsLst>
            <a:lin ang="5400000" scaled="0"/>
          </a:gradFill>
          <a:ln w="12700">
            <a:noFill/>
          </a:ln>
          <a:effectLst>
            <a:outerShdw blurRad="2286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nSpc>
                <a:spcPct val="90000"/>
              </a:lnSpc>
              <a:spcBef>
                <a:spcPct val="50000"/>
              </a:spcBef>
              <a:buClr>
                <a:schemeClr val="tx2"/>
              </a:buClr>
              <a:buSzPct val="75000"/>
              <a:buFont typeface="Wingdings" pitchFamily="2" charset="2"/>
              <a:buNone/>
              <a:defRPr/>
            </a:pPr>
            <a:r>
              <a:rPr lang="en-US" sz="1600" dirty="0">
                <a:solidFill>
                  <a:srgbClr val="FFFFFF"/>
                </a:solidFill>
                <a:latin typeface="Tele-GroteskFet" pitchFamily="2" charset="0"/>
              </a:rPr>
              <a:t>Connect city and</a:t>
            </a:r>
            <a:br>
              <a:rPr lang="en-US" sz="1600" dirty="0">
                <a:solidFill>
                  <a:srgbClr val="FFFFFF"/>
                </a:solidFill>
                <a:latin typeface="Tele-GroteskFet" pitchFamily="2" charset="0"/>
              </a:rPr>
            </a:br>
            <a:r>
              <a:rPr lang="en-US" sz="1600" dirty="0">
                <a:solidFill>
                  <a:srgbClr val="FFFFFF"/>
                </a:solidFill>
                <a:latin typeface="Tele-GroteskFet" pitchFamily="2" charset="0"/>
              </a:rPr>
              <a:t>citizens</a:t>
            </a:r>
          </a:p>
        </p:txBody>
      </p:sp>
      <p:sp>
        <p:nvSpPr>
          <p:cNvPr id="9" name="AutoShape 2" descr="verlauf hellgrau"/>
          <p:cNvSpPr>
            <a:spLocks noChangeArrowheads="1"/>
          </p:cNvSpPr>
          <p:nvPr>
            <p:custDataLst>
              <p:tags r:id="rId4"/>
            </p:custDataLst>
          </p:nvPr>
        </p:nvSpPr>
        <p:spPr bwMode="gray">
          <a:xfrm>
            <a:off x="4722813" y="4700588"/>
            <a:ext cx="1927225" cy="1247775"/>
          </a:xfrm>
          <a:prstGeom prst="roundRect">
            <a:avLst>
              <a:gd name="adj" fmla="val 7403"/>
            </a:avLst>
          </a:prstGeom>
          <a:solidFill>
            <a:schemeClr val="tx2"/>
          </a:solidFill>
          <a:ln>
            <a:noFill/>
          </a:ln>
          <a:effectLst>
            <a:outerShdw dist="114300" dir="2700000" algn="tl" rotWithShape="0">
              <a:srgbClr val="000000">
                <a:alpha val="39998"/>
              </a:srgbClr>
            </a:outerShdw>
          </a:effectLst>
          <a:extLst>
            <a:ext uri="{91240B29-F687-4F45-9708-019B960494DF}"/>
          </a:extLst>
        </p:spPr>
        <p:txBody>
          <a:bodyPr lIns="72000" tIns="0" rIns="72000" bIns="0" anchor="ctr"/>
          <a:lstStyle/>
          <a:p>
            <a:pPr>
              <a:lnSpc>
                <a:spcPct val="90000"/>
              </a:lnSpc>
              <a:spcBef>
                <a:spcPct val="50000"/>
              </a:spcBef>
              <a:buClr>
                <a:schemeClr val="tx2"/>
              </a:buClr>
              <a:buSzPct val="75000"/>
              <a:buFont typeface="Wingdings" pitchFamily="2" charset="2"/>
              <a:buNone/>
              <a:defRPr/>
            </a:pPr>
            <a:r>
              <a:rPr lang="en-US" sz="1600">
                <a:solidFill>
                  <a:srgbClr val="FFFFFF"/>
                </a:solidFill>
                <a:latin typeface="Tele-GroteskFet" pitchFamily="2" charset="0"/>
              </a:rPr>
              <a:t>Reputation and</a:t>
            </a:r>
            <a:br>
              <a:rPr lang="en-US" sz="1600">
                <a:solidFill>
                  <a:srgbClr val="FFFFFF"/>
                </a:solidFill>
                <a:latin typeface="Tele-GroteskFet" pitchFamily="2" charset="0"/>
              </a:rPr>
            </a:br>
            <a:r>
              <a:rPr lang="en-US" sz="1600">
                <a:solidFill>
                  <a:srgbClr val="FFFFFF"/>
                </a:solidFill>
                <a:latin typeface="Tele-GroteskFet" pitchFamily="2" charset="0"/>
              </a:rPr>
              <a:t>image</a:t>
            </a:r>
          </a:p>
        </p:txBody>
      </p:sp>
      <p:sp>
        <p:nvSpPr>
          <p:cNvPr id="10" name="AutoShape 2" descr="verlauf hellgrau"/>
          <p:cNvSpPr>
            <a:spLocks noChangeArrowheads="1"/>
          </p:cNvSpPr>
          <p:nvPr>
            <p:custDataLst>
              <p:tags r:id="rId5"/>
            </p:custDataLst>
          </p:nvPr>
        </p:nvSpPr>
        <p:spPr bwMode="gray">
          <a:xfrm>
            <a:off x="6924675" y="4700588"/>
            <a:ext cx="1927225" cy="1247775"/>
          </a:xfrm>
          <a:prstGeom prst="roundRect">
            <a:avLst>
              <a:gd name="adj" fmla="val 7403"/>
            </a:avLst>
          </a:prstGeom>
          <a:solidFill>
            <a:schemeClr val="tx2"/>
          </a:solidFill>
          <a:ln>
            <a:noFill/>
          </a:ln>
          <a:effectLst>
            <a:outerShdw dist="114300" dir="2700000" algn="tl" rotWithShape="0">
              <a:srgbClr val="000000">
                <a:alpha val="39998"/>
              </a:srgbClr>
            </a:outerShdw>
          </a:effectLst>
          <a:extLst>
            <a:ext uri="{91240B29-F687-4F45-9708-019B960494DF}"/>
          </a:extLst>
        </p:spPr>
        <p:txBody>
          <a:bodyPr lIns="72000" tIns="0" rIns="72000" bIns="0" anchor="ctr"/>
          <a:lstStyle/>
          <a:p>
            <a:pPr>
              <a:lnSpc>
                <a:spcPct val="90000"/>
              </a:lnSpc>
              <a:spcBef>
                <a:spcPct val="50000"/>
              </a:spcBef>
              <a:buClr>
                <a:schemeClr val="tx2"/>
              </a:buClr>
              <a:buSzPct val="75000"/>
              <a:buFont typeface="Wingdings" pitchFamily="2" charset="2"/>
              <a:buNone/>
              <a:defRPr/>
            </a:pPr>
            <a:r>
              <a:rPr lang="en-US" sz="1600">
                <a:solidFill>
                  <a:srgbClr val="FFFFFF"/>
                </a:solidFill>
                <a:latin typeface="Tele-GroteskFet" pitchFamily="2" charset="0"/>
              </a:rPr>
              <a:t>Innovation</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76162" name="Datumsplatzhalter 2"/>
          <p:cNvSpPr>
            <a:spLocks noGrp="1"/>
          </p:cNvSpPr>
          <p:nvPr>
            <p:ph type="dt" sz="quarter" idx="10"/>
          </p:nvPr>
        </p:nvSpPr>
        <p:spPr>
          <a:noFill/>
        </p:spPr>
        <p:txBody>
          <a:bodyPr/>
          <a:lstStyle/>
          <a:p>
            <a:fld id="{C02366F3-9D03-4444-AF70-EED3F09A4211}" type="datetime1">
              <a:rPr lang="en-US" smtClean="0">
                <a:latin typeface="Tele-GroteskNor"/>
              </a:rPr>
              <a:pPr/>
              <a:t>9/11/2013</a:t>
            </a:fld>
            <a:endParaRPr lang="en-US" smtClean="0">
              <a:latin typeface="Tele-GroteskNor"/>
            </a:endParaRPr>
          </a:p>
        </p:txBody>
      </p:sp>
      <p:sp>
        <p:nvSpPr>
          <p:cNvPr id="476163" name="Foliennummernplatzhalter 4"/>
          <p:cNvSpPr>
            <a:spLocks noGrp="1"/>
          </p:cNvSpPr>
          <p:nvPr>
            <p:ph type="sldNum" sz="quarter" idx="12"/>
          </p:nvPr>
        </p:nvSpPr>
        <p:spPr>
          <a:noFill/>
        </p:spPr>
        <p:txBody>
          <a:bodyPr/>
          <a:lstStyle/>
          <a:p>
            <a:fld id="{7677EB95-7DCB-4E96-94D2-B1926B8797D4}" type="slidenum">
              <a:rPr lang="en-US" smtClean="0">
                <a:latin typeface="Tele-GroteskNor"/>
              </a:rPr>
              <a:pPr/>
              <a:t>16</a:t>
            </a:fld>
            <a:endParaRPr lang="en-US" smtClean="0">
              <a:latin typeface="Tele-GroteskNor"/>
            </a:endParaRPr>
          </a:p>
        </p:txBody>
      </p:sp>
      <p:pic>
        <p:nvPicPr>
          <p:cNvPr id="476164" name="Picture 15" hidden="1"/>
          <p:cNvPicPr>
            <a:picLocks noChangeAspect="1" noChangeArrowheads="1"/>
          </p:cNvPicPr>
          <p:nvPr>
            <p:custDataLst>
              <p:tags r:id="rId1"/>
            </p:custDataLst>
          </p:nvPr>
        </p:nvPicPr>
        <p:blipFill>
          <a:blip r:embed="rId11"/>
          <a:srcRect/>
          <a:stretch>
            <a:fillRect/>
          </a:stretch>
        </p:blipFill>
        <p:spPr bwMode="auto">
          <a:xfrm>
            <a:off x="1588" y="1588"/>
            <a:ext cx="1587" cy="1587"/>
          </a:xfrm>
          <a:prstGeom prst="rect">
            <a:avLst/>
          </a:prstGeom>
          <a:noFill/>
          <a:ln w="9525">
            <a:noFill/>
            <a:miter lim="800000"/>
            <a:headEnd/>
            <a:tailEnd/>
          </a:ln>
        </p:spPr>
      </p:pic>
      <p:sp>
        <p:nvSpPr>
          <p:cNvPr id="476165" name="Rectangle 2"/>
          <p:cNvSpPr>
            <a:spLocks noGrp="1"/>
          </p:cNvSpPr>
          <p:nvPr>
            <p:ph type="title"/>
            <p:custDataLst>
              <p:tags r:id="rId2"/>
            </p:custDataLst>
          </p:nvPr>
        </p:nvSpPr>
        <p:spPr>
          <a:xfrm>
            <a:off x="304800" y="333375"/>
            <a:ext cx="8496300" cy="830263"/>
          </a:xfrm>
        </p:spPr>
        <p:txBody>
          <a:bodyPr/>
          <a:lstStyle/>
          <a:p>
            <a:pPr eaLnBrk="1" hangingPunct="1"/>
            <a:r>
              <a:rPr lang="en-US" smtClean="0">
                <a:latin typeface="TeleGrotesk Headline Ultra"/>
                <a:cs typeface="TeleGrotesk Headline Ultra"/>
              </a:rPr>
              <a:t>FIRST PHASE OF T-CITY 2007 – 2012 </a:t>
            </a:r>
            <a:br>
              <a:rPr lang="en-US" smtClean="0">
                <a:latin typeface="TeleGrotesk Headline Ultra"/>
                <a:cs typeface="TeleGrotesk Headline Ultra"/>
              </a:rPr>
            </a:br>
            <a:r>
              <a:rPr lang="en-US" smtClean="0">
                <a:latin typeface="TeleGrotesk Headline"/>
                <a:cs typeface="TeleGrotesk Headline Ultra"/>
              </a:rPr>
              <a:t>MORE THAN 40 PROJECTS WERE COMPLETED</a:t>
            </a:r>
            <a:endParaRPr lang="en-US" smtClean="0">
              <a:latin typeface="Tele-GroteskNor"/>
              <a:cs typeface="TeleGrotesk Headline Ultra"/>
            </a:endParaRPr>
          </a:p>
        </p:txBody>
      </p:sp>
      <p:sp>
        <p:nvSpPr>
          <p:cNvPr id="9" name="AutoShape 2" descr="verlauf hellgrau"/>
          <p:cNvSpPr>
            <a:spLocks noChangeArrowheads="1"/>
          </p:cNvSpPr>
          <p:nvPr>
            <p:custDataLst>
              <p:tags r:id="rId3"/>
            </p:custDataLst>
          </p:nvPr>
        </p:nvSpPr>
        <p:spPr bwMode="gray">
          <a:xfrm>
            <a:off x="304800" y="1484313"/>
            <a:ext cx="2700338" cy="1050925"/>
          </a:xfrm>
          <a:prstGeom prst="roundRect">
            <a:avLst>
              <a:gd name="adj" fmla="val 7395"/>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300"/>
              </a:spcBef>
              <a:buClr>
                <a:schemeClr val="tx2"/>
              </a:buClr>
              <a:buSzPct val="75000"/>
              <a:buFont typeface="Wingdings" pitchFamily="2" charset="2"/>
              <a:buNone/>
              <a:defRPr/>
            </a:pPr>
            <a:r>
              <a:rPr lang="en-US" sz="2400" dirty="0">
                <a:solidFill>
                  <a:srgbClr val="E20074"/>
                </a:solidFill>
                <a:latin typeface="+mj-lt"/>
              </a:rPr>
              <a:t>Education</a:t>
            </a:r>
            <a:endParaRPr lang="en-US" sz="2400" dirty="0">
              <a:latin typeface="+mj-lt"/>
              <a:ea typeface="ＭＳ Ｐゴシック" pitchFamily="34" charset="-128"/>
              <a:cs typeface="Times New Roman" pitchFamily="18" charset="0"/>
            </a:endParaRP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Edunex</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EduKey</a:t>
            </a:r>
          </a:p>
        </p:txBody>
      </p:sp>
      <p:sp>
        <p:nvSpPr>
          <p:cNvPr id="10" name="AutoShape 2" descr="verlauf hellgrau"/>
          <p:cNvSpPr>
            <a:spLocks noChangeArrowheads="1"/>
          </p:cNvSpPr>
          <p:nvPr>
            <p:custDataLst>
              <p:tags r:id="rId4"/>
            </p:custDataLst>
          </p:nvPr>
        </p:nvSpPr>
        <p:spPr bwMode="gray">
          <a:xfrm>
            <a:off x="3221038" y="4689475"/>
            <a:ext cx="2700337" cy="1258888"/>
          </a:xfrm>
          <a:prstGeom prst="roundRect">
            <a:avLst>
              <a:gd name="adj" fmla="val 6000"/>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300"/>
              </a:spcBef>
              <a:buClr>
                <a:schemeClr val="tx2"/>
              </a:buClr>
              <a:buSzPct val="75000"/>
              <a:buFont typeface="Wingdings" pitchFamily="2" charset="2"/>
              <a:buNone/>
              <a:defRPr/>
            </a:pPr>
            <a:r>
              <a:rPr lang="en-US" sz="2400" dirty="0">
                <a:solidFill>
                  <a:srgbClr val="E20074"/>
                </a:solidFill>
                <a:latin typeface="+mj-lt"/>
              </a:rPr>
              <a:t>Mobility</a:t>
            </a:r>
            <a:endParaRPr lang="en-US" sz="2400" dirty="0">
              <a:latin typeface="+mj-lt"/>
              <a:ea typeface="ＭＳ Ｐゴシック" pitchFamily="34" charset="-128"/>
              <a:cs typeface="Times New Roman" pitchFamily="18" charset="0"/>
            </a:endParaRP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flinc</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KatCard</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GPS emergency call</a:t>
            </a:r>
          </a:p>
        </p:txBody>
      </p:sp>
      <p:sp>
        <p:nvSpPr>
          <p:cNvPr id="11" name="AutoShape 2" descr="verlauf hellgrau"/>
          <p:cNvSpPr>
            <a:spLocks noChangeArrowheads="1"/>
          </p:cNvSpPr>
          <p:nvPr>
            <p:custDataLst>
              <p:tags r:id="rId5"/>
            </p:custDataLst>
          </p:nvPr>
        </p:nvSpPr>
        <p:spPr bwMode="gray">
          <a:xfrm>
            <a:off x="6137275" y="1484313"/>
            <a:ext cx="2700338" cy="2101850"/>
          </a:xfrm>
          <a:prstGeom prst="roundRect">
            <a:avLst>
              <a:gd name="adj" fmla="val 2814"/>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0" bIns="36000"/>
          <a:lstStyle/>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Citizens &amp; </a:t>
            </a:r>
          </a:p>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Government </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Request management</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Authorities’ number 115</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De-Mail</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Online kindergarten</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EU Service Directive</a:t>
            </a:r>
          </a:p>
        </p:txBody>
      </p:sp>
      <p:sp>
        <p:nvSpPr>
          <p:cNvPr id="12" name="AutoShape 2" descr="verlauf hellgrau"/>
          <p:cNvSpPr>
            <a:spLocks noChangeArrowheads="1"/>
          </p:cNvSpPr>
          <p:nvPr>
            <p:custDataLst>
              <p:tags r:id="rId6"/>
            </p:custDataLst>
          </p:nvPr>
        </p:nvSpPr>
        <p:spPr bwMode="gray">
          <a:xfrm>
            <a:off x="304800" y="2743200"/>
            <a:ext cx="2700338" cy="3205163"/>
          </a:xfrm>
          <a:prstGeom prst="roundRect">
            <a:avLst>
              <a:gd name="adj" fmla="val 2814"/>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Tourism &amp; </a:t>
            </a:r>
          </a:p>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Culture</a:t>
            </a:r>
            <a:endParaRPr lang="en-US" sz="2400" dirty="0">
              <a:latin typeface="+mj-lt"/>
              <a:ea typeface="ＭＳ Ｐゴシック" pitchFamily="34" charset="-128"/>
              <a:cs typeface="Times New Roman" pitchFamily="18" charset="0"/>
            </a:endParaRP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Interactive hiking</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Suche.mobi (Search.mobi)</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Multimedia terminals for the deaf</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Tourism portal</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Multimedia terminals</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Media hotel</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Schwäbische.de @ Entertain</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Digital picture frame</a:t>
            </a:r>
          </a:p>
          <a:p>
            <a:pPr marL="176213" indent="-176213" eaLnBrk="0" hangingPunct="0">
              <a:lnSpc>
                <a:spcPts val="1800"/>
              </a:lnSpc>
              <a:spcBef>
                <a:spcPts val="200"/>
              </a:spcBef>
              <a:buClr>
                <a:schemeClr val="tx2"/>
              </a:buClr>
              <a:buSzPct val="75000"/>
              <a:buFont typeface="Wingdings" pitchFamily="2" charset="2"/>
              <a:buChar char="§"/>
              <a:defRPr/>
            </a:pPr>
            <a:r>
              <a:rPr lang="en-US" sz="1600" dirty="0">
                <a:solidFill>
                  <a:srgbClr val="000000"/>
                </a:solidFill>
                <a:latin typeface="Tele-GroteskFet" pitchFamily="2" charset="0"/>
              </a:rPr>
              <a:t>CityInfo</a:t>
            </a:r>
          </a:p>
        </p:txBody>
      </p:sp>
      <p:sp>
        <p:nvSpPr>
          <p:cNvPr id="13" name="AutoShape 2" descr="verlauf hellgrau"/>
          <p:cNvSpPr>
            <a:spLocks noChangeArrowheads="1"/>
          </p:cNvSpPr>
          <p:nvPr>
            <p:custDataLst>
              <p:tags r:id="rId7"/>
            </p:custDataLst>
          </p:nvPr>
        </p:nvSpPr>
        <p:spPr bwMode="gray">
          <a:xfrm>
            <a:off x="3221038" y="1484313"/>
            <a:ext cx="2700337" cy="2997200"/>
          </a:xfrm>
          <a:prstGeom prst="roundRect">
            <a:avLst>
              <a:gd name="adj" fmla="val 2814"/>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300"/>
              </a:spcBef>
              <a:buClr>
                <a:schemeClr val="tx2"/>
              </a:buClr>
              <a:buSzPct val="75000"/>
              <a:buFont typeface="Wingdings" pitchFamily="2" charset="2"/>
              <a:buNone/>
              <a:defRPr/>
            </a:pPr>
            <a:r>
              <a:rPr lang="en-US" sz="2400" dirty="0">
                <a:solidFill>
                  <a:srgbClr val="E20074"/>
                </a:solidFill>
                <a:latin typeface="+mj-lt"/>
              </a:rPr>
              <a:t>Health</a:t>
            </a:r>
            <a:endParaRPr lang="en-US" sz="2400" dirty="0">
              <a:latin typeface="+mj-lt"/>
              <a:ea typeface="ＭＳ Ｐゴシック" pitchFamily="34" charset="-128"/>
              <a:cs typeface="Times New Roman" pitchFamily="18" charset="0"/>
            </a:endParaRP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Self-determined </a:t>
            </a:r>
            <a:br>
              <a:rPr lang="en-US" sz="1600" dirty="0">
                <a:solidFill>
                  <a:srgbClr val="000000"/>
                </a:solidFill>
                <a:latin typeface="Tele-GroteskFet" pitchFamily="2" charset="0"/>
              </a:rPr>
            </a:br>
            <a:r>
              <a:rPr lang="en-US" sz="1600" dirty="0">
                <a:solidFill>
                  <a:srgbClr val="000000"/>
                </a:solidFill>
                <a:latin typeface="Tele-GroteskFet" pitchFamily="2" charset="0"/>
              </a:rPr>
              <a:t>living</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BIGKidsCoach</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derBUTLER</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BodyTel</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Remote patient care</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T-Mobile emergency number</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Tumor conference</a:t>
            </a:r>
          </a:p>
          <a:p>
            <a:pPr marL="176213" indent="-176213" eaLnBrk="0" hangingPunct="0">
              <a:lnSpc>
                <a:spcPts val="1800"/>
              </a:lnSpc>
              <a:spcBef>
                <a:spcPts val="300"/>
              </a:spcBef>
              <a:buClr>
                <a:schemeClr val="tx2"/>
              </a:buClr>
              <a:buSzPct val="75000"/>
              <a:buFont typeface="Wingdings" pitchFamily="2" charset="2"/>
              <a:buChar char="§"/>
              <a:defRPr/>
            </a:pPr>
            <a:r>
              <a:rPr lang="en-US" sz="1600" dirty="0">
                <a:solidFill>
                  <a:srgbClr val="000000"/>
                </a:solidFill>
                <a:latin typeface="Tele-GroteskFet" pitchFamily="2" charset="0"/>
              </a:rPr>
              <a:t>Diagnosis portal</a:t>
            </a:r>
          </a:p>
        </p:txBody>
      </p:sp>
      <p:sp>
        <p:nvSpPr>
          <p:cNvPr id="14" name="AutoShape 2" descr="verlauf hellgrau"/>
          <p:cNvSpPr>
            <a:spLocks noChangeArrowheads="1"/>
          </p:cNvSpPr>
          <p:nvPr>
            <p:custDataLst>
              <p:tags r:id="rId8"/>
            </p:custDataLst>
          </p:nvPr>
        </p:nvSpPr>
        <p:spPr bwMode="gray">
          <a:xfrm>
            <a:off x="6137275" y="3846513"/>
            <a:ext cx="2700338" cy="2101850"/>
          </a:xfrm>
          <a:prstGeom prst="roundRect">
            <a:avLst>
              <a:gd name="adj" fmla="val 2814"/>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Business &amp; </a:t>
            </a:r>
          </a:p>
          <a:p>
            <a:pPr marL="176213" indent="-176213">
              <a:lnSpc>
                <a:spcPts val="1800"/>
              </a:lnSpc>
              <a:spcBef>
                <a:spcPts val="0"/>
              </a:spcBef>
              <a:buClr>
                <a:schemeClr val="tx2"/>
              </a:buClr>
              <a:buSzPct val="75000"/>
              <a:buFont typeface="Wingdings" pitchFamily="2" charset="2"/>
              <a:buNone/>
              <a:defRPr/>
            </a:pPr>
            <a:r>
              <a:rPr lang="en-US" sz="2400" dirty="0">
                <a:solidFill>
                  <a:srgbClr val="E20074"/>
                </a:solidFill>
                <a:latin typeface="+mj-lt"/>
              </a:rPr>
              <a:t>Energy</a:t>
            </a:r>
            <a:endParaRPr lang="en-US" sz="2400" dirty="0">
              <a:latin typeface="+mj-lt"/>
              <a:ea typeface="ＭＳ Ｐゴシック" pitchFamily="34" charset="-128"/>
              <a:cs typeface="Times New Roman" pitchFamily="18" charset="0"/>
            </a:endParaRP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Smart metering</a:t>
            </a: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Home Network 2.0</a:t>
            </a: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Smart grid</a:t>
            </a: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Ddesk</a:t>
            </a: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G/On</a:t>
            </a:r>
          </a:p>
          <a:p>
            <a:pPr marL="176213" indent="-176213" eaLnBrk="0" hangingPunct="0">
              <a:lnSpc>
                <a:spcPts val="1800"/>
              </a:lnSpc>
              <a:spcBef>
                <a:spcPts val="0"/>
              </a:spcBef>
              <a:buClr>
                <a:schemeClr val="tx2"/>
              </a:buClr>
              <a:buSzPct val="75000"/>
              <a:buFont typeface="Wingdings" pitchFamily="2" charset="2"/>
              <a:buChar char="§"/>
              <a:defRPr/>
            </a:pPr>
            <a:r>
              <a:rPr lang="en-US" sz="1600" dirty="0">
                <a:solidFill>
                  <a:srgbClr val="000000"/>
                </a:solidFill>
                <a:latin typeface="Tele-GroteskFet" pitchFamily="2" charset="0"/>
              </a:rPr>
              <a:t>Mobile Worker Bundle</a:t>
            </a:r>
          </a:p>
        </p:txBody>
      </p:sp>
      <p:pic>
        <p:nvPicPr>
          <p:cNvPr id="476172" name="Picture 39" descr="schaubild_gesamt_wirLebenZukunft"/>
          <p:cNvPicPr>
            <a:picLocks noChangeArrowheads="1"/>
          </p:cNvPicPr>
          <p:nvPr/>
        </p:nvPicPr>
        <p:blipFill>
          <a:blip r:embed="rId12">
            <a:clrChange>
              <a:clrFrom>
                <a:srgbClr val="FFFFFF"/>
              </a:clrFrom>
              <a:clrTo>
                <a:srgbClr val="FFFFFF">
                  <a:alpha val="0"/>
                </a:srgbClr>
              </a:clrTo>
            </a:clrChange>
          </a:blip>
          <a:srcRect l="20392" t="76215" r="60135" b="3424"/>
          <a:stretch>
            <a:fillRect/>
          </a:stretch>
        </p:blipFill>
        <p:spPr bwMode="auto">
          <a:xfrm>
            <a:off x="5026025" y="4789488"/>
            <a:ext cx="863600" cy="455612"/>
          </a:xfrm>
          <a:prstGeom prst="rect">
            <a:avLst/>
          </a:prstGeom>
          <a:noFill/>
          <a:ln w="9525">
            <a:noFill/>
            <a:miter lim="800000"/>
            <a:headEnd/>
            <a:tailEnd/>
          </a:ln>
        </p:spPr>
      </p:pic>
      <p:pic>
        <p:nvPicPr>
          <p:cNvPr id="476173" name="Picture 40" descr="schaubild_gesamt_wirLebenZukunft"/>
          <p:cNvPicPr>
            <a:picLocks noChangeAspect="1" noChangeArrowheads="1"/>
          </p:cNvPicPr>
          <p:nvPr/>
        </p:nvPicPr>
        <p:blipFill>
          <a:blip r:embed="rId13">
            <a:clrChange>
              <a:clrFrom>
                <a:srgbClr val="FFFFFF"/>
              </a:clrFrom>
              <a:clrTo>
                <a:srgbClr val="FFFFFF">
                  <a:alpha val="0"/>
                </a:srgbClr>
              </a:clrTo>
            </a:clrChange>
          </a:blip>
          <a:srcRect t="28291" r="79485" b="39719"/>
          <a:stretch>
            <a:fillRect/>
          </a:stretch>
        </p:blipFill>
        <p:spPr bwMode="auto">
          <a:xfrm>
            <a:off x="2151063" y="2717800"/>
            <a:ext cx="866775" cy="650875"/>
          </a:xfrm>
          <a:prstGeom prst="rect">
            <a:avLst/>
          </a:prstGeom>
          <a:noFill/>
          <a:ln w="9525">
            <a:noFill/>
            <a:miter lim="800000"/>
            <a:headEnd/>
            <a:tailEnd/>
          </a:ln>
        </p:spPr>
      </p:pic>
      <p:pic>
        <p:nvPicPr>
          <p:cNvPr id="476174" name="Picture 41" descr="schaubild_gesamt_wirLebenZukunft"/>
          <p:cNvPicPr>
            <a:picLocks noChangeArrowheads="1"/>
          </p:cNvPicPr>
          <p:nvPr/>
        </p:nvPicPr>
        <p:blipFill>
          <a:blip r:embed="rId14">
            <a:clrChange>
              <a:clrFrom>
                <a:srgbClr val="FFFFFF"/>
              </a:clrFrom>
              <a:clrTo>
                <a:srgbClr val="FFFFFF">
                  <a:alpha val="0"/>
                </a:srgbClr>
              </a:clrTo>
            </a:clrChange>
          </a:blip>
          <a:srcRect l="20317" t="4793" r="60060" b="73785"/>
          <a:stretch>
            <a:fillRect/>
          </a:stretch>
        </p:blipFill>
        <p:spPr bwMode="auto">
          <a:xfrm>
            <a:off x="7942263" y="1585913"/>
            <a:ext cx="863600" cy="423862"/>
          </a:xfrm>
          <a:prstGeom prst="rect">
            <a:avLst/>
          </a:prstGeom>
          <a:noFill/>
          <a:ln w="9525">
            <a:noFill/>
            <a:miter lim="800000"/>
            <a:headEnd/>
            <a:tailEnd/>
          </a:ln>
        </p:spPr>
      </p:pic>
      <p:pic>
        <p:nvPicPr>
          <p:cNvPr id="476175" name="Picture 42" descr="schaubild_gesamt_wirLebenZukunft"/>
          <p:cNvPicPr>
            <a:picLocks noChangeAspect="1" noChangeArrowheads="1"/>
          </p:cNvPicPr>
          <p:nvPr/>
        </p:nvPicPr>
        <p:blipFill>
          <a:blip r:embed="rId15">
            <a:clrChange>
              <a:clrFrom>
                <a:srgbClr val="FFFFFF"/>
              </a:clrFrom>
              <a:clrTo>
                <a:srgbClr val="FFFFFF">
                  <a:alpha val="0"/>
                </a:srgbClr>
              </a:clrTo>
            </a:clrChange>
          </a:blip>
          <a:srcRect l="59836" r="20839" b="75468"/>
          <a:stretch>
            <a:fillRect/>
          </a:stretch>
        </p:blipFill>
        <p:spPr bwMode="auto">
          <a:xfrm>
            <a:off x="5026025" y="1585913"/>
            <a:ext cx="863600" cy="528637"/>
          </a:xfrm>
          <a:prstGeom prst="rect">
            <a:avLst/>
          </a:prstGeom>
          <a:noFill/>
          <a:ln w="9525">
            <a:noFill/>
            <a:miter lim="800000"/>
            <a:headEnd/>
            <a:tailEnd/>
          </a:ln>
        </p:spPr>
      </p:pic>
      <p:pic>
        <p:nvPicPr>
          <p:cNvPr id="476176" name="Picture 43" descr="schaubild_gesamt_wirLebenZukunft"/>
          <p:cNvPicPr>
            <a:picLocks noChangeAspect="1" noChangeArrowheads="1"/>
          </p:cNvPicPr>
          <p:nvPr/>
        </p:nvPicPr>
        <p:blipFill>
          <a:blip r:embed="rId16">
            <a:clrChange>
              <a:clrFrom>
                <a:srgbClr val="FFFFFF"/>
              </a:clrFrom>
              <a:clrTo>
                <a:srgbClr val="FFFFFF">
                  <a:alpha val="0"/>
                </a:srgbClr>
              </a:clrTo>
            </a:clrChange>
          </a:blip>
          <a:srcRect l="80154" t="32001" b="39543"/>
          <a:stretch>
            <a:fillRect/>
          </a:stretch>
        </p:blipFill>
        <p:spPr bwMode="auto">
          <a:xfrm>
            <a:off x="7942263" y="3952875"/>
            <a:ext cx="863600" cy="595313"/>
          </a:xfrm>
          <a:prstGeom prst="rect">
            <a:avLst/>
          </a:prstGeom>
          <a:noFill/>
          <a:ln w="9525">
            <a:noFill/>
            <a:miter lim="800000"/>
            <a:headEnd/>
            <a:tailEnd/>
          </a:ln>
        </p:spPr>
      </p:pic>
      <p:pic>
        <p:nvPicPr>
          <p:cNvPr id="476177" name="Picture 21" descr="schaubild_gesamt_wirLebenZukunft"/>
          <p:cNvPicPr>
            <a:picLocks noChangeAspect="1" noChangeArrowheads="1"/>
          </p:cNvPicPr>
          <p:nvPr/>
        </p:nvPicPr>
        <p:blipFill>
          <a:blip r:embed="rId17">
            <a:clrChange>
              <a:clrFrom>
                <a:srgbClr val="FFFFFF"/>
              </a:clrFrom>
              <a:clrTo>
                <a:srgbClr val="FFFFFF">
                  <a:alpha val="0"/>
                </a:srgbClr>
              </a:clrTo>
            </a:clrChange>
          </a:blip>
          <a:srcRect l="59911" t="76836" r="20169" b="3918"/>
          <a:stretch>
            <a:fillRect/>
          </a:stretch>
        </p:blipFill>
        <p:spPr bwMode="auto">
          <a:xfrm>
            <a:off x="2135188" y="1570038"/>
            <a:ext cx="866775" cy="4397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78210" name="Datumsplatzhalter 3"/>
          <p:cNvSpPr>
            <a:spLocks noGrp="1"/>
          </p:cNvSpPr>
          <p:nvPr>
            <p:ph type="dt" sz="quarter" idx="10"/>
          </p:nvPr>
        </p:nvSpPr>
        <p:spPr>
          <a:xfrm>
            <a:off x="6804025" y="6430963"/>
            <a:ext cx="1800225" cy="139700"/>
          </a:xfrm>
          <a:noFill/>
        </p:spPr>
        <p:txBody>
          <a:bodyPr/>
          <a:lstStyle/>
          <a:p>
            <a:fld id="{4B1893B4-6039-47CA-BE2B-44240314E2BC}" type="datetime1">
              <a:rPr lang="en-US" smtClean="0">
                <a:latin typeface="Tele-GroteskNor"/>
              </a:rPr>
              <a:pPr/>
              <a:t>9/11/2013</a:t>
            </a:fld>
            <a:endParaRPr lang="en-US" smtClean="0">
              <a:latin typeface="Tele-GroteskNor"/>
            </a:endParaRPr>
          </a:p>
        </p:txBody>
      </p:sp>
      <p:sp>
        <p:nvSpPr>
          <p:cNvPr id="478211" name="Foliennummernplatzhalter 5"/>
          <p:cNvSpPr>
            <a:spLocks noGrp="1"/>
          </p:cNvSpPr>
          <p:nvPr>
            <p:ph type="sldNum" sz="quarter" idx="12"/>
          </p:nvPr>
        </p:nvSpPr>
        <p:spPr>
          <a:xfrm>
            <a:off x="8540750" y="6430963"/>
            <a:ext cx="288925" cy="139700"/>
          </a:xfrm>
          <a:noFill/>
        </p:spPr>
        <p:txBody>
          <a:bodyPr/>
          <a:lstStyle/>
          <a:p>
            <a:fld id="{24BDF7E1-B9F0-4C61-A08B-C646691AEA87}" type="slidenum">
              <a:rPr lang="en-US" smtClean="0">
                <a:latin typeface="Tele-GroteskNor"/>
              </a:rPr>
              <a:pPr/>
              <a:t>17</a:t>
            </a:fld>
            <a:endParaRPr lang="en-US" smtClean="0">
              <a:latin typeface="Tele-GroteskNor"/>
            </a:endParaRPr>
          </a:p>
        </p:txBody>
      </p:sp>
      <p:sp>
        <p:nvSpPr>
          <p:cNvPr id="478212" name="Rectangle 2"/>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T-City turned into Telekom-City</a:t>
            </a:r>
            <a:br>
              <a:rPr lang="en-US" smtClean="0">
                <a:latin typeface="TeleGrotesk Headline Ultra"/>
                <a:cs typeface="TeleGrotesk Headline Ultra"/>
              </a:rPr>
            </a:br>
            <a:r>
              <a:rPr lang="en-US" smtClean="0">
                <a:latin typeface="TeleGrotesk Headline"/>
                <a:cs typeface="TeleGrotesk Headline Ultra"/>
              </a:rPr>
              <a:t>A successful experience Continued</a:t>
            </a:r>
          </a:p>
        </p:txBody>
      </p:sp>
      <p:sp>
        <p:nvSpPr>
          <p:cNvPr id="201731" name="Rectangle 3"/>
          <p:cNvSpPr>
            <a:spLocks noGrp="1"/>
          </p:cNvSpPr>
          <p:nvPr>
            <p:ph type="body" idx="1"/>
          </p:nvPr>
        </p:nvSpPr>
        <p:spPr>
          <a:xfrm>
            <a:off x="319088" y="1773238"/>
            <a:ext cx="2620962" cy="2454275"/>
          </a:xfrm>
        </p:spPr>
        <p:txBody>
          <a:bodyPr/>
          <a:lstStyle/>
          <a:p>
            <a:pPr marL="3175" lvl="2" indent="0" eaLnBrk="1" hangingPunct="1">
              <a:buFont typeface="Wingdings" pitchFamily="2" charset="2"/>
              <a:buNone/>
              <a:defRPr/>
            </a:pPr>
            <a:r>
              <a:rPr lang="en-US" sz="2000" smtClean="0">
                <a:latin typeface="+mj-lt"/>
              </a:rPr>
              <a:t>T-City…</a:t>
            </a:r>
          </a:p>
          <a:p>
            <a:pPr lvl="2" eaLnBrk="1" hangingPunct="1">
              <a:defRPr/>
            </a:pPr>
            <a:r>
              <a:rPr lang="en-US" sz="2000" smtClean="0"/>
              <a:t>attracted a lot of attention:</a:t>
            </a:r>
            <a:br>
              <a:rPr lang="en-US" sz="2000" smtClean="0"/>
            </a:br>
            <a:r>
              <a:rPr lang="en-US" sz="2000" smtClean="0"/>
              <a:t>(just a few of the visitor groups)</a:t>
            </a:r>
          </a:p>
          <a:p>
            <a:pPr lvl="2" eaLnBrk="1" hangingPunct="1">
              <a:defRPr/>
            </a:pPr>
            <a:r>
              <a:rPr lang="en-US" sz="2000" smtClean="0"/>
              <a:t>Feedback has been great</a:t>
            </a:r>
          </a:p>
          <a:p>
            <a:pPr lvl="2" eaLnBrk="1" hangingPunct="1">
              <a:defRPr/>
            </a:pPr>
            <a:r>
              <a:rPr lang="en-US" sz="2000" smtClean="0"/>
              <a:t>Experience collected went into products and fuels the Smart City work at DT</a:t>
            </a:r>
          </a:p>
        </p:txBody>
      </p:sp>
      <p:pic>
        <p:nvPicPr>
          <p:cNvPr id="478214" name="Picture 2"/>
          <p:cNvPicPr>
            <a:picLocks noChangeAspect="1" noChangeArrowheads="1"/>
          </p:cNvPicPr>
          <p:nvPr/>
        </p:nvPicPr>
        <p:blipFill>
          <a:blip r:embed="rId3"/>
          <a:srcRect/>
          <a:stretch>
            <a:fillRect/>
          </a:stretch>
        </p:blipFill>
        <p:spPr bwMode="auto">
          <a:xfrm>
            <a:off x="3032125" y="1628775"/>
            <a:ext cx="5870575" cy="3140075"/>
          </a:xfrm>
          <a:prstGeom prst="rect">
            <a:avLst/>
          </a:prstGeom>
          <a:noFill/>
          <a:ln w="9525">
            <a:noFill/>
            <a:miter lim="800000"/>
            <a:headEnd/>
            <a:tailEnd/>
          </a:ln>
        </p:spPr>
      </p:pic>
      <p:sp>
        <p:nvSpPr>
          <p:cNvPr id="478215" name="Rectangle 3"/>
          <p:cNvSpPr txBox="1">
            <a:spLocks/>
          </p:cNvSpPr>
          <p:nvPr/>
        </p:nvSpPr>
        <p:spPr bwMode="gray">
          <a:xfrm>
            <a:off x="319088" y="4608513"/>
            <a:ext cx="8510587" cy="1682750"/>
          </a:xfrm>
          <a:prstGeom prst="rect">
            <a:avLst/>
          </a:prstGeom>
          <a:noFill/>
          <a:ln w="9525">
            <a:noFill/>
            <a:miter lim="800000"/>
            <a:headEnd/>
            <a:tailEnd/>
          </a:ln>
        </p:spPr>
        <p:txBody>
          <a:bodyPr lIns="0" tIns="0" rIns="0" bIns="0" anchor="ctr"/>
          <a:lstStyle/>
          <a:p>
            <a:pPr marL="179388" lvl="2" indent="-176213">
              <a:lnSpc>
                <a:spcPct val="90000"/>
              </a:lnSpc>
              <a:spcBef>
                <a:spcPct val="25000"/>
              </a:spcBef>
              <a:buClr>
                <a:schemeClr val="tx2"/>
              </a:buClr>
              <a:buSzPct val="75000"/>
              <a:buFont typeface="Wingdings" pitchFamily="2" charset="2"/>
              <a:buChar char="§"/>
            </a:pPr>
            <a:r>
              <a:rPr lang="en-US" sz="2000">
                <a:latin typeface="Tele-GroteskNor"/>
              </a:rPr>
              <a:t>The experiment has been turned into ‘normal’ operation through T-Systems</a:t>
            </a:r>
          </a:p>
          <a:p>
            <a:pPr marL="179388" lvl="2" indent="-176213">
              <a:lnSpc>
                <a:spcPct val="90000"/>
              </a:lnSpc>
              <a:spcBef>
                <a:spcPct val="25000"/>
              </a:spcBef>
              <a:buClr>
                <a:schemeClr val="tx2"/>
              </a:buClr>
              <a:buSzPct val="75000"/>
              <a:buFont typeface="Wingdings" pitchFamily="2" charset="2"/>
              <a:buChar char="§"/>
            </a:pPr>
            <a:r>
              <a:rPr lang="en-US" sz="2000">
                <a:latin typeface="Tele-GroteskNor"/>
              </a:rPr>
              <a:t>Collaboration with local authorities is continuing</a:t>
            </a:r>
          </a:p>
          <a:p>
            <a:pPr marL="179388" lvl="2" indent="-176213">
              <a:lnSpc>
                <a:spcPct val="90000"/>
              </a:lnSpc>
              <a:spcBef>
                <a:spcPct val="25000"/>
              </a:spcBef>
              <a:buClr>
                <a:schemeClr val="tx2"/>
              </a:buClr>
              <a:buSzPct val="75000"/>
              <a:buFont typeface="Wingdings" pitchFamily="2" charset="2"/>
              <a:buChar char="§"/>
            </a:pPr>
            <a:r>
              <a:rPr lang="en-US" sz="2000">
                <a:latin typeface="Tele-GroteskNor"/>
              </a:rPr>
              <a:t>Three model ‚futurists‘ households are kept up</a:t>
            </a:r>
          </a:p>
          <a:p>
            <a:pPr marL="179388" lvl="2" indent="-176213">
              <a:lnSpc>
                <a:spcPct val="90000"/>
              </a:lnSpc>
              <a:spcBef>
                <a:spcPct val="25000"/>
              </a:spcBef>
              <a:buClr>
                <a:schemeClr val="tx2"/>
              </a:buClr>
              <a:buSzPct val="75000"/>
              <a:buFont typeface="Wingdings" pitchFamily="2" charset="2"/>
              <a:buChar char="§"/>
            </a:pPr>
            <a:r>
              <a:rPr lang="en-US" sz="2000">
                <a:latin typeface="Tele-GroteskNor"/>
              </a:rPr>
              <a:t>‚Futurist‘ companies are in focus now</a:t>
            </a:r>
          </a:p>
        </p:txBody>
      </p:sp>
      <p:sp>
        <p:nvSpPr>
          <p:cNvPr id="40" name="Rectangle 3"/>
          <p:cNvSpPr txBox="1">
            <a:spLocks/>
          </p:cNvSpPr>
          <p:nvPr/>
        </p:nvSpPr>
        <p:spPr bwMode="gray">
          <a:xfrm>
            <a:off x="319088" y="4308475"/>
            <a:ext cx="2620962" cy="431800"/>
          </a:xfrm>
          <a:prstGeom prst="rect">
            <a:avLst/>
          </a:prstGeom>
          <a:noFill/>
          <a:ln w="9525">
            <a:noFill/>
            <a:miter lim="800000"/>
            <a:headEnd/>
            <a:tailEnd/>
          </a:ln>
        </p:spPr>
        <p:txBody>
          <a:bodyPr lIns="0" tIns="0" rIns="0" bIns="0" anchor="ctr"/>
          <a:lstStyle>
            <a:lvl1pPr algn="l" defTabSz="457200" rtl="0" fontAlgn="base">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fontAlgn="base">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fontAlgn="base">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fontAlgn="base">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fontAlgn="base">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175" lvl="2" indent="0">
              <a:buFont typeface="Wingdings" pitchFamily="2" charset="2"/>
              <a:buNone/>
              <a:defRPr/>
            </a:pPr>
            <a:r>
              <a:rPr lang="en-US" sz="2000" smtClean="0">
                <a:latin typeface="+mj-lt"/>
              </a:rPr>
              <a:t>Telekom-City</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70703"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70703" name="think-cell Folie" r:id="rId5" imgW="360" imgH="360" progId="">
              <p:embed/>
            </p:oleObj>
          </a:graphicData>
        </a:graphic>
      </p:graphicFrame>
      <p:sp>
        <p:nvSpPr>
          <p:cNvPr id="370705" name="Rectangle 1037"/>
          <p:cNvSpPr>
            <a:spLocks noGrp="1"/>
          </p:cNvSpPr>
          <p:nvPr>
            <p:ph type="ctrTitle"/>
          </p:nvPr>
        </p:nvSpPr>
        <p:spPr>
          <a:xfrm>
            <a:off x="304800" y="1773238"/>
            <a:ext cx="8496300" cy="609600"/>
          </a:xfrm>
        </p:spPr>
        <p:txBody>
          <a:bodyPr/>
          <a:lstStyle/>
          <a:p>
            <a:pPr eaLnBrk="1" hangingPunct="1"/>
            <a:r>
              <a:rPr lang="en-US" sz="4400">
                <a:latin typeface="TeleGrotesk Headline Ultra"/>
                <a:cs typeface="TeleGrotesk Headline Ultra"/>
              </a:rPr>
              <a:t>Conclusion</a:t>
            </a:r>
            <a:endParaRPr lang="en-US" sz="4400">
              <a:latin typeface="TeleGrotesk Headline"/>
              <a:cs typeface="TeleGrotesk Headline Ultra"/>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82306" name="Datumsplatzhalter 3"/>
          <p:cNvSpPr>
            <a:spLocks noGrp="1"/>
          </p:cNvSpPr>
          <p:nvPr>
            <p:ph type="dt" sz="quarter" idx="10"/>
          </p:nvPr>
        </p:nvSpPr>
        <p:spPr>
          <a:noFill/>
        </p:spPr>
        <p:txBody>
          <a:bodyPr/>
          <a:lstStyle/>
          <a:p>
            <a:fld id="{697C8318-C04C-445E-9200-CE9014471501}" type="datetime1">
              <a:rPr lang="de-DE" smtClean="0">
                <a:latin typeface="Tele-GroteskNor"/>
              </a:rPr>
              <a:pPr/>
              <a:t>11.09.2013</a:t>
            </a:fld>
            <a:endParaRPr lang="en-US" smtClean="0">
              <a:latin typeface="Tele-GroteskNor"/>
            </a:endParaRPr>
          </a:p>
        </p:txBody>
      </p:sp>
      <p:sp>
        <p:nvSpPr>
          <p:cNvPr id="482307" name="Foliennummernplatzhalter 5"/>
          <p:cNvSpPr>
            <a:spLocks noGrp="1"/>
          </p:cNvSpPr>
          <p:nvPr>
            <p:ph type="sldNum" sz="quarter" idx="12"/>
          </p:nvPr>
        </p:nvSpPr>
        <p:spPr>
          <a:noFill/>
        </p:spPr>
        <p:txBody>
          <a:bodyPr/>
          <a:lstStyle/>
          <a:p>
            <a:fld id="{CAF12D73-ED55-46A4-9F2A-93E0B5A0AA2D}" type="slidenum">
              <a:rPr lang="en-US" smtClean="0">
                <a:latin typeface="Tele-GroteskNor"/>
              </a:rPr>
              <a:pPr/>
              <a:t>19</a:t>
            </a:fld>
            <a:endParaRPr lang="en-US" smtClean="0">
              <a:latin typeface="Tele-GroteskNor"/>
            </a:endParaRPr>
          </a:p>
        </p:txBody>
      </p:sp>
      <p:sp>
        <p:nvSpPr>
          <p:cNvPr id="482308" name="Rectangle 2"/>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Conclusion</a:t>
            </a:r>
            <a:br>
              <a:rPr lang="en-US" smtClean="0">
                <a:latin typeface="TeleGrotesk Headline Ultra"/>
                <a:cs typeface="TeleGrotesk Headline Ultra"/>
              </a:rPr>
            </a:br>
            <a:r>
              <a:rPr lang="en-US" smtClean="0">
                <a:latin typeface="TeleGrotesk Headline"/>
                <a:cs typeface="TeleGrotesk Headline Ultra"/>
              </a:rPr>
              <a:t>Smart Cities and Telecommunications Providers</a:t>
            </a:r>
          </a:p>
        </p:txBody>
      </p:sp>
      <p:sp>
        <p:nvSpPr>
          <p:cNvPr id="482309" name="Rectangle 3"/>
          <p:cNvSpPr>
            <a:spLocks noGrp="1"/>
          </p:cNvSpPr>
          <p:nvPr>
            <p:ph type="body" idx="1"/>
          </p:nvPr>
        </p:nvSpPr>
        <p:spPr>
          <a:xfrm>
            <a:off x="319088" y="1773238"/>
            <a:ext cx="8496300" cy="4283075"/>
          </a:xfrm>
        </p:spPr>
        <p:txBody>
          <a:bodyPr anchor="ctr"/>
          <a:lstStyle/>
          <a:p>
            <a:pPr lvl="2" eaLnBrk="1" hangingPunct="1"/>
            <a:r>
              <a:rPr lang="en-US" sz="2000" smtClean="0">
                <a:latin typeface="Tele-GroteskUlt"/>
              </a:rPr>
              <a:t>High-performance access and transport networks are a prerequisite for Smart Cities</a:t>
            </a:r>
          </a:p>
          <a:p>
            <a:pPr lvl="2" eaLnBrk="1" hangingPunct="1"/>
            <a:r>
              <a:rPr lang="en-US" sz="2000" smtClean="0">
                <a:latin typeface="Tele-GroteskUlt"/>
              </a:rPr>
              <a:t>The network layer alone might not be enough: </a:t>
            </a:r>
            <a:r>
              <a:rPr lang="en-US" sz="2000" smtClean="0"/>
              <a:t>the ‚Intelligent Network‘ approach matches many requirements of Smart Cities</a:t>
            </a:r>
          </a:p>
          <a:p>
            <a:pPr lvl="2" eaLnBrk="1" hangingPunct="1"/>
            <a:r>
              <a:rPr lang="en-US" sz="2000" smtClean="0">
                <a:latin typeface="Tele-GroteskUlt"/>
              </a:rPr>
              <a:t>Industry verticals need specific support: </a:t>
            </a:r>
            <a:r>
              <a:rPr lang="en-US" sz="2000" smtClean="0"/>
              <a:t>health, traffic, energy, administration, education, entertainment, production</a:t>
            </a:r>
          </a:p>
          <a:p>
            <a:pPr lvl="2" eaLnBrk="1" hangingPunct="1"/>
            <a:r>
              <a:rPr lang="en-US" sz="2000" smtClean="0"/>
              <a:t>User‘s need to be provided with communications means, and the power to control their communication and data flow: </a:t>
            </a:r>
            <a:r>
              <a:rPr lang="en-US" sz="2000" smtClean="0">
                <a:latin typeface="Tele-GroteskUlt"/>
              </a:rPr>
              <a:t>mobility, security, identity</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6607"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66607" name="think-cell Folie" r:id="rId5" imgW="360" imgH="360" progId="">
              <p:embed/>
            </p:oleObj>
          </a:graphicData>
        </a:graphic>
      </p:graphicFrame>
      <p:sp>
        <p:nvSpPr>
          <p:cNvPr id="366609" name="Rectangle 1037"/>
          <p:cNvSpPr>
            <a:spLocks noGrp="1"/>
          </p:cNvSpPr>
          <p:nvPr>
            <p:ph type="ctrTitle"/>
          </p:nvPr>
        </p:nvSpPr>
        <p:spPr>
          <a:xfrm>
            <a:off x="304800" y="1773238"/>
            <a:ext cx="8496300" cy="1219200"/>
          </a:xfrm>
        </p:spPr>
        <p:txBody>
          <a:bodyPr/>
          <a:lstStyle/>
          <a:p>
            <a:pPr eaLnBrk="1" hangingPunct="1"/>
            <a:r>
              <a:rPr sz="4400">
                <a:latin typeface="TeleGrotesk Headline Ultra"/>
                <a:cs typeface="TeleGrotesk Headline Ultra"/>
              </a:rPr>
              <a:t>Telekom Innovation Laboratories</a:t>
            </a:r>
            <a:endParaRPr lang="en-US" sz="4400">
              <a:latin typeface="TeleGrotesk Headline"/>
              <a:cs typeface="TeleGrotesk Headline Ultra"/>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71714" name="Object 34"/>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71714" name="think-cell Folie" r:id="rId5" imgW="360" imgH="360" progId="">
              <p:embed/>
            </p:oleObj>
          </a:graphicData>
        </a:graphic>
      </p:graphicFrame>
      <p:sp>
        <p:nvSpPr>
          <p:cNvPr id="71716" name="Rectangle 6"/>
          <p:cNvSpPr>
            <a:spLocks noGrp="1"/>
          </p:cNvSpPr>
          <p:nvPr>
            <p:ph type="ctrTitle"/>
          </p:nvPr>
        </p:nvSpPr>
        <p:spPr>
          <a:xfrm>
            <a:off x="304800" y="1773238"/>
            <a:ext cx="8496300" cy="830262"/>
          </a:xfrm>
        </p:spPr>
        <p:txBody>
          <a:bodyPr/>
          <a:lstStyle/>
          <a:p>
            <a:pPr eaLnBrk="1" hangingPunct="1"/>
            <a:r>
              <a:rPr lang="en-US">
                <a:latin typeface="TeleGrotesk Headline Ultra"/>
                <a:cs typeface="TeleGrotesk Headline Ultra"/>
              </a:rPr>
              <a:t>THANK YOU!</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71727"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71727" name="think-cell Folie" r:id="rId5" imgW="360" imgH="360" progId="">
              <p:embed/>
            </p:oleObj>
          </a:graphicData>
        </a:graphic>
      </p:graphicFrame>
      <p:sp>
        <p:nvSpPr>
          <p:cNvPr id="371729" name="Rectangle 1037"/>
          <p:cNvSpPr>
            <a:spLocks noGrp="1"/>
          </p:cNvSpPr>
          <p:nvPr>
            <p:ph type="ctrTitle"/>
          </p:nvPr>
        </p:nvSpPr>
        <p:spPr>
          <a:xfrm>
            <a:off x="304800" y="1773238"/>
            <a:ext cx="8496300" cy="1219200"/>
          </a:xfrm>
        </p:spPr>
        <p:txBody>
          <a:bodyPr/>
          <a:lstStyle/>
          <a:p>
            <a:pPr eaLnBrk="1" hangingPunct="1"/>
            <a:r>
              <a:rPr lang="en-US" sz="4400">
                <a:latin typeface="TeleGrotesk Headline Ultra"/>
                <a:cs typeface="TeleGrotesk Headline Ultra"/>
              </a:rPr>
              <a:t>Backup</a:t>
            </a:r>
            <a:br>
              <a:rPr lang="en-US" sz="4400">
                <a:latin typeface="TeleGrotesk Headline Ultra"/>
                <a:cs typeface="TeleGrotesk Headline Ultra"/>
              </a:rPr>
            </a:br>
            <a:r>
              <a:rPr lang="en-US" sz="4400">
                <a:latin typeface="TeleGrotesk Headline"/>
                <a:cs typeface="TeleGrotesk Headline Ultra"/>
              </a:rPr>
              <a:t>T-City Project Examples</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88450" name="Titel 1"/>
          <p:cNvSpPr>
            <a:spLocks noGrp="1"/>
          </p:cNvSpPr>
          <p:nvPr>
            <p:ph type="title" idx="4294967295"/>
          </p:nvPr>
        </p:nvSpPr>
        <p:spPr/>
        <p:txBody>
          <a:bodyPr/>
          <a:lstStyle/>
          <a:p>
            <a:pPr eaLnBrk="1" hangingPunct="1"/>
            <a:r>
              <a:rPr lang="en-US" smtClean="0">
                <a:latin typeface="TeleGrotesk Headline Ultra"/>
                <a:cs typeface="TeleGrotesk Headline Ultra"/>
              </a:rPr>
              <a:t>Project Examples</a:t>
            </a:r>
          </a:p>
        </p:txBody>
      </p:sp>
      <p:sp>
        <p:nvSpPr>
          <p:cNvPr id="3" name="Auf der gleichen Seite des Rechtecks liegende Ecken abrunden 2"/>
          <p:cNvSpPr/>
          <p:nvPr/>
        </p:nvSpPr>
        <p:spPr bwMode="auto">
          <a:xfrm>
            <a:off x="7764463" y="-241300"/>
            <a:ext cx="1073150" cy="1116013"/>
          </a:xfrm>
          <a:prstGeom prst="round2SameRect">
            <a:avLst>
              <a:gd name="adj1" fmla="val 0"/>
              <a:gd name="adj2" fmla="val 9174"/>
            </a:avLst>
          </a:prstGeom>
          <a:solidFill>
            <a:schemeClr val="bg1"/>
          </a:solidFill>
          <a:ln w="12700" algn="ctr">
            <a:noFill/>
            <a:round/>
            <a:headEnd/>
            <a:tailEnd/>
          </a:ln>
          <a:effectLst>
            <a:outerShdw blurRad="228600" dist="114300" dir="2700000" algn="tl" rotWithShape="0">
              <a:prstClr val="black">
                <a:alpha val="40000"/>
              </a:prstClr>
            </a:outerShdw>
          </a:effectLst>
        </p:spPr>
        <p:txBody>
          <a:bodyPr lIns="72000" tIns="72000" rIns="0" bIns="36000"/>
          <a:lstStyle/>
          <a:p>
            <a:pPr marL="176213" indent="-176213">
              <a:lnSpc>
                <a:spcPts val="1800"/>
              </a:lnSpc>
              <a:spcBef>
                <a:spcPts val="0"/>
              </a:spcBef>
              <a:buClr>
                <a:schemeClr val="tx2"/>
              </a:buClr>
              <a:buSzPct val="75000"/>
              <a:buFont typeface="Wingdings" pitchFamily="2" charset="2"/>
              <a:buNone/>
              <a:defRPr/>
            </a:pPr>
            <a:endParaRPr lang="en-US" sz="2400" dirty="0">
              <a:solidFill>
                <a:srgbClr val="E20074"/>
              </a:solidFill>
              <a:latin typeface="+mj-lt"/>
            </a:endParaRPr>
          </a:p>
        </p:txBody>
      </p:sp>
      <p:pic>
        <p:nvPicPr>
          <p:cNvPr id="488452" name="Picture 21" descr="schaubild_gesamt_wirLebenZukunft"/>
          <p:cNvPicPr>
            <a:picLocks noChangeAspect="1" noChangeArrowheads="1"/>
          </p:cNvPicPr>
          <p:nvPr/>
        </p:nvPicPr>
        <p:blipFill>
          <a:blip r:embed="rId4">
            <a:clrChange>
              <a:clrFrom>
                <a:srgbClr val="FFFFFF"/>
              </a:clrFrom>
              <a:clrTo>
                <a:srgbClr val="FFFFFF">
                  <a:alpha val="0"/>
                </a:srgbClr>
              </a:clrTo>
            </a:clrChange>
          </a:blip>
          <a:srcRect l="59911" t="76836" r="20169" b="3918"/>
          <a:stretch>
            <a:fillRect/>
          </a:stretch>
        </p:blipFill>
        <p:spPr bwMode="auto">
          <a:xfrm>
            <a:off x="7875588" y="306388"/>
            <a:ext cx="866775" cy="439737"/>
          </a:xfrm>
          <a:prstGeom prst="rect">
            <a:avLst/>
          </a:prstGeom>
          <a:noFill/>
          <a:ln w="9525">
            <a:noFill/>
            <a:miter lim="800000"/>
            <a:headEnd/>
            <a:tailEnd/>
          </a:ln>
        </p:spPr>
      </p:pic>
      <p:sp>
        <p:nvSpPr>
          <p:cNvPr id="13" name="AutoShape 2" descr="verlauf hellgrau"/>
          <p:cNvSpPr>
            <a:spLocks noChangeArrowheads="1"/>
          </p:cNvSpPr>
          <p:nvPr>
            <p:custDataLst>
              <p:tags r:id="rId1"/>
            </p:custDataLst>
          </p:nvPr>
        </p:nvSpPr>
        <p:spPr bwMode="gray">
          <a:xfrm>
            <a:off x="304800" y="1484313"/>
            <a:ext cx="4135438" cy="4748212"/>
          </a:xfrm>
          <a:prstGeom prst="roundRect">
            <a:avLst>
              <a:gd name="adj" fmla="val 2158"/>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a:buClr>
                <a:schemeClr val="tx2"/>
              </a:buClr>
              <a:buSzPct val="75000"/>
              <a:buFont typeface="Wingdings" pitchFamily="2" charset="2"/>
              <a:buNone/>
              <a:defRPr/>
            </a:pPr>
            <a:endParaRPr lang="en-US" sz="2400" dirty="0">
              <a:solidFill>
                <a:srgbClr val="E20074"/>
              </a:solidFill>
              <a:latin typeface="Tele-GroteskFet" pitchFamily="2" charset="0"/>
            </a:endParaRPr>
          </a:p>
          <a:p>
            <a:pPr>
              <a:buClr>
                <a:schemeClr val="tx2"/>
              </a:buClr>
              <a:buSzPct val="75000"/>
              <a:buFont typeface="Wingdings" pitchFamily="2" charset="2"/>
              <a:buNone/>
              <a:defRPr/>
            </a:pPr>
            <a:endParaRPr lang="en-US" sz="2400" dirty="0">
              <a:solidFill>
                <a:srgbClr val="E20074"/>
              </a:solidFill>
              <a:latin typeface="Tele-GroteskFet" pitchFamily="2" charset="0"/>
            </a:endParaRPr>
          </a:p>
          <a:p>
            <a:pPr>
              <a:buClr>
                <a:schemeClr val="tx2"/>
              </a:buClr>
              <a:buSzPct val="75000"/>
              <a:buFont typeface="Wingdings" pitchFamily="2" charset="2"/>
              <a:buNone/>
              <a:defRPr/>
            </a:pPr>
            <a:endParaRPr lang="en-US" sz="2400" dirty="0">
              <a:solidFill>
                <a:srgbClr val="E20074"/>
              </a:solidFill>
              <a:latin typeface="Tele-GroteskFet" pitchFamily="2" charset="0"/>
            </a:endParaRPr>
          </a:p>
          <a:p>
            <a:pPr>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Support for elderly for long-term living in their own home</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Housekeeper services, food or medicine delivery services, food on wheels, public transport information</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Video telephony for social contacts</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Overview of electricity, water and gas consumption</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Telemedicine </a:t>
            </a:r>
            <a:br>
              <a:rPr lang="en-US" sz="1400" dirty="0">
                <a:solidFill>
                  <a:srgbClr val="000000"/>
                </a:solidFill>
                <a:latin typeface="Tele-GroteskFet" pitchFamily="2" charset="0"/>
              </a:rPr>
            </a:br>
            <a:r>
              <a:rPr lang="en-US" sz="1400" dirty="0">
                <a:solidFill>
                  <a:srgbClr val="000000"/>
                </a:solidFill>
                <a:latin typeface="Tele-GroteskFet" pitchFamily="2" charset="0"/>
              </a:rPr>
              <a:t>(diabetes, high blood pressure, etc.)</a:t>
            </a:r>
          </a:p>
          <a:p>
            <a:pPr eaLnBrk="0" hangingPunct="0">
              <a:spcBef>
                <a:spcPts val="600"/>
              </a:spcBef>
              <a:buClr>
                <a:srgbClr val="E20074"/>
              </a:buClr>
              <a:buSzPct val="75000"/>
              <a:buFont typeface="Wingdings" pitchFamily="2" charset="2"/>
              <a:buChar char="§"/>
              <a:defRPr/>
            </a:pPr>
            <a:endParaRPr lang="en-US" sz="1400" dirty="0">
              <a:solidFill>
                <a:srgbClr val="000000"/>
              </a:solidFill>
              <a:latin typeface="Tele-GroteskFet" pitchFamily="2" charset="0"/>
            </a:endParaRPr>
          </a:p>
        </p:txBody>
      </p:sp>
      <p:sp>
        <p:nvSpPr>
          <p:cNvPr id="15" name="Auf der gleichen Seite des Rechtecks liegende Ecken abrunden 14"/>
          <p:cNvSpPr/>
          <p:nvPr/>
        </p:nvSpPr>
        <p:spPr>
          <a:xfrm>
            <a:off x="304800" y="1484313"/>
            <a:ext cx="4135438" cy="1752600"/>
          </a:xfrm>
          <a:prstGeom prst="round2SameRect">
            <a:avLst>
              <a:gd name="adj1" fmla="val 5947"/>
              <a:gd name="adj2" fmla="val 0"/>
            </a:avLst>
          </a:prstGeom>
          <a:gradFill>
            <a:gsLst>
              <a:gs pos="40000">
                <a:srgbClr val="CCCCCC"/>
              </a:gs>
              <a:gs pos="100000">
                <a:srgbClr val="999999"/>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lstStyle/>
          <a:p>
            <a:pPr>
              <a:buClr>
                <a:schemeClr val="tx2"/>
              </a:buClr>
              <a:buSzPct val="75000"/>
              <a:buFont typeface="Wingdings" pitchFamily="2" charset="2"/>
              <a:buNone/>
              <a:defRPr/>
            </a:pPr>
            <a:r>
              <a:rPr lang="en-US" sz="2400" dirty="0">
                <a:solidFill>
                  <a:schemeClr val="tx2"/>
                </a:solidFill>
                <a:latin typeface="+mj-lt"/>
              </a:rPr>
              <a:t>Self-determined </a:t>
            </a:r>
            <a:br>
              <a:rPr lang="en-US" sz="2400" dirty="0">
                <a:solidFill>
                  <a:schemeClr val="tx2"/>
                </a:solidFill>
                <a:latin typeface="+mj-lt"/>
              </a:rPr>
            </a:br>
            <a:r>
              <a:rPr lang="en-US" sz="2400" dirty="0">
                <a:solidFill>
                  <a:schemeClr val="tx2"/>
                </a:solidFill>
                <a:latin typeface="+mj-lt"/>
              </a:rPr>
              <a:t>Living</a:t>
            </a:r>
          </a:p>
        </p:txBody>
      </p:sp>
      <p:pic>
        <p:nvPicPr>
          <p:cNvPr id="14" name="Picture 6" descr="desktop"/>
          <p:cNvPicPr>
            <a:picLocks noChangeAspect="1" noChangeArrowheads="1"/>
          </p:cNvPicPr>
          <p:nvPr/>
        </p:nvPicPr>
        <p:blipFill>
          <a:blip r:embed="rId5" cstate="print"/>
          <a:srcRect/>
          <a:stretch>
            <a:fillRect/>
          </a:stretch>
        </p:blipFill>
        <p:spPr bwMode="auto">
          <a:xfrm>
            <a:off x="2360268" y="1555655"/>
            <a:ext cx="1999759" cy="1599646"/>
          </a:xfrm>
          <a:prstGeom prst="roundRect">
            <a:avLst>
              <a:gd name="adj" fmla="val 2865"/>
            </a:avLst>
          </a:prstGeom>
          <a:noFill/>
          <a:ln w="9525" algn="ctr">
            <a:noFill/>
            <a:miter lim="800000"/>
            <a:headEnd/>
            <a:tailEnd/>
          </a:ln>
          <a:effectLst>
            <a:innerShdw blurRad="63500" dist="50800" dir="13500000">
              <a:prstClr val="black">
                <a:alpha val="50000"/>
              </a:prstClr>
            </a:innerShdw>
          </a:effectLst>
        </p:spPr>
      </p:pic>
      <p:sp>
        <p:nvSpPr>
          <p:cNvPr id="16" name="AutoShape 2" descr="verlauf hellgrau"/>
          <p:cNvSpPr>
            <a:spLocks noChangeArrowheads="1"/>
          </p:cNvSpPr>
          <p:nvPr>
            <p:custDataLst>
              <p:tags r:id="rId2"/>
            </p:custDataLst>
          </p:nvPr>
        </p:nvSpPr>
        <p:spPr bwMode="gray">
          <a:xfrm>
            <a:off x="4692650" y="1484313"/>
            <a:ext cx="4135438" cy="4748212"/>
          </a:xfrm>
          <a:prstGeom prst="roundRect">
            <a:avLst>
              <a:gd name="adj" fmla="val 2158"/>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Cancer physicians from Konstanz and Friedrichshafen consult with each other online </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Software simulates procedures of weekly on-site tumor conferences</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Video conference with integrated electronic patient files including BSI-certified data security</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Authentication through certificates and digital signature</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High resolution presentation of x-ray images</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Treatment plan is created simultaneously</a:t>
            </a:r>
          </a:p>
          <a:p>
            <a:pPr marL="182563" indent="-182563" eaLnBrk="0" hangingPunct="0">
              <a:spcBef>
                <a:spcPts val="300"/>
              </a:spcBef>
              <a:buClr>
                <a:srgbClr val="E20074"/>
              </a:buClr>
              <a:buSzPct val="75000"/>
              <a:buFont typeface="Wingdings" pitchFamily="2" charset="2"/>
              <a:buChar char="§"/>
              <a:defRPr/>
            </a:pPr>
            <a:r>
              <a:rPr lang="en-US" sz="1400" dirty="0">
                <a:solidFill>
                  <a:srgbClr val="000000"/>
                </a:solidFill>
                <a:latin typeface="Tele-GroteskFet" pitchFamily="2" charset="0"/>
              </a:rPr>
              <a:t>Better treatment through working together more effectively</a:t>
            </a:r>
          </a:p>
        </p:txBody>
      </p:sp>
      <p:sp>
        <p:nvSpPr>
          <p:cNvPr id="17" name="Auf der gleichen Seite des Rechtecks liegende Ecken abrunden 16"/>
          <p:cNvSpPr/>
          <p:nvPr/>
        </p:nvSpPr>
        <p:spPr>
          <a:xfrm>
            <a:off x="4692650" y="1484313"/>
            <a:ext cx="4135438" cy="1752600"/>
          </a:xfrm>
          <a:prstGeom prst="round2SameRect">
            <a:avLst>
              <a:gd name="adj1" fmla="val 5490"/>
              <a:gd name="adj2" fmla="val 0"/>
            </a:avLst>
          </a:prstGeom>
          <a:gradFill>
            <a:gsLst>
              <a:gs pos="40000">
                <a:srgbClr val="CCCCCC"/>
              </a:gs>
              <a:gs pos="100000">
                <a:srgbClr val="999999"/>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lstStyle/>
          <a:p>
            <a:pPr>
              <a:buClr>
                <a:schemeClr val="tx2"/>
              </a:buClr>
              <a:buSzPct val="75000"/>
              <a:buFont typeface="Wingdings" pitchFamily="2" charset="2"/>
              <a:buNone/>
              <a:defRPr/>
            </a:pPr>
            <a:r>
              <a:rPr lang="en-US" sz="2400" dirty="0">
                <a:solidFill>
                  <a:schemeClr val="tx2"/>
                </a:solidFill>
                <a:latin typeface="+mj-lt"/>
              </a:rPr>
              <a:t>Tumor </a:t>
            </a:r>
            <a:br>
              <a:rPr lang="en-US" sz="2400" dirty="0">
                <a:solidFill>
                  <a:schemeClr val="tx2"/>
                </a:solidFill>
                <a:latin typeface="+mj-lt"/>
              </a:rPr>
            </a:br>
            <a:r>
              <a:rPr lang="en-US" sz="2400" dirty="0">
                <a:solidFill>
                  <a:schemeClr val="tx2"/>
                </a:solidFill>
                <a:latin typeface="+mj-lt"/>
              </a:rPr>
              <a:t>Conference</a:t>
            </a:r>
          </a:p>
        </p:txBody>
      </p:sp>
      <p:pic>
        <p:nvPicPr>
          <p:cNvPr id="19" name="Picture 7"/>
          <p:cNvPicPr>
            <a:picLocks noChangeAspect="1" noChangeArrowheads="1"/>
          </p:cNvPicPr>
          <p:nvPr/>
        </p:nvPicPr>
        <p:blipFill>
          <a:blip r:embed="rId6" cstate="print"/>
          <a:srcRect/>
          <a:stretch>
            <a:fillRect/>
          </a:stretch>
        </p:blipFill>
        <p:spPr bwMode="auto">
          <a:xfrm>
            <a:off x="6826585" y="1549672"/>
            <a:ext cx="1920595" cy="1605630"/>
          </a:xfrm>
          <a:prstGeom prst="roundRect">
            <a:avLst>
              <a:gd name="adj" fmla="val 2865"/>
            </a:avLst>
          </a:prstGeom>
          <a:noFill/>
          <a:ln w="9525" algn="ctr">
            <a:noFill/>
            <a:miter lim="800000"/>
            <a:headEnd/>
            <a:tailEnd/>
          </a:ln>
          <a:effectLst>
            <a:innerShdw blurRad="63500" dist="50800" dir="13500000">
              <a:prstClr val="black">
                <a:alpha val="50000"/>
              </a:prstClr>
            </a:innerShdw>
          </a:effectLst>
        </p:spPr>
      </p:pic>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89474" name="Titel 1"/>
          <p:cNvSpPr>
            <a:spLocks noGrp="1"/>
          </p:cNvSpPr>
          <p:nvPr>
            <p:ph type="title" idx="4294967295"/>
          </p:nvPr>
        </p:nvSpPr>
        <p:spPr/>
        <p:txBody>
          <a:bodyPr/>
          <a:lstStyle/>
          <a:p>
            <a:pPr eaLnBrk="1" hangingPunct="1"/>
            <a:r>
              <a:rPr lang="en-US" smtClean="0">
                <a:latin typeface="TeleGrotesk Headline Ultra"/>
                <a:cs typeface="TeleGrotesk Headline Ultra"/>
              </a:rPr>
              <a:t>Project Examples.</a:t>
            </a:r>
          </a:p>
        </p:txBody>
      </p:sp>
      <p:sp>
        <p:nvSpPr>
          <p:cNvPr id="8" name="Auf der gleichen Seite des Rechtecks liegende Ecken abrunden 7"/>
          <p:cNvSpPr/>
          <p:nvPr/>
        </p:nvSpPr>
        <p:spPr bwMode="auto">
          <a:xfrm>
            <a:off x="7764463" y="-241300"/>
            <a:ext cx="1073150" cy="1116013"/>
          </a:xfrm>
          <a:prstGeom prst="round2SameRect">
            <a:avLst>
              <a:gd name="adj1" fmla="val 0"/>
              <a:gd name="adj2" fmla="val 9174"/>
            </a:avLst>
          </a:prstGeom>
          <a:solidFill>
            <a:schemeClr val="bg1"/>
          </a:solidFill>
          <a:ln w="12700" algn="ctr">
            <a:noFill/>
            <a:round/>
            <a:headEnd/>
            <a:tailEnd/>
          </a:ln>
          <a:effectLst>
            <a:outerShdw blurRad="228600" dist="114300" dir="2700000" algn="tl" rotWithShape="0">
              <a:prstClr val="black">
                <a:alpha val="40000"/>
              </a:prstClr>
            </a:outerShdw>
          </a:effectLst>
        </p:spPr>
        <p:txBody>
          <a:bodyPr lIns="72000" tIns="72000" rIns="0" bIns="36000"/>
          <a:lstStyle/>
          <a:p>
            <a:pPr marL="176213" indent="-176213">
              <a:lnSpc>
                <a:spcPts val="1800"/>
              </a:lnSpc>
              <a:spcBef>
                <a:spcPts val="0"/>
              </a:spcBef>
              <a:buClr>
                <a:schemeClr val="tx2"/>
              </a:buClr>
              <a:buSzPct val="75000"/>
              <a:buFont typeface="Wingdings" pitchFamily="2" charset="2"/>
              <a:buNone/>
              <a:defRPr/>
            </a:pPr>
            <a:endParaRPr lang="en-US" sz="2400" dirty="0">
              <a:solidFill>
                <a:srgbClr val="E20074"/>
              </a:solidFill>
              <a:latin typeface="+mj-lt"/>
            </a:endParaRPr>
          </a:p>
        </p:txBody>
      </p:sp>
      <p:sp>
        <p:nvSpPr>
          <p:cNvPr id="9" name="AutoShape 2" descr="verlauf hellgrau"/>
          <p:cNvSpPr>
            <a:spLocks noChangeArrowheads="1"/>
          </p:cNvSpPr>
          <p:nvPr>
            <p:custDataLst>
              <p:tags r:id="rId1"/>
            </p:custDataLst>
          </p:nvPr>
        </p:nvSpPr>
        <p:spPr bwMode="gray">
          <a:xfrm>
            <a:off x="304800" y="1484313"/>
            <a:ext cx="4135438" cy="4776787"/>
          </a:xfrm>
          <a:prstGeom prst="roundRect">
            <a:avLst>
              <a:gd name="adj" fmla="val 2158"/>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82563" indent="-182563">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eaLnBrk="0" hangingPunct="0">
              <a:lnSpc>
                <a:spcPts val="1800"/>
              </a:lnSpc>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Online Kindergarten portal for all kindergartens in Friedrichshafen for parents and administration</a:t>
            </a:r>
          </a:p>
          <a:p>
            <a:pPr marL="182563" indent="-182563" eaLnBrk="0" hangingPunct="0">
              <a:lnSpc>
                <a:spcPts val="1800"/>
              </a:lnSpc>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Makes searching easier for parents and saves time</a:t>
            </a:r>
          </a:p>
          <a:p>
            <a:pPr marL="182563" indent="-182563" eaLnBrk="0" hangingPunct="0">
              <a:lnSpc>
                <a:spcPts val="1800"/>
              </a:lnSpc>
              <a:buClr>
                <a:srgbClr val="E20074"/>
              </a:buClr>
              <a:buSzPct val="75000"/>
              <a:buFont typeface="Wingdings" pitchFamily="2" charset="2"/>
              <a:buChar char="§"/>
              <a:defRPr/>
            </a:pPr>
            <a:r>
              <a:rPr lang="en-US" sz="1400" dirty="0">
                <a:solidFill>
                  <a:srgbClr val="000000"/>
                </a:solidFill>
                <a:latin typeface="Tele-GroteskFet" pitchFamily="2" charset="0"/>
              </a:rPr>
              <a:t>View all kindergartens in the Internet</a:t>
            </a:r>
          </a:p>
          <a:p>
            <a:pPr marL="182563" indent="-182563" eaLnBrk="0" hangingPunct="0">
              <a:lnSpc>
                <a:spcPts val="1800"/>
              </a:lnSpc>
              <a:buClr>
                <a:srgbClr val="E20074"/>
              </a:buClr>
              <a:buSzPct val="75000"/>
              <a:buFont typeface="Wingdings" pitchFamily="2" charset="2"/>
              <a:buChar char="§"/>
              <a:defRPr/>
            </a:pPr>
            <a:r>
              <a:rPr lang="en-US" sz="1400" dirty="0">
                <a:solidFill>
                  <a:srgbClr val="000000"/>
                </a:solidFill>
                <a:latin typeface="Tele-GroteskFet" pitchFamily="2" charset="0"/>
              </a:rPr>
              <a:t>Specify desired kindergarten at a mouse click</a:t>
            </a:r>
          </a:p>
          <a:p>
            <a:pPr marL="182563" indent="-182563" eaLnBrk="0" hangingPunct="0">
              <a:lnSpc>
                <a:spcPts val="1800"/>
              </a:lnSpc>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Administration obtains transparency on actual place requirements</a:t>
            </a:r>
          </a:p>
          <a:p>
            <a:pPr marL="182563" indent="-182563" eaLnBrk="0" hangingPunct="0">
              <a:lnSpc>
                <a:spcPts val="1800"/>
              </a:lnSpc>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Simplifies the administration organization</a:t>
            </a:r>
          </a:p>
          <a:p>
            <a:pPr marL="182563" indent="-182563" eaLnBrk="0" hangingPunct="0">
              <a:lnSpc>
                <a:spcPts val="1800"/>
              </a:lnSpc>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www.kindergarten.friedrichshafen.de</a:t>
            </a:r>
          </a:p>
        </p:txBody>
      </p:sp>
      <p:sp>
        <p:nvSpPr>
          <p:cNvPr id="10" name="Auf der gleichen Seite des Rechtecks liegende Ecken abrunden 9"/>
          <p:cNvSpPr/>
          <p:nvPr/>
        </p:nvSpPr>
        <p:spPr>
          <a:xfrm>
            <a:off x="304800" y="1484313"/>
            <a:ext cx="4135438" cy="1752600"/>
          </a:xfrm>
          <a:prstGeom prst="round2SameRect">
            <a:avLst>
              <a:gd name="adj1" fmla="val 5947"/>
              <a:gd name="adj2" fmla="val 0"/>
            </a:avLst>
          </a:prstGeom>
          <a:gradFill>
            <a:gsLst>
              <a:gs pos="40000">
                <a:srgbClr val="CCCCCC"/>
              </a:gs>
              <a:gs pos="100000">
                <a:srgbClr val="999999"/>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lstStyle/>
          <a:p>
            <a:pPr>
              <a:buClr>
                <a:schemeClr val="tx2"/>
              </a:buClr>
              <a:buSzPct val="75000"/>
              <a:buFont typeface="Wingdings" pitchFamily="2" charset="2"/>
              <a:buNone/>
              <a:defRPr/>
            </a:pPr>
            <a:r>
              <a:rPr lang="en-US" sz="2400" dirty="0">
                <a:solidFill>
                  <a:schemeClr val="tx2"/>
                </a:solidFill>
                <a:latin typeface="+mj-lt"/>
              </a:rPr>
              <a:t>Online </a:t>
            </a:r>
            <a:br>
              <a:rPr lang="en-US" sz="2400" dirty="0">
                <a:solidFill>
                  <a:schemeClr val="tx2"/>
                </a:solidFill>
                <a:latin typeface="+mj-lt"/>
              </a:rPr>
            </a:br>
            <a:r>
              <a:rPr lang="en-US" sz="2400" dirty="0">
                <a:solidFill>
                  <a:schemeClr val="tx2"/>
                </a:solidFill>
                <a:latin typeface="+mj-lt"/>
              </a:rPr>
              <a:t>Kindergarten</a:t>
            </a:r>
          </a:p>
        </p:txBody>
      </p:sp>
      <p:pic>
        <p:nvPicPr>
          <p:cNvPr id="11" name="Picture 6"/>
          <p:cNvPicPr>
            <a:picLocks noChangeAspect="1" noChangeArrowheads="1"/>
          </p:cNvPicPr>
          <p:nvPr/>
        </p:nvPicPr>
        <p:blipFill>
          <a:blip r:embed="rId4" cstate="print">
            <a:extLst/>
          </a:blip>
          <a:stretch>
            <a:fillRect/>
          </a:stretch>
        </p:blipFill>
        <p:spPr bwMode="auto">
          <a:xfrm>
            <a:off x="2360369" y="1555655"/>
            <a:ext cx="1999557" cy="1599646"/>
          </a:xfrm>
          <a:prstGeom prst="roundRect">
            <a:avLst>
              <a:gd name="adj" fmla="val 2865"/>
            </a:avLst>
          </a:prstGeom>
          <a:noFill/>
          <a:ln w="9525" algn="ctr">
            <a:noFill/>
            <a:miter lim="800000"/>
            <a:headEnd/>
            <a:tailEnd/>
          </a:ln>
          <a:effectLst>
            <a:innerShdw blurRad="63500" dist="50800" dir="13500000">
              <a:prstClr val="black">
                <a:alpha val="50000"/>
              </a:prstClr>
            </a:innerShdw>
          </a:effectLst>
        </p:spPr>
      </p:pic>
      <p:sp>
        <p:nvSpPr>
          <p:cNvPr id="13" name="AutoShape 2" descr="verlauf hellgrau"/>
          <p:cNvSpPr>
            <a:spLocks noChangeArrowheads="1"/>
          </p:cNvSpPr>
          <p:nvPr>
            <p:custDataLst>
              <p:tags r:id="rId2"/>
            </p:custDataLst>
          </p:nvPr>
        </p:nvSpPr>
        <p:spPr bwMode="gray">
          <a:xfrm>
            <a:off x="4692650" y="1484313"/>
            <a:ext cx="4135438" cy="4776787"/>
          </a:xfrm>
          <a:prstGeom prst="roundRect">
            <a:avLst>
              <a:gd name="adj" fmla="val 2158"/>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a:lnSpc>
                <a:spcPts val="1800"/>
              </a:lnSpc>
              <a:buClr>
                <a:schemeClr val="tx2"/>
              </a:buClr>
              <a:buSzPct val="75000"/>
              <a:buFont typeface="Wingdings" pitchFamily="2" charset="2"/>
              <a:buNone/>
              <a:defRPr/>
            </a:pPr>
            <a:endParaRPr lang="en-US" sz="2400" dirty="0">
              <a:solidFill>
                <a:srgbClr val="E20074"/>
              </a:solidFill>
              <a:latin typeface="Tele-GroteskFet" pitchFamily="2" charset="0"/>
            </a:endParaRPr>
          </a:p>
          <a:p>
            <a:pPr>
              <a:buClr>
                <a:schemeClr val="tx2"/>
              </a:buClr>
              <a:buSzPct val="75000"/>
              <a:buFont typeface="Wingdings" pitchFamily="2" charset="2"/>
              <a:buNone/>
              <a:defRPr/>
            </a:pPr>
            <a:endParaRPr lang="en-US" sz="2400" dirty="0">
              <a:solidFill>
                <a:srgbClr val="E20074"/>
              </a:solidFill>
              <a:latin typeface="Tele-GroteskFet" pitchFamily="2" charset="0"/>
            </a:endParaRP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Binding and confidential electronic communication</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Saves postage, printing &amp; paper</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As easy as e-mail</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Encryption protects against access</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Prevents spam</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Can be used 24/7 all over the world</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Telekom certified by BSI as a secure De-Mail provider</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T-City as first pilot location</a:t>
            </a:r>
          </a:p>
          <a:p>
            <a:pPr marL="182563" indent="-182563" eaLnBrk="0" hangingPunct="0">
              <a:spcBef>
                <a:spcPts val="600"/>
              </a:spcBef>
              <a:buClr>
                <a:srgbClr val="E20074"/>
              </a:buClr>
              <a:buSzPct val="75000"/>
              <a:buFont typeface="Wingdings" pitchFamily="2" charset="2"/>
              <a:buChar char="§"/>
              <a:defRPr/>
            </a:pPr>
            <a:r>
              <a:rPr lang="en-US" sz="1400" dirty="0">
                <a:solidFill>
                  <a:srgbClr val="000000"/>
                </a:solidFill>
                <a:latin typeface="Tele-GroteskFet" pitchFamily="2" charset="0"/>
              </a:rPr>
              <a:t> Product launched in 2012</a:t>
            </a:r>
          </a:p>
        </p:txBody>
      </p:sp>
      <p:sp>
        <p:nvSpPr>
          <p:cNvPr id="14" name="Auf der gleichen Seite des Rechtecks liegende Ecken abrunden 13"/>
          <p:cNvSpPr/>
          <p:nvPr/>
        </p:nvSpPr>
        <p:spPr>
          <a:xfrm>
            <a:off x="4692650" y="1484313"/>
            <a:ext cx="4135438" cy="1752600"/>
          </a:xfrm>
          <a:prstGeom prst="round2SameRect">
            <a:avLst>
              <a:gd name="adj1" fmla="val 5490"/>
              <a:gd name="adj2" fmla="val 0"/>
            </a:avLst>
          </a:prstGeom>
          <a:gradFill>
            <a:gsLst>
              <a:gs pos="40000">
                <a:srgbClr val="CCCCCC"/>
              </a:gs>
              <a:gs pos="100000">
                <a:srgbClr val="999999"/>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0"/>
          <a:lstStyle/>
          <a:p>
            <a:pPr>
              <a:buClr>
                <a:schemeClr val="tx2"/>
              </a:buClr>
              <a:buSzPct val="75000"/>
              <a:buFont typeface="Wingdings" pitchFamily="2" charset="2"/>
              <a:buNone/>
              <a:defRPr/>
            </a:pPr>
            <a:r>
              <a:rPr lang="en-US" sz="2400" dirty="0" err="1">
                <a:solidFill>
                  <a:schemeClr val="tx2"/>
                </a:solidFill>
                <a:latin typeface="+mj-lt"/>
              </a:rPr>
              <a:t>DeMail</a:t>
            </a:r>
            <a:endParaRPr lang="en-US" sz="2400" dirty="0">
              <a:solidFill>
                <a:schemeClr val="tx2"/>
              </a:solidFill>
              <a:latin typeface="+mj-lt"/>
            </a:endParaRPr>
          </a:p>
        </p:txBody>
      </p:sp>
      <p:pic>
        <p:nvPicPr>
          <p:cNvPr id="489481" name="Picture 41" descr="schaubild_gesamt_wirLebenZukunft"/>
          <p:cNvPicPr>
            <a:picLocks noChangeArrowheads="1"/>
          </p:cNvPicPr>
          <p:nvPr/>
        </p:nvPicPr>
        <p:blipFill>
          <a:blip r:embed="rId5">
            <a:clrChange>
              <a:clrFrom>
                <a:srgbClr val="FFFFFF"/>
              </a:clrFrom>
              <a:clrTo>
                <a:srgbClr val="FFFFFF">
                  <a:alpha val="0"/>
                </a:srgbClr>
              </a:clrTo>
            </a:clrChange>
          </a:blip>
          <a:srcRect l="20317" t="4793" r="60060" b="73785"/>
          <a:stretch>
            <a:fillRect/>
          </a:stretch>
        </p:blipFill>
        <p:spPr bwMode="auto">
          <a:xfrm>
            <a:off x="7875588" y="290513"/>
            <a:ext cx="863600" cy="423862"/>
          </a:xfrm>
          <a:prstGeom prst="rect">
            <a:avLst/>
          </a:prstGeom>
          <a:noFill/>
          <a:ln w="9525">
            <a:noFill/>
            <a:miter lim="800000"/>
            <a:headEnd/>
            <a:tailEnd/>
          </a:ln>
        </p:spPr>
      </p:pic>
      <p:sp>
        <p:nvSpPr>
          <p:cNvPr id="3" name="Abgerundetes Rechteck 2"/>
          <p:cNvSpPr/>
          <p:nvPr/>
        </p:nvSpPr>
        <p:spPr bwMode="auto">
          <a:xfrm>
            <a:off x="6826584" y="1547813"/>
            <a:ext cx="1920595" cy="1607488"/>
          </a:xfrm>
          <a:prstGeom prst="roundRect">
            <a:avLst>
              <a:gd name="adj" fmla="val 4193"/>
            </a:avLst>
          </a:prstGeom>
          <a:solidFill>
            <a:schemeClr val="bg1"/>
          </a:solidFill>
          <a:ln w="12700" cap="flat" cmpd="sng" algn="ctr">
            <a:noFill/>
            <a:prstDash val="solid"/>
            <a:round/>
            <a:headEnd type="none" w="med" len="med"/>
            <a:tailEnd type="none" w="med" len="med"/>
          </a:ln>
          <a:effectLst>
            <a:innerShdw blurRad="63500" dist="50800" dir="13500000">
              <a:prstClr val="black">
                <a:alpha val="50000"/>
              </a:prstClr>
            </a:innerShdw>
          </a:effectLst>
        </p:spPr>
        <p:txBody>
          <a:bodyPr lIns="0" tIns="0" rIns="0" bIns="0"/>
          <a:lstStyle/>
          <a:p>
            <a:pPr marL="220663" indent="-220663">
              <a:lnSpc>
                <a:spcPts val="1800"/>
              </a:lnSpc>
              <a:spcBef>
                <a:spcPct val="50000"/>
              </a:spcBef>
              <a:buClr>
                <a:schemeClr val="tx2"/>
              </a:buClr>
              <a:buSzPct val="75000"/>
              <a:buFont typeface="Wingdings" pitchFamily="2" charset="2"/>
              <a:buNone/>
              <a:defRPr/>
            </a:pPr>
            <a:endParaRPr lang="en-US" sz="2000" dirty="0">
              <a:latin typeface="Tele-GroteskFet" pitchFamily="2" charset="0"/>
            </a:endParaRPr>
          </a:p>
        </p:txBody>
      </p:sp>
      <p:pic>
        <p:nvPicPr>
          <p:cNvPr id="489485" name="Grafik 3"/>
          <p:cNvPicPr>
            <a:picLocks noChangeAspect="1"/>
          </p:cNvPicPr>
          <p:nvPr/>
        </p:nvPicPr>
        <p:blipFill>
          <a:blip r:embed="rId6"/>
          <a:srcRect/>
          <a:stretch>
            <a:fillRect/>
          </a:stretch>
        </p:blipFill>
        <p:spPr bwMode="auto">
          <a:xfrm>
            <a:off x="7151688" y="1712913"/>
            <a:ext cx="1270000" cy="12954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72752" name="Object 16"/>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372752" name="think-cell Folie" r:id="rId5" imgW="360" imgH="360" progId="">
              <p:embed/>
            </p:oleObj>
          </a:graphicData>
        </a:graphic>
      </p:graphicFrame>
      <p:sp>
        <p:nvSpPr>
          <p:cNvPr id="372754" name="Titel 1"/>
          <p:cNvSpPr>
            <a:spLocks noGrp="1"/>
          </p:cNvSpPr>
          <p:nvPr>
            <p:ph type="title" idx="4294967295"/>
          </p:nvPr>
        </p:nvSpPr>
        <p:spPr>
          <a:xfrm>
            <a:off x="304800" y="333375"/>
            <a:ext cx="8496300" cy="830263"/>
          </a:xfrm>
        </p:spPr>
        <p:txBody>
          <a:bodyPr/>
          <a:lstStyle/>
          <a:p>
            <a:pPr eaLnBrk="1" hangingPunct="1"/>
            <a:r>
              <a:rPr lang="en-US" smtClean="0">
                <a:latin typeface="TeleGrotesk Headline Ultra"/>
                <a:cs typeface="TeleGrotesk Headline Ultra"/>
              </a:rPr>
              <a:t>Spotlight on Energy Projects</a:t>
            </a:r>
            <a:br>
              <a:rPr lang="en-US" smtClean="0">
                <a:latin typeface="TeleGrotesk Headline Ultra"/>
                <a:cs typeface="TeleGrotesk Headline Ultra"/>
              </a:rPr>
            </a:br>
            <a:r>
              <a:rPr lang="en-US" smtClean="0">
                <a:latin typeface="TeleGrotesk Headline"/>
                <a:cs typeface="TeleGrotesk Headline Ultra"/>
              </a:rPr>
              <a:t>Transition to Smart Grids in Practice</a:t>
            </a:r>
          </a:p>
        </p:txBody>
      </p:sp>
      <p:sp>
        <p:nvSpPr>
          <p:cNvPr id="20" name="AutoShape 2" descr="verlauf hellgrau"/>
          <p:cNvSpPr>
            <a:spLocks noChangeArrowheads="1"/>
          </p:cNvSpPr>
          <p:nvPr>
            <p:custDataLst>
              <p:tags r:id="rId3"/>
            </p:custDataLst>
          </p:nvPr>
        </p:nvSpPr>
        <p:spPr bwMode="gray">
          <a:xfrm>
            <a:off x="304800" y="1236663"/>
            <a:ext cx="2700338" cy="4959350"/>
          </a:xfrm>
          <a:prstGeom prst="roundRect">
            <a:avLst>
              <a:gd name="adj" fmla="val 1845"/>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1200"/>
              </a:spcBef>
              <a:buClr>
                <a:schemeClr val="tx2"/>
              </a:buClr>
              <a:buSzPct val="75000"/>
              <a:buFont typeface="Wingdings" pitchFamily="2" charset="2"/>
              <a:buNone/>
              <a:defRPr/>
            </a:pPr>
            <a:r>
              <a:rPr lang="en-US" sz="2400" dirty="0">
                <a:solidFill>
                  <a:srgbClr val="E20074"/>
                </a:solidFill>
                <a:latin typeface="+mj-lt"/>
              </a:rPr>
              <a:t>Energy @ T-City</a:t>
            </a:r>
          </a:p>
          <a:p>
            <a:pPr eaLnBrk="0" hangingPunct="0">
              <a:lnSpc>
                <a:spcPts val="1800"/>
              </a:lnSpc>
              <a:spcBef>
                <a:spcPts val="1200"/>
              </a:spcBef>
              <a:buClr>
                <a:schemeClr val="tx2"/>
              </a:buClr>
              <a:buSzPct val="75000"/>
              <a:buFont typeface="Wingdings" pitchFamily="2" charset="2"/>
              <a:buNone/>
              <a:defRPr/>
            </a:pPr>
            <a:r>
              <a:rPr lang="en-US" sz="1400" dirty="0">
                <a:solidFill>
                  <a:srgbClr val="000000"/>
                </a:solidFill>
                <a:latin typeface="Tele-GroteskFet" pitchFamily="2" charset="0"/>
              </a:rPr>
              <a:t>Objectives</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Test secure ICT infrastructure for new energy world</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Generate benefits for utility and </a:t>
            </a:r>
            <a:br>
              <a:rPr lang="en-US" sz="1200" dirty="0">
                <a:solidFill>
                  <a:srgbClr val="000000"/>
                </a:solidFill>
                <a:latin typeface="Tele-GroteskFet" pitchFamily="2" charset="0"/>
              </a:rPr>
            </a:br>
            <a:r>
              <a:rPr lang="en-US" sz="1200" dirty="0">
                <a:solidFill>
                  <a:srgbClr val="000000"/>
                </a:solidFill>
                <a:latin typeface="Tele-GroteskFet" pitchFamily="2" charset="0"/>
              </a:rPr>
              <a:t>end-users </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Enable energy efficiency: transparency and control</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Integrate prosumers to manage loads and optimize procurement</a:t>
            </a:r>
          </a:p>
          <a:p>
            <a:pPr marL="176213" indent="-176213" eaLnBrk="0" hangingPunct="0">
              <a:lnSpc>
                <a:spcPts val="1800"/>
              </a:lnSpc>
              <a:spcBef>
                <a:spcPts val="1200"/>
              </a:spcBef>
              <a:buClr>
                <a:schemeClr val="tx2"/>
              </a:buClr>
              <a:buSzPct val="75000"/>
              <a:buFont typeface="Wingdings" pitchFamily="2" charset="2"/>
              <a:buChar char="§"/>
              <a:defRPr/>
            </a:pPr>
            <a:r>
              <a:rPr lang="en-US" sz="1400" dirty="0">
                <a:solidFill>
                  <a:srgbClr val="000000"/>
                </a:solidFill>
                <a:latin typeface="Tele-GroteskFet" pitchFamily="2" charset="0"/>
              </a:rPr>
              <a:t>Project examples:</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Smart metering as base</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Home networking</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Smart grid to the home </a:t>
            </a:r>
            <a:br>
              <a:rPr lang="en-US" sz="1200" dirty="0">
                <a:solidFill>
                  <a:srgbClr val="000000"/>
                </a:solidFill>
                <a:latin typeface="Tele-GroteskFet" pitchFamily="2" charset="0"/>
              </a:rPr>
            </a:br>
            <a:r>
              <a:rPr lang="en-US" sz="1200" dirty="0">
                <a:solidFill>
                  <a:srgbClr val="000000"/>
                </a:solidFill>
                <a:latin typeface="Tele-GroteskFet" pitchFamily="2" charset="0"/>
              </a:rPr>
              <a:t>(PV, mCHP, heat pumps)</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Virtual power plants </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Energy efficiency for SME and MNC</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Portals for different stakeholders</a:t>
            </a:r>
          </a:p>
          <a:p>
            <a:pPr marL="176213" indent="-176213" eaLnBrk="0" hangingPunct="0">
              <a:lnSpc>
                <a:spcPts val="1800"/>
              </a:lnSpc>
              <a:spcBef>
                <a:spcPts val="100"/>
              </a:spcBef>
              <a:buClr>
                <a:schemeClr val="tx2"/>
              </a:buClr>
              <a:buSzPct val="75000"/>
              <a:buFont typeface="Wingdings" pitchFamily="2" charset="2"/>
              <a:buChar char="§"/>
              <a:defRPr/>
            </a:pPr>
            <a:r>
              <a:rPr lang="en-US" sz="1200" dirty="0">
                <a:solidFill>
                  <a:srgbClr val="000000"/>
                </a:solidFill>
                <a:latin typeface="Tele-GroteskFet" pitchFamily="2" charset="0"/>
              </a:rPr>
              <a:t>Connected eMobility </a:t>
            </a:r>
          </a:p>
        </p:txBody>
      </p:sp>
      <p:pic>
        <p:nvPicPr>
          <p:cNvPr id="21" name="Grafik 8" descr="wimmelbild_energie_120308.jpg"/>
          <p:cNvPicPr>
            <a:picLocks noChangeAspect="1"/>
          </p:cNvPicPr>
          <p:nvPr/>
        </p:nvPicPr>
        <p:blipFill rotWithShape="1">
          <a:blip r:embed="rId6" cstate="print"/>
          <a:srcRect l="1236" r="3618"/>
          <a:stretch/>
        </p:blipFill>
        <p:spPr bwMode="auto">
          <a:xfrm>
            <a:off x="3181350" y="1241546"/>
            <a:ext cx="5656264" cy="4458620"/>
          </a:xfrm>
          <a:prstGeom prst="roundRect">
            <a:avLst>
              <a:gd name="adj" fmla="val 2354"/>
            </a:avLst>
          </a:prstGeom>
          <a:noFill/>
          <a:ln w="9525">
            <a:noFill/>
            <a:miter lim="800000"/>
            <a:headEnd/>
            <a:tailEnd/>
          </a:ln>
          <a:effectLst>
            <a:outerShdw blurRad="228600" dist="114300" dir="2700000" algn="tl" rotWithShape="0">
              <a:prstClr val="black">
                <a:alpha val="40000"/>
              </a:prstClr>
            </a:outerShdw>
          </a:effectLst>
        </p:spPr>
      </p:pic>
      <p:sp>
        <p:nvSpPr>
          <p:cNvPr id="22" name="Ellipse 21"/>
          <p:cNvSpPr/>
          <p:nvPr/>
        </p:nvSpPr>
        <p:spPr bwMode="auto">
          <a:xfrm>
            <a:off x="4090852" y="2256774"/>
            <a:ext cx="3352914" cy="2961234"/>
          </a:xfrm>
          <a:prstGeom prst="ellipse">
            <a:avLst/>
          </a:prstGeom>
          <a:noFill/>
          <a:ln w="12700" cap="flat" cmpd="sng" algn="ctr">
            <a:solidFill>
              <a:schemeClr val="tx2"/>
            </a:solidFill>
            <a:prstDash val="solid"/>
            <a:round/>
            <a:headEnd type="none" w="med" len="med"/>
            <a:tailEnd type="none" w="med" len="med"/>
          </a:ln>
          <a:effectLst>
            <a:innerShdw blurRad="63500" dist="50800" dir="13500000">
              <a:prstClr val="black">
                <a:alpha val="50000"/>
              </a:prstClr>
            </a:innerShdw>
          </a:effectLst>
        </p:spPr>
        <p:txBody>
          <a:bodyPr lIns="0" tIns="0" rIns="0" bIns="0"/>
          <a:lstStyle/>
          <a:p>
            <a:pPr marL="220663" indent="-220663" algn="ctr">
              <a:lnSpc>
                <a:spcPts val="1800"/>
              </a:lnSpc>
              <a:spcBef>
                <a:spcPct val="50000"/>
              </a:spcBef>
              <a:buClr>
                <a:schemeClr val="tx2"/>
              </a:buClr>
              <a:buSzPct val="75000"/>
              <a:buFont typeface="Wingdings" pitchFamily="2" charset="2"/>
              <a:buNone/>
              <a:defRPr/>
            </a:pPr>
            <a:endParaRPr lang="en-US" sz="2000" dirty="0">
              <a:latin typeface="Tele-GroteskFet" pitchFamily="2" charset="0"/>
            </a:endParaRPr>
          </a:p>
        </p:txBody>
      </p:sp>
      <p:sp>
        <p:nvSpPr>
          <p:cNvPr id="24" name="Textfeld 23"/>
          <p:cNvSpPr txBox="1"/>
          <p:nvPr/>
        </p:nvSpPr>
        <p:spPr>
          <a:xfrm>
            <a:off x="7285078" y="3564001"/>
            <a:ext cx="1520310"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Smart metering</a:t>
            </a:r>
          </a:p>
        </p:txBody>
      </p:sp>
      <p:sp>
        <p:nvSpPr>
          <p:cNvPr id="32" name="Textfeld 31"/>
          <p:cNvSpPr txBox="1"/>
          <p:nvPr/>
        </p:nvSpPr>
        <p:spPr>
          <a:xfrm>
            <a:off x="6371354" y="5029933"/>
            <a:ext cx="1673879"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Energy efficiency</a:t>
            </a:r>
          </a:p>
        </p:txBody>
      </p:sp>
      <p:sp>
        <p:nvSpPr>
          <p:cNvPr id="35" name="Textfeld 34"/>
          <p:cNvSpPr txBox="1"/>
          <p:nvPr/>
        </p:nvSpPr>
        <p:spPr>
          <a:xfrm>
            <a:off x="3287196" y="5017135"/>
            <a:ext cx="1917030"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Connected eMobility</a:t>
            </a:r>
          </a:p>
        </p:txBody>
      </p:sp>
      <p:sp>
        <p:nvSpPr>
          <p:cNvPr id="36" name="Textfeld 35"/>
          <p:cNvSpPr txBox="1"/>
          <p:nvPr/>
        </p:nvSpPr>
        <p:spPr>
          <a:xfrm>
            <a:off x="3722322" y="2294486"/>
            <a:ext cx="1917031"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Virtual power plants</a:t>
            </a:r>
          </a:p>
        </p:txBody>
      </p:sp>
      <p:sp>
        <p:nvSpPr>
          <p:cNvPr id="37" name="Textfeld 36"/>
          <p:cNvSpPr txBox="1"/>
          <p:nvPr/>
        </p:nvSpPr>
        <p:spPr>
          <a:xfrm>
            <a:off x="6307376" y="2098067"/>
            <a:ext cx="1827448"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Home automation</a:t>
            </a:r>
          </a:p>
        </p:txBody>
      </p:sp>
      <p:sp>
        <p:nvSpPr>
          <p:cNvPr id="38" name="Textfeld 37"/>
          <p:cNvSpPr txBox="1"/>
          <p:nvPr/>
        </p:nvSpPr>
        <p:spPr>
          <a:xfrm>
            <a:off x="6524928" y="4296968"/>
            <a:ext cx="2204529"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Local energy generation</a:t>
            </a:r>
          </a:p>
        </p:txBody>
      </p:sp>
      <p:sp>
        <p:nvSpPr>
          <p:cNvPr id="39" name="Textfeld 38"/>
          <p:cNvSpPr txBox="1"/>
          <p:nvPr/>
        </p:nvSpPr>
        <p:spPr>
          <a:xfrm>
            <a:off x="3671130" y="4109585"/>
            <a:ext cx="1277162"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Procurement</a:t>
            </a:r>
          </a:p>
        </p:txBody>
      </p:sp>
      <p:sp>
        <p:nvSpPr>
          <p:cNvPr id="40" name="Textfeld 39"/>
          <p:cNvSpPr txBox="1"/>
          <p:nvPr/>
        </p:nvSpPr>
        <p:spPr>
          <a:xfrm>
            <a:off x="3287196" y="3202036"/>
            <a:ext cx="1917031"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Peak load balancing</a:t>
            </a:r>
          </a:p>
        </p:txBody>
      </p:sp>
      <p:sp>
        <p:nvSpPr>
          <p:cNvPr id="42" name="Textfeld 41"/>
          <p:cNvSpPr txBox="1"/>
          <p:nvPr/>
        </p:nvSpPr>
        <p:spPr>
          <a:xfrm>
            <a:off x="6902009" y="2831034"/>
            <a:ext cx="1827448" cy="392840"/>
          </a:xfrm>
          <a:prstGeom prst="roundRect">
            <a:avLst/>
          </a:prstGeom>
          <a:solidFill>
            <a:schemeClr val="bg1"/>
          </a:soli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anchor="ctr"/>
          <a:lstStyle/>
          <a:p>
            <a:pPr algn="ctr">
              <a:lnSpc>
                <a:spcPts val="1800"/>
              </a:lnSpc>
              <a:buClr>
                <a:schemeClr val="tx2"/>
              </a:buClr>
              <a:buSzPct val="75000"/>
              <a:buFont typeface="Wingdings" pitchFamily="2" charset="2"/>
              <a:buNone/>
              <a:defRPr/>
            </a:pPr>
            <a:r>
              <a:rPr lang="en-US" sz="1600" dirty="0">
                <a:solidFill>
                  <a:schemeClr val="tx2"/>
                </a:solidFill>
                <a:latin typeface="Tele-GroteskFet" pitchFamily="2" charset="0"/>
              </a:rPr>
              <a:t>Energy portals</a:t>
            </a: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91522" name="Rectangle 2"/>
          <p:cNvSpPr>
            <a:spLocks noGrp="1" noChangeArrowheads="1"/>
          </p:cNvSpPr>
          <p:nvPr>
            <p:ph type="title" idx="4294967295"/>
          </p:nvPr>
        </p:nvSpPr>
        <p:spPr>
          <a:xfrm>
            <a:off x="304800" y="333375"/>
            <a:ext cx="8496300" cy="830263"/>
          </a:xfrm>
        </p:spPr>
        <p:txBody>
          <a:bodyPr/>
          <a:lstStyle/>
          <a:p>
            <a:pPr eaLnBrk="1" hangingPunct="1"/>
            <a:r>
              <a:rPr lang="en-US" smtClean="0">
                <a:latin typeface="TeleGrotesk Headline Ultra"/>
                <a:cs typeface="TeleGrotesk Headline Ultra"/>
              </a:rPr>
              <a:t>Project Example – Smart Grid to the Home</a:t>
            </a:r>
            <a:br>
              <a:rPr lang="en-US" smtClean="0">
                <a:latin typeface="TeleGrotesk Headline Ultra"/>
                <a:cs typeface="TeleGrotesk Headline Ultra"/>
              </a:rPr>
            </a:br>
            <a:r>
              <a:rPr lang="en-US" smtClean="0">
                <a:latin typeface="TeleGrotesk Headline"/>
                <a:cs typeface="TeleGrotesk Headline Ultra"/>
              </a:rPr>
              <a:t>Integrating renewables into home and grid</a:t>
            </a:r>
          </a:p>
        </p:txBody>
      </p:sp>
      <p:sp>
        <p:nvSpPr>
          <p:cNvPr id="11" name="AutoShape 2" descr="verlauf hellgrau"/>
          <p:cNvSpPr>
            <a:spLocks noChangeArrowheads="1"/>
          </p:cNvSpPr>
          <p:nvPr>
            <p:custDataLst>
              <p:tags r:id="rId1"/>
            </p:custDataLst>
          </p:nvPr>
        </p:nvSpPr>
        <p:spPr bwMode="gray">
          <a:xfrm>
            <a:off x="304800" y="1484313"/>
            <a:ext cx="4135438" cy="4464050"/>
          </a:xfrm>
          <a:prstGeom prst="roundRect">
            <a:avLst>
              <a:gd name="adj" fmla="val 1845"/>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a:lnSpc>
                <a:spcPts val="1800"/>
              </a:lnSpc>
              <a:spcBef>
                <a:spcPts val="1200"/>
              </a:spcBef>
              <a:buClr>
                <a:schemeClr val="tx2"/>
              </a:buClr>
              <a:buSzPct val="75000"/>
              <a:buFont typeface="Wingdings" pitchFamily="2" charset="2"/>
              <a:buNone/>
              <a:defRPr/>
            </a:pPr>
            <a:r>
              <a:rPr lang="en-US" sz="2400" dirty="0">
                <a:solidFill>
                  <a:srgbClr val="E20074"/>
                </a:solidFill>
                <a:latin typeface="+mj-lt"/>
              </a:rPr>
              <a:t>Summary.</a:t>
            </a:r>
          </a:p>
          <a:p>
            <a:pPr marL="176213" indent="-176213" eaLnBrk="0" hangingPunct="0">
              <a:lnSpc>
                <a:spcPts val="1800"/>
              </a:lnSpc>
              <a:spcBef>
                <a:spcPts val="1200"/>
              </a:spcBef>
              <a:buClr>
                <a:schemeClr val="tx2"/>
              </a:buClr>
              <a:buSzPct val="75000"/>
              <a:buFont typeface="Wingdings" pitchFamily="2" charset="2"/>
              <a:buChar char="§"/>
              <a:defRPr/>
            </a:pPr>
            <a:r>
              <a:rPr lang="en-US" sz="1600" dirty="0">
                <a:solidFill>
                  <a:srgbClr val="000000"/>
                </a:solidFill>
                <a:latin typeface="Tele-GroteskFet" pitchFamily="2" charset="0"/>
              </a:rPr>
              <a:t>Connection of photovoltaic systems, combined heat &amp; power plants and heat pumps in buildings as local producers and consumers</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Visualization of own energy generation and consumption</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Optimization of energy consumption </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Automated energy saving tips </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Identification of largest consumers in the household</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Cost control, alerts and warnings</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Access for end-users, installers, utilities and system operators on the relevant data</a:t>
            </a:r>
          </a:p>
          <a:p>
            <a:pPr marL="176213" indent="-176213" eaLnBrk="0" hangingPunct="0">
              <a:lnSpc>
                <a:spcPts val="1800"/>
              </a:lnSpc>
              <a:spcBef>
                <a:spcPts val="800"/>
              </a:spcBef>
              <a:buClr>
                <a:schemeClr val="tx2"/>
              </a:buClr>
              <a:buSzPct val="75000"/>
              <a:buFont typeface="Wingdings" pitchFamily="2" charset="2"/>
              <a:buChar char="§"/>
              <a:defRPr/>
            </a:pPr>
            <a:r>
              <a:rPr lang="en-US" sz="1600" dirty="0">
                <a:solidFill>
                  <a:srgbClr val="000000"/>
                </a:solidFill>
                <a:latin typeface="Tele-GroteskFet" pitchFamily="2" charset="0"/>
              </a:rPr>
              <a:t>Integration into back-end systems via </a:t>
            </a:r>
            <a:br>
              <a:rPr lang="en-US" sz="1600" dirty="0">
                <a:solidFill>
                  <a:srgbClr val="000000"/>
                </a:solidFill>
                <a:latin typeface="Tele-GroteskFet" pitchFamily="2" charset="0"/>
              </a:rPr>
            </a:br>
            <a:r>
              <a:rPr lang="en-US" sz="1600" dirty="0">
                <a:solidFill>
                  <a:srgbClr val="000000"/>
                </a:solidFill>
                <a:latin typeface="Tele-GroteskFet" pitchFamily="2" charset="0"/>
              </a:rPr>
              <a:t>Virtual Power Plant &amp; Load Management System</a:t>
            </a:r>
          </a:p>
        </p:txBody>
      </p:sp>
      <p:grpSp>
        <p:nvGrpSpPr>
          <p:cNvPr id="2" name="Gruppieren 3"/>
          <p:cNvGrpSpPr/>
          <p:nvPr/>
        </p:nvGrpSpPr>
        <p:grpSpPr>
          <a:xfrm>
            <a:off x="4703763" y="1484312"/>
            <a:ext cx="4124122" cy="4464051"/>
            <a:chOff x="4703763" y="1489445"/>
            <a:chExt cx="4124122" cy="4445847"/>
          </a:xfrm>
          <a:effectLst>
            <a:outerShdw blurRad="228600" dist="114300" dir="2700000" algn="tl" rotWithShape="0">
              <a:prstClr val="black">
                <a:alpha val="40000"/>
              </a:prstClr>
            </a:outerShdw>
          </a:effectLst>
        </p:grpSpPr>
        <p:pic>
          <p:nvPicPr>
            <p:cNvPr id="12" name="Picture 6"/>
            <p:cNvPicPr>
              <a:picLocks noChangeAspect="1" noChangeArrowheads="1"/>
            </p:cNvPicPr>
            <p:nvPr/>
          </p:nvPicPr>
          <p:blipFill>
            <a:blip r:embed="rId3" cstate="print"/>
            <a:srcRect l="8405" t="459" r="9871" b="19472"/>
            <a:stretch>
              <a:fillRect/>
            </a:stretch>
          </p:blipFill>
          <p:spPr bwMode="auto">
            <a:xfrm>
              <a:off x="4703763" y="1489445"/>
              <a:ext cx="4124122" cy="2525097"/>
            </a:xfrm>
            <a:prstGeom prst="round2SameRect">
              <a:avLst>
                <a:gd name="adj1" fmla="val 3955"/>
                <a:gd name="adj2" fmla="val 0"/>
              </a:avLst>
            </a:prstGeom>
            <a:noFill/>
            <a:ln w="6350">
              <a:noFill/>
              <a:miter lim="800000"/>
              <a:headEnd/>
              <a:tailEnd/>
            </a:ln>
            <a:effectLst/>
          </p:spPr>
        </p:pic>
        <p:pic>
          <p:nvPicPr>
            <p:cNvPr id="13" name="Picture 7"/>
            <p:cNvPicPr>
              <a:picLocks noChangeArrowheads="1"/>
            </p:cNvPicPr>
            <p:nvPr/>
          </p:nvPicPr>
          <p:blipFill>
            <a:blip r:embed="rId4" cstate="print"/>
            <a:srcRect l="7974" t="1243" r="9784" b="19897"/>
            <a:stretch>
              <a:fillRect/>
            </a:stretch>
          </p:blipFill>
          <p:spPr bwMode="auto">
            <a:xfrm>
              <a:off x="4703763" y="3392083"/>
              <a:ext cx="4124122" cy="2543209"/>
            </a:xfrm>
            <a:prstGeom prst="round2SameRect">
              <a:avLst>
                <a:gd name="adj1" fmla="val 0"/>
                <a:gd name="adj2" fmla="val 3060"/>
              </a:avLst>
            </a:prstGeom>
            <a:noFill/>
            <a:ln w="6350">
              <a:noFill/>
              <a:miter lim="800000"/>
              <a:headEnd/>
              <a:tailEnd/>
            </a:ln>
            <a:effectLst/>
          </p:spPr>
        </p:pic>
      </p:gr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55" name="AutoShape 2" descr="verlauf hellgrau"/>
          <p:cNvSpPr>
            <a:spLocks noChangeArrowheads="1"/>
          </p:cNvSpPr>
          <p:nvPr>
            <p:custDataLst>
              <p:tags r:id="rId1"/>
            </p:custDataLst>
          </p:nvPr>
        </p:nvSpPr>
        <p:spPr bwMode="gray">
          <a:xfrm>
            <a:off x="304800" y="1474788"/>
            <a:ext cx="8532813" cy="4464050"/>
          </a:xfrm>
          <a:prstGeom prst="roundRect">
            <a:avLst>
              <a:gd name="adj" fmla="val 1845"/>
            </a:avLst>
          </a:prstGeom>
          <a:gradFill rotWithShape="0">
            <a:gsLst>
              <a:gs pos="0">
                <a:schemeClr val="bg1"/>
              </a:gs>
              <a:gs pos="100000">
                <a:srgbClr val="DEDEDE"/>
              </a:gs>
            </a:gsLst>
            <a:lin ang="5400000"/>
          </a:gradFill>
          <a:ln w="12700" algn="ctr">
            <a:noFill/>
            <a:round/>
            <a:headEnd/>
            <a:tailEnd/>
          </a:ln>
          <a:effectLst>
            <a:outerShdw blurRad="228600" dist="114300" dir="2700000" algn="tl" rotWithShape="0">
              <a:prstClr val="black">
                <a:alpha val="40000"/>
              </a:prstClr>
            </a:outerShdw>
          </a:effectLst>
        </p:spPr>
        <p:txBody>
          <a:bodyPr lIns="72000" tIns="72000" rIns="72000" bIns="36000"/>
          <a:lstStyle/>
          <a:p>
            <a:pPr marL="176213" indent="-176213" eaLnBrk="0" hangingPunct="0">
              <a:lnSpc>
                <a:spcPts val="1800"/>
              </a:lnSpc>
              <a:spcBef>
                <a:spcPts val="1200"/>
              </a:spcBef>
              <a:buClr>
                <a:schemeClr val="tx2"/>
              </a:buClr>
              <a:buSzPct val="75000"/>
              <a:buFont typeface="Wingdings" pitchFamily="2" charset="2"/>
              <a:buChar char="§"/>
              <a:defRPr/>
            </a:pPr>
            <a:endParaRPr lang="en-US" sz="1600" dirty="0">
              <a:solidFill>
                <a:srgbClr val="000000"/>
              </a:solidFill>
              <a:latin typeface="Tele-GroteskFet" pitchFamily="2" charset="0"/>
            </a:endParaRPr>
          </a:p>
        </p:txBody>
      </p:sp>
      <p:sp>
        <p:nvSpPr>
          <p:cNvPr id="492547" name="Rectangle 259"/>
          <p:cNvSpPr>
            <a:spLocks noGrp="1" noChangeArrowheads="1"/>
          </p:cNvSpPr>
          <p:nvPr>
            <p:ph type="title" idx="4294967295"/>
            <p:custDataLst>
              <p:tags r:id="rId2"/>
            </p:custDataLst>
          </p:nvPr>
        </p:nvSpPr>
        <p:spPr>
          <a:xfrm>
            <a:off x="304800" y="333375"/>
            <a:ext cx="8496300" cy="1246188"/>
          </a:xfrm>
        </p:spPr>
        <p:txBody>
          <a:bodyPr/>
          <a:lstStyle/>
          <a:p>
            <a:pPr eaLnBrk="1" hangingPunct="1"/>
            <a:r>
              <a:rPr lang="en-US" smtClean="0">
                <a:latin typeface="TeleGrotesk Headline Ultra"/>
                <a:cs typeface="TeleGrotesk Headline Ultra"/>
              </a:rPr>
              <a:t>Connected Mobility </a:t>
            </a:r>
            <a:br>
              <a:rPr lang="en-US" smtClean="0">
                <a:latin typeface="TeleGrotesk Headline Ultra"/>
                <a:cs typeface="TeleGrotesk Headline Ultra"/>
              </a:rPr>
            </a:br>
            <a:r>
              <a:rPr lang="en-US" smtClean="0">
                <a:latin typeface="TeleGrotesk Headline Ultra"/>
                <a:cs typeface="TeleGrotesk Headline Ultra"/>
              </a:rPr>
              <a:t>A showcase for „triple play“ – the future of mobility</a:t>
            </a:r>
          </a:p>
        </p:txBody>
      </p:sp>
      <p:sp>
        <p:nvSpPr>
          <p:cNvPr id="35" name="Abgerundetes Rechteck 34"/>
          <p:cNvSpPr/>
          <p:nvPr/>
        </p:nvSpPr>
        <p:spPr bwMode="auto">
          <a:xfrm>
            <a:off x="5098786" y="4143548"/>
            <a:ext cx="2857645" cy="1647036"/>
          </a:xfrm>
          <a:prstGeom prst="roundRect">
            <a:avLst>
              <a:gd name="adj" fmla="val 7720"/>
            </a:avLst>
          </a:prstGeom>
          <a:gradFill>
            <a:gsLst>
              <a:gs pos="40000">
                <a:srgbClr val="999999"/>
              </a:gs>
              <a:gs pos="100000">
                <a:srgbClr val="666666"/>
              </a:gs>
            </a:gsLst>
            <a:lin ang="5400000" scaled="0"/>
          </a:gra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1044000" tIns="36000" rIns="72000" bIns="36000" anchor="ctr"/>
          <a:lstStyle/>
          <a:p>
            <a:pPr>
              <a:lnSpc>
                <a:spcPts val="1800"/>
              </a:lnSpc>
              <a:spcBef>
                <a:spcPts val="600"/>
              </a:spcBef>
              <a:buClr>
                <a:schemeClr val="tx2"/>
              </a:buClr>
              <a:buSzPct val="75000"/>
              <a:buFont typeface="Wingdings" pitchFamily="2" charset="2"/>
              <a:buNone/>
              <a:defRPr/>
            </a:pPr>
            <a:r>
              <a:rPr lang="en-US" dirty="0">
                <a:solidFill>
                  <a:schemeClr val="bg1"/>
                </a:solidFill>
                <a:latin typeface="Tele-GroteskFet" pitchFamily="2" charset="0"/>
              </a:rPr>
              <a:t>Energy</a:t>
            </a:r>
          </a:p>
          <a:p>
            <a:pPr>
              <a:lnSpc>
                <a:spcPts val="1800"/>
              </a:lnSpc>
              <a:spcBef>
                <a:spcPts val="600"/>
              </a:spcBef>
              <a:buClr>
                <a:schemeClr val="tx2"/>
              </a:buClr>
              <a:buSzPct val="75000"/>
              <a:buFont typeface="Wingdings" pitchFamily="2" charset="2"/>
              <a:buNone/>
              <a:defRPr/>
            </a:pPr>
            <a:r>
              <a:rPr lang="en-US" sz="1400" dirty="0">
                <a:solidFill>
                  <a:schemeClr val="bg1"/>
                </a:solidFill>
                <a:latin typeface="+mj-lt"/>
              </a:rPr>
              <a:t>Smart Grid for efficient charging, V2G, metering </a:t>
            </a:r>
            <a:br>
              <a:rPr lang="en-US" sz="1400" dirty="0">
                <a:solidFill>
                  <a:schemeClr val="bg1"/>
                </a:solidFill>
                <a:latin typeface="+mj-lt"/>
              </a:rPr>
            </a:br>
            <a:r>
              <a:rPr lang="en-US" sz="1400" dirty="0">
                <a:solidFill>
                  <a:schemeClr val="bg1"/>
                </a:solidFill>
                <a:latin typeface="+mj-lt"/>
              </a:rPr>
              <a:t>&amp; payment</a:t>
            </a:r>
          </a:p>
        </p:txBody>
      </p:sp>
      <p:sp>
        <p:nvSpPr>
          <p:cNvPr id="32" name="Abgerundetes Rechteck 31"/>
          <p:cNvSpPr/>
          <p:nvPr/>
        </p:nvSpPr>
        <p:spPr bwMode="auto">
          <a:xfrm>
            <a:off x="5880270" y="1609880"/>
            <a:ext cx="2857645" cy="1773222"/>
          </a:xfrm>
          <a:prstGeom prst="roundRect">
            <a:avLst>
              <a:gd name="adj" fmla="val 7720"/>
            </a:avLst>
          </a:prstGeom>
          <a:gradFill>
            <a:gsLst>
              <a:gs pos="40000">
                <a:srgbClr val="999999"/>
              </a:gs>
              <a:gs pos="100000">
                <a:srgbClr val="666666"/>
              </a:gs>
            </a:gsLst>
            <a:lin ang="5400000" scaled="0"/>
          </a:gra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1044000" tIns="36000" rIns="72000" bIns="36000" anchor="ctr"/>
          <a:lstStyle/>
          <a:p>
            <a:pPr>
              <a:lnSpc>
                <a:spcPts val="1800"/>
              </a:lnSpc>
              <a:spcBef>
                <a:spcPts val="600"/>
              </a:spcBef>
              <a:buClr>
                <a:schemeClr val="tx2"/>
              </a:buClr>
              <a:buSzPct val="75000"/>
              <a:buFont typeface="Wingdings" pitchFamily="2" charset="2"/>
              <a:buNone/>
              <a:defRPr/>
            </a:pPr>
            <a:r>
              <a:rPr lang="en-US" dirty="0">
                <a:solidFill>
                  <a:schemeClr val="bg1"/>
                </a:solidFill>
                <a:latin typeface="Tele-GroteskFet" pitchFamily="2" charset="0"/>
              </a:rPr>
              <a:t>Transportation</a:t>
            </a:r>
          </a:p>
          <a:p>
            <a:pPr>
              <a:lnSpc>
                <a:spcPts val="1800"/>
              </a:lnSpc>
              <a:spcBef>
                <a:spcPts val="600"/>
              </a:spcBef>
              <a:buClr>
                <a:schemeClr val="tx2"/>
              </a:buClr>
              <a:buSzPct val="75000"/>
              <a:buFont typeface="Wingdings" pitchFamily="2" charset="2"/>
              <a:buNone/>
              <a:defRPr/>
            </a:pPr>
            <a:r>
              <a:rPr lang="en-US" sz="1400" dirty="0">
                <a:solidFill>
                  <a:schemeClr val="bg1"/>
                </a:solidFill>
                <a:latin typeface="+mj-lt"/>
              </a:rPr>
              <a:t>Network public and private transportation – one tariff &amp; one booking process</a:t>
            </a:r>
          </a:p>
        </p:txBody>
      </p:sp>
      <p:sp>
        <p:nvSpPr>
          <p:cNvPr id="4" name="Abgerundetes Rechteck 3"/>
          <p:cNvSpPr/>
          <p:nvPr/>
        </p:nvSpPr>
        <p:spPr bwMode="auto">
          <a:xfrm>
            <a:off x="377327" y="2796887"/>
            <a:ext cx="2874487" cy="1773222"/>
          </a:xfrm>
          <a:prstGeom prst="roundRect">
            <a:avLst>
              <a:gd name="adj" fmla="val 7720"/>
            </a:avLst>
          </a:prstGeom>
          <a:gradFill>
            <a:gsLst>
              <a:gs pos="40000">
                <a:srgbClr val="999999"/>
              </a:gs>
              <a:gs pos="100000">
                <a:srgbClr val="666666"/>
              </a:gs>
            </a:gsLst>
            <a:lin ang="5400000" scaled="0"/>
          </a:gradFill>
          <a:ln w="12700">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anchor="ctr"/>
          <a:lstStyle/>
          <a:p>
            <a:pPr>
              <a:lnSpc>
                <a:spcPts val="1800"/>
              </a:lnSpc>
              <a:spcBef>
                <a:spcPts val="600"/>
              </a:spcBef>
              <a:buClr>
                <a:schemeClr val="tx2"/>
              </a:buClr>
              <a:buSzPct val="75000"/>
              <a:buFont typeface="Wingdings" pitchFamily="2" charset="2"/>
              <a:buNone/>
              <a:defRPr/>
            </a:pPr>
            <a:r>
              <a:rPr lang="en-US" dirty="0">
                <a:solidFill>
                  <a:schemeClr val="bg1"/>
                </a:solidFill>
                <a:latin typeface="Tele-GroteskFet" pitchFamily="2" charset="0"/>
              </a:rPr>
              <a:t>Communications</a:t>
            </a:r>
          </a:p>
          <a:p>
            <a:pPr>
              <a:lnSpc>
                <a:spcPts val="1800"/>
              </a:lnSpc>
              <a:spcBef>
                <a:spcPts val="600"/>
              </a:spcBef>
              <a:buClr>
                <a:schemeClr val="tx2"/>
              </a:buClr>
              <a:buSzPct val="75000"/>
              <a:buFont typeface="Wingdings" pitchFamily="2" charset="2"/>
              <a:buNone/>
              <a:defRPr/>
            </a:pPr>
            <a:r>
              <a:rPr lang="en-US" sz="1400" dirty="0">
                <a:solidFill>
                  <a:schemeClr val="bg1"/>
                </a:solidFill>
                <a:latin typeface="+mj-lt"/>
              </a:rPr>
              <a:t>Real-time data exchange </a:t>
            </a:r>
            <a:br>
              <a:rPr lang="en-US" sz="1400" dirty="0">
                <a:solidFill>
                  <a:schemeClr val="bg1"/>
                </a:solidFill>
                <a:latin typeface="+mj-lt"/>
              </a:rPr>
            </a:br>
            <a:r>
              <a:rPr lang="en-US" sz="1400" dirty="0">
                <a:solidFill>
                  <a:schemeClr val="bg1"/>
                </a:solidFill>
                <a:latin typeface="+mj-lt"/>
              </a:rPr>
              <a:t>(e.g.  to / from car) and </a:t>
            </a:r>
            <a:br>
              <a:rPr lang="en-US" sz="1400" dirty="0">
                <a:solidFill>
                  <a:schemeClr val="bg1"/>
                </a:solidFill>
                <a:latin typeface="+mj-lt"/>
              </a:rPr>
            </a:br>
            <a:r>
              <a:rPr lang="en-US" sz="1400" dirty="0">
                <a:solidFill>
                  <a:schemeClr val="bg1"/>
                </a:solidFill>
                <a:latin typeface="+mj-lt"/>
              </a:rPr>
              <a:t>smooth change of </a:t>
            </a:r>
            <a:br>
              <a:rPr lang="en-US" sz="1400" dirty="0">
                <a:solidFill>
                  <a:schemeClr val="bg1"/>
                </a:solidFill>
                <a:latin typeface="+mj-lt"/>
              </a:rPr>
            </a:br>
            <a:r>
              <a:rPr lang="en-US" sz="1400" dirty="0">
                <a:solidFill>
                  <a:schemeClr val="bg1"/>
                </a:solidFill>
                <a:latin typeface="+mj-lt"/>
              </a:rPr>
              <a:t>transportation modes</a:t>
            </a:r>
          </a:p>
        </p:txBody>
      </p:sp>
      <p:pic>
        <p:nvPicPr>
          <p:cNvPr id="492557" name="Grafik 2"/>
          <p:cNvPicPr>
            <a:picLocks noChangeAspect="1"/>
          </p:cNvPicPr>
          <p:nvPr/>
        </p:nvPicPr>
        <p:blipFill>
          <a:blip r:embed="rId9"/>
          <a:srcRect/>
          <a:stretch>
            <a:fillRect/>
          </a:stretch>
        </p:blipFill>
        <p:spPr bwMode="auto">
          <a:xfrm>
            <a:off x="2230438" y="1612900"/>
            <a:ext cx="4656137" cy="4179888"/>
          </a:xfrm>
          <a:prstGeom prst="rect">
            <a:avLst/>
          </a:prstGeom>
          <a:noFill/>
          <a:ln w="9525">
            <a:noFill/>
            <a:miter lim="800000"/>
            <a:headEnd/>
            <a:tailEnd/>
          </a:ln>
        </p:spPr>
      </p:pic>
      <p:sp>
        <p:nvSpPr>
          <p:cNvPr id="30" name="Rectangle 259"/>
          <p:cNvSpPr txBox="1">
            <a:spLocks noChangeArrowheads="1"/>
          </p:cNvSpPr>
          <p:nvPr>
            <p:custDataLst>
              <p:tags r:id="rId3"/>
            </p:custDataLst>
          </p:nvPr>
        </p:nvSpPr>
        <p:spPr bwMode="gray">
          <a:xfrm>
            <a:off x="3863975" y="3513138"/>
            <a:ext cx="1852613" cy="379412"/>
          </a:xfrm>
          <a:prstGeom prst="rect">
            <a:avLst/>
          </a:prstGeom>
          <a:noFill/>
          <a:ln w="9525">
            <a:noFill/>
            <a:miter lim="800000"/>
            <a:headEnd/>
            <a:tailEnd/>
          </a:ln>
        </p:spPr>
        <p:txBody>
          <a:bodyPr lIns="0" tIns="0" rIns="0" bIns="0"/>
          <a:lstStyle>
            <a:lvl1pPr algn="l" rtl="0" eaLnBrk="0" fontAlgn="base" hangingPunct="0">
              <a:lnSpc>
                <a:spcPct val="90000"/>
              </a:lnSpc>
              <a:spcBef>
                <a:spcPct val="0"/>
              </a:spcBef>
              <a:spcAft>
                <a:spcPct val="0"/>
              </a:spcAft>
              <a:defRPr sz="2800">
                <a:solidFill>
                  <a:schemeClr val="tx2"/>
                </a:solidFill>
                <a:latin typeface="Tele-GroteskNor" pitchFamily="2" charset="0"/>
                <a:ea typeface="+mj-ea"/>
                <a:cs typeface="+mj-cs"/>
              </a:defRPr>
            </a:lvl1pPr>
            <a:lvl2pPr algn="l" rtl="0" eaLnBrk="0" fontAlgn="base" hangingPunct="0">
              <a:lnSpc>
                <a:spcPct val="90000"/>
              </a:lnSpc>
              <a:spcBef>
                <a:spcPct val="0"/>
              </a:spcBef>
              <a:spcAft>
                <a:spcPct val="0"/>
              </a:spcAft>
              <a:defRPr sz="2800">
                <a:solidFill>
                  <a:schemeClr val="tx2"/>
                </a:solidFill>
                <a:latin typeface="Tele-GroteskNor" pitchFamily="2" charset="0"/>
              </a:defRPr>
            </a:lvl2pPr>
            <a:lvl3pPr algn="l" rtl="0" eaLnBrk="0" fontAlgn="base" hangingPunct="0">
              <a:lnSpc>
                <a:spcPct val="90000"/>
              </a:lnSpc>
              <a:spcBef>
                <a:spcPct val="0"/>
              </a:spcBef>
              <a:spcAft>
                <a:spcPct val="0"/>
              </a:spcAft>
              <a:defRPr sz="2800">
                <a:solidFill>
                  <a:schemeClr val="tx2"/>
                </a:solidFill>
                <a:latin typeface="Tele-GroteskNor" pitchFamily="2" charset="0"/>
              </a:defRPr>
            </a:lvl3pPr>
            <a:lvl4pPr algn="l" rtl="0" eaLnBrk="0" fontAlgn="base" hangingPunct="0">
              <a:lnSpc>
                <a:spcPct val="90000"/>
              </a:lnSpc>
              <a:spcBef>
                <a:spcPct val="0"/>
              </a:spcBef>
              <a:spcAft>
                <a:spcPct val="0"/>
              </a:spcAft>
              <a:defRPr sz="2800">
                <a:solidFill>
                  <a:schemeClr val="tx2"/>
                </a:solidFill>
                <a:latin typeface="Tele-GroteskNor" pitchFamily="2" charset="0"/>
              </a:defRPr>
            </a:lvl4pPr>
            <a:lvl5pPr algn="l" rtl="0" eaLnBrk="0" fontAlgn="base" hangingPunct="0">
              <a:lnSpc>
                <a:spcPct val="90000"/>
              </a:lnSpc>
              <a:spcBef>
                <a:spcPct val="0"/>
              </a:spcBef>
              <a:spcAft>
                <a:spcPct val="0"/>
              </a:spcAft>
              <a:defRPr sz="2800">
                <a:solidFill>
                  <a:schemeClr val="tx2"/>
                </a:solidFill>
                <a:latin typeface="Tele-GroteskNor" pitchFamily="2" charset="0"/>
              </a:defRPr>
            </a:lvl5pPr>
            <a:lvl6pPr marL="457200" algn="l" rtl="0" eaLnBrk="1" fontAlgn="base" hangingPunct="1">
              <a:lnSpc>
                <a:spcPct val="90000"/>
              </a:lnSpc>
              <a:spcBef>
                <a:spcPct val="0"/>
              </a:spcBef>
              <a:spcAft>
                <a:spcPct val="0"/>
              </a:spcAft>
              <a:defRPr sz="2800">
                <a:solidFill>
                  <a:schemeClr val="tx2"/>
                </a:solidFill>
                <a:latin typeface="Tele-GroteskNor" pitchFamily="2" charset="0"/>
              </a:defRPr>
            </a:lvl6pPr>
            <a:lvl7pPr marL="914400" algn="l" rtl="0" eaLnBrk="1" fontAlgn="base" hangingPunct="1">
              <a:lnSpc>
                <a:spcPct val="90000"/>
              </a:lnSpc>
              <a:spcBef>
                <a:spcPct val="0"/>
              </a:spcBef>
              <a:spcAft>
                <a:spcPct val="0"/>
              </a:spcAft>
              <a:defRPr sz="2800">
                <a:solidFill>
                  <a:schemeClr val="tx2"/>
                </a:solidFill>
                <a:latin typeface="Tele-GroteskNor" pitchFamily="2" charset="0"/>
              </a:defRPr>
            </a:lvl7pPr>
            <a:lvl8pPr marL="1371600" algn="l" rtl="0" eaLnBrk="1" fontAlgn="base" hangingPunct="1">
              <a:lnSpc>
                <a:spcPct val="90000"/>
              </a:lnSpc>
              <a:spcBef>
                <a:spcPct val="0"/>
              </a:spcBef>
              <a:spcAft>
                <a:spcPct val="0"/>
              </a:spcAft>
              <a:defRPr sz="2800">
                <a:solidFill>
                  <a:schemeClr val="tx2"/>
                </a:solidFill>
                <a:latin typeface="Tele-GroteskNor" pitchFamily="2" charset="0"/>
              </a:defRPr>
            </a:lvl8pPr>
            <a:lvl9pPr marL="1828800" algn="l" rtl="0" eaLnBrk="1" fontAlgn="base" hangingPunct="1">
              <a:lnSpc>
                <a:spcPct val="90000"/>
              </a:lnSpc>
              <a:spcBef>
                <a:spcPct val="0"/>
              </a:spcBef>
              <a:spcAft>
                <a:spcPct val="0"/>
              </a:spcAft>
              <a:defRPr sz="2800">
                <a:solidFill>
                  <a:schemeClr val="tx2"/>
                </a:solidFill>
                <a:latin typeface="Tele-GroteskNor" pitchFamily="2" charset="0"/>
              </a:defRPr>
            </a:lvl9pPr>
          </a:lstStyle>
          <a:p>
            <a:pPr algn="ctr">
              <a:buClr>
                <a:schemeClr val="tx2"/>
              </a:buClr>
              <a:buSzPct val="75000"/>
              <a:buFont typeface="Wingdings" pitchFamily="2" charset="2"/>
              <a:buNone/>
              <a:defRPr/>
            </a:pPr>
            <a:r>
              <a:rPr lang="en-US" sz="1800" dirty="0" smtClean="0">
                <a:solidFill>
                  <a:schemeClr val="tx1">
                    <a:lumMod val="65000"/>
                    <a:lumOff val="35000"/>
                  </a:schemeClr>
                </a:solidFill>
                <a:latin typeface="Tele-GroteskFet" pitchFamily="2" charset="0"/>
              </a:rPr>
              <a:t>Connected Mobility</a:t>
            </a:r>
          </a:p>
        </p:txBody>
      </p:sp>
      <p:grpSp>
        <p:nvGrpSpPr>
          <p:cNvPr id="492559" name="Gruppieren 6"/>
          <p:cNvGrpSpPr>
            <a:grpSpLocks/>
          </p:cNvGrpSpPr>
          <p:nvPr/>
        </p:nvGrpSpPr>
        <p:grpSpPr bwMode="auto">
          <a:xfrm>
            <a:off x="415925" y="1631950"/>
            <a:ext cx="2835275" cy="968375"/>
            <a:chOff x="304800" y="1484313"/>
            <a:chExt cx="4135438" cy="1411287"/>
          </a:xfrm>
        </p:grpSpPr>
        <p:sp>
          <p:nvSpPr>
            <p:cNvPr id="45" name="Abgerundetes Rechteck 44"/>
            <p:cNvSpPr/>
            <p:nvPr/>
          </p:nvSpPr>
          <p:spPr bwMode="auto">
            <a:xfrm>
              <a:off x="304800" y="1484313"/>
              <a:ext cx="4135438" cy="1411287"/>
            </a:xfrm>
            <a:prstGeom prst="roundRect">
              <a:avLst>
                <a:gd name="adj" fmla="val 7720"/>
              </a:avLst>
            </a:prstGeom>
            <a:solidFill>
              <a:schemeClr val="bg1"/>
            </a:solidFill>
            <a:ln w="38100">
              <a:solidFill>
                <a:schemeClr val="tx2"/>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72000" bIns="36000" anchor="ctr"/>
            <a:lstStyle/>
            <a:p>
              <a:pPr>
                <a:lnSpc>
                  <a:spcPts val="1800"/>
                </a:lnSpc>
                <a:spcBef>
                  <a:spcPts val="600"/>
                </a:spcBef>
                <a:buClr>
                  <a:schemeClr val="tx2"/>
                </a:buClr>
                <a:buSzPct val="75000"/>
                <a:buFont typeface="Wingdings" pitchFamily="2" charset="2"/>
                <a:buNone/>
                <a:defRPr/>
              </a:pPr>
              <a:endParaRPr lang="en-US" sz="1400" dirty="0">
                <a:solidFill>
                  <a:schemeClr val="bg1"/>
                </a:solidFill>
                <a:latin typeface="+mj-lt"/>
              </a:endParaRPr>
            </a:p>
          </p:txBody>
        </p:sp>
        <p:pic>
          <p:nvPicPr>
            <p:cNvPr id="492563" name="Grafik 45" descr="logo_deutsche_telekom.jpg"/>
            <p:cNvPicPr>
              <a:picLocks noChangeAspect="1"/>
            </p:cNvPicPr>
            <p:nvPr>
              <p:custDataLst>
                <p:tags r:id="rId4"/>
              </p:custDataLst>
            </p:nvPr>
          </p:nvPicPr>
          <p:blipFill>
            <a:blip r:embed="rId10"/>
            <a:srcRect b="18867"/>
            <a:stretch>
              <a:fillRect/>
            </a:stretch>
          </p:blipFill>
          <p:spPr bwMode="auto">
            <a:xfrm>
              <a:off x="394102" y="1609353"/>
              <a:ext cx="1325236" cy="319087"/>
            </a:xfrm>
            <a:prstGeom prst="rect">
              <a:avLst/>
            </a:prstGeom>
            <a:noFill/>
            <a:ln w="9525">
              <a:noFill/>
              <a:miter lim="800000"/>
              <a:headEnd/>
              <a:tailEnd/>
            </a:ln>
          </p:spPr>
        </p:pic>
        <p:pic>
          <p:nvPicPr>
            <p:cNvPr id="492564" name="Picture 3"/>
            <p:cNvPicPr>
              <a:picLocks noChangeAspect="1" noChangeArrowheads="1"/>
            </p:cNvPicPr>
            <p:nvPr>
              <p:custDataLst>
                <p:tags r:id="rId5"/>
              </p:custDataLst>
            </p:nvPr>
          </p:nvPicPr>
          <p:blipFill>
            <a:blip r:embed="rId11"/>
            <a:srcRect b="65437"/>
            <a:stretch>
              <a:fillRect/>
            </a:stretch>
          </p:blipFill>
          <p:spPr bwMode="auto">
            <a:xfrm>
              <a:off x="361950" y="2012816"/>
              <a:ext cx="1680109" cy="758959"/>
            </a:xfrm>
            <a:prstGeom prst="rect">
              <a:avLst/>
            </a:prstGeom>
            <a:noFill/>
            <a:ln w="9525">
              <a:noFill/>
              <a:miter lim="800000"/>
              <a:headEnd/>
              <a:tailEnd/>
            </a:ln>
          </p:spPr>
        </p:pic>
        <p:pic>
          <p:nvPicPr>
            <p:cNvPr id="492565" name="Grafik 47" descr="Neues Bild (2).JPG"/>
            <p:cNvPicPr>
              <a:picLocks noChangeAspect="1"/>
            </p:cNvPicPr>
            <p:nvPr>
              <p:custDataLst>
                <p:tags r:id="rId6"/>
              </p:custDataLst>
            </p:nvPr>
          </p:nvPicPr>
          <p:blipFill>
            <a:blip r:embed="rId12"/>
            <a:srcRect/>
            <a:stretch>
              <a:fillRect/>
            </a:stretch>
          </p:blipFill>
          <p:spPr bwMode="auto">
            <a:xfrm>
              <a:off x="2650222" y="1602445"/>
              <a:ext cx="1514832" cy="321869"/>
            </a:xfrm>
            <a:prstGeom prst="rect">
              <a:avLst/>
            </a:prstGeom>
            <a:noFill/>
            <a:ln w="9525">
              <a:noFill/>
              <a:miter lim="800000"/>
              <a:headEnd/>
              <a:tailEnd/>
            </a:ln>
          </p:spPr>
        </p:pic>
        <p:pic>
          <p:nvPicPr>
            <p:cNvPr id="492566" name="Picture 2" descr="https://encrypted-tbn1.google.com/images?q=tbn:ANd9GcTEAlRwsT19iw_9PuqpSE-ab2iy9tTJLCDHA4v_E1W_WKkujMVn"/>
            <p:cNvPicPr>
              <a:picLocks noChangeAspect="1" noChangeArrowheads="1"/>
            </p:cNvPicPr>
            <p:nvPr/>
          </p:nvPicPr>
          <p:blipFill>
            <a:blip r:embed="rId13"/>
            <a:srcRect/>
            <a:stretch>
              <a:fillRect/>
            </a:stretch>
          </p:blipFill>
          <p:spPr bwMode="auto">
            <a:xfrm>
              <a:off x="1994717" y="1629664"/>
              <a:ext cx="377802" cy="267433"/>
            </a:xfrm>
            <a:prstGeom prst="rect">
              <a:avLst/>
            </a:prstGeom>
            <a:noFill/>
            <a:ln w="9525">
              <a:noFill/>
              <a:miter lim="800000"/>
              <a:headEnd/>
              <a:tailEnd/>
            </a:ln>
          </p:spPr>
        </p:pic>
        <p:grpSp>
          <p:nvGrpSpPr>
            <p:cNvPr id="492567" name="Gruppieren 5"/>
            <p:cNvGrpSpPr>
              <a:grpSpLocks/>
            </p:cNvGrpSpPr>
            <p:nvPr/>
          </p:nvGrpSpPr>
          <p:grpSpPr bwMode="auto">
            <a:xfrm>
              <a:off x="1994717" y="2033465"/>
              <a:ext cx="1212150" cy="803694"/>
              <a:chOff x="2554971" y="1831395"/>
              <a:chExt cx="1514832" cy="1004382"/>
            </a:xfrm>
          </p:grpSpPr>
          <p:pic>
            <p:nvPicPr>
              <p:cNvPr id="492568" name="Picture 3"/>
              <p:cNvPicPr>
                <a:picLocks noChangeAspect="1" noChangeArrowheads="1"/>
              </p:cNvPicPr>
              <p:nvPr/>
            </p:nvPicPr>
            <p:blipFill>
              <a:blip r:embed="rId14"/>
              <a:srcRect/>
              <a:stretch>
                <a:fillRect/>
              </a:stretch>
            </p:blipFill>
            <p:spPr bwMode="auto">
              <a:xfrm>
                <a:off x="2554971" y="1831395"/>
                <a:ext cx="1514832" cy="940380"/>
              </a:xfrm>
              <a:prstGeom prst="rect">
                <a:avLst/>
              </a:prstGeom>
              <a:noFill/>
              <a:ln w="9525">
                <a:noFill/>
                <a:miter lim="800000"/>
                <a:headEnd/>
                <a:tailEnd/>
              </a:ln>
            </p:spPr>
          </p:pic>
          <p:grpSp>
            <p:nvGrpSpPr>
              <p:cNvPr id="492569" name="Gruppieren 26"/>
              <p:cNvGrpSpPr>
                <a:grpSpLocks/>
              </p:cNvGrpSpPr>
              <p:nvPr/>
            </p:nvGrpSpPr>
            <p:grpSpPr bwMode="auto">
              <a:xfrm>
                <a:off x="2814477" y="1880736"/>
                <a:ext cx="475331" cy="955041"/>
                <a:chOff x="4474538" y="1376772"/>
                <a:chExt cx="2258185" cy="4537171"/>
              </a:xfrm>
            </p:grpSpPr>
            <p:pic>
              <p:nvPicPr>
                <p:cNvPr id="492570" name="Picture 37"/>
                <p:cNvPicPr>
                  <a:picLocks noChangeAspect="1" noChangeArrowheads="1"/>
                </p:cNvPicPr>
                <p:nvPr/>
              </p:nvPicPr>
              <p:blipFill>
                <a:blip r:embed="rId15">
                  <a:lum contrast="-10000"/>
                </a:blip>
                <a:srcRect l="5579" t="1059" b="864"/>
                <a:stretch>
                  <a:fillRect/>
                </a:stretch>
              </p:blipFill>
              <p:spPr bwMode="auto">
                <a:xfrm>
                  <a:off x="4474538" y="1376772"/>
                  <a:ext cx="2258185" cy="4537171"/>
                </a:xfrm>
                <a:prstGeom prst="rect">
                  <a:avLst/>
                </a:prstGeom>
                <a:noFill/>
                <a:ln w="9525">
                  <a:noFill/>
                  <a:miter lim="800000"/>
                  <a:headEnd/>
                  <a:tailEnd/>
                </a:ln>
              </p:spPr>
            </p:pic>
            <p:pic>
              <p:nvPicPr>
                <p:cNvPr id="492571" name="Grafik 52" descr="IMG_1316.PNG"/>
                <p:cNvPicPr>
                  <a:picLocks noChangeAspect="1"/>
                </p:cNvPicPr>
                <p:nvPr/>
              </p:nvPicPr>
              <p:blipFill>
                <a:blip r:embed="rId16"/>
                <a:srcRect/>
                <a:stretch>
                  <a:fillRect/>
                </a:stretch>
              </p:blipFill>
              <p:spPr bwMode="auto">
                <a:xfrm>
                  <a:off x="4636629" y="2095783"/>
                  <a:ext cx="1827513" cy="2629782"/>
                </a:xfrm>
                <a:prstGeom prst="rect">
                  <a:avLst/>
                </a:prstGeom>
                <a:noFill/>
                <a:ln w="9525">
                  <a:noFill/>
                  <a:miter lim="800000"/>
                  <a:headEnd/>
                  <a:tailEnd/>
                </a:ln>
              </p:spPr>
            </p:pic>
          </p:grpSp>
        </p:grpSp>
      </p:gr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56374" name="Object 2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56374" name="think-cell Folie" r:id="rId5" imgW="360" imgH="360" progId="">
              <p:embed/>
            </p:oleObj>
          </a:graphicData>
        </a:graphic>
      </p:graphicFrame>
      <p:sp>
        <p:nvSpPr>
          <p:cNvPr id="356376" name="Rectangle 2"/>
          <p:cNvSpPr>
            <a:spLocks noGrp="1"/>
          </p:cNvSpPr>
          <p:nvPr>
            <p:ph type="title"/>
          </p:nvPr>
        </p:nvSpPr>
        <p:spPr>
          <a:xfrm>
            <a:off x="323850" y="333375"/>
            <a:ext cx="8496300" cy="830263"/>
          </a:xfrm>
        </p:spPr>
        <p:txBody>
          <a:bodyPr/>
          <a:lstStyle/>
          <a:p>
            <a:pPr eaLnBrk="1" hangingPunct="1"/>
            <a:r>
              <a:rPr smtClean="0">
                <a:latin typeface="TeleGrotesk Headline Ultra"/>
                <a:cs typeface="TeleGrotesk Headline Ultra"/>
              </a:rPr>
              <a:t>LOCATE T-LABS</a:t>
            </a:r>
            <a:br>
              <a:rPr smtClean="0">
                <a:latin typeface="TeleGrotesk Headline Ultra"/>
                <a:cs typeface="TeleGrotesk Headline Ultra"/>
              </a:rPr>
            </a:br>
            <a:r>
              <a:rPr smtClean="0">
                <a:latin typeface="Tele-GroteskNor"/>
                <a:cs typeface="TeleGrotesk Headline Ultra"/>
              </a:rPr>
              <a:t>SILICON ALLEE, SILICON WADI, SILICON VALLEY</a:t>
            </a:r>
          </a:p>
        </p:txBody>
      </p:sp>
      <p:sp>
        <p:nvSpPr>
          <p:cNvPr id="356377" name="Foliennummernplatzhalter 4"/>
          <p:cNvSpPr>
            <a:spLocks noGrp="1"/>
          </p:cNvSpPr>
          <p:nvPr>
            <p:ph type="sldNum" sz="quarter" idx="12"/>
          </p:nvPr>
        </p:nvSpPr>
        <p:spPr>
          <a:noFill/>
        </p:spPr>
        <p:txBody>
          <a:bodyPr/>
          <a:lstStyle/>
          <a:p>
            <a:fld id="{FE61AB60-EAEA-4F41-AF7A-D863AA69ADB0}" type="slidenum">
              <a:rPr lang="de-DE" smtClean="0">
                <a:latin typeface="Tele-GroteskNor"/>
                <a:cs typeface="Arial" charset="0"/>
              </a:rPr>
              <a:pPr/>
              <a:t>3</a:t>
            </a:fld>
            <a:endParaRPr lang="de-DE" smtClean="0">
              <a:latin typeface="Tele-GroteskNor"/>
              <a:cs typeface="Arial" charset="0"/>
            </a:endParaRPr>
          </a:p>
        </p:txBody>
      </p:sp>
      <p:grpSp>
        <p:nvGrpSpPr>
          <p:cNvPr id="356378" name="Group 424"/>
          <p:cNvGrpSpPr>
            <a:grpSpLocks/>
          </p:cNvGrpSpPr>
          <p:nvPr/>
        </p:nvGrpSpPr>
        <p:grpSpPr bwMode="auto">
          <a:xfrm>
            <a:off x="900113" y="1701800"/>
            <a:ext cx="7042150" cy="4371975"/>
            <a:chOff x="657" y="961"/>
            <a:chExt cx="4485" cy="2783"/>
          </a:xfrm>
        </p:grpSpPr>
        <p:sp>
          <p:nvSpPr>
            <p:cNvPr id="356403" name="AutoShape 425"/>
            <p:cNvSpPr>
              <a:spLocks noChangeAspect="1" noChangeArrowheads="1" noTextEdit="1"/>
            </p:cNvSpPr>
            <p:nvPr/>
          </p:nvSpPr>
          <p:spPr bwMode="auto">
            <a:xfrm>
              <a:off x="657" y="961"/>
              <a:ext cx="4485" cy="2783"/>
            </a:xfrm>
            <a:prstGeom prst="rect">
              <a:avLst/>
            </a:prstGeom>
            <a:noFill/>
            <a:ln w="9525">
              <a:noFill/>
              <a:miter lim="800000"/>
              <a:headEnd/>
              <a:tailEnd/>
            </a:ln>
          </p:spPr>
          <p:txBody>
            <a:bodyPr/>
            <a:lstStyle/>
            <a:p>
              <a:endParaRPr lang="de-DE"/>
            </a:p>
          </p:txBody>
        </p:sp>
        <p:sp>
          <p:nvSpPr>
            <p:cNvPr id="356404" name="Freeform 426"/>
            <p:cNvSpPr>
              <a:spLocks/>
            </p:cNvSpPr>
            <p:nvPr/>
          </p:nvSpPr>
          <p:spPr bwMode="auto">
            <a:xfrm>
              <a:off x="3705" y="2865"/>
              <a:ext cx="27" cy="50"/>
            </a:xfrm>
            <a:custGeom>
              <a:avLst/>
              <a:gdLst>
                <a:gd name="T0" fmla="*/ 6 w 27"/>
                <a:gd name="T1" fmla="*/ 0 h 50"/>
                <a:gd name="T2" fmla="*/ 6 w 27"/>
                <a:gd name="T3" fmla="*/ 0 h 50"/>
                <a:gd name="T4" fmla="*/ 11 w 27"/>
                <a:gd name="T5" fmla="*/ 6 h 50"/>
                <a:gd name="T6" fmla="*/ 6 w 27"/>
                <a:gd name="T7" fmla="*/ 6 h 50"/>
                <a:gd name="T8" fmla="*/ 0 w 27"/>
                <a:gd name="T9" fmla="*/ 22 h 50"/>
                <a:gd name="T10" fmla="*/ 0 w 27"/>
                <a:gd name="T11" fmla="*/ 22 h 50"/>
                <a:gd name="T12" fmla="*/ 0 w 27"/>
                <a:gd name="T13" fmla="*/ 39 h 50"/>
                <a:gd name="T14" fmla="*/ 6 w 27"/>
                <a:gd name="T15" fmla="*/ 50 h 50"/>
                <a:gd name="T16" fmla="*/ 16 w 27"/>
                <a:gd name="T17" fmla="*/ 50 h 50"/>
                <a:gd name="T18" fmla="*/ 27 w 27"/>
                <a:gd name="T19" fmla="*/ 39 h 50"/>
                <a:gd name="T20" fmla="*/ 27 w 27"/>
                <a:gd name="T21" fmla="*/ 28 h 50"/>
                <a:gd name="T22" fmla="*/ 16 w 27"/>
                <a:gd name="T23" fmla="*/ 6 h 50"/>
                <a:gd name="T24" fmla="*/ 11 w 27"/>
                <a:gd name="T25" fmla="*/ 0 h 50"/>
                <a:gd name="T26" fmla="*/ 6 w 27"/>
                <a:gd name="T27" fmla="*/ 0 h 50"/>
                <a:gd name="T28" fmla="*/ 6 w 27"/>
                <a:gd name="T29" fmla="*/ 0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50"/>
                <a:gd name="T47" fmla="*/ 27 w 27"/>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50">
                  <a:moveTo>
                    <a:pt x="6" y="0"/>
                  </a:moveTo>
                  <a:lnTo>
                    <a:pt x="6" y="0"/>
                  </a:lnTo>
                  <a:lnTo>
                    <a:pt x="11" y="6"/>
                  </a:lnTo>
                  <a:lnTo>
                    <a:pt x="6" y="6"/>
                  </a:lnTo>
                  <a:lnTo>
                    <a:pt x="0" y="22"/>
                  </a:lnTo>
                  <a:lnTo>
                    <a:pt x="0" y="39"/>
                  </a:lnTo>
                  <a:lnTo>
                    <a:pt x="6" y="50"/>
                  </a:lnTo>
                  <a:lnTo>
                    <a:pt x="16" y="50"/>
                  </a:lnTo>
                  <a:lnTo>
                    <a:pt x="27" y="39"/>
                  </a:lnTo>
                  <a:lnTo>
                    <a:pt x="27" y="28"/>
                  </a:lnTo>
                  <a:lnTo>
                    <a:pt x="16" y="6"/>
                  </a:lnTo>
                  <a:lnTo>
                    <a:pt x="11"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05" name="Freeform 427"/>
            <p:cNvSpPr>
              <a:spLocks/>
            </p:cNvSpPr>
            <p:nvPr/>
          </p:nvSpPr>
          <p:spPr bwMode="auto">
            <a:xfrm>
              <a:off x="5104" y="1916"/>
              <a:ext cx="38" cy="22"/>
            </a:xfrm>
            <a:custGeom>
              <a:avLst/>
              <a:gdLst>
                <a:gd name="T0" fmla="*/ 38 w 38"/>
                <a:gd name="T1" fmla="*/ 16 h 22"/>
                <a:gd name="T2" fmla="*/ 27 w 38"/>
                <a:gd name="T3" fmla="*/ 22 h 22"/>
                <a:gd name="T4" fmla="*/ 0 w 38"/>
                <a:gd name="T5" fmla="*/ 11 h 22"/>
                <a:gd name="T6" fmla="*/ 0 w 38"/>
                <a:gd name="T7" fmla="*/ 0 h 22"/>
                <a:gd name="T8" fmla="*/ 11 w 38"/>
                <a:gd name="T9" fmla="*/ 5 h 22"/>
                <a:gd name="T10" fmla="*/ 16 w 38"/>
                <a:gd name="T11" fmla="*/ 5 h 22"/>
                <a:gd name="T12" fmla="*/ 27 w 38"/>
                <a:gd name="T13" fmla="*/ 16 h 22"/>
                <a:gd name="T14" fmla="*/ 38 w 38"/>
                <a:gd name="T15" fmla="*/ 16 h 22"/>
                <a:gd name="T16" fmla="*/ 38 w 38"/>
                <a:gd name="T17" fmla="*/ 16 h 22"/>
                <a:gd name="T18" fmla="*/ 38 w 38"/>
                <a:gd name="T19" fmla="*/ 16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8"/>
                <a:gd name="T31" fmla="*/ 0 h 22"/>
                <a:gd name="T32" fmla="*/ 38 w 38"/>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8" h="22">
                  <a:moveTo>
                    <a:pt x="38" y="16"/>
                  </a:moveTo>
                  <a:lnTo>
                    <a:pt x="27" y="22"/>
                  </a:lnTo>
                  <a:lnTo>
                    <a:pt x="0" y="11"/>
                  </a:lnTo>
                  <a:lnTo>
                    <a:pt x="0" y="0"/>
                  </a:lnTo>
                  <a:lnTo>
                    <a:pt x="11" y="5"/>
                  </a:lnTo>
                  <a:lnTo>
                    <a:pt x="16" y="5"/>
                  </a:lnTo>
                  <a:lnTo>
                    <a:pt x="27" y="16"/>
                  </a:lnTo>
                  <a:lnTo>
                    <a:pt x="38"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06" name="Freeform 428"/>
            <p:cNvSpPr>
              <a:spLocks/>
            </p:cNvSpPr>
            <p:nvPr/>
          </p:nvSpPr>
          <p:spPr bwMode="auto">
            <a:xfrm>
              <a:off x="2573" y="2478"/>
              <a:ext cx="261" cy="267"/>
            </a:xfrm>
            <a:custGeom>
              <a:avLst/>
              <a:gdLst>
                <a:gd name="T0" fmla="*/ 93 w 261"/>
                <a:gd name="T1" fmla="*/ 27 h 267"/>
                <a:gd name="T2" fmla="*/ 109 w 261"/>
                <a:gd name="T3" fmla="*/ 22 h 267"/>
                <a:gd name="T4" fmla="*/ 125 w 261"/>
                <a:gd name="T5" fmla="*/ 11 h 267"/>
                <a:gd name="T6" fmla="*/ 174 w 261"/>
                <a:gd name="T7" fmla="*/ 5 h 267"/>
                <a:gd name="T8" fmla="*/ 190 w 261"/>
                <a:gd name="T9" fmla="*/ 0 h 267"/>
                <a:gd name="T10" fmla="*/ 201 w 261"/>
                <a:gd name="T11" fmla="*/ 0 h 267"/>
                <a:gd name="T12" fmla="*/ 218 w 261"/>
                <a:gd name="T13" fmla="*/ 0 h 267"/>
                <a:gd name="T14" fmla="*/ 218 w 261"/>
                <a:gd name="T15" fmla="*/ 11 h 267"/>
                <a:gd name="T16" fmla="*/ 218 w 261"/>
                <a:gd name="T17" fmla="*/ 33 h 267"/>
                <a:gd name="T18" fmla="*/ 201 w 261"/>
                <a:gd name="T19" fmla="*/ 49 h 267"/>
                <a:gd name="T20" fmla="*/ 212 w 261"/>
                <a:gd name="T21" fmla="*/ 66 h 267"/>
                <a:gd name="T22" fmla="*/ 223 w 261"/>
                <a:gd name="T23" fmla="*/ 76 h 267"/>
                <a:gd name="T24" fmla="*/ 223 w 261"/>
                <a:gd name="T25" fmla="*/ 109 h 267"/>
                <a:gd name="T26" fmla="*/ 234 w 261"/>
                <a:gd name="T27" fmla="*/ 142 h 267"/>
                <a:gd name="T28" fmla="*/ 229 w 261"/>
                <a:gd name="T29" fmla="*/ 164 h 267"/>
                <a:gd name="T30" fmla="*/ 234 w 261"/>
                <a:gd name="T31" fmla="*/ 186 h 267"/>
                <a:gd name="T32" fmla="*/ 250 w 261"/>
                <a:gd name="T33" fmla="*/ 191 h 267"/>
                <a:gd name="T34" fmla="*/ 207 w 261"/>
                <a:gd name="T35" fmla="*/ 235 h 267"/>
                <a:gd name="T36" fmla="*/ 163 w 261"/>
                <a:gd name="T37" fmla="*/ 262 h 267"/>
                <a:gd name="T38" fmla="*/ 147 w 261"/>
                <a:gd name="T39" fmla="*/ 262 h 267"/>
                <a:gd name="T40" fmla="*/ 131 w 261"/>
                <a:gd name="T41" fmla="*/ 246 h 267"/>
                <a:gd name="T42" fmla="*/ 120 w 261"/>
                <a:gd name="T43" fmla="*/ 240 h 267"/>
                <a:gd name="T44" fmla="*/ 44 w 261"/>
                <a:gd name="T45" fmla="*/ 180 h 267"/>
                <a:gd name="T46" fmla="*/ 0 w 261"/>
                <a:gd name="T47" fmla="*/ 142 h 267"/>
                <a:gd name="T48" fmla="*/ 0 w 261"/>
                <a:gd name="T49" fmla="*/ 120 h 267"/>
                <a:gd name="T50" fmla="*/ 22 w 261"/>
                <a:gd name="T51" fmla="*/ 115 h 267"/>
                <a:gd name="T52" fmla="*/ 33 w 261"/>
                <a:gd name="T53" fmla="*/ 109 h 267"/>
                <a:gd name="T54" fmla="*/ 60 w 261"/>
                <a:gd name="T55" fmla="*/ 93 h 267"/>
                <a:gd name="T56" fmla="*/ 60 w 261"/>
                <a:gd name="T57" fmla="*/ 82 h 267"/>
                <a:gd name="T58" fmla="*/ 71 w 261"/>
                <a:gd name="T59" fmla="*/ 76 h 267"/>
                <a:gd name="T60" fmla="*/ 93 w 261"/>
                <a:gd name="T61" fmla="*/ 71 h 267"/>
                <a:gd name="T62" fmla="*/ 87 w 261"/>
                <a:gd name="T63" fmla="*/ 66 h 267"/>
                <a:gd name="T64" fmla="*/ 82 w 261"/>
                <a:gd name="T65" fmla="*/ 33 h 267"/>
                <a:gd name="T66" fmla="*/ 82 w 261"/>
                <a:gd name="T67" fmla="*/ 33 h 26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1"/>
                <a:gd name="T103" fmla="*/ 0 h 267"/>
                <a:gd name="T104" fmla="*/ 261 w 261"/>
                <a:gd name="T105" fmla="*/ 267 h 26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1" h="267">
                  <a:moveTo>
                    <a:pt x="82" y="33"/>
                  </a:moveTo>
                  <a:lnTo>
                    <a:pt x="93" y="27"/>
                  </a:lnTo>
                  <a:lnTo>
                    <a:pt x="98" y="22"/>
                  </a:lnTo>
                  <a:lnTo>
                    <a:pt x="109" y="22"/>
                  </a:lnTo>
                  <a:lnTo>
                    <a:pt x="114" y="16"/>
                  </a:lnTo>
                  <a:lnTo>
                    <a:pt x="125" y="11"/>
                  </a:lnTo>
                  <a:lnTo>
                    <a:pt x="158" y="5"/>
                  </a:lnTo>
                  <a:lnTo>
                    <a:pt x="174" y="5"/>
                  </a:lnTo>
                  <a:lnTo>
                    <a:pt x="190" y="0"/>
                  </a:lnTo>
                  <a:lnTo>
                    <a:pt x="196" y="5"/>
                  </a:lnTo>
                  <a:lnTo>
                    <a:pt x="201" y="0"/>
                  </a:lnTo>
                  <a:lnTo>
                    <a:pt x="207" y="5"/>
                  </a:lnTo>
                  <a:lnTo>
                    <a:pt x="218" y="0"/>
                  </a:lnTo>
                  <a:lnTo>
                    <a:pt x="212" y="11"/>
                  </a:lnTo>
                  <a:lnTo>
                    <a:pt x="218" y="11"/>
                  </a:lnTo>
                  <a:lnTo>
                    <a:pt x="212" y="22"/>
                  </a:lnTo>
                  <a:lnTo>
                    <a:pt x="218" y="33"/>
                  </a:lnTo>
                  <a:lnTo>
                    <a:pt x="212" y="38"/>
                  </a:lnTo>
                  <a:lnTo>
                    <a:pt x="201" y="49"/>
                  </a:lnTo>
                  <a:lnTo>
                    <a:pt x="207" y="60"/>
                  </a:lnTo>
                  <a:lnTo>
                    <a:pt x="212" y="66"/>
                  </a:lnTo>
                  <a:lnTo>
                    <a:pt x="212" y="71"/>
                  </a:lnTo>
                  <a:lnTo>
                    <a:pt x="223" y="76"/>
                  </a:lnTo>
                  <a:lnTo>
                    <a:pt x="229" y="104"/>
                  </a:lnTo>
                  <a:lnTo>
                    <a:pt x="223" y="109"/>
                  </a:lnTo>
                  <a:lnTo>
                    <a:pt x="229" y="120"/>
                  </a:lnTo>
                  <a:lnTo>
                    <a:pt x="234" y="142"/>
                  </a:lnTo>
                  <a:lnTo>
                    <a:pt x="229" y="158"/>
                  </a:lnTo>
                  <a:lnTo>
                    <a:pt x="229" y="164"/>
                  </a:lnTo>
                  <a:lnTo>
                    <a:pt x="234" y="175"/>
                  </a:lnTo>
                  <a:lnTo>
                    <a:pt x="234" y="186"/>
                  </a:lnTo>
                  <a:lnTo>
                    <a:pt x="239" y="186"/>
                  </a:lnTo>
                  <a:lnTo>
                    <a:pt x="250" y="191"/>
                  </a:lnTo>
                  <a:lnTo>
                    <a:pt x="261" y="202"/>
                  </a:lnTo>
                  <a:lnTo>
                    <a:pt x="207" y="235"/>
                  </a:lnTo>
                  <a:lnTo>
                    <a:pt x="180" y="256"/>
                  </a:lnTo>
                  <a:lnTo>
                    <a:pt x="163" y="262"/>
                  </a:lnTo>
                  <a:lnTo>
                    <a:pt x="152" y="267"/>
                  </a:lnTo>
                  <a:lnTo>
                    <a:pt x="147" y="262"/>
                  </a:lnTo>
                  <a:lnTo>
                    <a:pt x="147" y="251"/>
                  </a:lnTo>
                  <a:lnTo>
                    <a:pt x="131" y="246"/>
                  </a:lnTo>
                  <a:lnTo>
                    <a:pt x="131" y="240"/>
                  </a:lnTo>
                  <a:lnTo>
                    <a:pt x="120" y="240"/>
                  </a:lnTo>
                  <a:lnTo>
                    <a:pt x="120" y="235"/>
                  </a:lnTo>
                  <a:lnTo>
                    <a:pt x="44" y="180"/>
                  </a:lnTo>
                  <a:lnTo>
                    <a:pt x="0" y="147"/>
                  </a:lnTo>
                  <a:lnTo>
                    <a:pt x="0" y="142"/>
                  </a:lnTo>
                  <a:lnTo>
                    <a:pt x="0" y="126"/>
                  </a:lnTo>
                  <a:lnTo>
                    <a:pt x="0" y="120"/>
                  </a:lnTo>
                  <a:lnTo>
                    <a:pt x="16" y="115"/>
                  </a:lnTo>
                  <a:lnTo>
                    <a:pt x="22" y="115"/>
                  </a:lnTo>
                  <a:lnTo>
                    <a:pt x="22" y="109"/>
                  </a:lnTo>
                  <a:lnTo>
                    <a:pt x="33" y="109"/>
                  </a:lnTo>
                  <a:lnTo>
                    <a:pt x="44" y="104"/>
                  </a:lnTo>
                  <a:lnTo>
                    <a:pt x="60" y="93"/>
                  </a:lnTo>
                  <a:lnTo>
                    <a:pt x="60" y="82"/>
                  </a:lnTo>
                  <a:lnTo>
                    <a:pt x="71" y="82"/>
                  </a:lnTo>
                  <a:lnTo>
                    <a:pt x="71" y="76"/>
                  </a:lnTo>
                  <a:lnTo>
                    <a:pt x="93" y="76"/>
                  </a:lnTo>
                  <a:lnTo>
                    <a:pt x="93" y="71"/>
                  </a:lnTo>
                  <a:lnTo>
                    <a:pt x="87" y="66"/>
                  </a:lnTo>
                  <a:lnTo>
                    <a:pt x="87" y="38"/>
                  </a:lnTo>
                  <a:lnTo>
                    <a:pt x="82"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07" name="Freeform 429"/>
            <p:cNvSpPr>
              <a:spLocks/>
            </p:cNvSpPr>
            <p:nvPr/>
          </p:nvSpPr>
          <p:spPr bwMode="auto">
            <a:xfrm>
              <a:off x="2829" y="3067"/>
              <a:ext cx="163" cy="159"/>
            </a:xfrm>
            <a:custGeom>
              <a:avLst/>
              <a:gdLst>
                <a:gd name="T0" fmla="*/ 0 w 163"/>
                <a:gd name="T1" fmla="*/ 153 h 159"/>
                <a:gd name="T2" fmla="*/ 0 w 163"/>
                <a:gd name="T3" fmla="*/ 131 h 159"/>
                <a:gd name="T4" fmla="*/ 11 w 163"/>
                <a:gd name="T5" fmla="*/ 104 h 159"/>
                <a:gd name="T6" fmla="*/ 16 w 163"/>
                <a:gd name="T7" fmla="*/ 93 h 159"/>
                <a:gd name="T8" fmla="*/ 27 w 163"/>
                <a:gd name="T9" fmla="*/ 82 h 159"/>
                <a:gd name="T10" fmla="*/ 27 w 163"/>
                <a:gd name="T11" fmla="*/ 66 h 159"/>
                <a:gd name="T12" fmla="*/ 27 w 163"/>
                <a:gd name="T13" fmla="*/ 60 h 159"/>
                <a:gd name="T14" fmla="*/ 22 w 163"/>
                <a:gd name="T15" fmla="*/ 55 h 159"/>
                <a:gd name="T16" fmla="*/ 22 w 163"/>
                <a:gd name="T17" fmla="*/ 44 h 159"/>
                <a:gd name="T18" fmla="*/ 22 w 163"/>
                <a:gd name="T19" fmla="*/ 39 h 159"/>
                <a:gd name="T20" fmla="*/ 22 w 163"/>
                <a:gd name="T21" fmla="*/ 33 h 159"/>
                <a:gd name="T22" fmla="*/ 11 w 163"/>
                <a:gd name="T23" fmla="*/ 6 h 159"/>
                <a:gd name="T24" fmla="*/ 22 w 163"/>
                <a:gd name="T25" fmla="*/ 0 h 159"/>
                <a:gd name="T26" fmla="*/ 60 w 163"/>
                <a:gd name="T27" fmla="*/ 0 h 159"/>
                <a:gd name="T28" fmla="*/ 65 w 163"/>
                <a:gd name="T29" fmla="*/ 6 h 159"/>
                <a:gd name="T30" fmla="*/ 71 w 163"/>
                <a:gd name="T31" fmla="*/ 17 h 159"/>
                <a:gd name="T32" fmla="*/ 81 w 163"/>
                <a:gd name="T33" fmla="*/ 28 h 159"/>
                <a:gd name="T34" fmla="*/ 98 w 163"/>
                <a:gd name="T35" fmla="*/ 28 h 159"/>
                <a:gd name="T36" fmla="*/ 103 w 163"/>
                <a:gd name="T37" fmla="*/ 17 h 159"/>
                <a:gd name="T38" fmla="*/ 120 w 163"/>
                <a:gd name="T39" fmla="*/ 11 h 159"/>
                <a:gd name="T40" fmla="*/ 120 w 163"/>
                <a:gd name="T41" fmla="*/ 17 h 159"/>
                <a:gd name="T42" fmla="*/ 130 w 163"/>
                <a:gd name="T43" fmla="*/ 17 h 159"/>
                <a:gd name="T44" fmla="*/ 130 w 163"/>
                <a:gd name="T45" fmla="*/ 22 h 159"/>
                <a:gd name="T46" fmla="*/ 130 w 163"/>
                <a:gd name="T47" fmla="*/ 44 h 159"/>
                <a:gd name="T48" fmla="*/ 136 w 163"/>
                <a:gd name="T49" fmla="*/ 60 h 159"/>
                <a:gd name="T50" fmla="*/ 136 w 163"/>
                <a:gd name="T51" fmla="*/ 66 h 159"/>
                <a:gd name="T52" fmla="*/ 136 w 163"/>
                <a:gd name="T53" fmla="*/ 71 h 159"/>
                <a:gd name="T54" fmla="*/ 141 w 163"/>
                <a:gd name="T55" fmla="*/ 66 h 159"/>
                <a:gd name="T56" fmla="*/ 163 w 163"/>
                <a:gd name="T57" fmla="*/ 66 h 159"/>
                <a:gd name="T58" fmla="*/ 158 w 163"/>
                <a:gd name="T59" fmla="*/ 88 h 159"/>
                <a:gd name="T60" fmla="*/ 163 w 163"/>
                <a:gd name="T61" fmla="*/ 93 h 159"/>
                <a:gd name="T62" fmla="*/ 136 w 163"/>
                <a:gd name="T63" fmla="*/ 93 h 159"/>
                <a:gd name="T64" fmla="*/ 136 w 163"/>
                <a:gd name="T65" fmla="*/ 142 h 159"/>
                <a:gd name="T66" fmla="*/ 152 w 163"/>
                <a:gd name="T67" fmla="*/ 153 h 159"/>
                <a:gd name="T68" fmla="*/ 125 w 163"/>
                <a:gd name="T69" fmla="*/ 159 h 159"/>
                <a:gd name="T70" fmla="*/ 109 w 163"/>
                <a:gd name="T71" fmla="*/ 159 h 159"/>
                <a:gd name="T72" fmla="*/ 98 w 163"/>
                <a:gd name="T73" fmla="*/ 159 h 159"/>
                <a:gd name="T74" fmla="*/ 87 w 163"/>
                <a:gd name="T75" fmla="*/ 148 h 159"/>
                <a:gd name="T76" fmla="*/ 27 w 163"/>
                <a:gd name="T77" fmla="*/ 153 h 159"/>
                <a:gd name="T78" fmla="*/ 22 w 163"/>
                <a:gd name="T79" fmla="*/ 142 h 159"/>
                <a:gd name="T80" fmla="*/ 16 w 163"/>
                <a:gd name="T81" fmla="*/ 142 h 159"/>
                <a:gd name="T82" fmla="*/ 5 w 163"/>
                <a:gd name="T83" fmla="*/ 148 h 159"/>
                <a:gd name="T84" fmla="*/ 5 w 163"/>
                <a:gd name="T85" fmla="*/ 148 h 159"/>
                <a:gd name="T86" fmla="*/ 0 w 163"/>
                <a:gd name="T87" fmla="*/ 153 h 159"/>
                <a:gd name="T88" fmla="*/ 0 w 163"/>
                <a:gd name="T89" fmla="*/ 153 h 1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63"/>
                <a:gd name="T136" fmla="*/ 0 h 159"/>
                <a:gd name="T137" fmla="*/ 163 w 163"/>
                <a:gd name="T138" fmla="*/ 159 h 1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63" h="159">
                  <a:moveTo>
                    <a:pt x="0" y="153"/>
                  </a:moveTo>
                  <a:lnTo>
                    <a:pt x="0" y="131"/>
                  </a:lnTo>
                  <a:lnTo>
                    <a:pt x="11" y="104"/>
                  </a:lnTo>
                  <a:lnTo>
                    <a:pt x="16" y="93"/>
                  </a:lnTo>
                  <a:lnTo>
                    <a:pt x="27" y="82"/>
                  </a:lnTo>
                  <a:lnTo>
                    <a:pt x="27" y="66"/>
                  </a:lnTo>
                  <a:lnTo>
                    <a:pt x="27" y="60"/>
                  </a:lnTo>
                  <a:lnTo>
                    <a:pt x="22" y="55"/>
                  </a:lnTo>
                  <a:lnTo>
                    <a:pt x="22" y="44"/>
                  </a:lnTo>
                  <a:lnTo>
                    <a:pt x="22" y="39"/>
                  </a:lnTo>
                  <a:lnTo>
                    <a:pt x="22" y="33"/>
                  </a:lnTo>
                  <a:lnTo>
                    <a:pt x="11" y="6"/>
                  </a:lnTo>
                  <a:lnTo>
                    <a:pt x="22" y="0"/>
                  </a:lnTo>
                  <a:lnTo>
                    <a:pt x="60" y="0"/>
                  </a:lnTo>
                  <a:lnTo>
                    <a:pt x="65" y="6"/>
                  </a:lnTo>
                  <a:lnTo>
                    <a:pt x="71" y="17"/>
                  </a:lnTo>
                  <a:lnTo>
                    <a:pt x="81" y="28"/>
                  </a:lnTo>
                  <a:lnTo>
                    <a:pt x="98" y="28"/>
                  </a:lnTo>
                  <a:lnTo>
                    <a:pt x="103" y="17"/>
                  </a:lnTo>
                  <a:lnTo>
                    <a:pt x="120" y="11"/>
                  </a:lnTo>
                  <a:lnTo>
                    <a:pt x="120" y="17"/>
                  </a:lnTo>
                  <a:lnTo>
                    <a:pt x="130" y="17"/>
                  </a:lnTo>
                  <a:lnTo>
                    <a:pt x="130" y="22"/>
                  </a:lnTo>
                  <a:lnTo>
                    <a:pt x="130" y="44"/>
                  </a:lnTo>
                  <a:lnTo>
                    <a:pt x="136" y="60"/>
                  </a:lnTo>
                  <a:lnTo>
                    <a:pt x="136" y="66"/>
                  </a:lnTo>
                  <a:lnTo>
                    <a:pt x="136" y="71"/>
                  </a:lnTo>
                  <a:lnTo>
                    <a:pt x="141" y="66"/>
                  </a:lnTo>
                  <a:lnTo>
                    <a:pt x="163" y="66"/>
                  </a:lnTo>
                  <a:lnTo>
                    <a:pt x="158" y="88"/>
                  </a:lnTo>
                  <a:lnTo>
                    <a:pt x="163" y="93"/>
                  </a:lnTo>
                  <a:lnTo>
                    <a:pt x="136" y="93"/>
                  </a:lnTo>
                  <a:lnTo>
                    <a:pt x="136" y="142"/>
                  </a:lnTo>
                  <a:lnTo>
                    <a:pt x="152" y="153"/>
                  </a:lnTo>
                  <a:lnTo>
                    <a:pt x="125" y="159"/>
                  </a:lnTo>
                  <a:lnTo>
                    <a:pt x="109" y="159"/>
                  </a:lnTo>
                  <a:lnTo>
                    <a:pt x="98" y="159"/>
                  </a:lnTo>
                  <a:lnTo>
                    <a:pt x="87" y="148"/>
                  </a:lnTo>
                  <a:lnTo>
                    <a:pt x="27" y="153"/>
                  </a:lnTo>
                  <a:lnTo>
                    <a:pt x="22" y="142"/>
                  </a:lnTo>
                  <a:lnTo>
                    <a:pt x="16" y="142"/>
                  </a:lnTo>
                  <a:lnTo>
                    <a:pt x="5" y="148"/>
                  </a:lnTo>
                  <a:lnTo>
                    <a:pt x="0" y="15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08" name="Freeform 430"/>
            <p:cNvSpPr>
              <a:spLocks/>
            </p:cNvSpPr>
            <p:nvPr/>
          </p:nvSpPr>
          <p:spPr bwMode="auto">
            <a:xfrm>
              <a:off x="2834" y="3046"/>
              <a:ext cx="11" cy="21"/>
            </a:xfrm>
            <a:custGeom>
              <a:avLst/>
              <a:gdLst>
                <a:gd name="T0" fmla="*/ 6 w 11"/>
                <a:gd name="T1" fmla="*/ 21 h 21"/>
                <a:gd name="T2" fmla="*/ 0 w 11"/>
                <a:gd name="T3" fmla="*/ 10 h 21"/>
                <a:gd name="T4" fmla="*/ 11 w 11"/>
                <a:gd name="T5" fmla="*/ 0 h 21"/>
                <a:gd name="T6" fmla="*/ 11 w 11"/>
                <a:gd name="T7" fmla="*/ 5 h 21"/>
                <a:gd name="T8" fmla="*/ 6 w 11"/>
                <a:gd name="T9" fmla="*/ 10 h 21"/>
                <a:gd name="T10" fmla="*/ 6 w 11"/>
                <a:gd name="T11" fmla="*/ 21 h 21"/>
                <a:gd name="T12" fmla="*/ 6 w 11"/>
                <a:gd name="T13" fmla="*/ 21 h 21"/>
                <a:gd name="T14" fmla="*/ 6 w 11"/>
                <a:gd name="T15" fmla="*/ 21 h 2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1"/>
                <a:gd name="T26" fmla="*/ 11 w 11"/>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1">
                  <a:moveTo>
                    <a:pt x="6" y="21"/>
                  </a:moveTo>
                  <a:lnTo>
                    <a:pt x="0" y="10"/>
                  </a:lnTo>
                  <a:lnTo>
                    <a:pt x="11" y="0"/>
                  </a:lnTo>
                  <a:lnTo>
                    <a:pt x="11" y="5"/>
                  </a:lnTo>
                  <a:lnTo>
                    <a:pt x="6" y="10"/>
                  </a:lnTo>
                  <a:lnTo>
                    <a:pt x="6" y="2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09" name="Freeform 431"/>
            <p:cNvSpPr>
              <a:spLocks/>
            </p:cNvSpPr>
            <p:nvPr/>
          </p:nvSpPr>
          <p:spPr bwMode="auto">
            <a:xfrm>
              <a:off x="2938" y="3226"/>
              <a:ext cx="119" cy="125"/>
            </a:xfrm>
            <a:custGeom>
              <a:avLst/>
              <a:gdLst>
                <a:gd name="T0" fmla="*/ 119 w 119"/>
                <a:gd name="T1" fmla="*/ 54 h 125"/>
                <a:gd name="T2" fmla="*/ 98 w 119"/>
                <a:gd name="T3" fmla="*/ 71 h 125"/>
                <a:gd name="T4" fmla="*/ 76 w 119"/>
                <a:gd name="T5" fmla="*/ 92 h 125"/>
                <a:gd name="T6" fmla="*/ 70 w 119"/>
                <a:gd name="T7" fmla="*/ 103 h 125"/>
                <a:gd name="T8" fmla="*/ 60 w 119"/>
                <a:gd name="T9" fmla="*/ 109 h 125"/>
                <a:gd name="T10" fmla="*/ 49 w 119"/>
                <a:gd name="T11" fmla="*/ 103 h 125"/>
                <a:gd name="T12" fmla="*/ 43 w 119"/>
                <a:gd name="T13" fmla="*/ 103 h 125"/>
                <a:gd name="T14" fmla="*/ 27 w 119"/>
                <a:gd name="T15" fmla="*/ 120 h 125"/>
                <a:gd name="T16" fmla="*/ 21 w 119"/>
                <a:gd name="T17" fmla="*/ 125 h 125"/>
                <a:gd name="T18" fmla="*/ 11 w 119"/>
                <a:gd name="T19" fmla="*/ 120 h 125"/>
                <a:gd name="T20" fmla="*/ 11 w 119"/>
                <a:gd name="T21" fmla="*/ 109 h 125"/>
                <a:gd name="T22" fmla="*/ 0 w 119"/>
                <a:gd name="T23" fmla="*/ 92 h 125"/>
                <a:gd name="T24" fmla="*/ 0 w 119"/>
                <a:gd name="T25" fmla="*/ 54 h 125"/>
                <a:gd name="T26" fmla="*/ 11 w 119"/>
                <a:gd name="T27" fmla="*/ 54 h 125"/>
                <a:gd name="T28" fmla="*/ 11 w 119"/>
                <a:gd name="T29" fmla="*/ 5 h 125"/>
                <a:gd name="T30" fmla="*/ 38 w 119"/>
                <a:gd name="T31" fmla="*/ 0 h 125"/>
                <a:gd name="T32" fmla="*/ 43 w 119"/>
                <a:gd name="T33" fmla="*/ 0 h 125"/>
                <a:gd name="T34" fmla="*/ 43 w 119"/>
                <a:gd name="T35" fmla="*/ 11 h 125"/>
                <a:gd name="T36" fmla="*/ 54 w 119"/>
                <a:gd name="T37" fmla="*/ 0 h 125"/>
                <a:gd name="T38" fmla="*/ 60 w 119"/>
                <a:gd name="T39" fmla="*/ 0 h 125"/>
                <a:gd name="T40" fmla="*/ 65 w 119"/>
                <a:gd name="T41" fmla="*/ 0 h 125"/>
                <a:gd name="T42" fmla="*/ 76 w 119"/>
                <a:gd name="T43" fmla="*/ 16 h 125"/>
                <a:gd name="T44" fmla="*/ 98 w 119"/>
                <a:gd name="T45" fmla="*/ 38 h 125"/>
                <a:gd name="T46" fmla="*/ 103 w 119"/>
                <a:gd name="T47" fmla="*/ 49 h 125"/>
                <a:gd name="T48" fmla="*/ 119 w 119"/>
                <a:gd name="T49" fmla="*/ 54 h 125"/>
                <a:gd name="T50" fmla="*/ 119 w 119"/>
                <a:gd name="T51" fmla="*/ 54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9"/>
                <a:gd name="T79" fmla="*/ 0 h 125"/>
                <a:gd name="T80" fmla="*/ 119 w 119"/>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9" h="125">
                  <a:moveTo>
                    <a:pt x="119" y="54"/>
                  </a:moveTo>
                  <a:lnTo>
                    <a:pt x="98" y="71"/>
                  </a:lnTo>
                  <a:lnTo>
                    <a:pt x="76" y="92"/>
                  </a:lnTo>
                  <a:lnTo>
                    <a:pt x="70" y="103"/>
                  </a:lnTo>
                  <a:lnTo>
                    <a:pt x="60" y="109"/>
                  </a:lnTo>
                  <a:lnTo>
                    <a:pt x="49" y="103"/>
                  </a:lnTo>
                  <a:lnTo>
                    <a:pt x="43" y="103"/>
                  </a:lnTo>
                  <a:lnTo>
                    <a:pt x="27" y="120"/>
                  </a:lnTo>
                  <a:lnTo>
                    <a:pt x="21" y="125"/>
                  </a:lnTo>
                  <a:lnTo>
                    <a:pt x="11" y="120"/>
                  </a:lnTo>
                  <a:lnTo>
                    <a:pt x="11" y="109"/>
                  </a:lnTo>
                  <a:lnTo>
                    <a:pt x="0" y="92"/>
                  </a:lnTo>
                  <a:lnTo>
                    <a:pt x="0" y="54"/>
                  </a:lnTo>
                  <a:lnTo>
                    <a:pt x="11" y="54"/>
                  </a:lnTo>
                  <a:lnTo>
                    <a:pt x="11" y="5"/>
                  </a:lnTo>
                  <a:lnTo>
                    <a:pt x="38" y="0"/>
                  </a:lnTo>
                  <a:lnTo>
                    <a:pt x="43" y="0"/>
                  </a:lnTo>
                  <a:lnTo>
                    <a:pt x="43" y="11"/>
                  </a:lnTo>
                  <a:lnTo>
                    <a:pt x="54" y="0"/>
                  </a:lnTo>
                  <a:lnTo>
                    <a:pt x="60" y="0"/>
                  </a:lnTo>
                  <a:lnTo>
                    <a:pt x="65" y="0"/>
                  </a:lnTo>
                  <a:lnTo>
                    <a:pt x="76" y="16"/>
                  </a:lnTo>
                  <a:lnTo>
                    <a:pt x="98" y="38"/>
                  </a:lnTo>
                  <a:lnTo>
                    <a:pt x="103" y="49"/>
                  </a:lnTo>
                  <a:lnTo>
                    <a:pt x="119" y="5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0" name="Freeform 432"/>
            <p:cNvSpPr>
              <a:spLocks/>
            </p:cNvSpPr>
            <p:nvPr/>
          </p:nvSpPr>
          <p:spPr bwMode="auto">
            <a:xfrm>
              <a:off x="2791" y="2827"/>
              <a:ext cx="98" cy="142"/>
            </a:xfrm>
            <a:custGeom>
              <a:avLst/>
              <a:gdLst>
                <a:gd name="T0" fmla="*/ 70 w 98"/>
                <a:gd name="T1" fmla="*/ 0 h 142"/>
                <a:gd name="T2" fmla="*/ 76 w 98"/>
                <a:gd name="T3" fmla="*/ 6 h 142"/>
                <a:gd name="T4" fmla="*/ 76 w 98"/>
                <a:gd name="T5" fmla="*/ 11 h 142"/>
                <a:gd name="T6" fmla="*/ 65 w 98"/>
                <a:gd name="T7" fmla="*/ 22 h 142"/>
                <a:gd name="T8" fmla="*/ 54 w 98"/>
                <a:gd name="T9" fmla="*/ 49 h 142"/>
                <a:gd name="T10" fmla="*/ 49 w 98"/>
                <a:gd name="T11" fmla="*/ 55 h 142"/>
                <a:gd name="T12" fmla="*/ 38 w 98"/>
                <a:gd name="T13" fmla="*/ 82 h 142"/>
                <a:gd name="T14" fmla="*/ 32 w 98"/>
                <a:gd name="T15" fmla="*/ 82 h 142"/>
                <a:gd name="T16" fmla="*/ 27 w 98"/>
                <a:gd name="T17" fmla="*/ 77 h 142"/>
                <a:gd name="T18" fmla="*/ 11 w 98"/>
                <a:gd name="T19" fmla="*/ 77 h 142"/>
                <a:gd name="T20" fmla="*/ 5 w 98"/>
                <a:gd name="T21" fmla="*/ 88 h 142"/>
                <a:gd name="T22" fmla="*/ 0 w 98"/>
                <a:gd name="T23" fmla="*/ 104 h 142"/>
                <a:gd name="T24" fmla="*/ 0 w 98"/>
                <a:gd name="T25" fmla="*/ 104 h 142"/>
                <a:gd name="T26" fmla="*/ 5 w 98"/>
                <a:gd name="T27" fmla="*/ 104 h 142"/>
                <a:gd name="T28" fmla="*/ 5 w 98"/>
                <a:gd name="T29" fmla="*/ 115 h 142"/>
                <a:gd name="T30" fmla="*/ 11 w 98"/>
                <a:gd name="T31" fmla="*/ 115 h 142"/>
                <a:gd name="T32" fmla="*/ 11 w 98"/>
                <a:gd name="T33" fmla="*/ 115 h 142"/>
                <a:gd name="T34" fmla="*/ 16 w 98"/>
                <a:gd name="T35" fmla="*/ 120 h 142"/>
                <a:gd name="T36" fmla="*/ 11 w 98"/>
                <a:gd name="T37" fmla="*/ 137 h 142"/>
                <a:gd name="T38" fmla="*/ 32 w 98"/>
                <a:gd name="T39" fmla="*/ 137 h 142"/>
                <a:gd name="T40" fmla="*/ 60 w 98"/>
                <a:gd name="T41" fmla="*/ 137 h 142"/>
                <a:gd name="T42" fmla="*/ 76 w 98"/>
                <a:gd name="T43" fmla="*/ 137 h 142"/>
                <a:gd name="T44" fmla="*/ 92 w 98"/>
                <a:gd name="T45" fmla="*/ 137 h 142"/>
                <a:gd name="T46" fmla="*/ 92 w 98"/>
                <a:gd name="T47" fmla="*/ 142 h 142"/>
                <a:gd name="T48" fmla="*/ 98 w 98"/>
                <a:gd name="T49" fmla="*/ 126 h 142"/>
                <a:gd name="T50" fmla="*/ 87 w 98"/>
                <a:gd name="T51" fmla="*/ 120 h 142"/>
                <a:gd name="T52" fmla="*/ 76 w 98"/>
                <a:gd name="T53" fmla="*/ 104 h 142"/>
                <a:gd name="T54" fmla="*/ 76 w 98"/>
                <a:gd name="T55" fmla="*/ 88 h 142"/>
                <a:gd name="T56" fmla="*/ 87 w 98"/>
                <a:gd name="T57" fmla="*/ 71 h 142"/>
                <a:gd name="T58" fmla="*/ 81 w 98"/>
                <a:gd name="T59" fmla="*/ 55 h 142"/>
                <a:gd name="T60" fmla="*/ 76 w 98"/>
                <a:gd name="T61" fmla="*/ 49 h 142"/>
                <a:gd name="T62" fmla="*/ 70 w 98"/>
                <a:gd name="T63" fmla="*/ 38 h 142"/>
                <a:gd name="T64" fmla="*/ 70 w 98"/>
                <a:gd name="T65" fmla="*/ 38 h 142"/>
                <a:gd name="T66" fmla="*/ 87 w 98"/>
                <a:gd name="T67" fmla="*/ 33 h 142"/>
                <a:gd name="T68" fmla="*/ 81 w 98"/>
                <a:gd name="T69" fmla="*/ 22 h 142"/>
                <a:gd name="T70" fmla="*/ 81 w 98"/>
                <a:gd name="T71" fmla="*/ 11 h 142"/>
                <a:gd name="T72" fmla="*/ 76 w 98"/>
                <a:gd name="T73" fmla="*/ 0 h 142"/>
                <a:gd name="T74" fmla="*/ 70 w 98"/>
                <a:gd name="T75" fmla="*/ 0 h 142"/>
                <a:gd name="T76" fmla="*/ 70 w 98"/>
                <a:gd name="T77" fmla="*/ 0 h 14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42"/>
                <a:gd name="T119" fmla="*/ 98 w 98"/>
                <a:gd name="T120" fmla="*/ 142 h 14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42">
                  <a:moveTo>
                    <a:pt x="70" y="0"/>
                  </a:moveTo>
                  <a:lnTo>
                    <a:pt x="76" y="6"/>
                  </a:lnTo>
                  <a:lnTo>
                    <a:pt x="76" y="11"/>
                  </a:lnTo>
                  <a:lnTo>
                    <a:pt x="65" y="22"/>
                  </a:lnTo>
                  <a:lnTo>
                    <a:pt x="54" y="49"/>
                  </a:lnTo>
                  <a:lnTo>
                    <a:pt x="49" y="55"/>
                  </a:lnTo>
                  <a:lnTo>
                    <a:pt x="38" y="82"/>
                  </a:lnTo>
                  <a:lnTo>
                    <a:pt x="32" y="82"/>
                  </a:lnTo>
                  <a:lnTo>
                    <a:pt x="27" y="77"/>
                  </a:lnTo>
                  <a:lnTo>
                    <a:pt x="11" y="77"/>
                  </a:lnTo>
                  <a:lnTo>
                    <a:pt x="5" y="88"/>
                  </a:lnTo>
                  <a:lnTo>
                    <a:pt x="0" y="104"/>
                  </a:lnTo>
                  <a:lnTo>
                    <a:pt x="5" y="104"/>
                  </a:lnTo>
                  <a:lnTo>
                    <a:pt x="5" y="115"/>
                  </a:lnTo>
                  <a:lnTo>
                    <a:pt x="11" y="115"/>
                  </a:lnTo>
                  <a:lnTo>
                    <a:pt x="16" y="120"/>
                  </a:lnTo>
                  <a:lnTo>
                    <a:pt x="11" y="137"/>
                  </a:lnTo>
                  <a:lnTo>
                    <a:pt x="32" y="137"/>
                  </a:lnTo>
                  <a:lnTo>
                    <a:pt x="60" y="137"/>
                  </a:lnTo>
                  <a:lnTo>
                    <a:pt x="76" y="137"/>
                  </a:lnTo>
                  <a:lnTo>
                    <a:pt x="92" y="137"/>
                  </a:lnTo>
                  <a:lnTo>
                    <a:pt x="92" y="142"/>
                  </a:lnTo>
                  <a:lnTo>
                    <a:pt x="98" y="126"/>
                  </a:lnTo>
                  <a:lnTo>
                    <a:pt x="87" y="120"/>
                  </a:lnTo>
                  <a:lnTo>
                    <a:pt x="76" y="104"/>
                  </a:lnTo>
                  <a:lnTo>
                    <a:pt x="76" y="88"/>
                  </a:lnTo>
                  <a:lnTo>
                    <a:pt x="87" y="71"/>
                  </a:lnTo>
                  <a:lnTo>
                    <a:pt x="81" y="55"/>
                  </a:lnTo>
                  <a:lnTo>
                    <a:pt x="76" y="49"/>
                  </a:lnTo>
                  <a:lnTo>
                    <a:pt x="70" y="38"/>
                  </a:lnTo>
                  <a:lnTo>
                    <a:pt x="87" y="33"/>
                  </a:lnTo>
                  <a:lnTo>
                    <a:pt x="81" y="22"/>
                  </a:lnTo>
                  <a:lnTo>
                    <a:pt x="81" y="11"/>
                  </a:lnTo>
                  <a:lnTo>
                    <a:pt x="76" y="0"/>
                  </a:lnTo>
                  <a:lnTo>
                    <a:pt x="7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1" name="Freeform 433"/>
            <p:cNvSpPr>
              <a:spLocks/>
            </p:cNvSpPr>
            <p:nvPr/>
          </p:nvSpPr>
          <p:spPr bwMode="auto">
            <a:xfrm>
              <a:off x="2867" y="2849"/>
              <a:ext cx="169" cy="104"/>
            </a:xfrm>
            <a:custGeom>
              <a:avLst/>
              <a:gdLst>
                <a:gd name="T0" fmla="*/ 103 w 169"/>
                <a:gd name="T1" fmla="*/ 0 h 104"/>
                <a:gd name="T2" fmla="*/ 98 w 169"/>
                <a:gd name="T3" fmla="*/ 0 h 104"/>
                <a:gd name="T4" fmla="*/ 92 w 169"/>
                <a:gd name="T5" fmla="*/ 11 h 104"/>
                <a:gd name="T6" fmla="*/ 76 w 169"/>
                <a:gd name="T7" fmla="*/ 27 h 104"/>
                <a:gd name="T8" fmla="*/ 60 w 169"/>
                <a:gd name="T9" fmla="*/ 27 h 104"/>
                <a:gd name="T10" fmla="*/ 60 w 169"/>
                <a:gd name="T11" fmla="*/ 33 h 104"/>
                <a:gd name="T12" fmla="*/ 54 w 169"/>
                <a:gd name="T13" fmla="*/ 38 h 104"/>
                <a:gd name="T14" fmla="*/ 43 w 169"/>
                <a:gd name="T15" fmla="*/ 38 h 104"/>
                <a:gd name="T16" fmla="*/ 33 w 169"/>
                <a:gd name="T17" fmla="*/ 44 h 104"/>
                <a:gd name="T18" fmla="*/ 27 w 169"/>
                <a:gd name="T19" fmla="*/ 44 h 104"/>
                <a:gd name="T20" fmla="*/ 22 w 169"/>
                <a:gd name="T21" fmla="*/ 44 h 104"/>
                <a:gd name="T22" fmla="*/ 11 w 169"/>
                <a:gd name="T23" fmla="*/ 49 h 104"/>
                <a:gd name="T24" fmla="*/ 0 w 169"/>
                <a:gd name="T25" fmla="*/ 66 h 104"/>
                <a:gd name="T26" fmla="*/ 0 w 169"/>
                <a:gd name="T27" fmla="*/ 82 h 104"/>
                <a:gd name="T28" fmla="*/ 11 w 169"/>
                <a:gd name="T29" fmla="*/ 98 h 104"/>
                <a:gd name="T30" fmla="*/ 22 w 169"/>
                <a:gd name="T31" fmla="*/ 104 h 104"/>
                <a:gd name="T32" fmla="*/ 33 w 169"/>
                <a:gd name="T33" fmla="*/ 98 h 104"/>
                <a:gd name="T34" fmla="*/ 38 w 169"/>
                <a:gd name="T35" fmla="*/ 93 h 104"/>
                <a:gd name="T36" fmla="*/ 43 w 169"/>
                <a:gd name="T37" fmla="*/ 98 h 104"/>
                <a:gd name="T38" fmla="*/ 54 w 169"/>
                <a:gd name="T39" fmla="*/ 93 h 104"/>
                <a:gd name="T40" fmla="*/ 54 w 169"/>
                <a:gd name="T41" fmla="*/ 93 h 104"/>
                <a:gd name="T42" fmla="*/ 54 w 169"/>
                <a:gd name="T43" fmla="*/ 82 h 104"/>
                <a:gd name="T44" fmla="*/ 65 w 169"/>
                <a:gd name="T45" fmla="*/ 76 h 104"/>
                <a:gd name="T46" fmla="*/ 71 w 169"/>
                <a:gd name="T47" fmla="*/ 76 h 104"/>
                <a:gd name="T48" fmla="*/ 82 w 169"/>
                <a:gd name="T49" fmla="*/ 82 h 104"/>
                <a:gd name="T50" fmla="*/ 82 w 169"/>
                <a:gd name="T51" fmla="*/ 82 h 104"/>
                <a:gd name="T52" fmla="*/ 92 w 169"/>
                <a:gd name="T53" fmla="*/ 87 h 104"/>
                <a:gd name="T54" fmla="*/ 103 w 169"/>
                <a:gd name="T55" fmla="*/ 87 h 104"/>
                <a:gd name="T56" fmla="*/ 109 w 169"/>
                <a:gd name="T57" fmla="*/ 82 h 104"/>
                <a:gd name="T58" fmla="*/ 114 w 169"/>
                <a:gd name="T59" fmla="*/ 82 h 104"/>
                <a:gd name="T60" fmla="*/ 131 w 169"/>
                <a:gd name="T61" fmla="*/ 76 h 104"/>
                <a:gd name="T62" fmla="*/ 131 w 169"/>
                <a:gd name="T63" fmla="*/ 82 h 104"/>
                <a:gd name="T64" fmla="*/ 136 w 169"/>
                <a:gd name="T65" fmla="*/ 76 h 104"/>
                <a:gd name="T66" fmla="*/ 136 w 169"/>
                <a:gd name="T67" fmla="*/ 76 h 104"/>
                <a:gd name="T68" fmla="*/ 152 w 169"/>
                <a:gd name="T69" fmla="*/ 76 h 104"/>
                <a:gd name="T70" fmla="*/ 158 w 169"/>
                <a:gd name="T71" fmla="*/ 76 h 104"/>
                <a:gd name="T72" fmla="*/ 158 w 169"/>
                <a:gd name="T73" fmla="*/ 76 h 104"/>
                <a:gd name="T74" fmla="*/ 158 w 169"/>
                <a:gd name="T75" fmla="*/ 76 h 104"/>
                <a:gd name="T76" fmla="*/ 163 w 169"/>
                <a:gd name="T77" fmla="*/ 76 h 104"/>
                <a:gd name="T78" fmla="*/ 169 w 169"/>
                <a:gd name="T79" fmla="*/ 76 h 104"/>
                <a:gd name="T80" fmla="*/ 163 w 169"/>
                <a:gd name="T81" fmla="*/ 71 h 104"/>
                <a:gd name="T82" fmla="*/ 158 w 169"/>
                <a:gd name="T83" fmla="*/ 66 h 104"/>
                <a:gd name="T84" fmla="*/ 152 w 169"/>
                <a:gd name="T85" fmla="*/ 55 h 104"/>
                <a:gd name="T86" fmla="*/ 141 w 169"/>
                <a:gd name="T87" fmla="*/ 44 h 104"/>
                <a:gd name="T88" fmla="*/ 136 w 169"/>
                <a:gd name="T89" fmla="*/ 38 h 104"/>
                <a:gd name="T90" fmla="*/ 125 w 169"/>
                <a:gd name="T91" fmla="*/ 33 h 104"/>
                <a:gd name="T92" fmla="*/ 125 w 169"/>
                <a:gd name="T93" fmla="*/ 33 h 104"/>
                <a:gd name="T94" fmla="*/ 114 w 169"/>
                <a:gd name="T95" fmla="*/ 27 h 104"/>
                <a:gd name="T96" fmla="*/ 114 w 169"/>
                <a:gd name="T97" fmla="*/ 11 h 104"/>
                <a:gd name="T98" fmla="*/ 103 w 169"/>
                <a:gd name="T99" fmla="*/ 0 h 104"/>
                <a:gd name="T100" fmla="*/ 103 w 169"/>
                <a:gd name="T101" fmla="*/ 0 h 10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9"/>
                <a:gd name="T154" fmla="*/ 0 h 104"/>
                <a:gd name="T155" fmla="*/ 169 w 169"/>
                <a:gd name="T156" fmla="*/ 104 h 10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9" h="104">
                  <a:moveTo>
                    <a:pt x="103" y="0"/>
                  </a:moveTo>
                  <a:lnTo>
                    <a:pt x="98" y="0"/>
                  </a:lnTo>
                  <a:lnTo>
                    <a:pt x="92" y="11"/>
                  </a:lnTo>
                  <a:lnTo>
                    <a:pt x="76" y="27"/>
                  </a:lnTo>
                  <a:lnTo>
                    <a:pt x="60" y="27"/>
                  </a:lnTo>
                  <a:lnTo>
                    <a:pt x="60" y="33"/>
                  </a:lnTo>
                  <a:lnTo>
                    <a:pt x="54" y="38"/>
                  </a:lnTo>
                  <a:lnTo>
                    <a:pt x="43" y="38"/>
                  </a:lnTo>
                  <a:lnTo>
                    <a:pt x="33" y="44"/>
                  </a:lnTo>
                  <a:lnTo>
                    <a:pt x="27" y="44"/>
                  </a:lnTo>
                  <a:lnTo>
                    <a:pt x="22" y="44"/>
                  </a:lnTo>
                  <a:lnTo>
                    <a:pt x="11" y="49"/>
                  </a:lnTo>
                  <a:lnTo>
                    <a:pt x="0" y="66"/>
                  </a:lnTo>
                  <a:lnTo>
                    <a:pt x="0" y="82"/>
                  </a:lnTo>
                  <a:lnTo>
                    <a:pt x="11" y="98"/>
                  </a:lnTo>
                  <a:lnTo>
                    <a:pt x="22" y="104"/>
                  </a:lnTo>
                  <a:lnTo>
                    <a:pt x="33" y="98"/>
                  </a:lnTo>
                  <a:lnTo>
                    <a:pt x="38" y="93"/>
                  </a:lnTo>
                  <a:lnTo>
                    <a:pt x="43" y="98"/>
                  </a:lnTo>
                  <a:lnTo>
                    <a:pt x="54" y="93"/>
                  </a:lnTo>
                  <a:lnTo>
                    <a:pt x="54" y="82"/>
                  </a:lnTo>
                  <a:lnTo>
                    <a:pt x="65" y="76"/>
                  </a:lnTo>
                  <a:lnTo>
                    <a:pt x="71" y="76"/>
                  </a:lnTo>
                  <a:lnTo>
                    <a:pt x="82" y="82"/>
                  </a:lnTo>
                  <a:lnTo>
                    <a:pt x="92" y="87"/>
                  </a:lnTo>
                  <a:lnTo>
                    <a:pt x="103" y="87"/>
                  </a:lnTo>
                  <a:lnTo>
                    <a:pt x="109" y="82"/>
                  </a:lnTo>
                  <a:lnTo>
                    <a:pt x="114" y="82"/>
                  </a:lnTo>
                  <a:lnTo>
                    <a:pt x="131" y="76"/>
                  </a:lnTo>
                  <a:lnTo>
                    <a:pt x="131" y="82"/>
                  </a:lnTo>
                  <a:lnTo>
                    <a:pt x="136" y="76"/>
                  </a:lnTo>
                  <a:lnTo>
                    <a:pt x="152" y="76"/>
                  </a:lnTo>
                  <a:lnTo>
                    <a:pt x="158" y="76"/>
                  </a:lnTo>
                  <a:lnTo>
                    <a:pt x="163" y="76"/>
                  </a:lnTo>
                  <a:lnTo>
                    <a:pt x="169" y="76"/>
                  </a:lnTo>
                  <a:lnTo>
                    <a:pt x="163" y="71"/>
                  </a:lnTo>
                  <a:lnTo>
                    <a:pt x="158" y="66"/>
                  </a:lnTo>
                  <a:lnTo>
                    <a:pt x="152" y="55"/>
                  </a:lnTo>
                  <a:lnTo>
                    <a:pt x="141" y="44"/>
                  </a:lnTo>
                  <a:lnTo>
                    <a:pt x="136" y="38"/>
                  </a:lnTo>
                  <a:lnTo>
                    <a:pt x="125" y="33"/>
                  </a:lnTo>
                  <a:lnTo>
                    <a:pt x="114" y="27"/>
                  </a:lnTo>
                  <a:lnTo>
                    <a:pt x="114" y="11"/>
                  </a:lnTo>
                  <a:lnTo>
                    <a:pt x="103"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2" name="Freeform 434"/>
            <p:cNvSpPr>
              <a:spLocks/>
            </p:cNvSpPr>
            <p:nvPr/>
          </p:nvSpPr>
          <p:spPr bwMode="auto">
            <a:xfrm>
              <a:off x="2851" y="2685"/>
              <a:ext cx="141" cy="213"/>
            </a:xfrm>
            <a:custGeom>
              <a:avLst/>
              <a:gdLst>
                <a:gd name="T0" fmla="*/ 21 w 141"/>
                <a:gd name="T1" fmla="*/ 0 h 213"/>
                <a:gd name="T2" fmla="*/ 38 w 141"/>
                <a:gd name="T3" fmla="*/ 0 h 213"/>
                <a:gd name="T4" fmla="*/ 141 w 141"/>
                <a:gd name="T5" fmla="*/ 49 h 213"/>
                <a:gd name="T6" fmla="*/ 141 w 141"/>
                <a:gd name="T7" fmla="*/ 99 h 213"/>
                <a:gd name="T8" fmla="*/ 125 w 141"/>
                <a:gd name="T9" fmla="*/ 104 h 213"/>
                <a:gd name="T10" fmla="*/ 125 w 141"/>
                <a:gd name="T11" fmla="*/ 110 h 213"/>
                <a:gd name="T12" fmla="*/ 114 w 141"/>
                <a:gd name="T13" fmla="*/ 120 h 213"/>
                <a:gd name="T14" fmla="*/ 114 w 141"/>
                <a:gd name="T15" fmla="*/ 126 h 213"/>
                <a:gd name="T16" fmla="*/ 114 w 141"/>
                <a:gd name="T17" fmla="*/ 126 h 213"/>
                <a:gd name="T18" fmla="*/ 114 w 141"/>
                <a:gd name="T19" fmla="*/ 137 h 213"/>
                <a:gd name="T20" fmla="*/ 114 w 141"/>
                <a:gd name="T21" fmla="*/ 142 h 213"/>
                <a:gd name="T22" fmla="*/ 114 w 141"/>
                <a:gd name="T23" fmla="*/ 142 h 213"/>
                <a:gd name="T24" fmla="*/ 119 w 141"/>
                <a:gd name="T25" fmla="*/ 148 h 213"/>
                <a:gd name="T26" fmla="*/ 125 w 141"/>
                <a:gd name="T27" fmla="*/ 159 h 213"/>
                <a:gd name="T28" fmla="*/ 119 w 141"/>
                <a:gd name="T29" fmla="*/ 164 h 213"/>
                <a:gd name="T30" fmla="*/ 114 w 141"/>
                <a:gd name="T31" fmla="*/ 164 h 213"/>
                <a:gd name="T32" fmla="*/ 108 w 141"/>
                <a:gd name="T33" fmla="*/ 175 h 213"/>
                <a:gd name="T34" fmla="*/ 92 w 141"/>
                <a:gd name="T35" fmla="*/ 191 h 213"/>
                <a:gd name="T36" fmla="*/ 76 w 141"/>
                <a:gd name="T37" fmla="*/ 191 h 213"/>
                <a:gd name="T38" fmla="*/ 76 w 141"/>
                <a:gd name="T39" fmla="*/ 197 h 213"/>
                <a:gd name="T40" fmla="*/ 70 w 141"/>
                <a:gd name="T41" fmla="*/ 202 h 213"/>
                <a:gd name="T42" fmla="*/ 59 w 141"/>
                <a:gd name="T43" fmla="*/ 202 h 213"/>
                <a:gd name="T44" fmla="*/ 49 w 141"/>
                <a:gd name="T45" fmla="*/ 208 h 213"/>
                <a:gd name="T46" fmla="*/ 43 w 141"/>
                <a:gd name="T47" fmla="*/ 208 h 213"/>
                <a:gd name="T48" fmla="*/ 38 w 141"/>
                <a:gd name="T49" fmla="*/ 208 h 213"/>
                <a:gd name="T50" fmla="*/ 27 w 141"/>
                <a:gd name="T51" fmla="*/ 213 h 213"/>
                <a:gd name="T52" fmla="*/ 21 w 141"/>
                <a:gd name="T53" fmla="*/ 197 h 213"/>
                <a:gd name="T54" fmla="*/ 16 w 141"/>
                <a:gd name="T55" fmla="*/ 191 h 213"/>
                <a:gd name="T56" fmla="*/ 10 w 141"/>
                <a:gd name="T57" fmla="*/ 180 h 213"/>
                <a:gd name="T58" fmla="*/ 10 w 141"/>
                <a:gd name="T59" fmla="*/ 180 h 213"/>
                <a:gd name="T60" fmla="*/ 27 w 141"/>
                <a:gd name="T61" fmla="*/ 175 h 213"/>
                <a:gd name="T62" fmla="*/ 21 w 141"/>
                <a:gd name="T63" fmla="*/ 164 h 213"/>
                <a:gd name="T64" fmla="*/ 21 w 141"/>
                <a:gd name="T65" fmla="*/ 153 h 213"/>
                <a:gd name="T66" fmla="*/ 16 w 141"/>
                <a:gd name="T67" fmla="*/ 142 h 213"/>
                <a:gd name="T68" fmla="*/ 21 w 141"/>
                <a:gd name="T69" fmla="*/ 137 h 213"/>
                <a:gd name="T70" fmla="*/ 21 w 141"/>
                <a:gd name="T71" fmla="*/ 131 h 213"/>
                <a:gd name="T72" fmla="*/ 10 w 141"/>
                <a:gd name="T73" fmla="*/ 131 h 213"/>
                <a:gd name="T74" fmla="*/ 10 w 141"/>
                <a:gd name="T75" fmla="*/ 126 h 213"/>
                <a:gd name="T76" fmla="*/ 0 w 141"/>
                <a:gd name="T77" fmla="*/ 120 h 213"/>
                <a:gd name="T78" fmla="*/ 5 w 141"/>
                <a:gd name="T79" fmla="*/ 110 h 213"/>
                <a:gd name="T80" fmla="*/ 27 w 141"/>
                <a:gd name="T81" fmla="*/ 88 h 213"/>
                <a:gd name="T82" fmla="*/ 27 w 141"/>
                <a:gd name="T83" fmla="*/ 60 h 213"/>
                <a:gd name="T84" fmla="*/ 32 w 141"/>
                <a:gd name="T85" fmla="*/ 44 h 213"/>
                <a:gd name="T86" fmla="*/ 38 w 141"/>
                <a:gd name="T87" fmla="*/ 39 h 213"/>
                <a:gd name="T88" fmla="*/ 27 w 141"/>
                <a:gd name="T89" fmla="*/ 33 h 213"/>
                <a:gd name="T90" fmla="*/ 21 w 141"/>
                <a:gd name="T91" fmla="*/ 22 h 213"/>
                <a:gd name="T92" fmla="*/ 21 w 141"/>
                <a:gd name="T93" fmla="*/ 0 h 213"/>
                <a:gd name="T94" fmla="*/ 21 w 141"/>
                <a:gd name="T95" fmla="*/ 0 h 21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1"/>
                <a:gd name="T145" fmla="*/ 0 h 213"/>
                <a:gd name="T146" fmla="*/ 141 w 141"/>
                <a:gd name="T147" fmla="*/ 213 h 21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1" h="213">
                  <a:moveTo>
                    <a:pt x="21" y="0"/>
                  </a:moveTo>
                  <a:lnTo>
                    <a:pt x="38" y="0"/>
                  </a:lnTo>
                  <a:lnTo>
                    <a:pt x="141" y="49"/>
                  </a:lnTo>
                  <a:lnTo>
                    <a:pt x="141" y="99"/>
                  </a:lnTo>
                  <a:lnTo>
                    <a:pt x="125" y="104"/>
                  </a:lnTo>
                  <a:lnTo>
                    <a:pt x="125" y="110"/>
                  </a:lnTo>
                  <a:lnTo>
                    <a:pt x="114" y="120"/>
                  </a:lnTo>
                  <a:lnTo>
                    <a:pt x="114" y="126"/>
                  </a:lnTo>
                  <a:lnTo>
                    <a:pt x="114" y="137"/>
                  </a:lnTo>
                  <a:lnTo>
                    <a:pt x="114" y="142"/>
                  </a:lnTo>
                  <a:lnTo>
                    <a:pt x="119" y="148"/>
                  </a:lnTo>
                  <a:lnTo>
                    <a:pt x="125" y="159"/>
                  </a:lnTo>
                  <a:lnTo>
                    <a:pt x="119" y="164"/>
                  </a:lnTo>
                  <a:lnTo>
                    <a:pt x="114" y="164"/>
                  </a:lnTo>
                  <a:lnTo>
                    <a:pt x="108" y="175"/>
                  </a:lnTo>
                  <a:lnTo>
                    <a:pt x="92" y="191"/>
                  </a:lnTo>
                  <a:lnTo>
                    <a:pt x="76" y="191"/>
                  </a:lnTo>
                  <a:lnTo>
                    <a:pt x="76" y="197"/>
                  </a:lnTo>
                  <a:lnTo>
                    <a:pt x="70" y="202"/>
                  </a:lnTo>
                  <a:lnTo>
                    <a:pt x="59" y="202"/>
                  </a:lnTo>
                  <a:lnTo>
                    <a:pt x="49" y="208"/>
                  </a:lnTo>
                  <a:lnTo>
                    <a:pt x="43" y="208"/>
                  </a:lnTo>
                  <a:lnTo>
                    <a:pt x="38" y="208"/>
                  </a:lnTo>
                  <a:lnTo>
                    <a:pt x="27" y="213"/>
                  </a:lnTo>
                  <a:lnTo>
                    <a:pt x="21" y="197"/>
                  </a:lnTo>
                  <a:lnTo>
                    <a:pt x="16" y="191"/>
                  </a:lnTo>
                  <a:lnTo>
                    <a:pt x="10" y="180"/>
                  </a:lnTo>
                  <a:lnTo>
                    <a:pt x="27" y="175"/>
                  </a:lnTo>
                  <a:lnTo>
                    <a:pt x="21" y="164"/>
                  </a:lnTo>
                  <a:lnTo>
                    <a:pt x="21" y="153"/>
                  </a:lnTo>
                  <a:lnTo>
                    <a:pt x="16" y="142"/>
                  </a:lnTo>
                  <a:lnTo>
                    <a:pt x="21" y="137"/>
                  </a:lnTo>
                  <a:lnTo>
                    <a:pt x="21" y="131"/>
                  </a:lnTo>
                  <a:lnTo>
                    <a:pt x="10" y="131"/>
                  </a:lnTo>
                  <a:lnTo>
                    <a:pt x="10" y="126"/>
                  </a:lnTo>
                  <a:lnTo>
                    <a:pt x="0" y="120"/>
                  </a:lnTo>
                  <a:lnTo>
                    <a:pt x="5" y="110"/>
                  </a:lnTo>
                  <a:lnTo>
                    <a:pt x="27" y="88"/>
                  </a:lnTo>
                  <a:lnTo>
                    <a:pt x="27" y="60"/>
                  </a:lnTo>
                  <a:lnTo>
                    <a:pt x="32" y="44"/>
                  </a:lnTo>
                  <a:lnTo>
                    <a:pt x="38" y="39"/>
                  </a:lnTo>
                  <a:lnTo>
                    <a:pt x="27" y="33"/>
                  </a:lnTo>
                  <a:lnTo>
                    <a:pt x="21" y="22"/>
                  </a:lnTo>
                  <a:lnTo>
                    <a:pt x="2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3" name="Freeform 435"/>
            <p:cNvSpPr>
              <a:spLocks/>
            </p:cNvSpPr>
            <p:nvPr/>
          </p:nvSpPr>
          <p:spPr bwMode="auto">
            <a:xfrm>
              <a:off x="2823" y="2942"/>
              <a:ext cx="98" cy="114"/>
            </a:xfrm>
            <a:custGeom>
              <a:avLst/>
              <a:gdLst>
                <a:gd name="T0" fmla="*/ 98 w 98"/>
                <a:gd name="T1" fmla="*/ 0 h 114"/>
                <a:gd name="T2" fmla="*/ 87 w 98"/>
                <a:gd name="T3" fmla="*/ 5 h 114"/>
                <a:gd name="T4" fmla="*/ 82 w 98"/>
                <a:gd name="T5" fmla="*/ 0 h 114"/>
                <a:gd name="T6" fmla="*/ 77 w 98"/>
                <a:gd name="T7" fmla="*/ 5 h 114"/>
                <a:gd name="T8" fmla="*/ 66 w 98"/>
                <a:gd name="T9" fmla="*/ 11 h 114"/>
                <a:gd name="T10" fmla="*/ 60 w 98"/>
                <a:gd name="T11" fmla="*/ 27 h 114"/>
                <a:gd name="T12" fmla="*/ 60 w 98"/>
                <a:gd name="T13" fmla="*/ 22 h 114"/>
                <a:gd name="T14" fmla="*/ 44 w 98"/>
                <a:gd name="T15" fmla="*/ 22 h 114"/>
                <a:gd name="T16" fmla="*/ 28 w 98"/>
                <a:gd name="T17" fmla="*/ 22 h 114"/>
                <a:gd name="T18" fmla="*/ 28 w 98"/>
                <a:gd name="T19" fmla="*/ 33 h 114"/>
                <a:gd name="T20" fmla="*/ 28 w 98"/>
                <a:gd name="T21" fmla="*/ 33 h 114"/>
                <a:gd name="T22" fmla="*/ 33 w 98"/>
                <a:gd name="T23" fmla="*/ 27 h 114"/>
                <a:gd name="T24" fmla="*/ 38 w 98"/>
                <a:gd name="T25" fmla="*/ 33 h 114"/>
                <a:gd name="T26" fmla="*/ 44 w 98"/>
                <a:gd name="T27" fmla="*/ 33 h 114"/>
                <a:gd name="T28" fmla="*/ 44 w 98"/>
                <a:gd name="T29" fmla="*/ 38 h 114"/>
                <a:gd name="T30" fmla="*/ 38 w 98"/>
                <a:gd name="T31" fmla="*/ 49 h 114"/>
                <a:gd name="T32" fmla="*/ 38 w 98"/>
                <a:gd name="T33" fmla="*/ 60 h 114"/>
                <a:gd name="T34" fmla="*/ 38 w 98"/>
                <a:gd name="T35" fmla="*/ 82 h 114"/>
                <a:gd name="T36" fmla="*/ 33 w 98"/>
                <a:gd name="T37" fmla="*/ 82 h 114"/>
                <a:gd name="T38" fmla="*/ 22 w 98"/>
                <a:gd name="T39" fmla="*/ 71 h 114"/>
                <a:gd name="T40" fmla="*/ 6 w 98"/>
                <a:gd name="T41" fmla="*/ 82 h 114"/>
                <a:gd name="T42" fmla="*/ 6 w 98"/>
                <a:gd name="T43" fmla="*/ 93 h 114"/>
                <a:gd name="T44" fmla="*/ 0 w 98"/>
                <a:gd name="T45" fmla="*/ 98 h 114"/>
                <a:gd name="T46" fmla="*/ 0 w 98"/>
                <a:gd name="T47" fmla="*/ 98 h 114"/>
                <a:gd name="T48" fmla="*/ 6 w 98"/>
                <a:gd name="T49" fmla="*/ 109 h 114"/>
                <a:gd name="T50" fmla="*/ 11 w 98"/>
                <a:gd name="T51" fmla="*/ 114 h 114"/>
                <a:gd name="T52" fmla="*/ 22 w 98"/>
                <a:gd name="T53" fmla="*/ 104 h 114"/>
                <a:gd name="T54" fmla="*/ 22 w 98"/>
                <a:gd name="T55" fmla="*/ 109 h 114"/>
                <a:gd name="T56" fmla="*/ 33 w 98"/>
                <a:gd name="T57" fmla="*/ 109 h 114"/>
                <a:gd name="T58" fmla="*/ 33 w 98"/>
                <a:gd name="T59" fmla="*/ 109 h 114"/>
                <a:gd name="T60" fmla="*/ 44 w 98"/>
                <a:gd name="T61" fmla="*/ 104 h 114"/>
                <a:gd name="T62" fmla="*/ 44 w 98"/>
                <a:gd name="T63" fmla="*/ 109 h 114"/>
                <a:gd name="T64" fmla="*/ 44 w 98"/>
                <a:gd name="T65" fmla="*/ 114 h 114"/>
                <a:gd name="T66" fmla="*/ 60 w 98"/>
                <a:gd name="T67" fmla="*/ 98 h 114"/>
                <a:gd name="T68" fmla="*/ 66 w 98"/>
                <a:gd name="T69" fmla="*/ 93 h 114"/>
                <a:gd name="T70" fmla="*/ 66 w 98"/>
                <a:gd name="T71" fmla="*/ 76 h 114"/>
                <a:gd name="T72" fmla="*/ 71 w 98"/>
                <a:gd name="T73" fmla="*/ 65 h 114"/>
                <a:gd name="T74" fmla="*/ 87 w 98"/>
                <a:gd name="T75" fmla="*/ 60 h 114"/>
                <a:gd name="T76" fmla="*/ 87 w 98"/>
                <a:gd name="T77" fmla="*/ 22 h 114"/>
                <a:gd name="T78" fmla="*/ 98 w 98"/>
                <a:gd name="T79" fmla="*/ 11 h 114"/>
                <a:gd name="T80" fmla="*/ 98 w 98"/>
                <a:gd name="T81" fmla="*/ 0 h 114"/>
                <a:gd name="T82" fmla="*/ 98 w 98"/>
                <a:gd name="T83" fmla="*/ 0 h 1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98"/>
                <a:gd name="T127" fmla="*/ 0 h 114"/>
                <a:gd name="T128" fmla="*/ 98 w 98"/>
                <a:gd name="T129" fmla="*/ 114 h 1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98" h="114">
                  <a:moveTo>
                    <a:pt x="98" y="0"/>
                  </a:moveTo>
                  <a:lnTo>
                    <a:pt x="87" y="5"/>
                  </a:lnTo>
                  <a:lnTo>
                    <a:pt x="82" y="0"/>
                  </a:lnTo>
                  <a:lnTo>
                    <a:pt x="77" y="5"/>
                  </a:lnTo>
                  <a:lnTo>
                    <a:pt x="66" y="11"/>
                  </a:lnTo>
                  <a:lnTo>
                    <a:pt x="60" y="27"/>
                  </a:lnTo>
                  <a:lnTo>
                    <a:pt x="60" y="22"/>
                  </a:lnTo>
                  <a:lnTo>
                    <a:pt x="44" y="22"/>
                  </a:lnTo>
                  <a:lnTo>
                    <a:pt x="28" y="22"/>
                  </a:lnTo>
                  <a:lnTo>
                    <a:pt x="28" y="33"/>
                  </a:lnTo>
                  <a:lnTo>
                    <a:pt x="33" y="27"/>
                  </a:lnTo>
                  <a:lnTo>
                    <a:pt x="38" y="33"/>
                  </a:lnTo>
                  <a:lnTo>
                    <a:pt x="44" y="33"/>
                  </a:lnTo>
                  <a:lnTo>
                    <a:pt x="44" y="38"/>
                  </a:lnTo>
                  <a:lnTo>
                    <a:pt x="38" y="49"/>
                  </a:lnTo>
                  <a:lnTo>
                    <a:pt x="38" y="60"/>
                  </a:lnTo>
                  <a:lnTo>
                    <a:pt x="38" y="82"/>
                  </a:lnTo>
                  <a:lnTo>
                    <a:pt x="33" y="82"/>
                  </a:lnTo>
                  <a:lnTo>
                    <a:pt x="22" y="71"/>
                  </a:lnTo>
                  <a:lnTo>
                    <a:pt x="6" y="82"/>
                  </a:lnTo>
                  <a:lnTo>
                    <a:pt x="6" y="93"/>
                  </a:lnTo>
                  <a:lnTo>
                    <a:pt x="0" y="98"/>
                  </a:lnTo>
                  <a:lnTo>
                    <a:pt x="6" y="109"/>
                  </a:lnTo>
                  <a:lnTo>
                    <a:pt x="11" y="114"/>
                  </a:lnTo>
                  <a:lnTo>
                    <a:pt x="22" y="104"/>
                  </a:lnTo>
                  <a:lnTo>
                    <a:pt x="22" y="109"/>
                  </a:lnTo>
                  <a:lnTo>
                    <a:pt x="33" y="109"/>
                  </a:lnTo>
                  <a:lnTo>
                    <a:pt x="44" y="104"/>
                  </a:lnTo>
                  <a:lnTo>
                    <a:pt x="44" y="109"/>
                  </a:lnTo>
                  <a:lnTo>
                    <a:pt x="44" y="114"/>
                  </a:lnTo>
                  <a:lnTo>
                    <a:pt x="60" y="98"/>
                  </a:lnTo>
                  <a:lnTo>
                    <a:pt x="66" y="93"/>
                  </a:lnTo>
                  <a:lnTo>
                    <a:pt x="66" y="76"/>
                  </a:lnTo>
                  <a:lnTo>
                    <a:pt x="71" y="65"/>
                  </a:lnTo>
                  <a:lnTo>
                    <a:pt x="87" y="60"/>
                  </a:lnTo>
                  <a:lnTo>
                    <a:pt x="87" y="22"/>
                  </a:lnTo>
                  <a:lnTo>
                    <a:pt x="98" y="11"/>
                  </a:lnTo>
                  <a:lnTo>
                    <a:pt x="98"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4" name="Freeform 436"/>
            <p:cNvSpPr>
              <a:spLocks/>
            </p:cNvSpPr>
            <p:nvPr/>
          </p:nvSpPr>
          <p:spPr bwMode="auto">
            <a:xfrm>
              <a:off x="2693" y="2833"/>
              <a:ext cx="38" cy="76"/>
            </a:xfrm>
            <a:custGeom>
              <a:avLst/>
              <a:gdLst>
                <a:gd name="T0" fmla="*/ 21 w 38"/>
                <a:gd name="T1" fmla="*/ 76 h 76"/>
                <a:gd name="T2" fmla="*/ 11 w 38"/>
                <a:gd name="T3" fmla="*/ 76 h 76"/>
                <a:gd name="T4" fmla="*/ 11 w 38"/>
                <a:gd name="T5" fmla="*/ 71 h 76"/>
                <a:gd name="T6" fmla="*/ 11 w 38"/>
                <a:gd name="T7" fmla="*/ 49 h 76"/>
                <a:gd name="T8" fmla="*/ 5 w 38"/>
                <a:gd name="T9" fmla="*/ 32 h 76"/>
                <a:gd name="T10" fmla="*/ 0 w 38"/>
                <a:gd name="T11" fmla="*/ 27 h 76"/>
                <a:gd name="T12" fmla="*/ 0 w 38"/>
                <a:gd name="T13" fmla="*/ 16 h 76"/>
                <a:gd name="T14" fmla="*/ 5 w 38"/>
                <a:gd name="T15" fmla="*/ 11 h 76"/>
                <a:gd name="T16" fmla="*/ 11 w 38"/>
                <a:gd name="T17" fmla="*/ 11 h 76"/>
                <a:gd name="T18" fmla="*/ 16 w 38"/>
                <a:gd name="T19" fmla="*/ 5 h 76"/>
                <a:gd name="T20" fmla="*/ 21 w 38"/>
                <a:gd name="T21" fmla="*/ 5 h 76"/>
                <a:gd name="T22" fmla="*/ 16 w 38"/>
                <a:gd name="T23" fmla="*/ 0 h 76"/>
                <a:gd name="T24" fmla="*/ 21 w 38"/>
                <a:gd name="T25" fmla="*/ 0 h 76"/>
                <a:gd name="T26" fmla="*/ 32 w 38"/>
                <a:gd name="T27" fmla="*/ 5 h 76"/>
                <a:gd name="T28" fmla="*/ 32 w 38"/>
                <a:gd name="T29" fmla="*/ 11 h 76"/>
                <a:gd name="T30" fmla="*/ 32 w 38"/>
                <a:gd name="T31" fmla="*/ 16 h 76"/>
                <a:gd name="T32" fmla="*/ 38 w 38"/>
                <a:gd name="T33" fmla="*/ 22 h 76"/>
                <a:gd name="T34" fmla="*/ 32 w 38"/>
                <a:gd name="T35" fmla="*/ 27 h 76"/>
                <a:gd name="T36" fmla="*/ 32 w 38"/>
                <a:gd name="T37" fmla="*/ 32 h 76"/>
                <a:gd name="T38" fmla="*/ 27 w 38"/>
                <a:gd name="T39" fmla="*/ 32 h 76"/>
                <a:gd name="T40" fmla="*/ 21 w 38"/>
                <a:gd name="T41" fmla="*/ 49 h 76"/>
                <a:gd name="T42" fmla="*/ 21 w 38"/>
                <a:gd name="T43" fmla="*/ 76 h 76"/>
                <a:gd name="T44" fmla="*/ 21 w 38"/>
                <a:gd name="T45" fmla="*/ 76 h 7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8"/>
                <a:gd name="T70" fmla="*/ 0 h 76"/>
                <a:gd name="T71" fmla="*/ 38 w 38"/>
                <a:gd name="T72" fmla="*/ 76 h 7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8" h="76">
                  <a:moveTo>
                    <a:pt x="21" y="76"/>
                  </a:moveTo>
                  <a:lnTo>
                    <a:pt x="11" y="76"/>
                  </a:lnTo>
                  <a:lnTo>
                    <a:pt x="11" y="71"/>
                  </a:lnTo>
                  <a:lnTo>
                    <a:pt x="11" y="49"/>
                  </a:lnTo>
                  <a:lnTo>
                    <a:pt x="5" y="32"/>
                  </a:lnTo>
                  <a:lnTo>
                    <a:pt x="0" y="27"/>
                  </a:lnTo>
                  <a:lnTo>
                    <a:pt x="0" y="16"/>
                  </a:lnTo>
                  <a:lnTo>
                    <a:pt x="5" y="11"/>
                  </a:lnTo>
                  <a:lnTo>
                    <a:pt x="11" y="11"/>
                  </a:lnTo>
                  <a:lnTo>
                    <a:pt x="16" y="5"/>
                  </a:lnTo>
                  <a:lnTo>
                    <a:pt x="21" y="5"/>
                  </a:lnTo>
                  <a:lnTo>
                    <a:pt x="16" y="0"/>
                  </a:lnTo>
                  <a:lnTo>
                    <a:pt x="21" y="0"/>
                  </a:lnTo>
                  <a:lnTo>
                    <a:pt x="32" y="5"/>
                  </a:lnTo>
                  <a:lnTo>
                    <a:pt x="32" y="11"/>
                  </a:lnTo>
                  <a:lnTo>
                    <a:pt x="32" y="16"/>
                  </a:lnTo>
                  <a:lnTo>
                    <a:pt x="38" y="22"/>
                  </a:lnTo>
                  <a:lnTo>
                    <a:pt x="32" y="27"/>
                  </a:lnTo>
                  <a:lnTo>
                    <a:pt x="32" y="32"/>
                  </a:lnTo>
                  <a:lnTo>
                    <a:pt x="27" y="32"/>
                  </a:lnTo>
                  <a:lnTo>
                    <a:pt x="21" y="49"/>
                  </a:lnTo>
                  <a:lnTo>
                    <a:pt x="21" y="7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5" name="Freeform 437"/>
            <p:cNvSpPr>
              <a:spLocks/>
            </p:cNvSpPr>
            <p:nvPr/>
          </p:nvSpPr>
          <p:spPr bwMode="auto">
            <a:xfrm>
              <a:off x="2802" y="2964"/>
              <a:ext cx="21" cy="16"/>
            </a:xfrm>
            <a:custGeom>
              <a:avLst/>
              <a:gdLst>
                <a:gd name="T0" fmla="*/ 21 w 21"/>
                <a:gd name="T1" fmla="*/ 0 h 16"/>
                <a:gd name="T2" fmla="*/ 0 w 21"/>
                <a:gd name="T3" fmla="*/ 0 h 16"/>
                <a:gd name="T4" fmla="*/ 0 w 21"/>
                <a:gd name="T5" fmla="*/ 11 h 16"/>
                <a:gd name="T6" fmla="*/ 0 w 21"/>
                <a:gd name="T7" fmla="*/ 16 h 16"/>
                <a:gd name="T8" fmla="*/ 21 w 21"/>
                <a:gd name="T9" fmla="*/ 16 h 16"/>
                <a:gd name="T10" fmla="*/ 21 w 21"/>
                <a:gd name="T11" fmla="*/ 0 h 16"/>
                <a:gd name="T12" fmla="*/ 21 w 21"/>
                <a:gd name="T13" fmla="*/ 0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21" y="0"/>
                  </a:moveTo>
                  <a:lnTo>
                    <a:pt x="0" y="0"/>
                  </a:lnTo>
                  <a:lnTo>
                    <a:pt x="0" y="11"/>
                  </a:lnTo>
                  <a:lnTo>
                    <a:pt x="0" y="16"/>
                  </a:lnTo>
                  <a:lnTo>
                    <a:pt x="21" y="16"/>
                  </a:lnTo>
                  <a:lnTo>
                    <a:pt x="2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6" name="Freeform 438"/>
            <p:cNvSpPr>
              <a:spLocks/>
            </p:cNvSpPr>
            <p:nvPr/>
          </p:nvSpPr>
          <p:spPr bwMode="auto">
            <a:xfrm>
              <a:off x="2791" y="2942"/>
              <a:ext cx="5" cy="5"/>
            </a:xfrm>
            <a:custGeom>
              <a:avLst/>
              <a:gdLst>
                <a:gd name="T0" fmla="*/ 5 w 5"/>
                <a:gd name="T1" fmla="*/ 0 h 5"/>
                <a:gd name="T2" fmla="*/ 0 w 5"/>
                <a:gd name="T3" fmla="*/ 5 h 5"/>
                <a:gd name="T4" fmla="*/ 0 w 5"/>
                <a:gd name="T5" fmla="*/ 5 h 5"/>
                <a:gd name="T6" fmla="*/ 0 w 5"/>
                <a:gd name="T7" fmla="*/ 0 h 5"/>
                <a:gd name="T8" fmla="*/ 5 w 5"/>
                <a:gd name="T9" fmla="*/ 0 h 5"/>
                <a:gd name="T10" fmla="*/ 5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5" y="0"/>
                  </a:moveTo>
                  <a:lnTo>
                    <a:pt x="0" y="5"/>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7" name="Freeform 439"/>
            <p:cNvSpPr>
              <a:spLocks/>
            </p:cNvSpPr>
            <p:nvPr/>
          </p:nvSpPr>
          <p:spPr bwMode="auto">
            <a:xfrm>
              <a:off x="3106" y="2756"/>
              <a:ext cx="191" cy="191"/>
            </a:xfrm>
            <a:custGeom>
              <a:avLst/>
              <a:gdLst>
                <a:gd name="T0" fmla="*/ 71 w 191"/>
                <a:gd name="T1" fmla="*/ 0 h 191"/>
                <a:gd name="T2" fmla="*/ 66 w 191"/>
                <a:gd name="T3" fmla="*/ 6 h 191"/>
                <a:gd name="T4" fmla="*/ 49 w 191"/>
                <a:gd name="T5" fmla="*/ 11 h 191"/>
                <a:gd name="T6" fmla="*/ 44 w 191"/>
                <a:gd name="T7" fmla="*/ 44 h 191"/>
                <a:gd name="T8" fmla="*/ 44 w 191"/>
                <a:gd name="T9" fmla="*/ 55 h 191"/>
                <a:gd name="T10" fmla="*/ 38 w 191"/>
                <a:gd name="T11" fmla="*/ 66 h 191"/>
                <a:gd name="T12" fmla="*/ 28 w 191"/>
                <a:gd name="T13" fmla="*/ 82 h 191"/>
                <a:gd name="T14" fmla="*/ 22 w 191"/>
                <a:gd name="T15" fmla="*/ 93 h 191"/>
                <a:gd name="T16" fmla="*/ 17 w 191"/>
                <a:gd name="T17" fmla="*/ 99 h 191"/>
                <a:gd name="T18" fmla="*/ 11 w 191"/>
                <a:gd name="T19" fmla="*/ 126 h 191"/>
                <a:gd name="T20" fmla="*/ 11 w 191"/>
                <a:gd name="T21" fmla="*/ 126 h 191"/>
                <a:gd name="T22" fmla="*/ 0 w 191"/>
                <a:gd name="T23" fmla="*/ 126 h 191"/>
                <a:gd name="T24" fmla="*/ 0 w 191"/>
                <a:gd name="T25" fmla="*/ 137 h 191"/>
                <a:gd name="T26" fmla="*/ 11 w 191"/>
                <a:gd name="T27" fmla="*/ 137 h 191"/>
                <a:gd name="T28" fmla="*/ 17 w 191"/>
                <a:gd name="T29" fmla="*/ 142 h 191"/>
                <a:gd name="T30" fmla="*/ 22 w 191"/>
                <a:gd name="T31" fmla="*/ 148 h 191"/>
                <a:gd name="T32" fmla="*/ 28 w 191"/>
                <a:gd name="T33" fmla="*/ 164 h 191"/>
                <a:gd name="T34" fmla="*/ 38 w 191"/>
                <a:gd name="T35" fmla="*/ 169 h 191"/>
                <a:gd name="T36" fmla="*/ 38 w 191"/>
                <a:gd name="T37" fmla="*/ 175 h 191"/>
                <a:gd name="T38" fmla="*/ 44 w 191"/>
                <a:gd name="T39" fmla="*/ 175 h 191"/>
                <a:gd name="T40" fmla="*/ 60 w 191"/>
                <a:gd name="T41" fmla="*/ 186 h 191"/>
                <a:gd name="T42" fmla="*/ 77 w 191"/>
                <a:gd name="T43" fmla="*/ 191 h 191"/>
                <a:gd name="T44" fmla="*/ 82 w 191"/>
                <a:gd name="T45" fmla="*/ 191 h 191"/>
                <a:gd name="T46" fmla="*/ 93 w 191"/>
                <a:gd name="T47" fmla="*/ 186 h 191"/>
                <a:gd name="T48" fmla="*/ 98 w 191"/>
                <a:gd name="T49" fmla="*/ 180 h 191"/>
                <a:gd name="T50" fmla="*/ 109 w 191"/>
                <a:gd name="T51" fmla="*/ 186 h 191"/>
                <a:gd name="T52" fmla="*/ 115 w 191"/>
                <a:gd name="T53" fmla="*/ 186 h 191"/>
                <a:gd name="T54" fmla="*/ 142 w 191"/>
                <a:gd name="T55" fmla="*/ 169 h 191"/>
                <a:gd name="T56" fmla="*/ 153 w 191"/>
                <a:gd name="T57" fmla="*/ 169 h 191"/>
                <a:gd name="T58" fmla="*/ 191 w 191"/>
                <a:gd name="T59" fmla="*/ 137 h 191"/>
                <a:gd name="T60" fmla="*/ 191 w 191"/>
                <a:gd name="T61" fmla="*/ 131 h 191"/>
                <a:gd name="T62" fmla="*/ 180 w 191"/>
                <a:gd name="T63" fmla="*/ 131 h 191"/>
                <a:gd name="T64" fmla="*/ 142 w 191"/>
                <a:gd name="T65" fmla="*/ 120 h 191"/>
                <a:gd name="T66" fmla="*/ 126 w 191"/>
                <a:gd name="T67" fmla="*/ 104 h 191"/>
                <a:gd name="T68" fmla="*/ 126 w 191"/>
                <a:gd name="T69" fmla="*/ 93 h 191"/>
                <a:gd name="T70" fmla="*/ 126 w 191"/>
                <a:gd name="T71" fmla="*/ 93 h 191"/>
                <a:gd name="T72" fmla="*/ 115 w 191"/>
                <a:gd name="T73" fmla="*/ 93 h 191"/>
                <a:gd name="T74" fmla="*/ 115 w 191"/>
                <a:gd name="T75" fmla="*/ 93 h 191"/>
                <a:gd name="T76" fmla="*/ 120 w 191"/>
                <a:gd name="T77" fmla="*/ 77 h 191"/>
                <a:gd name="T78" fmla="*/ 131 w 191"/>
                <a:gd name="T79" fmla="*/ 71 h 191"/>
                <a:gd name="T80" fmla="*/ 120 w 191"/>
                <a:gd name="T81" fmla="*/ 66 h 191"/>
                <a:gd name="T82" fmla="*/ 104 w 191"/>
                <a:gd name="T83" fmla="*/ 44 h 191"/>
                <a:gd name="T84" fmla="*/ 98 w 191"/>
                <a:gd name="T85" fmla="*/ 44 h 191"/>
                <a:gd name="T86" fmla="*/ 93 w 191"/>
                <a:gd name="T87" fmla="*/ 44 h 191"/>
                <a:gd name="T88" fmla="*/ 87 w 191"/>
                <a:gd name="T89" fmla="*/ 33 h 191"/>
                <a:gd name="T90" fmla="*/ 87 w 191"/>
                <a:gd name="T91" fmla="*/ 39 h 191"/>
                <a:gd name="T92" fmla="*/ 87 w 191"/>
                <a:gd name="T93" fmla="*/ 39 h 191"/>
                <a:gd name="T94" fmla="*/ 77 w 191"/>
                <a:gd name="T95" fmla="*/ 28 h 191"/>
                <a:gd name="T96" fmla="*/ 77 w 191"/>
                <a:gd name="T97" fmla="*/ 6 h 191"/>
                <a:gd name="T98" fmla="*/ 71 w 191"/>
                <a:gd name="T99" fmla="*/ 0 h 191"/>
                <a:gd name="T100" fmla="*/ 71 w 191"/>
                <a:gd name="T101" fmla="*/ 0 h 1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1"/>
                <a:gd name="T154" fmla="*/ 0 h 191"/>
                <a:gd name="T155" fmla="*/ 191 w 191"/>
                <a:gd name="T156" fmla="*/ 191 h 19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1" h="191">
                  <a:moveTo>
                    <a:pt x="71" y="0"/>
                  </a:moveTo>
                  <a:lnTo>
                    <a:pt x="66" y="6"/>
                  </a:lnTo>
                  <a:lnTo>
                    <a:pt x="49" y="11"/>
                  </a:lnTo>
                  <a:lnTo>
                    <a:pt x="44" y="44"/>
                  </a:lnTo>
                  <a:lnTo>
                    <a:pt x="44" y="55"/>
                  </a:lnTo>
                  <a:lnTo>
                    <a:pt x="38" y="66"/>
                  </a:lnTo>
                  <a:lnTo>
                    <a:pt x="28" y="82"/>
                  </a:lnTo>
                  <a:lnTo>
                    <a:pt x="22" y="93"/>
                  </a:lnTo>
                  <a:lnTo>
                    <a:pt x="17" y="99"/>
                  </a:lnTo>
                  <a:lnTo>
                    <a:pt x="11" y="126"/>
                  </a:lnTo>
                  <a:lnTo>
                    <a:pt x="0" y="126"/>
                  </a:lnTo>
                  <a:lnTo>
                    <a:pt x="0" y="137"/>
                  </a:lnTo>
                  <a:lnTo>
                    <a:pt x="11" y="137"/>
                  </a:lnTo>
                  <a:lnTo>
                    <a:pt x="17" y="142"/>
                  </a:lnTo>
                  <a:lnTo>
                    <a:pt x="22" y="148"/>
                  </a:lnTo>
                  <a:lnTo>
                    <a:pt x="28" y="164"/>
                  </a:lnTo>
                  <a:lnTo>
                    <a:pt x="38" y="169"/>
                  </a:lnTo>
                  <a:lnTo>
                    <a:pt x="38" y="175"/>
                  </a:lnTo>
                  <a:lnTo>
                    <a:pt x="44" y="175"/>
                  </a:lnTo>
                  <a:lnTo>
                    <a:pt x="60" y="186"/>
                  </a:lnTo>
                  <a:lnTo>
                    <a:pt x="77" y="191"/>
                  </a:lnTo>
                  <a:lnTo>
                    <a:pt x="82" y="191"/>
                  </a:lnTo>
                  <a:lnTo>
                    <a:pt x="93" y="186"/>
                  </a:lnTo>
                  <a:lnTo>
                    <a:pt x="98" y="180"/>
                  </a:lnTo>
                  <a:lnTo>
                    <a:pt x="109" y="186"/>
                  </a:lnTo>
                  <a:lnTo>
                    <a:pt x="115" y="186"/>
                  </a:lnTo>
                  <a:lnTo>
                    <a:pt x="142" y="169"/>
                  </a:lnTo>
                  <a:lnTo>
                    <a:pt x="153" y="169"/>
                  </a:lnTo>
                  <a:lnTo>
                    <a:pt x="191" y="137"/>
                  </a:lnTo>
                  <a:lnTo>
                    <a:pt x="191" y="131"/>
                  </a:lnTo>
                  <a:lnTo>
                    <a:pt x="180" y="131"/>
                  </a:lnTo>
                  <a:lnTo>
                    <a:pt x="142" y="120"/>
                  </a:lnTo>
                  <a:lnTo>
                    <a:pt x="126" y="104"/>
                  </a:lnTo>
                  <a:lnTo>
                    <a:pt x="126" y="93"/>
                  </a:lnTo>
                  <a:lnTo>
                    <a:pt x="115" y="93"/>
                  </a:lnTo>
                  <a:lnTo>
                    <a:pt x="120" y="77"/>
                  </a:lnTo>
                  <a:lnTo>
                    <a:pt x="131" y="71"/>
                  </a:lnTo>
                  <a:lnTo>
                    <a:pt x="120" y="66"/>
                  </a:lnTo>
                  <a:lnTo>
                    <a:pt x="104" y="44"/>
                  </a:lnTo>
                  <a:lnTo>
                    <a:pt x="98" y="44"/>
                  </a:lnTo>
                  <a:lnTo>
                    <a:pt x="93" y="44"/>
                  </a:lnTo>
                  <a:lnTo>
                    <a:pt x="87" y="33"/>
                  </a:lnTo>
                  <a:lnTo>
                    <a:pt x="87" y="39"/>
                  </a:lnTo>
                  <a:lnTo>
                    <a:pt x="77" y="28"/>
                  </a:lnTo>
                  <a:lnTo>
                    <a:pt x="77" y="6"/>
                  </a:lnTo>
                  <a:lnTo>
                    <a:pt x="7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8" name="Freeform 440"/>
            <p:cNvSpPr>
              <a:spLocks/>
            </p:cNvSpPr>
            <p:nvPr/>
          </p:nvSpPr>
          <p:spPr bwMode="auto">
            <a:xfrm>
              <a:off x="3193" y="2784"/>
              <a:ext cx="6" cy="5"/>
            </a:xfrm>
            <a:custGeom>
              <a:avLst/>
              <a:gdLst>
                <a:gd name="T0" fmla="*/ 6 w 6"/>
                <a:gd name="T1" fmla="*/ 5 h 5"/>
                <a:gd name="T2" fmla="*/ 0 w 6"/>
                <a:gd name="T3" fmla="*/ 0 h 5"/>
                <a:gd name="T4" fmla="*/ 0 w 6"/>
                <a:gd name="T5" fmla="*/ 0 h 5"/>
                <a:gd name="T6" fmla="*/ 0 w 6"/>
                <a:gd name="T7" fmla="*/ 5 h 5"/>
                <a:gd name="T8" fmla="*/ 6 w 6"/>
                <a:gd name="T9" fmla="*/ 5 h 5"/>
                <a:gd name="T10" fmla="*/ 6 w 6"/>
                <a:gd name="T11" fmla="*/ 5 h 5"/>
                <a:gd name="T12" fmla="*/ 6 w 6"/>
                <a:gd name="T13" fmla="*/ 5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6" y="5"/>
                  </a:moveTo>
                  <a:lnTo>
                    <a:pt x="0" y="0"/>
                  </a:lnTo>
                  <a:lnTo>
                    <a:pt x="0" y="5"/>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19" name="Freeform 441"/>
            <p:cNvSpPr>
              <a:spLocks/>
            </p:cNvSpPr>
            <p:nvPr/>
          </p:nvSpPr>
          <p:spPr bwMode="auto">
            <a:xfrm>
              <a:off x="3221" y="2827"/>
              <a:ext cx="16" cy="22"/>
            </a:xfrm>
            <a:custGeom>
              <a:avLst/>
              <a:gdLst>
                <a:gd name="T0" fmla="*/ 16 w 16"/>
                <a:gd name="T1" fmla="*/ 17 h 22"/>
                <a:gd name="T2" fmla="*/ 11 w 16"/>
                <a:gd name="T3" fmla="*/ 22 h 22"/>
                <a:gd name="T4" fmla="*/ 11 w 16"/>
                <a:gd name="T5" fmla="*/ 22 h 22"/>
                <a:gd name="T6" fmla="*/ 0 w 16"/>
                <a:gd name="T7" fmla="*/ 22 h 22"/>
                <a:gd name="T8" fmla="*/ 0 w 16"/>
                <a:gd name="T9" fmla="*/ 22 h 22"/>
                <a:gd name="T10" fmla="*/ 5 w 16"/>
                <a:gd name="T11" fmla="*/ 6 h 22"/>
                <a:gd name="T12" fmla="*/ 16 w 16"/>
                <a:gd name="T13" fmla="*/ 0 h 22"/>
                <a:gd name="T14" fmla="*/ 16 w 16"/>
                <a:gd name="T15" fmla="*/ 6 h 22"/>
                <a:gd name="T16" fmla="*/ 16 w 16"/>
                <a:gd name="T17" fmla="*/ 11 h 22"/>
                <a:gd name="T18" fmla="*/ 5 w 16"/>
                <a:gd name="T19" fmla="*/ 17 h 22"/>
                <a:gd name="T20" fmla="*/ 16 w 16"/>
                <a:gd name="T21" fmla="*/ 17 h 22"/>
                <a:gd name="T22" fmla="*/ 16 w 16"/>
                <a:gd name="T23" fmla="*/ 1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2"/>
                <a:gd name="T38" fmla="*/ 16 w 16"/>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2">
                  <a:moveTo>
                    <a:pt x="16" y="17"/>
                  </a:moveTo>
                  <a:lnTo>
                    <a:pt x="11" y="22"/>
                  </a:lnTo>
                  <a:lnTo>
                    <a:pt x="0" y="22"/>
                  </a:lnTo>
                  <a:lnTo>
                    <a:pt x="5" y="6"/>
                  </a:lnTo>
                  <a:lnTo>
                    <a:pt x="16" y="0"/>
                  </a:lnTo>
                  <a:lnTo>
                    <a:pt x="16" y="6"/>
                  </a:lnTo>
                  <a:lnTo>
                    <a:pt x="16" y="11"/>
                  </a:lnTo>
                  <a:lnTo>
                    <a:pt x="5" y="17"/>
                  </a:lnTo>
                  <a:lnTo>
                    <a:pt x="16" y="1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0" name="Freeform 442"/>
            <p:cNvSpPr>
              <a:spLocks/>
            </p:cNvSpPr>
            <p:nvPr/>
          </p:nvSpPr>
          <p:spPr bwMode="auto">
            <a:xfrm>
              <a:off x="2791" y="2964"/>
              <a:ext cx="76" cy="76"/>
            </a:xfrm>
            <a:custGeom>
              <a:avLst/>
              <a:gdLst>
                <a:gd name="T0" fmla="*/ 60 w 76"/>
                <a:gd name="T1" fmla="*/ 0 h 76"/>
                <a:gd name="T2" fmla="*/ 32 w 76"/>
                <a:gd name="T3" fmla="*/ 0 h 76"/>
                <a:gd name="T4" fmla="*/ 32 w 76"/>
                <a:gd name="T5" fmla="*/ 16 h 76"/>
                <a:gd name="T6" fmla="*/ 11 w 76"/>
                <a:gd name="T7" fmla="*/ 16 h 76"/>
                <a:gd name="T8" fmla="*/ 11 w 76"/>
                <a:gd name="T9" fmla="*/ 16 h 76"/>
                <a:gd name="T10" fmla="*/ 11 w 76"/>
                <a:gd name="T11" fmla="*/ 22 h 76"/>
                <a:gd name="T12" fmla="*/ 16 w 76"/>
                <a:gd name="T13" fmla="*/ 27 h 76"/>
                <a:gd name="T14" fmla="*/ 11 w 76"/>
                <a:gd name="T15" fmla="*/ 27 h 76"/>
                <a:gd name="T16" fmla="*/ 11 w 76"/>
                <a:gd name="T17" fmla="*/ 32 h 76"/>
                <a:gd name="T18" fmla="*/ 0 w 76"/>
                <a:gd name="T19" fmla="*/ 38 h 76"/>
                <a:gd name="T20" fmla="*/ 11 w 76"/>
                <a:gd name="T21" fmla="*/ 54 h 76"/>
                <a:gd name="T22" fmla="*/ 32 w 76"/>
                <a:gd name="T23" fmla="*/ 76 h 76"/>
                <a:gd name="T24" fmla="*/ 32 w 76"/>
                <a:gd name="T25" fmla="*/ 76 h 76"/>
                <a:gd name="T26" fmla="*/ 38 w 76"/>
                <a:gd name="T27" fmla="*/ 71 h 76"/>
                <a:gd name="T28" fmla="*/ 38 w 76"/>
                <a:gd name="T29" fmla="*/ 60 h 76"/>
                <a:gd name="T30" fmla="*/ 54 w 76"/>
                <a:gd name="T31" fmla="*/ 49 h 76"/>
                <a:gd name="T32" fmla="*/ 65 w 76"/>
                <a:gd name="T33" fmla="*/ 60 h 76"/>
                <a:gd name="T34" fmla="*/ 70 w 76"/>
                <a:gd name="T35" fmla="*/ 60 h 76"/>
                <a:gd name="T36" fmla="*/ 70 w 76"/>
                <a:gd name="T37" fmla="*/ 38 h 76"/>
                <a:gd name="T38" fmla="*/ 70 w 76"/>
                <a:gd name="T39" fmla="*/ 27 h 76"/>
                <a:gd name="T40" fmla="*/ 76 w 76"/>
                <a:gd name="T41" fmla="*/ 16 h 76"/>
                <a:gd name="T42" fmla="*/ 76 w 76"/>
                <a:gd name="T43" fmla="*/ 11 h 76"/>
                <a:gd name="T44" fmla="*/ 70 w 76"/>
                <a:gd name="T45" fmla="*/ 11 h 76"/>
                <a:gd name="T46" fmla="*/ 65 w 76"/>
                <a:gd name="T47" fmla="*/ 5 h 76"/>
                <a:gd name="T48" fmla="*/ 60 w 76"/>
                <a:gd name="T49" fmla="*/ 11 h 76"/>
                <a:gd name="T50" fmla="*/ 60 w 76"/>
                <a:gd name="T51" fmla="*/ 11 h 76"/>
                <a:gd name="T52" fmla="*/ 60 w 76"/>
                <a:gd name="T53" fmla="*/ 0 h 76"/>
                <a:gd name="T54" fmla="*/ 60 w 76"/>
                <a:gd name="T55" fmla="*/ 0 h 7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6"/>
                <a:gd name="T85" fmla="*/ 0 h 76"/>
                <a:gd name="T86" fmla="*/ 76 w 76"/>
                <a:gd name="T87" fmla="*/ 76 h 7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6" h="76">
                  <a:moveTo>
                    <a:pt x="60" y="0"/>
                  </a:moveTo>
                  <a:lnTo>
                    <a:pt x="32" y="0"/>
                  </a:lnTo>
                  <a:lnTo>
                    <a:pt x="32" y="16"/>
                  </a:lnTo>
                  <a:lnTo>
                    <a:pt x="11" y="16"/>
                  </a:lnTo>
                  <a:lnTo>
                    <a:pt x="11" y="22"/>
                  </a:lnTo>
                  <a:lnTo>
                    <a:pt x="16" y="27"/>
                  </a:lnTo>
                  <a:lnTo>
                    <a:pt x="11" y="27"/>
                  </a:lnTo>
                  <a:lnTo>
                    <a:pt x="11" y="32"/>
                  </a:lnTo>
                  <a:lnTo>
                    <a:pt x="0" y="38"/>
                  </a:lnTo>
                  <a:lnTo>
                    <a:pt x="11" y="54"/>
                  </a:lnTo>
                  <a:lnTo>
                    <a:pt x="32" y="76"/>
                  </a:lnTo>
                  <a:lnTo>
                    <a:pt x="38" y="71"/>
                  </a:lnTo>
                  <a:lnTo>
                    <a:pt x="38" y="60"/>
                  </a:lnTo>
                  <a:lnTo>
                    <a:pt x="54" y="49"/>
                  </a:lnTo>
                  <a:lnTo>
                    <a:pt x="65" y="60"/>
                  </a:lnTo>
                  <a:lnTo>
                    <a:pt x="70" y="60"/>
                  </a:lnTo>
                  <a:lnTo>
                    <a:pt x="70" y="38"/>
                  </a:lnTo>
                  <a:lnTo>
                    <a:pt x="70" y="27"/>
                  </a:lnTo>
                  <a:lnTo>
                    <a:pt x="76" y="16"/>
                  </a:lnTo>
                  <a:lnTo>
                    <a:pt x="76" y="11"/>
                  </a:lnTo>
                  <a:lnTo>
                    <a:pt x="70" y="11"/>
                  </a:lnTo>
                  <a:lnTo>
                    <a:pt x="65" y="5"/>
                  </a:lnTo>
                  <a:lnTo>
                    <a:pt x="60" y="11"/>
                  </a:lnTo>
                  <a:lnTo>
                    <a:pt x="6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1" name="Freeform 443"/>
            <p:cNvSpPr>
              <a:spLocks/>
            </p:cNvSpPr>
            <p:nvPr/>
          </p:nvSpPr>
          <p:spPr bwMode="auto">
            <a:xfrm>
              <a:off x="2464" y="2811"/>
              <a:ext cx="38" cy="11"/>
            </a:xfrm>
            <a:custGeom>
              <a:avLst/>
              <a:gdLst>
                <a:gd name="T0" fmla="*/ 6 w 38"/>
                <a:gd name="T1" fmla="*/ 5 h 11"/>
                <a:gd name="T2" fmla="*/ 0 w 38"/>
                <a:gd name="T3" fmla="*/ 5 h 11"/>
                <a:gd name="T4" fmla="*/ 0 w 38"/>
                <a:gd name="T5" fmla="*/ 11 h 11"/>
                <a:gd name="T6" fmla="*/ 11 w 38"/>
                <a:gd name="T7" fmla="*/ 11 h 11"/>
                <a:gd name="T8" fmla="*/ 22 w 38"/>
                <a:gd name="T9" fmla="*/ 5 h 11"/>
                <a:gd name="T10" fmla="*/ 33 w 38"/>
                <a:gd name="T11" fmla="*/ 11 h 11"/>
                <a:gd name="T12" fmla="*/ 38 w 38"/>
                <a:gd name="T13" fmla="*/ 5 h 11"/>
                <a:gd name="T14" fmla="*/ 38 w 38"/>
                <a:gd name="T15" fmla="*/ 5 h 11"/>
                <a:gd name="T16" fmla="*/ 33 w 38"/>
                <a:gd name="T17" fmla="*/ 5 h 11"/>
                <a:gd name="T18" fmla="*/ 22 w 38"/>
                <a:gd name="T19" fmla="*/ 0 h 11"/>
                <a:gd name="T20" fmla="*/ 16 w 38"/>
                <a:gd name="T21" fmla="*/ 5 h 11"/>
                <a:gd name="T22" fmla="*/ 6 w 38"/>
                <a:gd name="T23" fmla="*/ 5 h 11"/>
                <a:gd name="T24" fmla="*/ 6 w 38"/>
                <a:gd name="T25" fmla="*/ 5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8"/>
                <a:gd name="T40" fmla="*/ 0 h 11"/>
                <a:gd name="T41" fmla="*/ 38 w 38"/>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8" h="11">
                  <a:moveTo>
                    <a:pt x="6" y="5"/>
                  </a:moveTo>
                  <a:lnTo>
                    <a:pt x="0" y="5"/>
                  </a:lnTo>
                  <a:lnTo>
                    <a:pt x="0" y="11"/>
                  </a:lnTo>
                  <a:lnTo>
                    <a:pt x="11" y="11"/>
                  </a:lnTo>
                  <a:lnTo>
                    <a:pt x="22" y="5"/>
                  </a:lnTo>
                  <a:lnTo>
                    <a:pt x="33" y="11"/>
                  </a:lnTo>
                  <a:lnTo>
                    <a:pt x="38" y="5"/>
                  </a:lnTo>
                  <a:lnTo>
                    <a:pt x="33" y="5"/>
                  </a:lnTo>
                  <a:lnTo>
                    <a:pt x="22" y="0"/>
                  </a:lnTo>
                  <a:lnTo>
                    <a:pt x="16" y="5"/>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2" name="Freeform 444"/>
            <p:cNvSpPr>
              <a:spLocks/>
            </p:cNvSpPr>
            <p:nvPr/>
          </p:nvSpPr>
          <p:spPr bwMode="auto">
            <a:xfrm>
              <a:off x="2638" y="2849"/>
              <a:ext cx="60" cy="82"/>
            </a:xfrm>
            <a:custGeom>
              <a:avLst/>
              <a:gdLst>
                <a:gd name="T0" fmla="*/ 60 w 60"/>
                <a:gd name="T1" fmla="*/ 66 h 82"/>
                <a:gd name="T2" fmla="*/ 55 w 60"/>
                <a:gd name="T3" fmla="*/ 71 h 82"/>
                <a:gd name="T4" fmla="*/ 44 w 60"/>
                <a:gd name="T5" fmla="*/ 71 h 82"/>
                <a:gd name="T6" fmla="*/ 17 w 60"/>
                <a:gd name="T7" fmla="*/ 82 h 82"/>
                <a:gd name="T8" fmla="*/ 0 w 60"/>
                <a:gd name="T9" fmla="*/ 76 h 82"/>
                <a:gd name="T10" fmla="*/ 6 w 60"/>
                <a:gd name="T11" fmla="*/ 76 h 82"/>
                <a:gd name="T12" fmla="*/ 6 w 60"/>
                <a:gd name="T13" fmla="*/ 71 h 82"/>
                <a:gd name="T14" fmla="*/ 6 w 60"/>
                <a:gd name="T15" fmla="*/ 66 h 82"/>
                <a:gd name="T16" fmla="*/ 0 w 60"/>
                <a:gd name="T17" fmla="*/ 60 h 82"/>
                <a:gd name="T18" fmla="*/ 6 w 60"/>
                <a:gd name="T19" fmla="*/ 38 h 82"/>
                <a:gd name="T20" fmla="*/ 11 w 60"/>
                <a:gd name="T21" fmla="*/ 38 h 82"/>
                <a:gd name="T22" fmla="*/ 6 w 60"/>
                <a:gd name="T23" fmla="*/ 27 h 82"/>
                <a:gd name="T24" fmla="*/ 6 w 60"/>
                <a:gd name="T25" fmla="*/ 22 h 82"/>
                <a:gd name="T26" fmla="*/ 6 w 60"/>
                <a:gd name="T27" fmla="*/ 6 h 82"/>
                <a:gd name="T28" fmla="*/ 6 w 60"/>
                <a:gd name="T29" fmla="*/ 0 h 82"/>
                <a:gd name="T30" fmla="*/ 33 w 60"/>
                <a:gd name="T31" fmla="*/ 0 h 82"/>
                <a:gd name="T32" fmla="*/ 38 w 60"/>
                <a:gd name="T33" fmla="*/ 0 h 82"/>
                <a:gd name="T34" fmla="*/ 44 w 60"/>
                <a:gd name="T35" fmla="*/ 0 h 82"/>
                <a:gd name="T36" fmla="*/ 38 w 60"/>
                <a:gd name="T37" fmla="*/ 6 h 82"/>
                <a:gd name="T38" fmla="*/ 49 w 60"/>
                <a:gd name="T39" fmla="*/ 11 h 82"/>
                <a:gd name="T40" fmla="*/ 49 w 60"/>
                <a:gd name="T41" fmla="*/ 22 h 82"/>
                <a:gd name="T42" fmla="*/ 49 w 60"/>
                <a:gd name="T43" fmla="*/ 55 h 82"/>
                <a:gd name="T44" fmla="*/ 60 w 60"/>
                <a:gd name="T45" fmla="*/ 66 h 82"/>
                <a:gd name="T46" fmla="*/ 60 w 60"/>
                <a:gd name="T47" fmla="*/ 66 h 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2"/>
                <a:gd name="T74" fmla="*/ 60 w 60"/>
                <a:gd name="T75" fmla="*/ 82 h 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2">
                  <a:moveTo>
                    <a:pt x="60" y="66"/>
                  </a:moveTo>
                  <a:lnTo>
                    <a:pt x="55" y="71"/>
                  </a:lnTo>
                  <a:lnTo>
                    <a:pt x="44" y="71"/>
                  </a:lnTo>
                  <a:lnTo>
                    <a:pt x="17" y="82"/>
                  </a:lnTo>
                  <a:lnTo>
                    <a:pt x="0" y="76"/>
                  </a:lnTo>
                  <a:lnTo>
                    <a:pt x="6" y="76"/>
                  </a:lnTo>
                  <a:lnTo>
                    <a:pt x="6" y="71"/>
                  </a:lnTo>
                  <a:lnTo>
                    <a:pt x="6" y="66"/>
                  </a:lnTo>
                  <a:lnTo>
                    <a:pt x="0" y="60"/>
                  </a:lnTo>
                  <a:lnTo>
                    <a:pt x="6" y="38"/>
                  </a:lnTo>
                  <a:lnTo>
                    <a:pt x="11" y="38"/>
                  </a:lnTo>
                  <a:lnTo>
                    <a:pt x="6" y="27"/>
                  </a:lnTo>
                  <a:lnTo>
                    <a:pt x="6" y="22"/>
                  </a:lnTo>
                  <a:lnTo>
                    <a:pt x="6" y="6"/>
                  </a:lnTo>
                  <a:lnTo>
                    <a:pt x="6" y="0"/>
                  </a:lnTo>
                  <a:lnTo>
                    <a:pt x="33" y="0"/>
                  </a:lnTo>
                  <a:lnTo>
                    <a:pt x="38" y="0"/>
                  </a:lnTo>
                  <a:lnTo>
                    <a:pt x="44" y="0"/>
                  </a:lnTo>
                  <a:lnTo>
                    <a:pt x="38" y="6"/>
                  </a:lnTo>
                  <a:lnTo>
                    <a:pt x="49" y="11"/>
                  </a:lnTo>
                  <a:lnTo>
                    <a:pt x="49" y="22"/>
                  </a:lnTo>
                  <a:lnTo>
                    <a:pt x="49" y="55"/>
                  </a:lnTo>
                  <a:lnTo>
                    <a:pt x="60" y="6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3" name="Freeform 445"/>
            <p:cNvSpPr>
              <a:spLocks/>
            </p:cNvSpPr>
            <p:nvPr/>
          </p:nvSpPr>
          <p:spPr bwMode="auto">
            <a:xfrm>
              <a:off x="2486" y="2827"/>
              <a:ext cx="98" cy="71"/>
            </a:xfrm>
            <a:custGeom>
              <a:avLst/>
              <a:gdLst>
                <a:gd name="T0" fmla="*/ 0 w 98"/>
                <a:gd name="T1" fmla="*/ 22 h 71"/>
                <a:gd name="T2" fmla="*/ 0 w 98"/>
                <a:gd name="T3" fmla="*/ 28 h 71"/>
                <a:gd name="T4" fmla="*/ 5 w 98"/>
                <a:gd name="T5" fmla="*/ 22 h 71"/>
                <a:gd name="T6" fmla="*/ 11 w 98"/>
                <a:gd name="T7" fmla="*/ 33 h 71"/>
                <a:gd name="T8" fmla="*/ 16 w 98"/>
                <a:gd name="T9" fmla="*/ 38 h 71"/>
                <a:gd name="T10" fmla="*/ 22 w 98"/>
                <a:gd name="T11" fmla="*/ 49 h 71"/>
                <a:gd name="T12" fmla="*/ 27 w 98"/>
                <a:gd name="T13" fmla="*/ 49 h 71"/>
                <a:gd name="T14" fmla="*/ 33 w 98"/>
                <a:gd name="T15" fmla="*/ 38 h 71"/>
                <a:gd name="T16" fmla="*/ 49 w 98"/>
                <a:gd name="T17" fmla="*/ 38 h 71"/>
                <a:gd name="T18" fmla="*/ 60 w 98"/>
                <a:gd name="T19" fmla="*/ 49 h 71"/>
                <a:gd name="T20" fmla="*/ 54 w 98"/>
                <a:gd name="T21" fmla="*/ 55 h 71"/>
                <a:gd name="T22" fmla="*/ 60 w 98"/>
                <a:gd name="T23" fmla="*/ 55 h 71"/>
                <a:gd name="T24" fmla="*/ 60 w 98"/>
                <a:gd name="T25" fmla="*/ 55 h 71"/>
                <a:gd name="T26" fmla="*/ 71 w 98"/>
                <a:gd name="T27" fmla="*/ 55 h 71"/>
                <a:gd name="T28" fmla="*/ 71 w 98"/>
                <a:gd name="T29" fmla="*/ 55 h 71"/>
                <a:gd name="T30" fmla="*/ 76 w 98"/>
                <a:gd name="T31" fmla="*/ 66 h 71"/>
                <a:gd name="T32" fmla="*/ 71 w 98"/>
                <a:gd name="T33" fmla="*/ 71 h 71"/>
                <a:gd name="T34" fmla="*/ 76 w 98"/>
                <a:gd name="T35" fmla="*/ 71 h 71"/>
                <a:gd name="T36" fmla="*/ 82 w 98"/>
                <a:gd name="T37" fmla="*/ 66 h 71"/>
                <a:gd name="T38" fmla="*/ 87 w 98"/>
                <a:gd name="T39" fmla="*/ 66 h 71"/>
                <a:gd name="T40" fmla="*/ 87 w 98"/>
                <a:gd name="T41" fmla="*/ 66 h 71"/>
                <a:gd name="T42" fmla="*/ 92 w 98"/>
                <a:gd name="T43" fmla="*/ 60 h 71"/>
                <a:gd name="T44" fmla="*/ 87 w 98"/>
                <a:gd name="T45" fmla="*/ 60 h 71"/>
                <a:gd name="T46" fmla="*/ 87 w 98"/>
                <a:gd name="T47" fmla="*/ 55 h 71"/>
                <a:gd name="T48" fmla="*/ 98 w 98"/>
                <a:gd name="T49" fmla="*/ 55 h 71"/>
                <a:gd name="T50" fmla="*/ 92 w 98"/>
                <a:gd name="T51" fmla="*/ 49 h 71"/>
                <a:gd name="T52" fmla="*/ 92 w 98"/>
                <a:gd name="T53" fmla="*/ 49 h 71"/>
                <a:gd name="T54" fmla="*/ 92 w 98"/>
                <a:gd name="T55" fmla="*/ 49 h 71"/>
                <a:gd name="T56" fmla="*/ 92 w 98"/>
                <a:gd name="T57" fmla="*/ 44 h 71"/>
                <a:gd name="T58" fmla="*/ 87 w 98"/>
                <a:gd name="T59" fmla="*/ 44 h 71"/>
                <a:gd name="T60" fmla="*/ 87 w 98"/>
                <a:gd name="T61" fmla="*/ 38 h 71"/>
                <a:gd name="T62" fmla="*/ 92 w 98"/>
                <a:gd name="T63" fmla="*/ 33 h 71"/>
                <a:gd name="T64" fmla="*/ 87 w 98"/>
                <a:gd name="T65" fmla="*/ 28 h 71"/>
                <a:gd name="T66" fmla="*/ 87 w 98"/>
                <a:gd name="T67" fmla="*/ 22 h 71"/>
                <a:gd name="T68" fmla="*/ 82 w 98"/>
                <a:gd name="T69" fmla="*/ 22 h 71"/>
                <a:gd name="T70" fmla="*/ 87 w 98"/>
                <a:gd name="T71" fmla="*/ 17 h 71"/>
                <a:gd name="T72" fmla="*/ 82 w 98"/>
                <a:gd name="T73" fmla="*/ 11 h 71"/>
                <a:gd name="T74" fmla="*/ 76 w 98"/>
                <a:gd name="T75" fmla="*/ 0 h 71"/>
                <a:gd name="T76" fmla="*/ 76 w 98"/>
                <a:gd name="T77" fmla="*/ 0 h 71"/>
                <a:gd name="T78" fmla="*/ 71 w 98"/>
                <a:gd name="T79" fmla="*/ 6 h 71"/>
                <a:gd name="T80" fmla="*/ 60 w 98"/>
                <a:gd name="T81" fmla="*/ 6 h 71"/>
                <a:gd name="T82" fmla="*/ 60 w 98"/>
                <a:gd name="T83" fmla="*/ 11 h 71"/>
                <a:gd name="T84" fmla="*/ 54 w 98"/>
                <a:gd name="T85" fmla="*/ 6 h 71"/>
                <a:gd name="T86" fmla="*/ 49 w 98"/>
                <a:gd name="T87" fmla="*/ 6 h 71"/>
                <a:gd name="T88" fmla="*/ 49 w 98"/>
                <a:gd name="T89" fmla="*/ 6 h 71"/>
                <a:gd name="T90" fmla="*/ 38 w 98"/>
                <a:gd name="T91" fmla="*/ 6 h 71"/>
                <a:gd name="T92" fmla="*/ 16 w 98"/>
                <a:gd name="T93" fmla="*/ 0 h 71"/>
                <a:gd name="T94" fmla="*/ 22 w 98"/>
                <a:gd name="T95" fmla="*/ 6 h 71"/>
                <a:gd name="T96" fmla="*/ 16 w 98"/>
                <a:gd name="T97" fmla="*/ 6 h 71"/>
                <a:gd name="T98" fmla="*/ 16 w 98"/>
                <a:gd name="T99" fmla="*/ 11 h 71"/>
                <a:gd name="T100" fmla="*/ 5 w 98"/>
                <a:gd name="T101" fmla="*/ 17 h 71"/>
                <a:gd name="T102" fmla="*/ 0 w 98"/>
                <a:gd name="T103" fmla="*/ 22 h 71"/>
                <a:gd name="T104" fmla="*/ 0 w 98"/>
                <a:gd name="T105" fmla="*/ 22 h 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8"/>
                <a:gd name="T160" fmla="*/ 0 h 71"/>
                <a:gd name="T161" fmla="*/ 98 w 98"/>
                <a:gd name="T162" fmla="*/ 71 h 7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8" h="71">
                  <a:moveTo>
                    <a:pt x="0" y="22"/>
                  </a:moveTo>
                  <a:lnTo>
                    <a:pt x="0" y="28"/>
                  </a:lnTo>
                  <a:lnTo>
                    <a:pt x="5" y="22"/>
                  </a:lnTo>
                  <a:lnTo>
                    <a:pt x="11" y="33"/>
                  </a:lnTo>
                  <a:lnTo>
                    <a:pt x="16" y="38"/>
                  </a:lnTo>
                  <a:lnTo>
                    <a:pt x="22" y="49"/>
                  </a:lnTo>
                  <a:lnTo>
                    <a:pt x="27" y="49"/>
                  </a:lnTo>
                  <a:lnTo>
                    <a:pt x="33" y="38"/>
                  </a:lnTo>
                  <a:lnTo>
                    <a:pt x="49" y="38"/>
                  </a:lnTo>
                  <a:lnTo>
                    <a:pt x="60" y="49"/>
                  </a:lnTo>
                  <a:lnTo>
                    <a:pt x="54" y="55"/>
                  </a:lnTo>
                  <a:lnTo>
                    <a:pt x="60" y="55"/>
                  </a:lnTo>
                  <a:lnTo>
                    <a:pt x="71" y="55"/>
                  </a:lnTo>
                  <a:lnTo>
                    <a:pt x="76" y="66"/>
                  </a:lnTo>
                  <a:lnTo>
                    <a:pt x="71" y="71"/>
                  </a:lnTo>
                  <a:lnTo>
                    <a:pt x="76" y="71"/>
                  </a:lnTo>
                  <a:lnTo>
                    <a:pt x="82" y="66"/>
                  </a:lnTo>
                  <a:lnTo>
                    <a:pt x="87" y="66"/>
                  </a:lnTo>
                  <a:lnTo>
                    <a:pt x="92" y="60"/>
                  </a:lnTo>
                  <a:lnTo>
                    <a:pt x="87" y="60"/>
                  </a:lnTo>
                  <a:lnTo>
                    <a:pt x="87" y="55"/>
                  </a:lnTo>
                  <a:lnTo>
                    <a:pt x="98" y="55"/>
                  </a:lnTo>
                  <a:lnTo>
                    <a:pt x="92" y="49"/>
                  </a:lnTo>
                  <a:lnTo>
                    <a:pt x="92" y="44"/>
                  </a:lnTo>
                  <a:lnTo>
                    <a:pt x="87" y="44"/>
                  </a:lnTo>
                  <a:lnTo>
                    <a:pt x="87" y="38"/>
                  </a:lnTo>
                  <a:lnTo>
                    <a:pt x="92" y="33"/>
                  </a:lnTo>
                  <a:lnTo>
                    <a:pt x="87" y="28"/>
                  </a:lnTo>
                  <a:lnTo>
                    <a:pt x="87" y="22"/>
                  </a:lnTo>
                  <a:lnTo>
                    <a:pt x="82" y="22"/>
                  </a:lnTo>
                  <a:lnTo>
                    <a:pt x="87" y="17"/>
                  </a:lnTo>
                  <a:lnTo>
                    <a:pt x="82" y="11"/>
                  </a:lnTo>
                  <a:lnTo>
                    <a:pt x="76" y="0"/>
                  </a:lnTo>
                  <a:lnTo>
                    <a:pt x="71" y="6"/>
                  </a:lnTo>
                  <a:lnTo>
                    <a:pt x="60" y="6"/>
                  </a:lnTo>
                  <a:lnTo>
                    <a:pt x="60" y="11"/>
                  </a:lnTo>
                  <a:lnTo>
                    <a:pt x="54" y="6"/>
                  </a:lnTo>
                  <a:lnTo>
                    <a:pt x="49" y="6"/>
                  </a:lnTo>
                  <a:lnTo>
                    <a:pt x="38" y="6"/>
                  </a:lnTo>
                  <a:lnTo>
                    <a:pt x="16" y="0"/>
                  </a:lnTo>
                  <a:lnTo>
                    <a:pt x="22" y="6"/>
                  </a:lnTo>
                  <a:lnTo>
                    <a:pt x="16" y="6"/>
                  </a:lnTo>
                  <a:lnTo>
                    <a:pt x="16" y="11"/>
                  </a:lnTo>
                  <a:lnTo>
                    <a:pt x="5" y="17"/>
                  </a:lnTo>
                  <a:lnTo>
                    <a:pt x="0"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4" name="Freeform 446"/>
            <p:cNvSpPr>
              <a:spLocks/>
            </p:cNvSpPr>
            <p:nvPr/>
          </p:nvSpPr>
          <p:spPr bwMode="auto">
            <a:xfrm>
              <a:off x="2573" y="2855"/>
              <a:ext cx="76" cy="81"/>
            </a:xfrm>
            <a:custGeom>
              <a:avLst/>
              <a:gdLst>
                <a:gd name="T0" fmla="*/ 11 w 76"/>
                <a:gd name="T1" fmla="*/ 81 h 81"/>
                <a:gd name="T2" fmla="*/ 16 w 76"/>
                <a:gd name="T3" fmla="*/ 81 h 81"/>
                <a:gd name="T4" fmla="*/ 27 w 76"/>
                <a:gd name="T5" fmla="*/ 76 h 81"/>
                <a:gd name="T6" fmla="*/ 49 w 76"/>
                <a:gd name="T7" fmla="*/ 70 h 81"/>
                <a:gd name="T8" fmla="*/ 65 w 76"/>
                <a:gd name="T9" fmla="*/ 70 h 81"/>
                <a:gd name="T10" fmla="*/ 71 w 76"/>
                <a:gd name="T11" fmla="*/ 70 h 81"/>
                <a:gd name="T12" fmla="*/ 71 w 76"/>
                <a:gd name="T13" fmla="*/ 65 h 81"/>
                <a:gd name="T14" fmla="*/ 71 w 76"/>
                <a:gd name="T15" fmla="*/ 60 h 81"/>
                <a:gd name="T16" fmla="*/ 65 w 76"/>
                <a:gd name="T17" fmla="*/ 54 h 81"/>
                <a:gd name="T18" fmla="*/ 71 w 76"/>
                <a:gd name="T19" fmla="*/ 32 h 81"/>
                <a:gd name="T20" fmla="*/ 76 w 76"/>
                <a:gd name="T21" fmla="*/ 32 h 81"/>
                <a:gd name="T22" fmla="*/ 71 w 76"/>
                <a:gd name="T23" fmla="*/ 21 h 81"/>
                <a:gd name="T24" fmla="*/ 71 w 76"/>
                <a:gd name="T25" fmla="*/ 16 h 81"/>
                <a:gd name="T26" fmla="*/ 71 w 76"/>
                <a:gd name="T27" fmla="*/ 16 h 81"/>
                <a:gd name="T28" fmla="*/ 65 w 76"/>
                <a:gd name="T29" fmla="*/ 10 h 81"/>
                <a:gd name="T30" fmla="*/ 60 w 76"/>
                <a:gd name="T31" fmla="*/ 5 h 81"/>
                <a:gd name="T32" fmla="*/ 49 w 76"/>
                <a:gd name="T33" fmla="*/ 10 h 81"/>
                <a:gd name="T34" fmla="*/ 49 w 76"/>
                <a:gd name="T35" fmla="*/ 10 h 81"/>
                <a:gd name="T36" fmla="*/ 38 w 76"/>
                <a:gd name="T37" fmla="*/ 5 h 81"/>
                <a:gd name="T38" fmla="*/ 33 w 76"/>
                <a:gd name="T39" fmla="*/ 0 h 81"/>
                <a:gd name="T40" fmla="*/ 27 w 76"/>
                <a:gd name="T41" fmla="*/ 5 h 81"/>
                <a:gd name="T42" fmla="*/ 27 w 76"/>
                <a:gd name="T43" fmla="*/ 0 h 81"/>
                <a:gd name="T44" fmla="*/ 22 w 76"/>
                <a:gd name="T45" fmla="*/ 0 h 81"/>
                <a:gd name="T46" fmla="*/ 22 w 76"/>
                <a:gd name="T47" fmla="*/ 5 h 81"/>
                <a:gd name="T48" fmla="*/ 16 w 76"/>
                <a:gd name="T49" fmla="*/ 5 h 81"/>
                <a:gd name="T50" fmla="*/ 11 w 76"/>
                <a:gd name="T51" fmla="*/ 0 h 81"/>
                <a:gd name="T52" fmla="*/ 5 w 76"/>
                <a:gd name="T53" fmla="*/ 5 h 81"/>
                <a:gd name="T54" fmla="*/ 0 w 76"/>
                <a:gd name="T55" fmla="*/ 10 h 81"/>
                <a:gd name="T56" fmla="*/ 0 w 76"/>
                <a:gd name="T57" fmla="*/ 16 h 81"/>
                <a:gd name="T58" fmla="*/ 5 w 76"/>
                <a:gd name="T59" fmla="*/ 16 h 81"/>
                <a:gd name="T60" fmla="*/ 5 w 76"/>
                <a:gd name="T61" fmla="*/ 21 h 81"/>
                <a:gd name="T62" fmla="*/ 5 w 76"/>
                <a:gd name="T63" fmla="*/ 21 h 81"/>
                <a:gd name="T64" fmla="*/ 5 w 76"/>
                <a:gd name="T65" fmla="*/ 21 h 81"/>
                <a:gd name="T66" fmla="*/ 11 w 76"/>
                <a:gd name="T67" fmla="*/ 27 h 81"/>
                <a:gd name="T68" fmla="*/ 0 w 76"/>
                <a:gd name="T69" fmla="*/ 27 h 81"/>
                <a:gd name="T70" fmla="*/ 0 w 76"/>
                <a:gd name="T71" fmla="*/ 32 h 81"/>
                <a:gd name="T72" fmla="*/ 5 w 76"/>
                <a:gd name="T73" fmla="*/ 32 h 81"/>
                <a:gd name="T74" fmla="*/ 0 w 76"/>
                <a:gd name="T75" fmla="*/ 38 h 81"/>
                <a:gd name="T76" fmla="*/ 0 w 76"/>
                <a:gd name="T77" fmla="*/ 38 h 81"/>
                <a:gd name="T78" fmla="*/ 0 w 76"/>
                <a:gd name="T79" fmla="*/ 43 h 81"/>
                <a:gd name="T80" fmla="*/ 0 w 76"/>
                <a:gd name="T81" fmla="*/ 54 h 81"/>
                <a:gd name="T82" fmla="*/ 5 w 76"/>
                <a:gd name="T83" fmla="*/ 54 h 81"/>
                <a:gd name="T84" fmla="*/ 5 w 76"/>
                <a:gd name="T85" fmla="*/ 60 h 81"/>
                <a:gd name="T86" fmla="*/ 11 w 76"/>
                <a:gd name="T87" fmla="*/ 60 h 81"/>
                <a:gd name="T88" fmla="*/ 11 w 76"/>
                <a:gd name="T89" fmla="*/ 81 h 81"/>
                <a:gd name="T90" fmla="*/ 11 w 76"/>
                <a:gd name="T91" fmla="*/ 81 h 8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6"/>
                <a:gd name="T139" fmla="*/ 0 h 81"/>
                <a:gd name="T140" fmla="*/ 76 w 76"/>
                <a:gd name="T141" fmla="*/ 81 h 8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6" h="81">
                  <a:moveTo>
                    <a:pt x="11" y="81"/>
                  </a:moveTo>
                  <a:lnTo>
                    <a:pt x="16" y="81"/>
                  </a:lnTo>
                  <a:lnTo>
                    <a:pt x="27" y="76"/>
                  </a:lnTo>
                  <a:lnTo>
                    <a:pt x="49" y="70"/>
                  </a:lnTo>
                  <a:lnTo>
                    <a:pt x="65" y="70"/>
                  </a:lnTo>
                  <a:lnTo>
                    <a:pt x="71" y="70"/>
                  </a:lnTo>
                  <a:lnTo>
                    <a:pt x="71" y="65"/>
                  </a:lnTo>
                  <a:lnTo>
                    <a:pt x="71" y="60"/>
                  </a:lnTo>
                  <a:lnTo>
                    <a:pt x="65" y="54"/>
                  </a:lnTo>
                  <a:lnTo>
                    <a:pt x="71" y="32"/>
                  </a:lnTo>
                  <a:lnTo>
                    <a:pt x="76" y="32"/>
                  </a:lnTo>
                  <a:lnTo>
                    <a:pt x="71" y="21"/>
                  </a:lnTo>
                  <a:lnTo>
                    <a:pt x="71" y="16"/>
                  </a:lnTo>
                  <a:lnTo>
                    <a:pt x="65" y="10"/>
                  </a:lnTo>
                  <a:lnTo>
                    <a:pt x="60" y="5"/>
                  </a:lnTo>
                  <a:lnTo>
                    <a:pt x="49" y="10"/>
                  </a:lnTo>
                  <a:lnTo>
                    <a:pt x="38" y="5"/>
                  </a:lnTo>
                  <a:lnTo>
                    <a:pt x="33" y="0"/>
                  </a:lnTo>
                  <a:lnTo>
                    <a:pt x="27" y="5"/>
                  </a:lnTo>
                  <a:lnTo>
                    <a:pt x="27" y="0"/>
                  </a:lnTo>
                  <a:lnTo>
                    <a:pt x="22" y="0"/>
                  </a:lnTo>
                  <a:lnTo>
                    <a:pt x="22" y="5"/>
                  </a:lnTo>
                  <a:lnTo>
                    <a:pt x="16" y="5"/>
                  </a:lnTo>
                  <a:lnTo>
                    <a:pt x="11" y="0"/>
                  </a:lnTo>
                  <a:lnTo>
                    <a:pt x="5" y="5"/>
                  </a:lnTo>
                  <a:lnTo>
                    <a:pt x="0" y="10"/>
                  </a:lnTo>
                  <a:lnTo>
                    <a:pt x="0" y="16"/>
                  </a:lnTo>
                  <a:lnTo>
                    <a:pt x="5" y="16"/>
                  </a:lnTo>
                  <a:lnTo>
                    <a:pt x="5" y="21"/>
                  </a:lnTo>
                  <a:lnTo>
                    <a:pt x="11" y="27"/>
                  </a:lnTo>
                  <a:lnTo>
                    <a:pt x="0" y="27"/>
                  </a:lnTo>
                  <a:lnTo>
                    <a:pt x="0" y="32"/>
                  </a:lnTo>
                  <a:lnTo>
                    <a:pt x="5" y="32"/>
                  </a:lnTo>
                  <a:lnTo>
                    <a:pt x="0" y="38"/>
                  </a:lnTo>
                  <a:lnTo>
                    <a:pt x="0" y="43"/>
                  </a:lnTo>
                  <a:lnTo>
                    <a:pt x="0" y="54"/>
                  </a:lnTo>
                  <a:lnTo>
                    <a:pt x="5" y="54"/>
                  </a:lnTo>
                  <a:lnTo>
                    <a:pt x="5" y="60"/>
                  </a:lnTo>
                  <a:lnTo>
                    <a:pt x="11" y="60"/>
                  </a:lnTo>
                  <a:lnTo>
                    <a:pt x="11" y="8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5" name="Freeform 447"/>
            <p:cNvSpPr>
              <a:spLocks/>
            </p:cNvSpPr>
            <p:nvPr/>
          </p:nvSpPr>
          <p:spPr bwMode="auto">
            <a:xfrm>
              <a:off x="3030" y="3373"/>
              <a:ext cx="27" cy="33"/>
            </a:xfrm>
            <a:custGeom>
              <a:avLst/>
              <a:gdLst>
                <a:gd name="T0" fmla="*/ 27 w 27"/>
                <a:gd name="T1" fmla="*/ 11 h 33"/>
                <a:gd name="T2" fmla="*/ 22 w 27"/>
                <a:gd name="T3" fmla="*/ 22 h 33"/>
                <a:gd name="T4" fmla="*/ 11 w 27"/>
                <a:gd name="T5" fmla="*/ 33 h 33"/>
                <a:gd name="T6" fmla="*/ 6 w 27"/>
                <a:gd name="T7" fmla="*/ 27 h 33"/>
                <a:gd name="T8" fmla="*/ 0 w 27"/>
                <a:gd name="T9" fmla="*/ 16 h 33"/>
                <a:gd name="T10" fmla="*/ 6 w 27"/>
                <a:gd name="T11" fmla="*/ 5 h 33"/>
                <a:gd name="T12" fmla="*/ 17 w 27"/>
                <a:gd name="T13" fmla="*/ 0 h 33"/>
                <a:gd name="T14" fmla="*/ 22 w 27"/>
                <a:gd name="T15" fmla="*/ 0 h 33"/>
                <a:gd name="T16" fmla="*/ 27 w 27"/>
                <a:gd name="T17" fmla="*/ 11 h 33"/>
                <a:gd name="T18" fmla="*/ 27 w 27"/>
                <a:gd name="T19" fmla="*/ 11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33"/>
                <a:gd name="T32" fmla="*/ 27 w 2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33">
                  <a:moveTo>
                    <a:pt x="27" y="11"/>
                  </a:moveTo>
                  <a:lnTo>
                    <a:pt x="22" y="22"/>
                  </a:lnTo>
                  <a:lnTo>
                    <a:pt x="11" y="33"/>
                  </a:lnTo>
                  <a:lnTo>
                    <a:pt x="6" y="27"/>
                  </a:lnTo>
                  <a:lnTo>
                    <a:pt x="0" y="16"/>
                  </a:lnTo>
                  <a:lnTo>
                    <a:pt x="6" y="5"/>
                  </a:lnTo>
                  <a:lnTo>
                    <a:pt x="17" y="0"/>
                  </a:lnTo>
                  <a:lnTo>
                    <a:pt x="22" y="0"/>
                  </a:lnTo>
                  <a:lnTo>
                    <a:pt x="27"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6" name="Freeform 448"/>
            <p:cNvSpPr>
              <a:spLocks/>
            </p:cNvSpPr>
            <p:nvPr/>
          </p:nvSpPr>
          <p:spPr bwMode="auto">
            <a:xfrm>
              <a:off x="2535" y="2882"/>
              <a:ext cx="49" cy="54"/>
            </a:xfrm>
            <a:custGeom>
              <a:avLst/>
              <a:gdLst>
                <a:gd name="T0" fmla="*/ 0 w 49"/>
                <a:gd name="T1" fmla="*/ 22 h 54"/>
                <a:gd name="T2" fmla="*/ 27 w 49"/>
                <a:gd name="T3" fmla="*/ 43 h 54"/>
                <a:gd name="T4" fmla="*/ 49 w 49"/>
                <a:gd name="T5" fmla="*/ 54 h 54"/>
                <a:gd name="T6" fmla="*/ 49 w 49"/>
                <a:gd name="T7" fmla="*/ 33 h 54"/>
                <a:gd name="T8" fmla="*/ 43 w 49"/>
                <a:gd name="T9" fmla="*/ 33 h 54"/>
                <a:gd name="T10" fmla="*/ 43 w 49"/>
                <a:gd name="T11" fmla="*/ 27 h 54"/>
                <a:gd name="T12" fmla="*/ 38 w 49"/>
                <a:gd name="T13" fmla="*/ 27 h 54"/>
                <a:gd name="T14" fmla="*/ 38 w 49"/>
                <a:gd name="T15" fmla="*/ 16 h 54"/>
                <a:gd name="T16" fmla="*/ 38 w 49"/>
                <a:gd name="T17" fmla="*/ 11 h 54"/>
                <a:gd name="T18" fmla="*/ 33 w 49"/>
                <a:gd name="T19" fmla="*/ 11 h 54"/>
                <a:gd name="T20" fmla="*/ 27 w 49"/>
                <a:gd name="T21" fmla="*/ 16 h 54"/>
                <a:gd name="T22" fmla="*/ 22 w 49"/>
                <a:gd name="T23" fmla="*/ 16 h 54"/>
                <a:gd name="T24" fmla="*/ 27 w 49"/>
                <a:gd name="T25" fmla="*/ 11 h 54"/>
                <a:gd name="T26" fmla="*/ 22 w 49"/>
                <a:gd name="T27" fmla="*/ 0 h 54"/>
                <a:gd name="T28" fmla="*/ 22 w 49"/>
                <a:gd name="T29" fmla="*/ 0 h 54"/>
                <a:gd name="T30" fmla="*/ 11 w 49"/>
                <a:gd name="T31" fmla="*/ 0 h 54"/>
                <a:gd name="T32" fmla="*/ 11 w 49"/>
                <a:gd name="T33" fmla="*/ 5 h 54"/>
                <a:gd name="T34" fmla="*/ 11 w 49"/>
                <a:gd name="T35" fmla="*/ 5 h 54"/>
                <a:gd name="T36" fmla="*/ 11 w 49"/>
                <a:gd name="T37" fmla="*/ 11 h 54"/>
                <a:gd name="T38" fmla="*/ 0 w 49"/>
                <a:gd name="T39" fmla="*/ 22 h 54"/>
                <a:gd name="T40" fmla="*/ 0 w 49"/>
                <a:gd name="T41" fmla="*/ 22 h 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9"/>
                <a:gd name="T64" fmla="*/ 0 h 54"/>
                <a:gd name="T65" fmla="*/ 49 w 49"/>
                <a:gd name="T66" fmla="*/ 54 h 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9" h="54">
                  <a:moveTo>
                    <a:pt x="0" y="22"/>
                  </a:moveTo>
                  <a:lnTo>
                    <a:pt x="27" y="43"/>
                  </a:lnTo>
                  <a:lnTo>
                    <a:pt x="49" y="54"/>
                  </a:lnTo>
                  <a:lnTo>
                    <a:pt x="49" y="33"/>
                  </a:lnTo>
                  <a:lnTo>
                    <a:pt x="43" y="33"/>
                  </a:lnTo>
                  <a:lnTo>
                    <a:pt x="43" y="27"/>
                  </a:lnTo>
                  <a:lnTo>
                    <a:pt x="38" y="27"/>
                  </a:lnTo>
                  <a:lnTo>
                    <a:pt x="38" y="16"/>
                  </a:lnTo>
                  <a:lnTo>
                    <a:pt x="38" y="11"/>
                  </a:lnTo>
                  <a:lnTo>
                    <a:pt x="33" y="11"/>
                  </a:lnTo>
                  <a:lnTo>
                    <a:pt x="27" y="16"/>
                  </a:lnTo>
                  <a:lnTo>
                    <a:pt x="22" y="16"/>
                  </a:lnTo>
                  <a:lnTo>
                    <a:pt x="27" y="11"/>
                  </a:lnTo>
                  <a:lnTo>
                    <a:pt x="22" y="0"/>
                  </a:lnTo>
                  <a:lnTo>
                    <a:pt x="11" y="0"/>
                  </a:lnTo>
                  <a:lnTo>
                    <a:pt x="11" y="5"/>
                  </a:lnTo>
                  <a:lnTo>
                    <a:pt x="11" y="11"/>
                  </a:lnTo>
                  <a:lnTo>
                    <a:pt x="0"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7" name="Freeform 449"/>
            <p:cNvSpPr>
              <a:spLocks/>
            </p:cNvSpPr>
            <p:nvPr/>
          </p:nvSpPr>
          <p:spPr bwMode="auto">
            <a:xfrm>
              <a:off x="2796" y="2538"/>
              <a:ext cx="207" cy="196"/>
            </a:xfrm>
            <a:custGeom>
              <a:avLst/>
              <a:gdLst>
                <a:gd name="T0" fmla="*/ 207 w 207"/>
                <a:gd name="T1" fmla="*/ 27 h 196"/>
                <a:gd name="T2" fmla="*/ 202 w 207"/>
                <a:gd name="T3" fmla="*/ 27 h 196"/>
                <a:gd name="T4" fmla="*/ 202 w 207"/>
                <a:gd name="T5" fmla="*/ 44 h 196"/>
                <a:gd name="T6" fmla="*/ 202 w 207"/>
                <a:gd name="T7" fmla="*/ 49 h 196"/>
                <a:gd name="T8" fmla="*/ 202 w 207"/>
                <a:gd name="T9" fmla="*/ 60 h 196"/>
                <a:gd name="T10" fmla="*/ 207 w 207"/>
                <a:gd name="T11" fmla="*/ 66 h 196"/>
                <a:gd name="T12" fmla="*/ 207 w 207"/>
                <a:gd name="T13" fmla="*/ 164 h 196"/>
                <a:gd name="T14" fmla="*/ 207 w 207"/>
                <a:gd name="T15" fmla="*/ 191 h 196"/>
                <a:gd name="T16" fmla="*/ 196 w 207"/>
                <a:gd name="T17" fmla="*/ 191 h 196"/>
                <a:gd name="T18" fmla="*/ 196 w 207"/>
                <a:gd name="T19" fmla="*/ 196 h 196"/>
                <a:gd name="T20" fmla="*/ 93 w 207"/>
                <a:gd name="T21" fmla="*/ 147 h 196"/>
                <a:gd name="T22" fmla="*/ 76 w 207"/>
                <a:gd name="T23" fmla="*/ 147 h 196"/>
                <a:gd name="T24" fmla="*/ 71 w 207"/>
                <a:gd name="T25" fmla="*/ 153 h 196"/>
                <a:gd name="T26" fmla="*/ 65 w 207"/>
                <a:gd name="T27" fmla="*/ 142 h 196"/>
                <a:gd name="T28" fmla="*/ 38 w 207"/>
                <a:gd name="T29" fmla="*/ 142 h 196"/>
                <a:gd name="T30" fmla="*/ 27 w 207"/>
                <a:gd name="T31" fmla="*/ 131 h 196"/>
                <a:gd name="T32" fmla="*/ 16 w 207"/>
                <a:gd name="T33" fmla="*/ 126 h 196"/>
                <a:gd name="T34" fmla="*/ 11 w 207"/>
                <a:gd name="T35" fmla="*/ 126 h 196"/>
                <a:gd name="T36" fmla="*/ 11 w 207"/>
                <a:gd name="T37" fmla="*/ 115 h 196"/>
                <a:gd name="T38" fmla="*/ 6 w 207"/>
                <a:gd name="T39" fmla="*/ 104 h 196"/>
                <a:gd name="T40" fmla="*/ 6 w 207"/>
                <a:gd name="T41" fmla="*/ 98 h 196"/>
                <a:gd name="T42" fmla="*/ 11 w 207"/>
                <a:gd name="T43" fmla="*/ 82 h 196"/>
                <a:gd name="T44" fmla="*/ 6 w 207"/>
                <a:gd name="T45" fmla="*/ 60 h 196"/>
                <a:gd name="T46" fmla="*/ 0 w 207"/>
                <a:gd name="T47" fmla="*/ 49 h 196"/>
                <a:gd name="T48" fmla="*/ 6 w 207"/>
                <a:gd name="T49" fmla="*/ 44 h 196"/>
                <a:gd name="T50" fmla="*/ 16 w 207"/>
                <a:gd name="T51" fmla="*/ 38 h 196"/>
                <a:gd name="T52" fmla="*/ 16 w 207"/>
                <a:gd name="T53" fmla="*/ 27 h 196"/>
                <a:gd name="T54" fmla="*/ 27 w 207"/>
                <a:gd name="T55" fmla="*/ 16 h 196"/>
                <a:gd name="T56" fmla="*/ 27 w 207"/>
                <a:gd name="T57" fmla="*/ 0 h 196"/>
                <a:gd name="T58" fmla="*/ 44 w 207"/>
                <a:gd name="T59" fmla="*/ 6 h 196"/>
                <a:gd name="T60" fmla="*/ 60 w 207"/>
                <a:gd name="T61" fmla="*/ 6 h 196"/>
                <a:gd name="T62" fmla="*/ 76 w 207"/>
                <a:gd name="T63" fmla="*/ 16 h 196"/>
                <a:gd name="T64" fmla="*/ 87 w 207"/>
                <a:gd name="T65" fmla="*/ 27 h 196"/>
                <a:gd name="T66" fmla="*/ 109 w 207"/>
                <a:gd name="T67" fmla="*/ 33 h 196"/>
                <a:gd name="T68" fmla="*/ 125 w 207"/>
                <a:gd name="T69" fmla="*/ 44 h 196"/>
                <a:gd name="T70" fmla="*/ 136 w 207"/>
                <a:gd name="T71" fmla="*/ 38 h 196"/>
                <a:gd name="T72" fmla="*/ 142 w 207"/>
                <a:gd name="T73" fmla="*/ 33 h 196"/>
                <a:gd name="T74" fmla="*/ 136 w 207"/>
                <a:gd name="T75" fmla="*/ 27 h 196"/>
                <a:gd name="T76" fmla="*/ 142 w 207"/>
                <a:gd name="T77" fmla="*/ 16 h 196"/>
                <a:gd name="T78" fmla="*/ 153 w 207"/>
                <a:gd name="T79" fmla="*/ 6 h 196"/>
                <a:gd name="T80" fmla="*/ 169 w 207"/>
                <a:gd name="T81" fmla="*/ 6 h 196"/>
                <a:gd name="T82" fmla="*/ 180 w 207"/>
                <a:gd name="T83" fmla="*/ 11 h 196"/>
                <a:gd name="T84" fmla="*/ 180 w 207"/>
                <a:gd name="T85" fmla="*/ 16 h 196"/>
                <a:gd name="T86" fmla="*/ 202 w 207"/>
                <a:gd name="T87" fmla="*/ 22 h 196"/>
                <a:gd name="T88" fmla="*/ 207 w 207"/>
                <a:gd name="T89" fmla="*/ 27 h 196"/>
                <a:gd name="T90" fmla="*/ 207 w 207"/>
                <a:gd name="T91" fmla="*/ 27 h 1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07"/>
                <a:gd name="T139" fmla="*/ 0 h 196"/>
                <a:gd name="T140" fmla="*/ 207 w 207"/>
                <a:gd name="T141" fmla="*/ 196 h 1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07" h="196">
                  <a:moveTo>
                    <a:pt x="207" y="27"/>
                  </a:moveTo>
                  <a:lnTo>
                    <a:pt x="202" y="27"/>
                  </a:lnTo>
                  <a:lnTo>
                    <a:pt x="202" y="44"/>
                  </a:lnTo>
                  <a:lnTo>
                    <a:pt x="202" y="49"/>
                  </a:lnTo>
                  <a:lnTo>
                    <a:pt x="202" y="60"/>
                  </a:lnTo>
                  <a:lnTo>
                    <a:pt x="207" y="66"/>
                  </a:lnTo>
                  <a:lnTo>
                    <a:pt x="207" y="164"/>
                  </a:lnTo>
                  <a:lnTo>
                    <a:pt x="207" y="191"/>
                  </a:lnTo>
                  <a:lnTo>
                    <a:pt x="196" y="191"/>
                  </a:lnTo>
                  <a:lnTo>
                    <a:pt x="196" y="196"/>
                  </a:lnTo>
                  <a:lnTo>
                    <a:pt x="93" y="147"/>
                  </a:lnTo>
                  <a:lnTo>
                    <a:pt x="76" y="147"/>
                  </a:lnTo>
                  <a:lnTo>
                    <a:pt x="71" y="153"/>
                  </a:lnTo>
                  <a:lnTo>
                    <a:pt x="65" y="142"/>
                  </a:lnTo>
                  <a:lnTo>
                    <a:pt x="38" y="142"/>
                  </a:lnTo>
                  <a:lnTo>
                    <a:pt x="27" y="131"/>
                  </a:lnTo>
                  <a:lnTo>
                    <a:pt x="16" y="126"/>
                  </a:lnTo>
                  <a:lnTo>
                    <a:pt x="11" y="126"/>
                  </a:lnTo>
                  <a:lnTo>
                    <a:pt x="11" y="115"/>
                  </a:lnTo>
                  <a:lnTo>
                    <a:pt x="6" y="104"/>
                  </a:lnTo>
                  <a:lnTo>
                    <a:pt x="6" y="98"/>
                  </a:lnTo>
                  <a:lnTo>
                    <a:pt x="11" y="82"/>
                  </a:lnTo>
                  <a:lnTo>
                    <a:pt x="6" y="60"/>
                  </a:lnTo>
                  <a:lnTo>
                    <a:pt x="0" y="49"/>
                  </a:lnTo>
                  <a:lnTo>
                    <a:pt x="6" y="44"/>
                  </a:lnTo>
                  <a:lnTo>
                    <a:pt x="16" y="38"/>
                  </a:lnTo>
                  <a:lnTo>
                    <a:pt x="16" y="27"/>
                  </a:lnTo>
                  <a:lnTo>
                    <a:pt x="27" y="16"/>
                  </a:lnTo>
                  <a:lnTo>
                    <a:pt x="27" y="0"/>
                  </a:lnTo>
                  <a:lnTo>
                    <a:pt x="44" y="6"/>
                  </a:lnTo>
                  <a:lnTo>
                    <a:pt x="60" y="6"/>
                  </a:lnTo>
                  <a:lnTo>
                    <a:pt x="76" y="16"/>
                  </a:lnTo>
                  <a:lnTo>
                    <a:pt x="87" y="27"/>
                  </a:lnTo>
                  <a:lnTo>
                    <a:pt x="109" y="33"/>
                  </a:lnTo>
                  <a:lnTo>
                    <a:pt x="125" y="44"/>
                  </a:lnTo>
                  <a:lnTo>
                    <a:pt x="136" y="38"/>
                  </a:lnTo>
                  <a:lnTo>
                    <a:pt x="142" y="33"/>
                  </a:lnTo>
                  <a:lnTo>
                    <a:pt x="136" y="27"/>
                  </a:lnTo>
                  <a:lnTo>
                    <a:pt x="142" y="16"/>
                  </a:lnTo>
                  <a:lnTo>
                    <a:pt x="153" y="6"/>
                  </a:lnTo>
                  <a:lnTo>
                    <a:pt x="169" y="6"/>
                  </a:lnTo>
                  <a:lnTo>
                    <a:pt x="180" y="11"/>
                  </a:lnTo>
                  <a:lnTo>
                    <a:pt x="180" y="16"/>
                  </a:lnTo>
                  <a:lnTo>
                    <a:pt x="202" y="22"/>
                  </a:lnTo>
                  <a:lnTo>
                    <a:pt x="207" y="2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8" name="Freeform 450"/>
            <p:cNvSpPr>
              <a:spLocks/>
            </p:cNvSpPr>
            <p:nvPr/>
          </p:nvSpPr>
          <p:spPr bwMode="auto">
            <a:xfrm>
              <a:off x="3237" y="3149"/>
              <a:ext cx="93" cy="186"/>
            </a:xfrm>
            <a:custGeom>
              <a:avLst/>
              <a:gdLst>
                <a:gd name="T0" fmla="*/ 16 w 93"/>
                <a:gd name="T1" fmla="*/ 55 h 186"/>
                <a:gd name="T2" fmla="*/ 22 w 93"/>
                <a:gd name="T3" fmla="*/ 49 h 186"/>
                <a:gd name="T4" fmla="*/ 27 w 93"/>
                <a:gd name="T5" fmla="*/ 55 h 186"/>
                <a:gd name="T6" fmla="*/ 33 w 93"/>
                <a:gd name="T7" fmla="*/ 49 h 186"/>
                <a:gd name="T8" fmla="*/ 38 w 93"/>
                <a:gd name="T9" fmla="*/ 49 h 186"/>
                <a:gd name="T10" fmla="*/ 44 w 93"/>
                <a:gd name="T11" fmla="*/ 49 h 186"/>
                <a:gd name="T12" fmla="*/ 38 w 93"/>
                <a:gd name="T13" fmla="*/ 44 h 186"/>
                <a:gd name="T14" fmla="*/ 44 w 93"/>
                <a:gd name="T15" fmla="*/ 38 h 186"/>
                <a:gd name="T16" fmla="*/ 49 w 93"/>
                <a:gd name="T17" fmla="*/ 44 h 186"/>
                <a:gd name="T18" fmla="*/ 49 w 93"/>
                <a:gd name="T19" fmla="*/ 44 h 186"/>
                <a:gd name="T20" fmla="*/ 49 w 93"/>
                <a:gd name="T21" fmla="*/ 38 h 186"/>
                <a:gd name="T22" fmla="*/ 49 w 93"/>
                <a:gd name="T23" fmla="*/ 33 h 186"/>
                <a:gd name="T24" fmla="*/ 54 w 93"/>
                <a:gd name="T25" fmla="*/ 33 h 186"/>
                <a:gd name="T26" fmla="*/ 54 w 93"/>
                <a:gd name="T27" fmla="*/ 38 h 186"/>
                <a:gd name="T28" fmla="*/ 54 w 93"/>
                <a:gd name="T29" fmla="*/ 33 h 186"/>
                <a:gd name="T30" fmla="*/ 60 w 93"/>
                <a:gd name="T31" fmla="*/ 33 h 186"/>
                <a:gd name="T32" fmla="*/ 54 w 93"/>
                <a:gd name="T33" fmla="*/ 27 h 186"/>
                <a:gd name="T34" fmla="*/ 60 w 93"/>
                <a:gd name="T35" fmla="*/ 27 h 186"/>
                <a:gd name="T36" fmla="*/ 60 w 93"/>
                <a:gd name="T37" fmla="*/ 27 h 186"/>
                <a:gd name="T38" fmla="*/ 60 w 93"/>
                <a:gd name="T39" fmla="*/ 22 h 186"/>
                <a:gd name="T40" fmla="*/ 60 w 93"/>
                <a:gd name="T41" fmla="*/ 22 h 186"/>
                <a:gd name="T42" fmla="*/ 60 w 93"/>
                <a:gd name="T43" fmla="*/ 22 h 186"/>
                <a:gd name="T44" fmla="*/ 65 w 93"/>
                <a:gd name="T45" fmla="*/ 17 h 186"/>
                <a:gd name="T46" fmla="*/ 71 w 93"/>
                <a:gd name="T47" fmla="*/ 17 h 186"/>
                <a:gd name="T48" fmla="*/ 71 w 93"/>
                <a:gd name="T49" fmla="*/ 6 h 186"/>
                <a:gd name="T50" fmla="*/ 76 w 93"/>
                <a:gd name="T51" fmla="*/ 0 h 186"/>
                <a:gd name="T52" fmla="*/ 82 w 93"/>
                <a:gd name="T53" fmla="*/ 11 h 186"/>
                <a:gd name="T54" fmla="*/ 93 w 93"/>
                <a:gd name="T55" fmla="*/ 44 h 186"/>
                <a:gd name="T56" fmla="*/ 87 w 93"/>
                <a:gd name="T57" fmla="*/ 49 h 186"/>
                <a:gd name="T58" fmla="*/ 87 w 93"/>
                <a:gd name="T59" fmla="*/ 49 h 186"/>
                <a:gd name="T60" fmla="*/ 87 w 93"/>
                <a:gd name="T61" fmla="*/ 44 h 186"/>
                <a:gd name="T62" fmla="*/ 82 w 93"/>
                <a:gd name="T63" fmla="*/ 44 h 186"/>
                <a:gd name="T64" fmla="*/ 82 w 93"/>
                <a:gd name="T65" fmla="*/ 60 h 186"/>
                <a:gd name="T66" fmla="*/ 82 w 93"/>
                <a:gd name="T67" fmla="*/ 66 h 186"/>
                <a:gd name="T68" fmla="*/ 76 w 93"/>
                <a:gd name="T69" fmla="*/ 88 h 186"/>
                <a:gd name="T70" fmla="*/ 49 w 93"/>
                <a:gd name="T71" fmla="*/ 169 h 186"/>
                <a:gd name="T72" fmla="*/ 44 w 93"/>
                <a:gd name="T73" fmla="*/ 175 h 186"/>
                <a:gd name="T74" fmla="*/ 33 w 93"/>
                <a:gd name="T75" fmla="*/ 175 h 186"/>
                <a:gd name="T76" fmla="*/ 22 w 93"/>
                <a:gd name="T77" fmla="*/ 186 h 186"/>
                <a:gd name="T78" fmla="*/ 11 w 93"/>
                <a:gd name="T79" fmla="*/ 175 h 186"/>
                <a:gd name="T80" fmla="*/ 5 w 93"/>
                <a:gd name="T81" fmla="*/ 169 h 186"/>
                <a:gd name="T82" fmla="*/ 5 w 93"/>
                <a:gd name="T83" fmla="*/ 153 h 186"/>
                <a:gd name="T84" fmla="*/ 0 w 93"/>
                <a:gd name="T85" fmla="*/ 142 h 186"/>
                <a:gd name="T86" fmla="*/ 0 w 93"/>
                <a:gd name="T87" fmla="*/ 131 h 186"/>
                <a:gd name="T88" fmla="*/ 16 w 93"/>
                <a:gd name="T89" fmla="*/ 104 h 186"/>
                <a:gd name="T90" fmla="*/ 5 w 93"/>
                <a:gd name="T91" fmla="*/ 71 h 186"/>
                <a:gd name="T92" fmla="*/ 16 w 93"/>
                <a:gd name="T93" fmla="*/ 60 h 186"/>
                <a:gd name="T94" fmla="*/ 16 w 93"/>
                <a:gd name="T95" fmla="*/ 55 h 186"/>
                <a:gd name="T96" fmla="*/ 16 w 93"/>
                <a:gd name="T97" fmla="*/ 55 h 18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3"/>
                <a:gd name="T148" fmla="*/ 0 h 186"/>
                <a:gd name="T149" fmla="*/ 93 w 93"/>
                <a:gd name="T150" fmla="*/ 186 h 18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3" h="186">
                  <a:moveTo>
                    <a:pt x="16" y="55"/>
                  </a:moveTo>
                  <a:lnTo>
                    <a:pt x="22" y="49"/>
                  </a:lnTo>
                  <a:lnTo>
                    <a:pt x="27" y="55"/>
                  </a:lnTo>
                  <a:lnTo>
                    <a:pt x="33" y="49"/>
                  </a:lnTo>
                  <a:lnTo>
                    <a:pt x="38" y="49"/>
                  </a:lnTo>
                  <a:lnTo>
                    <a:pt x="44" y="49"/>
                  </a:lnTo>
                  <a:lnTo>
                    <a:pt x="38" y="44"/>
                  </a:lnTo>
                  <a:lnTo>
                    <a:pt x="44" y="38"/>
                  </a:lnTo>
                  <a:lnTo>
                    <a:pt x="49" y="44"/>
                  </a:lnTo>
                  <a:lnTo>
                    <a:pt x="49" y="38"/>
                  </a:lnTo>
                  <a:lnTo>
                    <a:pt x="49" y="33"/>
                  </a:lnTo>
                  <a:lnTo>
                    <a:pt x="54" y="33"/>
                  </a:lnTo>
                  <a:lnTo>
                    <a:pt x="54" y="38"/>
                  </a:lnTo>
                  <a:lnTo>
                    <a:pt x="54" y="33"/>
                  </a:lnTo>
                  <a:lnTo>
                    <a:pt x="60" y="33"/>
                  </a:lnTo>
                  <a:lnTo>
                    <a:pt x="54" y="27"/>
                  </a:lnTo>
                  <a:lnTo>
                    <a:pt x="60" y="27"/>
                  </a:lnTo>
                  <a:lnTo>
                    <a:pt x="60" y="22"/>
                  </a:lnTo>
                  <a:lnTo>
                    <a:pt x="65" y="17"/>
                  </a:lnTo>
                  <a:lnTo>
                    <a:pt x="71" y="17"/>
                  </a:lnTo>
                  <a:lnTo>
                    <a:pt x="71" y="6"/>
                  </a:lnTo>
                  <a:lnTo>
                    <a:pt x="76" y="0"/>
                  </a:lnTo>
                  <a:lnTo>
                    <a:pt x="82" y="11"/>
                  </a:lnTo>
                  <a:lnTo>
                    <a:pt x="93" y="44"/>
                  </a:lnTo>
                  <a:lnTo>
                    <a:pt x="87" y="49"/>
                  </a:lnTo>
                  <a:lnTo>
                    <a:pt x="87" y="44"/>
                  </a:lnTo>
                  <a:lnTo>
                    <a:pt x="82" y="44"/>
                  </a:lnTo>
                  <a:lnTo>
                    <a:pt x="82" y="60"/>
                  </a:lnTo>
                  <a:lnTo>
                    <a:pt x="82" y="66"/>
                  </a:lnTo>
                  <a:lnTo>
                    <a:pt x="76" y="88"/>
                  </a:lnTo>
                  <a:lnTo>
                    <a:pt x="49" y="169"/>
                  </a:lnTo>
                  <a:lnTo>
                    <a:pt x="44" y="175"/>
                  </a:lnTo>
                  <a:lnTo>
                    <a:pt x="33" y="175"/>
                  </a:lnTo>
                  <a:lnTo>
                    <a:pt x="22" y="186"/>
                  </a:lnTo>
                  <a:lnTo>
                    <a:pt x="11" y="175"/>
                  </a:lnTo>
                  <a:lnTo>
                    <a:pt x="5" y="169"/>
                  </a:lnTo>
                  <a:lnTo>
                    <a:pt x="5" y="153"/>
                  </a:lnTo>
                  <a:lnTo>
                    <a:pt x="0" y="142"/>
                  </a:lnTo>
                  <a:lnTo>
                    <a:pt x="0" y="131"/>
                  </a:lnTo>
                  <a:lnTo>
                    <a:pt x="16" y="104"/>
                  </a:lnTo>
                  <a:lnTo>
                    <a:pt x="5" y="71"/>
                  </a:lnTo>
                  <a:lnTo>
                    <a:pt x="16" y="60"/>
                  </a:lnTo>
                  <a:lnTo>
                    <a:pt x="16" y="5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29" name="Freeform 451"/>
            <p:cNvSpPr>
              <a:spLocks/>
            </p:cNvSpPr>
            <p:nvPr/>
          </p:nvSpPr>
          <p:spPr bwMode="auto">
            <a:xfrm>
              <a:off x="2524" y="2658"/>
              <a:ext cx="212" cy="202"/>
            </a:xfrm>
            <a:custGeom>
              <a:avLst/>
              <a:gdLst>
                <a:gd name="T0" fmla="*/ 93 w 212"/>
                <a:gd name="T1" fmla="*/ 0 h 202"/>
                <a:gd name="T2" fmla="*/ 169 w 212"/>
                <a:gd name="T3" fmla="*/ 55 h 202"/>
                <a:gd name="T4" fmla="*/ 169 w 212"/>
                <a:gd name="T5" fmla="*/ 60 h 202"/>
                <a:gd name="T6" fmla="*/ 180 w 212"/>
                <a:gd name="T7" fmla="*/ 60 h 202"/>
                <a:gd name="T8" fmla="*/ 180 w 212"/>
                <a:gd name="T9" fmla="*/ 66 h 202"/>
                <a:gd name="T10" fmla="*/ 196 w 212"/>
                <a:gd name="T11" fmla="*/ 71 h 202"/>
                <a:gd name="T12" fmla="*/ 196 w 212"/>
                <a:gd name="T13" fmla="*/ 82 h 202"/>
                <a:gd name="T14" fmla="*/ 201 w 212"/>
                <a:gd name="T15" fmla="*/ 87 h 202"/>
                <a:gd name="T16" fmla="*/ 212 w 212"/>
                <a:gd name="T17" fmla="*/ 82 h 202"/>
                <a:gd name="T18" fmla="*/ 212 w 212"/>
                <a:gd name="T19" fmla="*/ 126 h 202"/>
                <a:gd name="T20" fmla="*/ 207 w 212"/>
                <a:gd name="T21" fmla="*/ 126 h 202"/>
                <a:gd name="T22" fmla="*/ 201 w 212"/>
                <a:gd name="T23" fmla="*/ 137 h 202"/>
                <a:gd name="T24" fmla="*/ 174 w 212"/>
                <a:gd name="T25" fmla="*/ 137 h 202"/>
                <a:gd name="T26" fmla="*/ 169 w 212"/>
                <a:gd name="T27" fmla="*/ 137 h 202"/>
                <a:gd name="T28" fmla="*/ 158 w 212"/>
                <a:gd name="T29" fmla="*/ 137 h 202"/>
                <a:gd name="T30" fmla="*/ 147 w 212"/>
                <a:gd name="T31" fmla="*/ 142 h 202"/>
                <a:gd name="T32" fmla="*/ 125 w 212"/>
                <a:gd name="T33" fmla="*/ 158 h 202"/>
                <a:gd name="T34" fmla="*/ 109 w 212"/>
                <a:gd name="T35" fmla="*/ 164 h 202"/>
                <a:gd name="T36" fmla="*/ 103 w 212"/>
                <a:gd name="T37" fmla="*/ 175 h 202"/>
                <a:gd name="T38" fmla="*/ 93 w 212"/>
                <a:gd name="T39" fmla="*/ 186 h 202"/>
                <a:gd name="T40" fmla="*/ 87 w 212"/>
                <a:gd name="T41" fmla="*/ 202 h 202"/>
                <a:gd name="T42" fmla="*/ 82 w 212"/>
                <a:gd name="T43" fmla="*/ 197 h 202"/>
                <a:gd name="T44" fmla="*/ 76 w 212"/>
                <a:gd name="T45" fmla="*/ 202 h 202"/>
                <a:gd name="T46" fmla="*/ 76 w 212"/>
                <a:gd name="T47" fmla="*/ 197 h 202"/>
                <a:gd name="T48" fmla="*/ 71 w 212"/>
                <a:gd name="T49" fmla="*/ 197 h 202"/>
                <a:gd name="T50" fmla="*/ 71 w 212"/>
                <a:gd name="T51" fmla="*/ 202 h 202"/>
                <a:gd name="T52" fmla="*/ 65 w 212"/>
                <a:gd name="T53" fmla="*/ 202 h 202"/>
                <a:gd name="T54" fmla="*/ 60 w 212"/>
                <a:gd name="T55" fmla="*/ 197 h 202"/>
                <a:gd name="T56" fmla="*/ 54 w 212"/>
                <a:gd name="T57" fmla="*/ 202 h 202"/>
                <a:gd name="T58" fmla="*/ 49 w 212"/>
                <a:gd name="T59" fmla="*/ 197 h 202"/>
                <a:gd name="T60" fmla="*/ 49 w 212"/>
                <a:gd name="T61" fmla="*/ 191 h 202"/>
                <a:gd name="T62" fmla="*/ 44 w 212"/>
                <a:gd name="T63" fmla="*/ 191 h 202"/>
                <a:gd name="T64" fmla="*/ 49 w 212"/>
                <a:gd name="T65" fmla="*/ 186 h 202"/>
                <a:gd name="T66" fmla="*/ 44 w 212"/>
                <a:gd name="T67" fmla="*/ 180 h 202"/>
                <a:gd name="T68" fmla="*/ 38 w 212"/>
                <a:gd name="T69" fmla="*/ 169 h 202"/>
                <a:gd name="T70" fmla="*/ 38 w 212"/>
                <a:gd name="T71" fmla="*/ 169 h 202"/>
                <a:gd name="T72" fmla="*/ 33 w 212"/>
                <a:gd name="T73" fmla="*/ 175 h 202"/>
                <a:gd name="T74" fmla="*/ 22 w 212"/>
                <a:gd name="T75" fmla="*/ 175 h 202"/>
                <a:gd name="T76" fmla="*/ 22 w 212"/>
                <a:gd name="T77" fmla="*/ 180 h 202"/>
                <a:gd name="T78" fmla="*/ 16 w 212"/>
                <a:gd name="T79" fmla="*/ 175 h 202"/>
                <a:gd name="T80" fmla="*/ 11 w 212"/>
                <a:gd name="T81" fmla="*/ 175 h 202"/>
                <a:gd name="T82" fmla="*/ 11 w 212"/>
                <a:gd name="T83" fmla="*/ 175 h 202"/>
                <a:gd name="T84" fmla="*/ 11 w 212"/>
                <a:gd name="T85" fmla="*/ 164 h 202"/>
                <a:gd name="T86" fmla="*/ 0 w 212"/>
                <a:gd name="T87" fmla="*/ 158 h 202"/>
                <a:gd name="T88" fmla="*/ 5 w 212"/>
                <a:gd name="T89" fmla="*/ 153 h 202"/>
                <a:gd name="T90" fmla="*/ 0 w 212"/>
                <a:gd name="T91" fmla="*/ 142 h 202"/>
                <a:gd name="T92" fmla="*/ 5 w 212"/>
                <a:gd name="T93" fmla="*/ 137 h 202"/>
                <a:gd name="T94" fmla="*/ 11 w 212"/>
                <a:gd name="T95" fmla="*/ 126 h 202"/>
                <a:gd name="T96" fmla="*/ 11 w 212"/>
                <a:gd name="T97" fmla="*/ 126 h 202"/>
                <a:gd name="T98" fmla="*/ 16 w 212"/>
                <a:gd name="T99" fmla="*/ 137 h 202"/>
                <a:gd name="T100" fmla="*/ 22 w 212"/>
                <a:gd name="T101" fmla="*/ 137 h 202"/>
                <a:gd name="T102" fmla="*/ 27 w 212"/>
                <a:gd name="T103" fmla="*/ 131 h 202"/>
                <a:gd name="T104" fmla="*/ 87 w 212"/>
                <a:gd name="T105" fmla="*/ 131 h 202"/>
                <a:gd name="T106" fmla="*/ 87 w 212"/>
                <a:gd name="T107" fmla="*/ 120 h 202"/>
                <a:gd name="T108" fmla="*/ 82 w 212"/>
                <a:gd name="T109" fmla="*/ 120 h 202"/>
                <a:gd name="T110" fmla="*/ 71 w 212"/>
                <a:gd name="T111" fmla="*/ 0 h 202"/>
                <a:gd name="T112" fmla="*/ 93 w 212"/>
                <a:gd name="T113" fmla="*/ 0 h 202"/>
                <a:gd name="T114" fmla="*/ 93 w 212"/>
                <a:gd name="T115" fmla="*/ 0 h 20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2"/>
                <a:gd name="T175" fmla="*/ 0 h 202"/>
                <a:gd name="T176" fmla="*/ 212 w 212"/>
                <a:gd name="T177" fmla="*/ 202 h 20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2" h="202">
                  <a:moveTo>
                    <a:pt x="93" y="0"/>
                  </a:moveTo>
                  <a:lnTo>
                    <a:pt x="169" y="55"/>
                  </a:lnTo>
                  <a:lnTo>
                    <a:pt x="169" y="60"/>
                  </a:lnTo>
                  <a:lnTo>
                    <a:pt x="180" y="60"/>
                  </a:lnTo>
                  <a:lnTo>
                    <a:pt x="180" y="66"/>
                  </a:lnTo>
                  <a:lnTo>
                    <a:pt x="196" y="71"/>
                  </a:lnTo>
                  <a:lnTo>
                    <a:pt x="196" y="82"/>
                  </a:lnTo>
                  <a:lnTo>
                    <a:pt x="201" y="87"/>
                  </a:lnTo>
                  <a:lnTo>
                    <a:pt x="212" y="82"/>
                  </a:lnTo>
                  <a:lnTo>
                    <a:pt x="212" y="126"/>
                  </a:lnTo>
                  <a:lnTo>
                    <a:pt x="207" y="126"/>
                  </a:lnTo>
                  <a:lnTo>
                    <a:pt x="201" y="137"/>
                  </a:lnTo>
                  <a:lnTo>
                    <a:pt x="174" y="137"/>
                  </a:lnTo>
                  <a:lnTo>
                    <a:pt x="169" y="137"/>
                  </a:lnTo>
                  <a:lnTo>
                    <a:pt x="158" y="137"/>
                  </a:lnTo>
                  <a:lnTo>
                    <a:pt x="147" y="142"/>
                  </a:lnTo>
                  <a:lnTo>
                    <a:pt x="125" y="158"/>
                  </a:lnTo>
                  <a:lnTo>
                    <a:pt x="109" y="164"/>
                  </a:lnTo>
                  <a:lnTo>
                    <a:pt x="103" y="175"/>
                  </a:lnTo>
                  <a:lnTo>
                    <a:pt x="93" y="186"/>
                  </a:lnTo>
                  <a:lnTo>
                    <a:pt x="87" y="202"/>
                  </a:lnTo>
                  <a:lnTo>
                    <a:pt x="82" y="197"/>
                  </a:lnTo>
                  <a:lnTo>
                    <a:pt x="76" y="202"/>
                  </a:lnTo>
                  <a:lnTo>
                    <a:pt x="76" y="197"/>
                  </a:lnTo>
                  <a:lnTo>
                    <a:pt x="71" y="197"/>
                  </a:lnTo>
                  <a:lnTo>
                    <a:pt x="71" y="202"/>
                  </a:lnTo>
                  <a:lnTo>
                    <a:pt x="65" y="202"/>
                  </a:lnTo>
                  <a:lnTo>
                    <a:pt x="60" y="197"/>
                  </a:lnTo>
                  <a:lnTo>
                    <a:pt x="54" y="202"/>
                  </a:lnTo>
                  <a:lnTo>
                    <a:pt x="49" y="197"/>
                  </a:lnTo>
                  <a:lnTo>
                    <a:pt x="49" y="191"/>
                  </a:lnTo>
                  <a:lnTo>
                    <a:pt x="44" y="191"/>
                  </a:lnTo>
                  <a:lnTo>
                    <a:pt x="49" y="186"/>
                  </a:lnTo>
                  <a:lnTo>
                    <a:pt x="44" y="180"/>
                  </a:lnTo>
                  <a:lnTo>
                    <a:pt x="38" y="169"/>
                  </a:lnTo>
                  <a:lnTo>
                    <a:pt x="33" y="175"/>
                  </a:lnTo>
                  <a:lnTo>
                    <a:pt x="22" y="175"/>
                  </a:lnTo>
                  <a:lnTo>
                    <a:pt x="22" y="180"/>
                  </a:lnTo>
                  <a:lnTo>
                    <a:pt x="16" y="175"/>
                  </a:lnTo>
                  <a:lnTo>
                    <a:pt x="11" y="175"/>
                  </a:lnTo>
                  <a:lnTo>
                    <a:pt x="11" y="164"/>
                  </a:lnTo>
                  <a:lnTo>
                    <a:pt x="0" y="158"/>
                  </a:lnTo>
                  <a:lnTo>
                    <a:pt x="5" y="153"/>
                  </a:lnTo>
                  <a:lnTo>
                    <a:pt x="0" y="142"/>
                  </a:lnTo>
                  <a:lnTo>
                    <a:pt x="5" y="137"/>
                  </a:lnTo>
                  <a:lnTo>
                    <a:pt x="11" y="126"/>
                  </a:lnTo>
                  <a:lnTo>
                    <a:pt x="16" y="137"/>
                  </a:lnTo>
                  <a:lnTo>
                    <a:pt x="22" y="137"/>
                  </a:lnTo>
                  <a:lnTo>
                    <a:pt x="27" y="131"/>
                  </a:lnTo>
                  <a:lnTo>
                    <a:pt x="87" y="131"/>
                  </a:lnTo>
                  <a:lnTo>
                    <a:pt x="87" y="120"/>
                  </a:lnTo>
                  <a:lnTo>
                    <a:pt x="82" y="120"/>
                  </a:lnTo>
                  <a:lnTo>
                    <a:pt x="71" y="0"/>
                  </a:lnTo>
                  <a:lnTo>
                    <a:pt x="93"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0" name="Freeform 452"/>
            <p:cNvSpPr>
              <a:spLocks/>
            </p:cNvSpPr>
            <p:nvPr/>
          </p:nvSpPr>
          <p:spPr bwMode="auto">
            <a:xfrm>
              <a:off x="2464" y="2625"/>
              <a:ext cx="153" cy="175"/>
            </a:xfrm>
            <a:custGeom>
              <a:avLst/>
              <a:gdLst>
                <a:gd name="T0" fmla="*/ 0 w 153"/>
                <a:gd name="T1" fmla="*/ 88 h 175"/>
                <a:gd name="T2" fmla="*/ 0 w 153"/>
                <a:gd name="T3" fmla="*/ 88 h 175"/>
                <a:gd name="T4" fmla="*/ 6 w 153"/>
                <a:gd name="T5" fmla="*/ 99 h 175"/>
                <a:gd name="T6" fmla="*/ 11 w 153"/>
                <a:gd name="T7" fmla="*/ 104 h 175"/>
                <a:gd name="T8" fmla="*/ 6 w 153"/>
                <a:gd name="T9" fmla="*/ 109 h 175"/>
                <a:gd name="T10" fmla="*/ 11 w 153"/>
                <a:gd name="T11" fmla="*/ 126 h 175"/>
                <a:gd name="T12" fmla="*/ 11 w 153"/>
                <a:gd name="T13" fmla="*/ 137 h 175"/>
                <a:gd name="T14" fmla="*/ 6 w 153"/>
                <a:gd name="T15" fmla="*/ 159 h 175"/>
                <a:gd name="T16" fmla="*/ 6 w 153"/>
                <a:gd name="T17" fmla="*/ 153 h 175"/>
                <a:gd name="T18" fmla="*/ 33 w 153"/>
                <a:gd name="T19" fmla="*/ 148 h 175"/>
                <a:gd name="T20" fmla="*/ 38 w 153"/>
                <a:gd name="T21" fmla="*/ 159 h 175"/>
                <a:gd name="T22" fmla="*/ 44 w 153"/>
                <a:gd name="T23" fmla="*/ 159 h 175"/>
                <a:gd name="T24" fmla="*/ 49 w 153"/>
                <a:gd name="T25" fmla="*/ 170 h 175"/>
                <a:gd name="T26" fmla="*/ 60 w 153"/>
                <a:gd name="T27" fmla="*/ 175 h 175"/>
                <a:gd name="T28" fmla="*/ 65 w 153"/>
                <a:gd name="T29" fmla="*/ 170 h 175"/>
                <a:gd name="T30" fmla="*/ 71 w 153"/>
                <a:gd name="T31" fmla="*/ 159 h 175"/>
                <a:gd name="T32" fmla="*/ 71 w 153"/>
                <a:gd name="T33" fmla="*/ 159 h 175"/>
                <a:gd name="T34" fmla="*/ 76 w 153"/>
                <a:gd name="T35" fmla="*/ 170 h 175"/>
                <a:gd name="T36" fmla="*/ 82 w 153"/>
                <a:gd name="T37" fmla="*/ 170 h 175"/>
                <a:gd name="T38" fmla="*/ 87 w 153"/>
                <a:gd name="T39" fmla="*/ 164 h 175"/>
                <a:gd name="T40" fmla="*/ 147 w 153"/>
                <a:gd name="T41" fmla="*/ 164 h 175"/>
                <a:gd name="T42" fmla="*/ 147 w 153"/>
                <a:gd name="T43" fmla="*/ 153 h 175"/>
                <a:gd name="T44" fmla="*/ 142 w 153"/>
                <a:gd name="T45" fmla="*/ 153 h 175"/>
                <a:gd name="T46" fmla="*/ 131 w 153"/>
                <a:gd name="T47" fmla="*/ 33 h 175"/>
                <a:gd name="T48" fmla="*/ 153 w 153"/>
                <a:gd name="T49" fmla="*/ 33 h 175"/>
                <a:gd name="T50" fmla="*/ 109 w 153"/>
                <a:gd name="T51" fmla="*/ 0 h 175"/>
                <a:gd name="T52" fmla="*/ 104 w 153"/>
                <a:gd name="T53" fmla="*/ 22 h 175"/>
                <a:gd name="T54" fmla="*/ 65 w 153"/>
                <a:gd name="T55" fmla="*/ 22 h 175"/>
                <a:gd name="T56" fmla="*/ 65 w 153"/>
                <a:gd name="T57" fmla="*/ 55 h 175"/>
                <a:gd name="T58" fmla="*/ 55 w 153"/>
                <a:gd name="T59" fmla="*/ 60 h 175"/>
                <a:gd name="T60" fmla="*/ 49 w 153"/>
                <a:gd name="T61" fmla="*/ 66 h 175"/>
                <a:gd name="T62" fmla="*/ 49 w 153"/>
                <a:gd name="T63" fmla="*/ 82 h 175"/>
                <a:gd name="T64" fmla="*/ 0 w 153"/>
                <a:gd name="T65" fmla="*/ 88 h 175"/>
                <a:gd name="T66" fmla="*/ 0 w 153"/>
                <a:gd name="T67" fmla="*/ 88 h 175"/>
                <a:gd name="T68" fmla="*/ 0 w 153"/>
                <a:gd name="T69" fmla="*/ 88 h 17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3"/>
                <a:gd name="T106" fmla="*/ 0 h 175"/>
                <a:gd name="T107" fmla="*/ 153 w 153"/>
                <a:gd name="T108" fmla="*/ 175 h 17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3" h="175">
                  <a:moveTo>
                    <a:pt x="0" y="88"/>
                  </a:moveTo>
                  <a:lnTo>
                    <a:pt x="0" y="88"/>
                  </a:lnTo>
                  <a:lnTo>
                    <a:pt x="6" y="99"/>
                  </a:lnTo>
                  <a:lnTo>
                    <a:pt x="11" y="104"/>
                  </a:lnTo>
                  <a:lnTo>
                    <a:pt x="6" y="109"/>
                  </a:lnTo>
                  <a:lnTo>
                    <a:pt x="11" y="126"/>
                  </a:lnTo>
                  <a:lnTo>
                    <a:pt x="11" y="137"/>
                  </a:lnTo>
                  <a:lnTo>
                    <a:pt x="6" y="159"/>
                  </a:lnTo>
                  <a:lnTo>
                    <a:pt x="6" y="153"/>
                  </a:lnTo>
                  <a:lnTo>
                    <a:pt x="33" y="148"/>
                  </a:lnTo>
                  <a:lnTo>
                    <a:pt x="38" y="159"/>
                  </a:lnTo>
                  <a:lnTo>
                    <a:pt x="44" y="159"/>
                  </a:lnTo>
                  <a:lnTo>
                    <a:pt x="49" y="170"/>
                  </a:lnTo>
                  <a:lnTo>
                    <a:pt x="60" y="175"/>
                  </a:lnTo>
                  <a:lnTo>
                    <a:pt x="65" y="170"/>
                  </a:lnTo>
                  <a:lnTo>
                    <a:pt x="71" y="159"/>
                  </a:lnTo>
                  <a:lnTo>
                    <a:pt x="76" y="170"/>
                  </a:lnTo>
                  <a:lnTo>
                    <a:pt x="82" y="170"/>
                  </a:lnTo>
                  <a:lnTo>
                    <a:pt x="87" y="164"/>
                  </a:lnTo>
                  <a:lnTo>
                    <a:pt x="147" y="164"/>
                  </a:lnTo>
                  <a:lnTo>
                    <a:pt x="147" y="153"/>
                  </a:lnTo>
                  <a:lnTo>
                    <a:pt x="142" y="153"/>
                  </a:lnTo>
                  <a:lnTo>
                    <a:pt x="131" y="33"/>
                  </a:lnTo>
                  <a:lnTo>
                    <a:pt x="153" y="33"/>
                  </a:lnTo>
                  <a:lnTo>
                    <a:pt x="109" y="0"/>
                  </a:lnTo>
                  <a:lnTo>
                    <a:pt x="104" y="22"/>
                  </a:lnTo>
                  <a:lnTo>
                    <a:pt x="65" y="22"/>
                  </a:lnTo>
                  <a:lnTo>
                    <a:pt x="65" y="55"/>
                  </a:lnTo>
                  <a:lnTo>
                    <a:pt x="55" y="60"/>
                  </a:lnTo>
                  <a:lnTo>
                    <a:pt x="49" y="66"/>
                  </a:lnTo>
                  <a:lnTo>
                    <a:pt x="49" y="82"/>
                  </a:lnTo>
                  <a:lnTo>
                    <a:pt x="0" y="8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1" name="Freeform 453"/>
            <p:cNvSpPr>
              <a:spLocks/>
            </p:cNvSpPr>
            <p:nvPr/>
          </p:nvSpPr>
          <p:spPr bwMode="auto">
            <a:xfrm>
              <a:off x="2513" y="2500"/>
              <a:ext cx="153" cy="120"/>
            </a:xfrm>
            <a:custGeom>
              <a:avLst/>
              <a:gdLst>
                <a:gd name="T0" fmla="*/ 0 w 153"/>
                <a:gd name="T1" fmla="*/ 120 h 120"/>
                <a:gd name="T2" fmla="*/ 0 w 153"/>
                <a:gd name="T3" fmla="*/ 120 h 120"/>
                <a:gd name="T4" fmla="*/ 16 w 153"/>
                <a:gd name="T5" fmla="*/ 114 h 120"/>
                <a:gd name="T6" fmla="*/ 33 w 153"/>
                <a:gd name="T7" fmla="*/ 98 h 120"/>
                <a:gd name="T8" fmla="*/ 38 w 153"/>
                <a:gd name="T9" fmla="*/ 93 h 120"/>
                <a:gd name="T10" fmla="*/ 44 w 153"/>
                <a:gd name="T11" fmla="*/ 87 h 120"/>
                <a:gd name="T12" fmla="*/ 44 w 153"/>
                <a:gd name="T13" fmla="*/ 76 h 120"/>
                <a:gd name="T14" fmla="*/ 44 w 153"/>
                <a:gd name="T15" fmla="*/ 65 h 120"/>
                <a:gd name="T16" fmla="*/ 49 w 153"/>
                <a:gd name="T17" fmla="*/ 54 h 120"/>
                <a:gd name="T18" fmla="*/ 49 w 153"/>
                <a:gd name="T19" fmla="*/ 49 h 120"/>
                <a:gd name="T20" fmla="*/ 60 w 153"/>
                <a:gd name="T21" fmla="*/ 38 h 120"/>
                <a:gd name="T22" fmla="*/ 82 w 153"/>
                <a:gd name="T23" fmla="*/ 27 h 120"/>
                <a:gd name="T24" fmla="*/ 93 w 153"/>
                <a:gd name="T25" fmla="*/ 0 h 120"/>
                <a:gd name="T26" fmla="*/ 98 w 153"/>
                <a:gd name="T27" fmla="*/ 0 h 120"/>
                <a:gd name="T28" fmla="*/ 104 w 153"/>
                <a:gd name="T29" fmla="*/ 5 h 120"/>
                <a:gd name="T30" fmla="*/ 114 w 153"/>
                <a:gd name="T31" fmla="*/ 11 h 120"/>
                <a:gd name="T32" fmla="*/ 131 w 153"/>
                <a:gd name="T33" fmla="*/ 5 h 120"/>
                <a:gd name="T34" fmla="*/ 142 w 153"/>
                <a:gd name="T35" fmla="*/ 11 h 120"/>
                <a:gd name="T36" fmla="*/ 142 w 153"/>
                <a:gd name="T37" fmla="*/ 11 h 120"/>
                <a:gd name="T38" fmla="*/ 147 w 153"/>
                <a:gd name="T39" fmla="*/ 16 h 120"/>
                <a:gd name="T40" fmla="*/ 147 w 153"/>
                <a:gd name="T41" fmla="*/ 44 h 120"/>
                <a:gd name="T42" fmla="*/ 153 w 153"/>
                <a:gd name="T43" fmla="*/ 49 h 120"/>
                <a:gd name="T44" fmla="*/ 153 w 153"/>
                <a:gd name="T45" fmla="*/ 49 h 120"/>
                <a:gd name="T46" fmla="*/ 153 w 153"/>
                <a:gd name="T47" fmla="*/ 54 h 120"/>
                <a:gd name="T48" fmla="*/ 131 w 153"/>
                <a:gd name="T49" fmla="*/ 54 h 120"/>
                <a:gd name="T50" fmla="*/ 131 w 153"/>
                <a:gd name="T51" fmla="*/ 60 h 120"/>
                <a:gd name="T52" fmla="*/ 120 w 153"/>
                <a:gd name="T53" fmla="*/ 60 h 120"/>
                <a:gd name="T54" fmla="*/ 120 w 153"/>
                <a:gd name="T55" fmla="*/ 71 h 120"/>
                <a:gd name="T56" fmla="*/ 120 w 153"/>
                <a:gd name="T57" fmla="*/ 71 h 120"/>
                <a:gd name="T58" fmla="*/ 104 w 153"/>
                <a:gd name="T59" fmla="*/ 82 h 120"/>
                <a:gd name="T60" fmla="*/ 93 w 153"/>
                <a:gd name="T61" fmla="*/ 87 h 120"/>
                <a:gd name="T62" fmla="*/ 82 w 153"/>
                <a:gd name="T63" fmla="*/ 87 h 120"/>
                <a:gd name="T64" fmla="*/ 82 w 153"/>
                <a:gd name="T65" fmla="*/ 93 h 120"/>
                <a:gd name="T66" fmla="*/ 76 w 153"/>
                <a:gd name="T67" fmla="*/ 93 h 120"/>
                <a:gd name="T68" fmla="*/ 60 w 153"/>
                <a:gd name="T69" fmla="*/ 98 h 120"/>
                <a:gd name="T70" fmla="*/ 60 w 153"/>
                <a:gd name="T71" fmla="*/ 104 h 120"/>
                <a:gd name="T72" fmla="*/ 60 w 153"/>
                <a:gd name="T73" fmla="*/ 120 h 120"/>
                <a:gd name="T74" fmla="*/ 0 w 153"/>
                <a:gd name="T75" fmla="*/ 120 h 120"/>
                <a:gd name="T76" fmla="*/ 0 w 153"/>
                <a:gd name="T77" fmla="*/ 120 h 1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53"/>
                <a:gd name="T118" fmla="*/ 0 h 120"/>
                <a:gd name="T119" fmla="*/ 153 w 153"/>
                <a:gd name="T120" fmla="*/ 120 h 12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53" h="120">
                  <a:moveTo>
                    <a:pt x="0" y="120"/>
                  </a:moveTo>
                  <a:lnTo>
                    <a:pt x="0" y="120"/>
                  </a:lnTo>
                  <a:lnTo>
                    <a:pt x="16" y="114"/>
                  </a:lnTo>
                  <a:lnTo>
                    <a:pt x="33" y="98"/>
                  </a:lnTo>
                  <a:lnTo>
                    <a:pt x="38" y="93"/>
                  </a:lnTo>
                  <a:lnTo>
                    <a:pt x="44" y="87"/>
                  </a:lnTo>
                  <a:lnTo>
                    <a:pt x="44" y="76"/>
                  </a:lnTo>
                  <a:lnTo>
                    <a:pt x="44" y="65"/>
                  </a:lnTo>
                  <a:lnTo>
                    <a:pt x="49" y="54"/>
                  </a:lnTo>
                  <a:lnTo>
                    <a:pt x="49" y="49"/>
                  </a:lnTo>
                  <a:lnTo>
                    <a:pt x="60" y="38"/>
                  </a:lnTo>
                  <a:lnTo>
                    <a:pt x="82" y="27"/>
                  </a:lnTo>
                  <a:lnTo>
                    <a:pt x="93" y="0"/>
                  </a:lnTo>
                  <a:lnTo>
                    <a:pt x="98" y="0"/>
                  </a:lnTo>
                  <a:lnTo>
                    <a:pt x="104" y="5"/>
                  </a:lnTo>
                  <a:lnTo>
                    <a:pt x="114" y="11"/>
                  </a:lnTo>
                  <a:lnTo>
                    <a:pt x="131" y="5"/>
                  </a:lnTo>
                  <a:lnTo>
                    <a:pt x="142" y="11"/>
                  </a:lnTo>
                  <a:lnTo>
                    <a:pt x="147" y="16"/>
                  </a:lnTo>
                  <a:lnTo>
                    <a:pt x="147" y="44"/>
                  </a:lnTo>
                  <a:lnTo>
                    <a:pt x="153" y="49"/>
                  </a:lnTo>
                  <a:lnTo>
                    <a:pt x="153" y="54"/>
                  </a:lnTo>
                  <a:lnTo>
                    <a:pt x="131" y="54"/>
                  </a:lnTo>
                  <a:lnTo>
                    <a:pt x="131" y="60"/>
                  </a:lnTo>
                  <a:lnTo>
                    <a:pt x="120" y="60"/>
                  </a:lnTo>
                  <a:lnTo>
                    <a:pt x="120" y="71"/>
                  </a:lnTo>
                  <a:lnTo>
                    <a:pt x="104" y="82"/>
                  </a:lnTo>
                  <a:lnTo>
                    <a:pt x="93" y="87"/>
                  </a:lnTo>
                  <a:lnTo>
                    <a:pt x="82" y="87"/>
                  </a:lnTo>
                  <a:lnTo>
                    <a:pt x="82" y="93"/>
                  </a:lnTo>
                  <a:lnTo>
                    <a:pt x="76" y="93"/>
                  </a:lnTo>
                  <a:lnTo>
                    <a:pt x="60" y="98"/>
                  </a:lnTo>
                  <a:lnTo>
                    <a:pt x="60" y="104"/>
                  </a:lnTo>
                  <a:lnTo>
                    <a:pt x="60" y="120"/>
                  </a:lnTo>
                  <a:lnTo>
                    <a:pt x="0" y="12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2" name="Freeform 454"/>
            <p:cNvSpPr>
              <a:spLocks/>
            </p:cNvSpPr>
            <p:nvPr/>
          </p:nvSpPr>
          <p:spPr bwMode="auto">
            <a:xfrm>
              <a:off x="2682" y="2680"/>
              <a:ext cx="207" cy="158"/>
            </a:xfrm>
            <a:custGeom>
              <a:avLst/>
              <a:gdLst>
                <a:gd name="T0" fmla="*/ 190 w 207"/>
                <a:gd name="T1" fmla="*/ 5 h 158"/>
                <a:gd name="T2" fmla="*/ 185 w 207"/>
                <a:gd name="T3" fmla="*/ 11 h 158"/>
                <a:gd name="T4" fmla="*/ 179 w 207"/>
                <a:gd name="T5" fmla="*/ 0 h 158"/>
                <a:gd name="T6" fmla="*/ 152 w 207"/>
                <a:gd name="T7" fmla="*/ 0 h 158"/>
                <a:gd name="T8" fmla="*/ 98 w 207"/>
                <a:gd name="T9" fmla="*/ 33 h 158"/>
                <a:gd name="T10" fmla="*/ 71 w 207"/>
                <a:gd name="T11" fmla="*/ 54 h 158"/>
                <a:gd name="T12" fmla="*/ 54 w 207"/>
                <a:gd name="T13" fmla="*/ 60 h 158"/>
                <a:gd name="T14" fmla="*/ 54 w 207"/>
                <a:gd name="T15" fmla="*/ 104 h 158"/>
                <a:gd name="T16" fmla="*/ 49 w 207"/>
                <a:gd name="T17" fmla="*/ 104 h 158"/>
                <a:gd name="T18" fmla="*/ 43 w 207"/>
                <a:gd name="T19" fmla="*/ 115 h 158"/>
                <a:gd name="T20" fmla="*/ 16 w 207"/>
                <a:gd name="T21" fmla="*/ 115 h 158"/>
                <a:gd name="T22" fmla="*/ 11 w 207"/>
                <a:gd name="T23" fmla="*/ 115 h 158"/>
                <a:gd name="T24" fmla="*/ 0 w 207"/>
                <a:gd name="T25" fmla="*/ 115 h 158"/>
                <a:gd name="T26" fmla="*/ 0 w 207"/>
                <a:gd name="T27" fmla="*/ 120 h 158"/>
                <a:gd name="T28" fmla="*/ 5 w 207"/>
                <a:gd name="T29" fmla="*/ 131 h 158"/>
                <a:gd name="T30" fmla="*/ 16 w 207"/>
                <a:gd name="T31" fmla="*/ 147 h 158"/>
                <a:gd name="T32" fmla="*/ 27 w 207"/>
                <a:gd name="T33" fmla="*/ 147 h 158"/>
                <a:gd name="T34" fmla="*/ 27 w 207"/>
                <a:gd name="T35" fmla="*/ 153 h 158"/>
                <a:gd name="T36" fmla="*/ 27 w 207"/>
                <a:gd name="T37" fmla="*/ 153 h 158"/>
                <a:gd name="T38" fmla="*/ 27 w 207"/>
                <a:gd name="T39" fmla="*/ 158 h 158"/>
                <a:gd name="T40" fmla="*/ 32 w 207"/>
                <a:gd name="T41" fmla="*/ 158 h 158"/>
                <a:gd name="T42" fmla="*/ 27 w 207"/>
                <a:gd name="T43" fmla="*/ 153 h 158"/>
                <a:gd name="T44" fmla="*/ 32 w 207"/>
                <a:gd name="T45" fmla="*/ 153 h 158"/>
                <a:gd name="T46" fmla="*/ 43 w 207"/>
                <a:gd name="T47" fmla="*/ 158 h 158"/>
                <a:gd name="T48" fmla="*/ 43 w 207"/>
                <a:gd name="T49" fmla="*/ 153 h 158"/>
                <a:gd name="T50" fmla="*/ 49 w 207"/>
                <a:gd name="T51" fmla="*/ 147 h 158"/>
                <a:gd name="T52" fmla="*/ 54 w 207"/>
                <a:gd name="T53" fmla="*/ 136 h 158"/>
                <a:gd name="T54" fmla="*/ 60 w 207"/>
                <a:gd name="T55" fmla="*/ 131 h 158"/>
                <a:gd name="T56" fmla="*/ 71 w 207"/>
                <a:gd name="T57" fmla="*/ 131 h 158"/>
                <a:gd name="T58" fmla="*/ 87 w 207"/>
                <a:gd name="T59" fmla="*/ 142 h 158"/>
                <a:gd name="T60" fmla="*/ 103 w 207"/>
                <a:gd name="T61" fmla="*/ 136 h 158"/>
                <a:gd name="T62" fmla="*/ 109 w 207"/>
                <a:gd name="T63" fmla="*/ 147 h 158"/>
                <a:gd name="T64" fmla="*/ 120 w 207"/>
                <a:gd name="T65" fmla="*/ 147 h 158"/>
                <a:gd name="T66" fmla="*/ 130 w 207"/>
                <a:gd name="T67" fmla="*/ 136 h 158"/>
                <a:gd name="T68" fmla="*/ 147 w 207"/>
                <a:gd name="T69" fmla="*/ 136 h 158"/>
                <a:gd name="T70" fmla="*/ 158 w 207"/>
                <a:gd name="T71" fmla="*/ 142 h 158"/>
                <a:gd name="T72" fmla="*/ 169 w 207"/>
                <a:gd name="T73" fmla="*/ 136 h 158"/>
                <a:gd name="T74" fmla="*/ 169 w 207"/>
                <a:gd name="T75" fmla="*/ 131 h 158"/>
                <a:gd name="T76" fmla="*/ 169 w 207"/>
                <a:gd name="T77" fmla="*/ 131 h 158"/>
                <a:gd name="T78" fmla="*/ 169 w 207"/>
                <a:gd name="T79" fmla="*/ 125 h 158"/>
                <a:gd name="T80" fmla="*/ 174 w 207"/>
                <a:gd name="T81" fmla="*/ 125 h 158"/>
                <a:gd name="T82" fmla="*/ 169 w 207"/>
                <a:gd name="T83" fmla="*/ 125 h 158"/>
                <a:gd name="T84" fmla="*/ 174 w 207"/>
                <a:gd name="T85" fmla="*/ 115 h 158"/>
                <a:gd name="T86" fmla="*/ 196 w 207"/>
                <a:gd name="T87" fmla="*/ 93 h 158"/>
                <a:gd name="T88" fmla="*/ 196 w 207"/>
                <a:gd name="T89" fmla="*/ 65 h 158"/>
                <a:gd name="T90" fmla="*/ 201 w 207"/>
                <a:gd name="T91" fmla="*/ 49 h 158"/>
                <a:gd name="T92" fmla="*/ 207 w 207"/>
                <a:gd name="T93" fmla="*/ 44 h 158"/>
                <a:gd name="T94" fmla="*/ 196 w 207"/>
                <a:gd name="T95" fmla="*/ 38 h 158"/>
                <a:gd name="T96" fmla="*/ 190 w 207"/>
                <a:gd name="T97" fmla="*/ 27 h 158"/>
                <a:gd name="T98" fmla="*/ 190 w 207"/>
                <a:gd name="T99" fmla="*/ 5 h 158"/>
                <a:gd name="T100" fmla="*/ 190 w 207"/>
                <a:gd name="T101" fmla="*/ 5 h 1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7"/>
                <a:gd name="T154" fmla="*/ 0 h 158"/>
                <a:gd name="T155" fmla="*/ 207 w 207"/>
                <a:gd name="T156" fmla="*/ 158 h 1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7" h="158">
                  <a:moveTo>
                    <a:pt x="190" y="5"/>
                  </a:moveTo>
                  <a:lnTo>
                    <a:pt x="185" y="11"/>
                  </a:lnTo>
                  <a:lnTo>
                    <a:pt x="179" y="0"/>
                  </a:lnTo>
                  <a:lnTo>
                    <a:pt x="152" y="0"/>
                  </a:lnTo>
                  <a:lnTo>
                    <a:pt x="98" y="33"/>
                  </a:lnTo>
                  <a:lnTo>
                    <a:pt x="71" y="54"/>
                  </a:lnTo>
                  <a:lnTo>
                    <a:pt x="54" y="60"/>
                  </a:lnTo>
                  <a:lnTo>
                    <a:pt x="54" y="104"/>
                  </a:lnTo>
                  <a:lnTo>
                    <a:pt x="49" y="104"/>
                  </a:lnTo>
                  <a:lnTo>
                    <a:pt x="43" y="115"/>
                  </a:lnTo>
                  <a:lnTo>
                    <a:pt x="16" y="115"/>
                  </a:lnTo>
                  <a:lnTo>
                    <a:pt x="11" y="115"/>
                  </a:lnTo>
                  <a:lnTo>
                    <a:pt x="0" y="115"/>
                  </a:lnTo>
                  <a:lnTo>
                    <a:pt x="0" y="120"/>
                  </a:lnTo>
                  <a:lnTo>
                    <a:pt x="5" y="131"/>
                  </a:lnTo>
                  <a:lnTo>
                    <a:pt x="16" y="147"/>
                  </a:lnTo>
                  <a:lnTo>
                    <a:pt x="27" y="147"/>
                  </a:lnTo>
                  <a:lnTo>
                    <a:pt x="27" y="153"/>
                  </a:lnTo>
                  <a:lnTo>
                    <a:pt x="27" y="158"/>
                  </a:lnTo>
                  <a:lnTo>
                    <a:pt x="32" y="158"/>
                  </a:lnTo>
                  <a:lnTo>
                    <a:pt x="27" y="153"/>
                  </a:lnTo>
                  <a:lnTo>
                    <a:pt x="32" y="153"/>
                  </a:lnTo>
                  <a:lnTo>
                    <a:pt x="43" y="158"/>
                  </a:lnTo>
                  <a:lnTo>
                    <a:pt x="43" y="153"/>
                  </a:lnTo>
                  <a:lnTo>
                    <a:pt x="49" y="147"/>
                  </a:lnTo>
                  <a:lnTo>
                    <a:pt x="54" y="136"/>
                  </a:lnTo>
                  <a:lnTo>
                    <a:pt x="60" y="131"/>
                  </a:lnTo>
                  <a:lnTo>
                    <a:pt x="71" y="131"/>
                  </a:lnTo>
                  <a:lnTo>
                    <a:pt x="87" y="142"/>
                  </a:lnTo>
                  <a:lnTo>
                    <a:pt x="103" y="136"/>
                  </a:lnTo>
                  <a:lnTo>
                    <a:pt x="109" y="147"/>
                  </a:lnTo>
                  <a:lnTo>
                    <a:pt x="120" y="147"/>
                  </a:lnTo>
                  <a:lnTo>
                    <a:pt x="130" y="136"/>
                  </a:lnTo>
                  <a:lnTo>
                    <a:pt x="147" y="136"/>
                  </a:lnTo>
                  <a:lnTo>
                    <a:pt x="158" y="142"/>
                  </a:lnTo>
                  <a:lnTo>
                    <a:pt x="169" y="136"/>
                  </a:lnTo>
                  <a:lnTo>
                    <a:pt x="169" y="131"/>
                  </a:lnTo>
                  <a:lnTo>
                    <a:pt x="169" y="125"/>
                  </a:lnTo>
                  <a:lnTo>
                    <a:pt x="174" y="125"/>
                  </a:lnTo>
                  <a:lnTo>
                    <a:pt x="169" y="125"/>
                  </a:lnTo>
                  <a:lnTo>
                    <a:pt x="174" y="115"/>
                  </a:lnTo>
                  <a:lnTo>
                    <a:pt x="196" y="93"/>
                  </a:lnTo>
                  <a:lnTo>
                    <a:pt x="196" y="65"/>
                  </a:lnTo>
                  <a:lnTo>
                    <a:pt x="201" y="49"/>
                  </a:lnTo>
                  <a:lnTo>
                    <a:pt x="207" y="44"/>
                  </a:lnTo>
                  <a:lnTo>
                    <a:pt x="196" y="38"/>
                  </a:lnTo>
                  <a:lnTo>
                    <a:pt x="190" y="27"/>
                  </a:lnTo>
                  <a:lnTo>
                    <a:pt x="19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3" name="Freeform 455"/>
            <p:cNvSpPr>
              <a:spLocks/>
            </p:cNvSpPr>
            <p:nvPr/>
          </p:nvSpPr>
          <p:spPr bwMode="auto">
            <a:xfrm>
              <a:off x="2714" y="2811"/>
              <a:ext cx="153" cy="125"/>
            </a:xfrm>
            <a:custGeom>
              <a:avLst/>
              <a:gdLst>
                <a:gd name="T0" fmla="*/ 33 w 153"/>
                <a:gd name="T1" fmla="*/ 104 h 125"/>
                <a:gd name="T2" fmla="*/ 28 w 153"/>
                <a:gd name="T3" fmla="*/ 104 h 125"/>
                <a:gd name="T4" fmla="*/ 22 w 153"/>
                <a:gd name="T5" fmla="*/ 98 h 125"/>
                <a:gd name="T6" fmla="*/ 0 w 153"/>
                <a:gd name="T7" fmla="*/ 98 h 125"/>
                <a:gd name="T8" fmla="*/ 0 w 153"/>
                <a:gd name="T9" fmla="*/ 71 h 125"/>
                <a:gd name="T10" fmla="*/ 6 w 153"/>
                <a:gd name="T11" fmla="*/ 54 h 125"/>
                <a:gd name="T12" fmla="*/ 11 w 153"/>
                <a:gd name="T13" fmla="*/ 54 h 125"/>
                <a:gd name="T14" fmla="*/ 11 w 153"/>
                <a:gd name="T15" fmla="*/ 49 h 125"/>
                <a:gd name="T16" fmla="*/ 17 w 153"/>
                <a:gd name="T17" fmla="*/ 44 h 125"/>
                <a:gd name="T18" fmla="*/ 11 w 153"/>
                <a:gd name="T19" fmla="*/ 38 h 125"/>
                <a:gd name="T20" fmla="*/ 11 w 153"/>
                <a:gd name="T21" fmla="*/ 33 h 125"/>
                <a:gd name="T22" fmla="*/ 11 w 153"/>
                <a:gd name="T23" fmla="*/ 27 h 125"/>
                <a:gd name="T24" fmla="*/ 11 w 153"/>
                <a:gd name="T25" fmla="*/ 22 h 125"/>
                <a:gd name="T26" fmla="*/ 17 w 153"/>
                <a:gd name="T27" fmla="*/ 16 h 125"/>
                <a:gd name="T28" fmla="*/ 22 w 153"/>
                <a:gd name="T29" fmla="*/ 5 h 125"/>
                <a:gd name="T30" fmla="*/ 28 w 153"/>
                <a:gd name="T31" fmla="*/ 0 h 125"/>
                <a:gd name="T32" fmla="*/ 39 w 153"/>
                <a:gd name="T33" fmla="*/ 0 h 125"/>
                <a:gd name="T34" fmla="*/ 55 w 153"/>
                <a:gd name="T35" fmla="*/ 11 h 125"/>
                <a:gd name="T36" fmla="*/ 71 w 153"/>
                <a:gd name="T37" fmla="*/ 5 h 125"/>
                <a:gd name="T38" fmla="*/ 77 w 153"/>
                <a:gd name="T39" fmla="*/ 16 h 125"/>
                <a:gd name="T40" fmla="*/ 88 w 153"/>
                <a:gd name="T41" fmla="*/ 16 h 125"/>
                <a:gd name="T42" fmla="*/ 98 w 153"/>
                <a:gd name="T43" fmla="*/ 5 h 125"/>
                <a:gd name="T44" fmla="*/ 115 w 153"/>
                <a:gd name="T45" fmla="*/ 5 h 125"/>
                <a:gd name="T46" fmla="*/ 126 w 153"/>
                <a:gd name="T47" fmla="*/ 11 h 125"/>
                <a:gd name="T48" fmla="*/ 137 w 153"/>
                <a:gd name="T49" fmla="*/ 5 h 125"/>
                <a:gd name="T50" fmla="*/ 137 w 153"/>
                <a:gd name="T51" fmla="*/ 0 h 125"/>
                <a:gd name="T52" fmla="*/ 147 w 153"/>
                <a:gd name="T53" fmla="*/ 16 h 125"/>
                <a:gd name="T54" fmla="*/ 153 w 153"/>
                <a:gd name="T55" fmla="*/ 22 h 125"/>
                <a:gd name="T56" fmla="*/ 153 w 153"/>
                <a:gd name="T57" fmla="*/ 27 h 125"/>
                <a:gd name="T58" fmla="*/ 142 w 153"/>
                <a:gd name="T59" fmla="*/ 38 h 125"/>
                <a:gd name="T60" fmla="*/ 131 w 153"/>
                <a:gd name="T61" fmla="*/ 65 h 125"/>
                <a:gd name="T62" fmla="*/ 126 w 153"/>
                <a:gd name="T63" fmla="*/ 71 h 125"/>
                <a:gd name="T64" fmla="*/ 115 w 153"/>
                <a:gd name="T65" fmla="*/ 98 h 125"/>
                <a:gd name="T66" fmla="*/ 109 w 153"/>
                <a:gd name="T67" fmla="*/ 98 h 125"/>
                <a:gd name="T68" fmla="*/ 104 w 153"/>
                <a:gd name="T69" fmla="*/ 93 h 125"/>
                <a:gd name="T70" fmla="*/ 88 w 153"/>
                <a:gd name="T71" fmla="*/ 93 h 125"/>
                <a:gd name="T72" fmla="*/ 82 w 153"/>
                <a:gd name="T73" fmla="*/ 104 h 125"/>
                <a:gd name="T74" fmla="*/ 77 w 153"/>
                <a:gd name="T75" fmla="*/ 120 h 125"/>
                <a:gd name="T76" fmla="*/ 71 w 153"/>
                <a:gd name="T77" fmla="*/ 120 h 125"/>
                <a:gd name="T78" fmla="*/ 71 w 153"/>
                <a:gd name="T79" fmla="*/ 125 h 125"/>
                <a:gd name="T80" fmla="*/ 55 w 153"/>
                <a:gd name="T81" fmla="*/ 120 h 125"/>
                <a:gd name="T82" fmla="*/ 55 w 153"/>
                <a:gd name="T83" fmla="*/ 125 h 125"/>
                <a:gd name="T84" fmla="*/ 44 w 153"/>
                <a:gd name="T85" fmla="*/ 125 h 125"/>
                <a:gd name="T86" fmla="*/ 39 w 153"/>
                <a:gd name="T87" fmla="*/ 120 h 125"/>
                <a:gd name="T88" fmla="*/ 39 w 153"/>
                <a:gd name="T89" fmla="*/ 109 h 125"/>
                <a:gd name="T90" fmla="*/ 33 w 153"/>
                <a:gd name="T91" fmla="*/ 104 h 125"/>
                <a:gd name="T92" fmla="*/ 33 w 153"/>
                <a:gd name="T93" fmla="*/ 104 h 12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125"/>
                <a:gd name="T143" fmla="*/ 153 w 153"/>
                <a:gd name="T144" fmla="*/ 125 h 12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125">
                  <a:moveTo>
                    <a:pt x="33" y="104"/>
                  </a:moveTo>
                  <a:lnTo>
                    <a:pt x="28" y="104"/>
                  </a:lnTo>
                  <a:lnTo>
                    <a:pt x="22" y="98"/>
                  </a:lnTo>
                  <a:lnTo>
                    <a:pt x="0" y="98"/>
                  </a:lnTo>
                  <a:lnTo>
                    <a:pt x="0" y="71"/>
                  </a:lnTo>
                  <a:lnTo>
                    <a:pt x="6" y="54"/>
                  </a:lnTo>
                  <a:lnTo>
                    <a:pt x="11" y="54"/>
                  </a:lnTo>
                  <a:lnTo>
                    <a:pt x="11" y="49"/>
                  </a:lnTo>
                  <a:lnTo>
                    <a:pt x="17" y="44"/>
                  </a:lnTo>
                  <a:lnTo>
                    <a:pt x="11" y="38"/>
                  </a:lnTo>
                  <a:lnTo>
                    <a:pt x="11" y="33"/>
                  </a:lnTo>
                  <a:lnTo>
                    <a:pt x="11" y="27"/>
                  </a:lnTo>
                  <a:lnTo>
                    <a:pt x="11" y="22"/>
                  </a:lnTo>
                  <a:lnTo>
                    <a:pt x="17" y="16"/>
                  </a:lnTo>
                  <a:lnTo>
                    <a:pt x="22" y="5"/>
                  </a:lnTo>
                  <a:lnTo>
                    <a:pt x="28" y="0"/>
                  </a:lnTo>
                  <a:lnTo>
                    <a:pt x="39" y="0"/>
                  </a:lnTo>
                  <a:lnTo>
                    <a:pt x="55" y="11"/>
                  </a:lnTo>
                  <a:lnTo>
                    <a:pt x="71" y="5"/>
                  </a:lnTo>
                  <a:lnTo>
                    <a:pt x="77" y="16"/>
                  </a:lnTo>
                  <a:lnTo>
                    <a:pt x="88" y="16"/>
                  </a:lnTo>
                  <a:lnTo>
                    <a:pt x="98" y="5"/>
                  </a:lnTo>
                  <a:lnTo>
                    <a:pt x="115" y="5"/>
                  </a:lnTo>
                  <a:lnTo>
                    <a:pt x="126" y="11"/>
                  </a:lnTo>
                  <a:lnTo>
                    <a:pt x="137" y="5"/>
                  </a:lnTo>
                  <a:lnTo>
                    <a:pt x="137" y="0"/>
                  </a:lnTo>
                  <a:lnTo>
                    <a:pt x="147" y="16"/>
                  </a:lnTo>
                  <a:lnTo>
                    <a:pt x="153" y="22"/>
                  </a:lnTo>
                  <a:lnTo>
                    <a:pt x="153" y="27"/>
                  </a:lnTo>
                  <a:lnTo>
                    <a:pt x="142" y="38"/>
                  </a:lnTo>
                  <a:lnTo>
                    <a:pt x="131" y="65"/>
                  </a:lnTo>
                  <a:lnTo>
                    <a:pt x="126" y="71"/>
                  </a:lnTo>
                  <a:lnTo>
                    <a:pt x="115" y="98"/>
                  </a:lnTo>
                  <a:lnTo>
                    <a:pt x="109" y="98"/>
                  </a:lnTo>
                  <a:lnTo>
                    <a:pt x="104" y="93"/>
                  </a:lnTo>
                  <a:lnTo>
                    <a:pt x="88" y="93"/>
                  </a:lnTo>
                  <a:lnTo>
                    <a:pt x="82" y="104"/>
                  </a:lnTo>
                  <a:lnTo>
                    <a:pt x="77" y="120"/>
                  </a:lnTo>
                  <a:lnTo>
                    <a:pt x="71" y="120"/>
                  </a:lnTo>
                  <a:lnTo>
                    <a:pt x="71" y="125"/>
                  </a:lnTo>
                  <a:lnTo>
                    <a:pt x="55" y="120"/>
                  </a:lnTo>
                  <a:lnTo>
                    <a:pt x="55" y="125"/>
                  </a:lnTo>
                  <a:lnTo>
                    <a:pt x="44" y="125"/>
                  </a:lnTo>
                  <a:lnTo>
                    <a:pt x="39" y="120"/>
                  </a:lnTo>
                  <a:lnTo>
                    <a:pt x="39" y="109"/>
                  </a:lnTo>
                  <a:lnTo>
                    <a:pt x="33" y="10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4" name="Freeform 456"/>
            <p:cNvSpPr>
              <a:spLocks/>
            </p:cNvSpPr>
            <p:nvPr/>
          </p:nvSpPr>
          <p:spPr bwMode="auto">
            <a:xfrm>
              <a:off x="2464" y="2827"/>
              <a:ext cx="44" cy="22"/>
            </a:xfrm>
            <a:custGeom>
              <a:avLst/>
              <a:gdLst>
                <a:gd name="T0" fmla="*/ 22 w 44"/>
                <a:gd name="T1" fmla="*/ 22 h 22"/>
                <a:gd name="T2" fmla="*/ 16 w 44"/>
                <a:gd name="T3" fmla="*/ 22 h 22"/>
                <a:gd name="T4" fmla="*/ 16 w 44"/>
                <a:gd name="T5" fmla="*/ 11 h 22"/>
                <a:gd name="T6" fmla="*/ 27 w 44"/>
                <a:gd name="T7" fmla="*/ 11 h 22"/>
                <a:gd name="T8" fmla="*/ 11 w 44"/>
                <a:gd name="T9" fmla="*/ 11 h 22"/>
                <a:gd name="T10" fmla="*/ 0 w 44"/>
                <a:gd name="T11" fmla="*/ 6 h 22"/>
                <a:gd name="T12" fmla="*/ 11 w 44"/>
                <a:gd name="T13" fmla="*/ 6 h 22"/>
                <a:gd name="T14" fmla="*/ 22 w 44"/>
                <a:gd name="T15" fmla="*/ 0 h 22"/>
                <a:gd name="T16" fmla="*/ 38 w 44"/>
                <a:gd name="T17" fmla="*/ 0 h 22"/>
                <a:gd name="T18" fmla="*/ 44 w 44"/>
                <a:gd name="T19" fmla="*/ 6 h 22"/>
                <a:gd name="T20" fmla="*/ 38 w 44"/>
                <a:gd name="T21" fmla="*/ 6 h 22"/>
                <a:gd name="T22" fmla="*/ 38 w 44"/>
                <a:gd name="T23" fmla="*/ 11 h 22"/>
                <a:gd name="T24" fmla="*/ 27 w 44"/>
                <a:gd name="T25" fmla="*/ 17 h 22"/>
                <a:gd name="T26" fmla="*/ 22 w 44"/>
                <a:gd name="T27" fmla="*/ 22 h 22"/>
                <a:gd name="T28" fmla="*/ 22 w 44"/>
                <a:gd name="T29" fmla="*/ 22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4"/>
                <a:gd name="T46" fmla="*/ 0 h 22"/>
                <a:gd name="T47" fmla="*/ 44 w 44"/>
                <a:gd name="T48" fmla="*/ 22 h 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4" h="22">
                  <a:moveTo>
                    <a:pt x="22" y="22"/>
                  </a:moveTo>
                  <a:lnTo>
                    <a:pt x="16" y="22"/>
                  </a:lnTo>
                  <a:lnTo>
                    <a:pt x="16" y="11"/>
                  </a:lnTo>
                  <a:lnTo>
                    <a:pt x="27" y="11"/>
                  </a:lnTo>
                  <a:lnTo>
                    <a:pt x="11" y="11"/>
                  </a:lnTo>
                  <a:lnTo>
                    <a:pt x="0" y="6"/>
                  </a:lnTo>
                  <a:lnTo>
                    <a:pt x="11" y="6"/>
                  </a:lnTo>
                  <a:lnTo>
                    <a:pt x="22" y="0"/>
                  </a:lnTo>
                  <a:lnTo>
                    <a:pt x="38" y="0"/>
                  </a:lnTo>
                  <a:lnTo>
                    <a:pt x="44" y="6"/>
                  </a:lnTo>
                  <a:lnTo>
                    <a:pt x="38" y="6"/>
                  </a:lnTo>
                  <a:lnTo>
                    <a:pt x="38" y="11"/>
                  </a:lnTo>
                  <a:lnTo>
                    <a:pt x="27" y="17"/>
                  </a:lnTo>
                  <a:lnTo>
                    <a:pt x="22"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5" name="Freeform 457"/>
            <p:cNvSpPr>
              <a:spLocks/>
            </p:cNvSpPr>
            <p:nvPr/>
          </p:nvSpPr>
          <p:spPr bwMode="auto">
            <a:xfrm>
              <a:off x="3052" y="3007"/>
              <a:ext cx="27" cy="22"/>
            </a:xfrm>
            <a:custGeom>
              <a:avLst/>
              <a:gdLst>
                <a:gd name="T0" fmla="*/ 11 w 27"/>
                <a:gd name="T1" fmla="*/ 0 h 22"/>
                <a:gd name="T2" fmla="*/ 16 w 27"/>
                <a:gd name="T3" fmla="*/ 0 h 22"/>
                <a:gd name="T4" fmla="*/ 22 w 27"/>
                <a:gd name="T5" fmla="*/ 0 h 22"/>
                <a:gd name="T6" fmla="*/ 27 w 27"/>
                <a:gd name="T7" fmla="*/ 11 h 22"/>
                <a:gd name="T8" fmla="*/ 22 w 27"/>
                <a:gd name="T9" fmla="*/ 17 h 22"/>
                <a:gd name="T10" fmla="*/ 16 w 27"/>
                <a:gd name="T11" fmla="*/ 17 h 22"/>
                <a:gd name="T12" fmla="*/ 11 w 27"/>
                <a:gd name="T13" fmla="*/ 17 h 22"/>
                <a:gd name="T14" fmla="*/ 11 w 27"/>
                <a:gd name="T15" fmla="*/ 22 h 22"/>
                <a:gd name="T16" fmla="*/ 5 w 27"/>
                <a:gd name="T17" fmla="*/ 17 h 22"/>
                <a:gd name="T18" fmla="*/ 5 w 27"/>
                <a:gd name="T19" fmla="*/ 17 h 22"/>
                <a:gd name="T20" fmla="*/ 0 w 27"/>
                <a:gd name="T21" fmla="*/ 17 h 22"/>
                <a:gd name="T22" fmla="*/ 11 w 27"/>
                <a:gd name="T23" fmla="*/ 0 h 22"/>
                <a:gd name="T24" fmla="*/ 11 w 27"/>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
                <a:gd name="T40" fmla="*/ 0 h 22"/>
                <a:gd name="T41" fmla="*/ 27 w 27"/>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 h="22">
                  <a:moveTo>
                    <a:pt x="11" y="0"/>
                  </a:moveTo>
                  <a:lnTo>
                    <a:pt x="16" y="0"/>
                  </a:lnTo>
                  <a:lnTo>
                    <a:pt x="22" y="0"/>
                  </a:lnTo>
                  <a:lnTo>
                    <a:pt x="27" y="11"/>
                  </a:lnTo>
                  <a:lnTo>
                    <a:pt x="22" y="17"/>
                  </a:lnTo>
                  <a:lnTo>
                    <a:pt x="16" y="17"/>
                  </a:lnTo>
                  <a:lnTo>
                    <a:pt x="11" y="17"/>
                  </a:lnTo>
                  <a:lnTo>
                    <a:pt x="11" y="22"/>
                  </a:lnTo>
                  <a:lnTo>
                    <a:pt x="5" y="17"/>
                  </a:lnTo>
                  <a:lnTo>
                    <a:pt x="0" y="17"/>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6" name="Freeform 458"/>
            <p:cNvSpPr>
              <a:spLocks/>
            </p:cNvSpPr>
            <p:nvPr/>
          </p:nvSpPr>
          <p:spPr bwMode="auto">
            <a:xfrm>
              <a:off x="2763" y="2986"/>
              <a:ext cx="6" cy="5"/>
            </a:xfrm>
            <a:custGeom>
              <a:avLst/>
              <a:gdLst>
                <a:gd name="T0" fmla="*/ 0 w 6"/>
                <a:gd name="T1" fmla="*/ 0 h 5"/>
                <a:gd name="T2" fmla="*/ 6 w 6"/>
                <a:gd name="T3" fmla="*/ 0 h 5"/>
                <a:gd name="T4" fmla="*/ 0 w 6"/>
                <a:gd name="T5" fmla="*/ 5 h 5"/>
                <a:gd name="T6" fmla="*/ 0 w 6"/>
                <a:gd name="T7" fmla="*/ 0 h 5"/>
                <a:gd name="T8" fmla="*/ 0 w 6"/>
                <a:gd name="T9" fmla="*/ 0 h 5"/>
                <a:gd name="T10" fmla="*/ 0 w 6"/>
                <a:gd name="T11" fmla="*/ 0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0" y="0"/>
                  </a:moveTo>
                  <a:lnTo>
                    <a:pt x="6"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7" name="Freeform 459"/>
            <p:cNvSpPr>
              <a:spLocks/>
            </p:cNvSpPr>
            <p:nvPr/>
          </p:nvSpPr>
          <p:spPr bwMode="auto">
            <a:xfrm>
              <a:off x="2453" y="2773"/>
              <a:ext cx="82" cy="60"/>
            </a:xfrm>
            <a:custGeom>
              <a:avLst/>
              <a:gdLst>
                <a:gd name="T0" fmla="*/ 11 w 82"/>
                <a:gd name="T1" fmla="*/ 49 h 60"/>
                <a:gd name="T2" fmla="*/ 11 w 82"/>
                <a:gd name="T3" fmla="*/ 60 h 60"/>
                <a:gd name="T4" fmla="*/ 22 w 82"/>
                <a:gd name="T5" fmla="*/ 60 h 60"/>
                <a:gd name="T6" fmla="*/ 33 w 82"/>
                <a:gd name="T7" fmla="*/ 54 h 60"/>
                <a:gd name="T8" fmla="*/ 49 w 82"/>
                <a:gd name="T9" fmla="*/ 54 h 60"/>
                <a:gd name="T10" fmla="*/ 71 w 82"/>
                <a:gd name="T11" fmla="*/ 60 h 60"/>
                <a:gd name="T12" fmla="*/ 82 w 82"/>
                <a:gd name="T13" fmla="*/ 60 h 60"/>
                <a:gd name="T14" fmla="*/ 82 w 82"/>
                <a:gd name="T15" fmla="*/ 49 h 60"/>
                <a:gd name="T16" fmla="*/ 71 w 82"/>
                <a:gd name="T17" fmla="*/ 43 h 60"/>
                <a:gd name="T18" fmla="*/ 76 w 82"/>
                <a:gd name="T19" fmla="*/ 38 h 60"/>
                <a:gd name="T20" fmla="*/ 71 w 82"/>
                <a:gd name="T21" fmla="*/ 27 h 60"/>
                <a:gd name="T22" fmla="*/ 60 w 82"/>
                <a:gd name="T23" fmla="*/ 22 h 60"/>
                <a:gd name="T24" fmla="*/ 55 w 82"/>
                <a:gd name="T25" fmla="*/ 11 h 60"/>
                <a:gd name="T26" fmla="*/ 49 w 82"/>
                <a:gd name="T27" fmla="*/ 11 h 60"/>
                <a:gd name="T28" fmla="*/ 44 w 82"/>
                <a:gd name="T29" fmla="*/ 0 h 60"/>
                <a:gd name="T30" fmla="*/ 17 w 82"/>
                <a:gd name="T31" fmla="*/ 5 h 60"/>
                <a:gd name="T32" fmla="*/ 17 w 82"/>
                <a:gd name="T33" fmla="*/ 11 h 60"/>
                <a:gd name="T34" fmla="*/ 17 w 82"/>
                <a:gd name="T35" fmla="*/ 16 h 60"/>
                <a:gd name="T36" fmla="*/ 11 w 82"/>
                <a:gd name="T37" fmla="*/ 22 h 60"/>
                <a:gd name="T38" fmla="*/ 0 w 82"/>
                <a:gd name="T39" fmla="*/ 27 h 60"/>
                <a:gd name="T40" fmla="*/ 6 w 82"/>
                <a:gd name="T41" fmla="*/ 27 h 60"/>
                <a:gd name="T42" fmla="*/ 17 w 82"/>
                <a:gd name="T43" fmla="*/ 43 h 60"/>
                <a:gd name="T44" fmla="*/ 27 w 82"/>
                <a:gd name="T45" fmla="*/ 43 h 60"/>
                <a:gd name="T46" fmla="*/ 33 w 82"/>
                <a:gd name="T47" fmla="*/ 38 h 60"/>
                <a:gd name="T48" fmla="*/ 44 w 82"/>
                <a:gd name="T49" fmla="*/ 43 h 60"/>
                <a:gd name="T50" fmla="*/ 49 w 82"/>
                <a:gd name="T51" fmla="*/ 43 h 60"/>
                <a:gd name="T52" fmla="*/ 49 w 82"/>
                <a:gd name="T53" fmla="*/ 43 h 60"/>
                <a:gd name="T54" fmla="*/ 44 w 82"/>
                <a:gd name="T55" fmla="*/ 49 h 60"/>
                <a:gd name="T56" fmla="*/ 33 w 82"/>
                <a:gd name="T57" fmla="*/ 43 h 60"/>
                <a:gd name="T58" fmla="*/ 22 w 82"/>
                <a:gd name="T59" fmla="*/ 49 h 60"/>
                <a:gd name="T60" fmla="*/ 11 w 82"/>
                <a:gd name="T61" fmla="*/ 49 h 60"/>
                <a:gd name="T62" fmla="*/ 11 w 82"/>
                <a:gd name="T63" fmla="*/ 49 h 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2"/>
                <a:gd name="T97" fmla="*/ 0 h 60"/>
                <a:gd name="T98" fmla="*/ 82 w 82"/>
                <a:gd name="T99" fmla="*/ 60 h 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2" h="60">
                  <a:moveTo>
                    <a:pt x="11" y="49"/>
                  </a:moveTo>
                  <a:lnTo>
                    <a:pt x="11" y="60"/>
                  </a:lnTo>
                  <a:lnTo>
                    <a:pt x="22" y="60"/>
                  </a:lnTo>
                  <a:lnTo>
                    <a:pt x="33" y="54"/>
                  </a:lnTo>
                  <a:lnTo>
                    <a:pt x="49" y="54"/>
                  </a:lnTo>
                  <a:lnTo>
                    <a:pt x="71" y="60"/>
                  </a:lnTo>
                  <a:lnTo>
                    <a:pt x="82" y="60"/>
                  </a:lnTo>
                  <a:lnTo>
                    <a:pt x="82" y="49"/>
                  </a:lnTo>
                  <a:lnTo>
                    <a:pt x="71" y="43"/>
                  </a:lnTo>
                  <a:lnTo>
                    <a:pt x="76" y="38"/>
                  </a:lnTo>
                  <a:lnTo>
                    <a:pt x="71" y="27"/>
                  </a:lnTo>
                  <a:lnTo>
                    <a:pt x="60" y="22"/>
                  </a:lnTo>
                  <a:lnTo>
                    <a:pt x="55" y="11"/>
                  </a:lnTo>
                  <a:lnTo>
                    <a:pt x="49" y="11"/>
                  </a:lnTo>
                  <a:lnTo>
                    <a:pt x="44" y="0"/>
                  </a:lnTo>
                  <a:lnTo>
                    <a:pt x="17" y="5"/>
                  </a:lnTo>
                  <a:lnTo>
                    <a:pt x="17" y="11"/>
                  </a:lnTo>
                  <a:lnTo>
                    <a:pt x="17" y="16"/>
                  </a:lnTo>
                  <a:lnTo>
                    <a:pt x="11" y="22"/>
                  </a:lnTo>
                  <a:lnTo>
                    <a:pt x="0" y="27"/>
                  </a:lnTo>
                  <a:lnTo>
                    <a:pt x="6" y="27"/>
                  </a:lnTo>
                  <a:lnTo>
                    <a:pt x="17" y="43"/>
                  </a:lnTo>
                  <a:lnTo>
                    <a:pt x="27" y="43"/>
                  </a:lnTo>
                  <a:lnTo>
                    <a:pt x="33" y="38"/>
                  </a:lnTo>
                  <a:lnTo>
                    <a:pt x="44" y="43"/>
                  </a:lnTo>
                  <a:lnTo>
                    <a:pt x="49" y="43"/>
                  </a:lnTo>
                  <a:lnTo>
                    <a:pt x="44" y="49"/>
                  </a:lnTo>
                  <a:lnTo>
                    <a:pt x="33" y="43"/>
                  </a:lnTo>
                  <a:lnTo>
                    <a:pt x="22" y="49"/>
                  </a:lnTo>
                  <a:lnTo>
                    <a:pt x="11"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8" name="Freeform 460"/>
            <p:cNvSpPr>
              <a:spLocks/>
            </p:cNvSpPr>
            <p:nvPr/>
          </p:nvSpPr>
          <p:spPr bwMode="auto">
            <a:xfrm>
              <a:off x="2508" y="2865"/>
              <a:ext cx="38" cy="39"/>
            </a:xfrm>
            <a:custGeom>
              <a:avLst/>
              <a:gdLst>
                <a:gd name="T0" fmla="*/ 0 w 38"/>
                <a:gd name="T1" fmla="*/ 11 h 39"/>
                <a:gd name="T2" fmla="*/ 5 w 38"/>
                <a:gd name="T3" fmla="*/ 17 h 39"/>
                <a:gd name="T4" fmla="*/ 0 w 38"/>
                <a:gd name="T5" fmla="*/ 17 h 39"/>
                <a:gd name="T6" fmla="*/ 5 w 38"/>
                <a:gd name="T7" fmla="*/ 28 h 39"/>
                <a:gd name="T8" fmla="*/ 16 w 38"/>
                <a:gd name="T9" fmla="*/ 33 h 39"/>
                <a:gd name="T10" fmla="*/ 27 w 38"/>
                <a:gd name="T11" fmla="*/ 39 h 39"/>
                <a:gd name="T12" fmla="*/ 38 w 38"/>
                <a:gd name="T13" fmla="*/ 28 h 39"/>
                <a:gd name="T14" fmla="*/ 38 w 38"/>
                <a:gd name="T15" fmla="*/ 22 h 39"/>
                <a:gd name="T16" fmla="*/ 38 w 38"/>
                <a:gd name="T17" fmla="*/ 22 h 39"/>
                <a:gd name="T18" fmla="*/ 38 w 38"/>
                <a:gd name="T19" fmla="*/ 17 h 39"/>
                <a:gd name="T20" fmla="*/ 38 w 38"/>
                <a:gd name="T21" fmla="*/ 17 h 39"/>
                <a:gd name="T22" fmla="*/ 32 w 38"/>
                <a:gd name="T23" fmla="*/ 17 h 39"/>
                <a:gd name="T24" fmla="*/ 38 w 38"/>
                <a:gd name="T25" fmla="*/ 11 h 39"/>
                <a:gd name="T26" fmla="*/ 27 w 38"/>
                <a:gd name="T27" fmla="*/ 0 h 39"/>
                <a:gd name="T28" fmla="*/ 11 w 38"/>
                <a:gd name="T29" fmla="*/ 0 h 39"/>
                <a:gd name="T30" fmla="*/ 5 w 38"/>
                <a:gd name="T31" fmla="*/ 11 h 39"/>
                <a:gd name="T32" fmla="*/ 0 w 38"/>
                <a:gd name="T33" fmla="*/ 11 h 39"/>
                <a:gd name="T34" fmla="*/ 0 w 38"/>
                <a:gd name="T35" fmla="*/ 11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39"/>
                <a:gd name="T56" fmla="*/ 38 w 38"/>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39">
                  <a:moveTo>
                    <a:pt x="0" y="11"/>
                  </a:moveTo>
                  <a:lnTo>
                    <a:pt x="5" y="17"/>
                  </a:lnTo>
                  <a:lnTo>
                    <a:pt x="0" y="17"/>
                  </a:lnTo>
                  <a:lnTo>
                    <a:pt x="5" y="28"/>
                  </a:lnTo>
                  <a:lnTo>
                    <a:pt x="16" y="33"/>
                  </a:lnTo>
                  <a:lnTo>
                    <a:pt x="27" y="39"/>
                  </a:lnTo>
                  <a:lnTo>
                    <a:pt x="38" y="28"/>
                  </a:lnTo>
                  <a:lnTo>
                    <a:pt x="38" y="22"/>
                  </a:lnTo>
                  <a:lnTo>
                    <a:pt x="38" y="17"/>
                  </a:lnTo>
                  <a:lnTo>
                    <a:pt x="32" y="17"/>
                  </a:lnTo>
                  <a:lnTo>
                    <a:pt x="38" y="11"/>
                  </a:lnTo>
                  <a:lnTo>
                    <a:pt x="27" y="0"/>
                  </a:lnTo>
                  <a:lnTo>
                    <a:pt x="11" y="0"/>
                  </a:lnTo>
                  <a:lnTo>
                    <a:pt x="5" y="11"/>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39" name="Freeform 461"/>
            <p:cNvSpPr>
              <a:spLocks/>
            </p:cNvSpPr>
            <p:nvPr/>
          </p:nvSpPr>
          <p:spPr bwMode="auto">
            <a:xfrm>
              <a:off x="2513" y="2893"/>
              <a:ext cx="6" cy="5"/>
            </a:xfrm>
            <a:custGeom>
              <a:avLst/>
              <a:gdLst>
                <a:gd name="T0" fmla="*/ 6 w 6"/>
                <a:gd name="T1" fmla="*/ 0 h 5"/>
                <a:gd name="T2" fmla="*/ 0 w 6"/>
                <a:gd name="T3" fmla="*/ 0 h 5"/>
                <a:gd name="T4" fmla="*/ 6 w 6"/>
                <a:gd name="T5" fmla="*/ 5 h 5"/>
                <a:gd name="T6" fmla="*/ 6 w 6"/>
                <a:gd name="T7" fmla="*/ 0 h 5"/>
                <a:gd name="T8" fmla="*/ 6 w 6"/>
                <a:gd name="T9" fmla="*/ 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6" y="0"/>
                  </a:moveTo>
                  <a:lnTo>
                    <a:pt x="0" y="0"/>
                  </a:lnTo>
                  <a:lnTo>
                    <a:pt x="6"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0" name="Freeform 462"/>
            <p:cNvSpPr>
              <a:spLocks/>
            </p:cNvSpPr>
            <p:nvPr/>
          </p:nvSpPr>
          <p:spPr bwMode="auto">
            <a:xfrm>
              <a:off x="3210" y="2838"/>
              <a:ext cx="130" cy="175"/>
            </a:xfrm>
            <a:custGeom>
              <a:avLst/>
              <a:gdLst>
                <a:gd name="T0" fmla="*/ 27 w 130"/>
                <a:gd name="T1" fmla="*/ 6 h 175"/>
                <a:gd name="T2" fmla="*/ 22 w 130"/>
                <a:gd name="T3" fmla="*/ 11 h 175"/>
                <a:gd name="T4" fmla="*/ 22 w 130"/>
                <a:gd name="T5" fmla="*/ 22 h 175"/>
                <a:gd name="T6" fmla="*/ 38 w 130"/>
                <a:gd name="T7" fmla="*/ 38 h 175"/>
                <a:gd name="T8" fmla="*/ 76 w 130"/>
                <a:gd name="T9" fmla="*/ 49 h 175"/>
                <a:gd name="T10" fmla="*/ 87 w 130"/>
                <a:gd name="T11" fmla="*/ 49 h 175"/>
                <a:gd name="T12" fmla="*/ 87 w 130"/>
                <a:gd name="T13" fmla="*/ 55 h 175"/>
                <a:gd name="T14" fmla="*/ 49 w 130"/>
                <a:gd name="T15" fmla="*/ 87 h 175"/>
                <a:gd name="T16" fmla="*/ 38 w 130"/>
                <a:gd name="T17" fmla="*/ 87 h 175"/>
                <a:gd name="T18" fmla="*/ 11 w 130"/>
                <a:gd name="T19" fmla="*/ 104 h 175"/>
                <a:gd name="T20" fmla="*/ 0 w 130"/>
                <a:gd name="T21" fmla="*/ 120 h 175"/>
                <a:gd name="T22" fmla="*/ 0 w 130"/>
                <a:gd name="T23" fmla="*/ 164 h 175"/>
                <a:gd name="T24" fmla="*/ 5 w 130"/>
                <a:gd name="T25" fmla="*/ 175 h 175"/>
                <a:gd name="T26" fmla="*/ 16 w 130"/>
                <a:gd name="T27" fmla="*/ 158 h 175"/>
                <a:gd name="T28" fmla="*/ 16 w 130"/>
                <a:gd name="T29" fmla="*/ 158 h 175"/>
                <a:gd name="T30" fmla="*/ 22 w 130"/>
                <a:gd name="T31" fmla="*/ 153 h 175"/>
                <a:gd name="T32" fmla="*/ 49 w 130"/>
                <a:gd name="T33" fmla="*/ 131 h 175"/>
                <a:gd name="T34" fmla="*/ 60 w 130"/>
                <a:gd name="T35" fmla="*/ 126 h 175"/>
                <a:gd name="T36" fmla="*/ 81 w 130"/>
                <a:gd name="T37" fmla="*/ 104 h 175"/>
                <a:gd name="T38" fmla="*/ 92 w 130"/>
                <a:gd name="T39" fmla="*/ 87 h 175"/>
                <a:gd name="T40" fmla="*/ 98 w 130"/>
                <a:gd name="T41" fmla="*/ 82 h 175"/>
                <a:gd name="T42" fmla="*/ 114 w 130"/>
                <a:gd name="T43" fmla="*/ 49 h 175"/>
                <a:gd name="T44" fmla="*/ 114 w 130"/>
                <a:gd name="T45" fmla="*/ 49 h 175"/>
                <a:gd name="T46" fmla="*/ 125 w 130"/>
                <a:gd name="T47" fmla="*/ 38 h 175"/>
                <a:gd name="T48" fmla="*/ 125 w 130"/>
                <a:gd name="T49" fmla="*/ 22 h 175"/>
                <a:gd name="T50" fmla="*/ 130 w 130"/>
                <a:gd name="T51" fmla="*/ 22 h 175"/>
                <a:gd name="T52" fmla="*/ 125 w 130"/>
                <a:gd name="T53" fmla="*/ 22 h 175"/>
                <a:gd name="T54" fmla="*/ 130 w 130"/>
                <a:gd name="T55" fmla="*/ 17 h 175"/>
                <a:gd name="T56" fmla="*/ 130 w 130"/>
                <a:gd name="T57" fmla="*/ 6 h 175"/>
                <a:gd name="T58" fmla="*/ 130 w 130"/>
                <a:gd name="T59" fmla="*/ 0 h 175"/>
                <a:gd name="T60" fmla="*/ 125 w 130"/>
                <a:gd name="T61" fmla="*/ 0 h 175"/>
                <a:gd name="T62" fmla="*/ 114 w 130"/>
                <a:gd name="T63" fmla="*/ 6 h 175"/>
                <a:gd name="T64" fmla="*/ 103 w 130"/>
                <a:gd name="T65" fmla="*/ 6 h 175"/>
                <a:gd name="T66" fmla="*/ 81 w 130"/>
                <a:gd name="T67" fmla="*/ 11 h 175"/>
                <a:gd name="T68" fmla="*/ 71 w 130"/>
                <a:gd name="T69" fmla="*/ 17 h 175"/>
                <a:gd name="T70" fmla="*/ 60 w 130"/>
                <a:gd name="T71" fmla="*/ 11 h 175"/>
                <a:gd name="T72" fmla="*/ 49 w 130"/>
                <a:gd name="T73" fmla="*/ 22 h 175"/>
                <a:gd name="T74" fmla="*/ 43 w 130"/>
                <a:gd name="T75" fmla="*/ 22 h 175"/>
                <a:gd name="T76" fmla="*/ 27 w 130"/>
                <a:gd name="T77" fmla="*/ 6 h 175"/>
                <a:gd name="T78" fmla="*/ 27 w 130"/>
                <a:gd name="T79" fmla="*/ 6 h 17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75"/>
                <a:gd name="T122" fmla="*/ 130 w 130"/>
                <a:gd name="T123" fmla="*/ 175 h 17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75">
                  <a:moveTo>
                    <a:pt x="27" y="6"/>
                  </a:moveTo>
                  <a:lnTo>
                    <a:pt x="22" y="11"/>
                  </a:lnTo>
                  <a:lnTo>
                    <a:pt x="22" y="22"/>
                  </a:lnTo>
                  <a:lnTo>
                    <a:pt x="38" y="38"/>
                  </a:lnTo>
                  <a:lnTo>
                    <a:pt x="76" y="49"/>
                  </a:lnTo>
                  <a:lnTo>
                    <a:pt x="87" y="49"/>
                  </a:lnTo>
                  <a:lnTo>
                    <a:pt x="87" y="55"/>
                  </a:lnTo>
                  <a:lnTo>
                    <a:pt x="49" y="87"/>
                  </a:lnTo>
                  <a:lnTo>
                    <a:pt x="38" y="87"/>
                  </a:lnTo>
                  <a:lnTo>
                    <a:pt x="11" y="104"/>
                  </a:lnTo>
                  <a:lnTo>
                    <a:pt x="0" y="120"/>
                  </a:lnTo>
                  <a:lnTo>
                    <a:pt x="0" y="164"/>
                  </a:lnTo>
                  <a:lnTo>
                    <a:pt x="5" y="175"/>
                  </a:lnTo>
                  <a:lnTo>
                    <a:pt x="16" y="158"/>
                  </a:lnTo>
                  <a:lnTo>
                    <a:pt x="22" y="153"/>
                  </a:lnTo>
                  <a:lnTo>
                    <a:pt x="49" y="131"/>
                  </a:lnTo>
                  <a:lnTo>
                    <a:pt x="60" y="126"/>
                  </a:lnTo>
                  <a:lnTo>
                    <a:pt x="81" y="104"/>
                  </a:lnTo>
                  <a:lnTo>
                    <a:pt x="92" y="87"/>
                  </a:lnTo>
                  <a:lnTo>
                    <a:pt x="98" y="82"/>
                  </a:lnTo>
                  <a:lnTo>
                    <a:pt x="114" y="49"/>
                  </a:lnTo>
                  <a:lnTo>
                    <a:pt x="125" y="38"/>
                  </a:lnTo>
                  <a:lnTo>
                    <a:pt x="125" y="22"/>
                  </a:lnTo>
                  <a:lnTo>
                    <a:pt x="130" y="22"/>
                  </a:lnTo>
                  <a:lnTo>
                    <a:pt x="125" y="22"/>
                  </a:lnTo>
                  <a:lnTo>
                    <a:pt x="130" y="17"/>
                  </a:lnTo>
                  <a:lnTo>
                    <a:pt x="130" y="6"/>
                  </a:lnTo>
                  <a:lnTo>
                    <a:pt x="130" y="0"/>
                  </a:lnTo>
                  <a:lnTo>
                    <a:pt x="125" y="0"/>
                  </a:lnTo>
                  <a:lnTo>
                    <a:pt x="114" y="6"/>
                  </a:lnTo>
                  <a:lnTo>
                    <a:pt x="103" y="6"/>
                  </a:lnTo>
                  <a:lnTo>
                    <a:pt x="81" y="11"/>
                  </a:lnTo>
                  <a:lnTo>
                    <a:pt x="71" y="17"/>
                  </a:lnTo>
                  <a:lnTo>
                    <a:pt x="60" y="11"/>
                  </a:lnTo>
                  <a:lnTo>
                    <a:pt x="49" y="22"/>
                  </a:lnTo>
                  <a:lnTo>
                    <a:pt x="43" y="22"/>
                  </a:lnTo>
                  <a:lnTo>
                    <a:pt x="27"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1" name="Freeform 463"/>
            <p:cNvSpPr>
              <a:spLocks/>
            </p:cNvSpPr>
            <p:nvPr/>
          </p:nvSpPr>
          <p:spPr bwMode="auto">
            <a:xfrm>
              <a:off x="2894" y="3280"/>
              <a:ext cx="207" cy="186"/>
            </a:xfrm>
            <a:custGeom>
              <a:avLst/>
              <a:gdLst>
                <a:gd name="T0" fmla="*/ 207 w 207"/>
                <a:gd name="T1" fmla="*/ 66 h 186"/>
                <a:gd name="T2" fmla="*/ 202 w 207"/>
                <a:gd name="T3" fmla="*/ 66 h 186"/>
                <a:gd name="T4" fmla="*/ 196 w 207"/>
                <a:gd name="T5" fmla="*/ 77 h 186"/>
                <a:gd name="T6" fmla="*/ 191 w 207"/>
                <a:gd name="T7" fmla="*/ 77 h 186"/>
                <a:gd name="T8" fmla="*/ 185 w 207"/>
                <a:gd name="T9" fmla="*/ 71 h 186"/>
                <a:gd name="T10" fmla="*/ 185 w 207"/>
                <a:gd name="T11" fmla="*/ 66 h 186"/>
                <a:gd name="T12" fmla="*/ 191 w 207"/>
                <a:gd name="T13" fmla="*/ 55 h 186"/>
                <a:gd name="T14" fmla="*/ 191 w 207"/>
                <a:gd name="T15" fmla="*/ 55 h 186"/>
                <a:gd name="T16" fmla="*/ 196 w 207"/>
                <a:gd name="T17" fmla="*/ 55 h 186"/>
                <a:gd name="T18" fmla="*/ 196 w 207"/>
                <a:gd name="T19" fmla="*/ 55 h 186"/>
                <a:gd name="T20" fmla="*/ 196 w 207"/>
                <a:gd name="T21" fmla="*/ 33 h 186"/>
                <a:gd name="T22" fmla="*/ 191 w 207"/>
                <a:gd name="T23" fmla="*/ 11 h 186"/>
                <a:gd name="T24" fmla="*/ 185 w 207"/>
                <a:gd name="T25" fmla="*/ 6 h 186"/>
                <a:gd name="T26" fmla="*/ 163 w 207"/>
                <a:gd name="T27" fmla="*/ 0 h 186"/>
                <a:gd name="T28" fmla="*/ 142 w 207"/>
                <a:gd name="T29" fmla="*/ 17 h 186"/>
                <a:gd name="T30" fmla="*/ 120 w 207"/>
                <a:gd name="T31" fmla="*/ 38 h 186"/>
                <a:gd name="T32" fmla="*/ 114 w 207"/>
                <a:gd name="T33" fmla="*/ 49 h 186"/>
                <a:gd name="T34" fmla="*/ 104 w 207"/>
                <a:gd name="T35" fmla="*/ 55 h 186"/>
                <a:gd name="T36" fmla="*/ 93 w 207"/>
                <a:gd name="T37" fmla="*/ 49 h 186"/>
                <a:gd name="T38" fmla="*/ 87 w 207"/>
                <a:gd name="T39" fmla="*/ 49 h 186"/>
                <a:gd name="T40" fmla="*/ 71 w 207"/>
                <a:gd name="T41" fmla="*/ 66 h 186"/>
                <a:gd name="T42" fmla="*/ 65 w 207"/>
                <a:gd name="T43" fmla="*/ 71 h 186"/>
                <a:gd name="T44" fmla="*/ 55 w 207"/>
                <a:gd name="T45" fmla="*/ 66 h 186"/>
                <a:gd name="T46" fmla="*/ 55 w 207"/>
                <a:gd name="T47" fmla="*/ 55 h 186"/>
                <a:gd name="T48" fmla="*/ 44 w 207"/>
                <a:gd name="T49" fmla="*/ 38 h 186"/>
                <a:gd name="T50" fmla="*/ 44 w 207"/>
                <a:gd name="T51" fmla="*/ 93 h 186"/>
                <a:gd name="T52" fmla="*/ 33 w 207"/>
                <a:gd name="T53" fmla="*/ 98 h 186"/>
                <a:gd name="T54" fmla="*/ 16 w 207"/>
                <a:gd name="T55" fmla="*/ 98 h 186"/>
                <a:gd name="T56" fmla="*/ 11 w 207"/>
                <a:gd name="T57" fmla="*/ 93 h 186"/>
                <a:gd name="T58" fmla="*/ 6 w 207"/>
                <a:gd name="T59" fmla="*/ 93 h 186"/>
                <a:gd name="T60" fmla="*/ 0 w 207"/>
                <a:gd name="T61" fmla="*/ 93 h 186"/>
                <a:gd name="T62" fmla="*/ 11 w 207"/>
                <a:gd name="T63" fmla="*/ 126 h 186"/>
                <a:gd name="T64" fmla="*/ 22 w 207"/>
                <a:gd name="T65" fmla="*/ 142 h 186"/>
                <a:gd name="T66" fmla="*/ 22 w 207"/>
                <a:gd name="T67" fmla="*/ 153 h 186"/>
                <a:gd name="T68" fmla="*/ 22 w 207"/>
                <a:gd name="T69" fmla="*/ 158 h 186"/>
                <a:gd name="T70" fmla="*/ 16 w 207"/>
                <a:gd name="T71" fmla="*/ 158 h 186"/>
                <a:gd name="T72" fmla="*/ 16 w 207"/>
                <a:gd name="T73" fmla="*/ 158 h 186"/>
                <a:gd name="T74" fmla="*/ 22 w 207"/>
                <a:gd name="T75" fmla="*/ 175 h 186"/>
                <a:gd name="T76" fmla="*/ 22 w 207"/>
                <a:gd name="T77" fmla="*/ 180 h 186"/>
                <a:gd name="T78" fmla="*/ 27 w 207"/>
                <a:gd name="T79" fmla="*/ 180 h 186"/>
                <a:gd name="T80" fmla="*/ 27 w 207"/>
                <a:gd name="T81" fmla="*/ 180 h 186"/>
                <a:gd name="T82" fmla="*/ 44 w 207"/>
                <a:gd name="T83" fmla="*/ 186 h 186"/>
                <a:gd name="T84" fmla="*/ 49 w 207"/>
                <a:gd name="T85" fmla="*/ 186 h 186"/>
                <a:gd name="T86" fmla="*/ 65 w 207"/>
                <a:gd name="T87" fmla="*/ 180 h 186"/>
                <a:gd name="T88" fmla="*/ 76 w 207"/>
                <a:gd name="T89" fmla="*/ 175 h 186"/>
                <a:gd name="T90" fmla="*/ 104 w 207"/>
                <a:gd name="T91" fmla="*/ 180 h 186"/>
                <a:gd name="T92" fmla="*/ 109 w 207"/>
                <a:gd name="T93" fmla="*/ 175 h 186"/>
                <a:gd name="T94" fmla="*/ 120 w 207"/>
                <a:gd name="T95" fmla="*/ 180 h 186"/>
                <a:gd name="T96" fmla="*/ 120 w 207"/>
                <a:gd name="T97" fmla="*/ 175 h 186"/>
                <a:gd name="T98" fmla="*/ 136 w 207"/>
                <a:gd name="T99" fmla="*/ 169 h 186"/>
                <a:gd name="T100" fmla="*/ 153 w 207"/>
                <a:gd name="T101" fmla="*/ 153 h 186"/>
                <a:gd name="T102" fmla="*/ 174 w 207"/>
                <a:gd name="T103" fmla="*/ 131 h 186"/>
                <a:gd name="T104" fmla="*/ 191 w 207"/>
                <a:gd name="T105" fmla="*/ 104 h 186"/>
                <a:gd name="T106" fmla="*/ 202 w 207"/>
                <a:gd name="T107" fmla="*/ 93 h 186"/>
                <a:gd name="T108" fmla="*/ 207 w 207"/>
                <a:gd name="T109" fmla="*/ 66 h 186"/>
                <a:gd name="T110" fmla="*/ 207 w 207"/>
                <a:gd name="T111" fmla="*/ 66 h 18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07"/>
                <a:gd name="T169" fmla="*/ 0 h 186"/>
                <a:gd name="T170" fmla="*/ 207 w 207"/>
                <a:gd name="T171" fmla="*/ 186 h 18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07" h="186">
                  <a:moveTo>
                    <a:pt x="207" y="66"/>
                  </a:moveTo>
                  <a:lnTo>
                    <a:pt x="202" y="66"/>
                  </a:lnTo>
                  <a:lnTo>
                    <a:pt x="196" y="77"/>
                  </a:lnTo>
                  <a:lnTo>
                    <a:pt x="191" y="77"/>
                  </a:lnTo>
                  <a:lnTo>
                    <a:pt x="185" y="71"/>
                  </a:lnTo>
                  <a:lnTo>
                    <a:pt x="185" y="66"/>
                  </a:lnTo>
                  <a:lnTo>
                    <a:pt x="191" y="55"/>
                  </a:lnTo>
                  <a:lnTo>
                    <a:pt x="196" y="55"/>
                  </a:lnTo>
                  <a:lnTo>
                    <a:pt x="196" y="33"/>
                  </a:lnTo>
                  <a:lnTo>
                    <a:pt x="191" y="11"/>
                  </a:lnTo>
                  <a:lnTo>
                    <a:pt x="185" y="6"/>
                  </a:lnTo>
                  <a:lnTo>
                    <a:pt x="163" y="0"/>
                  </a:lnTo>
                  <a:lnTo>
                    <a:pt x="142" y="17"/>
                  </a:lnTo>
                  <a:lnTo>
                    <a:pt x="120" y="38"/>
                  </a:lnTo>
                  <a:lnTo>
                    <a:pt x="114" y="49"/>
                  </a:lnTo>
                  <a:lnTo>
                    <a:pt x="104" y="55"/>
                  </a:lnTo>
                  <a:lnTo>
                    <a:pt x="93" y="49"/>
                  </a:lnTo>
                  <a:lnTo>
                    <a:pt x="87" y="49"/>
                  </a:lnTo>
                  <a:lnTo>
                    <a:pt x="71" y="66"/>
                  </a:lnTo>
                  <a:lnTo>
                    <a:pt x="65" y="71"/>
                  </a:lnTo>
                  <a:lnTo>
                    <a:pt x="55" y="66"/>
                  </a:lnTo>
                  <a:lnTo>
                    <a:pt x="55" y="55"/>
                  </a:lnTo>
                  <a:lnTo>
                    <a:pt x="44" y="38"/>
                  </a:lnTo>
                  <a:lnTo>
                    <a:pt x="44" y="93"/>
                  </a:lnTo>
                  <a:lnTo>
                    <a:pt x="33" y="98"/>
                  </a:lnTo>
                  <a:lnTo>
                    <a:pt x="16" y="98"/>
                  </a:lnTo>
                  <a:lnTo>
                    <a:pt x="11" y="93"/>
                  </a:lnTo>
                  <a:lnTo>
                    <a:pt x="6" y="93"/>
                  </a:lnTo>
                  <a:lnTo>
                    <a:pt x="0" y="93"/>
                  </a:lnTo>
                  <a:lnTo>
                    <a:pt x="11" y="126"/>
                  </a:lnTo>
                  <a:lnTo>
                    <a:pt x="22" y="142"/>
                  </a:lnTo>
                  <a:lnTo>
                    <a:pt x="22" y="153"/>
                  </a:lnTo>
                  <a:lnTo>
                    <a:pt x="22" y="158"/>
                  </a:lnTo>
                  <a:lnTo>
                    <a:pt x="16" y="158"/>
                  </a:lnTo>
                  <a:lnTo>
                    <a:pt x="22" y="175"/>
                  </a:lnTo>
                  <a:lnTo>
                    <a:pt x="22" y="180"/>
                  </a:lnTo>
                  <a:lnTo>
                    <a:pt x="27" y="180"/>
                  </a:lnTo>
                  <a:lnTo>
                    <a:pt x="44" y="186"/>
                  </a:lnTo>
                  <a:lnTo>
                    <a:pt x="49" y="186"/>
                  </a:lnTo>
                  <a:lnTo>
                    <a:pt x="65" y="180"/>
                  </a:lnTo>
                  <a:lnTo>
                    <a:pt x="76" y="175"/>
                  </a:lnTo>
                  <a:lnTo>
                    <a:pt x="104" y="180"/>
                  </a:lnTo>
                  <a:lnTo>
                    <a:pt x="109" y="175"/>
                  </a:lnTo>
                  <a:lnTo>
                    <a:pt x="120" y="180"/>
                  </a:lnTo>
                  <a:lnTo>
                    <a:pt x="120" y="175"/>
                  </a:lnTo>
                  <a:lnTo>
                    <a:pt x="136" y="169"/>
                  </a:lnTo>
                  <a:lnTo>
                    <a:pt x="153" y="153"/>
                  </a:lnTo>
                  <a:lnTo>
                    <a:pt x="174" y="131"/>
                  </a:lnTo>
                  <a:lnTo>
                    <a:pt x="191" y="104"/>
                  </a:lnTo>
                  <a:lnTo>
                    <a:pt x="202" y="93"/>
                  </a:lnTo>
                  <a:lnTo>
                    <a:pt x="207" y="6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2" name="Freeform 464"/>
            <p:cNvSpPr>
              <a:spLocks/>
            </p:cNvSpPr>
            <p:nvPr/>
          </p:nvSpPr>
          <p:spPr bwMode="auto">
            <a:xfrm>
              <a:off x="3030" y="3373"/>
              <a:ext cx="27" cy="33"/>
            </a:xfrm>
            <a:custGeom>
              <a:avLst/>
              <a:gdLst>
                <a:gd name="T0" fmla="*/ 27 w 27"/>
                <a:gd name="T1" fmla="*/ 11 h 33"/>
                <a:gd name="T2" fmla="*/ 22 w 27"/>
                <a:gd name="T3" fmla="*/ 22 h 33"/>
                <a:gd name="T4" fmla="*/ 11 w 27"/>
                <a:gd name="T5" fmla="*/ 33 h 33"/>
                <a:gd name="T6" fmla="*/ 6 w 27"/>
                <a:gd name="T7" fmla="*/ 27 h 33"/>
                <a:gd name="T8" fmla="*/ 0 w 27"/>
                <a:gd name="T9" fmla="*/ 16 h 33"/>
                <a:gd name="T10" fmla="*/ 6 w 27"/>
                <a:gd name="T11" fmla="*/ 5 h 33"/>
                <a:gd name="T12" fmla="*/ 17 w 27"/>
                <a:gd name="T13" fmla="*/ 0 h 33"/>
                <a:gd name="T14" fmla="*/ 22 w 27"/>
                <a:gd name="T15" fmla="*/ 0 h 33"/>
                <a:gd name="T16" fmla="*/ 27 w 27"/>
                <a:gd name="T17" fmla="*/ 11 h 33"/>
                <a:gd name="T18" fmla="*/ 27 w 27"/>
                <a:gd name="T19" fmla="*/ 11 h 3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33"/>
                <a:gd name="T32" fmla="*/ 27 w 27"/>
                <a:gd name="T33" fmla="*/ 33 h 3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33">
                  <a:moveTo>
                    <a:pt x="27" y="11"/>
                  </a:moveTo>
                  <a:lnTo>
                    <a:pt x="22" y="22"/>
                  </a:lnTo>
                  <a:lnTo>
                    <a:pt x="11" y="33"/>
                  </a:lnTo>
                  <a:lnTo>
                    <a:pt x="6" y="27"/>
                  </a:lnTo>
                  <a:lnTo>
                    <a:pt x="0" y="16"/>
                  </a:lnTo>
                  <a:lnTo>
                    <a:pt x="6" y="5"/>
                  </a:lnTo>
                  <a:lnTo>
                    <a:pt x="17" y="0"/>
                  </a:lnTo>
                  <a:lnTo>
                    <a:pt x="22" y="0"/>
                  </a:lnTo>
                  <a:lnTo>
                    <a:pt x="27"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3" name="Freeform 465"/>
            <p:cNvSpPr>
              <a:spLocks/>
            </p:cNvSpPr>
            <p:nvPr/>
          </p:nvSpPr>
          <p:spPr bwMode="auto">
            <a:xfrm>
              <a:off x="3003" y="3193"/>
              <a:ext cx="103" cy="98"/>
            </a:xfrm>
            <a:custGeom>
              <a:avLst/>
              <a:gdLst>
                <a:gd name="T0" fmla="*/ 54 w 103"/>
                <a:gd name="T1" fmla="*/ 87 h 98"/>
                <a:gd name="T2" fmla="*/ 76 w 103"/>
                <a:gd name="T3" fmla="*/ 93 h 98"/>
                <a:gd name="T4" fmla="*/ 82 w 103"/>
                <a:gd name="T5" fmla="*/ 98 h 98"/>
                <a:gd name="T6" fmla="*/ 87 w 103"/>
                <a:gd name="T7" fmla="*/ 93 h 98"/>
                <a:gd name="T8" fmla="*/ 93 w 103"/>
                <a:gd name="T9" fmla="*/ 82 h 98"/>
                <a:gd name="T10" fmla="*/ 98 w 103"/>
                <a:gd name="T11" fmla="*/ 60 h 98"/>
                <a:gd name="T12" fmla="*/ 98 w 103"/>
                <a:gd name="T13" fmla="*/ 49 h 98"/>
                <a:gd name="T14" fmla="*/ 103 w 103"/>
                <a:gd name="T15" fmla="*/ 38 h 98"/>
                <a:gd name="T16" fmla="*/ 103 w 103"/>
                <a:gd name="T17" fmla="*/ 27 h 98"/>
                <a:gd name="T18" fmla="*/ 98 w 103"/>
                <a:gd name="T19" fmla="*/ 11 h 98"/>
                <a:gd name="T20" fmla="*/ 82 w 103"/>
                <a:gd name="T21" fmla="*/ 5 h 98"/>
                <a:gd name="T22" fmla="*/ 65 w 103"/>
                <a:gd name="T23" fmla="*/ 5 h 98"/>
                <a:gd name="T24" fmla="*/ 65 w 103"/>
                <a:gd name="T25" fmla="*/ 0 h 98"/>
                <a:gd name="T26" fmla="*/ 60 w 103"/>
                <a:gd name="T27" fmla="*/ 0 h 98"/>
                <a:gd name="T28" fmla="*/ 49 w 103"/>
                <a:gd name="T29" fmla="*/ 5 h 98"/>
                <a:gd name="T30" fmla="*/ 44 w 103"/>
                <a:gd name="T31" fmla="*/ 16 h 98"/>
                <a:gd name="T32" fmla="*/ 33 w 103"/>
                <a:gd name="T33" fmla="*/ 22 h 98"/>
                <a:gd name="T34" fmla="*/ 22 w 103"/>
                <a:gd name="T35" fmla="*/ 33 h 98"/>
                <a:gd name="T36" fmla="*/ 0 w 103"/>
                <a:gd name="T37" fmla="*/ 33 h 98"/>
                <a:gd name="T38" fmla="*/ 11 w 103"/>
                <a:gd name="T39" fmla="*/ 49 h 98"/>
                <a:gd name="T40" fmla="*/ 33 w 103"/>
                <a:gd name="T41" fmla="*/ 71 h 98"/>
                <a:gd name="T42" fmla="*/ 38 w 103"/>
                <a:gd name="T43" fmla="*/ 82 h 98"/>
                <a:gd name="T44" fmla="*/ 54 w 103"/>
                <a:gd name="T45" fmla="*/ 87 h 98"/>
                <a:gd name="T46" fmla="*/ 54 w 103"/>
                <a:gd name="T47" fmla="*/ 87 h 9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3"/>
                <a:gd name="T73" fmla="*/ 0 h 98"/>
                <a:gd name="T74" fmla="*/ 103 w 103"/>
                <a:gd name="T75" fmla="*/ 98 h 9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3" h="98">
                  <a:moveTo>
                    <a:pt x="54" y="87"/>
                  </a:moveTo>
                  <a:lnTo>
                    <a:pt x="76" y="93"/>
                  </a:lnTo>
                  <a:lnTo>
                    <a:pt x="82" y="98"/>
                  </a:lnTo>
                  <a:lnTo>
                    <a:pt x="87" y="93"/>
                  </a:lnTo>
                  <a:lnTo>
                    <a:pt x="93" y="82"/>
                  </a:lnTo>
                  <a:lnTo>
                    <a:pt x="98" y="60"/>
                  </a:lnTo>
                  <a:lnTo>
                    <a:pt x="98" y="49"/>
                  </a:lnTo>
                  <a:lnTo>
                    <a:pt x="103" y="38"/>
                  </a:lnTo>
                  <a:lnTo>
                    <a:pt x="103" y="27"/>
                  </a:lnTo>
                  <a:lnTo>
                    <a:pt x="98" y="11"/>
                  </a:lnTo>
                  <a:lnTo>
                    <a:pt x="82" y="5"/>
                  </a:lnTo>
                  <a:lnTo>
                    <a:pt x="65" y="5"/>
                  </a:lnTo>
                  <a:lnTo>
                    <a:pt x="65" y="0"/>
                  </a:lnTo>
                  <a:lnTo>
                    <a:pt x="60" y="0"/>
                  </a:lnTo>
                  <a:lnTo>
                    <a:pt x="49" y="5"/>
                  </a:lnTo>
                  <a:lnTo>
                    <a:pt x="44" y="16"/>
                  </a:lnTo>
                  <a:lnTo>
                    <a:pt x="33" y="22"/>
                  </a:lnTo>
                  <a:lnTo>
                    <a:pt x="22" y="33"/>
                  </a:lnTo>
                  <a:lnTo>
                    <a:pt x="0" y="33"/>
                  </a:lnTo>
                  <a:lnTo>
                    <a:pt x="11" y="49"/>
                  </a:lnTo>
                  <a:lnTo>
                    <a:pt x="33" y="71"/>
                  </a:lnTo>
                  <a:lnTo>
                    <a:pt x="38" y="82"/>
                  </a:lnTo>
                  <a:lnTo>
                    <a:pt x="54" y="8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4" name="Freeform 466"/>
            <p:cNvSpPr>
              <a:spLocks/>
            </p:cNvSpPr>
            <p:nvPr/>
          </p:nvSpPr>
          <p:spPr bwMode="auto">
            <a:xfrm>
              <a:off x="2829" y="3209"/>
              <a:ext cx="174" cy="169"/>
            </a:xfrm>
            <a:custGeom>
              <a:avLst/>
              <a:gdLst>
                <a:gd name="T0" fmla="*/ 65 w 174"/>
                <a:gd name="T1" fmla="*/ 164 h 169"/>
                <a:gd name="T2" fmla="*/ 54 w 174"/>
                <a:gd name="T3" fmla="*/ 158 h 169"/>
                <a:gd name="T4" fmla="*/ 49 w 174"/>
                <a:gd name="T5" fmla="*/ 148 h 169"/>
                <a:gd name="T6" fmla="*/ 43 w 174"/>
                <a:gd name="T7" fmla="*/ 126 h 169"/>
                <a:gd name="T8" fmla="*/ 38 w 174"/>
                <a:gd name="T9" fmla="*/ 115 h 169"/>
                <a:gd name="T10" fmla="*/ 38 w 174"/>
                <a:gd name="T11" fmla="*/ 104 h 169"/>
                <a:gd name="T12" fmla="*/ 38 w 174"/>
                <a:gd name="T13" fmla="*/ 82 h 169"/>
                <a:gd name="T14" fmla="*/ 16 w 174"/>
                <a:gd name="T15" fmla="*/ 38 h 169"/>
                <a:gd name="T16" fmla="*/ 0 w 174"/>
                <a:gd name="T17" fmla="*/ 17 h 169"/>
                <a:gd name="T18" fmla="*/ 0 w 174"/>
                <a:gd name="T19" fmla="*/ 11 h 169"/>
                <a:gd name="T20" fmla="*/ 5 w 174"/>
                <a:gd name="T21" fmla="*/ 6 h 169"/>
                <a:gd name="T22" fmla="*/ 5 w 174"/>
                <a:gd name="T23" fmla="*/ 6 h 169"/>
                <a:gd name="T24" fmla="*/ 16 w 174"/>
                <a:gd name="T25" fmla="*/ 0 h 169"/>
                <a:gd name="T26" fmla="*/ 22 w 174"/>
                <a:gd name="T27" fmla="*/ 0 h 169"/>
                <a:gd name="T28" fmla="*/ 27 w 174"/>
                <a:gd name="T29" fmla="*/ 11 h 169"/>
                <a:gd name="T30" fmla="*/ 87 w 174"/>
                <a:gd name="T31" fmla="*/ 6 h 169"/>
                <a:gd name="T32" fmla="*/ 98 w 174"/>
                <a:gd name="T33" fmla="*/ 17 h 169"/>
                <a:gd name="T34" fmla="*/ 109 w 174"/>
                <a:gd name="T35" fmla="*/ 17 h 169"/>
                <a:gd name="T36" fmla="*/ 125 w 174"/>
                <a:gd name="T37" fmla="*/ 17 h 169"/>
                <a:gd name="T38" fmla="*/ 152 w 174"/>
                <a:gd name="T39" fmla="*/ 11 h 169"/>
                <a:gd name="T40" fmla="*/ 163 w 174"/>
                <a:gd name="T41" fmla="*/ 11 h 169"/>
                <a:gd name="T42" fmla="*/ 169 w 174"/>
                <a:gd name="T43" fmla="*/ 11 h 169"/>
                <a:gd name="T44" fmla="*/ 174 w 174"/>
                <a:gd name="T45" fmla="*/ 17 h 169"/>
                <a:gd name="T46" fmla="*/ 169 w 174"/>
                <a:gd name="T47" fmla="*/ 17 h 169"/>
                <a:gd name="T48" fmla="*/ 163 w 174"/>
                <a:gd name="T49" fmla="*/ 17 h 169"/>
                <a:gd name="T50" fmla="*/ 152 w 174"/>
                <a:gd name="T51" fmla="*/ 28 h 169"/>
                <a:gd name="T52" fmla="*/ 152 w 174"/>
                <a:gd name="T53" fmla="*/ 17 h 169"/>
                <a:gd name="T54" fmla="*/ 147 w 174"/>
                <a:gd name="T55" fmla="*/ 17 h 169"/>
                <a:gd name="T56" fmla="*/ 120 w 174"/>
                <a:gd name="T57" fmla="*/ 22 h 169"/>
                <a:gd name="T58" fmla="*/ 120 w 174"/>
                <a:gd name="T59" fmla="*/ 71 h 169"/>
                <a:gd name="T60" fmla="*/ 109 w 174"/>
                <a:gd name="T61" fmla="*/ 71 h 169"/>
                <a:gd name="T62" fmla="*/ 109 w 174"/>
                <a:gd name="T63" fmla="*/ 109 h 169"/>
                <a:gd name="T64" fmla="*/ 109 w 174"/>
                <a:gd name="T65" fmla="*/ 164 h 169"/>
                <a:gd name="T66" fmla="*/ 98 w 174"/>
                <a:gd name="T67" fmla="*/ 169 h 169"/>
                <a:gd name="T68" fmla="*/ 81 w 174"/>
                <a:gd name="T69" fmla="*/ 169 h 169"/>
                <a:gd name="T70" fmla="*/ 76 w 174"/>
                <a:gd name="T71" fmla="*/ 164 h 169"/>
                <a:gd name="T72" fmla="*/ 71 w 174"/>
                <a:gd name="T73" fmla="*/ 164 h 169"/>
                <a:gd name="T74" fmla="*/ 65 w 174"/>
                <a:gd name="T75" fmla="*/ 164 h 169"/>
                <a:gd name="T76" fmla="*/ 65 w 174"/>
                <a:gd name="T77" fmla="*/ 164 h 16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74"/>
                <a:gd name="T118" fmla="*/ 0 h 169"/>
                <a:gd name="T119" fmla="*/ 174 w 174"/>
                <a:gd name="T120" fmla="*/ 169 h 16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74" h="169">
                  <a:moveTo>
                    <a:pt x="65" y="164"/>
                  </a:moveTo>
                  <a:lnTo>
                    <a:pt x="54" y="158"/>
                  </a:lnTo>
                  <a:lnTo>
                    <a:pt x="49" y="148"/>
                  </a:lnTo>
                  <a:lnTo>
                    <a:pt x="43" y="126"/>
                  </a:lnTo>
                  <a:lnTo>
                    <a:pt x="38" y="115"/>
                  </a:lnTo>
                  <a:lnTo>
                    <a:pt x="38" y="104"/>
                  </a:lnTo>
                  <a:lnTo>
                    <a:pt x="38" y="82"/>
                  </a:lnTo>
                  <a:lnTo>
                    <a:pt x="16" y="38"/>
                  </a:lnTo>
                  <a:lnTo>
                    <a:pt x="0" y="17"/>
                  </a:lnTo>
                  <a:lnTo>
                    <a:pt x="0" y="11"/>
                  </a:lnTo>
                  <a:lnTo>
                    <a:pt x="5" y="6"/>
                  </a:lnTo>
                  <a:lnTo>
                    <a:pt x="16" y="0"/>
                  </a:lnTo>
                  <a:lnTo>
                    <a:pt x="22" y="0"/>
                  </a:lnTo>
                  <a:lnTo>
                    <a:pt x="27" y="11"/>
                  </a:lnTo>
                  <a:lnTo>
                    <a:pt x="87" y="6"/>
                  </a:lnTo>
                  <a:lnTo>
                    <a:pt x="98" y="17"/>
                  </a:lnTo>
                  <a:lnTo>
                    <a:pt x="109" y="17"/>
                  </a:lnTo>
                  <a:lnTo>
                    <a:pt x="125" y="17"/>
                  </a:lnTo>
                  <a:lnTo>
                    <a:pt x="152" y="11"/>
                  </a:lnTo>
                  <a:lnTo>
                    <a:pt x="163" y="11"/>
                  </a:lnTo>
                  <a:lnTo>
                    <a:pt x="169" y="11"/>
                  </a:lnTo>
                  <a:lnTo>
                    <a:pt x="174" y="17"/>
                  </a:lnTo>
                  <a:lnTo>
                    <a:pt x="169" y="17"/>
                  </a:lnTo>
                  <a:lnTo>
                    <a:pt x="163" y="17"/>
                  </a:lnTo>
                  <a:lnTo>
                    <a:pt x="152" y="28"/>
                  </a:lnTo>
                  <a:lnTo>
                    <a:pt x="152" y="17"/>
                  </a:lnTo>
                  <a:lnTo>
                    <a:pt x="147" y="17"/>
                  </a:lnTo>
                  <a:lnTo>
                    <a:pt x="120" y="22"/>
                  </a:lnTo>
                  <a:lnTo>
                    <a:pt x="120" y="71"/>
                  </a:lnTo>
                  <a:lnTo>
                    <a:pt x="109" y="71"/>
                  </a:lnTo>
                  <a:lnTo>
                    <a:pt x="109" y="109"/>
                  </a:lnTo>
                  <a:lnTo>
                    <a:pt x="109" y="164"/>
                  </a:lnTo>
                  <a:lnTo>
                    <a:pt x="98" y="169"/>
                  </a:lnTo>
                  <a:lnTo>
                    <a:pt x="81" y="169"/>
                  </a:lnTo>
                  <a:lnTo>
                    <a:pt x="76" y="164"/>
                  </a:lnTo>
                  <a:lnTo>
                    <a:pt x="71" y="164"/>
                  </a:lnTo>
                  <a:lnTo>
                    <a:pt x="65" y="16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5" name="Freeform 467"/>
            <p:cNvSpPr>
              <a:spLocks/>
            </p:cNvSpPr>
            <p:nvPr/>
          </p:nvSpPr>
          <p:spPr bwMode="auto">
            <a:xfrm>
              <a:off x="2464" y="2620"/>
              <a:ext cx="109" cy="93"/>
            </a:xfrm>
            <a:custGeom>
              <a:avLst/>
              <a:gdLst>
                <a:gd name="T0" fmla="*/ 0 w 109"/>
                <a:gd name="T1" fmla="*/ 93 h 93"/>
                <a:gd name="T2" fmla="*/ 0 w 109"/>
                <a:gd name="T3" fmla="*/ 76 h 93"/>
                <a:gd name="T4" fmla="*/ 6 w 109"/>
                <a:gd name="T5" fmla="*/ 76 h 93"/>
                <a:gd name="T6" fmla="*/ 16 w 109"/>
                <a:gd name="T7" fmla="*/ 54 h 93"/>
                <a:gd name="T8" fmla="*/ 27 w 109"/>
                <a:gd name="T9" fmla="*/ 38 h 93"/>
                <a:gd name="T10" fmla="*/ 33 w 109"/>
                <a:gd name="T11" fmla="*/ 27 h 93"/>
                <a:gd name="T12" fmla="*/ 44 w 109"/>
                <a:gd name="T13" fmla="*/ 16 h 93"/>
                <a:gd name="T14" fmla="*/ 49 w 109"/>
                <a:gd name="T15" fmla="*/ 0 h 93"/>
                <a:gd name="T16" fmla="*/ 109 w 109"/>
                <a:gd name="T17" fmla="*/ 0 h 93"/>
                <a:gd name="T18" fmla="*/ 109 w 109"/>
                <a:gd name="T19" fmla="*/ 5 h 93"/>
                <a:gd name="T20" fmla="*/ 104 w 109"/>
                <a:gd name="T21" fmla="*/ 27 h 93"/>
                <a:gd name="T22" fmla="*/ 65 w 109"/>
                <a:gd name="T23" fmla="*/ 27 h 93"/>
                <a:gd name="T24" fmla="*/ 65 w 109"/>
                <a:gd name="T25" fmla="*/ 60 h 93"/>
                <a:gd name="T26" fmla="*/ 55 w 109"/>
                <a:gd name="T27" fmla="*/ 65 h 93"/>
                <a:gd name="T28" fmla="*/ 49 w 109"/>
                <a:gd name="T29" fmla="*/ 71 h 93"/>
                <a:gd name="T30" fmla="*/ 49 w 109"/>
                <a:gd name="T31" fmla="*/ 87 h 93"/>
                <a:gd name="T32" fmla="*/ 0 w 109"/>
                <a:gd name="T33" fmla="*/ 93 h 93"/>
                <a:gd name="T34" fmla="*/ 0 w 109"/>
                <a:gd name="T35" fmla="*/ 93 h 93"/>
                <a:gd name="T36" fmla="*/ 0 w 109"/>
                <a:gd name="T37" fmla="*/ 93 h 9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9"/>
                <a:gd name="T58" fmla="*/ 0 h 93"/>
                <a:gd name="T59" fmla="*/ 109 w 109"/>
                <a:gd name="T60" fmla="*/ 93 h 9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9" h="93">
                  <a:moveTo>
                    <a:pt x="0" y="93"/>
                  </a:moveTo>
                  <a:lnTo>
                    <a:pt x="0" y="76"/>
                  </a:lnTo>
                  <a:lnTo>
                    <a:pt x="6" y="76"/>
                  </a:lnTo>
                  <a:lnTo>
                    <a:pt x="16" y="54"/>
                  </a:lnTo>
                  <a:lnTo>
                    <a:pt x="27" y="38"/>
                  </a:lnTo>
                  <a:lnTo>
                    <a:pt x="33" y="27"/>
                  </a:lnTo>
                  <a:lnTo>
                    <a:pt x="44" y="16"/>
                  </a:lnTo>
                  <a:lnTo>
                    <a:pt x="49" y="0"/>
                  </a:lnTo>
                  <a:lnTo>
                    <a:pt x="109" y="0"/>
                  </a:lnTo>
                  <a:lnTo>
                    <a:pt x="109" y="5"/>
                  </a:lnTo>
                  <a:lnTo>
                    <a:pt x="104" y="27"/>
                  </a:lnTo>
                  <a:lnTo>
                    <a:pt x="65" y="27"/>
                  </a:lnTo>
                  <a:lnTo>
                    <a:pt x="65" y="60"/>
                  </a:lnTo>
                  <a:lnTo>
                    <a:pt x="55" y="65"/>
                  </a:lnTo>
                  <a:lnTo>
                    <a:pt x="49" y="71"/>
                  </a:lnTo>
                  <a:lnTo>
                    <a:pt x="49" y="87"/>
                  </a:lnTo>
                  <a:lnTo>
                    <a:pt x="0" y="9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6" name="Freeform 468"/>
            <p:cNvSpPr>
              <a:spLocks/>
            </p:cNvSpPr>
            <p:nvPr/>
          </p:nvSpPr>
          <p:spPr bwMode="auto">
            <a:xfrm>
              <a:off x="2965" y="2685"/>
              <a:ext cx="212" cy="262"/>
            </a:xfrm>
            <a:custGeom>
              <a:avLst/>
              <a:gdLst>
                <a:gd name="T0" fmla="*/ 169 w 212"/>
                <a:gd name="T1" fmla="*/ 6 h 262"/>
                <a:gd name="T2" fmla="*/ 163 w 212"/>
                <a:gd name="T3" fmla="*/ 11 h 262"/>
                <a:gd name="T4" fmla="*/ 152 w 212"/>
                <a:gd name="T5" fmla="*/ 22 h 262"/>
                <a:gd name="T6" fmla="*/ 141 w 212"/>
                <a:gd name="T7" fmla="*/ 17 h 262"/>
                <a:gd name="T8" fmla="*/ 120 w 212"/>
                <a:gd name="T9" fmla="*/ 17 h 262"/>
                <a:gd name="T10" fmla="*/ 120 w 212"/>
                <a:gd name="T11" fmla="*/ 17 h 262"/>
                <a:gd name="T12" fmla="*/ 38 w 212"/>
                <a:gd name="T13" fmla="*/ 44 h 262"/>
                <a:gd name="T14" fmla="*/ 27 w 212"/>
                <a:gd name="T15" fmla="*/ 49 h 262"/>
                <a:gd name="T16" fmla="*/ 11 w 212"/>
                <a:gd name="T17" fmla="*/ 104 h 262"/>
                <a:gd name="T18" fmla="*/ 0 w 212"/>
                <a:gd name="T19" fmla="*/ 120 h 262"/>
                <a:gd name="T20" fmla="*/ 0 w 212"/>
                <a:gd name="T21" fmla="*/ 126 h 262"/>
                <a:gd name="T22" fmla="*/ 0 w 212"/>
                <a:gd name="T23" fmla="*/ 142 h 262"/>
                <a:gd name="T24" fmla="*/ 5 w 212"/>
                <a:gd name="T25" fmla="*/ 148 h 262"/>
                <a:gd name="T26" fmla="*/ 5 w 212"/>
                <a:gd name="T27" fmla="*/ 164 h 262"/>
                <a:gd name="T28" fmla="*/ 16 w 212"/>
                <a:gd name="T29" fmla="*/ 191 h 262"/>
                <a:gd name="T30" fmla="*/ 27 w 212"/>
                <a:gd name="T31" fmla="*/ 197 h 262"/>
                <a:gd name="T32" fmla="*/ 43 w 212"/>
                <a:gd name="T33" fmla="*/ 208 h 262"/>
                <a:gd name="T34" fmla="*/ 60 w 212"/>
                <a:gd name="T35" fmla="*/ 230 h 262"/>
                <a:gd name="T36" fmla="*/ 71 w 212"/>
                <a:gd name="T37" fmla="*/ 240 h 262"/>
                <a:gd name="T38" fmla="*/ 82 w 212"/>
                <a:gd name="T39" fmla="*/ 251 h 262"/>
                <a:gd name="T40" fmla="*/ 92 w 212"/>
                <a:gd name="T41" fmla="*/ 251 h 262"/>
                <a:gd name="T42" fmla="*/ 114 w 212"/>
                <a:gd name="T43" fmla="*/ 262 h 262"/>
                <a:gd name="T44" fmla="*/ 152 w 212"/>
                <a:gd name="T45" fmla="*/ 257 h 262"/>
                <a:gd name="T46" fmla="*/ 179 w 212"/>
                <a:gd name="T47" fmla="*/ 246 h 262"/>
                <a:gd name="T48" fmla="*/ 169 w 212"/>
                <a:gd name="T49" fmla="*/ 235 h 262"/>
                <a:gd name="T50" fmla="*/ 158 w 212"/>
                <a:gd name="T51" fmla="*/ 213 h 262"/>
                <a:gd name="T52" fmla="*/ 141 w 212"/>
                <a:gd name="T53" fmla="*/ 208 h 262"/>
                <a:gd name="T54" fmla="*/ 152 w 212"/>
                <a:gd name="T55" fmla="*/ 197 h 262"/>
                <a:gd name="T56" fmla="*/ 158 w 212"/>
                <a:gd name="T57" fmla="*/ 170 h 262"/>
                <a:gd name="T58" fmla="*/ 169 w 212"/>
                <a:gd name="T59" fmla="*/ 153 h 262"/>
                <a:gd name="T60" fmla="*/ 185 w 212"/>
                <a:gd name="T61" fmla="*/ 126 h 262"/>
                <a:gd name="T62" fmla="*/ 190 w 212"/>
                <a:gd name="T63" fmla="*/ 82 h 262"/>
                <a:gd name="T64" fmla="*/ 212 w 212"/>
                <a:gd name="T65" fmla="*/ 71 h 262"/>
                <a:gd name="T66" fmla="*/ 196 w 212"/>
                <a:gd name="T67" fmla="*/ 28 h 262"/>
                <a:gd name="T68" fmla="*/ 190 w 212"/>
                <a:gd name="T69" fmla="*/ 17 h 262"/>
                <a:gd name="T70" fmla="*/ 174 w 212"/>
                <a:gd name="T71" fmla="*/ 0 h 2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2"/>
                <a:gd name="T109" fmla="*/ 0 h 262"/>
                <a:gd name="T110" fmla="*/ 212 w 212"/>
                <a:gd name="T111" fmla="*/ 262 h 26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2" h="262">
                  <a:moveTo>
                    <a:pt x="174" y="0"/>
                  </a:moveTo>
                  <a:lnTo>
                    <a:pt x="169" y="6"/>
                  </a:lnTo>
                  <a:lnTo>
                    <a:pt x="163" y="6"/>
                  </a:lnTo>
                  <a:lnTo>
                    <a:pt x="163" y="11"/>
                  </a:lnTo>
                  <a:lnTo>
                    <a:pt x="158" y="17"/>
                  </a:lnTo>
                  <a:lnTo>
                    <a:pt x="152" y="22"/>
                  </a:lnTo>
                  <a:lnTo>
                    <a:pt x="147" y="22"/>
                  </a:lnTo>
                  <a:lnTo>
                    <a:pt x="141" y="17"/>
                  </a:lnTo>
                  <a:lnTo>
                    <a:pt x="120" y="17"/>
                  </a:lnTo>
                  <a:lnTo>
                    <a:pt x="38" y="17"/>
                  </a:lnTo>
                  <a:lnTo>
                    <a:pt x="38" y="44"/>
                  </a:lnTo>
                  <a:lnTo>
                    <a:pt x="27" y="44"/>
                  </a:lnTo>
                  <a:lnTo>
                    <a:pt x="27" y="49"/>
                  </a:lnTo>
                  <a:lnTo>
                    <a:pt x="27" y="99"/>
                  </a:lnTo>
                  <a:lnTo>
                    <a:pt x="11" y="104"/>
                  </a:lnTo>
                  <a:lnTo>
                    <a:pt x="11" y="110"/>
                  </a:lnTo>
                  <a:lnTo>
                    <a:pt x="0" y="120"/>
                  </a:lnTo>
                  <a:lnTo>
                    <a:pt x="0" y="126"/>
                  </a:lnTo>
                  <a:lnTo>
                    <a:pt x="0" y="137"/>
                  </a:lnTo>
                  <a:lnTo>
                    <a:pt x="0" y="142"/>
                  </a:lnTo>
                  <a:lnTo>
                    <a:pt x="5" y="148"/>
                  </a:lnTo>
                  <a:lnTo>
                    <a:pt x="11" y="159"/>
                  </a:lnTo>
                  <a:lnTo>
                    <a:pt x="5" y="164"/>
                  </a:lnTo>
                  <a:lnTo>
                    <a:pt x="16" y="175"/>
                  </a:lnTo>
                  <a:lnTo>
                    <a:pt x="16" y="191"/>
                  </a:lnTo>
                  <a:lnTo>
                    <a:pt x="27" y="197"/>
                  </a:lnTo>
                  <a:lnTo>
                    <a:pt x="38" y="202"/>
                  </a:lnTo>
                  <a:lnTo>
                    <a:pt x="43" y="208"/>
                  </a:lnTo>
                  <a:lnTo>
                    <a:pt x="54" y="219"/>
                  </a:lnTo>
                  <a:lnTo>
                    <a:pt x="60" y="230"/>
                  </a:lnTo>
                  <a:lnTo>
                    <a:pt x="65" y="235"/>
                  </a:lnTo>
                  <a:lnTo>
                    <a:pt x="71" y="240"/>
                  </a:lnTo>
                  <a:lnTo>
                    <a:pt x="76" y="246"/>
                  </a:lnTo>
                  <a:lnTo>
                    <a:pt x="82" y="251"/>
                  </a:lnTo>
                  <a:lnTo>
                    <a:pt x="87" y="246"/>
                  </a:lnTo>
                  <a:lnTo>
                    <a:pt x="92" y="251"/>
                  </a:lnTo>
                  <a:lnTo>
                    <a:pt x="98" y="246"/>
                  </a:lnTo>
                  <a:lnTo>
                    <a:pt x="114" y="262"/>
                  </a:lnTo>
                  <a:lnTo>
                    <a:pt x="147" y="257"/>
                  </a:lnTo>
                  <a:lnTo>
                    <a:pt x="152" y="257"/>
                  </a:lnTo>
                  <a:lnTo>
                    <a:pt x="158" y="246"/>
                  </a:lnTo>
                  <a:lnTo>
                    <a:pt x="179" y="246"/>
                  </a:lnTo>
                  <a:lnTo>
                    <a:pt x="179" y="240"/>
                  </a:lnTo>
                  <a:lnTo>
                    <a:pt x="169" y="235"/>
                  </a:lnTo>
                  <a:lnTo>
                    <a:pt x="163" y="219"/>
                  </a:lnTo>
                  <a:lnTo>
                    <a:pt x="158" y="213"/>
                  </a:lnTo>
                  <a:lnTo>
                    <a:pt x="152" y="208"/>
                  </a:lnTo>
                  <a:lnTo>
                    <a:pt x="141" y="208"/>
                  </a:lnTo>
                  <a:lnTo>
                    <a:pt x="141" y="197"/>
                  </a:lnTo>
                  <a:lnTo>
                    <a:pt x="152" y="197"/>
                  </a:lnTo>
                  <a:lnTo>
                    <a:pt x="158" y="170"/>
                  </a:lnTo>
                  <a:lnTo>
                    <a:pt x="163" y="164"/>
                  </a:lnTo>
                  <a:lnTo>
                    <a:pt x="169" y="153"/>
                  </a:lnTo>
                  <a:lnTo>
                    <a:pt x="179" y="137"/>
                  </a:lnTo>
                  <a:lnTo>
                    <a:pt x="185" y="126"/>
                  </a:lnTo>
                  <a:lnTo>
                    <a:pt x="185" y="115"/>
                  </a:lnTo>
                  <a:lnTo>
                    <a:pt x="190" y="82"/>
                  </a:lnTo>
                  <a:lnTo>
                    <a:pt x="207" y="77"/>
                  </a:lnTo>
                  <a:lnTo>
                    <a:pt x="212" y="71"/>
                  </a:lnTo>
                  <a:lnTo>
                    <a:pt x="196" y="60"/>
                  </a:lnTo>
                  <a:lnTo>
                    <a:pt x="196" y="28"/>
                  </a:lnTo>
                  <a:lnTo>
                    <a:pt x="190" y="22"/>
                  </a:lnTo>
                  <a:lnTo>
                    <a:pt x="190" y="17"/>
                  </a:lnTo>
                  <a:lnTo>
                    <a:pt x="174"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7" name="Freeform 469"/>
            <p:cNvSpPr>
              <a:spLocks/>
            </p:cNvSpPr>
            <p:nvPr/>
          </p:nvSpPr>
          <p:spPr bwMode="auto">
            <a:xfrm>
              <a:off x="3079" y="3335"/>
              <a:ext cx="17" cy="22"/>
            </a:xfrm>
            <a:custGeom>
              <a:avLst/>
              <a:gdLst>
                <a:gd name="T0" fmla="*/ 11 w 17"/>
                <a:gd name="T1" fmla="*/ 0 h 22"/>
                <a:gd name="T2" fmla="*/ 11 w 17"/>
                <a:gd name="T3" fmla="*/ 0 h 22"/>
                <a:gd name="T4" fmla="*/ 6 w 17"/>
                <a:gd name="T5" fmla="*/ 0 h 22"/>
                <a:gd name="T6" fmla="*/ 6 w 17"/>
                <a:gd name="T7" fmla="*/ 0 h 22"/>
                <a:gd name="T8" fmla="*/ 0 w 17"/>
                <a:gd name="T9" fmla="*/ 11 h 22"/>
                <a:gd name="T10" fmla="*/ 0 w 17"/>
                <a:gd name="T11" fmla="*/ 16 h 22"/>
                <a:gd name="T12" fmla="*/ 6 w 17"/>
                <a:gd name="T13" fmla="*/ 22 h 22"/>
                <a:gd name="T14" fmla="*/ 11 w 17"/>
                <a:gd name="T15" fmla="*/ 22 h 22"/>
                <a:gd name="T16" fmla="*/ 17 w 17"/>
                <a:gd name="T17" fmla="*/ 11 h 22"/>
                <a:gd name="T18" fmla="*/ 11 w 17"/>
                <a:gd name="T19" fmla="*/ 0 h 22"/>
                <a:gd name="T20" fmla="*/ 11 w 17"/>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2"/>
                <a:gd name="T35" fmla="*/ 17 w 17"/>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2">
                  <a:moveTo>
                    <a:pt x="11" y="0"/>
                  </a:moveTo>
                  <a:lnTo>
                    <a:pt x="11" y="0"/>
                  </a:lnTo>
                  <a:lnTo>
                    <a:pt x="6" y="0"/>
                  </a:lnTo>
                  <a:lnTo>
                    <a:pt x="0" y="11"/>
                  </a:lnTo>
                  <a:lnTo>
                    <a:pt x="0" y="16"/>
                  </a:lnTo>
                  <a:lnTo>
                    <a:pt x="6" y="22"/>
                  </a:lnTo>
                  <a:lnTo>
                    <a:pt x="11" y="22"/>
                  </a:lnTo>
                  <a:lnTo>
                    <a:pt x="17" y="11"/>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8" name="Freeform 470"/>
            <p:cNvSpPr>
              <a:spLocks/>
            </p:cNvSpPr>
            <p:nvPr/>
          </p:nvSpPr>
          <p:spPr bwMode="auto">
            <a:xfrm>
              <a:off x="2676" y="2849"/>
              <a:ext cx="28" cy="66"/>
            </a:xfrm>
            <a:custGeom>
              <a:avLst/>
              <a:gdLst>
                <a:gd name="T0" fmla="*/ 28 w 28"/>
                <a:gd name="T1" fmla="*/ 60 h 66"/>
                <a:gd name="T2" fmla="*/ 22 w 28"/>
                <a:gd name="T3" fmla="*/ 66 h 66"/>
                <a:gd name="T4" fmla="*/ 11 w 28"/>
                <a:gd name="T5" fmla="*/ 55 h 66"/>
                <a:gd name="T6" fmla="*/ 11 w 28"/>
                <a:gd name="T7" fmla="*/ 22 h 66"/>
                <a:gd name="T8" fmla="*/ 11 w 28"/>
                <a:gd name="T9" fmla="*/ 11 h 66"/>
                <a:gd name="T10" fmla="*/ 0 w 28"/>
                <a:gd name="T11" fmla="*/ 6 h 66"/>
                <a:gd name="T12" fmla="*/ 6 w 28"/>
                <a:gd name="T13" fmla="*/ 0 h 66"/>
                <a:gd name="T14" fmla="*/ 0 w 28"/>
                <a:gd name="T15" fmla="*/ 0 h 66"/>
                <a:gd name="T16" fmla="*/ 11 w 28"/>
                <a:gd name="T17" fmla="*/ 0 h 66"/>
                <a:gd name="T18" fmla="*/ 17 w 28"/>
                <a:gd name="T19" fmla="*/ 0 h 66"/>
                <a:gd name="T20" fmla="*/ 17 w 28"/>
                <a:gd name="T21" fmla="*/ 11 h 66"/>
                <a:gd name="T22" fmla="*/ 22 w 28"/>
                <a:gd name="T23" fmla="*/ 16 h 66"/>
                <a:gd name="T24" fmla="*/ 28 w 28"/>
                <a:gd name="T25" fmla="*/ 33 h 66"/>
                <a:gd name="T26" fmla="*/ 28 w 28"/>
                <a:gd name="T27" fmla="*/ 55 h 66"/>
                <a:gd name="T28" fmla="*/ 28 w 28"/>
                <a:gd name="T29" fmla="*/ 60 h 66"/>
                <a:gd name="T30" fmla="*/ 28 w 28"/>
                <a:gd name="T31" fmla="*/ 60 h 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
                <a:gd name="T49" fmla="*/ 0 h 66"/>
                <a:gd name="T50" fmla="*/ 28 w 28"/>
                <a:gd name="T51" fmla="*/ 66 h 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 h="66">
                  <a:moveTo>
                    <a:pt x="28" y="60"/>
                  </a:moveTo>
                  <a:lnTo>
                    <a:pt x="22" y="66"/>
                  </a:lnTo>
                  <a:lnTo>
                    <a:pt x="11" y="55"/>
                  </a:lnTo>
                  <a:lnTo>
                    <a:pt x="11" y="22"/>
                  </a:lnTo>
                  <a:lnTo>
                    <a:pt x="11" y="11"/>
                  </a:lnTo>
                  <a:lnTo>
                    <a:pt x="0" y="6"/>
                  </a:lnTo>
                  <a:lnTo>
                    <a:pt x="6" y="0"/>
                  </a:lnTo>
                  <a:lnTo>
                    <a:pt x="0" y="0"/>
                  </a:lnTo>
                  <a:lnTo>
                    <a:pt x="11" y="0"/>
                  </a:lnTo>
                  <a:lnTo>
                    <a:pt x="17" y="0"/>
                  </a:lnTo>
                  <a:lnTo>
                    <a:pt x="17" y="11"/>
                  </a:lnTo>
                  <a:lnTo>
                    <a:pt x="22" y="16"/>
                  </a:lnTo>
                  <a:lnTo>
                    <a:pt x="28" y="33"/>
                  </a:lnTo>
                  <a:lnTo>
                    <a:pt x="28" y="55"/>
                  </a:lnTo>
                  <a:lnTo>
                    <a:pt x="28"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49" name="Freeform 471"/>
            <p:cNvSpPr>
              <a:spLocks/>
            </p:cNvSpPr>
            <p:nvPr/>
          </p:nvSpPr>
          <p:spPr bwMode="auto">
            <a:xfrm>
              <a:off x="2774" y="2473"/>
              <a:ext cx="49" cy="109"/>
            </a:xfrm>
            <a:custGeom>
              <a:avLst/>
              <a:gdLst>
                <a:gd name="T0" fmla="*/ 17 w 49"/>
                <a:gd name="T1" fmla="*/ 5 h 109"/>
                <a:gd name="T2" fmla="*/ 28 w 49"/>
                <a:gd name="T3" fmla="*/ 0 h 109"/>
                <a:gd name="T4" fmla="*/ 38 w 49"/>
                <a:gd name="T5" fmla="*/ 5 h 109"/>
                <a:gd name="T6" fmla="*/ 38 w 49"/>
                <a:gd name="T7" fmla="*/ 10 h 109"/>
                <a:gd name="T8" fmla="*/ 44 w 49"/>
                <a:gd name="T9" fmla="*/ 10 h 109"/>
                <a:gd name="T10" fmla="*/ 49 w 49"/>
                <a:gd name="T11" fmla="*/ 5 h 109"/>
                <a:gd name="T12" fmla="*/ 49 w 49"/>
                <a:gd name="T13" fmla="*/ 10 h 109"/>
                <a:gd name="T14" fmla="*/ 44 w 49"/>
                <a:gd name="T15" fmla="*/ 21 h 109"/>
                <a:gd name="T16" fmla="*/ 44 w 49"/>
                <a:gd name="T17" fmla="*/ 27 h 109"/>
                <a:gd name="T18" fmla="*/ 49 w 49"/>
                <a:gd name="T19" fmla="*/ 27 h 109"/>
                <a:gd name="T20" fmla="*/ 49 w 49"/>
                <a:gd name="T21" fmla="*/ 32 h 109"/>
                <a:gd name="T22" fmla="*/ 44 w 49"/>
                <a:gd name="T23" fmla="*/ 43 h 109"/>
                <a:gd name="T24" fmla="*/ 38 w 49"/>
                <a:gd name="T25" fmla="*/ 49 h 109"/>
                <a:gd name="T26" fmla="*/ 38 w 49"/>
                <a:gd name="T27" fmla="*/ 54 h 109"/>
                <a:gd name="T28" fmla="*/ 33 w 49"/>
                <a:gd name="T29" fmla="*/ 54 h 109"/>
                <a:gd name="T30" fmla="*/ 33 w 49"/>
                <a:gd name="T31" fmla="*/ 54 h 109"/>
                <a:gd name="T32" fmla="*/ 38 w 49"/>
                <a:gd name="T33" fmla="*/ 60 h 109"/>
                <a:gd name="T34" fmla="*/ 44 w 49"/>
                <a:gd name="T35" fmla="*/ 60 h 109"/>
                <a:gd name="T36" fmla="*/ 44 w 49"/>
                <a:gd name="T37" fmla="*/ 60 h 109"/>
                <a:gd name="T38" fmla="*/ 49 w 49"/>
                <a:gd name="T39" fmla="*/ 65 h 109"/>
                <a:gd name="T40" fmla="*/ 49 w 49"/>
                <a:gd name="T41" fmla="*/ 65 h 109"/>
                <a:gd name="T42" fmla="*/ 49 w 49"/>
                <a:gd name="T43" fmla="*/ 81 h 109"/>
                <a:gd name="T44" fmla="*/ 38 w 49"/>
                <a:gd name="T45" fmla="*/ 92 h 109"/>
                <a:gd name="T46" fmla="*/ 38 w 49"/>
                <a:gd name="T47" fmla="*/ 103 h 109"/>
                <a:gd name="T48" fmla="*/ 28 w 49"/>
                <a:gd name="T49" fmla="*/ 109 h 109"/>
                <a:gd name="T50" fmla="*/ 22 w 49"/>
                <a:gd name="T51" fmla="*/ 81 h 109"/>
                <a:gd name="T52" fmla="*/ 11 w 49"/>
                <a:gd name="T53" fmla="*/ 76 h 109"/>
                <a:gd name="T54" fmla="*/ 11 w 49"/>
                <a:gd name="T55" fmla="*/ 71 h 109"/>
                <a:gd name="T56" fmla="*/ 6 w 49"/>
                <a:gd name="T57" fmla="*/ 65 h 109"/>
                <a:gd name="T58" fmla="*/ 0 w 49"/>
                <a:gd name="T59" fmla="*/ 54 h 109"/>
                <a:gd name="T60" fmla="*/ 11 w 49"/>
                <a:gd name="T61" fmla="*/ 43 h 109"/>
                <a:gd name="T62" fmla="*/ 17 w 49"/>
                <a:gd name="T63" fmla="*/ 38 h 109"/>
                <a:gd name="T64" fmla="*/ 11 w 49"/>
                <a:gd name="T65" fmla="*/ 27 h 109"/>
                <a:gd name="T66" fmla="*/ 17 w 49"/>
                <a:gd name="T67" fmla="*/ 16 h 109"/>
                <a:gd name="T68" fmla="*/ 11 w 49"/>
                <a:gd name="T69" fmla="*/ 16 h 109"/>
                <a:gd name="T70" fmla="*/ 17 w 49"/>
                <a:gd name="T71" fmla="*/ 5 h 109"/>
                <a:gd name="T72" fmla="*/ 17 w 49"/>
                <a:gd name="T73" fmla="*/ 5 h 10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9"/>
                <a:gd name="T112" fmla="*/ 0 h 109"/>
                <a:gd name="T113" fmla="*/ 49 w 49"/>
                <a:gd name="T114" fmla="*/ 109 h 10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9" h="109">
                  <a:moveTo>
                    <a:pt x="17" y="5"/>
                  </a:moveTo>
                  <a:lnTo>
                    <a:pt x="28" y="0"/>
                  </a:lnTo>
                  <a:lnTo>
                    <a:pt x="38" y="5"/>
                  </a:lnTo>
                  <a:lnTo>
                    <a:pt x="38" y="10"/>
                  </a:lnTo>
                  <a:lnTo>
                    <a:pt x="44" y="10"/>
                  </a:lnTo>
                  <a:lnTo>
                    <a:pt x="49" y="5"/>
                  </a:lnTo>
                  <a:lnTo>
                    <a:pt x="49" y="10"/>
                  </a:lnTo>
                  <a:lnTo>
                    <a:pt x="44" y="21"/>
                  </a:lnTo>
                  <a:lnTo>
                    <a:pt x="44" y="27"/>
                  </a:lnTo>
                  <a:lnTo>
                    <a:pt x="49" y="27"/>
                  </a:lnTo>
                  <a:lnTo>
                    <a:pt x="49" y="32"/>
                  </a:lnTo>
                  <a:lnTo>
                    <a:pt x="44" y="43"/>
                  </a:lnTo>
                  <a:lnTo>
                    <a:pt x="38" y="49"/>
                  </a:lnTo>
                  <a:lnTo>
                    <a:pt x="38" y="54"/>
                  </a:lnTo>
                  <a:lnTo>
                    <a:pt x="33" y="54"/>
                  </a:lnTo>
                  <a:lnTo>
                    <a:pt x="38" y="60"/>
                  </a:lnTo>
                  <a:lnTo>
                    <a:pt x="44" y="60"/>
                  </a:lnTo>
                  <a:lnTo>
                    <a:pt x="49" y="65"/>
                  </a:lnTo>
                  <a:lnTo>
                    <a:pt x="49" y="81"/>
                  </a:lnTo>
                  <a:lnTo>
                    <a:pt x="38" y="92"/>
                  </a:lnTo>
                  <a:lnTo>
                    <a:pt x="38" y="103"/>
                  </a:lnTo>
                  <a:lnTo>
                    <a:pt x="28" y="109"/>
                  </a:lnTo>
                  <a:lnTo>
                    <a:pt x="22" y="81"/>
                  </a:lnTo>
                  <a:lnTo>
                    <a:pt x="11" y="76"/>
                  </a:lnTo>
                  <a:lnTo>
                    <a:pt x="11" y="71"/>
                  </a:lnTo>
                  <a:lnTo>
                    <a:pt x="6" y="65"/>
                  </a:lnTo>
                  <a:lnTo>
                    <a:pt x="0" y="54"/>
                  </a:lnTo>
                  <a:lnTo>
                    <a:pt x="11" y="43"/>
                  </a:lnTo>
                  <a:lnTo>
                    <a:pt x="17" y="38"/>
                  </a:lnTo>
                  <a:lnTo>
                    <a:pt x="11" y="27"/>
                  </a:lnTo>
                  <a:lnTo>
                    <a:pt x="17" y="16"/>
                  </a:lnTo>
                  <a:lnTo>
                    <a:pt x="11" y="16"/>
                  </a:lnTo>
                  <a:lnTo>
                    <a:pt x="17"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0" name="Rectangle 472"/>
            <p:cNvSpPr>
              <a:spLocks noChangeArrowheads="1"/>
            </p:cNvSpPr>
            <p:nvPr/>
          </p:nvSpPr>
          <p:spPr bwMode="auto">
            <a:xfrm>
              <a:off x="2818" y="2527"/>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451" name="Freeform 473"/>
            <p:cNvSpPr>
              <a:spLocks/>
            </p:cNvSpPr>
            <p:nvPr/>
          </p:nvSpPr>
          <p:spPr bwMode="auto">
            <a:xfrm>
              <a:off x="2998" y="2565"/>
              <a:ext cx="141" cy="142"/>
            </a:xfrm>
            <a:custGeom>
              <a:avLst/>
              <a:gdLst>
                <a:gd name="T0" fmla="*/ 5 w 141"/>
                <a:gd name="T1" fmla="*/ 0 h 142"/>
                <a:gd name="T2" fmla="*/ 27 w 141"/>
                <a:gd name="T3" fmla="*/ 0 h 142"/>
                <a:gd name="T4" fmla="*/ 54 w 141"/>
                <a:gd name="T5" fmla="*/ 11 h 142"/>
                <a:gd name="T6" fmla="*/ 76 w 141"/>
                <a:gd name="T7" fmla="*/ 0 h 142"/>
                <a:gd name="T8" fmla="*/ 76 w 141"/>
                <a:gd name="T9" fmla="*/ 0 h 142"/>
                <a:gd name="T10" fmla="*/ 81 w 141"/>
                <a:gd name="T11" fmla="*/ 0 h 142"/>
                <a:gd name="T12" fmla="*/ 92 w 141"/>
                <a:gd name="T13" fmla="*/ 0 h 142"/>
                <a:gd name="T14" fmla="*/ 98 w 141"/>
                <a:gd name="T15" fmla="*/ 6 h 142"/>
                <a:gd name="T16" fmla="*/ 92 w 141"/>
                <a:gd name="T17" fmla="*/ 0 h 142"/>
                <a:gd name="T18" fmla="*/ 92 w 141"/>
                <a:gd name="T19" fmla="*/ 0 h 142"/>
                <a:gd name="T20" fmla="*/ 98 w 141"/>
                <a:gd name="T21" fmla="*/ 6 h 142"/>
                <a:gd name="T22" fmla="*/ 98 w 141"/>
                <a:gd name="T23" fmla="*/ 6 h 142"/>
                <a:gd name="T24" fmla="*/ 98 w 141"/>
                <a:gd name="T25" fmla="*/ 6 h 142"/>
                <a:gd name="T26" fmla="*/ 98 w 141"/>
                <a:gd name="T27" fmla="*/ 6 h 142"/>
                <a:gd name="T28" fmla="*/ 103 w 141"/>
                <a:gd name="T29" fmla="*/ 6 h 142"/>
                <a:gd name="T30" fmla="*/ 108 w 141"/>
                <a:gd name="T31" fmla="*/ 6 h 142"/>
                <a:gd name="T32" fmla="*/ 119 w 141"/>
                <a:gd name="T33" fmla="*/ 6 h 142"/>
                <a:gd name="T34" fmla="*/ 130 w 141"/>
                <a:gd name="T35" fmla="*/ 33 h 142"/>
                <a:gd name="T36" fmla="*/ 125 w 141"/>
                <a:gd name="T37" fmla="*/ 55 h 142"/>
                <a:gd name="T38" fmla="*/ 119 w 141"/>
                <a:gd name="T39" fmla="*/ 55 h 142"/>
                <a:gd name="T40" fmla="*/ 114 w 141"/>
                <a:gd name="T41" fmla="*/ 44 h 142"/>
                <a:gd name="T42" fmla="*/ 103 w 141"/>
                <a:gd name="T43" fmla="*/ 22 h 142"/>
                <a:gd name="T44" fmla="*/ 98 w 141"/>
                <a:gd name="T45" fmla="*/ 28 h 142"/>
                <a:gd name="T46" fmla="*/ 103 w 141"/>
                <a:gd name="T47" fmla="*/ 39 h 142"/>
                <a:gd name="T48" fmla="*/ 114 w 141"/>
                <a:gd name="T49" fmla="*/ 55 h 142"/>
                <a:gd name="T50" fmla="*/ 119 w 141"/>
                <a:gd name="T51" fmla="*/ 71 h 142"/>
                <a:gd name="T52" fmla="*/ 136 w 141"/>
                <a:gd name="T53" fmla="*/ 104 h 142"/>
                <a:gd name="T54" fmla="*/ 141 w 141"/>
                <a:gd name="T55" fmla="*/ 109 h 142"/>
                <a:gd name="T56" fmla="*/ 141 w 141"/>
                <a:gd name="T57" fmla="*/ 109 h 142"/>
                <a:gd name="T58" fmla="*/ 141 w 141"/>
                <a:gd name="T59" fmla="*/ 120 h 142"/>
                <a:gd name="T60" fmla="*/ 136 w 141"/>
                <a:gd name="T61" fmla="*/ 126 h 142"/>
                <a:gd name="T62" fmla="*/ 130 w 141"/>
                <a:gd name="T63" fmla="*/ 126 h 142"/>
                <a:gd name="T64" fmla="*/ 130 w 141"/>
                <a:gd name="T65" fmla="*/ 131 h 142"/>
                <a:gd name="T66" fmla="*/ 125 w 141"/>
                <a:gd name="T67" fmla="*/ 137 h 142"/>
                <a:gd name="T68" fmla="*/ 119 w 141"/>
                <a:gd name="T69" fmla="*/ 142 h 142"/>
                <a:gd name="T70" fmla="*/ 114 w 141"/>
                <a:gd name="T71" fmla="*/ 142 h 142"/>
                <a:gd name="T72" fmla="*/ 108 w 141"/>
                <a:gd name="T73" fmla="*/ 137 h 142"/>
                <a:gd name="T74" fmla="*/ 87 w 141"/>
                <a:gd name="T75" fmla="*/ 137 h 142"/>
                <a:gd name="T76" fmla="*/ 87 w 141"/>
                <a:gd name="T77" fmla="*/ 137 h 142"/>
                <a:gd name="T78" fmla="*/ 87 w 141"/>
                <a:gd name="T79" fmla="*/ 137 h 142"/>
                <a:gd name="T80" fmla="*/ 87 w 141"/>
                <a:gd name="T81" fmla="*/ 137 h 142"/>
                <a:gd name="T82" fmla="*/ 5 w 141"/>
                <a:gd name="T83" fmla="*/ 137 h 142"/>
                <a:gd name="T84" fmla="*/ 5 w 141"/>
                <a:gd name="T85" fmla="*/ 39 h 142"/>
                <a:gd name="T86" fmla="*/ 0 w 141"/>
                <a:gd name="T87" fmla="*/ 33 h 142"/>
                <a:gd name="T88" fmla="*/ 0 w 141"/>
                <a:gd name="T89" fmla="*/ 22 h 142"/>
                <a:gd name="T90" fmla="*/ 0 w 141"/>
                <a:gd name="T91" fmla="*/ 17 h 142"/>
                <a:gd name="T92" fmla="*/ 0 w 141"/>
                <a:gd name="T93" fmla="*/ 0 h 142"/>
                <a:gd name="T94" fmla="*/ 5 w 141"/>
                <a:gd name="T95" fmla="*/ 0 h 142"/>
                <a:gd name="T96" fmla="*/ 5 w 141"/>
                <a:gd name="T97" fmla="*/ 0 h 14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1"/>
                <a:gd name="T148" fmla="*/ 0 h 142"/>
                <a:gd name="T149" fmla="*/ 141 w 141"/>
                <a:gd name="T150" fmla="*/ 142 h 14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1" h="142">
                  <a:moveTo>
                    <a:pt x="5" y="0"/>
                  </a:moveTo>
                  <a:lnTo>
                    <a:pt x="27" y="0"/>
                  </a:lnTo>
                  <a:lnTo>
                    <a:pt x="54" y="11"/>
                  </a:lnTo>
                  <a:lnTo>
                    <a:pt x="76" y="0"/>
                  </a:lnTo>
                  <a:lnTo>
                    <a:pt x="81" y="0"/>
                  </a:lnTo>
                  <a:lnTo>
                    <a:pt x="92" y="0"/>
                  </a:lnTo>
                  <a:lnTo>
                    <a:pt x="98" y="6"/>
                  </a:lnTo>
                  <a:lnTo>
                    <a:pt x="92" y="0"/>
                  </a:lnTo>
                  <a:lnTo>
                    <a:pt x="98" y="6"/>
                  </a:lnTo>
                  <a:lnTo>
                    <a:pt x="103" y="6"/>
                  </a:lnTo>
                  <a:lnTo>
                    <a:pt x="108" y="6"/>
                  </a:lnTo>
                  <a:lnTo>
                    <a:pt x="119" y="6"/>
                  </a:lnTo>
                  <a:lnTo>
                    <a:pt x="130" y="33"/>
                  </a:lnTo>
                  <a:lnTo>
                    <a:pt x="125" y="55"/>
                  </a:lnTo>
                  <a:lnTo>
                    <a:pt x="119" y="55"/>
                  </a:lnTo>
                  <a:lnTo>
                    <a:pt x="114" y="44"/>
                  </a:lnTo>
                  <a:lnTo>
                    <a:pt x="103" y="22"/>
                  </a:lnTo>
                  <a:lnTo>
                    <a:pt x="98" y="28"/>
                  </a:lnTo>
                  <a:lnTo>
                    <a:pt x="103" y="39"/>
                  </a:lnTo>
                  <a:lnTo>
                    <a:pt x="114" y="55"/>
                  </a:lnTo>
                  <a:lnTo>
                    <a:pt x="119" y="71"/>
                  </a:lnTo>
                  <a:lnTo>
                    <a:pt x="136" y="104"/>
                  </a:lnTo>
                  <a:lnTo>
                    <a:pt x="141" y="109"/>
                  </a:lnTo>
                  <a:lnTo>
                    <a:pt x="141" y="120"/>
                  </a:lnTo>
                  <a:lnTo>
                    <a:pt x="136" y="126"/>
                  </a:lnTo>
                  <a:lnTo>
                    <a:pt x="130" y="126"/>
                  </a:lnTo>
                  <a:lnTo>
                    <a:pt x="130" y="131"/>
                  </a:lnTo>
                  <a:lnTo>
                    <a:pt x="125" y="137"/>
                  </a:lnTo>
                  <a:lnTo>
                    <a:pt x="119" y="142"/>
                  </a:lnTo>
                  <a:lnTo>
                    <a:pt x="114" y="142"/>
                  </a:lnTo>
                  <a:lnTo>
                    <a:pt x="108" y="137"/>
                  </a:lnTo>
                  <a:lnTo>
                    <a:pt x="87" y="137"/>
                  </a:lnTo>
                  <a:lnTo>
                    <a:pt x="5" y="137"/>
                  </a:lnTo>
                  <a:lnTo>
                    <a:pt x="5" y="39"/>
                  </a:lnTo>
                  <a:lnTo>
                    <a:pt x="0" y="33"/>
                  </a:lnTo>
                  <a:lnTo>
                    <a:pt x="0" y="22"/>
                  </a:lnTo>
                  <a:lnTo>
                    <a:pt x="0" y="17"/>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2" name="Freeform 474"/>
            <p:cNvSpPr>
              <a:spLocks/>
            </p:cNvSpPr>
            <p:nvPr/>
          </p:nvSpPr>
          <p:spPr bwMode="auto">
            <a:xfrm>
              <a:off x="2611" y="2795"/>
              <a:ext cx="98" cy="76"/>
            </a:xfrm>
            <a:custGeom>
              <a:avLst/>
              <a:gdLst>
                <a:gd name="T0" fmla="*/ 0 w 98"/>
                <a:gd name="T1" fmla="*/ 65 h 76"/>
                <a:gd name="T2" fmla="*/ 11 w 98"/>
                <a:gd name="T3" fmla="*/ 70 h 76"/>
                <a:gd name="T4" fmla="*/ 11 w 98"/>
                <a:gd name="T5" fmla="*/ 70 h 76"/>
                <a:gd name="T6" fmla="*/ 22 w 98"/>
                <a:gd name="T7" fmla="*/ 65 h 76"/>
                <a:gd name="T8" fmla="*/ 27 w 98"/>
                <a:gd name="T9" fmla="*/ 70 h 76"/>
                <a:gd name="T10" fmla="*/ 33 w 98"/>
                <a:gd name="T11" fmla="*/ 76 h 76"/>
                <a:gd name="T12" fmla="*/ 33 w 98"/>
                <a:gd name="T13" fmla="*/ 76 h 76"/>
                <a:gd name="T14" fmla="*/ 33 w 98"/>
                <a:gd name="T15" fmla="*/ 60 h 76"/>
                <a:gd name="T16" fmla="*/ 33 w 98"/>
                <a:gd name="T17" fmla="*/ 54 h 76"/>
                <a:gd name="T18" fmla="*/ 60 w 98"/>
                <a:gd name="T19" fmla="*/ 54 h 76"/>
                <a:gd name="T20" fmla="*/ 65 w 98"/>
                <a:gd name="T21" fmla="*/ 54 h 76"/>
                <a:gd name="T22" fmla="*/ 76 w 98"/>
                <a:gd name="T23" fmla="*/ 54 h 76"/>
                <a:gd name="T24" fmla="*/ 82 w 98"/>
                <a:gd name="T25" fmla="*/ 54 h 76"/>
                <a:gd name="T26" fmla="*/ 87 w 98"/>
                <a:gd name="T27" fmla="*/ 49 h 76"/>
                <a:gd name="T28" fmla="*/ 93 w 98"/>
                <a:gd name="T29" fmla="*/ 49 h 76"/>
                <a:gd name="T30" fmla="*/ 98 w 98"/>
                <a:gd name="T31" fmla="*/ 43 h 76"/>
                <a:gd name="T32" fmla="*/ 98 w 98"/>
                <a:gd name="T33" fmla="*/ 38 h 76"/>
                <a:gd name="T34" fmla="*/ 98 w 98"/>
                <a:gd name="T35" fmla="*/ 38 h 76"/>
                <a:gd name="T36" fmla="*/ 98 w 98"/>
                <a:gd name="T37" fmla="*/ 32 h 76"/>
                <a:gd name="T38" fmla="*/ 87 w 98"/>
                <a:gd name="T39" fmla="*/ 32 h 76"/>
                <a:gd name="T40" fmla="*/ 76 w 98"/>
                <a:gd name="T41" fmla="*/ 16 h 76"/>
                <a:gd name="T42" fmla="*/ 71 w 98"/>
                <a:gd name="T43" fmla="*/ 5 h 76"/>
                <a:gd name="T44" fmla="*/ 71 w 98"/>
                <a:gd name="T45" fmla="*/ 0 h 76"/>
                <a:gd name="T46" fmla="*/ 60 w 98"/>
                <a:gd name="T47" fmla="*/ 5 h 76"/>
                <a:gd name="T48" fmla="*/ 38 w 98"/>
                <a:gd name="T49" fmla="*/ 21 h 76"/>
                <a:gd name="T50" fmla="*/ 22 w 98"/>
                <a:gd name="T51" fmla="*/ 27 h 76"/>
                <a:gd name="T52" fmla="*/ 16 w 98"/>
                <a:gd name="T53" fmla="*/ 38 h 76"/>
                <a:gd name="T54" fmla="*/ 6 w 98"/>
                <a:gd name="T55" fmla="*/ 49 h 76"/>
                <a:gd name="T56" fmla="*/ 0 w 98"/>
                <a:gd name="T57" fmla="*/ 65 h 76"/>
                <a:gd name="T58" fmla="*/ 0 w 98"/>
                <a:gd name="T59" fmla="*/ 65 h 7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8"/>
                <a:gd name="T91" fmla="*/ 0 h 76"/>
                <a:gd name="T92" fmla="*/ 98 w 98"/>
                <a:gd name="T93" fmla="*/ 76 h 7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8" h="76">
                  <a:moveTo>
                    <a:pt x="0" y="65"/>
                  </a:moveTo>
                  <a:lnTo>
                    <a:pt x="11" y="70"/>
                  </a:lnTo>
                  <a:lnTo>
                    <a:pt x="22" y="65"/>
                  </a:lnTo>
                  <a:lnTo>
                    <a:pt x="27" y="70"/>
                  </a:lnTo>
                  <a:lnTo>
                    <a:pt x="33" y="76"/>
                  </a:lnTo>
                  <a:lnTo>
                    <a:pt x="33" y="60"/>
                  </a:lnTo>
                  <a:lnTo>
                    <a:pt x="33" y="54"/>
                  </a:lnTo>
                  <a:lnTo>
                    <a:pt x="60" y="54"/>
                  </a:lnTo>
                  <a:lnTo>
                    <a:pt x="65" y="54"/>
                  </a:lnTo>
                  <a:lnTo>
                    <a:pt x="76" y="54"/>
                  </a:lnTo>
                  <a:lnTo>
                    <a:pt x="82" y="54"/>
                  </a:lnTo>
                  <a:lnTo>
                    <a:pt x="87" y="49"/>
                  </a:lnTo>
                  <a:lnTo>
                    <a:pt x="93" y="49"/>
                  </a:lnTo>
                  <a:lnTo>
                    <a:pt x="98" y="43"/>
                  </a:lnTo>
                  <a:lnTo>
                    <a:pt x="98" y="38"/>
                  </a:lnTo>
                  <a:lnTo>
                    <a:pt x="98" y="32"/>
                  </a:lnTo>
                  <a:lnTo>
                    <a:pt x="87" y="32"/>
                  </a:lnTo>
                  <a:lnTo>
                    <a:pt x="76" y="16"/>
                  </a:lnTo>
                  <a:lnTo>
                    <a:pt x="71" y="5"/>
                  </a:lnTo>
                  <a:lnTo>
                    <a:pt x="71" y="0"/>
                  </a:lnTo>
                  <a:lnTo>
                    <a:pt x="60" y="5"/>
                  </a:lnTo>
                  <a:lnTo>
                    <a:pt x="38" y="21"/>
                  </a:lnTo>
                  <a:lnTo>
                    <a:pt x="22" y="27"/>
                  </a:lnTo>
                  <a:lnTo>
                    <a:pt x="16" y="38"/>
                  </a:lnTo>
                  <a:lnTo>
                    <a:pt x="6" y="49"/>
                  </a:lnTo>
                  <a:lnTo>
                    <a:pt x="0" y="6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3" name="Freeform 475"/>
            <p:cNvSpPr>
              <a:spLocks/>
            </p:cNvSpPr>
            <p:nvPr/>
          </p:nvSpPr>
          <p:spPr bwMode="auto">
            <a:xfrm>
              <a:off x="3057" y="3024"/>
              <a:ext cx="22" cy="22"/>
            </a:xfrm>
            <a:custGeom>
              <a:avLst/>
              <a:gdLst>
                <a:gd name="T0" fmla="*/ 0 w 22"/>
                <a:gd name="T1" fmla="*/ 0 h 22"/>
                <a:gd name="T2" fmla="*/ 0 w 22"/>
                <a:gd name="T3" fmla="*/ 0 h 22"/>
                <a:gd name="T4" fmla="*/ 6 w 22"/>
                <a:gd name="T5" fmla="*/ 5 h 22"/>
                <a:gd name="T6" fmla="*/ 6 w 22"/>
                <a:gd name="T7" fmla="*/ 0 h 22"/>
                <a:gd name="T8" fmla="*/ 11 w 22"/>
                <a:gd name="T9" fmla="*/ 0 h 22"/>
                <a:gd name="T10" fmla="*/ 17 w 22"/>
                <a:gd name="T11" fmla="*/ 0 h 22"/>
                <a:gd name="T12" fmla="*/ 17 w 22"/>
                <a:gd name="T13" fmla="*/ 0 h 22"/>
                <a:gd name="T14" fmla="*/ 22 w 22"/>
                <a:gd name="T15" fmla="*/ 11 h 22"/>
                <a:gd name="T16" fmla="*/ 11 w 22"/>
                <a:gd name="T17" fmla="*/ 22 h 22"/>
                <a:gd name="T18" fmla="*/ 6 w 22"/>
                <a:gd name="T19" fmla="*/ 22 h 22"/>
                <a:gd name="T20" fmla="*/ 0 w 22"/>
                <a:gd name="T21" fmla="*/ 11 h 22"/>
                <a:gd name="T22" fmla="*/ 0 w 22"/>
                <a:gd name="T23" fmla="*/ 0 h 22"/>
                <a:gd name="T24" fmla="*/ 0 w 22"/>
                <a:gd name="T25" fmla="*/ 0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22"/>
                <a:gd name="T41" fmla="*/ 22 w 22"/>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22">
                  <a:moveTo>
                    <a:pt x="0" y="0"/>
                  </a:moveTo>
                  <a:lnTo>
                    <a:pt x="0" y="0"/>
                  </a:lnTo>
                  <a:lnTo>
                    <a:pt x="6" y="5"/>
                  </a:lnTo>
                  <a:lnTo>
                    <a:pt x="6" y="0"/>
                  </a:lnTo>
                  <a:lnTo>
                    <a:pt x="11" y="0"/>
                  </a:lnTo>
                  <a:lnTo>
                    <a:pt x="17" y="0"/>
                  </a:lnTo>
                  <a:lnTo>
                    <a:pt x="22" y="11"/>
                  </a:lnTo>
                  <a:lnTo>
                    <a:pt x="11" y="22"/>
                  </a:lnTo>
                  <a:lnTo>
                    <a:pt x="6" y="22"/>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4" name="Freeform 476"/>
            <p:cNvSpPr>
              <a:spLocks/>
            </p:cNvSpPr>
            <p:nvPr/>
          </p:nvSpPr>
          <p:spPr bwMode="auto">
            <a:xfrm>
              <a:off x="3117" y="2931"/>
              <a:ext cx="104" cy="120"/>
            </a:xfrm>
            <a:custGeom>
              <a:avLst/>
              <a:gdLst>
                <a:gd name="T0" fmla="*/ 27 w 104"/>
                <a:gd name="T1" fmla="*/ 0 h 120"/>
                <a:gd name="T2" fmla="*/ 6 w 104"/>
                <a:gd name="T3" fmla="*/ 0 h 120"/>
                <a:gd name="T4" fmla="*/ 0 w 104"/>
                <a:gd name="T5" fmla="*/ 11 h 120"/>
                <a:gd name="T6" fmla="*/ 6 w 104"/>
                <a:gd name="T7" fmla="*/ 11 h 120"/>
                <a:gd name="T8" fmla="*/ 11 w 104"/>
                <a:gd name="T9" fmla="*/ 22 h 120"/>
                <a:gd name="T10" fmla="*/ 11 w 104"/>
                <a:gd name="T11" fmla="*/ 27 h 120"/>
                <a:gd name="T12" fmla="*/ 17 w 104"/>
                <a:gd name="T13" fmla="*/ 33 h 120"/>
                <a:gd name="T14" fmla="*/ 11 w 104"/>
                <a:gd name="T15" fmla="*/ 44 h 120"/>
                <a:gd name="T16" fmla="*/ 0 w 104"/>
                <a:gd name="T17" fmla="*/ 60 h 120"/>
                <a:gd name="T18" fmla="*/ 6 w 104"/>
                <a:gd name="T19" fmla="*/ 65 h 120"/>
                <a:gd name="T20" fmla="*/ 11 w 104"/>
                <a:gd name="T21" fmla="*/ 65 h 120"/>
                <a:gd name="T22" fmla="*/ 6 w 104"/>
                <a:gd name="T23" fmla="*/ 65 h 120"/>
                <a:gd name="T24" fmla="*/ 0 w 104"/>
                <a:gd name="T25" fmla="*/ 71 h 120"/>
                <a:gd name="T26" fmla="*/ 6 w 104"/>
                <a:gd name="T27" fmla="*/ 71 h 120"/>
                <a:gd name="T28" fmla="*/ 49 w 104"/>
                <a:gd name="T29" fmla="*/ 98 h 120"/>
                <a:gd name="T30" fmla="*/ 55 w 104"/>
                <a:gd name="T31" fmla="*/ 109 h 120"/>
                <a:gd name="T32" fmla="*/ 71 w 104"/>
                <a:gd name="T33" fmla="*/ 120 h 120"/>
                <a:gd name="T34" fmla="*/ 76 w 104"/>
                <a:gd name="T35" fmla="*/ 115 h 120"/>
                <a:gd name="T36" fmla="*/ 82 w 104"/>
                <a:gd name="T37" fmla="*/ 93 h 120"/>
                <a:gd name="T38" fmla="*/ 98 w 104"/>
                <a:gd name="T39" fmla="*/ 82 h 120"/>
                <a:gd name="T40" fmla="*/ 93 w 104"/>
                <a:gd name="T41" fmla="*/ 71 h 120"/>
                <a:gd name="T42" fmla="*/ 93 w 104"/>
                <a:gd name="T43" fmla="*/ 27 h 120"/>
                <a:gd name="T44" fmla="*/ 104 w 104"/>
                <a:gd name="T45" fmla="*/ 11 h 120"/>
                <a:gd name="T46" fmla="*/ 98 w 104"/>
                <a:gd name="T47" fmla="*/ 11 h 120"/>
                <a:gd name="T48" fmla="*/ 87 w 104"/>
                <a:gd name="T49" fmla="*/ 5 h 120"/>
                <a:gd name="T50" fmla="*/ 82 w 104"/>
                <a:gd name="T51" fmla="*/ 11 h 120"/>
                <a:gd name="T52" fmla="*/ 71 w 104"/>
                <a:gd name="T53" fmla="*/ 16 h 120"/>
                <a:gd name="T54" fmla="*/ 66 w 104"/>
                <a:gd name="T55" fmla="*/ 16 h 120"/>
                <a:gd name="T56" fmla="*/ 49 w 104"/>
                <a:gd name="T57" fmla="*/ 11 h 120"/>
                <a:gd name="T58" fmla="*/ 33 w 104"/>
                <a:gd name="T59" fmla="*/ 0 h 120"/>
                <a:gd name="T60" fmla="*/ 27 w 104"/>
                <a:gd name="T61" fmla="*/ 0 h 120"/>
                <a:gd name="T62" fmla="*/ 27 w 104"/>
                <a:gd name="T63" fmla="*/ 0 h 12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4"/>
                <a:gd name="T97" fmla="*/ 0 h 120"/>
                <a:gd name="T98" fmla="*/ 104 w 104"/>
                <a:gd name="T99" fmla="*/ 120 h 12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4" h="120">
                  <a:moveTo>
                    <a:pt x="27" y="0"/>
                  </a:moveTo>
                  <a:lnTo>
                    <a:pt x="6" y="0"/>
                  </a:lnTo>
                  <a:lnTo>
                    <a:pt x="0" y="11"/>
                  </a:lnTo>
                  <a:lnTo>
                    <a:pt x="6" y="11"/>
                  </a:lnTo>
                  <a:lnTo>
                    <a:pt x="11" y="22"/>
                  </a:lnTo>
                  <a:lnTo>
                    <a:pt x="11" y="27"/>
                  </a:lnTo>
                  <a:lnTo>
                    <a:pt x="17" y="33"/>
                  </a:lnTo>
                  <a:lnTo>
                    <a:pt x="11" y="44"/>
                  </a:lnTo>
                  <a:lnTo>
                    <a:pt x="0" y="60"/>
                  </a:lnTo>
                  <a:lnTo>
                    <a:pt x="6" y="65"/>
                  </a:lnTo>
                  <a:lnTo>
                    <a:pt x="11" y="65"/>
                  </a:lnTo>
                  <a:lnTo>
                    <a:pt x="6" y="65"/>
                  </a:lnTo>
                  <a:lnTo>
                    <a:pt x="0" y="71"/>
                  </a:lnTo>
                  <a:lnTo>
                    <a:pt x="6" y="71"/>
                  </a:lnTo>
                  <a:lnTo>
                    <a:pt x="49" y="98"/>
                  </a:lnTo>
                  <a:lnTo>
                    <a:pt x="55" y="109"/>
                  </a:lnTo>
                  <a:lnTo>
                    <a:pt x="71" y="120"/>
                  </a:lnTo>
                  <a:lnTo>
                    <a:pt x="76" y="115"/>
                  </a:lnTo>
                  <a:lnTo>
                    <a:pt x="82" y="93"/>
                  </a:lnTo>
                  <a:lnTo>
                    <a:pt x="98" y="82"/>
                  </a:lnTo>
                  <a:lnTo>
                    <a:pt x="93" y="71"/>
                  </a:lnTo>
                  <a:lnTo>
                    <a:pt x="93" y="27"/>
                  </a:lnTo>
                  <a:lnTo>
                    <a:pt x="104" y="11"/>
                  </a:lnTo>
                  <a:lnTo>
                    <a:pt x="98" y="11"/>
                  </a:lnTo>
                  <a:lnTo>
                    <a:pt x="87" y="5"/>
                  </a:lnTo>
                  <a:lnTo>
                    <a:pt x="82" y="11"/>
                  </a:lnTo>
                  <a:lnTo>
                    <a:pt x="71" y="16"/>
                  </a:lnTo>
                  <a:lnTo>
                    <a:pt x="66" y="16"/>
                  </a:lnTo>
                  <a:lnTo>
                    <a:pt x="49" y="11"/>
                  </a:lnTo>
                  <a:lnTo>
                    <a:pt x="33" y="0"/>
                  </a:lnTo>
                  <a:lnTo>
                    <a:pt x="2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5" name="Freeform 477"/>
            <p:cNvSpPr>
              <a:spLocks/>
            </p:cNvSpPr>
            <p:nvPr/>
          </p:nvSpPr>
          <p:spPr bwMode="auto">
            <a:xfrm>
              <a:off x="2840" y="2925"/>
              <a:ext cx="245" cy="241"/>
            </a:xfrm>
            <a:custGeom>
              <a:avLst/>
              <a:gdLst>
                <a:gd name="T0" fmla="*/ 223 w 245"/>
                <a:gd name="T1" fmla="*/ 61 h 241"/>
                <a:gd name="T2" fmla="*/ 212 w 245"/>
                <a:gd name="T3" fmla="*/ 99 h 241"/>
                <a:gd name="T4" fmla="*/ 217 w 245"/>
                <a:gd name="T5" fmla="*/ 110 h 241"/>
                <a:gd name="T6" fmla="*/ 217 w 245"/>
                <a:gd name="T7" fmla="*/ 137 h 241"/>
                <a:gd name="T8" fmla="*/ 223 w 245"/>
                <a:gd name="T9" fmla="*/ 159 h 241"/>
                <a:gd name="T10" fmla="*/ 234 w 245"/>
                <a:gd name="T11" fmla="*/ 170 h 241"/>
                <a:gd name="T12" fmla="*/ 212 w 245"/>
                <a:gd name="T13" fmla="*/ 186 h 241"/>
                <a:gd name="T14" fmla="*/ 207 w 245"/>
                <a:gd name="T15" fmla="*/ 219 h 241"/>
                <a:gd name="T16" fmla="*/ 223 w 245"/>
                <a:gd name="T17" fmla="*/ 224 h 241"/>
                <a:gd name="T18" fmla="*/ 212 w 245"/>
                <a:gd name="T19" fmla="*/ 235 h 241"/>
                <a:gd name="T20" fmla="*/ 196 w 245"/>
                <a:gd name="T21" fmla="*/ 224 h 241"/>
                <a:gd name="T22" fmla="*/ 179 w 245"/>
                <a:gd name="T23" fmla="*/ 219 h 241"/>
                <a:gd name="T24" fmla="*/ 163 w 245"/>
                <a:gd name="T25" fmla="*/ 208 h 241"/>
                <a:gd name="T26" fmla="*/ 152 w 245"/>
                <a:gd name="T27" fmla="*/ 208 h 241"/>
                <a:gd name="T28" fmla="*/ 130 w 245"/>
                <a:gd name="T29" fmla="*/ 208 h 241"/>
                <a:gd name="T30" fmla="*/ 125 w 245"/>
                <a:gd name="T31" fmla="*/ 208 h 241"/>
                <a:gd name="T32" fmla="*/ 119 w 245"/>
                <a:gd name="T33" fmla="*/ 186 h 241"/>
                <a:gd name="T34" fmla="*/ 119 w 245"/>
                <a:gd name="T35" fmla="*/ 159 h 241"/>
                <a:gd name="T36" fmla="*/ 109 w 245"/>
                <a:gd name="T37" fmla="*/ 153 h 241"/>
                <a:gd name="T38" fmla="*/ 87 w 245"/>
                <a:gd name="T39" fmla="*/ 170 h 241"/>
                <a:gd name="T40" fmla="*/ 60 w 245"/>
                <a:gd name="T41" fmla="*/ 159 h 241"/>
                <a:gd name="T42" fmla="*/ 49 w 245"/>
                <a:gd name="T43" fmla="*/ 142 h 241"/>
                <a:gd name="T44" fmla="*/ 0 w 245"/>
                <a:gd name="T45" fmla="*/ 148 h 241"/>
                <a:gd name="T46" fmla="*/ 0 w 245"/>
                <a:gd name="T47" fmla="*/ 142 h 241"/>
                <a:gd name="T48" fmla="*/ 5 w 245"/>
                <a:gd name="T49" fmla="*/ 126 h 241"/>
                <a:gd name="T50" fmla="*/ 16 w 245"/>
                <a:gd name="T51" fmla="*/ 126 h 241"/>
                <a:gd name="T52" fmla="*/ 27 w 245"/>
                <a:gd name="T53" fmla="*/ 126 h 241"/>
                <a:gd name="T54" fmla="*/ 43 w 245"/>
                <a:gd name="T55" fmla="*/ 115 h 241"/>
                <a:gd name="T56" fmla="*/ 49 w 245"/>
                <a:gd name="T57" fmla="*/ 93 h 241"/>
                <a:gd name="T58" fmla="*/ 70 w 245"/>
                <a:gd name="T59" fmla="*/ 77 h 241"/>
                <a:gd name="T60" fmla="*/ 81 w 245"/>
                <a:gd name="T61" fmla="*/ 28 h 241"/>
                <a:gd name="T62" fmla="*/ 81 w 245"/>
                <a:gd name="T63" fmla="*/ 17 h 241"/>
                <a:gd name="T64" fmla="*/ 92 w 245"/>
                <a:gd name="T65" fmla="*/ 0 h 241"/>
                <a:gd name="T66" fmla="*/ 109 w 245"/>
                <a:gd name="T67" fmla="*/ 6 h 241"/>
                <a:gd name="T68" fmla="*/ 119 w 245"/>
                <a:gd name="T69" fmla="*/ 11 h 241"/>
                <a:gd name="T70" fmla="*/ 136 w 245"/>
                <a:gd name="T71" fmla="*/ 6 h 241"/>
                <a:gd name="T72" fmla="*/ 158 w 245"/>
                <a:gd name="T73" fmla="*/ 0 h 241"/>
                <a:gd name="T74" fmla="*/ 163 w 245"/>
                <a:gd name="T75" fmla="*/ 0 h 241"/>
                <a:gd name="T76" fmla="*/ 179 w 245"/>
                <a:gd name="T77" fmla="*/ 0 h 241"/>
                <a:gd name="T78" fmla="*/ 185 w 245"/>
                <a:gd name="T79" fmla="*/ 0 h 241"/>
                <a:gd name="T80" fmla="*/ 190 w 245"/>
                <a:gd name="T81" fmla="*/ 0 h 241"/>
                <a:gd name="T82" fmla="*/ 201 w 245"/>
                <a:gd name="T83" fmla="*/ 6 h 241"/>
                <a:gd name="T84" fmla="*/ 212 w 245"/>
                <a:gd name="T85" fmla="*/ 6 h 241"/>
                <a:gd name="T86" fmla="*/ 223 w 245"/>
                <a:gd name="T87" fmla="*/ 6 h 241"/>
                <a:gd name="T88" fmla="*/ 239 w 245"/>
                <a:gd name="T89" fmla="*/ 33 h 241"/>
                <a:gd name="T90" fmla="*/ 234 w 245"/>
                <a:gd name="T91" fmla="*/ 50 h 241"/>
                <a:gd name="T92" fmla="*/ 234 w 245"/>
                <a:gd name="T93" fmla="*/ 50 h 2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5"/>
                <a:gd name="T142" fmla="*/ 0 h 241"/>
                <a:gd name="T143" fmla="*/ 245 w 245"/>
                <a:gd name="T144" fmla="*/ 241 h 2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5" h="241">
                  <a:moveTo>
                    <a:pt x="234" y="50"/>
                  </a:moveTo>
                  <a:lnTo>
                    <a:pt x="223" y="61"/>
                  </a:lnTo>
                  <a:lnTo>
                    <a:pt x="223" y="82"/>
                  </a:lnTo>
                  <a:lnTo>
                    <a:pt x="212" y="99"/>
                  </a:lnTo>
                  <a:lnTo>
                    <a:pt x="217" y="99"/>
                  </a:lnTo>
                  <a:lnTo>
                    <a:pt x="217" y="110"/>
                  </a:lnTo>
                  <a:lnTo>
                    <a:pt x="217" y="131"/>
                  </a:lnTo>
                  <a:lnTo>
                    <a:pt x="217" y="137"/>
                  </a:lnTo>
                  <a:lnTo>
                    <a:pt x="217" y="148"/>
                  </a:lnTo>
                  <a:lnTo>
                    <a:pt x="223" y="159"/>
                  </a:lnTo>
                  <a:lnTo>
                    <a:pt x="234" y="164"/>
                  </a:lnTo>
                  <a:lnTo>
                    <a:pt x="234" y="170"/>
                  </a:lnTo>
                  <a:lnTo>
                    <a:pt x="217" y="175"/>
                  </a:lnTo>
                  <a:lnTo>
                    <a:pt x="212" y="186"/>
                  </a:lnTo>
                  <a:lnTo>
                    <a:pt x="212" y="202"/>
                  </a:lnTo>
                  <a:lnTo>
                    <a:pt x="207" y="219"/>
                  </a:lnTo>
                  <a:lnTo>
                    <a:pt x="212" y="224"/>
                  </a:lnTo>
                  <a:lnTo>
                    <a:pt x="223" y="224"/>
                  </a:lnTo>
                  <a:lnTo>
                    <a:pt x="223" y="241"/>
                  </a:lnTo>
                  <a:lnTo>
                    <a:pt x="212" y="235"/>
                  </a:lnTo>
                  <a:lnTo>
                    <a:pt x="201" y="224"/>
                  </a:lnTo>
                  <a:lnTo>
                    <a:pt x="196" y="224"/>
                  </a:lnTo>
                  <a:lnTo>
                    <a:pt x="190" y="219"/>
                  </a:lnTo>
                  <a:lnTo>
                    <a:pt x="179" y="219"/>
                  </a:lnTo>
                  <a:lnTo>
                    <a:pt x="168" y="213"/>
                  </a:lnTo>
                  <a:lnTo>
                    <a:pt x="163" y="208"/>
                  </a:lnTo>
                  <a:lnTo>
                    <a:pt x="158" y="213"/>
                  </a:lnTo>
                  <a:lnTo>
                    <a:pt x="152" y="208"/>
                  </a:lnTo>
                  <a:lnTo>
                    <a:pt x="130" y="208"/>
                  </a:lnTo>
                  <a:lnTo>
                    <a:pt x="125" y="213"/>
                  </a:lnTo>
                  <a:lnTo>
                    <a:pt x="125" y="208"/>
                  </a:lnTo>
                  <a:lnTo>
                    <a:pt x="125" y="202"/>
                  </a:lnTo>
                  <a:lnTo>
                    <a:pt x="119" y="186"/>
                  </a:lnTo>
                  <a:lnTo>
                    <a:pt x="119" y="164"/>
                  </a:lnTo>
                  <a:lnTo>
                    <a:pt x="119" y="159"/>
                  </a:lnTo>
                  <a:lnTo>
                    <a:pt x="109" y="159"/>
                  </a:lnTo>
                  <a:lnTo>
                    <a:pt x="109" y="153"/>
                  </a:lnTo>
                  <a:lnTo>
                    <a:pt x="92" y="159"/>
                  </a:lnTo>
                  <a:lnTo>
                    <a:pt x="87" y="170"/>
                  </a:lnTo>
                  <a:lnTo>
                    <a:pt x="70" y="170"/>
                  </a:lnTo>
                  <a:lnTo>
                    <a:pt x="60" y="159"/>
                  </a:lnTo>
                  <a:lnTo>
                    <a:pt x="54" y="148"/>
                  </a:lnTo>
                  <a:lnTo>
                    <a:pt x="49" y="142"/>
                  </a:lnTo>
                  <a:lnTo>
                    <a:pt x="11" y="142"/>
                  </a:lnTo>
                  <a:lnTo>
                    <a:pt x="0" y="148"/>
                  </a:lnTo>
                  <a:lnTo>
                    <a:pt x="0" y="142"/>
                  </a:lnTo>
                  <a:lnTo>
                    <a:pt x="0" y="131"/>
                  </a:lnTo>
                  <a:lnTo>
                    <a:pt x="5" y="126"/>
                  </a:lnTo>
                  <a:lnTo>
                    <a:pt x="16" y="126"/>
                  </a:lnTo>
                  <a:lnTo>
                    <a:pt x="27" y="121"/>
                  </a:lnTo>
                  <a:lnTo>
                    <a:pt x="27" y="126"/>
                  </a:lnTo>
                  <a:lnTo>
                    <a:pt x="27" y="131"/>
                  </a:lnTo>
                  <a:lnTo>
                    <a:pt x="43" y="115"/>
                  </a:lnTo>
                  <a:lnTo>
                    <a:pt x="49" y="110"/>
                  </a:lnTo>
                  <a:lnTo>
                    <a:pt x="49" y="93"/>
                  </a:lnTo>
                  <a:lnTo>
                    <a:pt x="54" y="82"/>
                  </a:lnTo>
                  <a:lnTo>
                    <a:pt x="70" y="77"/>
                  </a:lnTo>
                  <a:lnTo>
                    <a:pt x="70" y="39"/>
                  </a:lnTo>
                  <a:lnTo>
                    <a:pt x="81" y="28"/>
                  </a:lnTo>
                  <a:lnTo>
                    <a:pt x="81" y="17"/>
                  </a:lnTo>
                  <a:lnTo>
                    <a:pt x="81" y="6"/>
                  </a:lnTo>
                  <a:lnTo>
                    <a:pt x="92" y="0"/>
                  </a:lnTo>
                  <a:lnTo>
                    <a:pt x="98" y="0"/>
                  </a:lnTo>
                  <a:lnTo>
                    <a:pt x="109" y="6"/>
                  </a:lnTo>
                  <a:lnTo>
                    <a:pt x="119" y="11"/>
                  </a:lnTo>
                  <a:lnTo>
                    <a:pt x="130" y="11"/>
                  </a:lnTo>
                  <a:lnTo>
                    <a:pt x="136" y="6"/>
                  </a:lnTo>
                  <a:lnTo>
                    <a:pt x="141" y="6"/>
                  </a:lnTo>
                  <a:lnTo>
                    <a:pt x="158" y="0"/>
                  </a:lnTo>
                  <a:lnTo>
                    <a:pt x="158" y="6"/>
                  </a:lnTo>
                  <a:lnTo>
                    <a:pt x="163" y="0"/>
                  </a:lnTo>
                  <a:lnTo>
                    <a:pt x="179" y="0"/>
                  </a:lnTo>
                  <a:lnTo>
                    <a:pt x="185" y="0"/>
                  </a:lnTo>
                  <a:lnTo>
                    <a:pt x="190" y="0"/>
                  </a:lnTo>
                  <a:lnTo>
                    <a:pt x="196" y="0"/>
                  </a:lnTo>
                  <a:lnTo>
                    <a:pt x="201" y="6"/>
                  </a:lnTo>
                  <a:lnTo>
                    <a:pt x="207" y="11"/>
                  </a:lnTo>
                  <a:lnTo>
                    <a:pt x="212" y="6"/>
                  </a:lnTo>
                  <a:lnTo>
                    <a:pt x="217" y="11"/>
                  </a:lnTo>
                  <a:lnTo>
                    <a:pt x="223" y="6"/>
                  </a:lnTo>
                  <a:lnTo>
                    <a:pt x="239" y="22"/>
                  </a:lnTo>
                  <a:lnTo>
                    <a:pt x="239" y="33"/>
                  </a:lnTo>
                  <a:lnTo>
                    <a:pt x="245" y="39"/>
                  </a:lnTo>
                  <a:lnTo>
                    <a:pt x="234" y="5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6" name="Freeform 478"/>
            <p:cNvSpPr>
              <a:spLocks/>
            </p:cNvSpPr>
            <p:nvPr/>
          </p:nvSpPr>
          <p:spPr bwMode="auto">
            <a:xfrm>
              <a:off x="3063" y="2942"/>
              <a:ext cx="71" cy="65"/>
            </a:xfrm>
            <a:custGeom>
              <a:avLst/>
              <a:gdLst>
                <a:gd name="T0" fmla="*/ 54 w 71"/>
                <a:gd name="T1" fmla="*/ 49 h 65"/>
                <a:gd name="T2" fmla="*/ 65 w 71"/>
                <a:gd name="T3" fmla="*/ 33 h 65"/>
                <a:gd name="T4" fmla="*/ 71 w 71"/>
                <a:gd name="T5" fmla="*/ 22 h 65"/>
                <a:gd name="T6" fmla="*/ 65 w 71"/>
                <a:gd name="T7" fmla="*/ 16 h 65"/>
                <a:gd name="T8" fmla="*/ 65 w 71"/>
                <a:gd name="T9" fmla="*/ 11 h 65"/>
                <a:gd name="T10" fmla="*/ 60 w 71"/>
                <a:gd name="T11" fmla="*/ 0 h 65"/>
                <a:gd name="T12" fmla="*/ 54 w 71"/>
                <a:gd name="T13" fmla="*/ 0 h 65"/>
                <a:gd name="T14" fmla="*/ 49 w 71"/>
                <a:gd name="T15" fmla="*/ 0 h 65"/>
                <a:gd name="T16" fmla="*/ 16 w 71"/>
                <a:gd name="T17" fmla="*/ 5 h 65"/>
                <a:gd name="T18" fmla="*/ 16 w 71"/>
                <a:gd name="T19" fmla="*/ 16 h 65"/>
                <a:gd name="T20" fmla="*/ 22 w 71"/>
                <a:gd name="T21" fmla="*/ 22 h 65"/>
                <a:gd name="T22" fmla="*/ 22 w 71"/>
                <a:gd name="T23" fmla="*/ 27 h 65"/>
                <a:gd name="T24" fmla="*/ 11 w 71"/>
                <a:gd name="T25" fmla="*/ 38 h 65"/>
                <a:gd name="T26" fmla="*/ 11 w 71"/>
                <a:gd name="T27" fmla="*/ 33 h 65"/>
                <a:gd name="T28" fmla="*/ 0 w 71"/>
                <a:gd name="T29" fmla="*/ 44 h 65"/>
                <a:gd name="T30" fmla="*/ 0 w 71"/>
                <a:gd name="T31" fmla="*/ 65 h 65"/>
                <a:gd name="T32" fmla="*/ 5 w 71"/>
                <a:gd name="T33" fmla="*/ 65 h 65"/>
                <a:gd name="T34" fmla="*/ 11 w 71"/>
                <a:gd name="T35" fmla="*/ 65 h 65"/>
                <a:gd name="T36" fmla="*/ 27 w 71"/>
                <a:gd name="T37" fmla="*/ 60 h 65"/>
                <a:gd name="T38" fmla="*/ 27 w 71"/>
                <a:gd name="T39" fmla="*/ 49 h 65"/>
                <a:gd name="T40" fmla="*/ 38 w 71"/>
                <a:gd name="T41" fmla="*/ 49 h 65"/>
                <a:gd name="T42" fmla="*/ 43 w 71"/>
                <a:gd name="T43" fmla="*/ 49 h 65"/>
                <a:gd name="T44" fmla="*/ 49 w 71"/>
                <a:gd name="T45" fmla="*/ 44 h 65"/>
                <a:gd name="T46" fmla="*/ 54 w 71"/>
                <a:gd name="T47" fmla="*/ 49 h 65"/>
                <a:gd name="T48" fmla="*/ 54 w 71"/>
                <a:gd name="T49" fmla="*/ 49 h 6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1"/>
                <a:gd name="T76" fmla="*/ 0 h 65"/>
                <a:gd name="T77" fmla="*/ 71 w 71"/>
                <a:gd name="T78" fmla="*/ 65 h 6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1" h="65">
                  <a:moveTo>
                    <a:pt x="54" y="49"/>
                  </a:moveTo>
                  <a:lnTo>
                    <a:pt x="65" y="33"/>
                  </a:lnTo>
                  <a:lnTo>
                    <a:pt x="71" y="22"/>
                  </a:lnTo>
                  <a:lnTo>
                    <a:pt x="65" y="16"/>
                  </a:lnTo>
                  <a:lnTo>
                    <a:pt x="65" y="11"/>
                  </a:lnTo>
                  <a:lnTo>
                    <a:pt x="60" y="0"/>
                  </a:lnTo>
                  <a:lnTo>
                    <a:pt x="54" y="0"/>
                  </a:lnTo>
                  <a:lnTo>
                    <a:pt x="49" y="0"/>
                  </a:lnTo>
                  <a:lnTo>
                    <a:pt x="16" y="5"/>
                  </a:lnTo>
                  <a:lnTo>
                    <a:pt x="16" y="16"/>
                  </a:lnTo>
                  <a:lnTo>
                    <a:pt x="22" y="22"/>
                  </a:lnTo>
                  <a:lnTo>
                    <a:pt x="22" y="27"/>
                  </a:lnTo>
                  <a:lnTo>
                    <a:pt x="11" y="38"/>
                  </a:lnTo>
                  <a:lnTo>
                    <a:pt x="11" y="33"/>
                  </a:lnTo>
                  <a:lnTo>
                    <a:pt x="0" y="44"/>
                  </a:lnTo>
                  <a:lnTo>
                    <a:pt x="0" y="65"/>
                  </a:lnTo>
                  <a:lnTo>
                    <a:pt x="5" y="65"/>
                  </a:lnTo>
                  <a:lnTo>
                    <a:pt x="11" y="65"/>
                  </a:lnTo>
                  <a:lnTo>
                    <a:pt x="27" y="60"/>
                  </a:lnTo>
                  <a:lnTo>
                    <a:pt x="27" y="49"/>
                  </a:lnTo>
                  <a:lnTo>
                    <a:pt x="38" y="49"/>
                  </a:lnTo>
                  <a:lnTo>
                    <a:pt x="43" y="49"/>
                  </a:lnTo>
                  <a:lnTo>
                    <a:pt x="49" y="44"/>
                  </a:lnTo>
                  <a:lnTo>
                    <a:pt x="54"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7" name="Freeform 479"/>
            <p:cNvSpPr>
              <a:spLocks/>
            </p:cNvSpPr>
            <p:nvPr/>
          </p:nvSpPr>
          <p:spPr bwMode="auto">
            <a:xfrm>
              <a:off x="3101" y="3111"/>
              <a:ext cx="43" cy="104"/>
            </a:xfrm>
            <a:custGeom>
              <a:avLst/>
              <a:gdLst>
                <a:gd name="T0" fmla="*/ 5 w 43"/>
                <a:gd name="T1" fmla="*/ 60 h 104"/>
                <a:gd name="T2" fmla="*/ 11 w 43"/>
                <a:gd name="T3" fmla="*/ 71 h 104"/>
                <a:gd name="T4" fmla="*/ 22 w 43"/>
                <a:gd name="T5" fmla="*/ 65 h 104"/>
                <a:gd name="T6" fmla="*/ 22 w 43"/>
                <a:gd name="T7" fmla="*/ 71 h 104"/>
                <a:gd name="T8" fmla="*/ 27 w 43"/>
                <a:gd name="T9" fmla="*/ 76 h 104"/>
                <a:gd name="T10" fmla="*/ 22 w 43"/>
                <a:gd name="T11" fmla="*/ 87 h 104"/>
                <a:gd name="T12" fmla="*/ 22 w 43"/>
                <a:gd name="T13" fmla="*/ 93 h 104"/>
                <a:gd name="T14" fmla="*/ 33 w 43"/>
                <a:gd name="T15" fmla="*/ 98 h 104"/>
                <a:gd name="T16" fmla="*/ 33 w 43"/>
                <a:gd name="T17" fmla="*/ 104 h 104"/>
                <a:gd name="T18" fmla="*/ 33 w 43"/>
                <a:gd name="T19" fmla="*/ 104 h 104"/>
                <a:gd name="T20" fmla="*/ 33 w 43"/>
                <a:gd name="T21" fmla="*/ 98 h 104"/>
                <a:gd name="T22" fmla="*/ 33 w 43"/>
                <a:gd name="T23" fmla="*/ 93 h 104"/>
                <a:gd name="T24" fmla="*/ 43 w 43"/>
                <a:gd name="T25" fmla="*/ 87 h 104"/>
                <a:gd name="T26" fmla="*/ 43 w 43"/>
                <a:gd name="T27" fmla="*/ 76 h 104"/>
                <a:gd name="T28" fmla="*/ 27 w 43"/>
                <a:gd name="T29" fmla="*/ 55 h 104"/>
                <a:gd name="T30" fmla="*/ 33 w 43"/>
                <a:gd name="T31" fmla="*/ 65 h 104"/>
                <a:gd name="T32" fmla="*/ 27 w 43"/>
                <a:gd name="T33" fmla="*/ 65 h 104"/>
                <a:gd name="T34" fmla="*/ 27 w 43"/>
                <a:gd name="T35" fmla="*/ 65 h 104"/>
                <a:gd name="T36" fmla="*/ 27 w 43"/>
                <a:gd name="T37" fmla="*/ 60 h 104"/>
                <a:gd name="T38" fmla="*/ 16 w 43"/>
                <a:gd name="T39" fmla="*/ 38 h 104"/>
                <a:gd name="T40" fmla="*/ 22 w 43"/>
                <a:gd name="T41" fmla="*/ 33 h 104"/>
                <a:gd name="T42" fmla="*/ 22 w 43"/>
                <a:gd name="T43" fmla="*/ 16 h 104"/>
                <a:gd name="T44" fmla="*/ 16 w 43"/>
                <a:gd name="T45" fmla="*/ 11 h 104"/>
                <a:gd name="T46" fmla="*/ 16 w 43"/>
                <a:gd name="T47" fmla="*/ 5 h 104"/>
                <a:gd name="T48" fmla="*/ 11 w 43"/>
                <a:gd name="T49" fmla="*/ 5 h 104"/>
                <a:gd name="T50" fmla="*/ 5 w 43"/>
                <a:gd name="T51" fmla="*/ 0 h 104"/>
                <a:gd name="T52" fmla="*/ 11 w 43"/>
                <a:gd name="T53" fmla="*/ 16 h 104"/>
                <a:gd name="T54" fmla="*/ 11 w 43"/>
                <a:gd name="T55" fmla="*/ 22 h 104"/>
                <a:gd name="T56" fmla="*/ 11 w 43"/>
                <a:gd name="T57" fmla="*/ 27 h 104"/>
                <a:gd name="T58" fmla="*/ 11 w 43"/>
                <a:gd name="T59" fmla="*/ 38 h 104"/>
                <a:gd name="T60" fmla="*/ 11 w 43"/>
                <a:gd name="T61" fmla="*/ 44 h 104"/>
                <a:gd name="T62" fmla="*/ 5 w 43"/>
                <a:gd name="T63" fmla="*/ 44 h 104"/>
                <a:gd name="T64" fmla="*/ 0 w 43"/>
                <a:gd name="T65" fmla="*/ 60 h 104"/>
                <a:gd name="T66" fmla="*/ 5 w 43"/>
                <a:gd name="T67" fmla="*/ 60 h 104"/>
                <a:gd name="T68" fmla="*/ 5 w 43"/>
                <a:gd name="T69" fmla="*/ 60 h 10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
                <a:gd name="T106" fmla="*/ 0 h 104"/>
                <a:gd name="T107" fmla="*/ 43 w 43"/>
                <a:gd name="T108" fmla="*/ 104 h 10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 h="104">
                  <a:moveTo>
                    <a:pt x="5" y="60"/>
                  </a:moveTo>
                  <a:lnTo>
                    <a:pt x="11" y="71"/>
                  </a:lnTo>
                  <a:lnTo>
                    <a:pt x="22" y="65"/>
                  </a:lnTo>
                  <a:lnTo>
                    <a:pt x="22" y="71"/>
                  </a:lnTo>
                  <a:lnTo>
                    <a:pt x="27" y="76"/>
                  </a:lnTo>
                  <a:lnTo>
                    <a:pt x="22" y="87"/>
                  </a:lnTo>
                  <a:lnTo>
                    <a:pt x="22" y="93"/>
                  </a:lnTo>
                  <a:lnTo>
                    <a:pt x="33" y="98"/>
                  </a:lnTo>
                  <a:lnTo>
                    <a:pt x="33" y="104"/>
                  </a:lnTo>
                  <a:lnTo>
                    <a:pt x="33" y="98"/>
                  </a:lnTo>
                  <a:lnTo>
                    <a:pt x="33" y="93"/>
                  </a:lnTo>
                  <a:lnTo>
                    <a:pt x="43" y="87"/>
                  </a:lnTo>
                  <a:lnTo>
                    <a:pt x="43" y="76"/>
                  </a:lnTo>
                  <a:lnTo>
                    <a:pt x="27" y="55"/>
                  </a:lnTo>
                  <a:lnTo>
                    <a:pt x="33" y="65"/>
                  </a:lnTo>
                  <a:lnTo>
                    <a:pt x="27" y="65"/>
                  </a:lnTo>
                  <a:lnTo>
                    <a:pt x="27" y="60"/>
                  </a:lnTo>
                  <a:lnTo>
                    <a:pt x="16" y="38"/>
                  </a:lnTo>
                  <a:lnTo>
                    <a:pt x="22" y="33"/>
                  </a:lnTo>
                  <a:lnTo>
                    <a:pt x="22" y="16"/>
                  </a:lnTo>
                  <a:lnTo>
                    <a:pt x="16" y="11"/>
                  </a:lnTo>
                  <a:lnTo>
                    <a:pt x="16" y="5"/>
                  </a:lnTo>
                  <a:lnTo>
                    <a:pt x="11" y="5"/>
                  </a:lnTo>
                  <a:lnTo>
                    <a:pt x="5" y="0"/>
                  </a:lnTo>
                  <a:lnTo>
                    <a:pt x="11" y="16"/>
                  </a:lnTo>
                  <a:lnTo>
                    <a:pt x="11" y="22"/>
                  </a:lnTo>
                  <a:lnTo>
                    <a:pt x="11" y="27"/>
                  </a:lnTo>
                  <a:lnTo>
                    <a:pt x="11" y="38"/>
                  </a:lnTo>
                  <a:lnTo>
                    <a:pt x="11" y="44"/>
                  </a:lnTo>
                  <a:lnTo>
                    <a:pt x="5" y="44"/>
                  </a:lnTo>
                  <a:lnTo>
                    <a:pt x="0" y="60"/>
                  </a:lnTo>
                  <a:lnTo>
                    <a:pt x="5"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8" name="Freeform 480"/>
            <p:cNvSpPr>
              <a:spLocks/>
            </p:cNvSpPr>
            <p:nvPr/>
          </p:nvSpPr>
          <p:spPr bwMode="auto">
            <a:xfrm>
              <a:off x="3068" y="3127"/>
              <a:ext cx="136" cy="219"/>
            </a:xfrm>
            <a:custGeom>
              <a:avLst/>
              <a:gdLst>
                <a:gd name="T0" fmla="*/ 136 w 136"/>
                <a:gd name="T1" fmla="*/ 6 h 219"/>
                <a:gd name="T2" fmla="*/ 131 w 136"/>
                <a:gd name="T3" fmla="*/ 33 h 219"/>
                <a:gd name="T4" fmla="*/ 136 w 136"/>
                <a:gd name="T5" fmla="*/ 49 h 219"/>
                <a:gd name="T6" fmla="*/ 131 w 136"/>
                <a:gd name="T7" fmla="*/ 60 h 219"/>
                <a:gd name="T8" fmla="*/ 131 w 136"/>
                <a:gd name="T9" fmla="*/ 66 h 219"/>
                <a:gd name="T10" fmla="*/ 125 w 136"/>
                <a:gd name="T11" fmla="*/ 77 h 219"/>
                <a:gd name="T12" fmla="*/ 93 w 136"/>
                <a:gd name="T13" fmla="*/ 93 h 219"/>
                <a:gd name="T14" fmla="*/ 82 w 136"/>
                <a:gd name="T15" fmla="*/ 104 h 219"/>
                <a:gd name="T16" fmla="*/ 76 w 136"/>
                <a:gd name="T17" fmla="*/ 110 h 219"/>
                <a:gd name="T18" fmla="*/ 60 w 136"/>
                <a:gd name="T19" fmla="*/ 126 h 219"/>
                <a:gd name="T20" fmla="*/ 60 w 136"/>
                <a:gd name="T21" fmla="*/ 137 h 219"/>
                <a:gd name="T22" fmla="*/ 71 w 136"/>
                <a:gd name="T23" fmla="*/ 159 h 219"/>
                <a:gd name="T24" fmla="*/ 66 w 136"/>
                <a:gd name="T25" fmla="*/ 186 h 219"/>
                <a:gd name="T26" fmla="*/ 66 w 136"/>
                <a:gd name="T27" fmla="*/ 186 h 219"/>
                <a:gd name="T28" fmla="*/ 33 w 136"/>
                <a:gd name="T29" fmla="*/ 202 h 219"/>
                <a:gd name="T30" fmla="*/ 33 w 136"/>
                <a:gd name="T31" fmla="*/ 213 h 219"/>
                <a:gd name="T32" fmla="*/ 33 w 136"/>
                <a:gd name="T33" fmla="*/ 219 h 219"/>
                <a:gd name="T34" fmla="*/ 22 w 136"/>
                <a:gd name="T35" fmla="*/ 208 h 219"/>
                <a:gd name="T36" fmla="*/ 17 w 136"/>
                <a:gd name="T37" fmla="*/ 164 h 219"/>
                <a:gd name="T38" fmla="*/ 28 w 136"/>
                <a:gd name="T39" fmla="*/ 148 h 219"/>
                <a:gd name="T40" fmla="*/ 33 w 136"/>
                <a:gd name="T41" fmla="*/ 115 h 219"/>
                <a:gd name="T42" fmla="*/ 38 w 136"/>
                <a:gd name="T43" fmla="*/ 93 h 219"/>
                <a:gd name="T44" fmla="*/ 17 w 136"/>
                <a:gd name="T45" fmla="*/ 71 h 219"/>
                <a:gd name="T46" fmla="*/ 0 w 136"/>
                <a:gd name="T47" fmla="*/ 66 h 219"/>
                <a:gd name="T48" fmla="*/ 38 w 136"/>
                <a:gd name="T49" fmla="*/ 44 h 219"/>
                <a:gd name="T50" fmla="*/ 55 w 136"/>
                <a:gd name="T51" fmla="*/ 49 h 219"/>
                <a:gd name="T52" fmla="*/ 60 w 136"/>
                <a:gd name="T53" fmla="*/ 60 h 219"/>
                <a:gd name="T54" fmla="*/ 55 w 136"/>
                <a:gd name="T55" fmla="*/ 77 h 219"/>
                <a:gd name="T56" fmla="*/ 66 w 136"/>
                <a:gd name="T57" fmla="*/ 88 h 219"/>
                <a:gd name="T58" fmla="*/ 66 w 136"/>
                <a:gd name="T59" fmla="*/ 82 h 219"/>
                <a:gd name="T60" fmla="*/ 76 w 136"/>
                <a:gd name="T61" fmla="*/ 71 h 219"/>
                <a:gd name="T62" fmla="*/ 60 w 136"/>
                <a:gd name="T63" fmla="*/ 39 h 219"/>
                <a:gd name="T64" fmla="*/ 60 w 136"/>
                <a:gd name="T65" fmla="*/ 11 h 219"/>
                <a:gd name="T66" fmla="*/ 82 w 136"/>
                <a:gd name="T67" fmla="*/ 17 h 219"/>
                <a:gd name="T68" fmla="*/ 109 w 136"/>
                <a:gd name="T69" fmla="*/ 11 h 219"/>
                <a:gd name="T70" fmla="*/ 125 w 136"/>
                <a:gd name="T71" fmla="*/ 6 h 219"/>
                <a:gd name="T72" fmla="*/ 136 w 136"/>
                <a:gd name="T73" fmla="*/ 0 h 21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6"/>
                <a:gd name="T112" fmla="*/ 0 h 219"/>
                <a:gd name="T113" fmla="*/ 136 w 136"/>
                <a:gd name="T114" fmla="*/ 219 h 21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6" h="219">
                  <a:moveTo>
                    <a:pt x="136" y="0"/>
                  </a:moveTo>
                  <a:lnTo>
                    <a:pt x="136" y="6"/>
                  </a:lnTo>
                  <a:lnTo>
                    <a:pt x="131" y="17"/>
                  </a:lnTo>
                  <a:lnTo>
                    <a:pt x="131" y="33"/>
                  </a:lnTo>
                  <a:lnTo>
                    <a:pt x="131" y="49"/>
                  </a:lnTo>
                  <a:lnTo>
                    <a:pt x="136" y="49"/>
                  </a:lnTo>
                  <a:lnTo>
                    <a:pt x="136" y="55"/>
                  </a:lnTo>
                  <a:lnTo>
                    <a:pt x="131" y="60"/>
                  </a:lnTo>
                  <a:lnTo>
                    <a:pt x="136" y="60"/>
                  </a:lnTo>
                  <a:lnTo>
                    <a:pt x="131" y="66"/>
                  </a:lnTo>
                  <a:lnTo>
                    <a:pt x="125" y="77"/>
                  </a:lnTo>
                  <a:lnTo>
                    <a:pt x="115" y="88"/>
                  </a:lnTo>
                  <a:lnTo>
                    <a:pt x="93" y="93"/>
                  </a:lnTo>
                  <a:lnTo>
                    <a:pt x="82" y="104"/>
                  </a:lnTo>
                  <a:lnTo>
                    <a:pt x="76" y="110"/>
                  </a:lnTo>
                  <a:lnTo>
                    <a:pt x="76" y="115"/>
                  </a:lnTo>
                  <a:lnTo>
                    <a:pt x="60" y="126"/>
                  </a:lnTo>
                  <a:lnTo>
                    <a:pt x="60" y="137"/>
                  </a:lnTo>
                  <a:lnTo>
                    <a:pt x="66" y="159"/>
                  </a:lnTo>
                  <a:lnTo>
                    <a:pt x="71" y="159"/>
                  </a:lnTo>
                  <a:lnTo>
                    <a:pt x="66" y="180"/>
                  </a:lnTo>
                  <a:lnTo>
                    <a:pt x="66" y="186"/>
                  </a:lnTo>
                  <a:lnTo>
                    <a:pt x="66" y="180"/>
                  </a:lnTo>
                  <a:lnTo>
                    <a:pt x="66" y="186"/>
                  </a:lnTo>
                  <a:lnTo>
                    <a:pt x="60" y="191"/>
                  </a:lnTo>
                  <a:lnTo>
                    <a:pt x="33" y="202"/>
                  </a:lnTo>
                  <a:lnTo>
                    <a:pt x="28" y="213"/>
                  </a:lnTo>
                  <a:lnTo>
                    <a:pt x="33" y="213"/>
                  </a:lnTo>
                  <a:lnTo>
                    <a:pt x="33" y="219"/>
                  </a:lnTo>
                  <a:lnTo>
                    <a:pt x="28" y="219"/>
                  </a:lnTo>
                  <a:lnTo>
                    <a:pt x="22" y="208"/>
                  </a:lnTo>
                  <a:lnTo>
                    <a:pt x="22" y="186"/>
                  </a:lnTo>
                  <a:lnTo>
                    <a:pt x="17" y="164"/>
                  </a:lnTo>
                  <a:lnTo>
                    <a:pt x="22" y="159"/>
                  </a:lnTo>
                  <a:lnTo>
                    <a:pt x="28" y="148"/>
                  </a:lnTo>
                  <a:lnTo>
                    <a:pt x="33" y="126"/>
                  </a:lnTo>
                  <a:lnTo>
                    <a:pt x="33" y="115"/>
                  </a:lnTo>
                  <a:lnTo>
                    <a:pt x="38" y="104"/>
                  </a:lnTo>
                  <a:lnTo>
                    <a:pt x="38" y="93"/>
                  </a:lnTo>
                  <a:lnTo>
                    <a:pt x="33" y="77"/>
                  </a:lnTo>
                  <a:lnTo>
                    <a:pt x="17" y="71"/>
                  </a:lnTo>
                  <a:lnTo>
                    <a:pt x="0" y="71"/>
                  </a:lnTo>
                  <a:lnTo>
                    <a:pt x="0" y="66"/>
                  </a:lnTo>
                  <a:lnTo>
                    <a:pt x="0" y="60"/>
                  </a:lnTo>
                  <a:lnTo>
                    <a:pt x="38" y="44"/>
                  </a:lnTo>
                  <a:lnTo>
                    <a:pt x="44" y="55"/>
                  </a:lnTo>
                  <a:lnTo>
                    <a:pt x="55" y="49"/>
                  </a:lnTo>
                  <a:lnTo>
                    <a:pt x="55" y="55"/>
                  </a:lnTo>
                  <a:lnTo>
                    <a:pt x="60" y="60"/>
                  </a:lnTo>
                  <a:lnTo>
                    <a:pt x="55" y="71"/>
                  </a:lnTo>
                  <a:lnTo>
                    <a:pt x="55" y="77"/>
                  </a:lnTo>
                  <a:lnTo>
                    <a:pt x="66" y="82"/>
                  </a:lnTo>
                  <a:lnTo>
                    <a:pt x="66" y="88"/>
                  </a:lnTo>
                  <a:lnTo>
                    <a:pt x="66" y="82"/>
                  </a:lnTo>
                  <a:lnTo>
                    <a:pt x="66" y="77"/>
                  </a:lnTo>
                  <a:lnTo>
                    <a:pt x="76" y="71"/>
                  </a:lnTo>
                  <a:lnTo>
                    <a:pt x="76" y="60"/>
                  </a:lnTo>
                  <a:lnTo>
                    <a:pt x="60" y="39"/>
                  </a:lnTo>
                  <a:lnTo>
                    <a:pt x="60" y="28"/>
                  </a:lnTo>
                  <a:lnTo>
                    <a:pt x="60" y="11"/>
                  </a:lnTo>
                  <a:lnTo>
                    <a:pt x="76" y="11"/>
                  </a:lnTo>
                  <a:lnTo>
                    <a:pt x="82" y="17"/>
                  </a:lnTo>
                  <a:lnTo>
                    <a:pt x="98" y="11"/>
                  </a:lnTo>
                  <a:lnTo>
                    <a:pt x="109" y="11"/>
                  </a:lnTo>
                  <a:lnTo>
                    <a:pt x="115" y="11"/>
                  </a:lnTo>
                  <a:lnTo>
                    <a:pt x="125" y="6"/>
                  </a:lnTo>
                  <a:lnTo>
                    <a:pt x="13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59" name="Freeform 481"/>
            <p:cNvSpPr>
              <a:spLocks/>
            </p:cNvSpPr>
            <p:nvPr/>
          </p:nvSpPr>
          <p:spPr bwMode="auto">
            <a:xfrm>
              <a:off x="3063" y="3002"/>
              <a:ext cx="141" cy="142"/>
            </a:xfrm>
            <a:custGeom>
              <a:avLst/>
              <a:gdLst>
                <a:gd name="T0" fmla="*/ 65 w 141"/>
                <a:gd name="T1" fmla="*/ 136 h 142"/>
                <a:gd name="T2" fmla="*/ 81 w 141"/>
                <a:gd name="T3" fmla="*/ 136 h 142"/>
                <a:gd name="T4" fmla="*/ 87 w 141"/>
                <a:gd name="T5" fmla="*/ 142 h 142"/>
                <a:gd name="T6" fmla="*/ 103 w 141"/>
                <a:gd name="T7" fmla="*/ 136 h 142"/>
                <a:gd name="T8" fmla="*/ 114 w 141"/>
                <a:gd name="T9" fmla="*/ 136 h 142"/>
                <a:gd name="T10" fmla="*/ 120 w 141"/>
                <a:gd name="T11" fmla="*/ 136 h 142"/>
                <a:gd name="T12" fmla="*/ 130 w 141"/>
                <a:gd name="T13" fmla="*/ 131 h 142"/>
                <a:gd name="T14" fmla="*/ 141 w 141"/>
                <a:gd name="T15" fmla="*/ 125 h 142"/>
                <a:gd name="T16" fmla="*/ 141 w 141"/>
                <a:gd name="T17" fmla="*/ 125 h 142"/>
                <a:gd name="T18" fmla="*/ 130 w 141"/>
                <a:gd name="T19" fmla="*/ 120 h 142"/>
                <a:gd name="T20" fmla="*/ 125 w 141"/>
                <a:gd name="T21" fmla="*/ 104 h 142"/>
                <a:gd name="T22" fmla="*/ 125 w 141"/>
                <a:gd name="T23" fmla="*/ 98 h 142"/>
                <a:gd name="T24" fmla="*/ 130 w 141"/>
                <a:gd name="T25" fmla="*/ 82 h 142"/>
                <a:gd name="T26" fmla="*/ 120 w 141"/>
                <a:gd name="T27" fmla="*/ 71 h 142"/>
                <a:gd name="T28" fmla="*/ 125 w 141"/>
                <a:gd name="T29" fmla="*/ 49 h 142"/>
                <a:gd name="T30" fmla="*/ 109 w 141"/>
                <a:gd name="T31" fmla="*/ 38 h 142"/>
                <a:gd name="T32" fmla="*/ 103 w 141"/>
                <a:gd name="T33" fmla="*/ 27 h 142"/>
                <a:gd name="T34" fmla="*/ 60 w 141"/>
                <a:gd name="T35" fmla="*/ 0 h 142"/>
                <a:gd name="T36" fmla="*/ 49 w 141"/>
                <a:gd name="T37" fmla="*/ 16 h 142"/>
                <a:gd name="T38" fmla="*/ 54 w 141"/>
                <a:gd name="T39" fmla="*/ 16 h 142"/>
                <a:gd name="T40" fmla="*/ 43 w 141"/>
                <a:gd name="T41" fmla="*/ 22 h 142"/>
                <a:gd name="T42" fmla="*/ 43 w 141"/>
                <a:gd name="T43" fmla="*/ 27 h 142"/>
                <a:gd name="T44" fmla="*/ 38 w 141"/>
                <a:gd name="T45" fmla="*/ 22 h 142"/>
                <a:gd name="T46" fmla="*/ 38 w 141"/>
                <a:gd name="T47" fmla="*/ 22 h 142"/>
                <a:gd name="T48" fmla="*/ 33 w 141"/>
                <a:gd name="T49" fmla="*/ 16 h 142"/>
                <a:gd name="T50" fmla="*/ 33 w 141"/>
                <a:gd name="T51" fmla="*/ 22 h 142"/>
                <a:gd name="T52" fmla="*/ 27 w 141"/>
                <a:gd name="T53" fmla="*/ 27 h 142"/>
                <a:gd name="T54" fmla="*/ 27 w 141"/>
                <a:gd name="T55" fmla="*/ 16 h 142"/>
                <a:gd name="T56" fmla="*/ 27 w 141"/>
                <a:gd name="T57" fmla="*/ 0 h 142"/>
                <a:gd name="T58" fmla="*/ 11 w 141"/>
                <a:gd name="T59" fmla="*/ 5 h 142"/>
                <a:gd name="T60" fmla="*/ 16 w 141"/>
                <a:gd name="T61" fmla="*/ 16 h 142"/>
                <a:gd name="T62" fmla="*/ 11 w 141"/>
                <a:gd name="T63" fmla="*/ 22 h 142"/>
                <a:gd name="T64" fmla="*/ 11 w 141"/>
                <a:gd name="T65" fmla="*/ 22 h 142"/>
                <a:gd name="T66" fmla="*/ 16 w 141"/>
                <a:gd name="T67" fmla="*/ 33 h 142"/>
                <a:gd name="T68" fmla="*/ 5 w 141"/>
                <a:gd name="T69" fmla="*/ 44 h 142"/>
                <a:gd name="T70" fmla="*/ 0 w 141"/>
                <a:gd name="T71" fmla="*/ 44 h 142"/>
                <a:gd name="T72" fmla="*/ 5 w 141"/>
                <a:gd name="T73" fmla="*/ 65 h 142"/>
                <a:gd name="T74" fmla="*/ 0 w 141"/>
                <a:gd name="T75" fmla="*/ 71 h 142"/>
                <a:gd name="T76" fmla="*/ 11 w 141"/>
                <a:gd name="T77" fmla="*/ 76 h 142"/>
                <a:gd name="T78" fmla="*/ 11 w 141"/>
                <a:gd name="T79" fmla="*/ 87 h 142"/>
                <a:gd name="T80" fmla="*/ 16 w 141"/>
                <a:gd name="T81" fmla="*/ 98 h 142"/>
                <a:gd name="T82" fmla="*/ 43 w 141"/>
                <a:gd name="T83" fmla="*/ 109 h 142"/>
                <a:gd name="T84" fmla="*/ 49 w 141"/>
                <a:gd name="T85" fmla="*/ 114 h 142"/>
                <a:gd name="T86" fmla="*/ 54 w 141"/>
                <a:gd name="T87" fmla="*/ 114 h 142"/>
                <a:gd name="T88" fmla="*/ 60 w 141"/>
                <a:gd name="T89" fmla="*/ 120 h 142"/>
                <a:gd name="T90" fmla="*/ 65 w 141"/>
                <a:gd name="T91" fmla="*/ 136 h 142"/>
                <a:gd name="T92" fmla="*/ 65 w 141"/>
                <a:gd name="T93" fmla="*/ 136 h 142"/>
                <a:gd name="T94" fmla="*/ 65 w 141"/>
                <a:gd name="T95" fmla="*/ 136 h 14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1"/>
                <a:gd name="T145" fmla="*/ 0 h 142"/>
                <a:gd name="T146" fmla="*/ 141 w 141"/>
                <a:gd name="T147" fmla="*/ 142 h 14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1" h="142">
                  <a:moveTo>
                    <a:pt x="65" y="136"/>
                  </a:moveTo>
                  <a:lnTo>
                    <a:pt x="81" y="136"/>
                  </a:lnTo>
                  <a:lnTo>
                    <a:pt x="87" y="142"/>
                  </a:lnTo>
                  <a:lnTo>
                    <a:pt x="103" y="136"/>
                  </a:lnTo>
                  <a:lnTo>
                    <a:pt x="114" y="136"/>
                  </a:lnTo>
                  <a:lnTo>
                    <a:pt x="120" y="136"/>
                  </a:lnTo>
                  <a:lnTo>
                    <a:pt x="130" y="131"/>
                  </a:lnTo>
                  <a:lnTo>
                    <a:pt x="141" y="125"/>
                  </a:lnTo>
                  <a:lnTo>
                    <a:pt x="130" y="120"/>
                  </a:lnTo>
                  <a:lnTo>
                    <a:pt x="125" y="104"/>
                  </a:lnTo>
                  <a:lnTo>
                    <a:pt x="125" y="98"/>
                  </a:lnTo>
                  <a:lnTo>
                    <a:pt x="130" y="82"/>
                  </a:lnTo>
                  <a:lnTo>
                    <a:pt x="120" y="71"/>
                  </a:lnTo>
                  <a:lnTo>
                    <a:pt x="125" y="49"/>
                  </a:lnTo>
                  <a:lnTo>
                    <a:pt x="109" y="38"/>
                  </a:lnTo>
                  <a:lnTo>
                    <a:pt x="103" y="27"/>
                  </a:lnTo>
                  <a:lnTo>
                    <a:pt x="60" y="0"/>
                  </a:lnTo>
                  <a:lnTo>
                    <a:pt x="49" y="16"/>
                  </a:lnTo>
                  <a:lnTo>
                    <a:pt x="54" y="16"/>
                  </a:lnTo>
                  <a:lnTo>
                    <a:pt x="43" y="22"/>
                  </a:lnTo>
                  <a:lnTo>
                    <a:pt x="43" y="27"/>
                  </a:lnTo>
                  <a:lnTo>
                    <a:pt x="38" y="22"/>
                  </a:lnTo>
                  <a:lnTo>
                    <a:pt x="33" y="16"/>
                  </a:lnTo>
                  <a:lnTo>
                    <a:pt x="33" y="22"/>
                  </a:lnTo>
                  <a:lnTo>
                    <a:pt x="27" y="27"/>
                  </a:lnTo>
                  <a:lnTo>
                    <a:pt x="27" y="16"/>
                  </a:lnTo>
                  <a:lnTo>
                    <a:pt x="27" y="0"/>
                  </a:lnTo>
                  <a:lnTo>
                    <a:pt x="11" y="5"/>
                  </a:lnTo>
                  <a:lnTo>
                    <a:pt x="16" y="16"/>
                  </a:lnTo>
                  <a:lnTo>
                    <a:pt x="11" y="22"/>
                  </a:lnTo>
                  <a:lnTo>
                    <a:pt x="16" y="33"/>
                  </a:lnTo>
                  <a:lnTo>
                    <a:pt x="5" y="44"/>
                  </a:lnTo>
                  <a:lnTo>
                    <a:pt x="0" y="44"/>
                  </a:lnTo>
                  <a:lnTo>
                    <a:pt x="5" y="65"/>
                  </a:lnTo>
                  <a:lnTo>
                    <a:pt x="0" y="71"/>
                  </a:lnTo>
                  <a:lnTo>
                    <a:pt x="11" y="76"/>
                  </a:lnTo>
                  <a:lnTo>
                    <a:pt x="11" y="87"/>
                  </a:lnTo>
                  <a:lnTo>
                    <a:pt x="16" y="98"/>
                  </a:lnTo>
                  <a:lnTo>
                    <a:pt x="43" y="109"/>
                  </a:lnTo>
                  <a:lnTo>
                    <a:pt x="49" y="114"/>
                  </a:lnTo>
                  <a:lnTo>
                    <a:pt x="54" y="114"/>
                  </a:lnTo>
                  <a:lnTo>
                    <a:pt x="60" y="120"/>
                  </a:lnTo>
                  <a:lnTo>
                    <a:pt x="65" y="13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0" name="Freeform 482"/>
            <p:cNvSpPr>
              <a:spLocks/>
            </p:cNvSpPr>
            <p:nvPr/>
          </p:nvSpPr>
          <p:spPr bwMode="auto">
            <a:xfrm>
              <a:off x="3188" y="3067"/>
              <a:ext cx="5" cy="6"/>
            </a:xfrm>
            <a:custGeom>
              <a:avLst/>
              <a:gdLst>
                <a:gd name="T0" fmla="*/ 0 w 5"/>
                <a:gd name="T1" fmla="*/ 0 h 6"/>
                <a:gd name="T2" fmla="*/ 5 w 5"/>
                <a:gd name="T3" fmla="*/ 6 h 6"/>
                <a:gd name="T4" fmla="*/ 0 w 5"/>
                <a:gd name="T5" fmla="*/ 6 h 6"/>
                <a:gd name="T6" fmla="*/ 0 w 5"/>
                <a:gd name="T7" fmla="*/ 0 h 6"/>
                <a:gd name="T8" fmla="*/ 0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0"/>
                  </a:moveTo>
                  <a:lnTo>
                    <a:pt x="5"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1" name="Freeform 483"/>
            <p:cNvSpPr>
              <a:spLocks/>
            </p:cNvSpPr>
            <p:nvPr/>
          </p:nvSpPr>
          <p:spPr bwMode="auto">
            <a:xfrm>
              <a:off x="3193" y="3056"/>
              <a:ext cx="0" cy="6"/>
            </a:xfrm>
            <a:custGeom>
              <a:avLst/>
              <a:gdLst>
                <a:gd name="T0" fmla="*/ 0 h 6"/>
                <a:gd name="T1" fmla="*/ 6 h 6"/>
                <a:gd name="T2" fmla="*/ 0 h 6"/>
                <a:gd name="T3" fmla="*/ 0 h 6"/>
                <a:gd name="T4" fmla="*/ 0 h 6"/>
                <a:gd name="T5" fmla="*/ 0 60000 65536"/>
                <a:gd name="T6" fmla="*/ 0 60000 65536"/>
                <a:gd name="T7" fmla="*/ 0 60000 65536"/>
                <a:gd name="T8" fmla="*/ 0 60000 65536"/>
                <a:gd name="T9" fmla="*/ 0 60000 65536"/>
                <a:gd name="T10" fmla="*/ 0 h 6"/>
                <a:gd name="T11" fmla="*/ 6 h 6"/>
              </a:gdLst>
              <a:ahLst/>
              <a:cxnLst>
                <a:cxn ang="T5">
                  <a:pos x="0" y="T0"/>
                </a:cxn>
                <a:cxn ang="T6">
                  <a:pos x="0" y="T1"/>
                </a:cxn>
                <a:cxn ang="T7">
                  <a:pos x="0" y="T2"/>
                </a:cxn>
                <a:cxn ang="T8">
                  <a:pos x="0" y="T3"/>
                </a:cxn>
                <a:cxn ang="T9">
                  <a:pos x="0" y="T4"/>
                </a:cxn>
              </a:cxnLst>
              <a:rect l="0" t="T10" r="0" b="T11"/>
              <a:pathLst>
                <a:path h="6">
                  <a:moveTo>
                    <a:pt x="0" y="0"/>
                  </a:move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2" name="Freeform 484"/>
            <p:cNvSpPr>
              <a:spLocks/>
            </p:cNvSpPr>
            <p:nvPr/>
          </p:nvSpPr>
          <p:spPr bwMode="auto">
            <a:xfrm>
              <a:off x="2965" y="3095"/>
              <a:ext cx="147" cy="131"/>
            </a:xfrm>
            <a:custGeom>
              <a:avLst/>
              <a:gdLst>
                <a:gd name="T0" fmla="*/ 27 w 147"/>
                <a:gd name="T1" fmla="*/ 38 h 131"/>
                <a:gd name="T2" fmla="*/ 22 w 147"/>
                <a:gd name="T3" fmla="*/ 60 h 131"/>
                <a:gd name="T4" fmla="*/ 27 w 147"/>
                <a:gd name="T5" fmla="*/ 65 h 131"/>
                <a:gd name="T6" fmla="*/ 0 w 147"/>
                <a:gd name="T7" fmla="*/ 65 h 131"/>
                <a:gd name="T8" fmla="*/ 0 w 147"/>
                <a:gd name="T9" fmla="*/ 114 h 131"/>
                <a:gd name="T10" fmla="*/ 16 w 147"/>
                <a:gd name="T11" fmla="*/ 125 h 131"/>
                <a:gd name="T12" fmla="*/ 27 w 147"/>
                <a:gd name="T13" fmla="*/ 125 h 131"/>
                <a:gd name="T14" fmla="*/ 33 w 147"/>
                <a:gd name="T15" fmla="*/ 125 h 131"/>
                <a:gd name="T16" fmla="*/ 38 w 147"/>
                <a:gd name="T17" fmla="*/ 131 h 131"/>
                <a:gd name="T18" fmla="*/ 60 w 147"/>
                <a:gd name="T19" fmla="*/ 131 h 131"/>
                <a:gd name="T20" fmla="*/ 71 w 147"/>
                <a:gd name="T21" fmla="*/ 120 h 131"/>
                <a:gd name="T22" fmla="*/ 82 w 147"/>
                <a:gd name="T23" fmla="*/ 114 h 131"/>
                <a:gd name="T24" fmla="*/ 87 w 147"/>
                <a:gd name="T25" fmla="*/ 103 h 131"/>
                <a:gd name="T26" fmla="*/ 98 w 147"/>
                <a:gd name="T27" fmla="*/ 98 h 131"/>
                <a:gd name="T28" fmla="*/ 103 w 147"/>
                <a:gd name="T29" fmla="*/ 98 h 131"/>
                <a:gd name="T30" fmla="*/ 103 w 147"/>
                <a:gd name="T31" fmla="*/ 92 h 131"/>
                <a:gd name="T32" fmla="*/ 141 w 147"/>
                <a:gd name="T33" fmla="*/ 76 h 131"/>
                <a:gd name="T34" fmla="*/ 136 w 147"/>
                <a:gd name="T35" fmla="*/ 76 h 131"/>
                <a:gd name="T36" fmla="*/ 141 w 147"/>
                <a:gd name="T37" fmla="*/ 60 h 131"/>
                <a:gd name="T38" fmla="*/ 147 w 147"/>
                <a:gd name="T39" fmla="*/ 60 h 131"/>
                <a:gd name="T40" fmla="*/ 147 w 147"/>
                <a:gd name="T41" fmla="*/ 54 h 131"/>
                <a:gd name="T42" fmla="*/ 147 w 147"/>
                <a:gd name="T43" fmla="*/ 43 h 131"/>
                <a:gd name="T44" fmla="*/ 147 w 147"/>
                <a:gd name="T45" fmla="*/ 38 h 131"/>
                <a:gd name="T46" fmla="*/ 147 w 147"/>
                <a:gd name="T47" fmla="*/ 32 h 131"/>
                <a:gd name="T48" fmla="*/ 141 w 147"/>
                <a:gd name="T49" fmla="*/ 16 h 131"/>
                <a:gd name="T50" fmla="*/ 114 w 147"/>
                <a:gd name="T51" fmla="*/ 5 h 131"/>
                <a:gd name="T52" fmla="*/ 114 w 147"/>
                <a:gd name="T53" fmla="*/ 11 h 131"/>
                <a:gd name="T54" fmla="*/ 109 w 147"/>
                <a:gd name="T55" fmla="*/ 5 h 131"/>
                <a:gd name="T56" fmla="*/ 109 w 147"/>
                <a:gd name="T57" fmla="*/ 0 h 131"/>
                <a:gd name="T58" fmla="*/ 92 w 147"/>
                <a:gd name="T59" fmla="*/ 5 h 131"/>
                <a:gd name="T60" fmla="*/ 87 w 147"/>
                <a:gd name="T61" fmla="*/ 16 h 131"/>
                <a:gd name="T62" fmla="*/ 87 w 147"/>
                <a:gd name="T63" fmla="*/ 32 h 131"/>
                <a:gd name="T64" fmla="*/ 82 w 147"/>
                <a:gd name="T65" fmla="*/ 49 h 131"/>
                <a:gd name="T66" fmla="*/ 87 w 147"/>
                <a:gd name="T67" fmla="*/ 54 h 131"/>
                <a:gd name="T68" fmla="*/ 98 w 147"/>
                <a:gd name="T69" fmla="*/ 54 h 131"/>
                <a:gd name="T70" fmla="*/ 98 w 147"/>
                <a:gd name="T71" fmla="*/ 71 h 131"/>
                <a:gd name="T72" fmla="*/ 87 w 147"/>
                <a:gd name="T73" fmla="*/ 65 h 131"/>
                <a:gd name="T74" fmla="*/ 76 w 147"/>
                <a:gd name="T75" fmla="*/ 54 h 131"/>
                <a:gd name="T76" fmla="*/ 71 w 147"/>
                <a:gd name="T77" fmla="*/ 54 h 131"/>
                <a:gd name="T78" fmla="*/ 65 w 147"/>
                <a:gd name="T79" fmla="*/ 49 h 131"/>
                <a:gd name="T80" fmla="*/ 54 w 147"/>
                <a:gd name="T81" fmla="*/ 49 h 131"/>
                <a:gd name="T82" fmla="*/ 43 w 147"/>
                <a:gd name="T83" fmla="*/ 43 h 131"/>
                <a:gd name="T84" fmla="*/ 38 w 147"/>
                <a:gd name="T85" fmla="*/ 38 h 131"/>
                <a:gd name="T86" fmla="*/ 33 w 147"/>
                <a:gd name="T87" fmla="*/ 43 h 131"/>
                <a:gd name="T88" fmla="*/ 27 w 147"/>
                <a:gd name="T89" fmla="*/ 38 h 131"/>
                <a:gd name="T90" fmla="*/ 27 w 147"/>
                <a:gd name="T91" fmla="*/ 38 h 131"/>
                <a:gd name="T92" fmla="*/ 27 w 147"/>
                <a:gd name="T93" fmla="*/ 38 h 13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131"/>
                <a:gd name="T143" fmla="*/ 147 w 147"/>
                <a:gd name="T144" fmla="*/ 131 h 13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131">
                  <a:moveTo>
                    <a:pt x="27" y="38"/>
                  </a:moveTo>
                  <a:lnTo>
                    <a:pt x="22" y="60"/>
                  </a:lnTo>
                  <a:lnTo>
                    <a:pt x="27" y="65"/>
                  </a:lnTo>
                  <a:lnTo>
                    <a:pt x="0" y="65"/>
                  </a:lnTo>
                  <a:lnTo>
                    <a:pt x="0" y="114"/>
                  </a:lnTo>
                  <a:lnTo>
                    <a:pt x="16" y="125"/>
                  </a:lnTo>
                  <a:lnTo>
                    <a:pt x="27" y="125"/>
                  </a:lnTo>
                  <a:lnTo>
                    <a:pt x="33" y="125"/>
                  </a:lnTo>
                  <a:lnTo>
                    <a:pt x="38" y="131"/>
                  </a:lnTo>
                  <a:lnTo>
                    <a:pt x="60" y="131"/>
                  </a:lnTo>
                  <a:lnTo>
                    <a:pt x="71" y="120"/>
                  </a:lnTo>
                  <a:lnTo>
                    <a:pt x="82" y="114"/>
                  </a:lnTo>
                  <a:lnTo>
                    <a:pt x="87" y="103"/>
                  </a:lnTo>
                  <a:lnTo>
                    <a:pt x="98" y="98"/>
                  </a:lnTo>
                  <a:lnTo>
                    <a:pt x="103" y="98"/>
                  </a:lnTo>
                  <a:lnTo>
                    <a:pt x="103" y="92"/>
                  </a:lnTo>
                  <a:lnTo>
                    <a:pt x="141" y="76"/>
                  </a:lnTo>
                  <a:lnTo>
                    <a:pt x="136" y="76"/>
                  </a:lnTo>
                  <a:lnTo>
                    <a:pt x="141" y="60"/>
                  </a:lnTo>
                  <a:lnTo>
                    <a:pt x="147" y="60"/>
                  </a:lnTo>
                  <a:lnTo>
                    <a:pt x="147" y="54"/>
                  </a:lnTo>
                  <a:lnTo>
                    <a:pt x="147" y="43"/>
                  </a:lnTo>
                  <a:lnTo>
                    <a:pt x="147" y="38"/>
                  </a:lnTo>
                  <a:lnTo>
                    <a:pt x="147" y="32"/>
                  </a:lnTo>
                  <a:lnTo>
                    <a:pt x="141" y="16"/>
                  </a:lnTo>
                  <a:lnTo>
                    <a:pt x="114" y="5"/>
                  </a:lnTo>
                  <a:lnTo>
                    <a:pt x="114" y="11"/>
                  </a:lnTo>
                  <a:lnTo>
                    <a:pt x="109" y="5"/>
                  </a:lnTo>
                  <a:lnTo>
                    <a:pt x="109" y="0"/>
                  </a:lnTo>
                  <a:lnTo>
                    <a:pt x="92" y="5"/>
                  </a:lnTo>
                  <a:lnTo>
                    <a:pt x="87" y="16"/>
                  </a:lnTo>
                  <a:lnTo>
                    <a:pt x="87" y="32"/>
                  </a:lnTo>
                  <a:lnTo>
                    <a:pt x="82" y="49"/>
                  </a:lnTo>
                  <a:lnTo>
                    <a:pt x="87" y="54"/>
                  </a:lnTo>
                  <a:lnTo>
                    <a:pt x="98" y="54"/>
                  </a:lnTo>
                  <a:lnTo>
                    <a:pt x="98" y="71"/>
                  </a:lnTo>
                  <a:lnTo>
                    <a:pt x="87" y="65"/>
                  </a:lnTo>
                  <a:lnTo>
                    <a:pt x="76" y="54"/>
                  </a:lnTo>
                  <a:lnTo>
                    <a:pt x="71" y="54"/>
                  </a:lnTo>
                  <a:lnTo>
                    <a:pt x="65" y="49"/>
                  </a:lnTo>
                  <a:lnTo>
                    <a:pt x="54" y="49"/>
                  </a:lnTo>
                  <a:lnTo>
                    <a:pt x="43" y="43"/>
                  </a:lnTo>
                  <a:lnTo>
                    <a:pt x="38" y="38"/>
                  </a:lnTo>
                  <a:lnTo>
                    <a:pt x="33" y="43"/>
                  </a:lnTo>
                  <a:lnTo>
                    <a:pt x="27"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3" name="Freeform 485"/>
            <p:cNvSpPr>
              <a:spLocks/>
            </p:cNvSpPr>
            <p:nvPr/>
          </p:nvSpPr>
          <p:spPr bwMode="auto">
            <a:xfrm>
              <a:off x="2714" y="2216"/>
              <a:ext cx="44" cy="38"/>
            </a:xfrm>
            <a:custGeom>
              <a:avLst/>
              <a:gdLst>
                <a:gd name="T0" fmla="*/ 33 w 44"/>
                <a:gd name="T1" fmla="*/ 0 h 38"/>
                <a:gd name="T2" fmla="*/ 17 w 44"/>
                <a:gd name="T3" fmla="*/ 6 h 38"/>
                <a:gd name="T4" fmla="*/ 11 w 44"/>
                <a:gd name="T5" fmla="*/ 6 h 38"/>
                <a:gd name="T6" fmla="*/ 0 w 44"/>
                <a:gd name="T7" fmla="*/ 6 h 38"/>
                <a:gd name="T8" fmla="*/ 0 w 44"/>
                <a:gd name="T9" fmla="*/ 11 h 38"/>
                <a:gd name="T10" fmla="*/ 17 w 44"/>
                <a:gd name="T11" fmla="*/ 22 h 38"/>
                <a:gd name="T12" fmla="*/ 22 w 44"/>
                <a:gd name="T13" fmla="*/ 27 h 38"/>
                <a:gd name="T14" fmla="*/ 28 w 44"/>
                <a:gd name="T15" fmla="*/ 27 h 38"/>
                <a:gd name="T16" fmla="*/ 28 w 44"/>
                <a:gd name="T17" fmla="*/ 33 h 38"/>
                <a:gd name="T18" fmla="*/ 39 w 44"/>
                <a:gd name="T19" fmla="*/ 38 h 38"/>
                <a:gd name="T20" fmla="*/ 39 w 44"/>
                <a:gd name="T21" fmla="*/ 33 h 38"/>
                <a:gd name="T22" fmla="*/ 44 w 44"/>
                <a:gd name="T23" fmla="*/ 27 h 38"/>
                <a:gd name="T24" fmla="*/ 44 w 44"/>
                <a:gd name="T25" fmla="*/ 22 h 38"/>
                <a:gd name="T26" fmla="*/ 44 w 44"/>
                <a:gd name="T27" fmla="*/ 16 h 38"/>
                <a:gd name="T28" fmla="*/ 39 w 44"/>
                <a:gd name="T29" fmla="*/ 11 h 38"/>
                <a:gd name="T30" fmla="*/ 39 w 44"/>
                <a:gd name="T31" fmla="*/ 6 h 38"/>
                <a:gd name="T32" fmla="*/ 33 w 44"/>
                <a:gd name="T33" fmla="*/ 0 h 38"/>
                <a:gd name="T34" fmla="*/ 33 w 44"/>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38"/>
                <a:gd name="T56" fmla="*/ 44 w 44"/>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38">
                  <a:moveTo>
                    <a:pt x="33" y="0"/>
                  </a:moveTo>
                  <a:lnTo>
                    <a:pt x="17" y="6"/>
                  </a:lnTo>
                  <a:lnTo>
                    <a:pt x="11" y="6"/>
                  </a:lnTo>
                  <a:lnTo>
                    <a:pt x="0" y="6"/>
                  </a:lnTo>
                  <a:lnTo>
                    <a:pt x="0" y="11"/>
                  </a:lnTo>
                  <a:lnTo>
                    <a:pt x="17" y="22"/>
                  </a:lnTo>
                  <a:lnTo>
                    <a:pt x="22" y="27"/>
                  </a:lnTo>
                  <a:lnTo>
                    <a:pt x="28" y="27"/>
                  </a:lnTo>
                  <a:lnTo>
                    <a:pt x="28" y="33"/>
                  </a:lnTo>
                  <a:lnTo>
                    <a:pt x="39" y="38"/>
                  </a:lnTo>
                  <a:lnTo>
                    <a:pt x="39" y="33"/>
                  </a:lnTo>
                  <a:lnTo>
                    <a:pt x="44" y="27"/>
                  </a:lnTo>
                  <a:lnTo>
                    <a:pt x="44" y="22"/>
                  </a:lnTo>
                  <a:lnTo>
                    <a:pt x="44" y="16"/>
                  </a:lnTo>
                  <a:lnTo>
                    <a:pt x="39" y="11"/>
                  </a:lnTo>
                  <a:lnTo>
                    <a:pt x="39" y="6"/>
                  </a:lnTo>
                  <a:lnTo>
                    <a:pt x="33"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4" name="Freeform 486"/>
            <p:cNvSpPr>
              <a:spLocks/>
            </p:cNvSpPr>
            <p:nvPr/>
          </p:nvSpPr>
          <p:spPr bwMode="auto">
            <a:xfrm>
              <a:off x="3096" y="2500"/>
              <a:ext cx="32" cy="16"/>
            </a:xfrm>
            <a:custGeom>
              <a:avLst/>
              <a:gdLst>
                <a:gd name="T0" fmla="*/ 21 w 32"/>
                <a:gd name="T1" fmla="*/ 5 h 16"/>
                <a:gd name="T2" fmla="*/ 32 w 32"/>
                <a:gd name="T3" fmla="*/ 0 h 16"/>
                <a:gd name="T4" fmla="*/ 21 w 32"/>
                <a:gd name="T5" fmla="*/ 11 h 16"/>
                <a:gd name="T6" fmla="*/ 10 w 32"/>
                <a:gd name="T7" fmla="*/ 16 h 16"/>
                <a:gd name="T8" fmla="*/ 5 w 32"/>
                <a:gd name="T9" fmla="*/ 16 h 16"/>
                <a:gd name="T10" fmla="*/ 0 w 32"/>
                <a:gd name="T11" fmla="*/ 11 h 16"/>
                <a:gd name="T12" fmla="*/ 10 w 32"/>
                <a:gd name="T13" fmla="*/ 5 h 16"/>
                <a:gd name="T14" fmla="*/ 21 w 32"/>
                <a:gd name="T15" fmla="*/ 5 h 16"/>
                <a:gd name="T16" fmla="*/ 21 w 32"/>
                <a:gd name="T17" fmla="*/ 5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16"/>
                <a:gd name="T29" fmla="*/ 32 w 32"/>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16">
                  <a:moveTo>
                    <a:pt x="21" y="5"/>
                  </a:moveTo>
                  <a:lnTo>
                    <a:pt x="32" y="0"/>
                  </a:lnTo>
                  <a:lnTo>
                    <a:pt x="21" y="11"/>
                  </a:lnTo>
                  <a:lnTo>
                    <a:pt x="10" y="16"/>
                  </a:lnTo>
                  <a:lnTo>
                    <a:pt x="5" y="16"/>
                  </a:lnTo>
                  <a:lnTo>
                    <a:pt x="0" y="11"/>
                  </a:lnTo>
                  <a:lnTo>
                    <a:pt x="10" y="5"/>
                  </a:lnTo>
                  <a:lnTo>
                    <a:pt x="21"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5" name="Freeform 487"/>
            <p:cNvSpPr>
              <a:spLocks/>
            </p:cNvSpPr>
            <p:nvPr/>
          </p:nvSpPr>
          <p:spPr bwMode="auto">
            <a:xfrm>
              <a:off x="2889" y="2276"/>
              <a:ext cx="87" cy="49"/>
            </a:xfrm>
            <a:custGeom>
              <a:avLst/>
              <a:gdLst>
                <a:gd name="T0" fmla="*/ 0 w 87"/>
                <a:gd name="T1" fmla="*/ 33 h 49"/>
                <a:gd name="T2" fmla="*/ 21 w 87"/>
                <a:gd name="T3" fmla="*/ 49 h 49"/>
                <a:gd name="T4" fmla="*/ 32 w 87"/>
                <a:gd name="T5" fmla="*/ 49 h 49"/>
                <a:gd name="T6" fmla="*/ 43 w 87"/>
                <a:gd name="T7" fmla="*/ 44 h 49"/>
                <a:gd name="T8" fmla="*/ 49 w 87"/>
                <a:gd name="T9" fmla="*/ 44 h 49"/>
                <a:gd name="T10" fmla="*/ 65 w 87"/>
                <a:gd name="T11" fmla="*/ 38 h 49"/>
                <a:gd name="T12" fmla="*/ 76 w 87"/>
                <a:gd name="T13" fmla="*/ 17 h 49"/>
                <a:gd name="T14" fmla="*/ 87 w 87"/>
                <a:gd name="T15" fmla="*/ 11 h 49"/>
                <a:gd name="T16" fmla="*/ 76 w 87"/>
                <a:gd name="T17" fmla="*/ 0 h 49"/>
                <a:gd name="T18" fmla="*/ 60 w 87"/>
                <a:gd name="T19" fmla="*/ 0 h 49"/>
                <a:gd name="T20" fmla="*/ 49 w 87"/>
                <a:gd name="T21" fmla="*/ 6 h 49"/>
                <a:gd name="T22" fmla="*/ 32 w 87"/>
                <a:gd name="T23" fmla="*/ 11 h 49"/>
                <a:gd name="T24" fmla="*/ 27 w 87"/>
                <a:gd name="T25" fmla="*/ 11 h 49"/>
                <a:gd name="T26" fmla="*/ 21 w 87"/>
                <a:gd name="T27" fmla="*/ 11 h 49"/>
                <a:gd name="T28" fmla="*/ 11 w 87"/>
                <a:gd name="T29" fmla="*/ 6 h 49"/>
                <a:gd name="T30" fmla="*/ 11 w 87"/>
                <a:gd name="T31" fmla="*/ 17 h 49"/>
                <a:gd name="T32" fmla="*/ 5 w 87"/>
                <a:gd name="T33" fmla="*/ 17 h 49"/>
                <a:gd name="T34" fmla="*/ 5 w 87"/>
                <a:gd name="T35" fmla="*/ 27 h 49"/>
                <a:gd name="T36" fmla="*/ 0 w 87"/>
                <a:gd name="T37" fmla="*/ 33 h 49"/>
                <a:gd name="T38" fmla="*/ 0 w 87"/>
                <a:gd name="T39" fmla="*/ 33 h 49"/>
                <a:gd name="T40" fmla="*/ 0 w 87"/>
                <a:gd name="T41" fmla="*/ 33 h 4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7"/>
                <a:gd name="T64" fmla="*/ 0 h 49"/>
                <a:gd name="T65" fmla="*/ 87 w 87"/>
                <a:gd name="T66" fmla="*/ 49 h 4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7" h="49">
                  <a:moveTo>
                    <a:pt x="0" y="33"/>
                  </a:moveTo>
                  <a:lnTo>
                    <a:pt x="21" y="49"/>
                  </a:lnTo>
                  <a:lnTo>
                    <a:pt x="32" y="49"/>
                  </a:lnTo>
                  <a:lnTo>
                    <a:pt x="43" y="44"/>
                  </a:lnTo>
                  <a:lnTo>
                    <a:pt x="49" y="44"/>
                  </a:lnTo>
                  <a:lnTo>
                    <a:pt x="65" y="38"/>
                  </a:lnTo>
                  <a:lnTo>
                    <a:pt x="76" y="17"/>
                  </a:lnTo>
                  <a:lnTo>
                    <a:pt x="87" y="11"/>
                  </a:lnTo>
                  <a:lnTo>
                    <a:pt x="76" y="0"/>
                  </a:lnTo>
                  <a:lnTo>
                    <a:pt x="60" y="0"/>
                  </a:lnTo>
                  <a:lnTo>
                    <a:pt x="49" y="6"/>
                  </a:lnTo>
                  <a:lnTo>
                    <a:pt x="32" y="11"/>
                  </a:lnTo>
                  <a:lnTo>
                    <a:pt x="27" y="11"/>
                  </a:lnTo>
                  <a:lnTo>
                    <a:pt x="21" y="11"/>
                  </a:lnTo>
                  <a:lnTo>
                    <a:pt x="11" y="6"/>
                  </a:lnTo>
                  <a:lnTo>
                    <a:pt x="11" y="17"/>
                  </a:lnTo>
                  <a:lnTo>
                    <a:pt x="5" y="17"/>
                  </a:lnTo>
                  <a:lnTo>
                    <a:pt x="5" y="27"/>
                  </a:lnTo>
                  <a:lnTo>
                    <a:pt x="0"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6" name="Freeform 488"/>
            <p:cNvSpPr>
              <a:spLocks/>
            </p:cNvSpPr>
            <p:nvPr/>
          </p:nvSpPr>
          <p:spPr bwMode="auto">
            <a:xfrm>
              <a:off x="2867" y="2134"/>
              <a:ext cx="5" cy="6"/>
            </a:xfrm>
            <a:custGeom>
              <a:avLst/>
              <a:gdLst>
                <a:gd name="T0" fmla="*/ 5 w 5"/>
                <a:gd name="T1" fmla="*/ 6 h 6"/>
                <a:gd name="T2" fmla="*/ 0 w 5"/>
                <a:gd name="T3" fmla="*/ 0 h 6"/>
                <a:gd name="T4" fmla="*/ 0 w 5"/>
                <a:gd name="T5" fmla="*/ 6 h 6"/>
                <a:gd name="T6" fmla="*/ 5 w 5"/>
                <a:gd name="T7" fmla="*/ 6 h 6"/>
                <a:gd name="T8" fmla="*/ 5 w 5"/>
                <a:gd name="T9" fmla="*/ 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6"/>
                  </a:moveTo>
                  <a:lnTo>
                    <a:pt x="0" y="0"/>
                  </a:lnTo>
                  <a:lnTo>
                    <a:pt x="0" y="6"/>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7" name="Freeform 489"/>
            <p:cNvSpPr>
              <a:spLocks/>
            </p:cNvSpPr>
            <p:nvPr/>
          </p:nvSpPr>
          <p:spPr bwMode="auto">
            <a:xfrm>
              <a:off x="2785" y="2074"/>
              <a:ext cx="33" cy="71"/>
            </a:xfrm>
            <a:custGeom>
              <a:avLst/>
              <a:gdLst>
                <a:gd name="T0" fmla="*/ 17 w 33"/>
                <a:gd name="T1" fmla="*/ 71 h 71"/>
                <a:gd name="T2" fmla="*/ 6 w 33"/>
                <a:gd name="T3" fmla="*/ 66 h 71"/>
                <a:gd name="T4" fmla="*/ 6 w 33"/>
                <a:gd name="T5" fmla="*/ 60 h 71"/>
                <a:gd name="T6" fmla="*/ 0 w 33"/>
                <a:gd name="T7" fmla="*/ 55 h 71"/>
                <a:gd name="T8" fmla="*/ 0 w 33"/>
                <a:gd name="T9" fmla="*/ 33 h 71"/>
                <a:gd name="T10" fmla="*/ 0 w 33"/>
                <a:gd name="T11" fmla="*/ 22 h 71"/>
                <a:gd name="T12" fmla="*/ 27 w 33"/>
                <a:gd name="T13" fmla="*/ 0 h 71"/>
                <a:gd name="T14" fmla="*/ 27 w 33"/>
                <a:gd name="T15" fmla="*/ 17 h 71"/>
                <a:gd name="T16" fmla="*/ 22 w 33"/>
                <a:gd name="T17" fmla="*/ 28 h 71"/>
                <a:gd name="T18" fmla="*/ 27 w 33"/>
                <a:gd name="T19" fmla="*/ 28 h 71"/>
                <a:gd name="T20" fmla="*/ 27 w 33"/>
                <a:gd name="T21" fmla="*/ 33 h 71"/>
                <a:gd name="T22" fmla="*/ 33 w 33"/>
                <a:gd name="T23" fmla="*/ 33 h 71"/>
                <a:gd name="T24" fmla="*/ 33 w 33"/>
                <a:gd name="T25" fmla="*/ 38 h 71"/>
                <a:gd name="T26" fmla="*/ 27 w 33"/>
                <a:gd name="T27" fmla="*/ 38 h 71"/>
                <a:gd name="T28" fmla="*/ 27 w 33"/>
                <a:gd name="T29" fmla="*/ 38 h 71"/>
                <a:gd name="T30" fmla="*/ 27 w 33"/>
                <a:gd name="T31" fmla="*/ 44 h 71"/>
                <a:gd name="T32" fmla="*/ 22 w 33"/>
                <a:gd name="T33" fmla="*/ 44 h 71"/>
                <a:gd name="T34" fmla="*/ 22 w 33"/>
                <a:gd name="T35" fmla="*/ 49 h 71"/>
                <a:gd name="T36" fmla="*/ 17 w 33"/>
                <a:gd name="T37" fmla="*/ 49 h 71"/>
                <a:gd name="T38" fmla="*/ 17 w 33"/>
                <a:gd name="T39" fmla="*/ 55 h 71"/>
                <a:gd name="T40" fmla="*/ 17 w 33"/>
                <a:gd name="T41" fmla="*/ 66 h 71"/>
                <a:gd name="T42" fmla="*/ 17 w 33"/>
                <a:gd name="T43" fmla="*/ 71 h 71"/>
                <a:gd name="T44" fmla="*/ 17 w 33"/>
                <a:gd name="T45" fmla="*/ 71 h 71"/>
                <a:gd name="T46" fmla="*/ 17 w 33"/>
                <a:gd name="T47" fmla="*/ 71 h 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
                <a:gd name="T73" fmla="*/ 0 h 71"/>
                <a:gd name="T74" fmla="*/ 33 w 33"/>
                <a:gd name="T75" fmla="*/ 71 h 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 h="71">
                  <a:moveTo>
                    <a:pt x="17" y="71"/>
                  </a:moveTo>
                  <a:lnTo>
                    <a:pt x="6" y="66"/>
                  </a:lnTo>
                  <a:lnTo>
                    <a:pt x="6" y="60"/>
                  </a:lnTo>
                  <a:lnTo>
                    <a:pt x="0" y="55"/>
                  </a:lnTo>
                  <a:lnTo>
                    <a:pt x="0" y="33"/>
                  </a:lnTo>
                  <a:lnTo>
                    <a:pt x="0" y="22"/>
                  </a:lnTo>
                  <a:lnTo>
                    <a:pt x="27" y="0"/>
                  </a:lnTo>
                  <a:lnTo>
                    <a:pt x="27" y="17"/>
                  </a:lnTo>
                  <a:lnTo>
                    <a:pt x="22" y="28"/>
                  </a:lnTo>
                  <a:lnTo>
                    <a:pt x="27" y="28"/>
                  </a:lnTo>
                  <a:lnTo>
                    <a:pt x="27" y="33"/>
                  </a:lnTo>
                  <a:lnTo>
                    <a:pt x="33" y="33"/>
                  </a:lnTo>
                  <a:lnTo>
                    <a:pt x="33" y="38"/>
                  </a:lnTo>
                  <a:lnTo>
                    <a:pt x="27" y="38"/>
                  </a:lnTo>
                  <a:lnTo>
                    <a:pt x="27" y="44"/>
                  </a:lnTo>
                  <a:lnTo>
                    <a:pt x="22" y="44"/>
                  </a:lnTo>
                  <a:lnTo>
                    <a:pt x="22" y="49"/>
                  </a:lnTo>
                  <a:lnTo>
                    <a:pt x="17" y="49"/>
                  </a:lnTo>
                  <a:lnTo>
                    <a:pt x="17" y="55"/>
                  </a:lnTo>
                  <a:lnTo>
                    <a:pt x="17" y="66"/>
                  </a:lnTo>
                  <a:lnTo>
                    <a:pt x="17" y="7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68" name="Rectangle 490"/>
            <p:cNvSpPr>
              <a:spLocks noChangeArrowheads="1"/>
            </p:cNvSpPr>
            <p:nvPr/>
          </p:nvSpPr>
          <p:spPr bwMode="auto">
            <a:xfrm>
              <a:off x="2818" y="2140"/>
              <a:ext cx="1"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469" name="Freeform 491"/>
            <p:cNvSpPr>
              <a:spLocks/>
            </p:cNvSpPr>
            <p:nvPr/>
          </p:nvSpPr>
          <p:spPr bwMode="auto">
            <a:xfrm>
              <a:off x="2807" y="2123"/>
              <a:ext cx="11" cy="17"/>
            </a:xfrm>
            <a:custGeom>
              <a:avLst/>
              <a:gdLst>
                <a:gd name="T0" fmla="*/ 0 w 11"/>
                <a:gd name="T1" fmla="*/ 6 h 17"/>
                <a:gd name="T2" fmla="*/ 11 w 11"/>
                <a:gd name="T3" fmla="*/ 0 h 17"/>
                <a:gd name="T4" fmla="*/ 11 w 11"/>
                <a:gd name="T5" fmla="*/ 11 h 17"/>
                <a:gd name="T6" fmla="*/ 11 w 11"/>
                <a:gd name="T7" fmla="*/ 17 h 17"/>
                <a:gd name="T8" fmla="*/ 5 w 11"/>
                <a:gd name="T9" fmla="*/ 17 h 17"/>
                <a:gd name="T10" fmla="*/ 0 w 11"/>
                <a:gd name="T11" fmla="*/ 6 h 17"/>
                <a:gd name="T12" fmla="*/ 0 w 11"/>
                <a:gd name="T13" fmla="*/ 6 h 17"/>
                <a:gd name="T14" fmla="*/ 0 w 11"/>
                <a:gd name="T15" fmla="*/ 6 h 17"/>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7"/>
                <a:gd name="T26" fmla="*/ 11 w 1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7">
                  <a:moveTo>
                    <a:pt x="0" y="6"/>
                  </a:moveTo>
                  <a:lnTo>
                    <a:pt x="11" y="0"/>
                  </a:lnTo>
                  <a:lnTo>
                    <a:pt x="11" y="11"/>
                  </a:lnTo>
                  <a:lnTo>
                    <a:pt x="11" y="17"/>
                  </a:lnTo>
                  <a:lnTo>
                    <a:pt x="5" y="17"/>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0" name="Freeform 492"/>
            <p:cNvSpPr>
              <a:spLocks/>
            </p:cNvSpPr>
            <p:nvPr/>
          </p:nvSpPr>
          <p:spPr bwMode="auto">
            <a:xfrm>
              <a:off x="2823" y="2140"/>
              <a:ext cx="11" cy="5"/>
            </a:xfrm>
            <a:custGeom>
              <a:avLst/>
              <a:gdLst>
                <a:gd name="T0" fmla="*/ 0 w 11"/>
                <a:gd name="T1" fmla="*/ 0 h 5"/>
                <a:gd name="T2" fmla="*/ 6 w 11"/>
                <a:gd name="T3" fmla="*/ 5 h 5"/>
                <a:gd name="T4" fmla="*/ 11 w 11"/>
                <a:gd name="T5" fmla="*/ 5 h 5"/>
                <a:gd name="T6" fmla="*/ 0 w 11"/>
                <a:gd name="T7" fmla="*/ 5 h 5"/>
                <a:gd name="T8" fmla="*/ 0 w 11"/>
                <a:gd name="T9" fmla="*/ 0 h 5"/>
                <a:gd name="T10" fmla="*/ 0 w 11"/>
                <a:gd name="T11" fmla="*/ 0 h 5"/>
                <a:gd name="T12" fmla="*/ 0 w 11"/>
                <a:gd name="T13" fmla="*/ 0 h 5"/>
                <a:gd name="T14" fmla="*/ 0 60000 65536"/>
                <a:gd name="T15" fmla="*/ 0 60000 65536"/>
                <a:gd name="T16" fmla="*/ 0 60000 65536"/>
                <a:gd name="T17" fmla="*/ 0 60000 65536"/>
                <a:gd name="T18" fmla="*/ 0 60000 65536"/>
                <a:gd name="T19" fmla="*/ 0 60000 65536"/>
                <a:gd name="T20" fmla="*/ 0 60000 65536"/>
                <a:gd name="T21" fmla="*/ 0 w 11"/>
                <a:gd name="T22" fmla="*/ 0 h 5"/>
                <a:gd name="T23" fmla="*/ 11 w 1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5">
                  <a:moveTo>
                    <a:pt x="0" y="0"/>
                  </a:moveTo>
                  <a:lnTo>
                    <a:pt x="6" y="5"/>
                  </a:lnTo>
                  <a:lnTo>
                    <a:pt x="11"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1" name="Freeform 493"/>
            <p:cNvSpPr>
              <a:spLocks/>
            </p:cNvSpPr>
            <p:nvPr/>
          </p:nvSpPr>
          <p:spPr bwMode="auto">
            <a:xfrm>
              <a:off x="2834" y="2140"/>
              <a:ext cx="0" cy="11"/>
            </a:xfrm>
            <a:custGeom>
              <a:avLst/>
              <a:gdLst>
                <a:gd name="T0" fmla="*/ 0 h 11"/>
                <a:gd name="T1" fmla="*/ 5 h 11"/>
                <a:gd name="T2" fmla="*/ 11 h 11"/>
                <a:gd name="T3" fmla="*/ 0 h 11"/>
                <a:gd name="T4" fmla="*/ 0 h 11"/>
                <a:gd name="T5" fmla="*/ 0 60000 65536"/>
                <a:gd name="T6" fmla="*/ 0 60000 65536"/>
                <a:gd name="T7" fmla="*/ 0 60000 65536"/>
                <a:gd name="T8" fmla="*/ 0 60000 65536"/>
                <a:gd name="T9" fmla="*/ 0 60000 65536"/>
                <a:gd name="T10" fmla="*/ 0 h 11"/>
                <a:gd name="T11" fmla="*/ 11 h 11"/>
              </a:gdLst>
              <a:ahLst/>
              <a:cxnLst>
                <a:cxn ang="T5">
                  <a:pos x="0" y="T0"/>
                </a:cxn>
                <a:cxn ang="T6">
                  <a:pos x="0" y="T1"/>
                </a:cxn>
                <a:cxn ang="T7">
                  <a:pos x="0" y="T2"/>
                </a:cxn>
                <a:cxn ang="T8">
                  <a:pos x="0" y="T3"/>
                </a:cxn>
                <a:cxn ang="T9">
                  <a:pos x="0" y="T4"/>
                </a:cxn>
              </a:cxnLst>
              <a:rect l="0" t="T10" r="0" b="T11"/>
              <a:pathLst>
                <a:path h="11">
                  <a:moveTo>
                    <a:pt x="0" y="0"/>
                  </a:moveTo>
                  <a:lnTo>
                    <a:pt x="0" y="5"/>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2" name="Freeform 494"/>
            <p:cNvSpPr>
              <a:spLocks/>
            </p:cNvSpPr>
            <p:nvPr/>
          </p:nvSpPr>
          <p:spPr bwMode="auto">
            <a:xfrm>
              <a:off x="2823" y="2112"/>
              <a:ext cx="22" cy="28"/>
            </a:xfrm>
            <a:custGeom>
              <a:avLst/>
              <a:gdLst>
                <a:gd name="T0" fmla="*/ 6 w 22"/>
                <a:gd name="T1" fmla="*/ 6 h 28"/>
                <a:gd name="T2" fmla="*/ 6 w 22"/>
                <a:gd name="T3" fmla="*/ 6 h 28"/>
                <a:gd name="T4" fmla="*/ 0 w 22"/>
                <a:gd name="T5" fmla="*/ 11 h 28"/>
                <a:gd name="T6" fmla="*/ 0 w 22"/>
                <a:gd name="T7" fmla="*/ 17 h 28"/>
                <a:gd name="T8" fmla="*/ 0 w 22"/>
                <a:gd name="T9" fmla="*/ 22 h 28"/>
                <a:gd name="T10" fmla="*/ 11 w 22"/>
                <a:gd name="T11" fmla="*/ 22 h 28"/>
                <a:gd name="T12" fmla="*/ 11 w 22"/>
                <a:gd name="T13" fmla="*/ 28 h 28"/>
                <a:gd name="T14" fmla="*/ 11 w 22"/>
                <a:gd name="T15" fmla="*/ 28 h 28"/>
                <a:gd name="T16" fmla="*/ 11 w 22"/>
                <a:gd name="T17" fmla="*/ 22 h 28"/>
                <a:gd name="T18" fmla="*/ 17 w 22"/>
                <a:gd name="T19" fmla="*/ 22 h 28"/>
                <a:gd name="T20" fmla="*/ 17 w 22"/>
                <a:gd name="T21" fmla="*/ 17 h 28"/>
                <a:gd name="T22" fmla="*/ 22 w 22"/>
                <a:gd name="T23" fmla="*/ 11 h 28"/>
                <a:gd name="T24" fmla="*/ 17 w 22"/>
                <a:gd name="T25" fmla="*/ 0 h 28"/>
                <a:gd name="T26" fmla="*/ 11 w 22"/>
                <a:gd name="T27" fmla="*/ 6 h 28"/>
                <a:gd name="T28" fmla="*/ 11 w 22"/>
                <a:gd name="T29" fmla="*/ 6 h 28"/>
                <a:gd name="T30" fmla="*/ 11 w 22"/>
                <a:gd name="T31" fmla="*/ 11 h 28"/>
                <a:gd name="T32" fmla="*/ 11 w 22"/>
                <a:gd name="T33" fmla="*/ 6 h 28"/>
                <a:gd name="T34" fmla="*/ 6 w 22"/>
                <a:gd name="T35" fmla="*/ 6 h 28"/>
                <a:gd name="T36" fmla="*/ 6 w 22"/>
                <a:gd name="T37" fmla="*/ 6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2"/>
                <a:gd name="T58" fmla="*/ 0 h 28"/>
                <a:gd name="T59" fmla="*/ 22 w 22"/>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2" h="28">
                  <a:moveTo>
                    <a:pt x="6" y="6"/>
                  </a:moveTo>
                  <a:lnTo>
                    <a:pt x="6" y="6"/>
                  </a:lnTo>
                  <a:lnTo>
                    <a:pt x="0" y="11"/>
                  </a:lnTo>
                  <a:lnTo>
                    <a:pt x="0" y="17"/>
                  </a:lnTo>
                  <a:lnTo>
                    <a:pt x="0" y="22"/>
                  </a:lnTo>
                  <a:lnTo>
                    <a:pt x="11" y="22"/>
                  </a:lnTo>
                  <a:lnTo>
                    <a:pt x="11" y="28"/>
                  </a:lnTo>
                  <a:lnTo>
                    <a:pt x="11" y="22"/>
                  </a:lnTo>
                  <a:lnTo>
                    <a:pt x="17" y="22"/>
                  </a:lnTo>
                  <a:lnTo>
                    <a:pt x="17" y="17"/>
                  </a:lnTo>
                  <a:lnTo>
                    <a:pt x="22" y="11"/>
                  </a:lnTo>
                  <a:lnTo>
                    <a:pt x="17" y="0"/>
                  </a:lnTo>
                  <a:lnTo>
                    <a:pt x="11" y="6"/>
                  </a:lnTo>
                  <a:lnTo>
                    <a:pt x="11" y="11"/>
                  </a:lnTo>
                  <a:lnTo>
                    <a:pt x="11" y="6"/>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3" name="Freeform 495"/>
            <p:cNvSpPr>
              <a:spLocks/>
            </p:cNvSpPr>
            <p:nvPr/>
          </p:nvSpPr>
          <p:spPr bwMode="auto">
            <a:xfrm>
              <a:off x="2851" y="2145"/>
              <a:ext cx="5" cy="11"/>
            </a:xfrm>
            <a:custGeom>
              <a:avLst/>
              <a:gdLst>
                <a:gd name="T0" fmla="*/ 5 w 5"/>
                <a:gd name="T1" fmla="*/ 6 h 11"/>
                <a:gd name="T2" fmla="*/ 5 w 5"/>
                <a:gd name="T3" fmla="*/ 11 h 11"/>
                <a:gd name="T4" fmla="*/ 0 w 5"/>
                <a:gd name="T5" fmla="*/ 11 h 11"/>
                <a:gd name="T6" fmla="*/ 0 w 5"/>
                <a:gd name="T7" fmla="*/ 6 h 11"/>
                <a:gd name="T8" fmla="*/ 0 w 5"/>
                <a:gd name="T9" fmla="*/ 6 h 11"/>
                <a:gd name="T10" fmla="*/ 0 w 5"/>
                <a:gd name="T11" fmla="*/ 0 h 11"/>
                <a:gd name="T12" fmla="*/ 5 w 5"/>
                <a:gd name="T13" fmla="*/ 6 h 11"/>
                <a:gd name="T14" fmla="*/ 5 w 5"/>
                <a:gd name="T15" fmla="*/ 6 h 11"/>
                <a:gd name="T16" fmla="*/ 5 w 5"/>
                <a:gd name="T17" fmla="*/ 6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1"/>
                <a:gd name="T29" fmla="*/ 5 w 5"/>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1">
                  <a:moveTo>
                    <a:pt x="5" y="6"/>
                  </a:moveTo>
                  <a:lnTo>
                    <a:pt x="5" y="11"/>
                  </a:lnTo>
                  <a:lnTo>
                    <a:pt x="0" y="11"/>
                  </a:lnTo>
                  <a:lnTo>
                    <a:pt x="0" y="6"/>
                  </a:lnTo>
                  <a:lnTo>
                    <a:pt x="0" y="0"/>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4" name="Freeform 496"/>
            <p:cNvSpPr>
              <a:spLocks/>
            </p:cNvSpPr>
            <p:nvPr/>
          </p:nvSpPr>
          <p:spPr bwMode="auto">
            <a:xfrm>
              <a:off x="2851" y="2145"/>
              <a:ext cx="5" cy="11"/>
            </a:xfrm>
            <a:custGeom>
              <a:avLst/>
              <a:gdLst>
                <a:gd name="T0" fmla="*/ 5 w 5"/>
                <a:gd name="T1" fmla="*/ 6 h 11"/>
                <a:gd name="T2" fmla="*/ 5 w 5"/>
                <a:gd name="T3" fmla="*/ 11 h 11"/>
                <a:gd name="T4" fmla="*/ 0 w 5"/>
                <a:gd name="T5" fmla="*/ 11 h 11"/>
                <a:gd name="T6" fmla="*/ 0 w 5"/>
                <a:gd name="T7" fmla="*/ 6 h 11"/>
                <a:gd name="T8" fmla="*/ 0 w 5"/>
                <a:gd name="T9" fmla="*/ 6 h 11"/>
                <a:gd name="T10" fmla="*/ 0 w 5"/>
                <a:gd name="T11" fmla="*/ 0 h 11"/>
                <a:gd name="T12" fmla="*/ 5 w 5"/>
                <a:gd name="T13" fmla="*/ 6 h 11"/>
                <a:gd name="T14" fmla="*/ 5 w 5"/>
                <a:gd name="T15" fmla="*/ 6 h 11"/>
                <a:gd name="T16" fmla="*/ 5 w 5"/>
                <a:gd name="T17" fmla="*/ 6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11"/>
                <a:gd name="T29" fmla="*/ 5 w 5"/>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11">
                  <a:moveTo>
                    <a:pt x="5" y="6"/>
                  </a:moveTo>
                  <a:lnTo>
                    <a:pt x="5" y="11"/>
                  </a:lnTo>
                  <a:lnTo>
                    <a:pt x="0" y="11"/>
                  </a:lnTo>
                  <a:lnTo>
                    <a:pt x="0" y="6"/>
                  </a:lnTo>
                  <a:lnTo>
                    <a:pt x="0" y="0"/>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5" name="Freeform 497"/>
            <p:cNvSpPr>
              <a:spLocks/>
            </p:cNvSpPr>
            <p:nvPr/>
          </p:nvSpPr>
          <p:spPr bwMode="auto">
            <a:xfrm>
              <a:off x="2758" y="2140"/>
              <a:ext cx="114" cy="158"/>
            </a:xfrm>
            <a:custGeom>
              <a:avLst/>
              <a:gdLst>
                <a:gd name="T0" fmla="*/ 109 w 114"/>
                <a:gd name="T1" fmla="*/ 87 h 158"/>
                <a:gd name="T2" fmla="*/ 114 w 114"/>
                <a:gd name="T3" fmla="*/ 76 h 158"/>
                <a:gd name="T4" fmla="*/ 109 w 114"/>
                <a:gd name="T5" fmla="*/ 71 h 158"/>
                <a:gd name="T6" fmla="*/ 109 w 114"/>
                <a:gd name="T7" fmla="*/ 49 h 158"/>
                <a:gd name="T8" fmla="*/ 103 w 114"/>
                <a:gd name="T9" fmla="*/ 49 h 158"/>
                <a:gd name="T10" fmla="*/ 109 w 114"/>
                <a:gd name="T11" fmla="*/ 38 h 158"/>
                <a:gd name="T12" fmla="*/ 103 w 114"/>
                <a:gd name="T13" fmla="*/ 27 h 158"/>
                <a:gd name="T14" fmla="*/ 87 w 114"/>
                <a:gd name="T15" fmla="*/ 16 h 158"/>
                <a:gd name="T16" fmla="*/ 82 w 114"/>
                <a:gd name="T17" fmla="*/ 16 h 158"/>
                <a:gd name="T18" fmla="*/ 82 w 114"/>
                <a:gd name="T19" fmla="*/ 11 h 158"/>
                <a:gd name="T20" fmla="*/ 71 w 114"/>
                <a:gd name="T21" fmla="*/ 22 h 158"/>
                <a:gd name="T22" fmla="*/ 60 w 114"/>
                <a:gd name="T23" fmla="*/ 22 h 158"/>
                <a:gd name="T24" fmla="*/ 65 w 114"/>
                <a:gd name="T25" fmla="*/ 16 h 158"/>
                <a:gd name="T26" fmla="*/ 49 w 114"/>
                <a:gd name="T27" fmla="*/ 16 h 158"/>
                <a:gd name="T28" fmla="*/ 49 w 114"/>
                <a:gd name="T29" fmla="*/ 11 h 158"/>
                <a:gd name="T30" fmla="*/ 49 w 114"/>
                <a:gd name="T31" fmla="*/ 5 h 158"/>
                <a:gd name="T32" fmla="*/ 44 w 114"/>
                <a:gd name="T33" fmla="*/ 5 h 158"/>
                <a:gd name="T34" fmla="*/ 33 w 114"/>
                <a:gd name="T35" fmla="*/ 0 h 158"/>
                <a:gd name="T36" fmla="*/ 38 w 114"/>
                <a:gd name="T37" fmla="*/ 11 h 158"/>
                <a:gd name="T38" fmla="*/ 33 w 114"/>
                <a:gd name="T39" fmla="*/ 16 h 158"/>
                <a:gd name="T40" fmla="*/ 38 w 114"/>
                <a:gd name="T41" fmla="*/ 27 h 158"/>
                <a:gd name="T42" fmla="*/ 33 w 114"/>
                <a:gd name="T43" fmla="*/ 27 h 158"/>
                <a:gd name="T44" fmla="*/ 33 w 114"/>
                <a:gd name="T45" fmla="*/ 38 h 158"/>
                <a:gd name="T46" fmla="*/ 33 w 114"/>
                <a:gd name="T47" fmla="*/ 32 h 158"/>
                <a:gd name="T48" fmla="*/ 27 w 114"/>
                <a:gd name="T49" fmla="*/ 32 h 158"/>
                <a:gd name="T50" fmla="*/ 27 w 114"/>
                <a:gd name="T51" fmla="*/ 32 h 158"/>
                <a:gd name="T52" fmla="*/ 22 w 114"/>
                <a:gd name="T53" fmla="*/ 27 h 158"/>
                <a:gd name="T54" fmla="*/ 16 w 114"/>
                <a:gd name="T55" fmla="*/ 32 h 158"/>
                <a:gd name="T56" fmla="*/ 11 w 114"/>
                <a:gd name="T57" fmla="*/ 32 h 158"/>
                <a:gd name="T58" fmla="*/ 16 w 114"/>
                <a:gd name="T59" fmla="*/ 38 h 158"/>
                <a:gd name="T60" fmla="*/ 11 w 114"/>
                <a:gd name="T61" fmla="*/ 38 h 158"/>
                <a:gd name="T62" fmla="*/ 11 w 114"/>
                <a:gd name="T63" fmla="*/ 49 h 158"/>
                <a:gd name="T64" fmla="*/ 5 w 114"/>
                <a:gd name="T65" fmla="*/ 54 h 158"/>
                <a:gd name="T66" fmla="*/ 11 w 114"/>
                <a:gd name="T67" fmla="*/ 60 h 158"/>
                <a:gd name="T68" fmla="*/ 5 w 114"/>
                <a:gd name="T69" fmla="*/ 65 h 158"/>
                <a:gd name="T70" fmla="*/ 0 w 114"/>
                <a:gd name="T71" fmla="*/ 65 h 158"/>
                <a:gd name="T72" fmla="*/ 0 w 114"/>
                <a:gd name="T73" fmla="*/ 92 h 158"/>
                <a:gd name="T74" fmla="*/ 0 w 114"/>
                <a:gd name="T75" fmla="*/ 98 h 158"/>
                <a:gd name="T76" fmla="*/ 0 w 114"/>
                <a:gd name="T77" fmla="*/ 103 h 158"/>
                <a:gd name="T78" fmla="*/ 5 w 114"/>
                <a:gd name="T79" fmla="*/ 109 h 158"/>
                <a:gd name="T80" fmla="*/ 0 w 114"/>
                <a:gd name="T81" fmla="*/ 114 h 158"/>
                <a:gd name="T82" fmla="*/ 11 w 114"/>
                <a:gd name="T83" fmla="*/ 120 h 158"/>
                <a:gd name="T84" fmla="*/ 27 w 114"/>
                <a:gd name="T85" fmla="*/ 125 h 158"/>
                <a:gd name="T86" fmla="*/ 16 w 114"/>
                <a:gd name="T87" fmla="*/ 142 h 158"/>
                <a:gd name="T88" fmla="*/ 16 w 114"/>
                <a:gd name="T89" fmla="*/ 153 h 158"/>
                <a:gd name="T90" fmla="*/ 33 w 114"/>
                <a:gd name="T91" fmla="*/ 153 h 158"/>
                <a:gd name="T92" fmla="*/ 44 w 114"/>
                <a:gd name="T93" fmla="*/ 153 h 158"/>
                <a:gd name="T94" fmla="*/ 49 w 114"/>
                <a:gd name="T95" fmla="*/ 153 h 158"/>
                <a:gd name="T96" fmla="*/ 54 w 114"/>
                <a:gd name="T97" fmla="*/ 158 h 158"/>
                <a:gd name="T98" fmla="*/ 60 w 114"/>
                <a:gd name="T99" fmla="*/ 153 h 158"/>
                <a:gd name="T100" fmla="*/ 65 w 114"/>
                <a:gd name="T101" fmla="*/ 158 h 158"/>
                <a:gd name="T102" fmla="*/ 82 w 114"/>
                <a:gd name="T103" fmla="*/ 153 h 158"/>
                <a:gd name="T104" fmla="*/ 87 w 114"/>
                <a:gd name="T105" fmla="*/ 153 h 158"/>
                <a:gd name="T106" fmla="*/ 87 w 114"/>
                <a:gd name="T107" fmla="*/ 153 h 158"/>
                <a:gd name="T108" fmla="*/ 87 w 114"/>
                <a:gd name="T109" fmla="*/ 142 h 158"/>
                <a:gd name="T110" fmla="*/ 98 w 114"/>
                <a:gd name="T111" fmla="*/ 131 h 158"/>
                <a:gd name="T112" fmla="*/ 82 w 114"/>
                <a:gd name="T113" fmla="*/ 114 h 158"/>
                <a:gd name="T114" fmla="*/ 76 w 114"/>
                <a:gd name="T115" fmla="*/ 98 h 158"/>
                <a:gd name="T116" fmla="*/ 82 w 114"/>
                <a:gd name="T117" fmla="*/ 103 h 158"/>
                <a:gd name="T118" fmla="*/ 103 w 114"/>
                <a:gd name="T119" fmla="*/ 87 h 158"/>
                <a:gd name="T120" fmla="*/ 103 w 114"/>
                <a:gd name="T121" fmla="*/ 82 h 158"/>
                <a:gd name="T122" fmla="*/ 109 w 114"/>
                <a:gd name="T123" fmla="*/ 87 h 158"/>
                <a:gd name="T124" fmla="*/ 109 w 114"/>
                <a:gd name="T125" fmla="*/ 87 h 15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4"/>
                <a:gd name="T190" fmla="*/ 0 h 158"/>
                <a:gd name="T191" fmla="*/ 114 w 114"/>
                <a:gd name="T192" fmla="*/ 158 h 15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4" h="158">
                  <a:moveTo>
                    <a:pt x="109" y="87"/>
                  </a:moveTo>
                  <a:lnTo>
                    <a:pt x="114" y="76"/>
                  </a:lnTo>
                  <a:lnTo>
                    <a:pt x="109" y="71"/>
                  </a:lnTo>
                  <a:lnTo>
                    <a:pt x="109" y="49"/>
                  </a:lnTo>
                  <a:lnTo>
                    <a:pt x="103" y="49"/>
                  </a:lnTo>
                  <a:lnTo>
                    <a:pt x="109" y="38"/>
                  </a:lnTo>
                  <a:lnTo>
                    <a:pt x="103" y="27"/>
                  </a:lnTo>
                  <a:lnTo>
                    <a:pt x="87" y="16"/>
                  </a:lnTo>
                  <a:lnTo>
                    <a:pt x="82" y="16"/>
                  </a:lnTo>
                  <a:lnTo>
                    <a:pt x="82" y="11"/>
                  </a:lnTo>
                  <a:lnTo>
                    <a:pt x="71" y="22"/>
                  </a:lnTo>
                  <a:lnTo>
                    <a:pt x="60" y="22"/>
                  </a:lnTo>
                  <a:lnTo>
                    <a:pt x="65" y="16"/>
                  </a:lnTo>
                  <a:lnTo>
                    <a:pt x="49" y="16"/>
                  </a:lnTo>
                  <a:lnTo>
                    <a:pt x="49" y="11"/>
                  </a:lnTo>
                  <a:lnTo>
                    <a:pt x="49" y="5"/>
                  </a:lnTo>
                  <a:lnTo>
                    <a:pt x="44" y="5"/>
                  </a:lnTo>
                  <a:lnTo>
                    <a:pt x="33" y="0"/>
                  </a:lnTo>
                  <a:lnTo>
                    <a:pt x="38" y="11"/>
                  </a:lnTo>
                  <a:lnTo>
                    <a:pt x="33" y="16"/>
                  </a:lnTo>
                  <a:lnTo>
                    <a:pt x="38" y="27"/>
                  </a:lnTo>
                  <a:lnTo>
                    <a:pt x="33" y="27"/>
                  </a:lnTo>
                  <a:lnTo>
                    <a:pt x="33" y="38"/>
                  </a:lnTo>
                  <a:lnTo>
                    <a:pt x="33" y="32"/>
                  </a:lnTo>
                  <a:lnTo>
                    <a:pt x="27" y="32"/>
                  </a:lnTo>
                  <a:lnTo>
                    <a:pt x="22" y="27"/>
                  </a:lnTo>
                  <a:lnTo>
                    <a:pt x="16" y="32"/>
                  </a:lnTo>
                  <a:lnTo>
                    <a:pt x="11" y="32"/>
                  </a:lnTo>
                  <a:lnTo>
                    <a:pt x="16" y="38"/>
                  </a:lnTo>
                  <a:lnTo>
                    <a:pt x="11" y="38"/>
                  </a:lnTo>
                  <a:lnTo>
                    <a:pt x="11" y="49"/>
                  </a:lnTo>
                  <a:lnTo>
                    <a:pt x="5" y="54"/>
                  </a:lnTo>
                  <a:lnTo>
                    <a:pt x="11" y="60"/>
                  </a:lnTo>
                  <a:lnTo>
                    <a:pt x="5" y="65"/>
                  </a:lnTo>
                  <a:lnTo>
                    <a:pt x="0" y="65"/>
                  </a:lnTo>
                  <a:lnTo>
                    <a:pt x="0" y="92"/>
                  </a:lnTo>
                  <a:lnTo>
                    <a:pt x="0" y="98"/>
                  </a:lnTo>
                  <a:lnTo>
                    <a:pt x="0" y="103"/>
                  </a:lnTo>
                  <a:lnTo>
                    <a:pt x="5" y="109"/>
                  </a:lnTo>
                  <a:lnTo>
                    <a:pt x="0" y="114"/>
                  </a:lnTo>
                  <a:lnTo>
                    <a:pt x="11" y="120"/>
                  </a:lnTo>
                  <a:lnTo>
                    <a:pt x="27" y="125"/>
                  </a:lnTo>
                  <a:lnTo>
                    <a:pt x="16" y="142"/>
                  </a:lnTo>
                  <a:lnTo>
                    <a:pt x="16" y="153"/>
                  </a:lnTo>
                  <a:lnTo>
                    <a:pt x="33" y="153"/>
                  </a:lnTo>
                  <a:lnTo>
                    <a:pt x="44" y="153"/>
                  </a:lnTo>
                  <a:lnTo>
                    <a:pt x="49" y="153"/>
                  </a:lnTo>
                  <a:lnTo>
                    <a:pt x="54" y="158"/>
                  </a:lnTo>
                  <a:lnTo>
                    <a:pt x="60" y="153"/>
                  </a:lnTo>
                  <a:lnTo>
                    <a:pt x="65" y="158"/>
                  </a:lnTo>
                  <a:lnTo>
                    <a:pt x="82" y="153"/>
                  </a:lnTo>
                  <a:lnTo>
                    <a:pt x="87" y="153"/>
                  </a:lnTo>
                  <a:lnTo>
                    <a:pt x="87" y="142"/>
                  </a:lnTo>
                  <a:lnTo>
                    <a:pt x="98" y="131"/>
                  </a:lnTo>
                  <a:lnTo>
                    <a:pt x="82" y="114"/>
                  </a:lnTo>
                  <a:lnTo>
                    <a:pt x="76" y="98"/>
                  </a:lnTo>
                  <a:lnTo>
                    <a:pt x="82" y="103"/>
                  </a:lnTo>
                  <a:lnTo>
                    <a:pt x="103" y="87"/>
                  </a:lnTo>
                  <a:lnTo>
                    <a:pt x="103" y="82"/>
                  </a:lnTo>
                  <a:lnTo>
                    <a:pt x="109" y="8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6" name="Freeform 498"/>
            <p:cNvSpPr>
              <a:spLocks/>
            </p:cNvSpPr>
            <p:nvPr/>
          </p:nvSpPr>
          <p:spPr bwMode="auto">
            <a:xfrm>
              <a:off x="2861" y="2145"/>
              <a:ext cx="126" cy="120"/>
            </a:xfrm>
            <a:custGeom>
              <a:avLst/>
              <a:gdLst>
                <a:gd name="T0" fmla="*/ 44 w 126"/>
                <a:gd name="T1" fmla="*/ 93 h 120"/>
                <a:gd name="T2" fmla="*/ 39 w 126"/>
                <a:gd name="T3" fmla="*/ 93 h 120"/>
                <a:gd name="T4" fmla="*/ 33 w 126"/>
                <a:gd name="T5" fmla="*/ 98 h 120"/>
                <a:gd name="T6" fmla="*/ 22 w 126"/>
                <a:gd name="T7" fmla="*/ 87 h 120"/>
                <a:gd name="T8" fmla="*/ 11 w 126"/>
                <a:gd name="T9" fmla="*/ 82 h 120"/>
                <a:gd name="T10" fmla="*/ 6 w 126"/>
                <a:gd name="T11" fmla="*/ 82 h 120"/>
                <a:gd name="T12" fmla="*/ 11 w 126"/>
                <a:gd name="T13" fmla="*/ 71 h 120"/>
                <a:gd name="T14" fmla="*/ 6 w 126"/>
                <a:gd name="T15" fmla="*/ 66 h 120"/>
                <a:gd name="T16" fmla="*/ 6 w 126"/>
                <a:gd name="T17" fmla="*/ 44 h 120"/>
                <a:gd name="T18" fmla="*/ 0 w 126"/>
                <a:gd name="T19" fmla="*/ 44 h 120"/>
                <a:gd name="T20" fmla="*/ 6 w 126"/>
                <a:gd name="T21" fmla="*/ 33 h 120"/>
                <a:gd name="T22" fmla="*/ 0 w 126"/>
                <a:gd name="T23" fmla="*/ 22 h 120"/>
                <a:gd name="T24" fmla="*/ 6 w 126"/>
                <a:gd name="T25" fmla="*/ 22 h 120"/>
                <a:gd name="T26" fmla="*/ 6 w 126"/>
                <a:gd name="T27" fmla="*/ 22 h 120"/>
                <a:gd name="T28" fmla="*/ 0 w 126"/>
                <a:gd name="T29" fmla="*/ 22 h 120"/>
                <a:gd name="T30" fmla="*/ 6 w 126"/>
                <a:gd name="T31" fmla="*/ 17 h 120"/>
                <a:gd name="T32" fmla="*/ 39 w 126"/>
                <a:gd name="T33" fmla="*/ 0 h 120"/>
                <a:gd name="T34" fmla="*/ 60 w 126"/>
                <a:gd name="T35" fmla="*/ 0 h 120"/>
                <a:gd name="T36" fmla="*/ 60 w 126"/>
                <a:gd name="T37" fmla="*/ 6 h 120"/>
                <a:gd name="T38" fmla="*/ 55 w 126"/>
                <a:gd name="T39" fmla="*/ 0 h 120"/>
                <a:gd name="T40" fmla="*/ 60 w 126"/>
                <a:gd name="T41" fmla="*/ 11 h 120"/>
                <a:gd name="T42" fmla="*/ 71 w 126"/>
                <a:gd name="T43" fmla="*/ 6 h 120"/>
                <a:gd name="T44" fmla="*/ 88 w 126"/>
                <a:gd name="T45" fmla="*/ 11 h 120"/>
                <a:gd name="T46" fmla="*/ 115 w 126"/>
                <a:gd name="T47" fmla="*/ 11 h 120"/>
                <a:gd name="T48" fmla="*/ 120 w 126"/>
                <a:gd name="T49" fmla="*/ 17 h 120"/>
                <a:gd name="T50" fmla="*/ 120 w 126"/>
                <a:gd name="T51" fmla="*/ 17 h 120"/>
                <a:gd name="T52" fmla="*/ 120 w 126"/>
                <a:gd name="T53" fmla="*/ 17 h 120"/>
                <a:gd name="T54" fmla="*/ 126 w 126"/>
                <a:gd name="T55" fmla="*/ 44 h 120"/>
                <a:gd name="T56" fmla="*/ 120 w 126"/>
                <a:gd name="T57" fmla="*/ 55 h 120"/>
                <a:gd name="T58" fmla="*/ 120 w 126"/>
                <a:gd name="T59" fmla="*/ 60 h 120"/>
                <a:gd name="T60" fmla="*/ 120 w 126"/>
                <a:gd name="T61" fmla="*/ 66 h 120"/>
                <a:gd name="T62" fmla="*/ 126 w 126"/>
                <a:gd name="T63" fmla="*/ 87 h 120"/>
                <a:gd name="T64" fmla="*/ 115 w 126"/>
                <a:gd name="T65" fmla="*/ 104 h 120"/>
                <a:gd name="T66" fmla="*/ 109 w 126"/>
                <a:gd name="T67" fmla="*/ 109 h 120"/>
                <a:gd name="T68" fmla="*/ 109 w 126"/>
                <a:gd name="T69" fmla="*/ 120 h 120"/>
                <a:gd name="T70" fmla="*/ 109 w 126"/>
                <a:gd name="T71" fmla="*/ 120 h 120"/>
                <a:gd name="T72" fmla="*/ 93 w 126"/>
                <a:gd name="T73" fmla="*/ 109 h 120"/>
                <a:gd name="T74" fmla="*/ 77 w 126"/>
                <a:gd name="T75" fmla="*/ 115 h 120"/>
                <a:gd name="T76" fmla="*/ 71 w 126"/>
                <a:gd name="T77" fmla="*/ 109 h 120"/>
                <a:gd name="T78" fmla="*/ 66 w 126"/>
                <a:gd name="T79" fmla="*/ 109 h 120"/>
                <a:gd name="T80" fmla="*/ 55 w 126"/>
                <a:gd name="T81" fmla="*/ 109 h 120"/>
                <a:gd name="T82" fmla="*/ 44 w 126"/>
                <a:gd name="T83" fmla="*/ 93 h 1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6"/>
                <a:gd name="T127" fmla="*/ 0 h 120"/>
                <a:gd name="T128" fmla="*/ 126 w 126"/>
                <a:gd name="T129" fmla="*/ 120 h 1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6" h="120">
                  <a:moveTo>
                    <a:pt x="44" y="93"/>
                  </a:moveTo>
                  <a:lnTo>
                    <a:pt x="39" y="93"/>
                  </a:lnTo>
                  <a:lnTo>
                    <a:pt x="33" y="98"/>
                  </a:lnTo>
                  <a:lnTo>
                    <a:pt x="22" y="87"/>
                  </a:lnTo>
                  <a:lnTo>
                    <a:pt x="11" y="82"/>
                  </a:lnTo>
                  <a:lnTo>
                    <a:pt x="6" y="82"/>
                  </a:lnTo>
                  <a:lnTo>
                    <a:pt x="11" y="71"/>
                  </a:lnTo>
                  <a:lnTo>
                    <a:pt x="6" y="66"/>
                  </a:lnTo>
                  <a:lnTo>
                    <a:pt x="6" y="44"/>
                  </a:lnTo>
                  <a:lnTo>
                    <a:pt x="0" y="44"/>
                  </a:lnTo>
                  <a:lnTo>
                    <a:pt x="6" y="33"/>
                  </a:lnTo>
                  <a:lnTo>
                    <a:pt x="0" y="22"/>
                  </a:lnTo>
                  <a:lnTo>
                    <a:pt x="6" y="22"/>
                  </a:lnTo>
                  <a:lnTo>
                    <a:pt x="0" y="22"/>
                  </a:lnTo>
                  <a:lnTo>
                    <a:pt x="6" y="17"/>
                  </a:lnTo>
                  <a:lnTo>
                    <a:pt x="39" y="0"/>
                  </a:lnTo>
                  <a:lnTo>
                    <a:pt x="60" y="0"/>
                  </a:lnTo>
                  <a:lnTo>
                    <a:pt x="60" y="6"/>
                  </a:lnTo>
                  <a:lnTo>
                    <a:pt x="55" y="0"/>
                  </a:lnTo>
                  <a:lnTo>
                    <a:pt x="60" y="11"/>
                  </a:lnTo>
                  <a:lnTo>
                    <a:pt x="71" y="6"/>
                  </a:lnTo>
                  <a:lnTo>
                    <a:pt x="88" y="11"/>
                  </a:lnTo>
                  <a:lnTo>
                    <a:pt x="115" y="11"/>
                  </a:lnTo>
                  <a:lnTo>
                    <a:pt x="120" y="17"/>
                  </a:lnTo>
                  <a:lnTo>
                    <a:pt x="126" y="44"/>
                  </a:lnTo>
                  <a:lnTo>
                    <a:pt x="120" y="55"/>
                  </a:lnTo>
                  <a:lnTo>
                    <a:pt x="120" y="60"/>
                  </a:lnTo>
                  <a:lnTo>
                    <a:pt x="120" y="66"/>
                  </a:lnTo>
                  <a:lnTo>
                    <a:pt x="126" y="87"/>
                  </a:lnTo>
                  <a:lnTo>
                    <a:pt x="115" y="104"/>
                  </a:lnTo>
                  <a:lnTo>
                    <a:pt x="109" y="109"/>
                  </a:lnTo>
                  <a:lnTo>
                    <a:pt x="109" y="120"/>
                  </a:lnTo>
                  <a:lnTo>
                    <a:pt x="93" y="109"/>
                  </a:lnTo>
                  <a:lnTo>
                    <a:pt x="77" y="115"/>
                  </a:lnTo>
                  <a:lnTo>
                    <a:pt x="71" y="109"/>
                  </a:lnTo>
                  <a:lnTo>
                    <a:pt x="66" y="109"/>
                  </a:lnTo>
                  <a:lnTo>
                    <a:pt x="55" y="109"/>
                  </a:lnTo>
                  <a:lnTo>
                    <a:pt x="44" y="93"/>
                  </a:lnTo>
                  <a:close/>
                </a:path>
              </a:pathLst>
            </a:custGeom>
            <a:solidFill>
              <a:schemeClr val="accent2"/>
            </a:solidFill>
            <a:ln w="12700" cmpd="sng">
              <a:solidFill>
                <a:schemeClr val="bg1"/>
              </a:solidFill>
              <a:round/>
              <a:headEnd/>
              <a:tailEnd/>
            </a:ln>
          </p:spPr>
          <p:txBody>
            <a:bodyPr/>
            <a:lstStyle/>
            <a:p>
              <a:endParaRPr lang="de-DE"/>
            </a:p>
          </p:txBody>
        </p:sp>
        <p:sp>
          <p:nvSpPr>
            <p:cNvPr id="356477" name="Freeform 499"/>
            <p:cNvSpPr>
              <a:spLocks/>
            </p:cNvSpPr>
            <p:nvPr/>
          </p:nvSpPr>
          <p:spPr bwMode="auto">
            <a:xfrm>
              <a:off x="2861" y="2145"/>
              <a:ext cx="126" cy="120"/>
            </a:xfrm>
            <a:custGeom>
              <a:avLst/>
              <a:gdLst>
                <a:gd name="T0" fmla="*/ 44 w 126"/>
                <a:gd name="T1" fmla="*/ 93 h 120"/>
                <a:gd name="T2" fmla="*/ 39 w 126"/>
                <a:gd name="T3" fmla="*/ 93 h 120"/>
                <a:gd name="T4" fmla="*/ 33 w 126"/>
                <a:gd name="T5" fmla="*/ 98 h 120"/>
                <a:gd name="T6" fmla="*/ 22 w 126"/>
                <a:gd name="T7" fmla="*/ 87 h 120"/>
                <a:gd name="T8" fmla="*/ 11 w 126"/>
                <a:gd name="T9" fmla="*/ 82 h 120"/>
                <a:gd name="T10" fmla="*/ 6 w 126"/>
                <a:gd name="T11" fmla="*/ 82 h 120"/>
                <a:gd name="T12" fmla="*/ 11 w 126"/>
                <a:gd name="T13" fmla="*/ 71 h 120"/>
                <a:gd name="T14" fmla="*/ 6 w 126"/>
                <a:gd name="T15" fmla="*/ 66 h 120"/>
                <a:gd name="T16" fmla="*/ 6 w 126"/>
                <a:gd name="T17" fmla="*/ 44 h 120"/>
                <a:gd name="T18" fmla="*/ 0 w 126"/>
                <a:gd name="T19" fmla="*/ 44 h 120"/>
                <a:gd name="T20" fmla="*/ 6 w 126"/>
                <a:gd name="T21" fmla="*/ 33 h 120"/>
                <a:gd name="T22" fmla="*/ 0 w 126"/>
                <a:gd name="T23" fmla="*/ 22 h 120"/>
                <a:gd name="T24" fmla="*/ 6 w 126"/>
                <a:gd name="T25" fmla="*/ 22 h 120"/>
                <a:gd name="T26" fmla="*/ 6 w 126"/>
                <a:gd name="T27" fmla="*/ 22 h 120"/>
                <a:gd name="T28" fmla="*/ 0 w 126"/>
                <a:gd name="T29" fmla="*/ 22 h 120"/>
                <a:gd name="T30" fmla="*/ 6 w 126"/>
                <a:gd name="T31" fmla="*/ 17 h 120"/>
                <a:gd name="T32" fmla="*/ 39 w 126"/>
                <a:gd name="T33" fmla="*/ 0 h 120"/>
                <a:gd name="T34" fmla="*/ 60 w 126"/>
                <a:gd name="T35" fmla="*/ 0 h 120"/>
                <a:gd name="T36" fmla="*/ 60 w 126"/>
                <a:gd name="T37" fmla="*/ 6 h 120"/>
                <a:gd name="T38" fmla="*/ 55 w 126"/>
                <a:gd name="T39" fmla="*/ 0 h 120"/>
                <a:gd name="T40" fmla="*/ 60 w 126"/>
                <a:gd name="T41" fmla="*/ 11 h 120"/>
                <a:gd name="T42" fmla="*/ 71 w 126"/>
                <a:gd name="T43" fmla="*/ 6 h 120"/>
                <a:gd name="T44" fmla="*/ 88 w 126"/>
                <a:gd name="T45" fmla="*/ 11 h 120"/>
                <a:gd name="T46" fmla="*/ 115 w 126"/>
                <a:gd name="T47" fmla="*/ 11 h 120"/>
                <a:gd name="T48" fmla="*/ 120 w 126"/>
                <a:gd name="T49" fmla="*/ 17 h 120"/>
                <a:gd name="T50" fmla="*/ 120 w 126"/>
                <a:gd name="T51" fmla="*/ 17 h 120"/>
                <a:gd name="T52" fmla="*/ 120 w 126"/>
                <a:gd name="T53" fmla="*/ 17 h 120"/>
                <a:gd name="T54" fmla="*/ 126 w 126"/>
                <a:gd name="T55" fmla="*/ 44 h 120"/>
                <a:gd name="T56" fmla="*/ 120 w 126"/>
                <a:gd name="T57" fmla="*/ 55 h 120"/>
                <a:gd name="T58" fmla="*/ 120 w 126"/>
                <a:gd name="T59" fmla="*/ 60 h 120"/>
                <a:gd name="T60" fmla="*/ 120 w 126"/>
                <a:gd name="T61" fmla="*/ 66 h 120"/>
                <a:gd name="T62" fmla="*/ 126 w 126"/>
                <a:gd name="T63" fmla="*/ 87 h 120"/>
                <a:gd name="T64" fmla="*/ 115 w 126"/>
                <a:gd name="T65" fmla="*/ 104 h 120"/>
                <a:gd name="T66" fmla="*/ 109 w 126"/>
                <a:gd name="T67" fmla="*/ 109 h 120"/>
                <a:gd name="T68" fmla="*/ 109 w 126"/>
                <a:gd name="T69" fmla="*/ 120 h 120"/>
                <a:gd name="T70" fmla="*/ 109 w 126"/>
                <a:gd name="T71" fmla="*/ 120 h 120"/>
                <a:gd name="T72" fmla="*/ 93 w 126"/>
                <a:gd name="T73" fmla="*/ 109 h 120"/>
                <a:gd name="T74" fmla="*/ 77 w 126"/>
                <a:gd name="T75" fmla="*/ 115 h 120"/>
                <a:gd name="T76" fmla="*/ 71 w 126"/>
                <a:gd name="T77" fmla="*/ 109 h 120"/>
                <a:gd name="T78" fmla="*/ 66 w 126"/>
                <a:gd name="T79" fmla="*/ 109 h 120"/>
                <a:gd name="T80" fmla="*/ 55 w 126"/>
                <a:gd name="T81" fmla="*/ 109 h 1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20"/>
                <a:gd name="T125" fmla="*/ 126 w 126"/>
                <a:gd name="T126" fmla="*/ 120 h 1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20">
                  <a:moveTo>
                    <a:pt x="44" y="93"/>
                  </a:moveTo>
                  <a:lnTo>
                    <a:pt x="39" y="93"/>
                  </a:lnTo>
                  <a:lnTo>
                    <a:pt x="33" y="98"/>
                  </a:lnTo>
                  <a:lnTo>
                    <a:pt x="22" y="87"/>
                  </a:lnTo>
                  <a:lnTo>
                    <a:pt x="11" y="82"/>
                  </a:lnTo>
                  <a:lnTo>
                    <a:pt x="6" y="82"/>
                  </a:lnTo>
                  <a:lnTo>
                    <a:pt x="11" y="71"/>
                  </a:lnTo>
                  <a:lnTo>
                    <a:pt x="6" y="66"/>
                  </a:lnTo>
                  <a:lnTo>
                    <a:pt x="6" y="44"/>
                  </a:lnTo>
                  <a:lnTo>
                    <a:pt x="0" y="44"/>
                  </a:lnTo>
                  <a:lnTo>
                    <a:pt x="6" y="33"/>
                  </a:lnTo>
                  <a:lnTo>
                    <a:pt x="0" y="22"/>
                  </a:lnTo>
                  <a:lnTo>
                    <a:pt x="6" y="22"/>
                  </a:lnTo>
                  <a:lnTo>
                    <a:pt x="0" y="22"/>
                  </a:lnTo>
                  <a:lnTo>
                    <a:pt x="6" y="17"/>
                  </a:lnTo>
                  <a:lnTo>
                    <a:pt x="39" y="0"/>
                  </a:lnTo>
                  <a:lnTo>
                    <a:pt x="60" y="0"/>
                  </a:lnTo>
                  <a:lnTo>
                    <a:pt x="60" y="6"/>
                  </a:lnTo>
                  <a:lnTo>
                    <a:pt x="55" y="0"/>
                  </a:lnTo>
                  <a:lnTo>
                    <a:pt x="60" y="11"/>
                  </a:lnTo>
                  <a:lnTo>
                    <a:pt x="71" y="6"/>
                  </a:lnTo>
                  <a:lnTo>
                    <a:pt x="88" y="11"/>
                  </a:lnTo>
                  <a:lnTo>
                    <a:pt x="115" y="11"/>
                  </a:lnTo>
                  <a:lnTo>
                    <a:pt x="120" y="17"/>
                  </a:lnTo>
                  <a:lnTo>
                    <a:pt x="126" y="44"/>
                  </a:lnTo>
                  <a:lnTo>
                    <a:pt x="120" y="55"/>
                  </a:lnTo>
                  <a:lnTo>
                    <a:pt x="120" y="60"/>
                  </a:lnTo>
                  <a:lnTo>
                    <a:pt x="120" y="66"/>
                  </a:lnTo>
                  <a:lnTo>
                    <a:pt x="126" y="87"/>
                  </a:lnTo>
                  <a:lnTo>
                    <a:pt x="115" y="104"/>
                  </a:lnTo>
                  <a:lnTo>
                    <a:pt x="109" y="109"/>
                  </a:lnTo>
                  <a:lnTo>
                    <a:pt x="109" y="120"/>
                  </a:lnTo>
                  <a:lnTo>
                    <a:pt x="93" y="109"/>
                  </a:lnTo>
                  <a:lnTo>
                    <a:pt x="77" y="115"/>
                  </a:lnTo>
                  <a:lnTo>
                    <a:pt x="71" y="109"/>
                  </a:lnTo>
                  <a:lnTo>
                    <a:pt x="66" y="109"/>
                  </a:lnTo>
                  <a:lnTo>
                    <a:pt x="55" y="109"/>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8" name="Freeform 500"/>
            <p:cNvSpPr>
              <a:spLocks/>
            </p:cNvSpPr>
            <p:nvPr/>
          </p:nvSpPr>
          <p:spPr bwMode="auto">
            <a:xfrm>
              <a:off x="2938" y="2396"/>
              <a:ext cx="81" cy="71"/>
            </a:xfrm>
            <a:custGeom>
              <a:avLst/>
              <a:gdLst>
                <a:gd name="T0" fmla="*/ 11 w 81"/>
                <a:gd name="T1" fmla="*/ 49 h 71"/>
                <a:gd name="T2" fmla="*/ 16 w 81"/>
                <a:gd name="T3" fmla="*/ 49 h 71"/>
                <a:gd name="T4" fmla="*/ 16 w 81"/>
                <a:gd name="T5" fmla="*/ 49 h 71"/>
                <a:gd name="T6" fmla="*/ 11 w 81"/>
                <a:gd name="T7" fmla="*/ 49 h 71"/>
                <a:gd name="T8" fmla="*/ 16 w 81"/>
                <a:gd name="T9" fmla="*/ 60 h 71"/>
                <a:gd name="T10" fmla="*/ 32 w 81"/>
                <a:gd name="T11" fmla="*/ 60 h 71"/>
                <a:gd name="T12" fmla="*/ 43 w 81"/>
                <a:gd name="T13" fmla="*/ 60 h 71"/>
                <a:gd name="T14" fmla="*/ 38 w 81"/>
                <a:gd name="T15" fmla="*/ 66 h 71"/>
                <a:gd name="T16" fmla="*/ 49 w 81"/>
                <a:gd name="T17" fmla="*/ 66 h 71"/>
                <a:gd name="T18" fmla="*/ 54 w 81"/>
                <a:gd name="T19" fmla="*/ 71 h 71"/>
                <a:gd name="T20" fmla="*/ 49 w 81"/>
                <a:gd name="T21" fmla="*/ 60 h 71"/>
                <a:gd name="T22" fmla="*/ 32 w 81"/>
                <a:gd name="T23" fmla="*/ 49 h 71"/>
                <a:gd name="T24" fmla="*/ 38 w 81"/>
                <a:gd name="T25" fmla="*/ 49 h 71"/>
                <a:gd name="T26" fmla="*/ 38 w 81"/>
                <a:gd name="T27" fmla="*/ 44 h 71"/>
                <a:gd name="T28" fmla="*/ 43 w 81"/>
                <a:gd name="T29" fmla="*/ 44 h 71"/>
                <a:gd name="T30" fmla="*/ 32 w 81"/>
                <a:gd name="T31" fmla="*/ 33 h 71"/>
                <a:gd name="T32" fmla="*/ 32 w 81"/>
                <a:gd name="T33" fmla="*/ 22 h 71"/>
                <a:gd name="T34" fmla="*/ 38 w 81"/>
                <a:gd name="T35" fmla="*/ 22 h 71"/>
                <a:gd name="T36" fmla="*/ 38 w 81"/>
                <a:gd name="T37" fmla="*/ 27 h 71"/>
                <a:gd name="T38" fmla="*/ 43 w 81"/>
                <a:gd name="T39" fmla="*/ 33 h 71"/>
                <a:gd name="T40" fmla="*/ 43 w 81"/>
                <a:gd name="T41" fmla="*/ 27 h 71"/>
                <a:gd name="T42" fmla="*/ 49 w 81"/>
                <a:gd name="T43" fmla="*/ 33 h 71"/>
                <a:gd name="T44" fmla="*/ 49 w 81"/>
                <a:gd name="T45" fmla="*/ 27 h 71"/>
                <a:gd name="T46" fmla="*/ 54 w 81"/>
                <a:gd name="T47" fmla="*/ 27 h 71"/>
                <a:gd name="T48" fmla="*/ 49 w 81"/>
                <a:gd name="T49" fmla="*/ 22 h 71"/>
                <a:gd name="T50" fmla="*/ 60 w 81"/>
                <a:gd name="T51" fmla="*/ 17 h 71"/>
                <a:gd name="T52" fmla="*/ 65 w 81"/>
                <a:gd name="T53" fmla="*/ 17 h 71"/>
                <a:gd name="T54" fmla="*/ 76 w 81"/>
                <a:gd name="T55" fmla="*/ 22 h 71"/>
                <a:gd name="T56" fmla="*/ 81 w 81"/>
                <a:gd name="T57" fmla="*/ 6 h 71"/>
                <a:gd name="T58" fmla="*/ 81 w 81"/>
                <a:gd name="T59" fmla="*/ 0 h 71"/>
                <a:gd name="T60" fmla="*/ 81 w 81"/>
                <a:gd name="T61" fmla="*/ 0 h 71"/>
                <a:gd name="T62" fmla="*/ 81 w 81"/>
                <a:gd name="T63" fmla="*/ 6 h 71"/>
                <a:gd name="T64" fmla="*/ 76 w 81"/>
                <a:gd name="T65" fmla="*/ 11 h 71"/>
                <a:gd name="T66" fmla="*/ 70 w 81"/>
                <a:gd name="T67" fmla="*/ 11 h 71"/>
                <a:gd name="T68" fmla="*/ 60 w 81"/>
                <a:gd name="T69" fmla="*/ 6 h 71"/>
                <a:gd name="T70" fmla="*/ 38 w 81"/>
                <a:gd name="T71" fmla="*/ 11 h 71"/>
                <a:gd name="T72" fmla="*/ 11 w 81"/>
                <a:gd name="T73" fmla="*/ 17 h 71"/>
                <a:gd name="T74" fmla="*/ 16 w 81"/>
                <a:gd name="T75" fmla="*/ 22 h 71"/>
                <a:gd name="T76" fmla="*/ 0 w 81"/>
                <a:gd name="T77" fmla="*/ 38 h 71"/>
                <a:gd name="T78" fmla="*/ 11 w 81"/>
                <a:gd name="T79" fmla="*/ 49 h 71"/>
                <a:gd name="T80" fmla="*/ 11 w 81"/>
                <a:gd name="T81" fmla="*/ 49 h 7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1"/>
                <a:gd name="T124" fmla="*/ 0 h 71"/>
                <a:gd name="T125" fmla="*/ 81 w 81"/>
                <a:gd name="T126" fmla="*/ 71 h 7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1" h="71">
                  <a:moveTo>
                    <a:pt x="11" y="49"/>
                  </a:moveTo>
                  <a:lnTo>
                    <a:pt x="16" y="49"/>
                  </a:lnTo>
                  <a:lnTo>
                    <a:pt x="11" y="49"/>
                  </a:lnTo>
                  <a:lnTo>
                    <a:pt x="16" y="60"/>
                  </a:lnTo>
                  <a:lnTo>
                    <a:pt x="32" y="60"/>
                  </a:lnTo>
                  <a:lnTo>
                    <a:pt x="43" y="60"/>
                  </a:lnTo>
                  <a:lnTo>
                    <a:pt x="38" y="66"/>
                  </a:lnTo>
                  <a:lnTo>
                    <a:pt x="49" y="66"/>
                  </a:lnTo>
                  <a:lnTo>
                    <a:pt x="54" y="71"/>
                  </a:lnTo>
                  <a:lnTo>
                    <a:pt x="49" y="60"/>
                  </a:lnTo>
                  <a:lnTo>
                    <a:pt x="32" y="49"/>
                  </a:lnTo>
                  <a:lnTo>
                    <a:pt x="38" y="49"/>
                  </a:lnTo>
                  <a:lnTo>
                    <a:pt x="38" y="44"/>
                  </a:lnTo>
                  <a:lnTo>
                    <a:pt x="43" y="44"/>
                  </a:lnTo>
                  <a:lnTo>
                    <a:pt x="32" y="33"/>
                  </a:lnTo>
                  <a:lnTo>
                    <a:pt x="32" y="22"/>
                  </a:lnTo>
                  <a:lnTo>
                    <a:pt x="38" y="22"/>
                  </a:lnTo>
                  <a:lnTo>
                    <a:pt x="38" y="27"/>
                  </a:lnTo>
                  <a:lnTo>
                    <a:pt x="43" y="33"/>
                  </a:lnTo>
                  <a:lnTo>
                    <a:pt x="43" y="27"/>
                  </a:lnTo>
                  <a:lnTo>
                    <a:pt x="49" y="33"/>
                  </a:lnTo>
                  <a:lnTo>
                    <a:pt x="49" y="27"/>
                  </a:lnTo>
                  <a:lnTo>
                    <a:pt x="54" y="27"/>
                  </a:lnTo>
                  <a:lnTo>
                    <a:pt x="49" y="22"/>
                  </a:lnTo>
                  <a:lnTo>
                    <a:pt x="60" y="17"/>
                  </a:lnTo>
                  <a:lnTo>
                    <a:pt x="65" y="17"/>
                  </a:lnTo>
                  <a:lnTo>
                    <a:pt x="76" y="22"/>
                  </a:lnTo>
                  <a:lnTo>
                    <a:pt x="81" y="6"/>
                  </a:lnTo>
                  <a:lnTo>
                    <a:pt x="81" y="0"/>
                  </a:lnTo>
                  <a:lnTo>
                    <a:pt x="81" y="6"/>
                  </a:lnTo>
                  <a:lnTo>
                    <a:pt x="76" y="11"/>
                  </a:lnTo>
                  <a:lnTo>
                    <a:pt x="70" y="11"/>
                  </a:lnTo>
                  <a:lnTo>
                    <a:pt x="60" y="6"/>
                  </a:lnTo>
                  <a:lnTo>
                    <a:pt x="38" y="11"/>
                  </a:lnTo>
                  <a:lnTo>
                    <a:pt x="11" y="17"/>
                  </a:lnTo>
                  <a:lnTo>
                    <a:pt x="16" y="22"/>
                  </a:lnTo>
                  <a:lnTo>
                    <a:pt x="0" y="38"/>
                  </a:lnTo>
                  <a:lnTo>
                    <a:pt x="11"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79" name="Freeform 501"/>
            <p:cNvSpPr>
              <a:spLocks/>
            </p:cNvSpPr>
            <p:nvPr/>
          </p:nvSpPr>
          <p:spPr bwMode="auto">
            <a:xfrm>
              <a:off x="2932" y="2434"/>
              <a:ext cx="6" cy="6"/>
            </a:xfrm>
            <a:custGeom>
              <a:avLst/>
              <a:gdLst>
                <a:gd name="T0" fmla="*/ 6 w 6"/>
                <a:gd name="T1" fmla="*/ 6 h 6"/>
                <a:gd name="T2" fmla="*/ 6 w 6"/>
                <a:gd name="T3" fmla="*/ 0 h 6"/>
                <a:gd name="T4" fmla="*/ 0 w 6"/>
                <a:gd name="T5" fmla="*/ 0 h 6"/>
                <a:gd name="T6" fmla="*/ 6 w 6"/>
                <a:gd name="T7" fmla="*/ 6 h 6"/>
                <a:gd name="T8" fmla="*/ 6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6" y="0"/>
                  </a:ln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0" name="Freeform 502"/>
            <p:cNvSpPr>
              <a:spLocks/>
            </p:cNvSpPr>
            <p:nvPr/>
          </p:nvSpPr>
          <p:spPr bwMode="auto">
            <a:xfrm>
              <a:off x="2943" y="2456"/>
              <a:ext cx="6" cy="6"/>
            </a:xfrm>
            <a:custGeom>
              <a:avLst/>
              <a:gdLst>
                <a:gd name="T0" fmla="*/ 6 w 6"/>
                <a:gd name="T1" fmla="*/ 6 h 6"/>
                <a:gd name="T2" fmla="*/ 6 w 6"/>
                <a:gd name="T3" fmla="*/ 0 h 6"/>
                <a:gd name="T4" fmla="*/ 0 w 6"/>
                <a:gd name="T5" fmla="*/ 0 h 6"/>
                <a:gd name="T6" fmla="*/ 6 w 6"/>
                <a:gd name="T7" fmla="*/ 6 h 6"/>
                <a:gd name="T8" fmla="*/ 6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6" y="0"/>
                  </a:ln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1" name="Freeform 503"/>
            <p:cNvSpPr>
              <a:spLocks/>
            </p:cNvSpPr>
            <p:nvPr/>
          </p:nvSpPr>
          <p:spPr bwMode="auto">
            <a:xfrm>
              <a:off x="2954" y="2456"/>
              <a:ext cx="27" cy="33"/>
            </a:xfrm>
            <a:custGeom>
              <a:avLst/>
              <a:gdLst>
                <a:gd name="T0" fmla="*/ 11 w 27"/>
                <a:gd name="T1" fmla="*/ 0 h 33"/>
                <a:gd name="T2" fmla="*/ 0 w 27"/>
                <a:gd name="T3" fmla="*/ 0 h 33"/>
                <a:gd name="T4" fmla="*/ 0 w 27"/>
                <a:gd name="T5" fmla="*/ 11 h 33"/>
                <a:gd name="T6" fmla="*/ 5 w 27"/>
                <a:gd name="T7" fmla="*/ 17 h 33"/>
                <a:gd name="T8" fmla="*/ 5 w 27"/>
                <a:gd name="T9" fmla="*/ 22 h 33"/>
                <a:gd name="T10" fmla="*/ 5 w 27"/>
                <a:gd name="T11" fmla="*/ 27 h 33"/>
                <a:gd name="T12" fmla="*/ 11 w 27"/>
                <a:gd name="T13" fmla="*/ 22 h 33"/>
                <a:gd name="T14" fmla="*/ 11 w 27"/>
                <a:gd name="T15" fmla="*/ 33 h 33"/>
                <a:gd name="T16" fmla="*/ 16 w 27"/>
                <a:gd name="T17" fmla="*/ 27 h 33"/>
                <a:gd name="T18" fmla="*/ 22 w 27"/>
                <a:gd name="T19" fmla="*/ 33 h 33"/>
                <a:gd name="T20" fmla="*/ 16 w 27"/>
                <a:gd name="T21" fmla="*/ 11 h 33"/>
                <a:gd name="T22" fmla="*/ 22 w 27"/>
                <a:gd name="T23" fmla="*/ 17 h 33"/>
                <a:gd name="T24" fmla="*/ 27 w 27"/>
                <a:gd name="T25" fmla="*/ 17 h 33"/>
                <a:gd name="T26" fmla="*/ 22 w 27"/>
                <a:gd name="T27" fmla="*/ 6 h 33"/>
                <a:gd name="T28" fmla="*/ 11 w 27"/>
                <a:gd name="T29" fmla="*/ 0 h 33"/>
                <a:gd name="T30" fmla="*/ 11 w 27"/>
                <a:gd name="T31" fmla="*/ 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33"/>
                <a:gd name="T50" fmla="*/ 27 w 27"/>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33">
                  <a:moveTo>
                    <a:pt x="11" y="0"/>
                  </a:moveTo>
                  <a:lnTo>
                    <a:pt x="0" y="0"/>
                  </a:lnTo>
                  <a:lnTo>
                    <a:pt x="0" y="11"/>
                  </a:lnTo>
                  <a:lnTo>
                    <a:pt x="5" y="17"/>
                  </a:lnTo>
                  <a:lnTo>
                    <a:pt x="5" y="22"/>
                  </a:lnTo>
                  <a:lnTo>
                    <a:pt x="5" y="27"/>
                  </a:lnTo>
                  <a:lnTo>
                    <a:pt x="11" y="22"/>
                  </a:lnTo>
                  <a:lnTo>
                    <a:pt x="11" y="33"/>
                  </a:lnTo>
                  <a:lnTo>
                    <a:pt x="16" y="27"/>
                  </a:lnTo>
                  <a:lnTo>
                    <a:pt x="22" y="33"/>
                  </a:lnTo>
                  <a:lnTo>
                    <a:pt x="16" y="11"/>
                  </a:lnTo>
                  <a:lnTo>
                    <a:pt x="22" y="17"/>
                  </a:lnTo>
                  <a:lnTo>
                    <a:pt x="27" y="17"/>
                  </a:lnTo>
                  <a:lnTo>
                    <a:pt x="22" y="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2" name="Freeform 504"/>
            <p:cNvSpPr>
              <a:spLocks/>
            </p:cNvSpPr>
            <p:nvPr/>
          </p:nvSpPr>
          <p:spPr bwMode="auto">
            <a:xfrm>
              <a:off x="2998" y="2462"/>
              <a:ext cx="5" cy="5"/>
            </a:xfrm>
            <a:custGeom>
              <a:avLst/>
              <a:gdLst>
                <a:gd name="T0" fmla="*/ 5 w 5"/>
                <a:gd name="T1" fmla="*/ 5 h 5"/>
                <a:gd name="T2" fmla="*/ 5 w 5"/>
                <a:gd name="T3" fmla="*/ 0 h 5"/>
                <a:gd name="T4" fmla="*/ 0 w 5"/>
                <a:gd name="T5" fmla="*/ 0 h 5"/>
                <a:gd name="T6" fmla="*/ 5 w 5"/>
                <a:gd name="T7" fmla="*/ 5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5"/>
                  </a:moveTo>
                  <a:lnTo>
                    <a:pt x="5" y="0"/>
                  </a:lnTo>
                  <a:lnTo>
                    <a:pt x="0" y="0"/>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3" name="Freeform 505"/>
            <p:cNvSpPr>
              <a:spLocks/>
            </p:cNvSpPr>
            <p:nvPr/>
          </p:nvSpPr>
          <p:spPr bwMode="auto">
            <a:xfrm>
              <a:off x="2981" y="2500"/>
              <a:ext cx="38" cy="11"/>
            </a:xfrm>
            <a:custGeom>
              <a:avLst/>
              <a:gdLst>
                <a:gd name="T0" fmla="*/ 22 w 38"/>
                <a:gd name="T1" fmla="*/ 5 h 11"/>
                <a:gd name="T2" fmla="*/ 11 w 38"/>
                <a:gd name="T3" fmla="*/ 5 h 11"/>
                <a:gd name="T4" fmla="*/ 11 w 38"/>
                <a:gd name="T5" fmla="*/ 0 h 11"/>
                <a:gd name="T6" fmla="*/ 6 w 38"/>
                <a:gd name="T7" fmla="*/ 0 h 11"/>
                <a:gd name="T8" fmla="*/ 0 w 38"/>
                <a:gd name="T9" fmla="*/ 5 h 11"/>
                <a:gd name="T10" fmla="*/ 17 w 38"/>
                <a:gd name="T11" fmla="*/ 5 h 11"/>
                <a:gd name="T12" fmla="*/ 17 w 38"/>
                <a:gd name="T13" fmla="*/ 11 h 11"/>
                <a:gd name="T14" fmla="*/ 38 w 38"/>
                <a:gd name="T15" fmla="*/ 11 h 11"/>
                <a:gd name="T16" fmla="*/ 38 w 38"/>
                <a:gd name="T17" fmla="*/ 5 h 11"/>
                <a:gd name="T18" fmla="*/ 33 w 38"/>
                <a:gd name="T19" fmla="*/ 5 h 11"/>
                <a:gd name="T20" fmla="*/ 22 w 38"/>
                <a:gd name="T21" fmla="*/ 5 h 11"/>
                <a:gd name="T22" fmla="*/ 22 w 38"/>
                <a:gd name="T23" fmla="*/ 5 h 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
                <a:gd name="T37" fmla="*/ 0 h 11"/>
                <a:gd name="T38" fmla="*/ 38 w 38"/>
                <a:gd name="T39" fmla="*/ 11 h 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 h="11">
                  <a:moveTo>
                    <a:pt x="22" y="5"/>
                  </a:moveTo>
                  <a:lnTo>
                    <a:pt x="11" y="5"/>
                  </a:lnTo>
                  <a:lnTo>
                    <a:pt x="11" y="0"/>
                  </a:lnTo>
                  <a:lnTo>
                    <a:pt x="6" y="0"/>
                  </a:lnTo>
                  <a:lnTo>
                    <a:pt x="0" y="5"/>
                  </a:lnTo>
                  <a:lnTo>
                    <a:pt x="17" y="5"/>
                  </a:lnTo>
                  <a:lnTo>
                    <a:pt x="17" y="11"/>
                  </a:lnTo>
                  <a:lnTo>
                    <a:pt x="38" y="11"/>
                  </a:lnTo>
                  <a:lnTo>
                    <a:pt x="38" y="5"/>
                  </a:lnTo>
                  <a:lnTo>
                    <a:pt x="33" y="5"/>
                  </a:lnTo>
                  <a:lnTo>
                    <a:pt x="22"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4" name="Freeform 506"/>
            <p:cNvSpPr>
              <a:spLocks/>
            </p:cNvSpPr>
            <p:nvPr/>
          </p:nvSpPr>
          <p:spPr bwMode="auto">
            <a:xfrm>
              <a:off x="3036" y="2489"/>
              <a:ext cx="11" cy="5"/>
            </a:xfrm>
            <a:custGeom>
              <a:avLst/>
              <a:gdLst>
                <a:gd name="T0" fmla="*/ 5 w 11"/>
                <a:gd name="T1" fmla="*/ 5 h 5"/>
                <a:gd name="T2" fmla="*/ 11 w 11"/>
                <a:gd name="T3" fmla="*/ 0 h 5"/>
                <a:gd name="T4" fmla="*/ 0 w 11"/>
                <a:gd name="T5" fmla="*/ 0 h 5"/>
                <a:gd name="T6" fmla="*/ 0 w 11"/>
                <a:gd name="T7" fmla="*/ 5 h 5"/>
                <a:gd name="T8" fmla="*/ 5 w 11"/>
                <a:gd name="T9" fmla="*/ 5 h 5"/>
                <a:gd name="T10" fmla="*/ 5 w 11"/>
                <a:gd name="T11" fmla="*/ 5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5" y="5"/>
                  </a:moveTo>
                  <a:lnTo>
                    <a:pt x="11" y="0"/>
                  </a:lnTo>
                  <a:lnTo>
                    <a:pt x="0" y="0"/>
                  </a:lnTo>
                  <a:lnTo>
                    <a:pt x="0" y="5"/>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5" name="Freeform 507"/>
            <p:cNvSpPr>
              <a:spLocks/>
            </p:cNvSpPr>
            <p:nvPr/>
          </p:nvSpPr>
          <p:spPr bwMode="auto">
            <a:xfrm>
              <a:off x="3014" y="2451"/>
              <a:ext cx="5" cy="5"/>
            </a:xfrm>
            <a:custGeom>
              <a:avLst/>
              <a:gdLst>
                <a:gd name="T0" fmla="*/ 0 w 5"/>
                <a:gd name="T1" fmla="*/ 5 h 5"/>
                <a:gd name="T2" fmla="*/ 5 w 5"/>
                <a:gd name="T3" fmla="*/ 0 h 5"/>
                <a:gd name="T4" fmla="*/ 0 w 5"/>
                <a:gd name="T5" fmla="*/ 0 h 5"/>
                <a:gd name="T6" fmla="*/ 0 w 5"/>
                <a:gd name="T7" fmla="*/ 5 h 5"/>
                <a:gd name="T8" fmla="*/ 0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5"/>
                  </a:moveTo>
                  <a:lnTo>
                    <a:pt x="5" y="0"/>
                  </a:ln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6" name="Freeform 508"/>
            <p:cNvSpPr>
              <a:spLocks/>
            </p:cNvSpPr>
            <p:nvPr/>
          </p:nvSpPr>
          <p:spPr bwMode="auto">
            <a:xfrm>
              <a:off x="3014" y="2440"/>
              <a:ext cx="5" cy="5"/>
            </a:xfrm>
            <a:custGeom>
              <a:avLst/>
              <a:gdLst>
                <a:gd name="T0" fmla="*/ 5 w 5"/>
                <a:gd name="T1" fmla="*/ 5 h 5"/>
                <a:gd name="T2" fmla="*/ 5 w 5"/>
                <a:gd name="T3" fmla="*/ 0 h 5"/>
                <a:gd name="T4" fmla="*/ 0 w 5"/>
                <a:gd name="T5" fmla="*/ 5 h 5"/>
                <a:gd name="T6" fmla="*/ 5 w 5"/>
                <a:gd name="T7" fmla="*/ 5 h 5"/>
                <a:gd name="T8" fmla="*/ 5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5"/>
                  </a:moveTo>
                  <a:lnTo>
                    <a:pt x="5" y="0"/>
                  </a:lnTo>
                  <a:lnTo>
                    <a:pt x="0" y="5"/>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7" name="Freeform 509"/>
            <p:cNvSpPr>
              <a:spLocks/>
            </p:cNvSpPr>
            <p:nvPr/>
          </p:nvSpPr>
          <p:spPr bwMode="auto">
            <a:xfrm>
              <a:off x="3003" y="2429"/>
              <a:ext cx="5" cy="5"/>
            </a:xfrm>
            <a:custGeom>
              <a:avLst/>
              <a:gdLst>
                <a:gd name="T0" fmla="*/ 0 w 5"/>
                <a:gd name="T1" fmla="*/ 5 h 5"/>
                <a:gd name="T2" fmla="*/ 0 w 5"/>
                <a:gd name="T3" fmla="*/ 0 h 5"/>
                <a:gd name="T4" fmla="*/ 5 w 5"/>
                <a:gd name="T5" fmla="*/ 0 h 5"/>
                <a:gd name="T6" fmla="*/ 5 w 5"/>
                <a:gd name="T7" fmla="*/ 0 h 5"/>
                <a:gd name="T8" fmla="*/ 0 w 5"/>
                <a:gd name="T9" fmla="*/ 5 h 5"/>
                <a:gd name="T10" fmla="*/ 0 w 5"/>
                <a:gd name="T11" fmla="*/ 5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5"/>
                  </a:moveTo>
                  <a:lnTo>
                    <a:pt x="0" y="0"/>
                  </a:lnTo>
                  <a:lnTo>
                    <a:pt x="5"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88" name="Rectangle 510"/>
            <p:cNvSpPr>
              <a:spLocks noChangeArrowheads="1"/>
            </p:cNvSpPr>
            <p:nvPr/>
          </p:nvSpPr>
          <p:spPr bwMode="auto">
            <a:xfrm>
              <a:off x="2998" y="2418"/>
              <a:ext cx="1"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489" name="Freeform 511"/>
            <p:cNvSpPr>
              <a:spLocks/>
            </p:cNvSpPr>
            <p:nvPr/>
          </p:nvSpPr>
          <p:spPr bwMode="auto">
            <a:xfrm>
              <a:off x="2976" y="2445"/>
              <a:ext cx="22" cy="17"/>
            </a:xfrm>
            <a:custGeom>
              <a:avLst/>
              <a:gdLst>
                <a:gd name="T0" fmla="*/ 22 w 22"/>
                <a:gd name="T1" fmla="*/ 17 h 17"/>
                <a:gd name="T2" fmla="*/ 16 w 22"/>
                <a:gd name="T3" fmla="*/ 6 h 17"/>
                <a:gd name="T4" fmla="*/ 5 w 22"/>
                <a:gd name="T5" fmla="*/ 0 h 17"/>
                <a:gd name="T6" fmla="*/ 0 w 22"/>
                <a:gd name="T7" fmla="*/ 6 h 17"/>
                <a:gd name="T8" fmla="*/ 16 w 22"/>
                <a:gd name="T9" fmla="*/ 11 h 17"/>
                <a:gd name="T10" fmla="*/ 22 w 22"/>
                <a:gd name="T11" fmla="*/ 17 h 17"/>
                <a:gd name="T12" fmla="*/ 22 w 22"/>
                <a:gd name="T13" fmla="*/ 17 h 17"/>
                <a:gd name="T14" fmla="*/ 22 w 22"/>
                <a:gd name="T15" fmla="*/ 17 h 17"/>
                <a:gd name="T16" fmla="*/ 22 w 22"/>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7"/>
                <a:gd name="T29" fmla="*/ 22 w 22"/>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7">
                  <a:moveTo>
                    <a:pt x="22" y="17"/>
                  </a:moveTo>
                  <a:lnTo>
                    <a:pt x="16" y="6"/>
                  </a:lnTo>
                  <a:lnTo>
                    <a:pt x="5" y="0"/>
                  </a:lnTo>
                  <a:lnTo>
                    <a:pt x="0" y="6"/>
                  </a:lnTo>
                  <a:lnTo>
                    <a:pt x="16" y="11"/>
                  </a:lnTo>
                  <a:lnTo>
                    <a:pt x="22" y="1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0" name="Freeform 512"/>
            <p:cNvSpPr>
              <a:spLocks/>
            </p:cNvSpPr>
            <p:nvPr/>
          </p:nvSpPr>
          <p:spPr bwMode="auto">
            <a:xfrm>
              <a:off x="2769" y="2303"/>
              <a:ext cx="147" cy="159"/>
            </a:xfrm>
            <a:custGeom>
              <a:avLst/>
              <a:gdLst>
                <a:gd name="T0" fmla="*/ 92 w 147"/>
                <a:gd name="T1" fmla="*/ 28 h 159"/>
                <a:gd name="T2" fmla="*/ 87 w 147"/>
                <a:gd name="T3" fmla="*/ 17 h 159"/>
                <a:gd name="T4" fmla="*/ 87 w 147"/>
                <a:gd name="T5" fmla="*/ 11 h 159"/>
                <a:gd name="T6" fmla="*/ 65 w 147"/>
                <a:gd name="T7" fmla="*/ 0 h 159"/>
                <a:gd name="T8" fmla="*/ 43 w 147"/>
                <a:gd name="T9" fmla="*/ 6 h 159"/>
                <a:gd name="T10" fmla="*/ 43 w 147"/>
                <a:gd name="T11" fmla="*/ 17 h 159"/>
                <a:gd name="T12" fmla="*/ 27 w 147"/>
                <a:gd name="T13" fmla="*/ 22 h 159"/>
                <a:gd name="T14" fmla="*/ 11 w 147"/>
                <a:gd name="T15" fmla="*/ 22 h 159"/>
                <a:gd name="T16" fmla="*/ 0 w 147"/>
                <a:gd name="T17" fmla="*/ 22 h 159"/>
                <a:gd name="T18" fmla="*/ 0 w 147"/>
                <a:gd name="T19" fmla="*/ 39 h 159"/>
                <a:gd name="T20" fmla="*/ 0 w 147"/>
                <a:gd name="T21" fmla="*/ 55 h 159"/>
                <a:gd name="T22" fmla="*/ 11 w 147"/>
                <a:gd name="T23" fmla="*/ 60 h 159"/>
                <a:gd name="T24" fmla="*/ 22 w 147"/>
                <a:gd name="T25" fmla="*/ 50 h 159"/>
                <a:gd name="T26" fmla="*/ 49 w 147"/>
                <a:gd name="T27" fmla="*/ 71 h 159"/>
                <a:gd name="T28" fmla="*/ 60 w 147"/>
                <a:gd name="T29" fmla="*/ 88 h 159"/>
                <a:gd name="T30" fmla="*/ 87 w 147"/>
                <a:gd name="T31" fmla="*/ 104 h 159"/>
                <a:gd name="T32" fmla="*/ 103 w 147"/>
                <a:gd name="T33" fmla="*/ 115 h 159"/>
                <a:gd name="T34" fmla="*/ 109 w 147"/>
                <a:gd name="T35" fmla="*/ 126 h 159"/>
                <a:gd name="T36" fmla="*/ 120 w 147"/>
                <a:gd name="T37" fmla="*/ 148 h 159"/>
                <a:gd name="T38" fmla="*/ 114 w 147"/>
                <a:gd name="T39" fmla="*/ 153 h 159"/>
                <a:gd name="T40" fmla="*/ 120 w 147"/>
                <a:gd name="T41" fmla="*/ 159 h 159"/>
                <a:gd name="T42" fmla="*/ 125 w 147"/>
                <a:gd name="T43" fmla="*/ 142 h 159"/>
                <a:gd name="T44" fmla="*/ 131 w 147"/>
                <a:gd name="T45" fmla="*/ 137 h 159"/>
                <a:gd name="T46" fmla="*/ 125 w 147"/>
                <a:gd name="T47" fmla="*/ 120 h 159"/>
                <a:gd name="T48" fmla="*/ 141 w 147"/>
                <a:gd name="T49" fmla="*/ 120 h 159"/>
                <a:gd name="T50" fmla="*/ 147 w 147"/>
                <a:gd name="T51" fmla="*/ 126 h 159"/>
                <a:gd name="T52" fmla="*/ 114 w 147"/>
                <a:gd name="T53" fmla="*/ 99 h 159"/>
                <a:gd name="T54" fmla="*/ 120 w 147"/>
                <a:gd name="T55" fmla="*/ 93 h 159"/>
                <a:gd name="T56" fmla="*/ 98 w 147"/>
                <a:gd name="T57" fmla="*/ 88 h 159"/>
                <a:gd name="T58" fmla="*/ 87 w 147"/>
                <a:gd name="T59" fmla="*/ 66 h 159"/>
                <a:gd name="T60" fmla="*/ 71 w 147"/>
                <a:gd name="T61" fmla="*/ 44 h 159"/>
                <a:gd name="T62" fmla="*/ 71 w 147"/>
                <a:gd name="T63" fmla="*/ 39 h 159"/>
                <a:gd name="T64" fmla="*/ 82 w 147"/>
                <a:gd name="T65" fmla="*/ 22 h 159"/>
                <a:gd name="T66" fmla="*/ 87 w 147"/>
                <a:gd name="T67" fmla="*/ 28 h 15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47"/>
                <a:gd name="T103" fmla="*/ 0 h 159"/>
                <a:gd name="T104" fmla="*/ 147 w 147"/>
                <a:gd name="T105" fmla="*/ 159 h 15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47" h="159">
                  <a:moveTo>
                    <a:pt x="87" y="28"/>
                  </a:moveTo>
                  <a:lnTo>
                    <a:pt x="92" y="28"/>
                  </a:lnTo>
                  <a:lnTo>
                    <a:pt x="87" y="22"/>
                  </a:lnTo>
                  <a:lnTo>
                    <a:pt x="87" y="17"/>
                  </a:lnTo>
                  <a:lnTo>
                    <a:pt x="82" y="17"/>
                  </a:lnTo>
                  <a:lnTo>
                    <a:pt x="87" y="11"/>
                  </a:lnTo>
                  <a:lnTo>
                    <a:pt x="71" y="6"/>
                  </a:lnTo>
                  <a:lnTo>
                    <a:pt x="65" y="0"/>
                  </a:lnTo>
                  <a:lnTo>
                    <a:pt x="43" y="6"/>
                  </a:lnTo>
                  <a:lnTo>
                    <a:pt x="38" y="6"/>
                  </a:lnTo>
                  <a:lnTo>
                    <a:pt x="43" y="17"/>
                  </a:lnTo>
                  <a:lnTo>
                    <a:pt x="33" y="11"/>
                  </a:lnTo>
                  <a:lnTo>
                    <a:pt x="27" y="22"/>
                  </a:lnTo>
                  <a:lnTo>
                    <a:pt x="22" y="11"/>
                  </a:lnTo>
                  <a:lnTo>
                    <a:pt x="11" y="22"/>
                  </a:lnTo>
                  <a:lnTo>
                    <a:pt x="0" y="22"/>
                  </a:lnTo>
                  <a:lnTo>
                    <a:pt x="0" y="33"/>
                  </a:lnTo>
                  <a:lnTo>
                    <a:pt x="0" y="39"/>
                  </a:lnTo>
                  <a:lnTo>
                    <a:pt x="0" y="55"/>
                  </a:lnTo>
                  <a:lnTo>
                    <a:pt x="5" y="55"/>
                  </a:lnTo>
                  <a:lnTo>
                    <a:pt x="11" y="60"/>
                  </a:lnTo>
                  <a:lnTo>
                    <a:pt x="16" y="55"/>
                  </a:lnTo>
                  <a:lnTo>
                    <a:pt x="22" y="50"/>
                  </a:lnTo>
                  <a:lnTo>
                    <a:pt x="43" y="55"/>
                  </a:lnTo>
                  <a:lnTo>
                    <a:pt x="49" y="71"/>
                  </a:lnTo>
                  <a:lnTo>
                    <a:pt x="54" y="82"/>
                  </a:lnTo>
                  <a:lnTo>
                    <a:pt x="60" y="88"/>
                  </a:lnTo>
                  <a:lnTo>
                    <a:pt x="82" y="104"/>
                  </a:lnTo>
                  <a:lnTo>
                    <a:pt x="87" y="104"/>
                  </a:lnTo>
                  <a:lnTo>
                    <a:pt x="98" y="115"/>
                  </a:lnTo>
                  <a:lnTo>
                    <a:pt x="103" y="115"/>
                  </a:lnTo>
                  <a:lnTo>
                    <a:pt x="103" y="120"/>
                  </a:lnTo>
                  <a:lnTo>
                    <a:pt x="109" y="126"/>
                  </a:lnTo>
                  <a:lnTo>
                    <a:pt x="114" y="126"/>
                  </a:lnTo>
                  <a:lnTo>
                    <a:pt x="120" y="148"/>
                  </a:lnTo>
                  <a:lnTo>
                    <a:pt x="114" y="148"/>
                  </a:lnTo>
                  <a:lnTo>
                    <a:pt x="114" y="153"/>
                  </a:lnTo>
                  <a:lnTo>
                    <a:pt x="114" y="159"/>
                  </a:lnTo>
                  <a:lnTo>
                    <a:pt x="120" y="159"/>
                  </a:lnTo>
                  <a:lnTo>
                    <a:pt x="125" y="153"/>
                  </a:lnTo>
                  <a:lnTo>
                    <a:pt x="125" y="142"/>
                  </a:lnTo>
                  <a:lnTo>
                    <a:pt x="131" y="142"/>
                  </a:lnTo>
                  <a:lnTo>
                    <a:pt x="131" y="137"/>
                  </a:lnTo>
                  <a:lnTo>
                    <a:pt x="125" y="131"/>
                  </a:lnTo>
                  <a:lnTo>
                    <a:pt x="125" y="120"/>
                  </a:lnTo>
                  <a:lnTo>
                    <a:pt x="131" y="115"/>
                  </a:lnTo>
                  <a:lnTo>
                    <a:pt x="141" y="120"/>
                  </a:lnTo>
                  <a:lnTo>
                    <a:pt x="147" y="126"/>
                  </a:lnTo>
                  <a:lnTo>
                    <a:pt x="141" y="115"/>
                  </a:lnTo>
                  <a:lnTo>
                    <a:pt x="114" y="99"/>
                  </a:lnTo>
                  <a:lnTo>
                    <a:pt x="120" y="93"/>
                  </a:lnTo>
                  <a:lnTo>
                    <a:pt x="109" y="93"/>
                  </a:lnTo>
                  <a:lnTo>
                    <a:pt x="98" y="88"/>
                  </a:lnTo>
                  <a:lnTo>
                    <a:pt x="92" y="82"/>
                  </a:lnTo>
                  <a:lnTo>
                    <a:pt x="87" y="66"/>
                  </a:lnTo>
                  <a:lnTo>
                    <a:pt x="71" y="55"/>
                  </a:lnTo>
                  <a:lnTo>
                    <a:pt x="71" y="44"/>
                  </a:lnTo>
                  <a:lnTo>
                    <a:pt x="71" y="39"/>
                  </a:lnTo>
                  <a:lnTo>
                    <a:pt x="71" y="33"/>
                  </a:lnTo>
                  <a:lnTo>
                    <a:pt x="82" y="22"/>
                  </a:lnTo>
                  <a:lnTo>
                    <a:pt x="87" y="22"/>
                  </a:lnTo>
                  <a:lnTo>
                    <a:pt x="87" y="2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1" name="Freeform 513"/>
            <p:cNvSpPr>
              <a:spLocks/>
            </p:cNvSpPr>
            <p:nvPr/>
          </p:nvSpPr>
          <p:spPr bwMode="auto">
            <a:xfrm>
              <a:off x="2785" y="2407"/>
              <a:ext cx="17" cy="38"/>
            </a:xfrm>
            <a:custGeom>
              <a:avLst/>
              <a:gdLst>
                <a:gd name="T0" fmla="*/ 11 w 17"/>
                <a:gd name="T1" fmla="*/ 0 h 38"/>
                <a:gd name="T2" fmla="*/ 17 w 17"/>
                <a:gd name="T3" fmla="*/ 0 h 38"/>
                <a:gd name="T4" fmla="*/ 17 w 17"/>
                <a:gd name="T5" fmla="*/ 11 h 38"/>
                <a:gd name="T6" fmla="*/ 17 w 17"/>
                <a:gd name="T7" fmla="*/ 33 h 38"/>
                <a:gd name="T8" fmla="*/ 17 w 17"/>
                <a:gd name="T9" fmla="*/ 33 h 38"/>
                <a:gd name="T10" fmla="*/ 17 w 17"/>
                <a:gd name="T11" fmla="*/ 33 h 38"/>
                <a:gd name="T12" fmla="*/ 6 w 17"/>
                <a:gd name="T13" fmla="*/ 38 h 38"/>
                <a:gd name="T14" fmla="*/ 6 w 17"/>
                <a:gd name="T15" fmla="*/ 33 h 38"/>
                <a:gd name="T16" fmla="*/ 6 w 17"/>
                <a:gd name="T17" fmla="*/ 22 h 38"/>
                <a:gd name="T18" fmla="*/ 0 w 17"/>
                <a:gd name="T19" fmla="*/ 6 h 38"/>
                <a:gd name="T20" fmla="*/ 6 w 17"/>
                <a:gd name="T21" fmla="*/ 6 h 38"/>
                <a:gd name="T22" fmla="*/ 11 w 17"/>
                <a:gd name="T23" fmla="*/ 0 h 38"/>
                <a:gd name="T24" fmla="*/ 11 w 17"/>
                <a:gd name="T25" fmla="*/ 0 h 3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
                <a:gd name="T40" fmla="*/ 0 h 38"/>
                <a:gd name="T41" fmla="*/ 17 w 17"/>
                <a:gd name="T42" fmla="*/ 38 h 3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 h="38">
                  <a:moveTo>
                    <a:pt x="11" y="0"/>
                  </a:moveTo>
                  <a:lnTo>
                    <a:pt x="17" y="0"/>
                  </a:lnTo>
                  <a:lnTo>
                    <a:pt x="17" y="11"/>
                  </a:lnTo>
                  <a:lnTo>
                    <a:pt x="17" y="33"/>
                  </a:lnTo>
                  <a:lnTo>
                    <a:pt x="6" y="38"/>
                  </a:lnTo>
                  <a:lnTo>
                    <a:pt x="6" y="33"/>
                  </a:lnTo>
                  <a:lnTo>
                    <a:pt x="6" y="22"/>
                  </a:lnTo>
                  <a:lnTo>
                    <a:pt x="0" y="6"/>
                  </a:lnTo>
                  <a:lnTo>
                    <a:pt x="6" y="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2" name="Freeform 514"/>
            <p:cNvSpPr>
              <a:spLocks/>
            </p:cNvSpPr>
            <p:nvPr/>
          </p:nvSpPr>
          <p:spPr bwMode="auto">
            <a:xfrm>
              <a:off x="2840" y="2456"/>
              <a:ext cx="43" cy="27"/>
            </a:xfrm>
            <a:custGeom>
              <a:avLst/>
              <a:gdLst>
                <a:gd name="T0" fmla="*/ 43 w 43"/>
                <a:gd name="T1" fmla="*/ 0 h 27"/>
                <a:gd name="T2" fmla="*/ 32 w 43"/>
                <a:gd name="T3" fmla="*/ 17 h 27"/>
                <a:gd name="T4" fmla="*/ 38 w 43"/>
                <a:gd name="T5" fmla="*/ 22 h 27"/>
                <a:gd name="T6" fmla="*/ 32 w 43"/>
                <a:gd name="T7" fmla="*/ 27 h 27"/>
                <a:gd name="T8" fmla="*/ 27 w 43"/>
                <a:gd name="T9" fmla="*/ 27 h 27"/>
                <a:gd name="T10" fmla="*/ 27 w 43"/>
                <a:gd name="T11" fmla="*/ 22 h 27"/>
                <a:gd name="T12" fmla="*/ 5 w 43"/>
                <a:gd name="T13" fmla="*/ 11 h 27"/>
                <a:gd name="T14" fmla="*/ 0 w 43"/>
                <a:gd name="T15" fmla="*/ 6 h 27"/>
                <a:gd name="T16" fmla="*/ 5 w 43"/>
                <a:gd name="T17" fmla="*/ 0 h 27"/>
                <a:gd name="T18" fmla="*/ 11 w 43"/>
                <a:gd name="T19" fmla="*/ 0 h 27"/>
                <a:gd name="T20" fmla="*/ 16 w 43"/>
                <a:gd name="T21" fmla="*/ 6 h 27"/>
                <a:gd name="T22" fmla="*/ 43 w 43"/>
                <a:gd name="T23" fmla="*/ 0 h 27"/>
                <a:gd name="T24" fmla="*/ 43 w 43"/>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43" y="0"/>
                  </a:moveTo>
                  <a:lnTo>
                    <a:pt x="32" y="17"/>
                  </a:lnTo>
                  <a:lnTo>
                    <a:pt x="38" y="22"/>
                  </a:lnTo>
                  <a:lnTo>
                    <a:pt x="32" y="27"/>
                  </a:lnTo>
                  <a:lnTo>
                    <a:pt x="27" y="27"/>
                  </a:lnTo>
                  <a:lnTo>
                    <a:pt x="27" y="22"/>
                  </a:lnTo>
                  <a:lnTo>
                    <a:pt x="5" y="11"/>
                  </a:lnTo>
                  <a:lnTo>
                    <a:pt x="0" y="6"/>
                  </a:lnTo>
                  <a:lnTo>
                    <a:pt x="5" y="0"/>
                  </a:lnTo>
                  <a:lnTo>
                    <a:pt x="11" y="0"/>
                  </a:lnTo>
                  <a:lnTo>
                    <a:pt x="16" y="6"/>
                  </a:lnTo>
                  <a:lnTo>
                    <a:pt x="43"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3" name="Freeform 515"/>
            <p:cNvSpPr>
              <a:spLocks/>
            </p:cNvSpPr>
            <p:nvPr/>
          </p:nvSpPr>
          <p:spPr bwMode="auto">
            <a:xfrm>
              <a:off x="2753" y="2243"/>
              <a:ext cx="10" cy="11"/>
            </a:xfrm>
            <a:custGeom>
              <a:avLst/>
              <a:gdLst>
                <a:gd name="T0" fmla="*/ 0 w 10"/>
                <a:gd name="T1" fmla="*/ 11 h 11"/>
                <a:gd name="T2" fmla="*/ 5 w 10"/>
                <a:gd name="T3" fmla="*/ 11 h 11"/>
                <a:gd name="T4" fmla="*/ 10 w 10"/>
                <a:gd name="T5" fmla="*/ 6 h 11"/>
                <a:gd name="T6" fmla="*/ 5 w 10"/>
                <a:gd name="T7" fmla="*/ 0 h 11"/>
                <a:gd name="T8" fmla="*/ 0 w 10"/>
                <a:gd name="T9" fmla="*/ 6 h 11"/>
                <a:gd name="T10" fmla="*/ 0 w 10"/>
                <a:gd name="T11" fmla="*/ 11 h 11"/>
                <a:gd name="T12" fmla="*/ 0 w 10"/>
                <a:gd name="T13" fmla="*/ 11 h 11"/>
                <a:gd name="T14" fmla="*/ 0 60000 65536"/>
                <a:gd name="T15" fmla="*/ 0 60000 65536"/>
                <a:gd name="T16" fmla="*/ 0 60000 65536"/>
                <a:gd name="T17" fmla="*/ 0 60000 65536"/>
                <a:gd name="T18" fmla="*/ 0 60000 65536"/>
                <a:gd name="T19" fmla="*/ 0 60000 65536"/>
                <a:gd name="T20" fmla="*/ 0 60000 65536"/>
                <a:gd name="T21" fmla="*/ 0 w 10"/>
                <a:gd name="T22" fmla="*/ 0 h 11"/>
                <a:gd name="T23" fmla="*/ 10 w 10"/>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11">
                  <a:moveTo>
                    <a:pt x="0" y="11"/>
                  </a:moveTo>
                  <a:lnTo>
                    <a:pt x="5" y="11"/>
                  </a:lnTo>
                  <a:lnTo>
                    <a:pt x="10" y="6"/>
                  </a:lnTo>
                  <a:lnTo>
                    <a:pt x="5" y="0"/>
                  </a:lnTo>
                  <a:lnTo>
                    <a:pt x="0" y="6"/>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4" name="Freeform 516"/>
            <p:cNvSpPr>
              <a:spLocks/>
            </p:cNvSpPr>
            <p:nvPr/>
          </p:nvSpPr>
          <p:spPr bwMode="auto">
            <a:xfrm>
              <a:off x="2742" y="2178"/>
              <a:ext cx="5" cy="5"/>
            </a:xfrm>
            <a:custGeom>
              <a:avLst/>
              <a:gdLst>
                <a:gd name="T0" fmla="*/ 5 w 5"/>
                <a:gd name="T1" fmla="*/ 0 h 5"/>
                <a:gd name="T2" fmla="*/ 0 w 5"/>
                <a:gd name="T3" fmla="*/ 5 h 5"/>
                <a:gd name="T4" fmla="*/ 5 w 5"/>
                <a:gd name="T5" fmla="*/ 0 h 5"/>
                <a:gd name="T6" fmla="*/ 5 w 5"/>
                <a:gd name="T7" fmla="*/ 0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0"/>
                  </a:move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5" name="Freeform 517"/>
            <p:cNvSpPr>
              <a:spLocks/>
            </p:cNvSpPr>
            <p:nvPr/>
          </p:nvSpPr>
          <p:spPr bwMode="auto">
            <a:xfrm>
              <a:off x="2725" y="2172"/>
              <a:ext cx="44" cy="60"/>
            </a:xfrm>
            <a:custGeom>
              <a:avLst/>
              <a:gdLst>
                <a:gd name="T0" fmla="*/ 22 w 44"/>
                <a:gd name="T1" fmla="*/ 17 h 60"/>
                <a:gd name="T2" fmla="*/ 22 w 44"/>
                <a:gd name="T3" fmla="*/ 17 h 60"/>
                <a:gd name="T4" fmla="*/ 22 w 44"/>
                <a:gd name="T5" fmla="*/ 22 h 60"/>
                <a:gd name="T6" fmla="*/ 22 w 44"/>
                <a:gd name="T7" fmla="*/ 22 h 60"/>
                <a:gd name="T8" fmla="*/ 28 w 44"/>
                <a:gd name="T9" fmla="*/ 28 h 60"/>
                <a:gd name="T10" fmla="*/ 22 w 44"/>
                <a:gd name="T11" fmla="*/ 22 h 60"/>
                <a:gd name="T12" fmla="*/ 28 w 44"/>
                <a:gd name="T13" fmla="*/ 17 h 60"/>
                <a:gd name="T14" fmla="*/ 28 w 44"/>
                <a:gd name="T15" fmla="*/ 17 h 60"/>
                <a:gd name="T16" fmla="*/ 28 w 44"/>
                <a:gd name="T17" fmla="*/ 6 h 60"/>
                <a:gd name="T18" fmla="*/ 44 w 44"/>
                <a:gd name="T19" fmla="*/ 0 h 60"/>
                <a:gd name="T20" fmla="*/ 44 w 44"/>
                <a:gd name="T21" fmla="*/ 6 h 60"/>
                <a:gd name="T22" fmla="*/ 44 w 44"/>
                <a:gd name="T23" fmla="*/ 17 h 60"/>
                <a:gd name="T24" fmla="*/ 38 w 44"/>
                <a:gd name="T25" fmla="*/ 22 h 60"/>
                <a:gd name="T26" fmla="*/ 44 w 44"/>
                <a:gd name="T27" fmla="*/ 28 h 60"/>
                <a:gd name="T28" fmla="*/ 38 w 44"/>
                <a:gd name="T29" fmla="*/ 33 h 60"/>
                <a:gd name="T30" fmla="*/ 33 w 44"/>
                <a:gd name="T31" fmla="*/ 33 h 60"/>
                <a:gd name="T32" fmla="*/ 33 w 44"/>
                <a:gd name="T33" fmla="*/ 60 h 60"/>
                <a:gd name="T34" fmla="*/ 28 w 44"/>
                <a:gd name="T35" fmla="*/ 55 h 60"/>
                <a:gd name="T36" fmla="*/ 28 w 44"/>
                <a:gd name="T37" fmla="*/ 50 h 60"/>
                <a:gd name="T38" fmla="*/ 22 w 44"/>
                <a:gd name="T39" fmla="*/ 44 h 60"/>
                <a:gd name="T40" fmla="*/ 6 w 44"/>
                <a:gd name="T41" fmla="*/ 50 h 60"/>
                <a:gd name="T42" fmla="*/ 0 w 44"/>
                <a:gd name="T43" fmla="*/ 50 h 60"/>
                <a:gd name="T44" fmla="*/ 11 w 44"/>
                <a:gd name="T45" fmla="*/ 44 h 60"/>
                <a:gd name="T46" fmla="*/ 6 w 44"/>
                <a:gd name="T47" fmla="*/ 44 h 60"/>
                <a:gd name="T48" fmla="*/ 17 w 44"/>
                <a:gd name="T49" fmla="*/ 39 h 60"/>
                <a:gd name="T50" fmla="*/ 11 w 44"/>
                <a:gd name="T51" fmla="*/ 39 h 60"/>
                <a:gd name="T52" fmla="*/ 11 w 44"/>
                <a:gd name="T53" fmla="*/ 33 h 60"/>
                <a:gd name="T54" fmla="*/ 22 w 44"/>
                <a:gd name="T55" fmla="*/ 17 h 60"/>
                <a:gd name="T56" fmla="*/ 22 w 44"/>
                <a:gd name="T57" fmla="*/ 17 h 6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60"/>
                <a:gd name="T89" fmla="*/ 44 w 44"/>
                <a:gd name="T90" fmla="*/ 60 h 6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60">
                  <a:moveTo>
                    <a:pt x="22" y="17"/>
                  </a:moveTo>
                  <a:lnTo>
                    <a:pt x="22" y="17"/>
                  </a:lnTo>
                  <a:lnTo>
                    <a:pt x="22" y="22"/>
                  </a:lnTo>
                  <a:lnTo>
                    <a:pt x="28" y="28"/>
                  </a:lnTo>
                  <a:lnTo>
                    <a:pt x="22" y="22"/>
                  </a:lnTo>
                  <a:lnTo>
                    <a:pt x="28" y="17"/>
                  </a:lnTo>
                  <a:lnTo>
                    <a:pt x="28" y="6"/>
                  </a:lnTo>
                  <a:lnTo>
                    <a:pt x="44" y="0"/>
                  </a:lnTo>
                  <a:lnTo>
                    <a:pt x="44" y="6"/>
                  </a:lnTo>
                  <a:lnTo>
                    <a:pt x="44" y="17"/>
                  </a:lnTo>
                  <a:lnTo>
                    <a:pt x="38" y="22"/>
                  </a:lnTo>
                  <a:lnTo>
                    <a:pt x="44" y="28"/>
                  </a:lnTo>
                  <a:lnTo>
                    <a:pt x="38" y="33"/>
                  </a:lnTo>
                  <a:lnTo>
                    <a:pt x="33" y="33"/>
                  </a:lnTo>
                  <a:lnTo>
                    <a:pt x="33" y="60"/>
                  </a:lnTo>
                  <a:lnTo>
                    <a:pt x="28" y="55"/>
                  </a:lnTo>
                  <a:lnTo>
                    <a:pt x="28" y="50"/>
                  </a:lnTo>
                  <a:lnTo>
                    <a:pt x="22" y="44"/>
                  </a:lnTo>
                  <a:lnTo>
                    <a:pt x="6" y="50"/>
                  </a:lnTo>
                  <a:lnTo>
                    <a:pt x="0" y="50"/>
                  </a:lnTo>
                  <a:lnTo>
                    <a:pt x="11" y="44"/>
                  </a:lnTo>
                  <a:lnTo>
                    <a:pt x="6" y="44"/>
                  </a:lnTo>
                  <a:lnTo>
                    <a:pt x="17" y="39"/>
                  </a:lnTo>
                  <a:lnTo>
                    <a:pt x="11" y="39"/>
                  </a:lnTo>
                  <a:lnTo>
                    <a:pt x="11" y="33"/>
                  </a:lnTo>
                  <a:lnTo>
                    <a:pt x="22" y="1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6" name="Freeform 518"/>
            <p:cNvSpPr>
              <a:spLocks/>
            </p:cNvSpPr>
            <p:nvPr/>
          </p:nvSpPr>
          <p:spPr bwMode="auto">
            <a:xfrm>
              <a:off x="2562" y="2391"/>
              <a:ext cx="38" cy="87"/>
            </a:xfrm>
            <a:custGeom>
              <a:avLst/>
              <a:gdLst>
                <a:gd name="T0" fmla="*/ 6 w 38"/>
                <a:gd name="T1" fmla="*/ 5 h 87"/>
                <a:gd name="T2" fmla="*/ 11 w 38"/>
                <a:gd name="T3" fmla="*/ 22 h 87"/>
                <a:gd name="T4" fmla="*/ 0 w 38"/>
                <a:gd name="T5" fmla="*/ 60 h 87"/>
                <a:gd name="T6" fmla="*/ 0 w 38"/>
                <a:gd name="T7" fmla="*/ 65 h 87"/>
                <a:gd name="T8" fmla="*/ 11 w 38"/>
                <a:gd name="T9" fmla="*/ 60 h 87"/>
                <a:gd name="T10" fmla="*/ 6 w 38"/>
                <a:gd name="T11" fmla="*/ 87 h 87"/>
                <a:gd name="T12" fmla="*/ 27 w 38"/>
                <a:gd name="T13" fmla="*/ 82 h 87"/>
                <a:gd name="T14" fmla="*/ 22 w 38"/>
                <a:gd name="T15" fmla="*/ 76 h 87"/>
                <a:gd name="T16" fmla="*/ 33 w 38"/>
                <a:gd name="T17" fmla="*/ 71 h 87"/>
                <a:gd name="T18" fmla="*/ 27 w 38"/>
                <a:gd name="T19" fmla="*/ 60 h 87"/>
                <a:gd name="T20" fmla="*/ 27 w 38"/>
                <a:gd name="T21" fmla="*/ 54 h 87"/>
                <a:gd name="T22" fmla="*/ 27 w 38"/>
                <a:gd name="T23" fmla="*/ 43 h 87"/>
                <a:gd name="T24" fmla="*/ 33 w 38"/>
                <a:gd name="T25" fmla="*/ 38 h 87"/>
                <a:gd name="T26" fmla="*/ 33 w 38"/>
                <a:gd name="T27" fmla="*/ 32 h 87"/>
                <a:gd name="T28" fmla="*/ 33 w 38"/>
                <a:gd name="T29" fmla="*/ 22 h 87"/>
                <a:gd name="T30" fmla="*/ 38 w 38"/>
                <a:gd name="T31" fmla="*/ 11 h 87"/>
                <a:gd name="T32" fmla="*/ 38 w 38"/>
                <a:gd name="T33" fmla="*/ 5 h 87"/>
                <a:gd name="T34" fmla="*/ 16 w 38"/>
                <a:gd name="T35" fmla="*/ 5 h 87"/>
                <a:gd name="T36" fmla="*/ 16 w 38"/>
                <a:gd name="T37" fmla="*/ 0 h 87"/>
                <a:gd name="T38" fmla="*/ 6 w 38"/>
                <a:gd name="T39" fmla="*/ 5 h 87"/>
                <a:gd name="T40" fmla="*/ 6 w 38"/>
                <a:gd name="T41" fmla="*/ 5 h 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87"/>
                <a:gd name="T65" fmla="*/ 38 w 38"/>
                <a:gd name="T66" fmla="*/ 87 h 8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87">
                  <a:moveTo>
                    <a:pt x="6" y="5"/>
                  </a:moveTo>
                  <a:lnTo>
                    <a:pt x="11" y="22"/>
                  </a:lnTo>
                  <a:lnTo>
                    <a:pt x="0" y="60"/>
                  </a:lnTo>
                  <a:lnTo>
                    <a:pt x="0" y="65"/>
                  </a:lnTo>
                  <a:lnTo>
                    <a:pt x="11" y="60"/>
                  </a:lnTo>
                  <a:lnTo>
                    <a:pt x="6" y="87"/>
                  </a:lnTo>
                  <a:lnTo>
                    <a:pt x="27" y="82"/>
                  </a:lnTo>
                  <a:lnTo>
                    <a:pt x="22" y="76"/>
                  </a:lnTo>
                  <a:lnTo>
                    <a:pt x="33" y="71"/>
                  </a:lnTo>
                  <a:lnTo>
                    <a:pt x="27" y="60"/>
                  </a:lnTo>
                  <a:lnTo>
                    <a:pt x="27" y="54"/>
                  </a:lnTo>
                  <a:lnTo>
                    <a:pt x="27" y="43"/>
                  </a:lnTo>
                  <a:lnTo>
                    <a:pt x="33" y="38"/>
                  </a:lnTo>
                  <a:lnTo>
                    <a:pt x="33" y="32"/>
                  </a:lnTo>
                  <a:lnTo>
                    <a:pt x="33" y="22"/>
                  </a:lnTo>
                  <a:lnTo>
                    <a:pt x="38" y="11"/>
                  </a:lnTo>
                  <a:lnTo>
                    <a:pt x="38" y="5"/>
                  </a:lnTo>
                  <a:lnTo>
                    <a:pt x="16" y="5"/>
                  </a:lnTo>
                  <a:lnTo>
                    <a:pt x="16"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7" name="Freeform 519"/>
            <p:cNvSpPr>
              <a:spLocks/>
            </p:cNvSpPr>
            <p:nvPr/>
          </p:nvSpPr>
          <p:spPr bwMode="auto">
            <a:xfrm>
              <a:off x="2938" y="2282"/>
              <a:ext cx="125" cy="81"/>
            </a:xfrm>
            <a:custGeom>
              <a:avLst/>
              <a:gdLst>
                <a:gd name="T0" fmla="*/ 0 w 125"/>
                <a:gd name="T1" fmla="*/ 38 h 81"/>
                <a:gd name="T2" fmla="*/ 16 w 125"/>
                <a:gd name="T3" fmla="*/ 32 h 81"/>
                <a:gd name="T4" fmla="*/ 27 w 125"/>
                <a:gd name="T5" fmla="*/ 11 h 81"/>
                <a:gd name="T6" fmla="*/ 38 w 125"/>
                <a:gd name="T7" fmla="*/ 5 h 81"/>
                <a:gd name="T8" fmla="*/ 60 w 125"/>
                <a:gd name="T9" fmla="*/ 5 h 81"/>
                <a:gd name="T10" fmla="*/ 65 w 125"/>
                <a:gd name="T11" fmla="*/ 5 h 81"/>
                <a:gd name="T12" fmla="*/ 87 w 125"/>
                <a:gd name="T13" fmla="*/ 0 h 81"/>
                <a:gd name="T14" fmla="*/ 92 w 125"/>
                <a:gd name="T15" fmla="*/ 5 h 81"/>
                <a:gd name="T16" fmla="*/ 103 w 125"/>
                <a:gd name="T17" fmla="*/ 27 h 81"/>
                <a:gd name="T18" fmla="*/ 103 w 125"/>
                <a:gd name="T19" fmla="*/ 49 h 81"/>
                <a:gd name="T20" fmla="*/ 109 w 125"/>
                <a:gd name="T21" fmla="*/ 54 h 81"/>
                <a:gd name="T22" fmla="*/ 125 w 125"/>
                <a:gd name="T23" fmla="*/ 54 h 81"/>
                <a:gd name="T24" fmla="*/ 125 w 125"/>
                <a:gd name="T25" fmla="*/ 65 h 81"/>
                <a:gd name="T26" fmla="*/ 114 w 125"/>
                <a:gd name="T27" fmla="*/ 71 h 81"/>
                <a:gd name="T28" fmla="*/ 119 w 125"/>
                <a:gd name="T29" fmla="*/ 65 h 81"/>
                <a:gd name="T30" fmla="*/ 114 w 125"/>
                <a:gd name="T31" fmla="*/ 60 h 81"/>
                <a:gd name="T32" fmla="*/ 114 w 125"/>
                <a:gd name="T33" fmla="*/ 81 h 81"/>
                <a:gd name="T34" fmla="*/ 92 w 125"/>
                <a:gd name="T35" fmla="*/ 76 h 81"/>
                <a:gd name="T36" fmla="*/ 70 w 125"/>
                <a:gd name="T37" fmla="*/ 81 h 81"/>
                <a:gd name="T38" fmla="*/ 38 w 125"/>
                <a:gd name="T39" fmla="*/ 81 h 81"/>
                <a:gd name="T40" fmla="*/ 38 w 125"/>
                <a:gd name="T41" fmla="*/ 76 h 81"/>
                <a:gd name="T42" fmla="*/ 38 w 125"/>
                <a:gd name="T43" fmla="*/ 76 h 81"/>
                <a:gd name="T44" fmla="*/ 32 w 125"/>
                <a:gd name="T45" fmla="*/ 76 h 81"/>
                <a:gd name="T46" fmla="*/ 32 w 125"/>
                <a:gd name="T47" fmla="*/ 71 h 81"/>
                <a:gd name="T48" fmla="*/ 32 w 125"/>
                <a:gd name="T49" fmla="*/ 65 h 81"/>
                <a:gd name="T50" fmla="*/ 32 w 125"/>
                <a:gd name="T51" fmla="*/ 65 h 81"/>
                <a:gd name="T52" fmla="*/ 27 w 125"/>
                <a:gd name="T53" fmla="*/ 65 h 81"/>
                <a:gd name="T54" fmla="*/ 16 w 125"/>
                <a:gd name="T55" fmla="*/ 60 h 81"/>
                <a:gd name="T56" fmla="*/ 16 w 125"/>
                <a:gd name="T57" fmla="*/ 54 h 81"/>
                <a:gd name="T58" fmla="*/ 16 w 125"/>
                <a:gd name="T59" fmla="*/ 54 h 81"/>
                <a:gd name="T60" fmla="*/ 11 w 125"/>
                <a:gd name="T61" fmla="*/ 43 h 81"/>
                <a:gd name="T62" fmla="*/ 0 w 125"/>
                <a:gd name="T63" fmla="*/ 38 h 81"/>
                <a:gd name="T64" fmla="*/ 0 w 125"/>
                <a:gd name="T65" fmla="*/ 38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5"/>
                <a:gd name="T100" fmla="*/ 0 h 81"/>
                <a:gd name="T101" fmla="*/ 125 w 125"/>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5" h="81">
                  <a:moveTo>
                    <a:pt x="0" y="38"/>
                  </a:moveTo>
                  <a:lnTo>
                    <a:pt x="16" y="32"/>
                  </a:lnTo>
                  <a:lnTo>
                    <a:pt x="27" y="11"/>
                  </a:lnTo>
                  <a:lnTo>
                    <a:pt x="38" y="5"/>
                  </a:lnTo>
                  <a:lnTo>
                    <a:pt x="60" y="5"/>
                  </a:lnTo>
                  <a:lnTo>
                    <a:pt x="65" y="5"/>
                  </a:lnTo>
                  <a:lnTo>
                    <a:pt x="87" y="0"/>
                  </a:lnTo>
                  <a:lnTo>
                    <a:pt x="92" y="5"/>
                  </a:lnTo>
                  <a:lnTo>
                    <a:pt x="103" y="27"/>
                  </a:lnTo>
                  <a:lnTo>
                    <a:pt x="103" y="49"/>
                  </a:lnTo>
                  <a:lnTo>
                    <a:pt x="109" y="54"/>
                  </a:lnTo>
                  <a:lnTo>
                    <a:pt x="125" y="54"/>
                  </a:lnTo>
                  <a:lnTo>
                    <a:pt x="125" y="65"/>
                  </a:lnTo>
                  <a:lnTo>
                    <a:pt x="114" y="71"/>
                  </a:lnTo>
                  <a:lnTo>
                    <a:pt x="119" y="65"/>
                  </a:lnTo>
                  <a:lnTo>
                    <a:pt x="114" y="60"/>
                  </a:lnTo>
                  <a:lnTo>
                    <a:pt x="114" y="81"/>
                  </a:lnTo>
                  <a:lnTo>
                    <a:pt x="92" y="76"/>
                  </a:lnTo>
                  <a:lnTo>
                    <a:pt x="70" y="81"/>
                  </a:lnTo>
                  <a:lnTo>
                    <a:pt x="38" y="81"/>
                  </a:lnTo>
                  <a:lnTo>
                    <a:pt x="38" y="76"/>
                  </a:lnTo>
                  <a:lnTo>
                    <a:pt x="32" y="76"/>
                  </a:lnTo>
                  <a:lnTo>
                    <a:pt x="32" y="71"/>
                  </a:lnTo>
                  <a:lnTo>
                    <a:pt x="32" y="65"/>
                  </a:lnTo>
                  <a:lnTo>
                    <a:pt x="27" y="65"/>
                  </a:lnTo>
                  <a:lnTo>
                    <a:pt x="16" y="60"/>
                  </a:lnTo>
                  <a:lnTo>
                    <a:pt x="16" y="54"/>
                  </a:lnTo>
                  <a:lnTo>
                    <a:pt x="11" y="43"/>
                  </a:lnTo>
                  <a:lnTo>
                    <a:pt x="0"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8" name="Freeform 520"/>
            <p:cNvSpPr>
              <a:spLocks/>
            </p:cNvSpPr>
            <p:nvPr/>
          </p:nvSpPr>
          <p:spPr bwMode="auto">
            <a:xfrm>
              <a:off x="2851" y="2309"/>
              <a:ext cx="38" cy="22"/>
            </a:xfrm>
            <a:custGeom>
              <a:avLst/>
              <a:gdLst>
                <a:gd name="T0" fmla="*/ 38 w 38"/>
                <a:gd name="T1" fmla="*/ 0 h 22"/>
                <a:gd name="T2" fmla="*/ 38 w 38"/>
                <a:gd name="T3" fmla="*/ 5 h 22"/>
                <a:gd name="T4" fmla="*/ 27 w 38"/>
                <a:gd name="T5" fmla="*/ 5 h 22"/>
                <a:gd name="T6" fmla="*/ 27 w 38"/>
                <a:gd name="T7" fmla="*/ 22 h 22"/>
                <a:gd name="T8" fmla="*/ 16 w 38"/>
                <a:gd name="T9" fmla="*/ 16 h 22"/>
                <a:gd name="T10" fmla="*/ 10 w 38"/>
                <a:gd name="T11" fmla="*/ 22 h 22"/>
                <a:gd name="T12" fmla="*/ 5 w 38"/>
                <a:gd name="T13" fmla="*/ 16 h 22"/>
                <a:gd name="T14" fmla="*/ 5 w 38"/>
                <a:gd name="T15" fmla="*/ 11 h 22"/>
                <a:gd name="T16" fmla="*/ 0 w 38"/>
                <a:gd name="T17" fmla="*/ 11 h 22"/>
                <a:gd name="T18" fmla="*/ 5 w 38"/>
                <a:gd name="T19" fmla="*/ 5 h 22"/>
                <a:gd name="T20" fmla="*/ 16 w 38"/>
                <a:gd name="T21" fmla="*/ 5 h 22"/>
                <a:gd name="T22" fmla="*/ 38 w 38"/>
                <a:gd name="T23" fmla="*/ 0 h 22"/>
                <a:gd name="T24" fmla="*/ 38 w 38"/>
                <a:gd name="T25" fmla="*/ 0 h 22"/>
                <a:gd name="T26" fmla="*/ 38 w 38"/>
                <a:gd name="T27" fmla="*/ 0 h 22"/>
                <a:gd name="T28" fmla="*/ 38 w 38"/>
                <a:gd name="T29" fmla="*/ 0 h 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22"/>
                <a:gd name="T47" fmla="*/ 38 w 38"/>
                <a:gd name="T48" fmla="*/ 22 h 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22">
                  <a:moveTo>
                    <a:pt x="38" y="0"/>
                  </a:moveTo>
                  <a:lnTo>
                    <a:pt x="38" y="5"/>
                  </a:lnTo>
                  <a:lnTo>
                    <a:pt x="27" y="5"/>
                  </a:lnTo>
                  <a:lnTo>
                    <a:pt x="27" y="22"/>
                  </a:lnTo>
                  <a:lnTo>
                    <a:pt x="16" y="16"/>
                  </a:lnTo>
                  <a:lnTo>
                    <a:pt x="10" y="22"/>
                  </a:lnTo>
                  <a:lnTo>
                    <a:pt x="5" y="16"/>
                  </a:lnTo>
                  <a:lnTo>
                    <a:pt x="5" y="11"/>
                  </a:lnTo>
                  <a:lnTo>
                    <a:pt x="0" y="11"/>
                  </a:lnTo>
                  <a:lnTo>
                    <a:pt x="5" y="5"/>
                  </a:lnTo>
                  <a:lnTo>
                    <a:pt x="16" y="5"/>
                  </a:lnTo>
                  <a:lnTo>
                    <a:pt x="38"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499" name="Freeform 521"/>
            <p:cNvSpPr>
              <a:spLocks/>
            </p:cNvSpPr>
            <p:nvPr/>
          </p:nvSpPr>
          <p:spPr bwMode="auto">
            <a:xfrm>
              <a:off x="2856" y="2309"/>
              <a:ext cx="76" cy="76"/>
            </a:xfrm>
            <a:custGeom>
              <a:avLst/>
              <a:gdLst>
                <a:gd name="T0" fmla="*/ 44 w 76"/>
                <a:gd name="T1" fmla="*/ 60 h 76"/>
                <a:gd name="T2" fmla="*/ 60 w 76"/>
                <a:gd name="T3" fmla="*/ 71 h 76"/>
                <a:gd name="T4" fmla="*/ 60 w 76"/>
                <a:gd name="T5" fmla="*/ 76 h 76"/>
                <a:gd name="T6" fmla="*/ 54 w 76"/>
                <a:gd name="T7" fmla="*/ 71 h 76"/>
                <a:gd name="T8" fmla="*/ 44 w 76"/>
                <a:gd name="T9" fmla="*/ 65 h 76"/>
                <a:gd name="T10" fmla="*/ 49 w 76"/>
                <a:gd name="T11" fmla="*/ 65 h 76"/>
                <a:gd name="T12" fmla="*/ 44 w 76"/>
                <a:gd name="T13" fmla="*/ 60 h 76"/>
                <a:gd name="T14" fmla="*/ 33 w 76"/>
                <a:gd name="T15" fmla="*/ 60 h 76"/>
                <a:gd name="T16" fmla="*/ 22 w 76"/>
                <a:gd name="T17" fmla="*/ 49 h 76"/>
                <a:gd name="T18" fmla="*/ 22 w 76"/>
                <a:gd name="T19" fmla="*/ 44 h 76"/>
                <a:gd name="T20" fmla="*/ 16 w 76"/>
                <a:gd name="T21" fmla="*/ 44 h 76"/>
                <a:gd name="T22" fmla="*/ 16 w 76"/>
                <a:gd name="T23" fmla="*/ 33 h 76"/>
                <a:gd name="T24" fmla="*/ 11 w 76"/>
                <a:gd name="T25" fmla="*/ 27 h 76"/>
                <a:gd name="T26" fmla="*/ 11 w 76"/>
                <a:gd name="T27" fmla="*/ 27 h 76"/>
                <a:gd name="T28" fmla="*/ 5 w 76"/>
                <a:gd name="T29" fmla="*/ 33 h 76"/>
                <a:gd name="T30" fmla="*/ 0 w 76"/>
                <a:gd name="T31" fmla="*/ 33 h 76"/>
                <a:gd name="T32" fmla="*/ 0 w 76"/>
                <a:gd name="T33" fmla="*/ 27 h 76"/>
                <a:gd name="T34" fmla="*/ 0 w 76"/>
                <a:gd name="T35" fmla="*/ 22 h 76"/>
                <a:gd name="T36" fmla="*/ 5 w 76"/>
                <a:gd name="T37" fmla="*/ 22 h 76"/>
                <a:gd name="T38" fmla="*/ 11 w 76"/>
                <a:gd name="T39" fmla="*/ 16 h 76"/>
                <a:gd name="T40" fmla="*/ 22 w 76"/>
                <a:gd name="T41" fmla="*/ 22 h 76"/>
                <a:gd name="T42" fmla="*/ 22 w 76"/>
                <a:gd name="T43" fmla="*/ 5 h 76"/>
                <a:gd name="T44" fmla="*/ 33 w 76"/>
                <a:gd name="T45" fmla="*/ 5 h 76"/>
                <a:gd name="T46" fmla="*/ 33 w 76"/>
                <a:gd name="T47" fmla="*/ 0 h 76"/>
                <a:gd name="T48" fmla="*/ 33 w 76"/>
                <a:gd name="T49" fmla="*/ 0 h 76"/>
                <a:gd name="T50" fmla="*/ 54 w 76"/>
                <a:gd name="T51" fmla="*/ 16 h 76"/>
                <a:gd name="T52" fmla="*/ 65 w 76"/>
                <a:gd name="T53" fmla="*/ 16 h 76"/>
                <a:gd name="T54" fmla="*/ 65 w 76"/>
                <a:gd name="T55" fmla="*/ 22 h 76"/>
                <a:gd name="T56" fmla="*/ 76 w 76"/>
                <a:gd name="T57" fmla="*/ 27 h 76"/>
                <a:gd name="T58" fmla="*/ 71 w 76"/>
                <a:gd name="T59" fmla="*/ 27 h 76"/>
                <a:gd name="T60" fmla="*/ 71 w 76"/>
                <a:gd name="T61" fmla="*/ 33 h 76"/>
                <a:gd name="T62" fmla="*/ 65 w 76"/>
                <a:gd name="T63" fmla="*/ 33 h 76"/>
                <a:gd name="T64" fmla="*/ 65 w 76"/>
                <a:gd name="T65" fmla="*/ 27 h 76"/>
                <a:gd name="T66" fmla="*/ 44 w 76"/>
                <a:gd name="T67" fmla="*/ 22 h 76"/>
                <a:gd name="T68" fmla="*/ 33 w 76"/>
                <a:gd name="T69" fmla="*/ 27 h 76"/>
                <a:gd name="T70" fmla="*/ 27 w 76"/>
                <a:gd name="T71" fmla="*/ 22 h 76"/>
                <a:gd name="T72" fmla="*/ 27 w 76"/>
                <a:gd name="T73" fmla="*/ 33 h 76"/>
                <a:gd name="T74" fmla="*/ 27 w 76"/>
                <a:gd name="T75" fmla="*/ 33 h 76"/>
                <a:gd name="T76" fmla="*/ 44 w 76"/>
                <a:gd name="T77" fmla="*/ 60 h 76"/>
                <a:gd name="T78" fmla="*/ 44 w 76"/>
                <a:gd name="T79" fmla="*/ 60 h 7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76"/>
                <a:gd name="T122" fmla="*/ 76 w 76"/>
                <a:gd name="T123" fmla="*/ 76 h 7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76">
                  <a:moveTo>
                    <a:pt x="44" y="60"/>
                  </a:moveTo>
                  <a:lnTo>
                    <a:pt x="60" y="71"/>
                  </a:lnTo>
                  <a:lnTo>
                    <a:pt x="60" y="76"/>
                  </a:lnTo>
                  <a:lnTo>
                    <a:pt x="54" y="71"/>
                  </a:lnTo>
                  <a:lnTo>
                    <a:pt x="44" y="65"/>
                  </a:lnTo>
                  <a:lnTo>
                    <a:pt x="49" y="65"/>
                  </a:lnTo>
                  <a:lnTo>
                    <a:pt x="44" y="60"/>
                  </a:lnTo>
                  <a:lnTo>
                    <a:pt x="33" y="60"/>
                  </a:lnTo>
                  <a:lnTo>
                    <a:pt x="22" y="49"/>
                  </a:lnTo>
                  <a:lnTo>
                    <a:pt x="22" y="44"/>
                  </a:lnTo>
                  <a:lnTo>
                    <a:pt x="16" y="44"/>
                  </a:lnTo>
                  <a:lnTo>
                    <a:pt x="16" y="33"/>
                  </a:lnTo>
                  <a:lnTo>
                    <a:pt x="11" y="27"/>
                  </a:lnTo>
                  <a:lnTo>
                    <a:pt x="5" y="33"/>
                  </a:lnTo>
                  <a:lnTo>
                    <a:pt x="0" y="33"/>
                  </a:lnTo>
                  <a:lnTo>
                    <a:pt x="0" y="27"/>
                  </a:lnTo>
                  <a:lnTo>
                    <a:pt x="0" y="22"/>
                  </a:lnTo>
                  <a:lnTo>
                    <a:pt x="5" y="22"/>
                  </a:lnTo>
                  <a:lnTo>
                    <a:pt x="11" y="16"/>
                  </a:lnTo>
                  <a:lnTo>
                    <a:pt x="22" y="22"/>
                  </a:lnTo>
                  <a:lnTo>
                    <a:pt x="22" y="5"/>
                  </a:lnTo>
                  <a:lnTo>
                    <a:pt x="33" y="5"/>
                  </a:lnTo>
                  <a:lnTo>
                    <a:pt x="33" y="0"/>
                  </a:lnTo>
                  <a:lnTo>
                    <a:pt x="54" y="16"/>
                  </a:lnTo>
                  <a:lnTo>
                    <a:pt x="65" y="16"/>
                  </a:lnTo>
                  <a:lnTo>
                    <a:pt x="65" y="22"/>
                  </a:lnTo>
                  <a:lnTo>
                    <a:pt x="76" y="27"/>
                  </a:lnTo>
                  <a:lnTo>
                    <a:pt x="71" y="27"/>
                  </a:lnTo>
                  <a:lnTo>
                    <a:pt x="71" y="33"/>
                  </a:lnTo>
                  <a:lnTo>
                    <a:pt x="65" y="33"/>
                  </a:lnTo>
                  <a:lnTo>
                    <a:pt x="65" y="27"/>
                  </a:lnTo>
                  <a:lnTo>
                    <a:pt x="44" y="22"/>
                  </a:lnTo>
                  <a:lnTo>
                    <a:pt x="33" y="27"/>
                  </a:lnTo>
                  <a:lnTo>
                    <a:pt x="27" y="22"/>
                  </a:lnTo>
                  <a:lnTo>
                    <a:pt x="27" y="33"/>
                  </a:lnTo>
                  <a:lnTo>
                    <a:pt x="44"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0" name="Freeform 522"/>
            <p:cNvSpPr>
              <a:spLocks/>
            </p:cNvSpPr>
            <p:nvPr/>
          </p:nvSpPr>
          <p:spPr bwMode="auto">
            <a:xfrm>
              <a:off x="2883" y="2331"/>
              <a:ext cx="49" cy="49"/>
            </a:xfrm>
            <a:custGeom>
              <a:avLst/>
              <a:gdLst>
                <a:gd name="T0" fmla="*/ 17 w 49"/>
                <a:gd name="T1" fmla="*/ 38 h 49"/>
                <a:gd name="T2" fmla="*/ 0 w 49"/>
                <a:gd name="T3" fmla="*/ 11 h 49"/>
                <a:gd name="T4" fmla="*/ 0 w 49"/>
                <a:gd name="T5" fmla="*/ 11 h 49"/>
                <a:gd name="T6" fmla="*/ 0 w 49"/>
                <a:gd name="T7" fmla="*/ 0 h 49"/>
                <a:gd name="T8" fmla="*/ 6 w 49"/>
                <a:gd name="T9" fmla="*/ 5 h 49"/>
                <a:gd name="T10" fmla="*/ 17 w 49"/>
                <a:gd name="T11" fmla="*/ 0 h 49"/>
                <a:gd name="T12" fmla="*/ 38 w 49"/>
                <a:gd name="T13" fmla="*/ 5 h 49"/>
                <a:gd name="T14" fmla="*/ 38 w 49"/>
                <a:gd name="T15" fmla="*/ 11 h 49"/>
                <a:gd name="T16" fmla="*/ 44 w 49"/>
                <a:gd name="T17" fmla="*/ 11 h 49"/>
                <a:gd name="T18" fmla="*/ 49 w 49"/>
                <a:gd name="T19" fmla="*/ 11 h 49"/>
                <a:gd name="T20" fmla="*/ 44 w 49"/>
                <a:gd name="T21" fmla="*/ 22 h 49"/>
                <a:gd name="T22" fmla="*/ 49 w 49"/>
                <a:gd name="T23" fmla="*/ 27 h 49"/>
                <a:gd name="T24" fmla="*/ 49 w 49"/>
                <a:gd name="T25" fmla="*/ 27 h 49"/>
                <a:gd name="T26" fmla="*/ 44 w 49"/>
                <a:gd name="T27" fmla="*/ 27 h 49"/>
                <a:gd name="T28" fmla="*/ 49 w 49"/>
                <a:gd name="T29" fmla="*/ 32 h 49"/>
                <a:gd name="T30" fmla="*/ 44 w 49"/>
                <a:gd name="T31" fmla="*/ 32 h 49"/>
                <a:gd name="T32" fmla="*/ 38 w 49"/>
                <a:gd name="T33" fmla="*/ 32 h 49"/>
                <a:gd name="T34" fmla="*/ 44 w 49"/>
                <a:gd name="T35" fmla="*/ 38 h 49"/>
                <a:gd name="T36" fmla="*/ 38 w 49"/>
                <a:gd name="T37" fmla="*/ 32 h 49"/>
                <a:gd name="T38" fmla="*/ 33 w 49"/>
                <a:gd name="T39" fmla="*/ 38 h 49"/>
                <a:gd name="T40" fmla="*/ 38 w 49"/>
                <a:gd name="T41" fmla="*/ 43 h 49"/>
                <a:gd name="T42" fmla="*/ 33 w 49"/>
                <a:gd name="T43" fmla="*/ 43 h 49"/>
                <a:gd name="T44" fmla="*/ 33 w 49"/>
                <a:gd name="T45" fmla="*/ 49 h 49"/>
                <a:gd name="T46" fmla="*/ 17 w 49"/>
                <a:gd name="T47" fmla="*/ 38 h 49"/>
                <a:gd name="T48" fmla="*/ 17 w 49"/>
                <a:gd name="T49" fmla="*/ 38 h 4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9"/>
                <a:gd name="T76" fmla="*/ 0 h 49"/>
                <a:gd name="T77" fmla="*/ 49 w 49"/>
                <a:gd name="T78" fmla="*/ 49 h 4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9" h="49">
                  <a:moveTo>
                    <a:pt x="17" y="38"/>
                  </a:moveTo>
                  <a:lnTo>
                    <a:pt x="0" y="11"/>
                  </a:lnTo>
                  <a:lnTo>
                    <a:pt x="0" y="0"/>
                  </a:lnTo>
                  <a:lnTo>
                    <a:pt x="6" y="5"/>
                  </a:lnTo>
                  <a:lnTo>
                    <a:pt x="17" y="0"/>
                  </a:lnTo>
                  <a:lnTo>
                    <a:pt x="38" y="5"/>
                  </a:lnTo>
                  <a:lnTo>
                    <a:pt x="38" y="11"/>
                  </a:lnTo>
                  <a:lnTo>
                    <a:pt x="44" y="11"/>
                  </a:lnTo>
                  <a:lnTo>
                    <a:pt x="49" y="11"/>
                  </a:lnTo>
                  <a:lnTo>
                    <a:pt x="44" y="22"/>
                  </a:lnTo>
                  <a:lnTo>
                    <a:pt x="49" y="27"/>
                  </a:lnTo>
                  <a:lnTo>
                    <a:pt x="44" y="27"/>
                  </a:lnTo>
                  <a:lnTo>
                    <a:pt x="49" y="32"/>
                  </a:lnTo>
                  <a:lnTo>
                    <a:pt x="44" y="32"/>
                  </a:lnTo>
                  <a:lnTo>
                    <a:pt x="38" y="32"/>
                  </a:lnTo>
                  <a:lnTo>
                    <a:pt x="44" y="38"/>
                  </a:lnTo>
                  <a:lnTo>
                    <a:pt x="38" y="32"/>
                  </a:lnTo>
                  <a:lnTo>
                    <a:pt x="33" y="38"/>
                  </a:lnTo>
                  <a:lnTo>
                    <a:pt x="38" y="43"/>
                  </a:lnTo>
                  <a:lnTo>
                    <a:pt x="33" y="43"/>
                  </a:lnTo>
                  <a:lnTo>
                    <a:pt x="33" y="49"/>
                  </a:lnTo>
                  <a:lnTo>
                    <a:pt x="17"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1" name="Freeform 523"/>
            <p:cNvSpPr>
              <a:spLocks/>
            </p:cNvSpPr>
            <p:nvPr/>
          </p:nvSpPr>
          <p:spPr bwMode="auto">
            <a:xfrm>
              <a:off x="2921" y="2320"/>
              <a:ext cx="55" cy="71"/>
            </a:xfrm>
            <a:custGeom>
              <a:avLst/>
              <a:gdLst>
                <a:gd name="T0" fmla="*/ 6 w 55"/>
                <a:gd name="T1" fmla="*/ 22 h 71"/>
                <a:gd name="T2" fmla="*/ 6 w 55"/>
                <a:gd name="T3" fmla="*/ 16 h 71"/>
                <a:gd name="T4" fmla="*/ 11 w 55"/>
                <a:gd name="T5" fmla="*/ 16 h 71"/>
                <a:gd name="T6" fmla="*/ 0 w 55"/>
                <a:gd name="T7" fmla="*/ 11 h 71"/>
                <a:gd name="T8" fmla="*/ 0 w 55"/>
                <a:gd name="T9" fmla="*/ 5 h 71"/>
                <a:gd name="T10" fmla="*/ 11 w 55"/>
                <a:gd name="T11" fmla="*/ 0 h 71"/>
                <a:gd name="T12" fmla="*/ 17 w 55"/>
                <a:gd name="T13" fmla="*/ 0 h 71"/>
                <a:gd name="T14" fmla="*/ 28 w 55"/>
                <a:gd name="T15" fmla="*/ 5 h 71"/>
                <a:gd name="T16" fmla="*/ 33 w 55"/>
                <a:gd name="T17" fmla="*/ 16 h 71"/>
                <a:gd name="T18" fmla="*/ 33 w 55"/>
                <a:gd name="T19" fmla="*/ 16 h 71"/>
                <a:gd name="T20" fmla="*/ 33 w 55"/>
                <a:gd name="T21" fmla="*/ 22 h 71"/>
                <a:gd name="T22" fmla="*/ 44 w 55"/>
                <a:gd name="T23" fmla="*/ 27 h 71"/>
                <a:gd name="T24" fmla="*/ 49 w 55"/>
                <a:gd name="T25" fmla="*/ 27 h 71"/>
                <a:gd name="T26" fmla="*/ 49 w 55"/>
                <a:gd name="T27" fmla="*/ 27 h 71"/>
                <a:gd name="T28" fmla="*/ 49 w 55"/>
                <a:gd name="T29" fmla="*/ 33 h 71"/>
                <a:gd name="T30" fmla="*/ 49 w 55"/>
                <a:gd name="T31" fmla="*/ 38 h 71"/>
                <a:gd name="T32" fmla="*/ 49 w 55"/>
                <a:gd name="T33" fmla="*/ 38 h 71"/>
                <a:gd name="T34" fmla="*/ 44 w 55"/>
                <a:gd name="T35" fmla="*/ 43 h 71"/>
                <a:gd name="T36" fmla="*/ 49 w 55"/>
                <a:gd name="T37" fmla="*/ 49 h 71"/>
                <a:gd name="T38" fmla="*/ 55 w 55"/>
                <a:gd name="T39" fmla="*/ 54 h 71"/>
                <a:gd name="T40" fmla="*/ 49 w 55"/>
                <a:gd name="T41" fmla="*/ 65 h 71"/>
                <a:gd name="T42" fmla="*/ 49 w 55"/>
                <a:gd name="T43" fmla="*/ 65 h 71"/>
                <a:gd name="T44" fmla="*/ 33 w 55"/>
                <a:gd name="T45" fmla="*/ 65 h 71"/>
                <a:gd name="T46" fmla="*/ 28 w 55"/>
                <a:gd name="T47" fmla="*/ 71 h 71"/>
                <a:gd name="T48" fmla="*/ 17 w 55"/>
                <a:gd name="T49" fmla="*/ 65 h 71"/>
                <a:gd name="T50" fmla="*/ 17 w 55"/>
                <a:gd name="T51" fmla="*/ 65 h 71"/>
                <a:gd name="T52" fmla="*/ 17 w 55"/>
                <a:gd name="T53" fmla="*/ 60 h 71"/>
                <a:gd name="T54" fmla="*/ 17 w 55"/>
                <a:gd name="T55" fmla="*/ 60 h 71"/>
                <a:gd name="T56" fmla="*/ 17 w 55"/>
                <a:gd name="T57" fmla="*/ 60 h 71"/>
                <a:gd name="T58" fmla="*/ 6 w 55"/>
                <a:gd name="T59" fmla="*/ 49 h 71"/>
                <a:gd name="T60" fmla="*/ 6 w 55"/>
                <a:gd name="T61" fmla="*/ 43 h 71"/>
                <a:gd name="T62" fmla="*/ 11 w 55"/>
                <a:gd name="T63" fmla="*/ 43 h 71"/>
                <a:gd name="T64" fmla="*/ 6 w 55"/>
                <a:gd name="T65" fmla="*/ 38 h 71"/>
                <a:gd name="T66" fmla="*/ 11 w 55"/>
                <a:gd name="T67" fmla="*/ 38 h 71"/>
                <a:gd name="T68" fmla="*/ 11 w 55"/>
                <a:gd name="T69" fmla="*/ 38 h 71"/>
                <a:gd name="T70" fmla="*/ 6 w 55"/>
                <a:gd name="T71" fmla="*/ 33 h 71"/>
                <a:gd name="T72" fmla="*/ 11 w 55"/>
                <a:gd name="T73" fmla="*/ 22 h 71"/>
                <a:gd name="T74" fmla="*/ 6 w 55"/>
                <a:gd name="T75" fmla="*/ 22 h 71"/>
                <a:gd name="T76" fmla="*/ 6 w 55"/>
                <a:gd name="T77" fmla="*/ 22 h 7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
                <a:gd name="T118" fmla="*/ 0 h 71"/>
                <a:gd name="T119" fmla="*/ 55 w 55"/>
                <a:gd name="T120" fmla="*/ 71 h 7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 h="71">
                  <a:moveTo>
                    <a:pt x="6" y="22"/>
                  </a:moveTo>
                  <a:lnTo>
                    <a:pt x="6" y="16"/>
                  </a:lnTo>
                  <a:lnTo>
                    <a:pt x="11" y="16"/>
                  </a:lnTo>
                  <a:lnTo>
                    <a:pt x="0" y="11"/>
                  </a:lnTo>
                  <a:lnTo>
                    <a:pt x="0" y="5"/>
                  </a:lnTo>
                  <a:lnTo>
                    <a:pt x="11" y="0"/>
                  </a:lnTo>
                  <a:lnTo>
                    <a:pt x="17" y="0"/>
                  </a:lnTo>
                  <a:lnTo>
                    <a:pt x="28" y="5"/>
                  </a:lnTo>
                  <a:lnTo>
                    <a:pt x="33" y="16"/>
                  </a:lnTo>
                  <a:lnTo>
                    <a:pt x="33" y="22"/>
                  </a:lnTo>
                  <a:lnTo>
                    <a:pt x="44" y="27"/>
                  </a:lnTo>
                  <a:lnTo>
                    <a:pt x="49" y="27"/>
                  </a:lnTo>
                  <a:lnTo>
                    <a:pt x="49" y="33"/>
                  </a:lnTo>
                  <a:lnTo>
                    <a:pt x="49" y="38"/>
                  </a:lnTo>
                  <a:lnTo>
                    <a:pt x="44" y="43"/>
                  </a:lnTo>
                  <a:lnTo>
                    <a:pt x="49" y="49"/>
                  </a:lnTo>
                  <a:lnTo>
                    <a:pt x="55" y="54"/>
                  </a:lnTo>
                  <a:lnTo>
                    <a:pt x="49" y="65"/>
                  </a:lnTo>
                  <a:lnTo>
                    <a:pt x="33" y="65"/>
                  </a:lnTo>
                  <a:lnTo>
                    <a:pt x="28" y="71"/>
                  </a:lnTo>
                  <a:lnTo>
                    <a:pt x="17" y="65"/>
                  </a:lnTo>
                  <a:lnTo>
                    <a:pt x="17" y="60"/>
                  </a:lnTo>
                  <a:lnTo>
                    <a:pt x="6" y="49"/>
                  </a:lnTo>
                  <a:lnTo>
                    <a:pt x="6" y="43"/>
                  </a:lnTo>
                  <a:lnTo>
                    <a:pt x="11" y="43"/>
                  </a:lnTo>
                  <a:lnTo>
                    <a:pt x="6" y="38"/>
                  </a:lnTo>
                  <a:lnTo>
                    <a:pt x="11" y="38"/>
                  </a:lnTo>
                  <a:lnTo>
                    <a:pt x="6" y="33"/>
                  </a:lnTo>
                  <a:lnTo>
                    <a:pt x="11" y="22"/>
                  </a:lnTo>
                  <a:lnTo>
                    <a:pt x="6"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2" name="Freeform 524"/>
            <p:cNvSpPr>
              <a:spLocks/>
            </p:cNvSpPr>
            <p:nvPr/>
          </p:nvSpPr>
          <p:spPr bwMode="auto">
            <a:xfrm>
              <a:off x="2916" y="2363"/>
              <a:ext cx="22" cy="33"/>
            </a:xfrm>
            <a:custGeom>
              <a:avLst/>
              <a:gdLst>
                <a:gd name="T0" fmla="*/ 0 w 22"/>
                <a:gd name="T1" fmla="*/ 22 h 33"/>
                <a:gd name="T2" fmla="*/ 0 w 22"/>
                <a:gd name="T3" fmla="*/ 22 h 33"/>
                <a:gd name="T4" fmla="*/ 11 w 22"/>
                <a:gd name="T5" fmla="*/ 33 h 33"/>
                <a:gd name="T6" fmla="*/ 16 w 22"/>
                <a:gd name="T7" fmla="*/ 22 h 33"/>
                <a:gd name="T8" fmla="*/ 16 w 22"/>
                <a:gd name="T9" fmla="*/ 22 h 33"/>
                <a:gd name="T10" fmla="*/ 22 w 22"/>
                <a:gd name="T11" fmla="*/ 22 h 33"/>
                <a:gd name="T12" fmla="*/ 22 w 22"/>
                <a:gd name="T13" fmla="*/ 17 h 33"/>
                <a:gd name="T14" fmla="*/ 22 w 22"/>
                <a:gd name="T15" fmla="*/ 17 h 33"/>
                <a:gd name="T16" fmla="*/ 22 w 22"/>
                <a:gd name="T17" fmla="*/ 17 h 33"/>
                <a:gd name="T18" fmla="*/ 11 w 22"/>
                <a:gd name="T19" fmla="*/ 6 h 33"/>
                <a:gd name="T20" fmla="*/ 11 w 22"/>
                <a:gd name="T21" fmla="*/ 0 h 33"/>
                <a:gd name="T22" fmla="*/ 5 w 22"/>
                <a:gd name="T23" fmla="*/ 0 h 33"/>
                <a:gd name="T24" fmla="*/ 11 w 22"/>
                <a:gd name="T25" fmla="*/ 6 h 33"/>
                <a:gd name="T26" fmla="*/ 5 w 22"/>
                <a:gd name="T27" fmla="*/ 0 h 33"/>
                <a:gd name="T28" fmla="*/ 0 w 22"/>
                <a:gd name="T29" fmla="*/ 6 h 33"/>
                <a:gd name="T30" fmla="*/ 5 w 22"/>
                <a:gd name="T31" fmla="*/ 11 h 33"/>
                <a:gd name="T32" fmla="*/ 0 w 22"/>
                <a:gd name="T33" fmla="*/ 11 h 33"/>
                <a:gd name="T34" fmla="*/ 0 w 22"/>
                <a:gd name="T35" fmla="*/ 17 h 33"/>
                <a:gd name="T36" fmla="*/ 0 w 22"/>
                <a:gd name="T37" fmla="*/ 22 h 33"/>
                <a:gd name="T38" fmla="*/ 0 w 22"/>
                <a:gd name="T39" fmla="*/ 22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
                <a:gd name="T61" fmla="*/ 0 h 33"/>
                <a:gd name="T62" fmla="*/ 22 w 22"/>
                <a:gd name="T63" fmla="*/ 33 h 3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 h="33">
                  <a:moveTo>
                    <a:pt x="0" y="22"/>
                  </a:moveTo>
                  <a:lnTo>
                    <a:pt x="0" y="22"/>
                  </a:lnTo>
                  <a:lnTo>
                    <a:pt x="11" y="33"/>
                  </a:lnTo>
                  <a:lnTo>
                    <a:pt x="16" y="22"/>
                  </a:lnTo>
                  <a:lnTo>
                    <a:pt x="22" y="22"/>
                  </a:lnTo>
                  <a:lnTo>
                    <a:pt x="22" y="17"/>
                  </a:lnTo>
                  <a:lnTo>
                    <a:pt x="11" y="6"/>
                  </a:lnTo>
                  <a:lnTo>
                    <a:pt x="11" y="0"/>
                  </a:lnTo>
                  <a:lnTo>
                    <a:pt x="5" y="0"/>
                  </a:lnTo>
                  <a:lnTo>
                    <a:pt x="11" y="6"/>
                  </a:lnTo>
                  <a:lnTo>
                    <a:pt x="5" y="0"/>
                  </a:lnTo>
                  <a:lnTo>
                    <a:pt x="0" y="6"/>
                  </a:lnTo>
                  <a:lnTo>
                    <a:pt x="5" y="11"/>
                  </a:lnTo>
                  <a:lnTo>
                    <a:pt x="0" y="11"/>
                  </a:lnTo>
                  <a:lnTo>
                    <a:pt x="0" y="17"/>
                  </a:lnTo>
                  <a:lnTo>
                    <a:pt x="0"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3" name="Freeform 525"/>
            <p:cNvSpPr>
              <a:spLocks/>
            </p:cNvSpPr>
            <p:nvPr/>
          </p:nvSpPr>
          <p:spPr bwMode="auto">
            <a:xfrm>
              <a:off x="2562" y="2363"/>
              <a:ext cx="163" cy="131"/>
            </a:xfrm>
            <a:custGeom>
              <a:avLst/>
              <a:gdLst>
                <a:gd name="T0" fmla="*/ 98 w 163"/>
                <a:gd name="T1" fmla="*/ 6 h 131"/>
                <a:gd name="T2" fmla="*/ 109 w 163"/>
                <a:gd name="T3" fmla="*/ 17 h 131"/>
                <a:gd name="T4" fmla="*/ 125 w 163"/>
                <a:gd name="T5" fmla="*/ 22 h 131"/>
                <a:gd name="T6" fmla="*/ 131 w 163"/>
                <a:gd name="T7" fmla="*/ 17 h 131"/>
                <a:gd name="T8" fmla="*/ 136 w 163"/>
                <a:gd name="T9" fmla="*/ 22 h 131"/>
                <a:gd name="T10" fmla="*/ 142 w 163"/>
                <a:gd name="T11" fmla="*/ 22 h 131"/>
                <a:gd name="T12" fmla="*/ 142 w 163"/>
                <a:gd name="T13" fmla="*/ 22 h 131"/>
                <a:gd name="T14" fmla="*/ 147 w 163"/>
                <a:gd name="T15" fmla="*/ 28 h 131"/>
                <a:gd name="T16" fmla="*/ 158 w 163"/>
                <a:gd name="T17" fmla="*/ 22 h 131"/>
                <a:gd name="T18" fmla="*/ 163 w 163"/>
                <a:gd name="T19" fmla="*/ 28 h 131"/>
                <a:gd name="T20" fmla="*/ 158 w 163"/>
                <a:gd name="T21" fmla="*/ 33 h 131"/>
                <a:gd name="T22" fmla="*/ 131 w 163"/>
                <a:gd name="T23" fmla="*/ 55 h 131"/>
                <a:gd name="T24" fmla="*/ 114 w 163"/>
                <a:gd name="T25" fmla="*/ 77 h 131"/>
                <a:gd name="T26" fmla="*/ 114 w 163"/>
                <a:gd name="T27" fmla="*/ 82 h 131"/>
                <a:gd name="T28" fmla="*/ 120 w 163"/>
                <a:gd name="T29" fmla="*/ 88 h 131"/>
                <a:gd name="T30" fmla="*/ 120 w 163"/>
                <a:gd name="T31" fmla="*/ 88 h 131"/>
                <a:gd name="T32" fmla="*/ 114 w 163"/>
                <a:gd name="T33" fmla="*/ 93 h 131"/>
                <a:gd name="T34" fmla="*/ 109 w 163"/>
                <a:gd name="T35" fmla="*/ 104 h 131"/>
                <a:gd name="T36" fmla="*/ 104 w 163"/>
                <a:gd name="T37" fmla="*/ 104 h 131"/>
                <a:gd name="T38" fmla="*/ 93 w 163"/>
                <a:gd name="T39" fmla="*/ 120 h 131"/>
                <a:gd name="T40" fmla="*/ 65 w 163"/>
                <a:gd name="T41" fmla="*/ 120 h 131"/>
                <a:gd name="T42" fmla="*/ 49 w 163"/>
                <a:gd name="T43" fmla="*/ 131 h 131"/>
                <a:gd name="T44" fmla="*/ 44 w 163"/>
                <a:gd name="T45" fmla="*/ 126 h 131"/>
                <a:gd name="T46" fmla="*/ 33 w 163"/>
                <a:gd name="T47" fmla="*/ 115 h 131"/>
                <a:gd name="T48" fmla="*/ 27 w 163"/>
                <a:gd name="T49" fmla="*/ 110 h 131"/>
                <a:gd name="T50" fmla="*/ 22 w 163"/>
                <a:gd name="T51" fmla="*/ 104 h 131"/>
                <a:gd name="T52" fmla="*/ 33 w 163"/>
                <a:gd name="T53" fmla="*/ 99 h 131"/>
                <a:gd name="T54" fmla="*/ 27 w 163"/>
                <a:gd name="T55" fmla="*/ 88 h 131"/>
                <a:gd name="T56" fmla="*/ 27 w 163"/>
                <a:gd name="T57" fmla="*/ 82 h 131"/>
                <a:gd name="T58" fmla="*/ 27 w 163"/>
                <a:gd name="T59" fmla="*/ 71 h 131"/>
                <a:gd name="T60" fmla="*/ 33 w 163"/>
                <a:gd name="T61" fmla="*/ 66 h 131"/>
                <a:gd name="T62" fmla="*/ 33 w 163"/>
                <a:gd name="T63" fmla="*/ 60 h 131"/>
                <a:gd name="T64" fmla="*/ 33 w 163"/>
                <a:gd name="T65" fmla="*/ 50 h 131"/>
                <a:gd name="T66" fmla="*/ 38 w 163"/>
                <a:gd name="T67" fmla="*/ 39 h 131"/>
                <a:gd name="T68" fmla="*/ 38 w 163"/>
                <a:gd name="T69" fmla="*/ 33 h 131"/>
                <a:gd name="T70" fmla="*/ 16 w 163"/>
                <a:gd name="T71" fmla="*/ 33 h 131"/>
                <a:gd name="T72" fmla="*/ 16 w 163"/>
                <a:gd name="T73" fmla="*/ 28 h 131"/>
                <a:gd name="T74" fmla="*/ 6 w 163"/>
                <a:gd name="T75" fmla="*/ 33 h 131"/>
                <a:gd name="T76" fmla="*/ 11 w 163"/>
                <a:gd name="T77" fmla="*/ 28 h 131"/>
                <a:gd name="T78" fmla="*/ 6 w 163"/>
                <a:gd name="T79" fmla="*/ 28 h 131"/>
                <a:gd name="T80" fmla="*/ 6 w 163"/>
                <a:gd name="T81" fmla="*/ 22 h 131"/>
                <a:gd name="T82" fmla="*/ 6 w 163"/>
                <a:gd name="T83" fmla="*/ 22 h 131"/>
                <a:gd name="T84" fmla="*/ 0 w 163"/>
                <a:gd name="T85" fmla="*/ 17 h 131"/>
                <a:gd name="T86" fmla="*/ 6 w 163"/>
                <a:gd name="T87" fmla="*/ 11 h 131"/>
                <a:gd name="T88" fmla="*/ 11 w 163"/>
                <a:gd name="T89" fmla="*/ 11 h 131"/>
                <a:gd name="T90" fmla="*/ 16 w 163"/>
                <a:gd name="T91" fmla="*/ 0 h 131"/>
                <a:gd name="T92" fmla="*/ 98 w 163"/>
                <a:gd name="T93" fmla="*/ 6 h 131"/>
                <a:gd name="T94" fmla="*/ 98 w 163"/>
                <a:gd name="T95" fmla="*/ 6 h 13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3"/>
                <a:gd name="T145" fmla="*/ 0 h 131"/>
                <a:gd name="T146" fmla="*/ 163 w 163"/>
                <a:gd name="T147" fmla="*/ 131 h 13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3" h="131">
                  <a:moveTo>
                    <a:pt x="98" y="6"/>
                  </a:moveTo>
                  <a:lnTo>
                    <a:pt x="109" y="17"/>
                  </a:lnTo>
                  <a:lnTo>
                    <a:pt x="125" y="22"/>
                  </a:lnTo>
                  <a:lnTo>
                    <a:pt x="131" y="17"/>
                  </a:lnTo>
                  <a:lnTo>
                    <a:pt x="136" y="22"/>
                  </a:lnTo>
                  <a:lnTo>
                    <a:pt x="142" y="22"/>
                  </a:lnTo>
                  <a:lnTo>
                    <a:pt x="147" y="28"/>
                  </a:lnTo>
                  <a:lnTo>
                    <a:pt x="158" y="22"/>
                  </a:lnTo>
                  <a:lnTo>
                    <a:pt x="163" y="28"/>
                  </a:lnTo>
                  <a:lnTo>
                    <a:pt x="158" y="33"/>
                  </a:lnTo>
                  <a:lnTo>
                    <a:pt x="131" y="55"/>
                  </a:lnTo>
                  <a:lnTo>
                    <a:pt x="114" y="77"/>
                  </a:lnTo>
                  <a:lnTo>
                    <a:pt x="114" y="82"/>
                  </a:lnTo>
                  <a:lnTo>
                    <a:pt x="120" y="88"/>
                  </a:lnTo>
                  <a:lnTo>
                    <a:pt x="114" y="93"/>
                  </a:lnTo>
                  <a:lnTo>
                    <a:pt x="109" y="104"/>
                  </a:lnTo>
                  <a:lnTo>
                    <a:pt x="104" y="104"/>
                  </a:lnTo>
                  <a:lnTo>
                    <a:pt x="93" y="120"/>
                  </a:lnTo>
                  <a:lnTo>
                    <a:pt x="65" y="120"/>
                  </a:lnTo>
                  <a:lnTo>
                    <a:pt x="49" y="131"/>
                  </a:lnTo>
                  <a:lnTo>
                    <a:pt x="44" y="126"/>
                  </a:lnTo>
                  <a:lnTo>
                    <a:pt x="33" y="115"/>
                  </a:lnTo>
                  <a:lnTo>
                    <a:pt x="27" y="110"/>
                  </a:lnTo>
                  <a:lnTo>
                    <a:pt x="22" y="104"/>
                  </a:lnTo>
                  <a:lnTo>
                    <a:pt x="33" y="99"/>
                  </a:lnTo>
                  <a:lnTo>
                    <a:pt x="27" y="88"/>
                  </a:lnTo>
                  <a:lnTo>
                    <a:pt x="27" y="82"/>
                  </a:lnTo>
                  <a:lnTo>
                    <a:pt x="27" y="71"/>
                  </a:lnTo>
                  <a:lnTo>
                    <a:pt x="33" y="66"/>
                  </a:lnTo>
                  <a:lnTo>
                    <a:pt x="33" y="60"/>
                  </a:lnTo>
                  <a:lnTo>
                    <a:pt x="33" y="50"/>
                  </a:lnTo>
                  <a:lnTo>
                    <a:pt x="38" y="39"/>
                  </a:lnTo>
                  <a:lnTo>
                    <a:pt x="38" y="33"/>
                  </a:lnTo>
                  <a:lnTo>
                    <a:pt x="16" y="33"/>
                  </a:lnTo>
                  <a:lnTo>
                    <a:pt x="16" y="28"/>
                  </a:lnTo>
                  <a:lnTo>
                    <a:pt x="6" y="33"/>
                  </a:lnTo>
                  <a:lnTo>
                    <a:pt x="11" y="28"/>
                  </a:lnTo>
                  <a:lnTo>
                    <a:pt x="6" y="28"/>
                  </a:lnTo>
                  <a:lnTo>
                    <a:pt x="6" y="22"/>
                  </a:lnTo>
                  <a:lnTo>
                    <a:pt x="0" y="17"/>
                  </a:lnTo>
                  <a:lnTo>
                    <a:pt x="6" y="11"/>
                  </a:lnTo>
                  <a:lnTo>
                    <a:pt x="11" y="11"/>
                  </a:lnTo>
                  <a:lnTo>
                    <a:pt x="16" y="0"/>
                  </a:lnTo>
                  <a:lnTo>
                    <a:pt x="98"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4" name="Rectangle 526"/>
            <p:cNvSpPr>
              <a:spLocks noChangeArrowheads="1"/>
            </p:cNvSpPr>
            <p:nvPr/>
          </p:nvSpPr>
          <p:spPr bwMode="auto">
            <a:xfrm>
              <a:off x="2698" y="2445"/>
              <a:ext cx="6"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505" name="Freeform 527"/>
            <p:cNvSpPr>
              <a:spLocks/>
            </p:cNvSpPr>
            <p:nvPr/>
          </p:nvSpPr>
          <p:spPr bwMode="auto">
            <a:xfrm>
              <a:off x="2731" y="2429"/>
              <a:ext cx="5" cy="0"/>
            </a:xfrm>
            <a:custGeom>
              <a:avLst/>
              <a:gdLst>
                <a:gd name="T0" fmla="*/ 5 w 5"/>
                <a:gd name="T1" fmla="*/ 5 w 5"/>
                <a:gd name="T2" fmla="*/ 0 w 5"/>
                <a:gd name="T3" fmla="*/ 5 w 5"/>
                <a:gd name="T4" fmla="*/ 5 w 5"/>
                <a:gd name="T5" fmla="*/ 0 60000 65536"/>
                <a:gd name="T6" fmla="*/ 0 60000 65536"/>
                <a:gd name="T7" fmla="*/ 0 60000 65536"/>
                <a:gd name="T8" fmla="*/ 0 60000 65536"/>
                <a:gd name="T9" fmla="*/ 0 60000 65536"/>
                <a:gd name="T10" fmla="*/ 0 w 5"/>
                <a:gd name="T11" fmla="*/ 5 w 5"/>
              </a:gdLst>
              <a:ahLst/>
              <a:cxnLst>
                <a:cxn ang="T5">
                  <a:pos x="T0" y="0"/>
                </a:cxn>
                <a:cxn ang="T6">
                  <a:pos x="T1" y="0"/>
                </a:cxn>
                <a:cxn ang="T7">
                  <a:pos x="T2" y="0"/>
                </a:cxn>
                <a:cxn ang="T8">
                  <a:pos x="T3" y="0"/>
                </a:cxn>
                <a:cxn ang="T9">
                  <a:pos x="T4" y="0"/>
                </a:cxn>
              </a:cxnLst>
              <a:rect l="T10" t="0" r="T11" b="0"/>
              <a:pathLst>
                <a:path w="5">
                  <a:moveTo>
                    <a:pt x="5" y="0"/>
                  </a:moveTo>
                  <a:lnTo>
                    <a:pt x="5" y="0"/>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6" name="Freeform 528"/>
            <p:cNvSpPr>
              <a:spLocks/>
            </p:cNvSpPr>
            <p:nvPr/>
          </p:nvSpPr>
          <p:spPr bwMode="auto">
            <a:xfrm>
              <a:off x="2714" y="2429"/>
              <a:ext cx="11" cy="11"/>
            </a:xfrm>
            <a:custGeom>
              <a:avLst/>
              <a:gdLst>
                <a:gd name="T0" fmla="*/ 6 w 11"/>
                <a:gd name="T1" fmla="*/ 0 h 11"/>
                <a:gd name="T2" fmla="*/ 6 w 11"/>
                <a:gd name="T3" fmla="*/ 5 h 11"/>
                <a:gd name="T4" fmla="*/ 11 w 11"/>
                <a:gd name="T5" fmla="*/ 5 h 11"/>
                <a:gd name="T6" fmla="*/ 6 w 11"/>
                <a:gd name="T7" fmla="*/ 11 h 11"/>
                <a:gd name="T8" fmla="*/ 0 w 11"/>
                <a:gd name="T9" fmla="*/ 5 h 11"/>
                <a:gd name="T10" fmla="*/ 6 w 11"/>
                <a:gd name="T11" fmla="*/ 0 h 11"/>
                <a:gd name="T12" fmla="*/ 6 w 11"/>
                <a:gd name="T13" fmla="*/ 0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6" y="0"/>
                  </a:moveTo>
                  <a:lnTo>
                    <a:pt x="6" y="5"/>
                  </a:lnTo>
                  <a:lnTo>
                    <a:pt x="11" y="5"/>
                  </a:lnTo>
                  <a:lnTo>
                    <a:pt x="6" y="11"/>
                  </a:lnTo>
                  <a:lnTo>
                    <a:pt x="0"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7" name="Freeform 529"/>
            <p:cNvSpPr>
              <a:spLocks/>
            </p:cNvSpPr>
            <p:nvPr/>
          </p:nvSpPr>
          <p:spPr bwMode="auto">
            <a:xfrm>
              <a:off x="2742" y="1670"/>
              <a:ext cx="337" cy="399"/>
            </a:xfrm>
            <a:custGeom>
              <a:avLst/>
              <a:gdLst>
                <a:gd name="T0" fmla="*/ 32 w 337"/>
                <a:gd name="T1" fmla="*/ 279 h 399"/>
                <a:gd name="T2" fmla="*/ 21 w 337"/>
                <a:gd name="T3" fmla="*/ 290 h 399"/>
                <a:gd name="T4" fmla="*/ 5 w 337"/>
                <a:gd name="T5" fmla="*/ 295 h 399"/>
                <a:gd name="T6" fmla="*/ 5 w 337"/>
                <a:gd name="T7" fmla="*/ 306 h 399"/>
                <a:gd name="T8" fmla="*/ 21 w 337"/>
                <a:gd name="T9" fmla="*/ 311 h 399"/>
                <a:gd name="T10" fmla="*/ 32 w 337"/>
                <a:gd name="T11" fmla="*/ 317 h 399"/>
                <a:gd name="T12" fmla="*/ 27 w 337"/>
                <a:gd name="T13" fmla="*/ 328 h 399"/>
                <a:gd name="T14" fmla="*/ 5 w 337"/>
                <a:gd name="T15" fmla="*/ 333 h 399"/>
                <a:gd name="T16" fmla="*/ 5 w 337"/>
                <a:gd name="T17" fmla="*/ 339 h 399"/>
                <a:gd name="T18" fmla="*/ 11 w 337"/>
                <a:gd name="T19" fmla="*/ 350 h 399"/>
                <a:gd name="T20" fmla="*/ 21 w 337"/>
                <a:gd name="T21" fmla="*/ 344 h 399"/>
                <a:gd name="T22" fmla="*/ 5 w 337"/>
                <a:gd name="T23" fmla="*/ 366 h 399"/>
                <a:gd name="T24" fmla="*/ 11 w 337"/>
                <a:gd name="T25" fmla="*/ 377 h 399"/>
                <a:gd name="T26" fmla="*/ 21 w 337"/>
                <a:gd name="T27" fmla="*/ 399 h 399"/>
                <a:gd name="T28" fmla="*/ 70 w 337"/>
                <a:gd name="T29" fmla="*/ 377 h 399"/>
                <a:gd name="T30" fmla="*/ 70 w 337"/>
                <a:gd name="T31" fmla="*/ 355 h 399"/>
                <a:gd name="T32" fmla="*/ 81 w 337"/>
                <a:gd name="T33" fmla="*/ 377 h 399"/>
                <a:gd name="T34" fmla="*/ 92 w 337"/>
                <a:gd name="T35" fmla="*/ 355 h 399"/>
                <a:gd name="T36" fmla="*/ 103 w 337"/>
                <a:gd name="T37" fmla="*/ 317 h 399"/>
                <a:gd name="T38" fmla="*/ 92 w 337"/>
                <a:gd name="T39" fmla="*/ 257 h 399"/>
                <a:gd name="T40" fmla="*/ 119 w 337"/>
                <a:gd name="T41" fmla="*/ 230 h 399"/>
                <a:gd name="T42" fmla="*/ 136 w 337"/>
                <a:gd name="T43" fmla="*/ 175 h 399"/>
                <a:gd name="T44" fmla="*/ 152 w 337"/>
                <a:gd name="T45" fmla="*/ 115 h 399"/>
                <a:gd name="T46" fmla="*/ 196 w 337"/>
                <a:gd name="T47" fmla="*/ 99 h 399"/>
                <a:gd name="T48" fmla="*/ 196 w 337"/>
                <a:gd name="T49" fmla="*/ 77 h 399"/>
                <a:gd name="T50" fmla="*/ 212 w 337"/>
                <a:gd name="T51" fmla="*/ 66 h 399"/>
                <a:gd name="T52" fmla="*/ 256 w 337"/>
                <a:gd name="T53" fmla="*/ 88 h 399"/>
                <a:gd name="T54" fmla="*/ 299 w 337"/>
                <a:gd name="T55" fmla="*/ 39 h 399"/>
                <a:gd name="T56" fmla="*/ 310 w 337"/>
                <a:gd name="T57" fmla="*/ 77 h 399"/>
                <a:gd name="T58" fmla="*/ 337 w 337"/>
                <a:gd name="T59" fmla="*/ 50 h 399"/>
                <a:gd name="T60" fmla="*/ 326 w 337"/>
                <a:gd name="T61" fmla="*/ 39 h 399"/>
                <a:gd name="T62" fmla="*/ 315 w 337"/>
                <a:gd name="T63" fmla="*/ 6 h 399"/>
                <a:gd name="T64" fmla="*/ 305 w 337"/>
                <a:gd name="T65" fmla="*/ 17 h 399"/>
                <a:gd name="T66" fmla="*/ 305 w 337"/>
                <a:gd name="T67" fmla="*/ 11 h 399"/>
                <a:gd name="T68" fmla="*/ 283 w 337"/>
                <a:gd name="T69" fmla="*/ 28 h 399"/>
                <a:gd name="T70" fmla="*/ 261 w 337"/>
                <a:gd name="T71" fmla="*/ 22 h 399"/>
                <a:gd name="T72" fmla="*/ 250 w 337"/>
                <a:gd name="T73" fmla="*/ 11 h 399"/>
                <a:gd name="T74" fmla="*/ 234 w 337"/>
                <a:gd name="T75" fmla="*/ 39 h 399"/>
                <a:gd name="T76" fmla="*/ 217 w 337"/>
                <a:gd name="T77" fmla="*/ 33 h 399"/>
                <a:gd name="T78" fmla="*/ 223 w 337"/>
                <a:gd name="T79" fmla="*/ 50 h 399"/>
                <a:gd name="T80" fmla="*/ 201 w 337"/>
                <a:gd name="T81" fmla="*/ 50 h 399"/>
                <a:gd name="T82" fmla="*/ 201 w 337"/>
                <a:gd name="T83" fmla="*/ 44 h 399"/>
                <a:gd name="T84" fmla="*/ 185 w 337"/>
                <a:gd name="T85" fmla="*/ 50 h 399"/>
                <a:gd name="T86" fmla="*/ 174 w 337"/>
                <a:gd name="T87" fmla="*/ 60 h 399"/>
                <a:gd name="T88" fmla="*/ 174 w 337"/>
                <a:gd name="T89" fmla="*/ 60 h 399"/>
                <a:gd name="T90" fmla="*/ 168 w 337"/>
                <a:gd name="T91" fmla="*/ 82 h 399"/>
                <a:gd name="T92" fmla="*/ 163 w 337"/>
                <a:gd name="T93" fmla="*/ 99 h 399"/>
                <a:gd name="T94" fmla="*/ 147 w 337"/>
                <a:gd name="T95" fmla="*/ 115 h 399"/>
                <a:gd name="T96" fmla="*/ 136 w 337"/>
                <a:gd name="T97" fmla="*/ 126 h 399"/>
                <a:gd name="T98" fmla="*/ 109 w 337"/>
                <a:gd name="T99" fmla="*/ 159 h 399"/>
                <a:gd name="T100" fmla="*/ 109 w 337"/>
                <a:gd name="T101" fmla="*/ 170 h 399"/>
                <a:gd name="T102" fmla="*/ 103 w 337"/>
                <a:gd name="T103" fmla="*/ 181 h 399"/>
                <a:gd name="T104" fmla="*/ 98 w 337"/>
                <a:gd name="T105" fmla="*/ 191 h 399"/>
                <a:gd name="T106" fmla="*/ 87 w 337"/>
                <a:gd name="T107" fmla="*/ 213 h 399"/>
                <a:gd name="T108" fmla="*/ 81 w 337"/>
                <a:gd name="T109" fmla="*/ 224 h 399"/>
                <a:gd name="T110" fmla="*/ 70 w 337"/>
                <a:gd name="T111" fmla="*/ 251 h 399"/>
                <a:gd name="T112" fmla="*/ 60 w 337"/>
                <a:gd name="T113" fmla="*/ 251 h 399"/>
                <a:gd name="T114" fmla="*/ 49 w 337"/>
                <a:gd name="T115" fmla="*/ 257 h 3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37"/>
                <a:gd name="T175" fmla="*/ 0 h 399"/>
                <a:gd name="T176" fmla="*/ 337 w 337"/>
                <a:gd name="T177" fmla="*/ 399 h 3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37" h="399">
                  <a:moveTo>
                    <a:pt x="38" y="268"/>
                  </a:moveTo>
                  <a:lnTo>
                    <a:pt x="27" y="273"/>
                  </a:lnTo>
                  <a:lnTo>
                    <a:pt x="38" y="279"/>
                  </a:lnTo>
                  <a:lnTo>
                    <a:pt x="32" y="279"/>
                  </a:lnTo>
                  <a:lnTo>
                    <a:pt x="21" y="284"/>
                  </a:lnTo>
                  <a:lnTo>
                    <a:pt x="21" y="290"/>
                  </a:lnTo>
                  <a:lnTo>
                    <a:pt x="16" y="295"/>
                  </a:lnTo>
                  <a:lnTo>
                    <a:pt x="5" y="295"/>
                  </a:lnTo>
                  <a:lnTo>
                    <a:pt x="5" y="301"/>
                  </a:lnTo>
                  <a:lnTo>
                    <a:pt x="21" y="301"/>
                  </a:lnTo>
                  <a:lnTo>
                    <a:pt x="5" y="306"/>
                  </a:lnTo>
                  <a:lnTo>
                    <a:pt x="5" y="311"/>
                  </a:lnTo>
                  <a:lnTo>
                    <a:pt x="5" y="322"/>
                  </a:lnTo>
                  <a:lnTo>
                    <a:pt x="21" y="322"/>
                  </a:lnTo>
                  <a:lnTo>
                    <a:pt x="21" y="311"/>
                  </a:lnTo>
                  <a:lnTo>
                    <a:pt x="21" y="317"/>
                  </a:lnTo>
                  <a:lnTo>
                    <a:pt x="27" y="317"/>
                  </a:lnTo>
                  <a:lnTo>
                    <a:pt x="32" y="311"/>
                  </a:lnTo>
                  <a:lnTo>
                    <a:pt x="32" y="317"/>
                  </a:lnTo>
                  <a:lnTo>
                    <a:pt x="38" y="317"/>
                  </a:lnTo>
                  <a:lnTo>
                    <a:pt x="27" y="322"/>
                  </a:lnTo>
                  <a:lnTo>
                    <a:pt x="27" y="328"/>
                  </a:lnTo>
                  <a:lnTo>
                    <a:pt x="27" y="322"/>
                  </a:lnTo>
                  <a:lnTo>
                    <a:pt x="5" y="328"/>
                  </a:lnTo>
                  <a:lnTo>
                    <a:pt x="5" y="333"/>
                  </a:lnTo>
                  <a:lnTo>
                    <a:pt x="0" y="328"/>
                  </a:lnTo>
                  <a:lnTo>
                    <a:pt x="5" y="333"/>
                  </a:lnTo>
                  <a:lnTo>
                    <a:pt x="11" y="333"/>
                  </a:lnTo>
                  <a:lnTo>
                    <a:pt x="5" y="339"/>
                  </a:lnTo>
                  <a:lnTo>
                    <a:pt x="5" y="344"/>
                  </a:lnTo>
                  <a:lnTo>
                    <a:pt x="11" y="344"/>
                  </a:lnTo>
                  <a:lnTo>
                    <a:pt x="11" y="350"/>
                  </a:lnTo>
                  <a:lnTo>
                    <a:pt x="11" y="355"/>
                  </a:lnTo>
                  <a:lnTo>
                    <a:pt x="21" y="339"/>
                  </a:lnTo>
                  <a:lnTo>
                    <a:pt x="27" y="339"/>
                  </a:lnTo>
                  <a:lnTo>
                    <a:pt x="21" y="344"/>
                  </a:lnTo>
                  <a:lnTo>
                    <a:pt x="21" y="339"/>
                  </a:lnTo>
                  <a:lnTo>
                    <a:pt x="11" y="355"/>
                  </a:lnTo>
                  <a:lnTo>
                    <a:pt x="21" y="355"/>
                  </a:lnTo>
                  <a:lnTo>
                    <a:pt x="5" y="366"/>
                  </a:lnTo>
                  <a:lnTo>
                    <a:pt x="21" y="361"/>
                  </a:lnTo>
                  <a:lnTo>
                    <a:pt x="16" y="377"/>
                  </a:lnTo>
                  <a:lnTo>
                    <a:pt x="11" y="377"/>
                  </a:lnTo>
                  <a:lnTo>
                    <a:pt x="11" y="382"/>
                  </a:lnTo>
                  <a:lnTo>
                    <a:pt x="21" y="393"/>
                  </a:lnTo>
                  <a:lnTo>
                    <a:pt x="27" y="393"/>
                  </a:lnTo>
                  <a:lnTo>
                    <a:pt x="21" y="399"/>
                  </a:lnTo>
                  <a:lnTo>
                    <a:pt x="38" y="399"/>
                  </a:lnTo>
                  <a:lnTo>
                    <a:pt x="54" y="382"/>
                  </a:lnTo>
                  <a:lnTo>
                    <a:pt x="60" y="371"/>
                  </a:lnTo>
                  <a:lnTo>
                    <a:pt x="70" y="377"/>
                  </a:lnTo>
                  <a:lnTo>
                    <a:pt x="70" y="366"/>
                  </a:lnTo>
                  <a:lnTo>
                    <a:pt x="70" y="355"/>
                  </a:lnTo>
                  <a:lnTo>
                    <a:pt x="70" y="361"/>
                  </a:lnTo>
                  <a:lnTo>
                    <a:pt x="70" y="355"/>
                  </a:lnTo>
                  <a:lnTo>
                    <a:pt x="76" y="355"/>
                  </a:lnTo>
                  <a:lnTo>
                    <a:pt x="76" y="371"/>
                  </a:lnTo>
                  <a:lnTo>
                    <a:pt x="81" y="371"/>
                  </a:lnTo>
                  <a:lnTo>
                    <a:pt x="81" y="377"/>
                  </a:lnTo>
                  <a:lnTo>
                    <a:pt x="87" y="377"/>
                  </a:lnTo>
                  <a:lnTo>
                    <a:pt x="87" y="366"/>
                  </a:lnTo>
                  <a:lnTo>
                    <a:pt x="87" y="361"/>
                  </a:lnTo>
                  <a:lnTo>
                    <a:pt x="92" y="355"/>
                  </a:lnTo>
                  <a:lnTo>
                    <a:pt x="98" y="350"/>
                  </a:lnTo>
                  <a:lnTo>
                    <a:pt x="98" y="333"/>
                  </a:lnTo>
                  <a:lnTo>
                    <a:pt x="92" y="322"/>
                  </a:lnTo>
                  <a:lnTo>
                    <a:pt x="103" y="317"/>
                  </a:lnTo>
                  <a:lnTo>
                    <a:pt x="92" y="301"/>
                  </a:lnTo>
                  <a:lnTo>
                    <a:pt x="92" y="279"/>
                  </a:lnTo>
                  <a:lnTo>
                    <a:pt x="98" y="268"/>
                  </a:lnTo>
                  <a:lnTo>
                    <a:pt x="92" y="257"/>
                  </a:lnTo>
                  <a:lnTo>
                    <a:pt x="92" y="251"/>
                  </a:lnTo>
                  <a:lnTo>
                    <a:pt x="103" y="241"/>
                  </a:lnTo>
                  <a:lnTo>
                    <a:pt x="119" y="235"/>
                  </a:lnTo>
                  <a:lnTo>
                    <a:pt x="119" y="230"/>
                  </a:lnTo>
                  <a:lnTo>
                    <a:pt x="114" y="219"/>
                  </a:lnTo>
                  <a:lnTo>
                    <a:pt x="125" y="202"/>
                  </a:lnTo>
                  <a:lnTo>
                    <a:pt x="125" y="175"/>
                  </a:lnTo>
                  <a:lnTo>
                    <a:pt x="136" y="175"/>
                  </a:lnTo>
                  <a:lnTo>
                    <a:pt x="136" y="159"/>
                  </a:lnTo>
                  <a:lnTo>
                    <a:pt x="147" y="142"/>
                  </a:lnTo>
                  <a:lnTo>
                    <a:pt x="147" y="131"/>
                  </a:lnTo>
                  <a:lnTo>
                    <a:pt x="152" y="115"/>
                  </a:lnTo>
                  <a:lnTo>
                    <a:pt x="163" y="110"/>
                  </a:lnTo>
                  <a:lnTo>
                    <a:pt x="168" y="115"/>
                  </a:lnTo>
                  <a:lnTo>
                    <a:pt x="174" y="93"/>
                  </a:lnTo>
                  <a:lnTo>
                    <a:pt x="196" y="99"/>
                  </a:lnTo>
                  <a:lnTo>
                    <a:pt x="196" y="93"/>
                  </a:lnTo>
                  <a:lnTo>
                    <a:pt x="196" y="82"/>
                  </a:lnTo>
                  <a:lnTo>
                    <a:pt x="196" y="77"/>
                  </a:lnTo>
                  <a:lnTo>
                    <a:pt x="201" y="77"/>
                  </a:lnTo>
                  <a:lnTo>
                    <a:pt x="212" y="71"/>
                  </a:lnTo>
                  <a:lnTo>
                    <a:pt x="207" y="66"/>
                  </a:lnTo>
                  <a:lnTo>
                    <a:pt x="212" y="66"/>
                  </a:lnTo>
                  <a:lnTo>
                    <a:pt x="228" y="88"/>
                  </a:lnTo>
                  <a:lnTo>
                    <a:pt x="239" y="88"/>
                  </a:lnTo>
                  <a:lnTo>
                    <a:pt x="245" y="82"/>
                  </a:lnTo>
                  <a:lnTo>
                    <a:pt x="256" y="88"/>
                  </a:lnTo>
                  <a:lnTo>
                    <a:pt x="272" y="77"/>
                  </a:lnTo>
                  <a:lnTo>
                    <a:pt x="272" y="55"/>
                  </a:lnTo>
                  <a:lnTo>
                    <a:pt x="272" y="50"/>
                  </a:lnTo>
                  <a:lnTo>
                    <a:pt x="299" y="39"/>
                  </a:lnTo>
                  <a:lnTo>
                    <a:pt x="315" y="50"/>
                  </a:lnTo>
                  <a:lnTo>
                    <a:pt x="315" y="60"/>
                  </a:lnTo>
                  <a:lnTo>
                    <a:pt x="310" y="71"/>
                  </a:lnTo>
                  <a:lnTo>
                    <a:pt x="310" y="77"/>
                  </a:lnTo>
                  <a:lnTo>
                    <a:pt x="326" y="60"/>
                  </a:lnTo>
                  <a:lnTo>
                    <a:pt x="326" y="55"/>
                  </a:lnTo>
                  <a:lnTo>
                    <a:pt x="337" y="60"/>
                  </a:lnTo>
                  <a:lnTo>
                    <a:pt x="337" y="50"/>
                  </a:lnTo>
                  <a:lnTo>
                    <a:pt x="321" y="55"/>
                  </a:lnTo>
                  <a:lnTo>
                    <a:pt x="321" y="44"/>
                  </a:lnTo>
                  <a:lnTo>
                    <a:pt x="305" y="33"/>
                  </a:lnTo>
                  <a:lnTo>
                    <a:pt x="326" y="39"/>
                  </a:lnTo>
                  <a:lnTo>
                    <a:pt x="337" y="28"/>
                  </a:lnTo>
                  <a:lnTo>
                    <a:pt x="321" y="11"/>
                  </a:lnTo>
                  <a:lnTo>
                    <a:pt x="315" y="17"/>
                  </a:lnTo>
                  <a:lnTo>
                    <a:pt x="315" y="6"/>
                  </a:lnTo>
                  <a:lnTo>
                    <a:pt x="305" y="11"/>
                  </a:lnTo>
                  <a:lnTo>
                    <a:pt x="305" y="22"/>
                  </a:lnTo>
                  <a:lnTo>
                    <a:pt x="299" y="22"/>
                  </a:lnTo>
                  <a:lnTo>
                    <a:pt x="305" y="17"/>
                  </a:lnTo>
                  <a:lnTo>
                    <a:pt x="294" y="17"/>
                  </a:lnTo>
                  <a:lnTo>
                    <a:pt x="299" y="17"/>
                  </a:lnTo>
                  <a:lnTo>
                    <a:pt x="299" y="11"/>
                  </a:lnTo>
                  <a:lnTo>
                    <a:pt x="305" y="11"/>
                  </a:lnTo>
                  <a:lnTo>
                    <a:pt x="305" y="6"/>
                  </a:lnTo>
                  <a:lnTo>
                    <a:pt x="294" y="0"/>
                  </a:lnTo>
                  <a:lnTo>
                    <a:pt x="288" y="22"/>
                  </a:lnTo>
                  <a:lnTo>
                    <a:pt x="283" y="28"/>
                  </a:lnTo>
                  <a:lnTo>
                    <a:pt x="283" y="6"/>
                  </a:lnTo>
                  <a:lnTo>
                    <a:pt x="261" y="39"/>
                  </a:lnTo>
                  <a:lnTo>
                    <a:pt x="256" y="39"/>
                  </a:lnTo>
                  <a:lnTo>
                    <a:pt x="261" y="22"/>
                  </a:lnTo>
                  <a:lnTo>
                    <a:pt x="272" y="11"/>
                  </a:lnTo>
                  <a:lnTo>
                    <a:pt x="261" y="11"/>
                  </a:lnTo>
                  <a:lnTo>
                    <a:pt x="261" y="6"/>
                  </a:lnTo>
                  <a:lnTo>
                    <a:pt x="250" y="11"/>
                  </a:lnTo>
                  <a:lnTo>
                    <a:pt x="256" y="17"/>
                  </a:lnTo>
                  <a:lnTo>
                    <a:pt x="239" y="33"/>
                  </a:lnTo>
                  <a:lnTo>
                    <a:pt x="239" y="44"/>
                  </a:lnTo>
                  <a:lnTo>
                    <a:pt x="234" y="39"/>
                  </a:lnTo>
                  <a:lnTo>
                    <a:pt x="234" y="33"/>
                  </a:lnTo>
                  <a:lnTo>
                    <a:pt x="223" y="39"/>
                  </a:lnTo>
                  <a:lnTo>
                    <a:pt x="223" y="28"/>
                  </a:lnTo>
                  <a:lnTo>
                    <a:pt x="217" y="33"/>
                  </a:lnTo>
                  <a:lnTo>
                    <a:pt x="217" y="28"/>
                  </a:lnTo>
                  <a:lnTo>
                    <a:pt x="217" y="39"/>
                  </a:lnTo>
                  <a:lnTo>
                    <a:pt x="223" y="39"/>
                  </a:lnTo>
                  <a:lnTo>
                    <a:pt x="223" y="50"/>
                  </a:lnTo>
                  <a:lnTo>
                    <a:pt x="212" y="39"/>
                  </a:lnTo>
                  <a:lnTo>
                    <a:pt x="212" y="44"/>
                  </a:lnTo>
                  <a:lnTo>
                    <a:pt x="207" y="50"/>
                  </a:lnTo>
                  <a:lnTo>
                    <a:pt x="201" y="50"/>
                  </a:lnTo>
                  <a:lnTo>
                    <a:pt x="207" y="55"/>
                  </a:lnTo>
                  <a:lnTo>
                    <a:pt x="201" y="66"/>
                  </a:lnTo>
                  <a:lnTo>
                    <a:pt x="201" y="60"/>
                  </a:lnTo>
                  <a:lnTo>
                    <a:pt x="201" y="44"/>
                  </a:lnTo>
                  <a:lnTo>
                    <a:pt x="190" y="50"/>
                  </a:lnTo>
                  <a:lnTo>
                    <a:pt x="190" y="60"/>
                  </a:lnTo>
                  <a:lnTo>
                    <a:pt x="190" y="50"/>
                  </a:lnTo>
                  <a:lnTo>
                    <a:pt x="185" y="50"/>
                  </a:lnTo>
                  <a:lnTo>
                    <a:pt x="185" y="60"/>
                  </a:lnTo>
                  <a:lnTo>
                    <a:pt x="190" y="71"/>
                  </a:lnTo>
                  <a:lnTo>
                    <a:pt x="179" y="60"/>
                  </a:lnTo>
                  <a:lnTo>
                    <a:pt x="174" y="60"/>
                  </a:lnTo>
                  <a:lnTo>
                    <a:pt x="179" y="66"/>
                  </a:lnTo>
                  <a:lnTo>
                    <a:pt x="174" y="66"/>
                  </a:lnTo>
                  <a:lnTo>
                    <a:pt x="174" y="60"/>
                  </a:lnTo>
                  <a:lnTo>
                    <a:pt x="168" y="66"/>
                  </a:lnTo>
                  <a:lnTo>
                    <a:pt x="174" y="71"/>
                  </a:lnTo>
                  <a:lnTo>
                    <a:pt x="163" y="77"/>
                  </a:lnTo>
                  <a:lnTo>
                    <a:pt x="168" y="82"/>
                  </a:lnTo>
                  <a:lnTo>
                    <a:pt x="163" y="82"/>
                  </a:lnTo>
                  <a:lnTo>
                    <a:pt x="168" y="88"/>
                  </a:lnTo>
                  <a:lnTo>
                    <a:pt x="152" y="93"/>
                  </a:lnTo>
                  <a:lnTo>
                    <a:pt x="163" y="99"/>
                  </a:lnTo>
                  <a:lnTo>
                    <a:pt x="158" y="104"/>
                  </a:lnTo>
                  <a:lnTo>
                    <a:pt x="147" y="99"/>
                  </a:lnTo>
                  <a:lnTo>
                    <a:pt x="147" y="115"/>
                  </a:lnTo>
                  <a:lnTo>
                    <a:pt x="141" y="110"/>
                  </a:lnTo>
                  <a:lnTo>
                    <a:pt x="136" y="115"/>
                  </a:lnTo>
                  <a:lnTo>
                    <a:pt x="141" y="120"/>
                  </a:lnTo>
                  <a:lnTo>
                    <a:pt x="136" y="126"/>
                  </a:lnTo>
                  <a:lnTo>
                    <a:pt x="141" y="126"/>
                  </a:lnTo>
                  <a:lnTo>
                    <a:pt x="125" y="131"/>
                  </a:lnTo>
                  <a:lnTo>
                    <a:pt x="119" y="148"/>
                  </a:lnTo>
                  <a:lnTo>
                    <a:pt x="109" y="159"/>
                  </a:lnTo>
                  <a:lnTo>
                    <a:pt x="114" y="159"/>
                  </a:lnTo>
                  <a:lnTo>
                    <a:pt x="109" y="164"/>
                  </a:lnTo>
                  <a:lnTo>
                    <a:pt x="109" y="170"/>
                  </a:lnTo>
                  <a:lnTo>
                    <a:pt x="98" y="181"/>
                  </a:lnTo>
                  <a:lnTo>
                    <a:pt x="109" y="175"/>
                  </a:lnTo>
                  <a:lnTo>
                    <a:pt x="109" y="181"/>
                  </a:lnTo>
                  <a:lnTo>
                    <a:pt x="103" y="181"/>
                  </a:lnTo>
                  <a:lnTo>
                    <a:pt x="103" y="191"/>
                  </a:lnTo>
                  <a:lnTo>
                    <a:pt x="98" y="191"/>
                  </a:lnTo>
                  <a:lnTo>
                    <a:pt x="103" y="197"/>
                  </a:lnTo>
                  <a:lnTo>
                    <a:pt x="98" y="191"/>
                  </a:lnTo>
                  <a:lnTo>
                    <a:pt x="92" y="202"/>
                  </a:lnTo>
                  <a:lnTo>
                    <a:pt x="98" y="197"/>
                  </a:lnTo>
                  <a:lnTo>
                    <a:pt x="98" y="202"/>
                  </a:lnTo>
                  <a:lnTo>
                    <a:pt x="87" y="213"/>
                  </a:lnTo>
                  <a:lnTo>
                    <a:pt x="81" y="219"/>
                  </a:lnTo>
                  <a:lnTo>
                    <a:pt x="87" y="219"/>
                  </a:lnTo>
                  <a:lnTo>
                    <a:pt x="87" y="224"/>
                  </a:lnTo>
                  <a:lnTo>
                    <a:pt x="81" y="224"/>
                  </a:lnTo>
                  <a:lnTo>
                    <a:pt x="70" y="235"/>
                  </a:lnTo>
                  <a:lnTo>
                    <a:pt x="70" y="241"/>
                  </a:lnTo>
                  <a:lnTo>
                    <a:pt x="65" y="246"/>
                  </a:lnTo>
                  <a:lnTo>
                    <a:pt x="70" y="251"/>
                  </a:lnTo>
                  <a:lnTo>
                    <a:pt x="81" y="246"/>
                  </a:lnTo>
                  <a:lnTo>
                    <a:pt x="70" y="257"/>
                  </a:lnTo>
                  <a:lnTo>
                    <a:pt x="65" y="251"/>
                  </a:lnTo>
                  <a:lnTo>
                    <a:pt x="60" y="251"/>
                  </a:lnTo>
                  <a:lnTo>
                    <a:pt x="60" y="257"/>
                  </a:lnTo>
                  <a:lnTo>
                    <a:pt x="54" y="257"/>
                  </a:lnTo>
                  <a:lnTo>
                    <a:pt x="49" y="257"/>
                  </a:lnTo>
                  <a:lnTo>
                    <a:pt x="38" y="26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8" name="Freeform 530"/>
            <p:cNvSpPr>
              <a:spLocks/>
            </p:cNvSpPr>
            <p:nvPr/>
          </p:nvSpPr>
          <p:spPr bwMode="auto">
            <a:xfrm>
              <a:off x="2791" y="1916"/>
              <a:ext cx="11" cy="5"/>
            </a:xfrm>
            <a:custGeom>
              <a:avLst/>
              <a:gdLst>
                <a:gd name="T0" fmla="*/ 0 w 11"/>
                <a:gd name="T1" fmla="*/ 5 h 5"/>
                <a:gd name="T2" fmla="*/ 5 w 11"/>
                <a:gd name="T3" fmla="*/ 0 h 5"/>
                <a:gd name="T4" fmla="*/ 11 w 11"/>
                <a:gd name="T5" fmla="*/ 5 h 5"/>
                <a:gd name="T6" fmla="*/ 0 w 11"/>
                <a:gd name="T7" fmla="*/ 5 h 5"/>
                <a:gd name="T8" fmla="*/ 0 w 11"/>
                <a:gd name="T9" fmla="*/ 5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5"/>
                  </a:moveTo>
                  <a:lnTo>
                    <a:pt x="5" y="0"/>
                  </a:lnTo>
                  <a:lnTo>
                    <a:pt x="11"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09" name="Freeform 531"/>
            <p:cNvSpPr>
              <a:spLocks/>
            </p:cNvSpPr>
            <p:nvPr/>
          </p:nvSpPr>
          <p:spPr bwMode="auto">
            <a:xfrm>
              <a:off x="3003" y="1670"/>
              <a:ext cx="11" cy="6"/>
            </a:xfrm>
            <a:custGeom>
              <a:avLst/>
              <a:gdLst>
                <a:gd name="T0" fmla="*/ 11 w 11"/>
                <a:gd name="T1" fmla="*/ 0 h 6"/>
                <a:gd name="T2" fmla="*/ 11 w 11"/>
                <a:gd name="T3" fmla="*/ 6 h 6"/>
                <a:gd name="T4" fmla="*/ 0 w 11"/>
                <a:gd name="T5" fmla="*/ 0 h 6"/>
                <a:gd name="T6" fmla="*/ 11 w 11"/>
                <a:gd name="T7" fmla="*/ 0 h 6"/>
                <a:gd name="T8" fmla="*/ 11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11" y="0"/>
                  </a:moveTo>
                  <a:lnTo>
                    <a:pt x="11" y="6"/>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0" name="Rectangle 532"/>
            <p:cNvSpPr>
              <a:spLocks noChangeArrowheads="1"/>
            </p:cNvSpPr>
            <p:nvPr/>
          </p:nvSpPr>
          <p:spPr bwMode="auto">
            <a:xfrm>
              <a:off x="2987" y="1687"/>
              <a:ext cx="1"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511" name="Freeform 533"/>
            <p:cNvSpPr>
              <a:spLocks/>
            </p:cNvSpPr>
            <p:nvPr/>
          </p:nvSpPr>
          <p:spPr bwMode="auto">
            <a:xfrm>
              <a:off x="2976" y="1687"/>
              <a:ext cx="11" cy="11"/>
            </a:xfrm>
            <a:custGeom>
              <a:avLst/>
              <a:gdLst>
                <a:gd name="T0" fmla="*/ 5 w 11"/>
                <a:gd name="T1" fmla="*/ 11 h 11"/>
                <a:gd name="T2" fmla="*/ 0 w 11"/>
                <a:gd name="T3" fmla="*/ 11 h 11"/>
                <a:gd name="T4" fmla="*/ 0 w 11"/>
                <a:gd name="T5" fmla="*/ 5 h 11"/>
                <a:gd name="T6" fmla="*/ 5 w 11"/>
                <a:gd name="T7" fmla="*/ 0 h 11"/>
                <a:gd name="T8" fmla="*/ 11 w 11"/>
                <a:gd name="T9" fmla="*/ 5 h 11"/>
                <a:gd name="T10" fmla="*/ 5 w 11"/>
                <a:gd name="T11" fmla="*/ 11 h 11"/>
                <a:gd name="T12" fmla="*/ 5 w 11"/>
                <a:gd name="T13" fmla="*/ 11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5" y="11"/>
                  </a:moveTo>
                  <a:lnTo>
                    <a:pt x="0" y="11"/>
                  </a:lnTo>
                  <a:lnTo>
                    <a:pt x="0" y="5"/>
                  </a:lnTo>
                  <a:lnTo>
                    <a:pt x="5" y="0"/>
                  </a:lnTo>
                  <a:lnTo>
                    <a:pt x="11" y="5"/>
                  </a:lnTo>
                  <a:lnTo>
                    <a:pt x="5"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2" name="Freeform 534"/>
            <p:cNvSpPr>
              <a:spLocks/>
            </p:cNvSpPr>
            <p:nvPr/>
          </p:nvSpPr>
          <p:spPr bwMode="auto">
            <a:xfrm>
              <a:off x="2965" y="1687"/>
              <a:ext cx="11" cy="5"/>
            </a:xfrm>
            <a:custGeom>
              <a:avLst/>
              <a:gdLst>
                <a:gd name="T0" fmla="*/ 0 w 11"/>
                <a:gd name="T1" fmla="*/ 0 h 5"/>
                <a:gd name="T2" fmla="*/ 11 w 11"/>
                <a:gd name="T3" fmla="*/ 0 h 5"/>
                <a:gd name="T4" fmla="*/ 0 w 11"/>
                <a:gd name="T5" fmla="*/ 5 h 5"/>
                <a:gd name="T6" fmla="*/ 0 w 11"/>
                <a:gd name="T7" fmla="*/ 0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0" y="0"/>
                  </a:moveTo>
                  <a:lnTo>
                    <a:pt x="11"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3" name="Freeform 535"/>
            <p:cNvSpPr>
              <a:spLocks/>
            </p:cNvSpPr>
            <p:nvPr/>
          </p:nvSpPr>
          <p:spPr bwMode="auto">
            <a:xfrm>
              <a:off x="2970" y="1698"/>
              <a:ext cx="6" cy="5"/>
            </a:xfrm>
            <a:custGeom>
              <a:avLst/>
              <a:gdLst>
                <a:gd name="T0" fmla="*/ 0 w 6"/>
                <a:gd name="T1" fmla="*/ 5 h 5"/>
                <a:gd name="T2" fmla="*/ 0 w 6"/>
                <a:gd name="T3" fmla="*/ 0 h 5"/>
                <a:gd name="T4" fmla="*/ 6 w 6"/>
                <a:gd name="T5" fmla="*/ 0 h 5"/>
                <a:gd name="T6" fmla="*/ 6 w 6"/>
                <a:gd name="T7" fmla="*/ 5 h 5"/>
                <a:gd name="T8" fmla="*/ 0 w 6"/>
                <a:gd name="T9" fmla="*/ 5 h 5"/>
                <a:gd name="T10" fmla="*/ 0 w 6"/>
                <a:gd name="T11" fmla="*/ 5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0" y="5"/>
                  </a:moveTo>
                  <a:lnTo>
                    <a:pt x="0" y="0"/>
                  </a:lnTo>
                  <a:lnTo>
                    <a:pt x="6" y="0"/>
                  </a:lnTo>
                  <a:lnTo>
                    <a:pt x="6"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4" name="Freeform 536"/>
            <p:cNvSpPr>
              <a:spLocks/>
            </p:cNvSpPr>
            <p:nvPr/>
          </p:nvSpPr>
          <p:spPr bwMode="auto">
            <a:xfrm>
              <a:off x="2943" y="1703"/>
              <a:ext cx="6" cy="6"/>
            </a:xfrm>
            <a:custGeom>
              <a:avLst/>
              <a:gdLst>
                <a:gd name="T0" fmla="*/ 6 w 6"/>
                <a:gd name="T1" fmla="*/ 0 h 6"/>
                <a:gd name="T2" fmla="*/ 6 w 6"/>
                <a:gd name="T3" fmla="*/ 6 h 6"/>
                <a:gd name="T4" fmla="*/ 0 w 6"/>
                <a:gd name="T5" fmla="*/ 6 h 6"/>
                <a:gd name="T6" fmla="*/ 6 w 6"/>
                <a:gd name="T7" fmla="*/ 0 h 6"/>
                <a:gd name="T8" fmla="*/ 6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0"/>
                  </a:moveTo>
                  <a:lnTo>
                    <a:pt x="6" y="6"/>
                  </a:lnTo>
                  <a:lnTo>
                    <a:pt x="0" y="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5" name="Freeform 537"/>
            <p:cNvSpPr>
              <a:spLocks/>
            </p:cNvSpPr>
            <p:nvPr/>
          </p:nvSpPr>
          <p:spPr bwMode="auto">
            <a:xfrm>
              <a:off x="2932" y="1703"/>
              <a:ext cx="6" cy="6"/>
            </a:xfrm>
            <a:custGeom>
              <a:avLst/>
              <a:gdLst>
                <a:gd name="T0" fmla="*/ 0 w 6"/>
                <a:gd name="T1" fmla="*/ 0 h 6"/>
                <a:gd name="T2" fmla="*/ 6 w 6"/>
                <a:gd name="T3" fmla="*/ 6 h 6"/>
                <a:gd name="T4" fmla="*/ 0 w 6"/>
                <a:gd name="T5" fmla="*/ 6 h 6"/>
                <a:gd name="T6" fmla="*/ 0 w 6"/>
                <a:gd name="T7" fmla="*/ 0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0"/>
                  </a:moveTo>
                  <a:lnTo>
                    <a:pt x="6"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6" name="Freeform 538"/>
            <p:cNvSpPr>
              <a:spLocks/>
            </p:cNvSpPr>
            <p:nvPr/>
          </p:nvSpPr>
          <p:spPr bwMode="auto">
            <a:xfrm>
              <a:off x="2921" y="1709"/>
              <a:ext cx="11" cy="11"/>
            </a:xfrm>
            <a:custGeom>
              <a:avLst/>
              <a:gdLst>
                <a:gd name="T0" fmla="*/ 0 w 11"/>
                <a:gd name="T1" fmla="*/ 0 h 11"/>
                <a:gd name="T2" fmla="*/ 11 w 11"/>
                <a:gd name="T3" fmla="*/ 5 h 11"/>
                <a:gd name="T4" fmla="*/ 6 w 11"/>
                <a:gd name="T5" fmla="*/ 11 h 11"/>
                <a:gd name="T6" fmla="*/ 0 w 11"/>
                <a:gd name="T7" fmla="*/ 0 h 11"/>
                <a:gd name="T8" fmla="*/ 0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0"/>
                  </a:moveTo>
                  <a:lnTo>
                    <a:pt x="11" y="5"/>
                  </a:lnTo>
                  <a:lnTo>
                    <a:pt x="6"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7" name="Freeform 539"/>
            <p:cNvSpPr>
              <a:spLocks/>
            </p:cNvSpPr>
            <p:nvPr/>
          </p:nvSpPr>
          <p:spPr bwMode="auto">
            <a:xfrm>
              <a:off x="2916" y="1720"/>
              <a:ext cx="11" cy="10"/>
            </a:xfrm>
            <a:custGeom>
              <a:avLst/>
              <a:gdLst>
                <a:gd name="T0" fmla="*/ 0 w 11"/>
                <a:gd name="T1" fmla="*/ 0 h 10"/>
                <a:gd name="T2" fmla="*/ 11 w 11"/>
                <a:gd name="T3" fmla="*/ 0 h 10"/>
                <a:gd name="T4" fmla="*/ 0 w 11"/>
                <a:gd name="T5" fmla="*/ 10 h 10"/>
                <a:gd name="T6" fmla="*/ 0 w 11"/>
                <a:gd name="T7" fmla="*/ 5 h 10"/>
                <a:gd name="T8" fmla="*/ 0 w 11"/>
                <a:gd name="T9" fmla="*/ 0 h 10"/>
                <a:gd name="T10" fmla="*/ 0 w 11"/>
                <a:gd name="T11" fmla="*/ 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0" y="0"/>
                  </a:moveTo>
                  <a:lnTo>
                    <a:pt x="11" y="0"/>
                  </a:lnTo>
                  <a:lnTo>
                    <a:pt x="0" y="1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8" name="Freeform 540"/>
            <p:cNvSpPr>
              <a:spLocks/>
            </p:cNvSpPr>
            <p:nvPr/>
          </p:nvSpPr>
          <p:spPr bwMode="auto">
            <a:xfrm>
              <a:off x="2900" y="1725"/>
              <a:ext cx="10" cy="22"/>
            </a:xfrm>
            <a:custGeom>
              <a:avLst/>
              <a:gdLst>
                <a:gd name="T0" fmla="*/ 0 w 10"/>
                <a:gd name="T1" fmla="*/ 16 h 22"/>
                <a:gd name="T2" fmla="*/ 0 w 10"/>
                <a:gd name="T3" fmla="*/ 16 h 22"/>
                <a:gd name="T4" fmla="*/ 0 w 10"/>
                <a:gd name="T5" fmla="*/ 11 h 22"/>
                <a:gd name="T6" fmla="*/ 5 w 10"/>
                <a:gd name="T7" fmla="*/ 0 h 22"/>
                <a:gd name="T8" fmla="*/ 10 w 10"/>
                <a:gd name="T9" fmla="*/ 11 h 22"/>
                <a:gd name="T10" fmla="*/ 10 w 10"/>
                <a:gd name="T11" fmla="*/ 16 h 22"/>
                <a:gd name="T12" fmla="*/ 0 w 10"/>
                <a:gd name="T13" fmla="*/ 22 h 22"/>
                <a:gd name="T14" fmla="*/ 0 w 10"/>
                <a:gd name="T15" fmla="*/ 16 h 22"/>
                <a:gd name="T16" fmla="*/ 0 w 10"/>
                <a:gd name="T17" fmla="*/ 16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22"/>
                <a:gd name="T29" fmla="*/ 10 w 10"/>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22">
                  <a:moveTo>
                    <a:pt x="0" y="16"/>
                  </a:moveTo>
                  <a:lnTo>
                    <a:pt x="0" y="16"/>
                  </a:lnTo>
                  <a:lnTo>
                    <a:pt x="0" y="11"/>
                  </a:lnTo>
                  <a:lnTo>
                    <a:pt x="5" y="0"/>
                  </a:lnTo>
                  <a:lnTo>
                    <a:pt x="10" y="11"/>
                  </a:lnTo>
                  <a:lnTo>
                    <a:pt x="10" y="16"/>
                  </a:lnTo>
                  <a:lnTo>
                    <a:pt x="0" y="22"/>
                  </a:lnTo>
                  <a:lnTo>
                    <a:pt x="0"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19" name="Freeform 541"/>
            <p:cNvSpPr>
              <a:spLocks/>
            </p:cNvSpPr>
            <p:nvPr/>
          </p:nvSpPr>
          <p:spPr bwMode="auto">
            <a:xfrm>
              <a:off x="2878" y="1736"/>
              <a:ext cx="11" cy="11"/>
            </a:xfrm>
            <a:custGeom>
              <a:avLst/>
              <a:gdLst>
                <a:gd name="T0" fmla="*/ 5 w 11"/>
                <a:gd name="T1" fmla="*/ 5 h 11"/>
                <a:gd name="T2" fmla="*/ 11 w 11"/>
                <a:gd name="T3" fmla="*/ 0 h 11"/>
                <a:gd name="T4" fmla="*/ 5 w 11"/>
                <a:gd name="T5" fmla="*/ 11 h 11"/>
                <a:gd name="T6" fmla="*/ 0 w 11"/>
                <a:gd name="T7" fmla="*/ 11 h 11"/>
                <a:gd name="T8" fmla="*/ 5 w 11"/>
                <a:gd name="T9" fmla="*/ 5 h 11"/>
                <a:gd name="T10" fmla="*/ 5 w 11"/>
                <a:gd name="T11" fmla="*/ 5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5" y="5"/>
                  </a:moveTo>
                  <a:lnTo>
                    <a:pt x="11" y="0"/>
                  </a:lnTo>
                  <a:lnTo>
                    <a:pt x="5" y="11"/>
                  </a:lnTo>
                  <a:lnTo>
                    <a:pt x="0" y="11"/>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0" name="Freeform 542"/>
            <p:cNvSpPr>
              <a:spLocks/>
            </p:cNvSpPr>
            <p:nvPr/>
          </p:nvSpPr>
          <p:spPr bwMode="auto">
            <a:xfrm>
              <a:off x="2867" y="1747"/>
              <a:ext cx="11" cy="11"/>
            </a:xfrm>
            <a:custGeom>
              <a:avLst/>
              <a:gdLst>
                <a:gd name="T0" fmla="*/ 0 w 11"/>
                <a:gd name="T1" fmla="*/ 11 h 11"/>
                <a:gd name="T2" fmla="*/ 5 w 11"/>
                <a:gd name="T3" fmla="*/ 5 h 11"/>
                <a:gd name="T4" fmla="*/ 5 w 11"/>
                <a:gd name="T5" fmla="*/ 0 h 11"/>
                <a:gd name="T6" fmla="*/ 11 w 11"/>
                <a:gd name="T7" fmla="*/ 11 h 11"/>
                <a:gd name="T8" fmla="*/ 0 w 11"/>
                <a:gd name="T9" fmla="*/ 11 h 11"/>
                <a:gd name="T10" fmla="*/ 0 w 11"/>
                <a:gd name="T11" fmla="*/ 11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11"/>
                  </a:moveTo>
                  <a:lnTo>
                    <a:pt x="5" y="5"/>
                  </a:lnTo>
                  <a:lnTo>
                    <a:pt x="5" y="0"/>
                  </a:lnTo>
                  <a:lnTo>
                    <a:pt x="11" y="11"/>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1" name="Freeform 543"/>
            <p:cNvSpPr>
              <a:spLocks/>
            </p:cNvSpPr>
            <p:nvPr/>
          </p:nvSpPr>
          <p:spPr bwMode="auto">
            <a:xfrm>
              <a:off x="2867" y="1752"/>
              <a:ext cx="27" cy="22"/>
            </a:xfrm>
            <a:custGeom>
              <a:avLst/>
              <a:gdLst>
                <a:gd name="T0" fmla="*/ 16 w 27"/>
                <a:gd name="T1" fmla="*/ 0 h 22"/>
                <a:gd name="T2" fmla="*/ 16 w 27"/>
                <a:gd name="T3" fmla="*/ 6 h 22"/>
                <a:gd name="T4" fmla="*/ 16 w 27"/>
                <a:gd name="T5" fmla="*/ 11 h 22"/>
                <a:gd name="T6" fmla="*/ 22 w 27"/>
                <a:gd name="T7" fmla="*/ 0 h 22"/>
                <a:gd name="T8" fmla="*/ 27 w 27"/>
                <a:gd name="T9" fmla="*/ 6 h 22"/>
                <a:gd name="T10" fmla="*/ 27 w 27"/>
                <a:gd name="T11" fmla="*/ 11 h 22"/>
                <a:gd name="T12" fmla="*/ 16 w 27"/>
                <a:gd name="T13" fmla="*/ 22 h 22"/>
                <a:gd name="T14" fmla="*/ 11 w 27"/>
                <a:gd name="T15" fmla="*/ 17 h 22"/>
                <a:gd name="T16" fmla="*/ 0 w 27"/>
                <a:gd name="T17" fmla="*/ 22 h 22"/>
                <a:gd name="T18" fmla="*/ 11 w 27"/>
                <a:gd name="T19" fmla="*/ 11 h 22"/>
                <a:gd name="T20" fmla="*/ 16 w 27"/>
                <a:gd name="T21" fmla="*/ 0 h 22"/>
                <a:gd name="T22" fmla="*/ 16 w 27"/>
                <a:gd name="T23" fmla="*/ 0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
                <a:gd name="T37" fmla="*/ 0 h 22"/>
                <a:gd name="T38" fmla="*/ 27 w 2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 h="22">
                  <a:moveTo>
                    <a:pt x="16" y="0"/>
                  </a:moveTo>
                  <a:lnTo>
                    <a:pt x="16" y="6"/>
                  </a:lnTo>
                  <a:lnTo>
                    <a:pt x="16" y="11"/>
                  </a:lnTo>
                  <a:lnTo>
                    <a:pt x="22" y="0"/>
                  </a:lnTo>
                  <a:lnTo>
                    <a:pt x="27" y="6"/>
                  </a:lnTo>
                  <a:lnTo>
                    <a:pt x="27" y="11"/>
                  </a:lnTo>
                  <a:lnTo>
                    <a:pt x="16" y="22"/>
                  </a:lnTo>
                  <a:lnTo>
                    <a:pt x="11" y="17"/>
                  </a:lnTo>
                  <a:lnTo>
                    <a:pt x="0" y="22"/>
                  </a:lnTo>
                  <a:lnTo>
                    <a:pt x="11" y="11"/>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2" name="Freeform 544"/>
            <p:cNvSpPr>
              <a:spLocks/>
            </p:cNvSpPr>
            <p:nvPr/>
          </p:nvSpPr>
          <p:spPr bwMode="auto">
            <a:xfrm>
              <a:off x="2753" y="1954"/>
              <a:ext cx="5" cy="6"/>
            </a:xfrm>
            <a:custGeom>
              <a:avLst/>
              <a:gdLst>
                <a:gd name="T0" fmla="*/ 5 w 5"/>
                <a:gd name="T1" fmla="*/ 6 h 6"/>
                <a:gd name="T2" fmla="*/ 5 w 5"/>
                <a:gd name="T3" fmla="*/ 0 h 6"/>
                <a:gd name="T4" fmla="*/ 0 w 5"/>
                <a:gd name="T5" fmla="*/ 6 h 6"/>
                <a:gd name="T6" fmla="*/ 5 w 5"/>
                <a:gd name="T7" fmla="*/ 6 h 6"/>
                <a:gd name="T8" fmla="*/ 5 w 5"/>
                <a:gd name="T9" fmla="*/ 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6"/>
                  </a:moveTo>
                  <a:lnTo>
                    <a:pt x="5" y="0"/>
                  </a:lnTo>
                  <a:lnTo>
                    <a:pt x="0" y="6"/>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3" name="Freeform 545"/>
            <p:cNvSpPr>
              <a:spLocks/>
            </p:cNvSpPr>
            <p:nvPr/>
          </p:nvSpPr>
          <p:spPr bwMode="auto">
            <a:xfrm>
              <a:off x="2823" y="1747"/>
              <a:ext cx="169" cy="382"/>
            </a:xfrm>
            <a:custGeom>
              <a:avLst/>
              <a:gdLst>
                <a:gd name="T0" fmla="*/ 115 w 169"/>
                <a:gd name="T1" fmla="*/ 0 h 382"/>
                <a:gd name="T2" fmla="*/ 115 w 169"/>
                <a:gd name="T3" fmla="*/ 16 h 382"/>
                <a:gd name="T4" fmla="*/ 115 w 169"/>
                <a:gd name="T5" fmla="*/ 22 h 382"/>
                <a:gd name="T6" fmla="*/ 87 w 169"/>
                <a:gd name="T7" fmla="*/ 38 h 382"/>
                <a:gd name="T8" fmla="*/ 71 w 169"/>
                <a:gd name="T9" fmla="*/ 38 h 382"/>
                <a:gd name="T10" fmla="*/ 66 w 169"/>
                <a:gd name="T11" fmla="*/ 65 h 382"/>
                <a:gd name="T12" fmla="*/ 55 w 169"/>
                <a:gd name="T13" fmla="*/ 98 h 382"/>
                <a:gd name="T14" fmla="*/ 44 w 169"/>
                <a:gd name="T15" fmla="*/ 125 h 382"/>
                <a:gd name="T16" fmla="*/ 38 w 169"/>
                <a:gd name="T17" fmla="*/ 153 h 382"/>
                <a:gd name="T18" fmla="*/ 22 w 169"/>
                <a:gd name="T19" fmla="*/ 164 h 382"/>
                <a:gd name="T20" fmla="*/ 11 w 169"/>
                <a:gd name="T21" fmla="*/ 180 h 382"/>
                <a:gd name="T22" fmla="*/ 11 w 169"/>
                <a:gd name="T23" fmla="*/ 202 h 382"/>
                <a:gd name="T24" fmla="*/ 22 w 169"/>
                <a:gd name="T25" fmla="*/ 240 h 382"/>
                <a:gd name="T26" fmla="*/ 17 w 169"/>
                <a:gd name="T27" fmla="*/ 256 h 382"/>
                <a:gd name="T28" fmla="*/ 11 w 169"/>
                <a:gd name="T29" fmla="*/ 278 h 382"/>
                <a:gd name="T30" fmla="*/ 6 w 169"/>
                <a:gd name="T31" fmla="*/ 289 h 382"/>
                <a:gd name="T32" fmla="*/ 0 w 169"/>
                <a:gd name="T33" fmla="*/ 300 h 382"/>
                <a:gd name="T34" fmla="*/ 0 w 169"/>
                <a:gd name="T35" fmla="*/ 300 h 382"/>
                <a:gd name="T36" fmla="*/ 0 w 169"/>
                <a:gd name="T37" fmla="*/ 316 h 382"/>
                <a:gd name="T38" fmla="*/ 6 w 169"/>
                <a:gd name="T39" fmla="*/ 316 h 382"/>
                <a:gd name="T40" fmla="*/ 6 w 169"/>
                <a:gd name="T41" fmla="*/ 322 h 382"/>
                <a:gd name="T42" fmla="*/ 11 w 169"/>
                <a:gd name="T43" fmla="*/ 327 h 382"/>
                <a:gd name="T44" fmla="*/ 22 w 169"/>
                <a:gd name="T45" fmla="*/ 360 h 382"/>
                <a:gd name="T46" fmla="*/ 22 w 169"/>
                <a:gd name="T47" fmla="*/ 365 h 382"/>
                <a:gd name="T48" fmla="*/ 22 w 169"/>
                <a:gd name="T49" fmla="*/ 376 h 382"/>
                <a:gd name="T50" fmla="*/ 38 w 169"/>
                <a:gd name="T51" fmla="*/ 382 h 382"/>
                <a:gd name="T52" fmla="*/ 60 w 169"/>
                <a:gd name="T53" fmla="*/ 365 h 382"/>
                <a:gd name="T54" fmla="*/ 66 w 169"/>
                <a:gd name="T55" fmla="*/ 327 h 382"/>
                <a:gd name="T56" fmla="*/ 71 w 169"/>
                <a:gd name="T57" fmla="*/ 316 h 382"/>
                <a:gd name="T58" fmla="*/ 71 w 169"/>
                <a:gd name="T59" fmla="*/ 311 h 382"/>
                <a:gd name="T60" fmla="*/ 77 w 169"/>
                <a:gd name="T61" fmla="*/ 305 h 382"/>
                <a:gd name="T62" fmla="*/ 87 w 169"/>
                <a:gd name="T63" fmla="*/ 300 h 382"/>
                <a:gd name="T64" fmla="*/ 93 w 169"/>
                <a:gd name="T65" fmla="*/ 289 h 382"/>
                <a:gd name="T66" fmla="*/ 77 w 169"/>
                <a:gd name="T67" fmla="*/ 289 h 382"/>
                <a:gd name="T68" fmla="*/ 77 w 169"/>
                <a:gd name="T69" fmla="*/ 284 h 382"/>
                <a:gd name="T70" fmla="*/ 93 w 169"/>
                <a:gd name="T71" fmla="*/ 284 h 382"/>
                <a:gd name="T72" fmla="*/ 93 w 169"/>
                <a:gd name="T73" fmla="*/ 267 h 382"/>
                <a:gd name="T74" fmla="*/ 82 w 169"/>
                <a:gd name="T75" fmla="*/ 256 h 382"/>
                <a:gd name="T76" fmla="*/ 66 w 169"/>
                <a:gd name="T77" fmla="*/ 267 h 382"/>
                <a:gd name="T78" fmla="*/ 77 w 169"/>
                <a:gd name="T79" fmla="*/ 234 h 382"/>
                <a:gd name="T80" fmla="*/ 77 w 169"/>
                <a:gd name="T81" fmla="*/ 229 h 382"/>
                <a:gd name="T82" fmla="*/ 77 w 169"/>
                <a:gd name="T83" fmla="*/ 207 h 382"/>
                <a:gd name="T84" fmla="*/ 87 w 169"/>
                <a:gd name="T85" fmla="*/ 202 h 382"/>
                <a:gd name="T86" fmla="*/ 87 w 169"/>
                <a:gd name="T87" fmla="*/ 196 h 382"/>
                <a:gd name="T88" fmla="*/ 98 w 169"/>
                <a:gd name="T89" fmla="*/ 185 h 382"/>
                <a:gd name="T90" fmla="*/ 136 w 169"/>
                <a:gd name="T91" fmla="*/ 153 h 382"/>
                <a:gd name="T92" fmla="*/ 136 w 169"/>
                <a:gd name="T93" fmla="*/ 131 h 382"/>
                <a:gd name="T94" fmla="*/ 142 w 169"/>
                <a:gd name="T95" fmla="*/ 114 h 382"/>
                <a:gd name="T96" fmla="*/ 142 w 169"/>
                <a:gd name="T97" fmla="*/ 114 h 382"/>
                <a:gd name="T98" fmla="*/ 164 w 169"/>
                <a:gd name="T99" fmla="*/ 109 h 382"/>
                <a:gd name="T100" fmla="*/ 164 w 169"/>
                <a:gd name="T101" fmla="*/ 93 h 382"/>
                <a:gd name="T102" fmla="*/ 158 w 169"/>
                <a:gd name="T103" fmla="*/ 65 h 382"/>
                <a:gd name="T104" fmla="*/ 153 w 169"/>
                <a:gd name="T105" fmla="*/ 22 h 382"/>
                <a:gd name="T106" fmla="*/ 120 w 169"/>
                <a:gd name="T107" fmla="*/ 0 h 3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9"/>
                <a:gd name="T163" fmla="*/ 0 h 382"/>
                <a:gd name="T164" fmla="*/ 169 w 169"/>
                <a:gd name="T165" fmla="*/ 382 h 3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9" h="382">
                  <a:moveTo>
                    <a:pt x="120" y="0"/>
                  </a:moveTo>
                  <a:lnTo>
                    <a:pt x="115" y="0"/>
                  </a:lnTo>
                  <a:lnTo>
                    <a:pt x="115" y="5"/>
                  </a:lnTo>
                  <a:lnTo>
                    <a:pt x="115" y="16"/>
                  </a:lnTo>
                  <a:lnTo>
                    <a:pt x="115" y="22"/>
                  </a:lnTo>
                  <a:lnTo>
                    <a:pt x="93" y="16"/>
                  </a:lnTo>
                  <a:lnTo>
                    <a:pt x="87" y="38"/>
                  </a:lnTo>
                  <a:lnTo>
                    <a:pt x="82" y="33"/>
                  </a:lnTo>
                  <a:lnTo>
                    <a:pt x="71" y="38"/>
                  </a:lnTo>
                  <a:lnTo>
                    <a:pt x="66" y="54"/>
                  </a:lnTo>
                  <a:lnTo>
                    <a:pt x="66" y="65"/>
                  </a:lnTo>
                  <a:lnTo>
                    <a:pt x="55" y="82"/>
                  </a:lnTo>
                  <a:lnTo>
                    <a:pt x="55" y="98"/>
                  </a:lnTo>
                  <a:lnTo>
                    <a:pt x="44" y="98"/>
                  </a:lnTo>
                  <a:lnTo>
                    <a:pt x="44" y="125"/>
                  </a:lnTo>
                  <a:lnTo>
                    <a:pt x="33" y="142"/>
                  </a:lnTo>
                  <a:lnTo>
                    <a:pt x="38" y="153"/>
                  </a:lnTo>
                  <a:lnTo>
                    <a:pt x="38" y="158"/>
                  </a:lnTo>
                  <a:lnTo>
                    <a:pt x="22" y="164"/>
                  </a:lnTo>
                  <a:lnTo>
                    <a:pt x="11" y="174"/>
                  </a:lnTo>
                  <a:lnTo>
                    <a:pt x="11" y="180"/>
                  </a:lnTo>
                  <a:lnTo>
                    <a:pt x="17" y="191"/>
                  </a:lnTo>
                  <a:lnTo>
                    <a:pt x="11" y="202"/>
                  </a:lnTo>
                  <a:lnTo>
                    <a:pt x="11" y="224"/>
                  </a:lnTo>
                  <a:lnTo>
                    <a:pt x="22" y="240"/>
                  </a:lnTo>
                  <a:lnTo>
                    <a:pt x="11" y="245"/>
                  </a:lnTo>
                  <a:lnTo>
                    <a:pt x="17" y="256"/>
                  </a:lnTo>
                  <a:lnTo>
                    <a:pt x="17" y="273"/>
                  </a:lnTo>
                  <a:lnTo>
                    <a:pt x="11" y="278"/>
                  </a:lnTo>
                  <a:lnTo>
                    <a:pt x="6" y="284"/>
                  </a:lnTo>
                  <a:lnTo>
                    <a:pt x="6" y="289"/>
                  </a:lnTo>
                  <a:lnTo>
                    <a:pt x="6" y="300"/>
                  </a:lnTo>
                  <a:lnTo>
                    <a:pt x="0" y="300"/>
                  </a:lnTo>
                  <a:lnTo>
                    <a:pt x="0" y="294"/>
                  </a:lnTo>
                  <a:lnTo>
                    <a:pt x="0" y="300"/>
                  </a:lnTo>
                  <a:lnTo>
                    <a:pt x="0" y="311"/>
                  </a:lnTo>
                  <a:lnTo>
                    <a:pt x="0" y="316"/>
                  </a:lnTo>
                  <a:lnTo>
                    <a:pt x="6" y="316"/>
                  </a:lnTo>
                  <a:lnTo>
                    <a:pt x="0" y="322"/>
                  </a:lnTo>
                  <a:lnTo>
                    <a:pt x="6" y="322"/>
                  </a:lnTo>
                  <a:lnTo>
                    <a:pt x="6" y="327"/>
                  </a:lnTo>
                  <a:lnTo>
                    <a:pt x="11" y="327"/>
                  </a:lnTo>
                  <a:lnTo>
                    <a:pt x="11" y="338"/>
                  </a:lnTo>
                  <a:lnTo>
                    <a:pt x="22" y="360"/>
                  </a:lnTo>
                  <a:lnTo>
                    <a:pt x="17" y="360"/>
                  </a:lnTo>
                  <a:lnTo>
                    <a:pt x="22" y="365"/>
                  </a:lnTo>
                  <a:lnTo>
                    <a:pt x="17" y="365"/>
                  </a:lnTo>
                  <a:lnTo>
                    <a:pt x="22" y="376"/>
                  </a:lnTo>
                  <a:lnTo>
                    <a:pt x="22" y="382"/>
                  </a:lnTo>
                  <a:lnTo>
                    <a:pt x="38" y="382"/>
                  </a:lnTo>
                  <a:lnTo>
                    <a:pt x="44" y="371"/>
                  </a:lnTo>
                  <a:lnTo>
                    <a:pt x="60" y="365"/>
                  </a:lnTo>
                  <a:lnTo>
                    <a:pt x="71" y="338"/>
                  </a:lnTo>
                  <a:lnTo>
                    <a:pt x="66" y="327"/>
                  </a:lnTo>
                  <a:lnTo>
                    <a:pt x="71" y="322"/>
                  </a:lnTo>
                  <a:lnTo>
                    <a:pt x="71" y="316"/>
                  </a:lnTo>
                  <a:lnTo>
                    <a:pt x="66" y="311"/>
                  </a:lnTo>
                  <a:lnTo>
                    <a:pt x="71" y="311"/>
                  </a:lnTo>
                  <a:lnTo>
                    <a:pt x="66" y="305"/>
                  </a:lnTo>
                  <a:lnTo>
                    <a:pt x="77" y="305"/>
                  </a:lnTo>
                  <a:lnTo>
                    <a:pt x="82" y="294"/>
                  </a:lnTo>
                  <a:lnTo>
                    <a:pt x="87" y="300"/>
                  </a:lnTo>
                  <a:lnTo>
                    <a:pt x="93" y="294"/>
                  </a:lnTo>
                  <a:lnTo>
                    <a:pt x="93" y="289"/>
                  </a:lnTo>
                  <a:lnTo>
                    <a:pt x="77" y="289"/>
                  </a:lnTo>
                  <a:lnTo>
                    <a:pt x="66" y="284"/>
                  </a:lnTo>
                  <a:lnTo>
                    <a:pt x="77" y="284"/>
                  </a:lnTo>
                  <a:lnTo>
                    <a:pt x="87" y="289"/>
                  </a:lnTo>
                  <a:lnTo>
                    <a:pt x="93" y="284"/>
                  </a:lnTo>
                  <a:lnTo>
                    <a:pt x="98" y="278"/>
                  </a:lnTo>
                  <a:lnTo>
                    <a:pt x="93" y="267"/>
                  </a:lnTo>
                  <a:lnTo>
                    <a:pt x="82" y="256"/>
                  </a:lnTo>
                  <a:lnTo>
                    <a:pt x="71" y="267"/>
                  </a:lnTo>
                  <a:lnTo>
                    <a:pt x="66" y="267"/>
                  </a:lnTo>
                  <a:lnTo>
                    <a:pt x="77" y="262"/>
                  </a:lnTo>
                  <a:lnTo>
                    <a:pt x="77" y="234"/>
                  </a:lnTo>
                  <a:lnTo>
                    <a:pt x="77" y="229"/>
                  </a:lnTo>
                  <a:lnTo>
                    <a:pt x="82" y="213"/>
                  </a:lnTo>
                  <a:lnTo>
                    <a:pt x="77" y="207"/>
                  </a:lnTo>
                  <a:lnTo>
                    <a:pt x="82" y="207"/>
                  </a:lnTo>
                  <a:lnTo>
                    <a:pt x="87" y="202"/>
                  </a:lnTo>
                  <a:lnTo>
                    <a:pt x="87" y="196"/>
                  </a:lnTo>
                  <a:lnTo>
                    <a:pt x="93" y="191"/>
                  </a:lnTo>
                  <a:lnTo>
                    <a:pt x="98" y="185"/>
                  </a:lnTo>
                  <a:lnTo>
                    <a:pt x="120" y="169"/>
                  </a:lnTo>
                  <a:lnTo>
                    <a:pt x="136" y="153"/>
                  </a:lnTo>
                  <a:lnTo>
                    <a:pt x="131" y="136"/>
                  </a:lnTo>
                  <a:lnTo>
                    <a:pt x="136" y="131"/>
                  </a:lnTo>
                  <a:lnTo>
                    <a:pt x="131" y="120"/>
                  </a:lnTo>
                  <a:lnTo>
                    <a:pt x="142" y="114"/>
                  </a:lnTo>
                  <a:lnTo>
                    <a:pt x="136" y="109"/>
                  </a:lnTo>
                  <a:lnTo>
                    <a:pt x="142" y="114"/>
                  </a:lnTo>
                  <a:lnTo>
                    <a:pt x="147" y="104"/>
                  </a:lnTo>
                  <a:lnTo>
                    <a:pt x="164" y="109"/>
                  </a:lnTo>
                  <a:lnTo>
                    <a:pt x="169" y="104"/>
                  </a:lnTo>
                  <a:lnTo>
                    <a:pt x="164" y="93"/>
                  </a:lnTo>
                  <a:lnTo>
                    <a:pt x="164" y="76"/>
                  </a:lnTo>
                  <a:lnTo>
                    <a:pt x="158" y="65"/>
                  </a:lnTo>
                  <a:lnTo>
                    <a:pt x="158" y="38"/>
                  </a:lnTo>
                  <a:lnTo>
                    <a:pt x="153" y="22"/>
                  </a:lnTo>
                  <a:lnTo>
                    <a:pt x="12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4" name="Freeform 546"/>
            <p:cNvSpPr>
              <a:spLocks/>
            </p:cNvSpPr>
            <p:nvPr/>
          </p:nvSpPr>
          <p:spPr bwMode="auto">
            <a:xfrm>
              <a:off x="2910" y="2074"/>
              <a:ext cx="11" cy="22"/>
            </a:xfrm>
            <a:custGeom>
              <a:avLst/>
              <a:gdLst>
                <a:gd name="T0" fmla="*/ 0 w 11"/>
                <a:gd name="T1" fmla="*/ 22 h 22"/>
                <a:gd name="T2" fmla="*/ 11 w 11"/>
                <a:gd name="T3" fmla="*/ 11 h 22"/>
                <a:gd name="T4" fmla="*/ 11 w 11"/>
                <a:gd name="T5" fmla="*/ 0 h 22"/>
                <a:gd name="T6" fmla="*/ 11 w 11"/>
                <a:gd name="T7" fmla="*/ 0 h 22"/>
                <a:gd name="T8" fmla="*/ 11 w 11"/>
                <a:gd name="T9" fmla="*/ 0 h 22"/>
                <a:gd name="T10" fmla="*/ 6 w 11"/>
                <a:gd name="T11" fmla="*/ 6 h 22"/>
                <a:gd name="T12" fmla="*/ 0 w 11"/>
                <a:gd name="T13" fmla="*/ 22 h 22"/>
                <a:gd name="T14" fmla="*/ 0 w 11"/>
                <a:gd name="T15" fmla="*/ 22 h 2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2"/>
                <a:gd name="T26" fmla="*/ 11 w 11"/>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2">
                  <a:moveTo>
                    <a:pt x="0" y="22"/>
                  </a:moveTo>
                  <a:lnTo>
                    <a:pt x="11" y="11"/>
                  </a:lnTo>
                  <a:lnTo>
                    <a:pt x="11" y="0"/>
                  </a:lnTo>
                  <a:lnTo>
                    <a:pt x="6" y="6"/>
                  </a:lnTo>
                  <a:lnTo>
                    <a:pt x="0"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5" name="Freeform 547"/>
            <p:cNvSpPr>
              <a:spLocks/>
            </p:cNvSpPr>
            <p:nvPr/>
          </p:nvSpPr>
          <p:spPr bwMode="auto">
            <a:xfrm>
              <a:off x="2889" y="2091"/>
              <a:ext cx="5" cy="21"/>
            </a:xfrm>
            <a:custGeom>
              <a:avLst/>
              <a:gdLst>
                <a:gd name="T0" fmla="*/ 0 w 5"/>
                <a:gd name="T1" fmla="*/ 21 h 21"/>
                <a:gd name="T2" fmla="*/ 5 w 5"/>
                <a:gd name="T3" fmla="*/ 0 h 21"/>
                <a:gd name="T4" fmla="*/ 0 w 5"/>
                <a:gd name="T5" fmla="*/ 11 h 21"/>
                <a:gd name="T6" fmla="*/ 0 w 5"/>
                <a:gd name="T7" fmla="*/ 21 h 21"/>
                <a:gd name="T8" fmla="*/ 0 w 5"/>
                <a:gd name="T9" fmla="*/ 21 h 21"/>
                <a:gd name="T10" fmla="*/ 0 60000 65536"/>
                <a:gd name="T11" fmla="*/ 0 60000 65536"/>
                <a:gd name="T12" fmla="*/ 0 60000 65536"/>
                <a:gd name="T13" fmla="*/ 0 60000 65536"/>
                <a:gd name="T14" fmla="*/ 0 60000 65536"/>
                <a:gd name="T15" fmla="*/ 0 w 5"/>
                <a:gd name="T16" fmla="*/ 0 h 21"/>
                <a:gd name="T17" fmla="*/ 5 w 5"/>
                <a:gd name="T18" fmla="*/ 21 h 21"/>
              </a:gdLst>
              <a:ahLst/>
              <a:cxnLst>
                <a:cxn ang="T10">
                  <a:pos x="T0" y="T1"/>
                </a:cxn>
                <a:cxn ang="T11">
                  <a:pos x="T2" y="T3"/>
                </a:cxn>
                <a:cxn ang="T12">
                  <a:pos x="T4" y="T5"/>
                </a:cxn>
                <a:cxn ang="T13">
                  <a:pos x="T6" y="T7"/>
                </a:cxn>
                <a:cxn ang="T14">
                  <a:pos x="T8" y="T9"/>
                </a:cxn>
              </a:cxnLst>
              <a:rect l="T15" t="T16" r="T17" b="T18"/>
              <a:pathLst>
                <a:path w="5" h="21">
                  <a:moveTo>
                    <a:pt x="0" y="21"/>
                  </a:moveTo>
                  <a:lnTo>
                    <a:pt x="5" y="0"/>
                  </a:lnTo>
                  <a:lnTo>
                    <a:pt x="0" y="11"/>
                  </a:lnTo>
                  <a:lnTo>
                    <a:pt x="0" y="2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6" name="Freeform 548"/>
            <p:cNvSpPr>
              <a:spLocks/>
            </p:cNvSpPr>
            <p:nvPr/>
          </p:nvSpPr>
          <p:spPr bwMode="auto">
            <a:xfrm>
              <a:off x="2758" y="2293"/>
              <a:ext cx="54" cy="32"/>
            </a:xfrm>
            <a:custGeom>
              <a:avLst/>
              <a:gdLst>
                <a:gd name="T0" fmla="*/ 16 w 54"/>
                <a:gd name="T1" fmla="*/ 0 h 32"/>
                <a:gd name="T2" fmla="*/ 33 w 54"/>
                <a:gd name="T3" fmla="*/ 0 h 32"/>
                <a:gd name="T4" fmla="*/ 44 w 54"/>
                <a:gd name="T5" fmla="*/ 0 h 32"/>
                <a:gd name="T6" fmla="*/ 44 w 54"/>
                <a:gd name="T7" fmla="*/ 10 h 32"/>
                <a:gd name="T8" fmla="*/ 54 w 54"/>
                <a:gd name="T9" fmla="*/ 16 h 32"/>
                <a:gd name="T10" fmla="*/ 54 w 54"/>
                <a:gd name="T11" fmla="*/ 16 h 32"/>
                <a:gd name="T12" fmla="*/ 49 w 54"/>
                <a:gd name="T13" fmla="*/ 16 h 32"/>
                <a:gd name="T14" fmla="*/ 54 w 54"/>
                <a:gd name="T15" fmla="*/ 27 h 32"/>
                <a:gd name="T16" fmla="*/ 44 w 54"/>
                <a:gd name="T17" fmla="*/ 21 h 32"/>
                <a:gd name="T18" fmla="*/ 38 w 54"/>
                <a:gd name="T19" fmla="*/ 32 h 32"/>
                <a:gd name="T20" fmla="*/ 33 w 54"/>
                <a:gd name="T21" fmla="*/ 21 h 32"/>
                <a:gd name="T22" fmla="*/ 22 w 54"/>
                <a:gd name="T23" fmla="*/ 32 h 32"/>
                <a:gd name="T24" fmla="*/ 11 w 54"/>
                <a:gd name="T25" fmla="*/ 32 h 32"/>
                <a:gd name="T26" fmla="*/ 11 w 54"/>
                <a:gd name="T27" fmla="*/ 21 h 32"/>
                <a:gd name="T28" fmla="*/ 5 w 54"/>
                <a:gd name="T29" fmla="*/ 21 h 32"/>
                <a:gd name="T30" fmla="*/ 0 w 54"/>
                <a:gd name="T31" fmla="*/ 27 h 32"/>
                <a:gd name="T32" fmla="*/ 0 w 54"/>
                <a:gd name="T33" fmla="*/ 21 h 32"/>
                <a:gd name="T34" fmla="*/ 11 w 54"/>
                <a:gd name="T35" fmla="*/ 0 h 32"/>
                <a:gd name="T36" fmla="*/ 16 w 54"/>
                <a:gd name="T37" fmla="*/ 0 h 32"/>
                <a:gd name="T38" fmla="*/ 16 w 54"/>
                <a:gd name="T39" fmla="*/ 0 h 3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32"/>
                <a:gd name="T62" fmla="*/ 54 w 54"/>
                <a:gd name="T63" fmla="*/ 32 h 3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32">
                  <a:moveTo>
                    <a:pt x="16" y="0"/>
                  </a:moveTo>
                  <a:lnTo>
                    <a:pt x="33" y="0"/>
                  </a:lnTo>
                  <a:lnTo>
                    <a:pt x="44" y="0"/>
                  </a:lnTo>
                  <a:lnTo>
                    <a:pt x="44" y="10"/>
                  </a:lnTo>
                  <a:lnTo>
                    <a:pt x="54" y="16"/>
                  </a:lnTo>
                  <a:lnTo>
                    <a:pt x="49" y="16"/>
                  </a:lnTo>
                  <a:lnTo>
                    <a:pt x="54" y="27"/>
                  </a:lnTo>
                  <a:lnTo>
                    <a:pt x="44" y="21"/>
                  </a:lnTo>
                  <a:lnTo>
                    <a:pt x="38" y="32"/>
                  </a:lnTo>
                  <a:lnTo>
                    <a:pt x="33" y="21"/>
                  </a:lnTo>
                  <a:lnTo>
                    <a:pt x="22" y="32"/>
                  </a:lnTo>
                  <a:lnTo>
                    <a:pt x="11" y="32"/>
                  </a:lnTo>
                  <a:lnTo>
                    <a:pt x="11" y="21"/>
                  </a:lnTo>
                  <a:lnTo>
                    <a:pt x="5" y="21"/>
                  </a:lnTo>
                  <a:lnTo>
                    <a:pt x="0" y="27"/>
                  </a:lnTo>
                  <a:lnTo>
                    <a:pt x="0" y="21"/>
                  </a:lnTo>
                  <a:lnTo>
                    <a:pt x="11" y="0"/>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7" name="Rectangle 549"/>
            <p:cNvSpPr>
              <a:spLocks noChangeArrowheads="1"/>
            </p:cNvSpPr>
            <p:nvPr/>
          </p:nvSpPr>
          <p:spPr bwMode="auto">
            <a:xfrm>
              <a:off x="2867" y="2336"/>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528" name="Freeform 550"/>
            <p:cNvSpPr>
              <a:spLocks/>
            </p:cNvSpPr>
            <p:nvPr/>
          </p:nvSpPr>
          <p:spPr bwMode="auto">
            <a:xfrm>
              <a:off x="2622" y="2222"/>
              <a:ext cx="163" cy="169"/>
            </a:xfrm>
            <a:custGeom>
              <a:avLst/>
              <a:gdLst>
                <a:gd name="T0" fmla="*/ 92 w 163"/>
                <a:gd name="T1" fmla="*/ 5 h 169"/>
                <a:gd name="T2" fmla="*/ 114 w 163"/>
                <a:gd name="T3" fmla="*/ 21 h 169"/>
                <a:gd name="T4" fmla="*/ 120 w 163"/>
                <a:gd name="T5" fmla="*/ 27 h 169"/>
                <a:gd name="T6" fmla="*/ 136 w 163"/>
                <a:gd name="T7" fmla="*/ 32 h 169"/>
                <a:gd name="T8" fmla="*/ 163 w 163"/>
                <a:gd name="T9" fmla="*/ 43 h 169"/>
                <a:gd name="T10" fmla="*/ 152 w 163"/>
                <a:gd name="T11" fmla="*/ 71 h 169"/>
                <a:gd name="T12" fmla="*/ 136 w 163"/>
                <a:gd name="T13" fmla="*/ 92 h 169"/>
                <a:gd name="T14" fmla="*/ 141 w 163"/>
                <a:gd name="T15" fmla="*/ 92 h 169"/>
                <a:gd name="T16" fmla="*/ 147 w 163"/>
                <a:gd name="T17" fmla="*/ 103 h 169"/>
                <a:gd name="T18" fmla="*/ 147 w 163"/>
                <a:gd name="T19" fmla="*/ 114 h 169"/>
                <a:gd name="T20" fmla="*/ 147 w 163"/>
                <a:gd name="T21" fmla="*/ 120 h 169"/>
                <a:gd name="T22" fmla="*/ 152 w 163"/>
                <a:gd name="T23" fmla="*/ 136 h 169"/>
                <a:gd name="T24" fmla="*/ 136 w 163"/>
                <a:gd name="T25" fmla="*/ 152 h 169"/>
                <a:gd name="T26" fmla="*/ 109 w 163"/>
                <a:gd name="T27" fmla="*/ 147 h 169"/>
                <a:gd name="T28" fmla="*/ 98 w 163"/>
                <a:gd name="T29" fmla="*/ 158 h 169"/>
                <a:gd name="T30" fmla="*/ 87 w 163"/>
                <a:gd name="T31" fmla="*/ 169 h 169"/>
                <a:gd name="T32" fmla="*/ 76 w 163"/>
                <a:gd name="T33" fmla="*/ 163 h 169"/>
                <a:gd name="T34" fmla="*/ 65 w 163"/>
                <a:gd name="T35" fmla="*/ 163 h 169"/>
                <a:gd name="T36" fmla="*/ 38 w 163"/>
                <a:gd name="T37" fmla="*/ 147 h 169"/>
                <a:gd name="T38" fmla="*/ 49 w 163"/>
                <a:gd name="T39" fmla="*/ 125 h 169"/>
                <a:gd name="T40" fmla="*/ 49 w 163"/>
                <a:gd name="T41" fmla="*/ 109 h 169"/>
                <a:gd name="T42" fmla="*/ 44 w 163"/>
                <a:gd name="T43" fmla="*/ 103 h 169"/>
                <a:gd name="T44" fmla="*/ 38 w 163"/>
                <a:gd name="T45" fmla="*/ 92 h 169"/>
                <a:gd name="T46" fmla="*/ 33 w 163"/>
                <a:gd name="T47" fmla="*/ 81 h 169"/>
                <a:gd name="T48" fmla="*/ 27 w 163"/>
                <a:gd name="T49" fmla="*/ 76 h 169"/>
                <a:gd name="T50" fmla="*/ 11 w 163"/>
                <a:gd name="T51" fmla="*/ 65 h 169"/>
                <a:gd name="T52" fmla="*/ 0 w 163"/>
                <a:gd name="T53" fmla="*/ 65 h 169"/>
                <a:gd name="T54" fmla="*/ 0 w 163"/>
                <a:gd name="T55" fmla="*/ 60 h 169"/>
                <a:gd name="T56" fmla="*/ 0 w 163"/>
                <a:gd name="T57" fmla="*/ 60 h 169"/>
                <a:gd name="T58" fmla="*/ 16 w 163"/>
                <a:gd name="T59" fmla="*/ 49 h 169"/>
                <a:gd name="T60" fmla="*/ 38 w 163"/>
                <a:gd name="T61" fmla="*/ 54 h 169"/>
                <a:gd name="T62" fmla="*/ 44 w 163"/>
                <a:gd name="T63" fmla="*/ 32 h 169"/>
                <a:gd name="T64" fmla="*/ 65 w 163"/>
                <a:gd name="T65" fmla="*/ 38 h 169"/>
                <a:gd name="T66" fmla="*/ 65 w 163"/>
                <a:gd name="T67" fmla="*/ 32 h 169"/>
                <a:gd name="T68" fmla="*/ 82 w 163"/>
                <a:gd name="T69" fmla="*/ 5 h 169"/>
                <a:gd name="T70" fmla="*/ 92 w 163"/>
                <a:gd name="T71" fmla="*/ 0 h 16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3"/>
                <a:gd name="T109" fmla="*/ 0 h 169"/>
                <a:gd name="T110" fmla="*/ 163 w 163"/>
                <a:gd name="T111" fmla="*/ 169 h 16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3" h="169">
                  <a:moveTo>
                    <a:pt x="92" y="0"/>
                  </a:moveTo>
                  <a:lnTo>
                    <a:pt x="92" y="5"/>
                  </a:lnTo>
                  <a:lnTo>
                    <a:pt x="109" y="16"/>
                  </a:lnTo>
                  <a:lnTo>
                    <a:pt x="114" y="21"/>
                  </a:lnTo>
                  <a:lnTo>
                    <a:pt x="120" y="21"/>
                  </a:lnTo>
                  <a:lnTo>
                    <a:pt x="120" y="27"/>
                  </a:lnTo>
                  <a:lnTo>
                    <a:pt x="131" y="32"/>
                  </a:lnTo>
                  <a:lnTo>
                    <a:pt x="136" y="32"/>
                  </a:lnTo>
                  <a:lnTo>
                    <a:pt x="147" y="38"/>
                  </a:lnTo>
                  <a:lnTo>
                    <a:pt x="163" y="43"/>
                  </a:lnTo>
                  <a:lnTo>
                    <a:pt x="152" y="60"/>
                  </a:lnTo>
                  <a:lnTo>
                    <a:pt x="152" y="71"/>
                  </a:lnTo>
                  <a:lnTo>
                    <a:pt x="147" y="71"/>
                  </a:lnTo>
                  <a:lnTo>
                    <a:pt x="136" y="92"/>
                  </a:lnTo>
                  <a:lnTo>
                    <a:pt x="136" y="98"/>
                  </a:lnTo>
                  <a:lnTo>
                    <a:pt x="141" y="92"/>
                  </a:lnTo>
                  <a:lnTo>
                    <a:pt x="147" y="92"/>
                  </a:lnTo>
                  <a:lnTo>
                    <a:pt x="147" y="103"/>
                  </a:lnTo>
                  <a:lnTo>
                    <a:pt x="147" y="114"/>
                  </a:lnTo>
                  <a:lnTo>
                    <a:pt x="147" y="120"/>
                  </a:lnTo>
                  <a:lnTo>
                    <a:pt x="147" y="136"/>
                  </a:lnTo>
                  <a:lnTo>
                    <a:pt x="152" y="136"/>
                  </a:lnTo>
                  <a:lnTo>
                    <a:pt x="158" y="141"/>
                  </a:lnTo>
                  <a:lnTo>
                    <a:pt x="136" y="152"/>
                  </a:lnTo>
                  <a:lnTo>
                    <a:pt x="125" y="147"/>
                  </a:lnTo>
                  <a:lnTo>
                    <a:pt x="109" y="147"/>
                  </a:lnTo>
                  <a:lnTo>
                    <a:pt x="98" y="152"/>
                  </a:lnTo>
                  <a:lnTo>
                    <a:pt x="98" y="158"/>
                  </a:lnTo>
                  <a:lnTo>
                    <a:pt x="98" y="163"/>
                  </a:lnTo>
                  <a:lnTo>
                    <a:pt x="87" y="169"/>
                  </a:lnTo>
                  <a:lnTo>
                    <a:pt x="82" y="163"/>
                  </a:lnTo>
                  <a:lnTo>
                    <a:pt x="76" y="163"/>
                  </a:lnTo>
                  <a:lnTo>
                    <a:pt x="71" y="158"/>
                  </a:lnTo>
                  <a:lnTo>
                    <a:pt x="65" y="163"/>
                  </a:lnTo>
                  <a:lnTo>
                    <a:pt x="49" y="158"/>
                  </a:lnTo>
                  <a:lnTo>
                    <a:pt x="38" y="147"/>
                  </a:lnTo>
                  <a:lnTo>
                    <a:pt x="44" y="147"/>
                  </a:lnTo>
                  <a:lnTo>
                    <a:pt x="49" y="125"/>
                  </a:lnTo>
                  <a:lnTo>
                    <a:pt x="44" y="125"/>
                  </a:lnTo>
                  <a:lnTo>
                    <a:pt x="49" y="109"/>
                  </a:lnTo>
                  <a:lnTo>
                    <a:pt x="49" y="114"/>
                  </a:lnTo>
                  <a:lnTo>
                    <a:pt x="44" y="103"/>
                  </a:lnTo>
                  <a:lnTo>
                    <a:pt x="44" y="98"/>
                  </a:lnTo>
                  <a:lnTo>
                    <a:pt x="38" y="92"/>
                  </a:lnTo>
                  <a:lnTo>
                    <a:pt x="33" y="87"/>
                  </a:lnTo>
                  <a:lnTo>
                    <a:pt x="33" y="81"/>
                  </a:lnTo>
                  <a:lnTo>
                    <a:pt x="38" y="76"/>
                  </a:lnTo>
                  <a:lnTo>
                    <a:pt x="27" y="76"/>
                  </a:lnTo>
                  <a:lnTo>
                    <a:pt x="27" y="71"/>
                  </a:lnTo>
                  <a:lnTo>
                    <a:pt x="11" y="65"/>
                  </a:lnTo>
                  <a:lnTo>
                    <a:pt x="5" y="65"/>
                  </a:lnTo>
                  <a:lnTo>
                    <a:pt x="0" y="65"/>
                  </a:lnTo>
                  <a:lnTo>
                    <a:pt x="5" y="60"/>
                  </a:lnTo>
                  <a:lnTo>
                    <a:pt x="0" y="60"/>
                  </a:lnTo>
                  <a:lnTo>
                    <a:pt x="5" y="54"/>
                  </a:lnTo>
                  <a:lnTo>
                    <a:pt x="0" y="60"/>
                  </a:lnTo>
                  <a:lnTo>
                    <a:pt x="0" y="54"/>
                  </a:lnTo>
                  <a:lnTo>
                    <a:pt x="16" y="49"/>
                  </a:lnTo>
                  <a:lnTo>
                    <a:pt x="27" y="54"/>
                  </a:lnTo>
                  <a:lnTo>
                    <a:pt x="38" y="54"/>
                  </a:lnTo>
                  <a:lnTo>
                    <a:pt x="38" y="32"/>
                  </a:lnTo>
                  <a:lnTo>
                    <a:pt x="44" y="32"/>
                  </a:lnTo>
                  <a:lnTo>
                    <a:pt x="49" y="38"/>
                  </a:lnTo>
                  <a:lnTo>
                    <a:pt x="65" y="38"/>
                  </a:lnTo>
                  <a:lnTo>
                    <a:pt x="60" y="32"/>
                  </a:lnTo>
                  <a:lnTo>
                    <a:pt x="65" y="32"/>
                  </a:lnTo>
                  <a:lnTo>
                    <a:pt x="82" y="21"/>
                  </a:lnTo>
                  <a:lnTo>
                    <a:pt x="82" y="5"/>
                  </a:lnTo>
                  <a:lnTo>
                    <a:pt x="92"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29" name="Freeform 551"/>
            <p:cNvSpPr>
              <a:spLocks/>
            </p:cNvSpPr>
            <p:nvPr/>
          </p:nvSpPr>
          <p:spPr bwMode="auto">
            <a:xfrm>
              <a:off x="2791" y="2374"/>
              <a:ext cx="11" cy="33"/>
            </a:xfrm>
            <a:custGeom>
              <a:avLst/>
              <a:gdLst>
                <a:gd name="T0" fmla="*/ 11 w 11"/>
                <a:gd name="T1" fmla="*/ 0 h 33"/>
                <a:gd name="T2" fmla="*/ 11 w 11"/>
                <a:gd name="T3" fmla="*/ 17 h 33"/>
                <a:gd name="T4" fmla="*/ 11 w 11"/>
                <a:gd name="T5" fmla="*/ 33 h 33"/>
                <a:gd name="T6" fmla="*/ 0 w 11"/>
                <a:gd name="T7" fmla="*/ 22 h 33"/>
                <a:gd name="T8" fmla="*/ 0 w 11"/>
                <a:gd name="T9" fmla="*/ 11 h 33"/>
                <a:gd name="T10" fmla="*/ 0 w 11"/>
                <a:gd name="T11" fmla="*/ 11 h 33"/>
                <a:gd name="T12" fmla="*/ 11 w 11"/>
                <a:gd name="T13" fmla="*/ 6 h 33"/>
                <a:gd name="T14" fmla="*/ 11 w 11"/>
                <a:gd name="T15" fmla="*/ 0 h 33"/>
                <a:gd name="T16" fmla="*/ 11 w 11"/>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33"/>
                <a:gd name="T29" fmla="*/ 11 w 11"/>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33">
                  <a:moveTo>
                    <a:pt x="11" y="0"/>
                  </a:moveTo>
                  <a:lnTo>
                    <a:pt x="11" y="17"/>
                  </a:lnTo>
                  <a:lnTo>
                    <a:pt x="11" y="33"/>
                  </a:lnTo>
                  <a:lnTo>
                    <a:pt x="0" y="22"/>
                  </a:lnTo>
                  <a:lnTo>
                    <a:pt x="0" y="11"/>
                  </a:lnTo>
                  <a:lnTo>
                    <a:pt x="11" y="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0" name="Freeform 552"/>
            <p:cNvSpPr>
              <a:spLocks/>
            </p:cNvSpPr>
            <p:nvPr/>
          </p:nvSpPr>
          <p:spPr bwMode="auto">
            <a:xfrm>
              <a:off x="3460" y="2456"/>
              <a:ext cx="185" cy="142"/>
            </a:xfrm>
            <a:custGeom>
              <a:avLst/>
              <a:gdLst>
                <a:gd name="T0" fmla="*/ 93 w 185"/>
                <a:gd name="T1" fmla="*/ 17 h 142"/>
                <a:gd name="T2" fmla="*/ 109 w 185"/>
                <a:gd name="T3" fmla="*/ 17 h 142"/>
                <a:gd name="T4" fmla="*/ 114 w 185"/>
                <a:gd name="T5" fmla="*/ 11 h 142"/>
                <a:gd name="T6" fmla="*/ 125 w 185"/>
                <a:gd name="T7" fmla="*/ 11 h 142"/>
                <a:gd name="T8" fmla="*/ 131 w 185"/>
                <a:gd name="T9" fmla="*/ 0 h 142"/>
                <a:gd name="T10" fmla="*/ 136 w 185"/>
                <a:gd name="T11" fmla="*/ 6 h 142"/>
                <a:gd name="T12" fmla="*/ 142 w 185"/>
                <a:gd name="T13" fmla="*/ 22 h 142"/>
                <a:gd name="T14" fmla="*/ 163 w 185"/>
                <a:gd name="T15" fmla="*/ 17 h 142"/>
                <a:gd name="T16" fmla="*/ 169 w 185"/>
                <a:gd name="T17" fmla="*/ 17 h 142"/>
                <a:gd name="T18" fmla="*/ 185 w 185"/>
                <a:gd name="T19" fmla="*/ 17 h 142"/>
                <a:gd name="T20" fmla="*/ 180 w 185"/>
                <a:gd name="T21" fmla="*/ 22 h 142"/>
                <a:gd name="T22" fmla="*/ 169 w 185"/>
                <a:gd name="T23" fmla="*/ 27 h 142"/>
                <a:gd name="T24" fmla="*/ 136 w 185"/>
                <a:gd name="T25" fmla="*/ 38 h 142"/>
                <a:gd name="T26" fmla="*/ 142 w 185"/>
                <a:gd name="T27" fmla="*/ 49 h 142"/>
                <a:gd name="T28" fmla="*/ 136 w 185"/>
                <a:gd name="T29" fmla="*/ 60 h 142"/>
                <a:gd name="T30" fmla="*/ 136 w 185"/>
                <a:gd name="T31" fmla="*/ 71 h 142"/>
                <a:gd name="T32" fmla="*/ 125 w 185"/>
                <a:gd name="T33" fmla="*/ 82 h 142"/>
                <a:gd name="T34" fmla="*/ 109 w 185"/>
                <a:gd name="T35" fmla="*/ 93 h 142"/>
                <a:gd name="T36" fmla="*/ 109 w 185"/>
                <a:gd name="T37" fmla="*/ 109 h 142"/>
                <a:gd name="T38" fmla="*/ 98 w 185"/>
                <a:gd name="T39" fmla="*/ 104 h 142"/>
                <a:gd name="T40" fmla="*/ 93 w 185"/>
                <a:gd name="T41" fmla="*/ 109 h 142"/>
                <a:gd name="T42" fmla="*/ 76 w 185"/>
                <a:gd name="T43" fmla="*/ 120 h 142"/>
                <a:gd name="T44" fmla="*/ 71 w 185"/>
                <a:gd name="T45" fmla="*/ 131 h 142"/>
                <a:gd name="T46" fmla="*/ 49 w 185"/>
                <a:gd name="T47" fmla="*/ 137 h 142"/>
                <a:gd name="T48" fmla="*/ 38 w 185"/>
                <a:gd name="T49" fmla="*/ 137 h 142"/>
                <a:gd name="T50" fmla="*/ 6 w 185"/>
                <a:gd name="T51" fmla="*/ 131 h 142"/>
                <a:gd name="T52" fmla="*/ 17 w 185"/>
                <a:gd name="T53" fmla="*/ 115 h 142"/>
                <a:gd name="T54" fmla="*/ 0 w 185"/>
                <a:gd name="T55" fmla="*/ 104 h 142"/>
                <a:gd name="T56" fmla="*/ 0 w 185"/>
                <a:gd name="T57" fmla="*/ 77 h 142"/>
                <a:gd name="T58" fmla="*/ 0 w 185"/>
                <a:gd name="T59" fmla="*/ 71 h 142"/>
                <a:gd name="T60" fmla="*/ 6 w 185"/>
                <a:gd name="T61" fmla="*/ 66 h 142"/>
                <a:gd name="T62" fmla="*/ 11 w 185"/>
                <a:gd name="T63" fmla="*/ 44 h 142"/>
                <a:gd name="T64" fmla="*/ 11 w 185"/>
                <a:gd name="T65" fmla="*/ 49 h 142"/>
                <a:gd name="T66" fmla="*/ 33 w 185"/>
                <a:gd name="T67" fmla="*/ 49 h 142"/>
                <a:gd name="T68" fmla="*/ 33 w 185"/>
                <a:gd name="T69" fmla="*/ 44 h 142"/>
                <a:gd name="T70" fmla="*/ 55 w 185"/>
                <a:gd name="T71" fmla="*/ 17 h 142"/>
                <a:gd name="T72" fmla="*/ 65 w 185"/>
                <a:gd name="T73" fmla="*/ 17 h 142"/>
                <a:gd name="T74" fmla="*/ 76 w 185"/>
                <a:gd name="T75" fmla="*/ 17 h 14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5"/>
                <a:gd name="T115" fmla="*/ 0 h 142"/>
                <a:gd name="T116" fmla="*/ 185 w 185"/>
                <a:gd name="T117" fmla="*/ 142 h 14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5" h="142">
                  <a:moveTo>
                    <a:pt x="76" y="17"/>
                  </a:moveTo>
                  <a:lnTo>
                    <a:pt x="93" y="17"/>
                  </a:lnTo>
                  <a:lnTo>
                    <a:pt x="98" y="22"/>
                  </a:lnTo>
                  <a:lnTo>
                    <a:pt x="109" y="17"/>
                  </a:lnTo>
                  <a:lnTo>
                    <a:pt x="114" y="22"/>
                  </a:lnTo>
                  <a:lnTo>
                    <a:pt x="114" y="11"/>
                  </a:lnTo>
                  <a:lnTo>
                    <a:pt x="125" y="17"/>
                  </a:lnTo>
                  <a:lnTo>
                    <a:pt x="125" y="11"/>
                  </a:lnTo>
                  <a:lnTo>
                    <a:pt x="131" y="0"/>
                  </a:lnTo>
                  <a:lnTo>
                    <a:pt x="136" y="0"/>
                  </a:lnTo>
                  <a:lnTo>
                    <a:pt x="136" y="6"/>
                  </a:lnTo>
                  <a:lnTo>
                    <a:pt x="142" y="11"/>
                  </a:lnTo>
                  <a:lnTo>
                    <a:pt x="142" y="22"/>
                  </a:lnTo>
                  <a:lnTo>
                    <a:pt x="142" y="27"/>
                  </a:lnTo>
                  <a:lnTo>
                    <a:pt x="163" y="17"/>
                  </a:lnTo>
                  <a:lnTo>
                    <a:pt x="169" y="17"/>
                  </a:lnTo>
                  <a:lnTo>
                    <a:pt x="180" y="17"/>
                  </a:lnTo>
                  <a:lnTo>
                    <a:pt x="185" y="17"/>
                  </a:lnTo>
                  <a:lnTo>
                    <a:pt x="180" y="22"/>
                  </a:lnTo>
                  <a:lnTo>
                    <a:pt x="169" y="27"/>
                  </a:lnTo>
                  <a:lnTo>
                    <a:pt x="158" y="27"/>
                  </a:lnTo>
                  <a:lnTo>
                    <a:pt x="136" y="38"/>
                  </a:lnTo>
                  <a:lnTo>
                    <a:pt x="142" y="49"/>
                  </a:lnTo>
                  <a:lnTo>
                    <a:pt x="142" y="55"/>
                  </a:lnTo>
                  <a:lnTo>
                    <a:pt x="136" y="60"/>
                  </a:lnTo>
                  <a:lnTo>
                    <a:pt x="136" y="66"/>
                  </a:lnTo>
                  <a:lnTo>
                    <a:pt x="136" y="71"/>
                  </a:lnTo>
                  <a:lnTo>
                    <a:pt x="120" y="71"/>
                  </a:lnTo>
                  <a:lnTo>
                    <a:pt x="125" y="82"/>
                  </a:lnTo>
                  <a:lnTo>
                    <a:pt x="114" y="82"/>
                  </a:lnTo>
                  <a:lnTo>
                    <a:pt x="109" y="93"/>
                  </a:lnTo>
                  <a:lnTo>
                    <a:pt x="114" y="104"/>
                  </a:lnTo>
                  <a:lnTo>
                    <a:pt x="109" y="109"/>
                  </a:lnTo>
                  <a:lnTo>
                    <a:pt x="104" y="104"/>
                  </a:lnTo>
                  <a:lnTo>
                    <a:pt x="98" y="104"/>
                  </a:lnTo>
                  <a:lnTo>
                    <a:pt x="93" y="109"/>
                  </a:lnTo>
                  <a:lnTo>
                    <a:pt x="82" y="115"/>
                  </a:lnTo>
                  <a:lnTo>
                    <a:pt x="76" y="120"/>
                  </a:lnTo>
                  <a:lnTo>
                    <a:pt x="76" y="131"/>
                  </a:lnTo>
                  <a:lnTo>
                    <a:pt x="71" y="131"/>
                  </a:lnTo>
                  <a:lnTo>
                    <a:pt x="60" y="137"/>
                  </a:lnTo>
                  <a:lnTo>
                    <a:pt x="49" y="137"/>
                  </a:lnTo>
                  <a:lnTo>
                    <a:pt x="44" y="142"/>
                  </a:lnTo>
                  <a:lnTo>
                    <a:pt x="38" y="137"/>
                  </a:lnTo>
                  <a:lnTo>
                    <a:pt x="22" y="142"/>
                  </a:lnTo>
                  <a:lnTo>
                    <a:pt x="6" y="131"/>
                  </a:lnTo>
                  <a:lnTo>
                    <a:pt x="11" y="120"/>
                  </a:lnTo>
                  <a:lnTo>
                    <a:pt x="17" y="115"/>
                  </a:lnTo>
                  <a:lnTo>
                    <a:pt x="11" y="109"/>
                  </a:lnTo>
                  <a:lnTo>
                    <a:pt x="0" y="104"/>
                  </a:lnTo>
                  <a:lnTo>
                    <a:pt x="0" y="88"/>
                  </a:lnTo>
                  <a:lnTo>
                    <a:pt x="0" y="77"/>
                  </a:lnTo>
                  <a:lnTo>
                    <a:pt x="0" y="71"/>
                  </a:lnTo>
                  <a:lnTo>
                    <a:pt x="0" y="66"/>
                  </a:lnTo>
                  <a:lnTo>
                    <a:pt x="6" y="66"/>
                  </a:lnTo>
                  <a:lnTo>
                    <a:pt x="6" y="55"/>
                  </a:lnTo>
                  <a:lnTo>
                    <a:pt x="11" y="44"/>
                  </a:lnTo>
                  <a:lnTo>
                    <a:pt x="11" y="49"/>
                  </a:lnTo>
                  <a:lnTo>
                    <a:pt x="27" y="49"/>
                  </a:lnTo>
                  <a:lnTo>
                    <a:pt x="33" y="49"/>
                  </a:lnTo>
                  <a:lnTo>
                    <a:pt x="33" y="44"/>
                  </a:lnTo>
                  <a:lnTo>
                    <a:pt x="49" y="33"/>
                  </a:lnTo>
                  <a:lnTo>
                    <a:pt x="55" y="17"/>
                  </a:lnTo>
                  <a:lnTo>
                    <a:pt x="60" y="17"/>
                  </a:lnTo>
                  <a:lnTo>
                    <a:pt x="65" y="17"/>
                  </a:lnTo>
                  <a:lnTo>
                    <a:pt x="76" y="17"/>
                  </a:lnTo>
                  <a:close/>
                </a:path>
              </a:pathLst>
            </a:custGeom>
            <a:solidFill>
              <a:schemeClr val="accent2"/>
            </a:solidFill>
            <a:ln w="12700" cmpd="sng">
              <a:solidFill>
                <a:schemeClr val="bg1"/>
              </a:solidFill>
              <a:round/>
              <a:headEnd/>
              <a:tailEnd/>
            </a:ln>
          </p:spPr>
          <p:txBody>
            <a:bodyPr/>
            <a:lstStyle/>
            <a:p>
              <a:endParaRPr lang="de-DE"/>
            </a:p>
          </p:txBody>
        </p:sp>
        <p:sp>
          <p:nvSpPr>
            <p:cNvPr id="356531" name="Freeform 553"/>
            <p:cNvSpPr>
              <a:spLocks/>
            </p:cNvSpPr>
            <p:nvPr/>
          </p:nvSpPr>
          <p:spPr bwMode="auto">
            <a:xfrm>
              <a:off x="3460" y="2456"/>
              <a:ext cx="185" cy="142"/>
            </a:xfrm>
            <a:custGeom>
              <a:avLst/>
              <a:gdLst>
                <a:gd name="T0" fmla="*/ 93 w 185"/>
                <a:gd name="T1" fmla="*/ 17 h 142"/>
                <a:gd name="T2" fmla="*/ 109 w 185"/>
                <a:gd name="T3" fmla="*/ 17 h 142"/>
                <a:gd name="T4" fmla="*/ 114 w 185"/>
                <a:gd name="T5" fmla="*/ 11 h 142"/>
                <a:gd name="T6" fmla="*/ 125 w 185"/>
                <a:gd name="T7" fmla="*/ 11 h 142"/>
                <a:gd name="T8" fmla="*/ 131 w 185"/>
                <a:gd name="T9" fmla="*/ 0 h 142"/>
                <a:gd name="T10" fmla="*/ 136 w 185"/>
                <a:gd name="T11" fmla="*/ 6 h 142"/>
                <a:gd name="T12" fmla="*/ 142 w 185"/>
                <a:gd name="T13" fmla="*/ 22 h 142"/>
                <a:gd name="T14" fmla="*/ 163 w 185"/>
                <a:gd name="T15" fmla="*/ 17 h 142"/>
                <a:gd name="T16" fmla="*/ 169 w 185"/>
                <a:gd name="T17" fmla="*/ 17 h 142"/>
                <a:gd name="T18" fmla="*/ 185 w 185"/>
                <a:gd name="T19" fmla="*/ 17 h 142"/>
                <a:gd name="T20" fmla="*/ 180 w 185"/>
                <a:gd name="T21" fmla="*/ 22 h 142"/>
                <a:gd name="T22" fmla="*/ 169 w 185"/>
                <a:gd name="T23" fmla="*/ 27 h 142"/>
                <a:gd name="T24" fmla="*/ 136 w 185"/>
                <a:gd name="T25" fmla="*/ 38 h 142"/>
                <a:gd name="T26" fmla="*/ 142 w 185"/>
                <a:gd name="T27" fmla="*/ 49 h 142"/>
                <a:gd name="T28" fmla="*/ 136 w 185"/>
                <a:gd name="T29" fmla="*/ 60 h 142"/>
                <a:gd name="T30" fmla="*/ 136 w 185"/>
                <a:gd name="T31" fmla="*/ 71 h 142"/>
                <a:gd name="T32" fmla="*/ 125 w 185"/>
                <a:gd name="T33" fmla="*/ 82 h 142"/>
                <a:gd name="T34" fmla="*/ 109 w 185"/>
                <a:gd name="T35" fmla="*/ 93 h 142"/>
                <a:gd name="T36" fmla="*/ 109 w 185"/>
                <a:gd name="T37" fmla="*/ 109 h 142"/>
                <a:gd name="T38" fmla="*/ 98 w 185"/>
                <a:gd name="T39" fmla="*/ 104 h 142"/>
                <a:gd name="T40" fmla="*/ 93 w 185"/>
                <a:gd name="T41" fmla="*/ 109 h 142"/>
                <a:gd name="T42" fmla="*/ 76 w 185"/>
                <a:gd name="T43" fmla="*/ 120 h 142"/>
                <a:gd name="T44" fmla="*/ 71 w 185"/>
                <a:gd name="T45" fmla="*/ 131 h 142"/>
                <a:gd name="T46" fmla="*/ 49 w 185"/>
                <a:gd name="T47" fmla="*/ 137 h 142"/>
                <a:gd name="T48" fmla="*/ 38 w 185"/>
                <a:gd name="T49" fmla="*/ 137 h 142"/>
                <a:gd name="T50" fmla="*/ 6 w 185"/>
                <a:gd name="T51" fmla="*/ 131 h 142"/>
                <a:gd name="T52" fmla="*/ 17 w 185"/>
                <a:gd name="T53" fmla="*/ 115 h 142"/>
                <a:gd name="T54" fmla="*/ 0 w 185"/>
                <a:gd name="T55" fmla="*/ 104 h 142"/>
                <a:gd name="T56" fmla="*/ 0 w 185"/>
                <a:gd name="T57" fmla="*/ 77 h 142"/>
                <a:gd name="T58" fmla="*/ 0 w 185"/>
                <a:gd name="T59" fmla="*/ 71 h 142"/>
                <a:gd name="T60" fmla="*/ 6 w 185"/>
                <a:gd name="T61" fmla="*/ 66 h 142"/>
                <a:gd name="T62" fmla="*/ 11 w 185"/>
                <a:gd name="T63" fmla="*/ 44 h 142"/>
                <a:gd name="T64" fmla="*/ 11 w 185"/>
                <a:gd name="T65" fmla="*/ 49 h 142"/>
                <a:gd name="T66" fmla="*/ 33 w 185"/>
                <a:gd name="T67" fmla="*/ 49 h 142"/>
                <a:gd name="T68" fmla="*/ 33 w 185"/>
                <a:gd name="T69" fmla="*/ 44 h 142"/>
                <a:gd name="T70" fmla="*/ 55 w 185"/>
                <a:gd name="T71" fmla="*/ 17 h 142"/>
                <a:gd name="T72" fmla="*/ 65 w 185"/>
                <a:gd name="T73" fmla="*/ 1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5"/>
                <a:gd name="T112" fmla="*/ 0 h 142"/>
                <a:gd name="T113" fmla="*/ 185 w 185"/>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5" h="142">
                  <a:moveTo>
                    <a:pt x="76" y="17"/>
                  </a:moveTo>
                  <a:lnTo>
                    <a:pt x="93" y="17"/>
                  </a:lnTo>
                  <a:lnTo>
                    <a:pt x="98" y="22"/>
                  </a:lnTo>
                  <a:lnTo>
                    <a:pt x="109" y="17"/>
                  </a:lnTo>
                  <a:lnTo>
                    <a:pt x="114" y="22"/>
                  </a:lnTo>
                  <a:lnTo>
                    <a:pt x="114" y="11"/>
                  </a:lnTo>
                  <a:lnTo>
                    <a:pt x="125" y="17"/>
                  </a:lnTo>
                  <a:lnTo>
                    <a:pt x="125" y="11"/>
                  </a:lnTo>
                  <a:lnTo>
                    <a:pt x="131" y="0"/>
                  </a:lnTo>
                  <a:lnTo>
                    <a:pt x="136" y="0"/>
                  </a:lnTo>
                  <a:lnTo>
                    <a:pt x="136" y="6"/>
                  </a:lnTo>
                  <a:lnTo>
                    <a:pt x="142" y="11"/>
                  </a:lnTo>
                  <a:lnTo>
                    <a:pt x="142" y="22"/>
                  </a:lnTo>
                  <a:lnTo>
                    <a:pt x="142" y="27"/>
                  </a:lnTo>
                  <a:lnTo>
                    <a:pt x="163" y="17"/>
                  </a:lnTo>
                  <a:lnTo>
                    <a:pt x="169" y="17"/>
                  </a:lnTo>
                  <a:lnTo>
                    <a:pt x="180" y="17"/>
                  </a:lnTo>
                  <a:lnTo>
                    <a:pt x="185" y="17"/>
                  </a:lnTo>
                  <a:lnTo>
                    <a:pt x="180" y="22"/>
                  </a:lnTo>
                  <a:lnTo>
                    <a:pt x="169" y="27"/>
                  </a:lnTo>
                  <a:lnTo>
                    <a:pt x="158" y="27"/>
                  </a:lnTo>
                  <a:lnTo>
                    <a:pt x="136" y="38"/>
                  </a:lnTo>
                  <a:lnTo>
                    <a:pt x="142" y="49"/>
                  </a:lnTo>
                  <a:lnTo>
                    <a:pt x="142" y="55"/>
                  </a:lnTo>
                  <a:lnTo>
                    <a:pt x="136" y="60"/>
                  </a:lnTo>
                  <a:lnTo>
                    <a:pt x="136" y="66"/>
                  </a:lnTo>
                  <a:lnTo>
                    <a:pt x="136" y="71"/>
                  </a:lnTo>
                  <a:lnTo>
                    <a:pt x="120" y="71"/>
                  </a:lnTo>
                  <a:lnTo>
                    <a:pt x="125" y="82"/>
                  </a:lnTo>
                  <a:lnTo>
                    <a:pt x="114" y="82"/>
                  </a:lnTo>
                  <a:lnTo>
                    <a:pt x="109" y="93"/>
                  </a:lnTo>
                  <a:lnTo>
                    <a:pt x="114" y="104"/>
                  </a:lnTo>
                  <a:lnTo>
                    <a:pt x="109" y="109"/>
                  </a:lnTo>
                  <a:lnTo>
                    <a:pt x="104" y="104"/>
                  </a:lnTo>
                  <a:lnTo>
                    <a:pt x="98" y="104"/>
                  </a:lnTo>
                  <a:lnTo>
                    <a:pt x="93" y="109"/>
                  </a:lnTo>
                  <a:lnTo>
                    <a:pt x="82" y="115"/>
                  </a:lnTo>
                  <a:lnTo>
                    <a:pt x="76" y="120"/>
                  </a:lnTo>
                  <a:lnTo>
                    <a:pt x="76" y="131"/>
                  </a:lnTo>
                  <a:lnTo>
                    <a:pt x="71" y="131"/>
                  </a:lnTo>
                  <a:lnTo>
                    <a:pt x="60" y="137"/>
                  </a:lnTo>
                  <a:lnTo>
                    <a:pt x="49" y="137"/>
                  </a:lnTo>
                  <a:lnTo>
                    <a:pt x="44" y="142"/>
                  </a:lnTo>
                  <a:lnTo>
                    <a:pt x="38" y="137"/>
                  </a:lnTo>
                  <a:lnTo>
                    <a:pt x="22" y="142"/>
                  </a:lnTo>
                  <a:lnTo>
                    <a:pt x="6" y="131"/>
                  </a:lnTo>
                  <a:lnTo>
                    <a:pt x="11" y="120"/>
                  </a:lnTo>
                  <a:lnTo>
                    <a:pt x="17" y="115"/>
                  </a:lnTo>
                  <a:lnTo>
                    <a:pt x="11" y="109"/>
                  </a:lnTo>
                  <a:lnTo>
                    <a:pt x="0" y="104"/>
                  </a:lnTo>
                  <a:lnTo>
                    <a:pt x="0" y="88"/>
                  </a:lnTo>
                  <a:lnTo>
                    <a:pt x="0" y="77"/>
                  </a:lnTo>
                  <a:lnTo>
                    <a:pt x="0" y="71"/>
                  </a:lnTo>
                  <a:lnTo>
                    <a:pt x="0" y="66"/>
                  </a:lnTo>
                  <a:lnTo>
                    <a:pt x="6" y="66"/>
                  </a:lnTo>
                  <a:lnTo>
                    <a:pt x="6" y="55"/>
                  </a:lnTo>
                  <a:lnTo>
                    <a:pt x="11" y="44"/>
                  </a:lnTo>
                  <a:lnTo>
                    <a:pt x="11" y="49"/>
                  </a:lnTo>
                  <a:lnTo>
                    <a:pt x="27" y="49"/>
                  </a:lnTo>
                  <a:lnTo>
                    <a:pt x="33" y="49"/>
                  </a:lnTo>
                  <a:lnTo>
                    <a:pt x="33" y="44"/>
                  </a:lnTo>
                  <a:lnTo>
                    <a:pt x="49" y="33"/>
                  </a:lnTo>
                  <a:lnTo>
                    <a:pt x="55" y="17"/>
                  </a:lnTo>
                  <a:lnTo>
                    <a:pt x="60" y="17"/>
                  </a:lnTo>
                  <a:lnTo>
                    <a:pt x="65" y="17"/>
                  </a:lnTo>
                  <a:lnTo>
                    <a:pt x="76" y="17"/>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2" name="Freeform 554"/>
            <p:cNvSpPr>
              <a:spLocks/>
            </p:cNvSpPr>
            <p:nvPr/>
          </p:nvSpPr>
          <p:spPr bwMode="auto">
            <a:xfrm>
              <a:off x="3330" y="2642"/>
              <a:ext cx="0" cy="5"/>
            </a:xfrm>
            <a:custGeom>
              <a:avLst/>
              <a:gdLst>
                <a:gd name="T0" fmla="*/ 0 h 5"/>
                <a:gd name="T1" fmla="*/ 0 h 5"/>
                <a:gd name="T2" fmla="*/ 5 h 5"/>
                <a:gd name="T3" fmla="*/ 0 h 5"/>
                <a:gd name="T4" fmla="*/ 0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0"/>
                  </a:moveTo>
                  <a:lnTo>
                    <a:pt x="0"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3" name="Freeform 555"/>
            <p:cNvSpPr>
              <a:spLocks/>
            </p:cNvSpPr>
            <p:nvPr/>
          </p:nvSpPr>
          <p:spPr bwMode="auto">
            <a:xfrm>
              <a:off x="3177" y="2473"/>
              <a:ext cx="131" cy="125"/>
            </a:xfrm>
            <a:custGeom>
              <a:avLst/>
              <a:gdLst>
                <a:gd name="T0" fmla="*/ 6 w 131"/>
                <a:gd name="T1" fmla="*/ 81 h 125"/>
                <a:gd name="T2" fmla="*/ 27 w 131"/>
                <a:gd name="T3" fmla="*/ 87 h 125"/>
                <a:gd name="T4" fmla="*/ 38 w 131"/>
                <a:gd name="T5" fmla="*/ 98 h 125"/>
                <a:gd name="T6" fmla="*/ 55 w 131"/>
                <a:gd name="T7" fmla="*/ 103 h 125"/>
                <a:gd name="T8" fmla="*/ 55 w 131"/>
                <a:gd name="T9" fmla="*/ 109 h 125"/>
                <a:gd name="T10" fmla="*/ 65 w 131"/>
                <a:gd name="T11" fmla="*/ 109 h 125"/>
                <a:gd name="T12" fmla="*/ 65 w 131"/>
                <a:gd name="T13" fmla="*/ 120 h 125"/>
                <a:gd name="T14" fmla="*/ 82 w 131"/>
                <a:gd name="T15" fmla="*/ 125 h 125"/>
                <a:gd name="T16" fmla="*/ 87 w 131"/>
                <a:gd name="T17" fmla="*/ 120 h 125"/>
                <a:gd name="T18" fmla="*/ 104 w 131"/>
                <a:gd name="T19" fmla="*/ 125 h 125"/>
                <a:gd name="T20" fmla="*/ 114 w 131"/>
                <a:gd name="T21" fmla="*/ 114 h 125"/>
                <a:gd name="T22" fmla="*/ 120 w 131"/>
                <a:gd name="T23" fmla="*/ 114 h 125"/>
                <a:gd name="T24" fmla="*/ 125 w 131"/>
                <a:gd name="T25" fmla="*/ 114 h 125"/>
                <a:gd name="T26" fmla="*/ 131 w 131"/>
                <a:gd name="T27" fmla="*/ 114 h 125"/>
                <a:gd name="T28" fmla="*/ 120 w 131"/>
                <a:gd name="T29" fmla="*/ 109 h 125"/>
                <a:gd name="T30" fmla="*/ 120 w 131"/>
                <a:gd name="T31" fmla="*/ 98 h 125"/>
                <a:gd name="T32" fmla="*/ 114 w 131"/>
                <a:gd name="T33" fmla="*/ 98 h 125"/>
                <a:gd name="T34" fmla="*/ 114 w 131"/>
                <a:gd name="T35" fmla="*/ 87 h 125"/>
                <a:gd name="T36" fmla="*/ 114 w 131"/>
                <a:gd name="T37" fmla="*/ 76 h 125"/>
                <a:gd name="T38" fmla="*/ 98 w 131"/>
                <a:gd name="T39" fmla="*/ 65 h 125"/>
                <a:gd name="T40" fmla="*/ 87 w 131"/>
                <a:gd name="T41" fmla="*/ 54 h 125"/>
                <a:gd name="T42" fmla="*/ 87 w 131"/>
                <a:gd name="T43" fmla="*/ 43 h 125"/>
                <a:gd name="T44" fmla="*/ 98 w 131"/>
                <a:gd name="T45" fmla="*/ 32 h 125"/>
                <a:gd name="T46" fmla="*/ 98 w 131"/>
                <a:gd name="T47" fmla="*/ 27 h 125"/>
                <a:gd name="T48" fmla="*/ 98 w 131"/>
                <a:gd name="T49" fmla="*/ 27 h 125"/>
                <a:gd name="T50" fmla="*/ 87 w 131"/>
                <a:gd name="T51" fmla="*/ 21 h 125"/>
                <a:gd name="T52" fmla="*/ 82 w 131"/>
                <a:gd name="T53" fmla="*/ 10 h 125"/>
                <a:gd name="T54" fmla="*/ 82 w 131"/>
                <a:gd name="T55" fmla="*/ 0 h 125"/>
                <a:gd name="T56" fmla="*/ 76 w 131"/>
                <a:gd name="T57" fmla="*/ 0 h 125"/>
                <a:gd name="T58" fmla="*/ 71 w 131"/>
                <a:gd name="T59" fmla="*/ 0 h 125"/>
                <a:gd name="T60" fmla="*/ 55 w 131"/>
                <a:gd name="T61" fmla="*/ 0 h 125"/>
                <a:gd name="T62" fmla="*/ 49 w 131"/>
                <a:gd name="T63" fmla="*/ 5 h 125"/>
                <a:gd name="T64" fmla="*/ 44 w 131"/>
                <a:gd name="T65" fmla="*/ 10 h 125"/>
                <a:gd name="T66" fmla="*/ 33 w 131"/>
                <a:gd name="T67" fmla="*/ 16 h 125"/>
                <a:gd name="T68" fmla="*/ 33 w 131"/>
                <a:gd name="T69" fmla="*/ 38 h 125"/>
                <a:gd name="T70" fmla="*/ 33 w 131"/>
                <a:gd name="T71" fmla="*/ 43 h 125"/>
                <a:gd name="T72" fmla="*/ 0 w 131"/>
                <a:gd name="T73" fmla="*/ 65 h 125"/>
                <a:gd name="T74" fmla="*/ 6 w 131"/>
                <a:gd name="T75" fmla="*/ 81 h 125"/>
                <a:gd name="T76" fmla="*/ 6 w 131"/>
                <a:gd name="T77" fmla="*/ 81 h 12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1"/>
                <a:gd name="T118" fmla="*/ 0 h 125"/>
                <a:gd name="T119" fmla="*/ 131 w 131"/>
                <a:gd name="T120" fmla="*/ 125 h 12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1" h="125">
                  <a:moveTo>
                    <a:pt x="6" y="81"/>
                  </a:moveTo>
                  <a:lnTo>
                    <a:pt x="27" y="87"/>
                  </a:lnTo>
                  <a:lnTo>
                    <a:pt x="38" y="98"/>
                  </a:lnTo>
                  <a:lnTo>
                    <a:pt x="55" y="103"/>
                  </a:lnTo>
                  <a:lnTo>
                    <a:pt x="55" y="109"/>
                  </a:lnTo>
                  <a:lnTo>
                    <a:pt x="65" y="109"/>
                  </a:lnTo>
                  <a:lnTo>
                    <a:pt x="65" y="120"/>
                  </a:lnTo>
                  <a:lnTo>
                    <a:pt x="82" y="125"/>
                  </a:lnTo>
                  <a:lnTo>
                    <a:pt x="87" y="120"/>
                  </a:lnTo>
                  <a:lnTo>
                    <a:pt x="104" y="125"/>
                  </a:lnTo>
                  <a:lnTo>
                    <a:pt x="114" y="114"/>
                  </a:lnTo>
                  <a:lnTo>
                    <a:pt x="120" y="114"/>
                  </a:lnTo>
                  <a:lnTo>
                    <a:pt x="125" y="114"/>
                  </a:lnTo>
                  <a:lnTo>
                    <a:pt x="131" y="114"/>
                  </a:lnTo>
                  <a:lnTo>
                    <a:pt x="120" y="109"/>
                  </a:lnTo>
                  <a:lnTo>
                    <a:pt x="120" y="98"/>
                  </a:lnTo>
                  <a:lnTo>
                    <a:pt x="114" y="98"/>
                  </a:lnTo>
                  <a:lnTo>
                    <a:pt x="114" y="87"/>
                  </a:lnTo>
                  <a:lnTo>
                    <a:pt x="114" y="76"/>
                  </a:lnTo>
                  <a:lnTo>
                    <a:pt x="98" y="65"/>
                  </a:lnTo>
                  <a:lnTo>
                    <a:pt x="87" y="54"/>
                  </a:lnTo>
                  <a:lnTo>
                    <a:pt x="87" y="43"/>
                  </a:lnTo>
                  <a:lnTo>
                    <a:pt x="98" y="32"/>
                  </a:lnTo>
                  <a:lnTo>
                    <a:pt x="98" y="27"/>
                  </a:lnTo>
                  <a:lnTo>
                    <a:pt x="87" y="21"/>
                  </a:lnTo>
                  <a:lnTo>
                    <a:pt x="82" y="10"/>
                  </a:lnTo>
                  <a:lnTo>
                    <a:pt x="82" y="0"/>
                  </a:lnTo>
                  <a:lnTo>
                    <a:pt x="76" y="0"/>
                  </a:lnTo>
                  <a:lnTo>
                    <a:pt x="71" y="0"/>
                  </a:lnTo>
                  <a:lnTo>
                    <a:pt x="55" y="0"/>
                  </a:lnTo>
                  <a:lnTo>
                    <a:pt x="49" y="5"/>
                  </a:lnTo>
                  <a:lnTo>
                    <a:pt x="44" y="10"/>
                  </a:lnTo>
                  <a:lnTo>
                    <a:pt x="33" y="16"/>
                  </a:lnTo>
                  <a:lnTo>
                    <a:pt x="33" y="38"/>
                  </a:lnTo>
                  <a:lnTo>
                    <a:pt x="33" y="43"/>
                  </a:lnTo>
                  <a:lnTo>
                    <a:pt x="0" y="65"/>
                  </a:lnTo>
                  <a:lnTo>
                    <a:pt x="6" y="8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4" name="Freeform 556"/>
            <p:cNvSpPr>
              <a:spLocks/>
            </p:cNvSpPr>
            <p:nvPr/>
          </p:nvSpPr>
          <p:spPr bwMode="auto">
            <a:xfrm>
              <a:off x="3259" y="2593"/>
              <a:ext cx="22" cy="11"/>
            </a:xfrm>
            <a:custGeom>
              <a:avLst/>
              <a:gdLst>
                <a:gd name="T0" fmla="*/ 0 w 22"/>
                <a:gd name="T1" fmla="*/ 5 h 11"/>
                <a:gd name="T2" fmla="*/ 5 w 22"/>
                <a:gd name="T3" fmla="*/ 11 h 11"/>
                <a:gd name="T4" fmla="*/ 22 w 22"/>
                <a:gd name="T5" fmla="*/ 5 h 11"/>
                <a:gd name="T6" fmla="*/ 5 w 22"/>
                <a:gd name="T7" fmla="*/ 0 h 11"/>
                <a:gd name="T8" fmla="*/ 0 w 22"/>
                <a:gd name="T9" fmla="*/ 5 h 11"/>
                <a:gd name="T10" fmla="*/ 0 w 22"/>
                <a:gd name="T11" fmla="*/ 5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0" y="5"/>
                  </a:moveTo>
                  <a:lnTo>
                    <a:pt x="5" y="11"/>
                  </a:lnTo>
                  <a:lnTo>
                    <a:pt x="22" y="5"/>
                  </a:lnTo>
                  <a:lnTo>
                    <a:pt x="5"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5" name="Freeform 557"/>
            <p:cNvSpPr>
              <a:spLocks/>
            </p:cNvSpPr>
            <p:nvPr/>
          </p:nvSpPr>
          <p:spPr bwMode="auto">
            <a:xfrm>
              <a:off x="3117" y="2538"/>
              <a:ext cx="22" cy="60"/>
            </a:xfrm>
            <a:custGeom>
              <a:avLst/>
              <a:gdLst>
                <a:gd name="T0" fmla="*/ 11 w 22"/>
                <a:gd name="T1" fmla="*/ 60 h 60"/>
                <a:gd name="T2" fmla="*/ 17 w 22"/>
                <a:gd name="T3" fmla="*/ 27 h 60"/>
                <a:gd name="T4" fmla="*/ 11 w 22"/>
                <a:gd name="T5" fmla="*/ 27 h 60"/>
                <a:gd name="T6" fmla="*/ 17 w 22"/>
                <a:gd name="T7" fmla="*/ 22 h 60"/>
                <a:gd name="T8" fmla="*/ 11 w 22"/>
                <a:gd name="T9" fmla="*/ 22 h 60"/>
                <a:gd name="T10" fmla="*/ 11 w 22"/>
                <a:gd name="T11" fmla="*/ 16 h 60"/>
                <a:gd name="T12" fmla="*/ 17 w 22"/>
                <a:gd name="T13" fmla="*/ 11 h 60"/>
                <a:gd name="T14" fmla="*/ 22 w 22"/>
                <a:gd name="T15" fmla="*/ 11 h 60"/>
                <a:gd name="T16" fmla="*/ 22 w 22"/>
                <a:gd name="T17" fmla="*/ 11 h 60"/>
                <a:gd name="T18" fmla="*/ 22 w 22"/>
                <a:gd name="T19" fmla="*/ 0 h 60"/>
                <a:gd name="T20" fmla="*/ 17 w 22"/>
                <a:gd name="T21" fmla="*/ 0 h 60"/>
                <a:gd name="T22" fmla="*/ 11 w 22"/>
                <a:gd name="T23" fmla="*/ 0 h 60"/>
                <a:gd name="T24" fmla="*/ 6 w 22"/>
                <a:gd name="T25" fmla="*/ 22 h 60"/>
                <a:gd name="T26" fmla="*/ 0 w 22"/>
                <a:gd name="T27" fmla="*/ 33 h 60"/>
                <a:gd name="T28" fmla="*/ 11 w 22"/>
                <a:gd name="T29" fmla="*/ 60 h 60"/>
                <a:gd name="T30" fmla="*/ 11 w 22"/>
                <a:gd name="T31" fmla="*/ 60 h 60"/>
                <a:gd name="T32" fmla="*/ 11 w 22"/>
                <a:gd name="T33" fmla="*/ 60 h 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
                <a:gd name="T52" fmla="*/ 0 h 60"/>
                <a:gd name="T53" fmla="*/ 22 w 22"/>
                <a:gd name="T54" fmla="*/ 60 h 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 h="60">
                  <a:moveTo>
                    <a:pt x="11" y="60"/>
                  </a:moveTo>
                  <a:lnTo>
                    <a:pt x="17" y="27"/>
                  </a:lnTo>
                  <a:lnTo>
                    <a:pt x="11" y="27"/>
                  </a:lnTo>
                  <a:lnTo>
                    <a:pt x="17" y="22"/>
                  </a:lnTo>
                  <a:lnTo>
                    <a:pt x="11" y="22"/>
                  </a:lnTo>
                  <a:lnTo>
                    <a:pt x="11" y="16"/>
                  </a:lnTo>
                  <a:lnTo>
                    <a:pt x="17" y="11"/>
                  </a:lnTo>
                  <a:lnTo>
                    <a:pt x="22" y="11"/>
                  </a:lnTo>
                  <a:lnTo>
                    <a:pt x="22" y="0"/>
                  </a:lnTo>
                  <a:lnTo>
                    <a:pt x="17" y="0"/>
                  </a:lnTo>
                  <a:lnTo>
                    <a:pt x="11" y="0"/>
                  </a:lnTo>
                  <a:lnTo>
                    <a:pt x="6" y="22"/>
                  </a:lnTo>
                  <a:lnTo>
                    <a:pt x="0" y="33"/>
                  </a:lnTo>
                  <a:lnTo>
                    <a:pt x="11"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6" name="Freeform 558"/>
            <p:cNvSpPr>
              <a:spLocks/>
            </p:cNvSpPr>
            <p:nvPr/>
          </p:nvSpPr>
          <p:spPr bwMode="auto">
            <a:xfrm>
              <a:off x="3128" y="2538"/>
              <a:ext cx="55" cy="60"/>
            </a:xfrm>
            <a:custGeom>
              <a:avLst/>
              <a:gdLst>
                <a:gd name="T0" fmla="*/ 49 w 55"/>
                <a:gd name="T1" fmla="*/ 0 h 60"/>
                <a:gd name="T2" fmla="*/ 22 w 55"/>
                <a:gd name="T3" fmla="*/ 16 h 60"/>
                <a:gd name="T4" fmla="*/ 11 w 55"/>
                <a:gd name="T5" fmla="*/ 11 h 60"/>
                <a:gd name="T6" fmla="*/ 11 w 55"/>
                <a:gd name="T7" fmla="*/ 11 h 60"/>
                <a:gd name="T8" fmla="*/ 11 w 55"/>
                <a:gd name="T9" fmla="*/ 11 h 60"/>
                <a:gd name="T10" fmla="*/ 6 w 55"/>
                <a:gd name="T11" fmla="*/ 11 h 60"/>
                <a:gd name="T12" fmla="*/ 0 w 55"/>
                <a:gd name="T13" fmla="*/ 16 h 60"/>
                <a:gd name="T14" fmla="*/ 0 w 55"/>
                <a:gd name="T15" fmla="*/ 22 h 60"/>
                <a:gd name="T16" fmla="*/ 6 w 55"/>
                <a:gd name="T17" fmla="*/ 22 h 60"/>
                <a:gd name="T18" fmla="*/ 0 w 55"/>
                <a:gd name="T19" fmla="*/ 27 h 60"/>
                <a:gd name="T20" fmla="*/ 6 w 55"/>
                <a:gd name="T21" fmla="*/ 27 h 60"/>
                <a:gd name="T22" fmla="*/ 0 w 55"/>
                <a:gd name="T23" fmla="*/ 60 h 60"/>
                <a:gd name="T24" fmla="*/ 0 w 55"/>
                <a:gd name="T25" fmla="*/ 60 h 60"/>
                <a:gd name="T26" fmla="*/ 0 w 55"/>
                <a:gd name="T27" fmla="*/ 60 h 60"/>
                <a:gd name="T28" fmla="*/ 16 w 55"/>
                <a:gd name="T29" fmla="*/ 60 h 60"/>
                <a:gd name="T30" fmla="*/ 22 w 55"/>
                <a:gd name="T31" fmla="*/ 49 h 60"/>
                <a:gd name="T32" fmla="*/ 33 w 55"/>
                <a:gd name="T33" fmla="*/ 49 h 60"/>
                <a:gd name="T34" fmla="*/ 33 w 55"/>
                <a:gd name="T35" fmla="*/ 44 h 60"/>
                <a:gd name="T36" fmla="*/ 38 w 55"/>
                <a:gd name="T37" fmla="*/ 38 h 60"/>
                <a:gd name="T38" fmla="*/ 27 w 55"/>
                <a:gd name="T39" fmla="*/ 27 h 60"/>
                <a:gd name="T40" fmla="*/ 49 w 55"/>
                <a:gd name="T41" fmla="*/ 22 h 60"/>
                <a:gd name="T42" fmla="*/ 55 w 55"/>
                <a:gd name="T43" fmla="*/ 16 h 60"/>
                <a:gd name="T44" fmla="*/ 49 w 55"/>
                <a:gd name="T45" fmla="*/ 0 h 60"/>
                <a:gd name="T46" fmla="*/ 49 w 55"/>
                <a:gd name="T47" fmla="*/ 0 h 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5"/>
                <a:gd name="T73" fmla="*/ 0 h 60"/>
                <a:gd name="T74" fmla="*/ 55 w 55"/>
                <a:gd name="T75" fmla="*/ 60 h 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5" h="60">
                  <a:moveTo>
                    <a:pt x="49" y="0"/>
                  </a:moveTo>
                  <a:lnTo>
                    <a:pt x="22" y="16"/>
                  </a:lnTo>
                  <a:lnTo>
                    <a:pt x="11" y="11"/>
                  </a:lnTo>
                  <a:lnTo>
                    <a:pt x="6" y="11"/>
                  </a:lnTo>
                  <a:lnTo>
                    <a:pt x="0" y="16"/>
                  </a:lnTo>
                  <a:lnTo>
                    <a:pt x="0" y="22"/>
                  </a:lnTo>
                  <a:lnTo>
                    <a:pt x="6" y="22"/>
                  </a:lnTo>
                  <a:lnTo>
                    <a:pt x="0" y="27"/>
                  </a:lnTo>
                  <a:lnTo>
                    <a:pt x="6" y="27"/>
                  </a:lnTo>
                  <a:lnTo>
                    <a:pt x="0" y="60"/>
                  </a:lnTo>
                  <a:lnTo>
                    <a:pt x="16" y="60"/>
                  </a:lnTo>
                  <a:lnTo>
                    <a:pt x="22" y="49"/>
                  </a:lnTo>
                  <a:lnTo>
                    <a:pt x="33" y="49"/>
                  </a:lnTo>
                  <a:lnTo>
                    <a:pt x="33" y="44"/>
                  </a:lnTo>
                  <a:lnTo>
                    <a:pt x="38" y="38"/>
                  </a:lnTo>
                  <a:lnTo>
                    <a:pt x="27" y="27"/>
                  </a:lnTo>
                  <a:lnTo>
                    <a:pt x="49" y="22"/>
                  </a:lnTo>
                  <a:lnTo>
                    <a:pt x="55" y="16"/>
                  </a:lnTo>
                  <a:lnTo>
                    <a:pt x="49"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7" name="Freeform 559"/>
            <p:cNvSpPr>
              <a:spLocks/>
            </p:cNvSpPr>
            <p:nvPr/>
          </p:nvSpPr>
          <p:spPr bwMode="auto">
            <a:xfrm>
              <a:off x="3281" y="2587"/>
              <a:ext cx="21" cy="22"/>
            </a:xfrm>
            <a:custGeom>
              <a:avLst/>
              <a:gdLst>
                <a:gd name="T0" fmla="*/ 21 w 21"/>
                <a:gd name="T1" fmla="*/ 22 h 22"/>
                <a:gd name="T2" fmla="*/ 10 w 21"/>
                <a:gd name="T3" fmla="*/ 22 h 22"/>
                <a:gd name="T4" fmla="*/ 10 w 21"/>
                <a:gd name="T5" fmla="*/ 17 h 22"/>
                <a:gd name="T6" fmla="*/ 0 w 21"/>
                <a:gd name="T7" fmla="*/ 11 h 22"/>
                <a:gd name="T8" fmla="*/ 10 w 21"/>
                <a:gd name="T9" fmla="*/ 0 h 22"/>
                <a:gd name="T10" fmla="*/ 16 w 21"/>
                <a:gd name="T11" fmla="*/ 0 h 22"/>
                <a:gd name="T12" fmla="*/ 21 w 21"/>
                <a:gd name="T13" fmla="*/ 6 h 22"/>
                <a:gd name="T14" fmla="*/ 10 w 21"/>
                <a:gd name="T15" fmla="*/ 11 h 22"/>
                <a:gd name="T16" fmla="*/ 16 w 21"/>
                <a:gd name="T17" fmla="*/ 11 h 22"/>
                <a:gd name="T18" fmla="*/ 21 w 21"/>
                <a:gd name="T19" fmla="*/ 22 h 22"/>
                <a:gd name="T20" fmla="*/ 21 w 21"/>
                <a:gd name="T21" fmla="*/ 22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
                <a:gd name="T34" fmla="*/ 0 h 22"/>
                <a:gd name="T35" fmla="*/ 21 w 21"/>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 h="22">
                  <a:moveTo>
                    <a:pt x="21" y="22"/>
                  </a:moveTo>
                  <a:lnTo>
                    <a:pt x="10" y="22"/>
                  </a:lnTo>
                  <a:lnTo>
                    <a:pt x="10" y="17"/>
                  </a:lnTo>
                  <a:lnTo>
                    <a:pt x="0" y="11"/>
                  </a:lnTo>
                  <a:lnTo>
                    <a:pt x="10" y="0"/>
                  </a:lnTo>
                  <a:lnTo>
                    <a:pt x="16" y="0"/>
                  </a:lnTo>
                  <a:lnTo>
                    <a:pt x="21" y="6"/>
                  </a:lnTo>
                  <a:lnTo>
                    <a:pt x="10" y="11"/>
                  </a:lnTo>
                  <a:lnTo>
                    <a:pt x="16" y="11"/>
                  </a:lnTo>
                  <a:lnTo>
                    <a:pt x="21"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8" name="Freeform 560"/>
            <p:cNvSpPr>
              <a:spLocks/>
            </p:cNvSpPr>
            <p:nvPr/>
          </p:nvSpPr>
          <p:spPr bwMode="auto">
            <a:xfrm>
              <a:off x="3128" y="2516"/>
              <a:ext cx="22" cy="22"/>
            </a:xfrm>
            <a:custGeom>
              <a:avLst/>
              <a:gdLst>
                <a:gd name="T0" fmla="*/ 11 w 22"/>
                <a:gd name="T1" fmla="*/ 22 h 22"/>
                <a:gd name="T2" fmla="*/ 6 w 22"/>
                <a:gd name="T3" fmla="*/ 22 h 22"/>
                <a:gd name="T4" fmla="*/ 0 w 22"/>
                <a:gd name="T5" fmla="*/ 22 h 22"/>
                <a:gd name="T6" fmla="*/ 16 w 22"/>
                <a:gd name="T7" fmla="*/ 0 h 22"/>
                <a:gd name="T8" fmla="*/ 22 w 22"/>
                <a:gd name="T9" fmla="*/ 0 h 22"/>
                <a:gd name="T10" fmla="*/ 22 w 22"/>
                <a:gd name="T11" fmla="*/ 0 h 22"/>
                <a:gd name="T12" fmla="*/ 22 w 22"/>
                <a:gd name="T13" fmla="*/ 6 h 22"/>
                <a:gd name="T14" fmla="*/ 22 w 22"/>
                <a:gd name="T15" fmla="*/ 11 h 22"/>
                <a:gd name="T16" fmla="*/ 22 w 22"/>
                <a:gd name="T17" fmla="*/ 11 h 22"/>
                <a:gd name="T18" fmla="*/ 16 w 22"/>
                <a:gd name="T19" fmla="*/ 11 h 22"/>
                <a:gd name="T20" fmla="*/ 16 w 22"/>
                <a:gd name="T21" fmla="*/ 17 h 22"/>
                <a:gd name="T22" fmla="*/ 11 w 22"/>
                <a:gd name="T23" fmla="*/ 22 h 22"/>
                <a:gd name="T24" fmla="*/ 11 w 22"/>
                <a:gd name="T25" fmla="*/ 22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22"/>
                <a:gd name="T41" fmla="*/ 22 w 22"/>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22">
                  <a:moveTo>
                    <a:pt x="11" y="22"/>
                  </a:moveTo>
                  <a:lnTo>
                    <a:pt x="6" y="22"/>
                  </a:lnTo>
                  <a:lnTo>
                    <a:pt x="0" y="22"/>
                  </a:lnTo>
                  <a:lnTo>
                    <a:pt x="16" y="0"/>
                  </a:lnTo>
                  <a:lnTo>
                    <a:pt x="22" y="0"/>
                  </a:lnTo>
                  <a:lnTo>
                    <a:pt x="22" y="6"/>
                  </a:lnTo>
                  <a:lnTo>
                    <a:pt x="22" y="11"/>
                  </a:lnTo>
                  <a:lnTo>
                    <a:pt x="16" y="11"/>
                  </a:lnTo>
                  <a:lnTo>
                    <a:pt x="16" y="17"/>
                  </a:lnTo>
                  <a:lnTo>
                    <a:pt x="11"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39" name="Freeform 561"/>
            <p:cNvSpPr>
              <a:spLocks/>
            </p:cNvSpPr>
            <p:nvPr/>
          </p:nvSpPr>
          <p:spPr bwMode="auto">
            <a:xfrm>
              <a:off x="3351" y="2664"/>
              <a:ext cx="98" cy="109"/>
            </a:xfrm>
            <a:custGeom>
              <a:avLst/>
              <a:gdLst>
                <a:gd name="T0" fmla="*/ 11 w 98"/>
                <a:gd name="T1" fmla="*/ 109 h 109"/>
                <a:gd name="T2" fmla="*/ 28 w 98"/>
                <a:gd name="T3" fmla="*/ 103 h 109"/>
                <a:gd name="T4" fmla="*/ 38 w 98"/>
                <a:gd name="T5" fmla="*/ 109 h 109"/>
                <a:gd name="T6" fmla="*/ 44 w 98"/>
                <a:gd name="T7" fmla="*/ 98 h 109"/>
                <a:gd name="T8" fmla="*/ 55 w 98"/>
                <a:gd name="T9" fmla="*/ 92 h 109"/>
                <a:gd name="T10" fmla="*/ 60 w 98"/>
                <a:gd name="T11" fmla="*/ 81 h 109"/>
                <a:gd name="T12" fmla="*/ 71 w 98"/>
                <a:gd name="T13" fmla="*/ 76 h 109"/>
                <a:gd name="T14" fmla="*/ 71 w 98"/>
                <a:gd name="T15" fmla="*/ 65 h 109"/>
                <a:gd name="T16" fmla="*/ 77 w 98"/>
                <a:gd name="T17" fmla="*/ 60 h 109"/>
                <a:gd name="T18" fmla="*/ 77 w 98"/>
                <a:gd name="T19" fmla="*/ 54 h 109"/>
                <a:gd name="T20" fmla="*/ 82 w 98"/>
                <a:gd name="T21" fmla="*/ 60 h 109"/>
                <a:gd name="T22" fmla="*/ 98 w 98"/>
                <a:gd name="T23" fmla="*/ 38 h 109"/>
                <a:gd name="T24" fmla="*/ 98 w 98"/>
                <a:gd name="T25" fmla="*/ 32 h 109"/>
                <a:gd name="T26" fmla="*/ 93 w 98"/>
                <a:gd name="T27" fmla="*/ 27 h 109"/>
                <a:gd name="T28" fmla="*/ 82 w 98"/>
                <a:gd name="T29" fmla="*/ 16 h 109"/>
                <a:gd name="T30" fmla="*/ 60 w 98"/>
                <a:gd name="T31" fmla="*/ 5 h 109"/>
                <a:gd name="T32" fmla="*/ 55 w 98"/>
                <a:gd name="T33" fmla="*/ 0 h 109"/>
                <a:gd name="T34" fmla="*/ 44 w 98"/>
                <a:gd name="T35" fmla="*/ 0 h 109"/>
                <a:gd name="T36" fmla="*/ 49 w 98"/>
                <a:gd name="T37" fmla="*/ 10 h 109"/>
                <a:gd name="T38" fmla="*/ 44 w 98"/>
                <a:gd name="T39" fmla="*/ 10 h 109"/>
                <a:gd name="T40" fmla="*/ 38 w 98"/>
                <a:gd name="T41" fmla="*/ 27 h 109"/>
                <a:gd name="T42" fmla="*/ 44 w 98"/>
                <a:gd name="T43" fmla="*/ 38 h 109"/>
                <a:gd name="T44" fmla="*/ 38 w 98"/>
                <a:gd name="T45" fmla="*/ 65 h 109"/>
                <a:gd name="T46" fmla="*/ 0 w 98"/>
                <a:gd name="T47" fmla="*/ 81 h 109"/>
                <a:gd name="T48" fmla="*/ 11 w 98"/>
                <a:gd name="T49" fmla="*/ 109 h 109"/>
                <a:gd name="T50" fmla="*/ 11 w 98"/>
                <a:gd name="T51" fmla="*/ 109 h 10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8"/>
                <a:gd name="T79" fmla="*/ 0 h 109"/>
                <a:gd name="T80" fmla="*/ 98 w 98"/>
                <a:gd name="T81" fmla="*/ 109 h 10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8" h="109">
                  <a:moveTo>
                    <a:pt x="11" y="109"/>
                  </a:moveTo>
                  <a:lnTo>
                    <a:pt x="28" y="103"/>
                  </a:lnTo>
                  <a:lnTo>
                    <a:pt x="38" y="109"/>
                  </a:lnTo>
                  <a:lnTo>
                    <a:pt x="44" y="98"/>
                  </a:lnTo>
                  <a:lnTo>
                    <a:pt x="55" y="92"/>
                  </a:lnTo>
                  <a:lnTo>
                    <a:pt x="60" y="81"/>
                  </a:lnTo>
                  <a:lnTo>
                    <a:pt x="71" y="76"/>
                  </a:lnTo>
                  <a:lnTo>
                    <a:pt x="71" y="65"/>
                  </a:lnTo>
                  <a:lnTo>
                    <a:pt x="77" y="60"/>
                  </a:lnTo>
                  <a:lnTo>
                    <a:pt x="77" y="54"/>
                  </a:lnTo>
                  <a:lnTo>
                    <a:pt x="82" y="60"/>
                  </a:lnTo>
                  <a:lnTo>
                    <a:pt x="98" y="38"/>
                  </a:lnTo>
                  <a:lnTo>
                    <a:pt x="98" y="32"/>
                  </a:lnTo>
                  <a:lnTo>
                    <a:pt x="93" y="27"/>
                  </a:lnTo>
                  <a:lnTo>
                    <a:pt x="82" y="16"/>
                  </a:lnTo>
                  <a:lnTo>
                    <a:pt x="60" y="5"/>
                  </a:lnTo>
                  <a:lnTo>
                    <a:pt x="55" y="0"/>
                  </a:lnTo>
                  <a:lnTo>
                    <a:pt x="44" y="0"/>
                  </a:lnTo>
                  <a:lnTo>
                    <a:pt x="49" y="10"/>
                  </a:lnTo>
                  <a:lnTo>
                    <a:pt x="44" y="10"/>
                  </a:lnTo>
                  <a:lnTo>
                    <a:pt x="38" y="27"/>
                  </a:lnTo>
                  <a:lnTo>
                    <a:pt x="44" y="38"/>
                  </a:lnTo>
                  <a:lnTo>
                    <a:pt x="38" y="65"/>
                  </a:lnTo>
                  <a:lnTo>
                    <a:pt x="0" y="81"/>
                  </a:lnTo>
                  <a:lnTo>
                    <a:pt x="11" y="10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0" name="Freeform 562"/>
            <p:cNvSpPr>
              <a:spLocks/>
            </p:cNvSpPr>
            <p:nvPr/>
          </p:nvSpPr>
          <p:spPr bwMode="auto">
            <a:xfrm>
              <a:off x="3400" y="2642"/>
              <a:ext cx="6" cy="11"/>
            </a:xfrm>
            <a:custGeom>
              <a:avLst/>
              <a:gdLst>
                <a:gd name="T0" fmla="*/ 6 w 6"/>
                <a:gd name="T1" fmla="*/ 11 h 11"/>
                <a:gd name="T2" fmla="*/ 6 w 6"/>
                <a:gd name="T3" fmla="*/ 0 h 11"/>
                <a:gd name="T4" fmla="*/ 0 w 6"/>
                <a:gd name="T5" fmla="*/ 5 h 11"/>
                <a:gd name="T6" fmla="*/ 0 w 6"/>
                <a:gd name="T7" fmla="*/ 5 h 11"/>
                <a:gd name="T8" fmla="*/ 6 w 6"/>
                <a:gd name="T9" fmla="*/ 11 h 11"/>
                <a:gd name="T10" fmla="*/ 6 w 6"/>
                <a:gd name="T11" fmla="*/ 11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6" y="11"/>
                  </a:moveTo>
                  <a:lnTo>
                    <a:pt x="6" y="0"/>
                  </a:lnTo>
                  <a:lnTo>
                    <a:pt x="0" y="5"/>
                  </a:lnTo>
                  <a:lnTo>
                    <a:pt x="6"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1" name="Freeform 563"/>
            <p:cNvSpPr>
              <a:spLocks/>
            </p:cNvSpPr>
            <p:nvPr/>
          </p:nvSpPr>
          <p:spPr bwMode="auto">
            <a:xfrm>
              <a:off x="3466" y="2478"/>
              <a:ext cx="212" cy="196"/>
            </a:xfrm>
            <a:custGeom>
              <a:avLst/>
              <a:gdLst>
                <a:gd name="T0" fmla="*/ 81 w 212"/>
                <a:gd name="T1" fmla="*/ 196 h 196"/>
                <a:gd name="T2" fmla="*/ 76 w 212"/>
                <a:gd name="T3" fmla="*/ 186 h 196"/>
                <a:gd name="T4" fmla="*/ 49 w 212"/>
                <a:gd name="T5" fmla="*/ 175 h 196"/>
                <a:gd name="T6" fmla="*/ 43 w 212"/>
                <a:gd name="T7" fmla="*/ 180 h 196"/>
                <a:gd name="T8" fmla="*/ 16 w 212"/>
                <a:gd name="T9" fmla="*/ 180 h 196"/>
                <a:gd name="T10" fmla="*/ 5 w 212"/>
                <a:gd name="T11" fmla="*/ 180 h 196"/>
                <a:gd name="T12" fmla="*/ 16 w 212"/>
                <a:gd name="T13" fmla="*/ 158 h 196"/>
                <a:gd name="T14" fmla="*/ 27 w 212"/>
                <a:gd name="T15" fmla="*/ 153 h 196"/>
                <a:gd name="T16" fmla="*/ 21 w 212"/>
                <a:gd name="T17" fmla="*/ 136 h 196"/>
                <a:gd name="T18" fmla="*/ 0 w 212"/>
                <a:gd name="T19" fmla="*/ 109 h 196"/>
                <a:gd name="T20" fmla="*/ 32 w 212"/>
                <a:gd name="T21" fmla="*/ 115 h 196"/>
                <a:gd name="T22" fmla="*/ 43 w 212"/>
                <a:gd name="T23" fmla="*/ 115 h 196"/>
                <a:gd name="T24" fmla="*/ 65 w 212"/>
                <a:gd name="T25" fmla="*/ 109 h 196"/>
                <a:gd name="T26" fmla="*/ 70 w 212"/>
                <a:gd name="T27" fmla="*/ 98 h 196"/>
                <a:gd name="T28" fmla="*/ 87 w 212"/>
                <a:gd name="T29" fmla="*/ 87 h 196"/>
                <a:gd name="T30" fmla="*/ 92 w 212"/>
                <a:gd name="T31" fmla="*/ 82 h 196"/>
                <a:gd name="T32" fmla="*/ 103 w 212"/>
                <a:gd name="T33" fmla="*/ 87 h 196"/>
                <a:gd name="T34" fmla="*/ 103 w 212"/>
                <a:gd name="T35" fmla="*/ 71 h 196"/>
                <a:gd name="T36" fmla="*/ 119 w 212"/>
                <a:gd name="T37" fmla="*/ 60 h 196"/>
                <a:gd name="T38" fmla="*/ 130 w 212"/>
                <a:gd name="T39" fmla="*/ 49 h 196"/>
                <a:gd name="T40" fmla="*/ 130 w 212"/>
                <a:gd name="T41" fmla="*/ 38 h 196"/>
                <a:gd name="T42" fmla="*/ 136 w 212"/>
                <a:gd name="T43" fmla="*/ 27 h 196"/>
                <a:gd name="T44" fmla="*/ 130 w 212"/>
                <a:gd name="T45" fmla="*/ 16 h 196"/>
                <a:gd name="T46" fmla="*/ 163 w 212"/>
                <a:gd name="T47" fmla="*/ 5 h 196"/>
                <a:gd name="T48" fmla="*/ 185 w 212"/>
                <a:gd name="T49" fmla="*/ 0 h 196"/>
                <a:gd name="T50" fmla="*/ 190 w 212"/>
                <a:gd name="T51" fmla="*/ 5 h 196"/>
                <a:gd name="T52" fmla="*/ 190 w 212"/>
                <a:gd name="T53" fmla="*/ 16 h 196"/>
                <a:gd name="T54" fmla="*/ 201 w 212"/>
                <a:gd name="T55" fmla="*/ 16 h 196"/>
                <a:gd name="T56" fmla="*/ 212 w 212"/>
                <a:gd name="T57" fmla="*/ 27 h 196"/>
                <a:gd name="T58" fmla="*/ 201 w 212"/>
                <a:gd name="T59" fmla="*/ 38 h 196"/>
                <a:gd name="T60" fmla="*/ 185 w 212"/>
                <a:gd name="T61" fmla="*/ 38 h 196"/>
                <a:gd name="T62" fmla="*/ 168 w 212"/>
                <a:gd name="T63" fmla="*/ 38 h 196"/>
                <a:gd name="T64" fmla="*/ 168 w 212"/>
                <a:gd name="T65" fmla="*/ 44 h 196"/>
                <a:gd name="T66" fmla="*/ 168 w 212"/>
                <a:gd name="T67" fmla="*/ 49 h 196"/>
                <a:gd name="T68" fmla="*/ 168 w 212"/>
                <a:gd name="T69" fmla="*/ 55 h 196"/>
                <a:gd name="T70" fmla="*/ 168 w 212"/>
                <a:gd name="T71" fmla="*/ 66 h 196"/>
                <a:gd name="T72" fmla="*/ 174 w 212"/>
                <a:gd name="T73" fmla="*/ 71 h 196"/>
                <a:gd name="T74" fmla="*/ 185 w 212"/>
                <a:gd name="T75" fmla="*/ 76 h 196"/>
                <a:gd name="T76" fmla="*/ 174 w 212"/>
                <a:gd name="T77" fmla="*/ 87 h 196"/>
                <a:gd name="T78" fmla="*/ 174 w 212"/>
                <a:gd name="T79" fmla="*/ 93 h 196"/>
                <a:gd name="T80" fmla="*/ 168 w 212"/>
                <a:gd name="T81" fmla="*/ 98 h 196"/>
                <a:gd name="T82" fmla="*/ 163 w 212"/>
                <a:gd name="T83" fmla="*/ 109 h 196"/>
                <a:gd name="T84" fmla="*/ 152 w 212"/>
                <a:gd name="T85" fmla="*/ 126 h 196"/>
                <a:gd name="T86" fmla="*/ 141 w 212"/>
                <a:gd name="T87" fmla="*/ 142 h 196"/>
                <a:gd name="T88" fmla="*/ 119 w 212"/>
                <a:gd name="T89" fmla="*/ 136 h 196"/>
                <a:gd name="T90" fmla="*/ 108 w 212"/>
                <a:gd name="T91" fmla="*/ 158 h 196"/>
                <a:gd name="T92" fmla="*/ 119 w 212"/>
                <a:gd name="T93" fmla="*/ 169 h 196"/>
                <a:gd name="T94" fmla="*/ 130 w 212"/>
                <a:gd name="T95" fmla="*/ 191 h 196"/>
                <a:gd name="T96" fmla="*/ 119 w 212"/>
                <a:gd name="T97" fmla="*/ 191 h 196"/>
                <a:gd name="T98" fmla="*/ 103 w 212"/>
                <a:gd name="T99" fmla="*/ 191 h 196"/>
                <a:gd name="T100" fmla="*/ 92 w 212"/>
                <a:gd name="T101" fmla="*/ 196 h 196"/>
                <a:gd name="T102" fmla="*/ 87 w 212"/>
                <a:gd name="T103" fmla="*/ 196 h 19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
                <a:gd name="T157" fmla="*/ 0 h 196"/>
                <a:gd name="T158" fmla="*/ 212 w 212"/>
                <a:gd name="T159" fmla="*/ 196 h 19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 h="196">
                  <a:moveTo>
                    <a:pt x="87" y="196"/>
                  </a:moveTo>
                  <a:lnTo>
                    <a:pt x="81" y="196"/>
                  </a:lnTo>
                  <a:lnTo>
                    <a:pt x="76" y="186"/>
                  </a:lnTo>
                  <a:lnTo>
                    <a:pt x="70" y="175"/>
                  </a:lnTo>
                  <a:lnTo>
                    <a:pt x="49" y="175"/>
                  </a:lnTo>
                  <a:lnTo>
                    <a:pt x="43" y="180"/>
                  </a:lnTo>
                  <a:lnTo>
                    <a:pt x="38" y="175"/>
                  </a:lnTo>
                  <a:lnTo>
                    <a:pt x="16" y="180"/>
                  </a:lnTo>
                  <a:lnTo>
                    <a:pt x="11" y="180"/>
                  </a:lnTo>
                  <a:lnTo>
                    <a:pt x="5" y="180"/>
                  </a:lnTo>
                  <a:lnTo>
                    <a:pt x="11" y="164"/>
                  </a:lnTo>
                  <a:lnTo>
                    <a:pt x="16" y="158"/>
                  </a:lnTo>
                  <a:lnTo>
                    <a:pt x="27" y="158"/>
                  </a:lnTo>
                  <a:lnTo>
                    <a:pt x="27" y="153"/>
                  </a:lnTo>
                  <a:lnTo>
                    <a:pt x="21" y="147"/>
                  </a:lnTo>
                  <a:lnTo>
                    <a:pt x="21" y="136"/>
                  </a:lnTo>
                  <a:lnTo>
                    <a:pt x="5" y="126"/>
                  </a:lnTo>
                  <a:lnTo>
                    <a:pt x="0" y="109"/>
                  </a:lnTo>
                  <a:lnTo>
                    <a:pt x="16" y="120"/>
                  </a:lnTo>
                  <a:lnTo>
                    <a:pt x="32" y="115"/>
                  </a:lnTo>
                  <a:lnTo>
                    <a:pt x="38" y="120"/>
                  </a:lnTo>
                  <a:lnTo>
                    <a:pt x="43" y="115"/>
                  </a:lnTo>
                  <a:lnTo>
                    <a:pt x="54" y="115"/>
                  </a:lnTo>
                  <a:lnTo>
                    <a:pt x="65" y="109"/>
                  </a:lnTo>
                  <a:lnTo>
                    <a:pt x="70" y="109"/>
                  </a:lnTo>
                  <a:lnTo>
                    <a:pt x="70" y="98"/>
                  </a:lnTo>
                  <a:lnTo>
                    <a:pt x="76" y="93"/>
                  </a:lnTo>
                  <a:lnTo>
                    <a:pt x="87" y="87"/>
                  </a:lnTo>
                  <a:lnTo>
                    <a:pt x="92" y="82"/>
                  </a:lnTo>
                  <a:lnTo>
                    <a:pt x="98" y="82"/>
                  </a:lnTo>
                  <a:lnTo>
                    <a:pt x="103" y="87"/>
                  </a:lnTo>
                  <a:lnTo>
                    <a:pt x="108" y="82"/>
                  </a:lnTo>
                  <a:lnTo>
                    <a:pt x="103" y="71"/>
                  </a:lnTo>
                  <a:lnTo>
                    <a:pt x="108" y="60"/>
                  </a:lnTo>
                  <a:lnTo>
                    <a:pt x="119" y="60"/>
                  </a:lnTo>
                  <a:lnTo>
                    <a:pt x="114" y="49"/>
                  </a:lnTo>
                  <a:lnTo>
                    <a:pt x="130" y="49"/>
                  </a:lnTo>
                  <a:lnTo>
                    <a:pt x="130" y="44"/>
                  </a:lnTo>
                  <a:lnTo>
                    <a:pt x="130" y="38"/>
                  </a:lnTo>
                  <a:lnTo>
                    <a:pt x="136" y="33"/>
                  </a:lnTo>
                  <a:lnTo>
                    <a:pt x="136" y="27"/>
                  </a:lnTo>
                  <a:lnTo>
                    <a:pt x="130" y="16"/>
                  </a:lnTo>
                  <a:lnTo>
                    <a:pt x="152" y="5"/>
                  </a:lnTo>
                  <a:lnTo>
                    <a:pt x="163" y="5"/>
                  </a:lnTo>
                  <a:lnTo>
                    <a:pt x="174" y="0"/>
                  </a:lnTo>
                  <a:lnTo>
                    <a:pt x="185" y="0"/>
                  </a:lnTo>
                  <a:lnTo>
                    <a:pt x="185" y="5"/>
                  </a:lnTo>
                  <a:lnTo>
                    <a:pt x="190" y="5"/>
                  </a:lnTo>
                  <a:lnTo>
                    <a:pt x="190" y="11"/>
                  </a:lnTo>
                  <a:lnTo>
                    <a:pt x="190" y="16"/>
                  </a:lnTo>
                  <a:lnTo>
                    <a:pt x="196" y="22"/>
                  </a:lnTo>
                  <a:lnTo>
                    <a:pt x="201" y="16"/>
                  </a:lnTo>
                  <a:lnTo>
                    <a:pt x="201" y="22"/>
                  </a:lnTo>
                  <a:lnTo>
                    <a:pt x="212" y="27"/>
                  </a:lnTo>
                  <a:lnTo>
                    <a:pt x="206" y="33"/>
                  </a:lnTo>
                  <a:lnTo>
                    <a:pt x="201" y="38"/>
                  </a:lnTo>
                  <a:lnTo>
                    <a:pt x="196" y="38"/>
                  </a:lnTo>
                  <a:lnTo>
                    <a:pt x="185" y="38"/>
                  </a:lnTo>
                  <a:lnTo>
                    <a:pt x="168" y="33"/>
                  </a:lnTo>
                  <a:lnTo>
                    <a:pt x="168" y="38"/>
                  </a:lnTo>
                  <a:lnTo>
                    <a:pt x="163" y="44"/>
                  </a:lnTo>
                  <a:lnTo>
                    <a:pt x="168" y="44"/>
                  </a:lnTo>
                  <a:lnTo>
                    <a:pt x="163" y="44"/>
                  </a:lnTo>
                  <a:lnTo>
                    <a:pt x="168" y="49"/>
                  </a:lnTo>
                  <a:lnTo>
                    <a:pt x="168" y="55"/>
                  </a:lnTo>
                  <a:lnTo>
                    <a:pt x="168" y="60"/>
                  </a:lnTo>
                  <a:lnTo>
                    <a:pt x="168" y="66"/>
                  </a:lnTo>
                  <a:lnTo>
                    <a:pt x="174" y="66"/>
                  </a:lnTo>
                  <a:lnTo>
                    <a:pt x="174" y="71"/>
                  </a:lnTo>
                  <a:lnTo>
                    <a:pt x="185" y="71"/>
                  </a:lnTo>
                  <a:lnTo>
                    <a:pt x="185" y="76"/>
                  </a:lnTo>
                  <a:lnTo>
                    <a:pt x="174" y="82"/>
                  </a:lnTo>
                  <a:lnTo>
                    <a:pt x="174" y="87"/>
                  </a:lnTo>
                  <a:lnTo>
                    <a:pt x="174" y="93"/>
                  </a:lnTo>
                  <a:lnTo>
                    <a:pt x="179" y="93"/>
                  </a:lnTo>
                  <a:lnTo>
                    <a:pt x="168" y="98"/>
                  </a:lnTo>
                  <a:lnTo>
                    <a:pt x="163" y="104"/>
                  </a:lnTo>
                  <a:lnTo>
                    <a:pt x="163" y="109"/>
                  </a:lnTo>
                  <a:lnTo>
                    <a:pt x="157" y="109"/>
                  </a:lnTo>
                  <a:lnTo>
                    <a:pt x="152" y="126"/>
                  </a:lnTo>
                  <a:lnTo>
                    <a:pt x="147" y="131"/>
                  </a:lnTo>
                  <a:lnTo>
                    <a:pt x="141" y="142"/>
                  </a:lnTo>
                  <a:lnTo>
                    <a:pt x="125" y="142"/>
                  </a:lnTo>
                  <a:lnTo>
                    <a:pt x="119" y="136"/>
                  </a:lnTo>
                  <a:lnTo>
                    <a:pt x="108" y="153"/>
                  </a:lnTo>
                  <a:lnTo>
                    <a:pt x="108" y="158"/>
                  </a:lnTo>
                  <a:lnTo>
                    <a:pt x="119" y="158"/>
                  </a:lnTo>
                  <a:lnTo>
                    <a:pt x="119" y="169"/>
                  </a:lnTo>
                  <a:lnTo>
                    <a:pt x="125" y="175"/>
                  </a:lnTo>
                  <a:lnTo>
                    <a:pt x="130" y="191"/>
                  </a:lnTo>
                  <a:lnTo>
                    <a:pt x="125" y="191"/>
                  </a:lnTo>
                  <a:lnTo>
                    <a:pt x="119" y="191"/>
                  </a:lnTo>
                  <a:lnTo>
                    <a:pt x="114" y="191"/>
                  </a:lnTo>
                  <a:lnTo>
                    <a:pt x="103" y="191"/>
                  </a:lnTo>
                  <a:lnTo>
                    <a:pt x="98" y="196"/>
                  </a:lnTo>
                  <a:lnTo>
                    <a:pt x="92" y="196"/>
                  </a:lnTo>
                  <a:lnTo>
                    <a:pt x="87" y="19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2" name="Freeform 564"/>
            <p:cNvSpPr>
              <a:spLocks/>
            </p:cNvSpPr>
            <p:nvPr/>
          </p:nvSpPr>
          <p:spPr bwMode="auto">
            <a:xfrm>
              <a:off x="3335" y="2642"/>
              <a:ext cx="11" cy="22"/>
            </a:xfrm>
            <a:custGeom>
              <a:avLst/>
              <a:gdLst>
                <a:gd name="T0" fmla="*/ 5 w 11"/>
                <a:gd name="T1" fmla="*/ 22 h 22"/>
                <a:gd name="T2" fmla="*/ 11 w 11"/>
                <a:gd name="T3" fmla="*/ 5 h 22"/>
                <a:gd name="T4" fmla="*/ 5 w 11"/>
                <a:gd name="T5" fmla="*/ 0 h 22"/>
                <a:gd name="T6" fmla="*/ 0 w 11"/>
                <a:gd name="T7" fmla="*/ 11 h 22"/>
                <a:gd name="T8" fmla="*/ 0 w 11"/>
                <a:gd name="T9" fmla="*/ 22 h 22"/>
                <a:gd name="T10" fmla="*/ 0 w 11"/>
                <a:gd name="T11" fmla="*/ 22 h 22"/>
                <a:gd name="T12" fmla="*/ 5 w 11"/>
                <a:gd name="T13" fmla="*/ 22 h 22"/>
                <a:gd name="T14" fmla="*/ 5 w 11"/>
                <a:gd name="T15" fmla="*/ 22 h 22"/>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22"/>
                <a:gd name="T26" fmla="*/ 11 w 11"/>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22">
                  <a:moveTo>
                    <a:pt x="5" y="22"/>
                  </a:moveTo>
                  <a:lnTo>
                    <a:pt x="11" y="5"/>
                  </a:lnTo>
                  <a:lnTo>
                    <a:pt x="5" y="0"/>
                  </a:lnTo>
                  <a:lnTo>
                    <a:pt x="0" y="11"/>
                  </a:lnTo>
                  <a:lnTo>
                    <a:pt x="0" y="22"/>
                  </a:lnTo>
                  <a:lnTo>
                    <a:pt x="5"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3" name="Freeform 565"/>
            <p:cNvSpPr>
              <a:spLocks/>
            </p:cNvSpPr>
            <p:nvPr/>
          </p:nvSpPr>
          <p:spPr bwMode="auto">
            <a:xfrm>
              <a:off x="3128" y="2554"/>
              <a:ext cx="267" cy="235"/>
            </a:xfrm>
            <a:custGeom>
              <a:avLst/>
              <a:gdLst>
                <a:gd name="T0" fmla="*/ 98 w 267"/>
                <a:gd name="T1" fmla="*/ 224 h 235"/>
                <a:gd name="T2" fmla="*/ 98 w 267"/>
                <a:gd name="T3" fmla="*/ 208 h 235"/>
                <a:gd name="T4" fmla="*/ 87 w 267"/>
                <a:gd name="T5" fmla="*/ 202 h 235"/>
                <a:gd name="T6" fmla="*/ 82 w 267"/>
                <a:gd name="T7" fmla="*/ 191 h 235"/>
                <a:gd name="T8" fmla="*/ 76 w 267"/>
                <a:gd name="T9" fmla="*/ 180 h 235"/>
                <a:gd name="T10" fmla="*/ 71 w 267"/>
                <a:gd name="T11" fmla="*/ 175 h 235"/>
                <a:gd name="T12" fmla="*/ 60 w 267"/>
                <a:gd name="T13" fmla="*/ 164 h 235"/>
                <a:gd name="T14" fmla="*/ 55 w 267"/>
                <a:gd name="T15" fmla="*/ 148 h 235"/>
                <a:gd name="T16" fmla="*/ 55 w 267"/>
                <a:gd name="T17" fmla="*/ 142 h 235"/>
                <a:gd name="T18" fmla="*/ 44 w 267"/>
                <a:gd name="T19" fmla="*/ 120 h 235"/>
                <a:gd name="T20" fmla="*/ 38 w 267"/>
                <a:gd name="T21" fmla="*/ 115 h 235"/>
                <a:gd name="T22" fmla="*/ 33 w 267"/>
                <a:gd name="T23" fmla="*/ 115 h 235"/>
                <a:gd name="T24" fmla="*/ 27 w 267"/>
                <a:gd name="T25" fmla="*/ 99 h 235"/>
                <a:gd name="T26" fmla="*/ 6 w 267"/>
                <a:gd name="T27" fmla="*/ 60 h 235"/>
                <a:gd name="T28" fmla="*/ 0 w 267"/>
                <a:gd name="T29" fmla="*/ 60 h 235"/>
                <a:gd name="T30" fmla="*/ 0 w 267"/>
                <a:gd name="T31" fmla="*/ 44 h 235"/>
                <a:gd name="T32" fmla="*/ 0 w 267"/>
                <a:gd name="T33" fmla="*/ 44 h 235"/>
                <a:gd name="T34" fmla="*/ 16 w 267"/>
                <a:gd name="T35" fmla="*/ 44 h 235"/>
                <a:gd name="T36" fmla="*/ 22 w 267"/>
                <a:gd name="T37" fmla="*/ 33 h 235"/>
                <a:gd name="T38" fmla="*/ 33 w 267"/>
                <a:gd name="T39" fmla="*/ 33 h 235"/>
                <a:gd name="T40" fmla="*/ 33 w 267"/>
                <a:gd name="T41" fmla="*/ 28 h 235"/>
                <a:gd name="T42" fmla="*/ 38 w 267"/>
                <a:gd name="T43" fmla="*/ 22 h 235"/>
                <a:gd name="T44" fmla="*/ 27 w 267"/>
                <a:gd name="T45" fmla="*/ 11 h 235"/>
                <a:gd name="T46" fmla="*/ 49 w 267"/>
                <a:gd name="T47" fmla="*/ 6 h 235"/>
                <a:gd name="T48" fmla="*/ 55 w 267"/>
                <a:gd name="T49" fmla="*/ 0 h 235"/>
                <a:gd name="T50" fmla="*/ 76 w 267"/>
                <a:gd name="T51" fmla="*/ 6 h 235"/>
                <a:gd name="T52" fmla="*/ 87 w 267"/>
                <a:gd name="T53" fmla="*/ 17 h 235"/>
                <a:gd name="T54" fmla="*/ 104 w 267"/>
                <a:gd name="T55" fmla="*/ 22 h 235"/>
                <a:gd name="T56" fmla="*/ 104 w 267"/>
                <a:gd name="T57" fmla="*/ 28 h 235"/>
                <a:gd name="T58" fmla="*/ 114 w 267"/>
                <a:gd name="T59" fmla="*/ 28 h 235"/>
                <a:gd name="T60" fmla="*/ 114 w 267"/>
                <a:gd name="T61" fmla="*/ 39 h 235"/>
                <a:gd name="T62" fmla="*/ 131 w 267"/>
                <a:gd name="T63" fmla="*/ 44 h 235"/>
                <a:gd name="T64" fmla="*/ 136 w 267"/>
                <a:gd name="T65" fmla="*/ 50 h 235"/>
                <a:gd name="T66" fmla="*/ 153 w 267"/>
                <a:gd name="T67" fmla="*/ 44 h 235"/>
                <a:gd name="T68" fmla="*/ 163 w 267"/>
                <a:gd name="T69" fmla="*/ 50 h 235"/>
                <a:gd name="T70" fmla="*/ 163 w 267"/>
                <a:gd name="T71" fmla="*/ 55 h 235"/>
                <a:gd name="T72" fmla="*/ 174 w 267"/>
                <a:gd name="T73" fmla="*/ 55 h 235"/>
                <a:gd name="T74" fmla="*/ 180 w 267"/>
                <a:gd name="T75" fmla="*/ 66 h 235"/>
                <a:gd name="T76" fmla="*/ 185 w 267"/>
                <a:gd name="T77" fmla="*/ 71 h 235"/>
                <a:gd name="T78" fmla="*/ 185 w 267"/>
                <a:gd name="T79" fmla="*/ 77 h 235"/>
                <a:gd name="T80" fmla="*/ 196 w 267"/>
                <a:gd name="T81" fmla="*/ 82 h 235"/>
                <a:gd name="T82" fmla="*/ 196 w 267"/>
                <a:gd name="T83" fmla="*/ 88 h 235"/>
                <a:gd name="T84" fmla="*/ 196 w 267"/>
                <a:gd name="T85" fmla="*/ 93 h 235"/>
                <a:gd name="T86" fmla="*/ 207 w 267"/>
                <a:gd name="T87" fmla="*/ 110 h 235"/>
                <a:gd name="T88" fmla="*/ 207 w 267"/>
                <a:gd name="T89" fmla="*/ 110 h 235"/>
                <a:gd name="T90" fmla="*/ 218 w 267"/>
                <a:gd name="T91" fmla="*/ 120 h 235"/>
                <a:gd name="T92" fmla="*/ 223 w 267"/>
                <a:gd name="T93" fmla="*/ 131 h 235"/>
                <a:gd name="T94" fmla="*/ 261 w 267"/>
                <a:gd name="T95" fmla="*/ 142 h 235"/>
                <a:gd name="T96" fmla="*/ 261 w 267"/>
                <a:gd name="T97" fmla="*/ 137 h 235"/>
                <a:gd name="T98" fmla="*/ 267 w 267"/>
                <a:gd name="T99" fmla="*/ 148 h 235"/>
                <a:gd name="T100" fmla="*/ 261 w 267"/>
                <a:gd name="T101" fmla="*/ 175 h 235"/>
                <a:gd name="T102" fmla="*/ 223 w 267"/>
                <a:gd name="T103" fmla="*/ 191 h 235"/>
                <a:gd name="T104" fmla="*/ 180 w 267"/>
                <a:gd name="T105" fmla="*/ 197 h 235"/>
                <a:gd name="T106" fmla="*/ 147 w 267"/>
                <a:gd name="T107" fmla="*/ 235 h 235"/>
                <a:gd name="T108" fmla="*/ 147 w 267"/>
                <a:gd name="T109" fmla="*/ 219 h 235"/>
                <a:gd name="T110" fmla="*/ 125 w 267"/>
                <a:gd name="T111" fmla="*/ 213 h 235"/>
                <a:gd name="T112" fmla="*/ 109 w 267"/>
                <a:gd name="T113" fmla="*/ 213 h 235"/>
                <a:gd name="T114" fmla="*/ 98 w 267"/>
                <a:gd name="T115" fmla="*/ 224 h 235"/>
                <a:gd name="T116" fmla="*/ 98 w 267"/>
                <a:gd name="T117" fmla="*/ 224 h 23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7"/>
                <a:gd name="T178" fmla="*/ 0 h 235"/>
                <a:gd name="T179" fmla="*/ 267 w 267"/>
                <a:gd name="T180" fmla="*/ 235 h 235"/>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7" h="235">
                  <a:moveTo>
                    <a:pt x="98" y="224"/>
                  </a:moveTo>
                  <a:lnTo>
                    <a:pt x="98" y="208"/>
                  </a:lnTo>
                  <a:lnTo>
                    <a:pt x="87" y="202"/>
                  </a:lnTo>
                  <a:lnTo>
                    <a:pt x="82" y="191"/>
                  </a:lnTo>
                  <a:lnTo>
                    <a:pt x="76" y="180"/>
                  </a:lnTo>
                  <a:lnTo>
                    <a:pt x="71" y="175"/>
                  </a:lnTo>
                  <a:lnTo>
                    <a:pt x="60" y="164"/>
                  </a:lnTo>
                  <a:lnTo>
                    <a:pt x="55" y="148"/>
                  </a:lnTo>
                  <a:lnTo>
                    <a:pt x="55" y="142"/>
                  </a:lnTo>
                  <a:lnTo>
                    <a:pt x="44" y="120"/>
                  </a:lnTo>
                  <a:lnTo>
                    <a:pt x="38" y="115"/>
                  </a:lnTo>
                  <a:lnTo>
                    <a:pt x="33" y="115"/>
                  </a:lnTo>
                  <a:lnTo>
                    <a:pt x="27" y="99"/>
                  </a:lnTo>
                  <a:lnTo>
                    <a:pt x="6" y="60"/>
                  </a:lnTo>
                  <a:lnTo>
                    <a:pt x="0" y="60"/>
                  </a:lnTo>
                  <a:lnTo>
                    <a:pt x="0" y="44"/>
                  </a:lnTo>
                  <a:lnTo>
                    <a:pt x="16" y="44"/>
                  </a:lnTo>
                  <a:lnTo>
                    <a:pt x="22" y="33"/>
                  </a:lnTo>
                  <a:lnTo>
                    <a:pt x="33" y="33"/>
                  </a:lnTo>
                  <a:lnTo>
                    <a:pt x="33" y="28"/>
                  </a:lnTo>
                  <a:lnTo>
                    <a:pt x="38" y="22"/>
                  </a:lnTo>
                  <a:lnTo>
                    <a:pt x="27" y="11"/>
                  </a:lnTo>
                  <a:lnTo>
                    <a:pt x="49" y="6"/>
                  </a:lnTo>
                  <a:lnTo>
                    <a:pt x="55" y="0"/>
                  </a:lnTo>
                  <a:lnTo>
                    <a:pt x="76" y="6"/>
                  </a:lnTo>
                  <a:lnTo>
                    <a:pt x="87" y="17"/>
                  </a:lnTo>
                  <a:lnTo>
                    <a:pt x="104" y="22"/>
                  </a:lnTo>
                  <a:lnTo>
                    <a:pt x="104" y="28"/>
                  </a:lnTo>
                  <a:lnTo>
                    <a:pt x="114" y="28"/>
                  </a:lnTo>
                  <a:lnTo>
                    <a:pt x="114" y="39"/>
                  </a:lnTo>
                  <a:lnTo>
                    <a:pt x="131" y="44"/>
                  </a:lnTo>
                  <a:lnTo>
                    <a:pt x="136" y="50"/>
                  </a:lnTo>
                  <a:lnTo>
                    <a:pt x="153" y="44"/>
                  </a:lnTo>
                  <a:lnTo>
                    <a:pt x="163" y="50"/>
                  </a:lnTo>
                  <a:lnTo>
                    <a:pt x="163" y="55"/>
                  </a:lnTo>
                  <a:lnTo>
                    <a:pt x="174" y="55"/>
                  </a:lnTo>
                  <a:lnTo>
                    <a:pt x="180" y="66"/>
                  </a:lnTo>
                  <a:lnTo>
                    <a:pt x="185" y="71"/>
                  </a:lnTo>
                  <a:lnTo>
                    <a:pt x="185" y="77"/>
                  </a:lnTo>
                  <a:lnTo>
                    <a:pt x="196" y="82"/>
                  </a:lnTo>
                  <a:lnTo>
                    <a:pt x="196" y="88"/>
                  </a:lnTo>
                  <a:lnTo>
                    <a:pt x="196" y="93"/>
                  </a:lnTo>
                  <a:lnTo>
                    <a:pt x="207" y="110"/>
                  </a:lnTo>
                  <a:lnTo>
                    <a:pt x="218" y="120"/>
                  </a:lnTo>
                  <a:lnTo>
                    <a:pt x="223" y="131"/>
                  </a:lnTo>
                  <a:lnTo>
                    <a:pt x="261" y="142"/>
                  </a:lnTo>
                  <a:lnTo>
                    <a:pt x="261" y="137"/>
                  </a:lnTo>
                  <a:lnTo>
                    <a:pt x="267" y="148"/>
                  </a:lnTo>
                  <a:lnTo>
                    <a:pt x="261" y="175"/>
                  </a:lnTo>
                  <a:lnTo>
                    <a:pt x="223" y="191"/>
                  </a:lnTo>
                  <a:lnTo>
                    <a:pt x="180" y="197"/>
                  </a:lnTo>
                  <a:lnTo>
                    <a:pt x="147" y="235"/>
                  </a:lnTo>
                  <a:lnTo>
                    <a:pt x="147" y="219"/>
                  </a:lnTo>
                  <a:lnTo>
                    <a:pt x="125" y="213"/>
                  </a:lnTo>
                  <a:lnTo>
                    <a:pt x="109" y="213"/>
                  </a:lnTo>
                  <a:lnTo>
                    <a:pt x="98" y="22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4" name="Freeform 566"/>
            <p:cNvSpPr>
              <a:spLocks/>
            </p:cNvSpPr>
            <p:nvPr/>
          </p:nvSpPr>
          <p:spPr bwMode="auto">
            <a:xfrm>
              <a:off x="3139" y="2473"/>
              <a:ext cx="87" cy="81"/>
            </a:xfrm>
            <a:custGeom>
              <a:avLst/>
              <a:gdLst>
                <a:gd name="T0" fmla="*/ 38 w 87"/>
                <a:gd name="T1" fmla="*/ 65 h 81"/>
                <a:gd name="T2" fmla="*/ 11 w 87"/>
                <a:gd name="T3" fmla="*/ 81 h 81"/>
                <a:gd name="T4" fmla="*/ 0 w 87"/>
                <a:gd name="T5" fmla="*/ 76 h 81"/>
                <a:gd name="T6" fmla="*/ 0 w 87"/>
                <a:gd name="T7" fmla="*/ 76 h 81"/>
                <a:gd name="T8" fmla="*/ 0 w 87"/>
                <a:gd name="T9" fmla="*/ 65 h 81"/>
                <a:gd name="T10" fmla="*/ 5 w 87"/>
                <a:gd name="T11" fmla="*/ 60 h 81"/>
                <a:gd name="T12" fmla="*/ 5 w 87"/>
                <a:gd name="T13" fmla="*/ 54 h 81"/>
                <a:gd name="T14" fmla="*/ 11 w 87"/>
                <a:gd name="T15" fmla="*/ 54 h 81"/>
                <a:gd name="T16" fmla="*/ 11 w 87"/>
                <a:gd name="T17" fmla="*/ 54 h 81"/>
                <a:gd name="T18" fmla="*/ 11 w 87"/>
                <a:gd name="T19" fmla="*/ 49 h 81"/>
                <a:gd name="T20" fmla="*/ 11 w 87"/>
                <a:gd name="T21" fmla="*/ 43 h 81"/>
                <a:gd name="T22" fmla="*/ 11 w 87"/>
                <a:gd name="T23" fmla="*/ 43 h 81"/>
                <a:gd name="T24" fmla="*/ 5 w 87"/>
                <a:gd name="T25" fmla="*/ 43 h 81"/>
                <a:gd name="T26" fmla="*/ 5 w 87"/>
                <a:gd name="T27" fmla="*/ 27 h 81"/>
                <a:gd name="T28" fmla="*/ 5 w 87"/>
                <a:gd name="T29" fmla="*/ 21 h 81"/>
                <a:gd name="T30" fmla="*/ 5 w 87"/>
                <a:gd name="T31" fmla="*/ 27 h 81"/>
                <a:gd name="T32" fmla="*/ 11 w 87"/>
                <a:gd name="T33" fmla="*/ 16 h 81"/>
                <a:gd name="T34" fmla="*/ 11 w 87"/>
                <a:gd name="T35" fmla="*/ 16 h 81"/>
                <a:gd name="T36" fmla="*/ 11 w 87"/>
                <a:gd name="T37" fmla="*/ 16 h 81"/>
                <a:gd name="T38" fmla="*/ 11 w 87"/>
                <a:gd name="T39" fmla="*/ 10 h 81"/>
                <a:gd name="T40" fmla="*/ 22 w 87"/>
                <a:gd name="T41" fmla="*/ 10 h 81"/>
                <a:gd name="T42" fmla="*/ 38 w 87"/>
                <a:gd name="T43" fmla="*/ 5 h 81"/>
                <a:gd name="T44" fmla="*/ 44 w 87"/>
                <a:gd name="T45" fmla="*/ 10 h 81"/>
                <a:gd name="T46" fmla="*/ 65 w 87"/>
                <a:gd name="T47" fmla="*/ 5 h 81"/>
                <a:gd name="T48" fmla="*/ 76 w 87"/>
                <a:gd name="T49" fmla="*/ 5 h 81"/>
                <a:gd name="T50" fmla="*/ 87 w 87"/>
                <a:gd name="T51" fmla="*/ 0 h 81"/>
                <a:gd name="T52" fmla="*/ 87 w 87"/>
                <a:gd name="T53" fmla="*/ 5 h 81"/>
                <a:gd name="T54" fmla="*/ 82 w 87"/>
                <a:gd name="T55" fmla="*/ 10 h 81"/>
                <a:gd name="T56" fmla="*/ 71 w 87"/>
                <a:gd name="T57" fmla="*/ 16 h 81"/>
                <a:gd name="T58" fmla="*/ 71 w 87"/>
                <a:gd name="T59" fmla="*/ 38 h 81"/>
                <a:gd name="T60" fmla="*/ 71 w 87"/>
                <a:gd name="T61" fmla="*/ 43 h 81"/>
                <a:gd name="T62" fmla="*/ 38 w 87"/>
                <a:gd name="T63" fmla="*/ 65 h 81"/>
                <a:gd name="T64" fmla="*/ 38 w 87"/>
                <a:gd name="T65" fmla="*/ 65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87"/>
                <a:gd name="T100" fmla="*/ 0 h 81"/>
                <a:gd name="T101" fmla="*/ 87 w 87"/>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87" h="81">
                  <a:moveTo>
                    <a:pt x="38" y="65"/>
                  </a:moveTo>
                  <a:lnTo>
                    <a:pt x="11" y="81"/>
                  </a:lnTo>
                  <a:lnTo>
                    <a:pt x="0" y="76"/>
                  </a:lnTo>
                  <a:lnTo>
                    <a:pt x="0" y="65"/>
                  </a:lnTo>
                  <a:lnTo>
                    <a:pt x="5" y="60"/>
                  </a:lnTo>
                  <a:lnTo>
                    <a:pt x="5" y="54"/>
                  </a:lnTo>
                  <a:lnTo>
                    <a:pt x="11" y="54"/>
                  </a:lnTo>
                  <a:lnTo>
                    <a:pt x="11" y="49"/>
                  </a:lnTo>
                  <a:lnTo>
                    <a:pt x="11" y="43"/>
                  </a:lnTo>
                  <a:lnTo>
                    <a:pt x="5" y="43"/>
                  </a:lnTo>
                  <a:lnTo>
                    <a:pt x="5" y="27"/>
                  </a:lnTo>
                  <a:lnTo>
                    <a:pt x="5" y="21"/>
                  </a:lnTo>
                  <a:lnTo>
                    <a:pt x="5" y="27"/>
                  </a:lnTo>
                  <a:lnTo>
                    <a:pt x="11" y="16"/>
                  </a:lnTo>
                  <a:lnTo>
                    <a:pt x="11" y="10"/>
                  </a:lnTo>
                  <a:lnTo>
                    <a:pt x="22" y="10"/>
                  </a:lnTo>
                  <a:lnTo>
                    <a:pt x="38" y="5"/>
                  </a:lnTo>
                  <a:lnTo>
                    <a:pt x="44" y="10"/>
                  </a:lnTo>
                  <a:lnTo>
                    <a:pt x="65" y="5"/>
                  </a:lnTo>
                  <a:lnTo>
                    <a:pt x="76" y="5"/>
                  </a:lnTo>
                  <a:lnTo>
                    <a:pt x="87" y="0"/>
                  </a:lnTo>
                  <a:lnTo>
                    <a:pt x="87" y="5"/>
                  </a:lnTo>
                  <a:lnTo>
                    <a:pt x="82" y="10"/>
                  </a:lnTo>
                  <a:lnTo>
                    <a:pt x="71" y="16"/>
                  </a:lnTo>
                  <a:lnTo>
                    <a:pt x="71" y="38"/>
                  </a:lnTo>
                  <a:lnTo>
                    <a:pt x="71" y="43"/>
                  </a:lnTo>
                  <a:lnTo>
                    <a:pt x="38" y="6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5" name="Freeform 567"/>
            <p:cNvSpPr>
              <a:spLocks/>
            </p:cNvSpPr>
            <p:nvPr/>
          </p:nvSpPr>
          <p:spPr bwMode="auto">
            <a:xfrm>
              <a:off x="3335" y="2647"/>
              <a:ext cx="71" cy="49"/>
            </a:xfrm>
            <a:custGeom>
              <a:avLst/>
              <a:gdLst>
                <a:gd name="T0" fmla="*/ 71 w 71"/>
                <a:gd name="T1" fmla="*/ 17 h 49"/>
                <a:gd name="T2" fmla="*/ 71 w 71"/>
                <a:gd name="T3" fmla="*/ 6 h 49"/>
                <a:gd name="T4" fmla="*/ 65 w 71"/>
                <a:gd name="T5" fmla="*/ 0 h 49"/>
                <a:gd name="T6" fmla="*/ 65 w 71"/>
                <a:gd name="T7" fmla="*/ 0 h 49"/>
                <a:gd name="T8" fmla="*/ 44 w 71"/>
                <a:gd name="T9" fmla="*/ 22 h 49"/>
                <a:gd name="T10" fmla="*/ 44 w 71"/>
                <a:gd name="T11" fmla="*/ 22 h 49"/>
                <a:gd name="T12" fmla="*/ 38 w 71"/>
                <a:gd name="T13" fmla="*/ 27 h 49"/>
                <a:gd name="T14" fmla="*/ 22 w 71"/>
                <a:gd name="T15" fmla="*/ 22 h 49"/>
                <a:gd name="T16" fmla="*/ 16 w 71"/>
                <a:gd name="T17" fmla="*/ 27 h 49"/>
                <a:gd name="T18" fmla="*/ 11 w 71"/>
                <a:gd name="T19" fmla="*/ 27 h 49"/>
                <a:gd name="T20" fmla="*/ 11 w 71"/>
                <a:gd name="T21" fmla="*/ 22 h 49"/>
                <a:gd name="T22" fmla="*/ 5 w 71"/>
                <a:gd name="T23" fmla="*/ 22 h 49"/>
                <a:gd name="T24" fmla="*/ 5 w 71"/>
                <a:gd name="T25" fmla="*/ 17 h 49"/>
                <a:gd name="T26" fmla="*/ 0 w 71"/>
                <a:gd name="T27" fmla="*/ 17 h 49"/>
                <a:gd name="T28" fmla="*/ 11 w 71"/>
                <a:gd name="T29" fmla="*/ 27 h 49"/>
                <a:gd name="T30" fmla="*/ 16 w 71"/>
                <a:gd name="T31" fmla="*/ 38 h 49"/>
                <a:gd name="T32" fmla="*/ 54 w 71"/>
                <a:gd name="T33" fmla="*/ 49 h 49"/>
                <a:gd name="T34" fmla="*/ 54 w 71"/>
                <a:gd name="T35" fmla="*/ 44 h 49"/>
                <a:gd name="T36" fmla="*/ 60 w 71"/>
                <a:gd name="T37" fmla="*/ 27 h 49"/>
                <a:gd name="T38" fmla="*/ 65 w 71"/>
                <a:gd name="T39" fmla="*/ 27 h 49"/>
                <a:gd name="T40" fmla="*/ 60 w 71"/>
                <a:gd name="T41" fmla="*/ 17 h 49"/>
                <a:gd name="T42" fmla="*/ 71 w 71"/>
                <a:gd name="T43" fmla="*/ 17 h 49"/>
                <a:gd name="T44" fmla="*/ 71 w 71"/>
                <a:gd name="T45" fmla="*/ 17 h 4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1"/>
                <a:gd name="T70" fmla="*/ 0 h 49"/>
                <a:gd name="T71" fmla="*/ 71 w 71"/>
                <a:gd name="T72" fmla="*/ 49 h 4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1" h="49">
                  <a:moveTo>
                    <a:pt x="71" y="17"/>
                  </a:moveTo>
                  <a:lnTo>
                    <a:pt x="71" y="6"/>
                  </a:lnTo>
                  <a:lnTo>
                    <a:pt x="65" y="0"/>
                  </a:lnTo>
                  <a:lnTo>
                    <a:pt x="44" y="22"/>
                  </a:lnTo>
                  <a:lnTo>
                    <a:pt x="38" y="27"/>
                  </a:lnTo>
                  <a:lnTo>
                    <a:pt x="22" y="22"/>
                  </a:lnTo>
                  <a:lnTo>
                    <a:pt x="16" y="27"/>
                  </a:lnTo>
                  <a:lnTo>
                    <a:pt x="11" y="27"/>
                  </a:lnTo>
                  <a:lnTo>
                    <a:pt x="11" y="22"/>
                  </a:lnTo>
                  <a:lnTo>
                    <a:pt x="5" y="22"/>
                  </a:lnTo>
                  <a:lnTo>
                    <a:pt x="5" y="17"/>
                  </a:lnTo>
                  <a:lnTo>
                    <a:pt x="0" y="17"/>
                  </a:lnTo>
                  <a:lnTo>
                    <a:pt x="11" y="27"/>
                  </a:lnTo>
                  <a:lnTo>
                    <a:pt x="16" y="38"/>
                  </a:lnTo>
                  <a:lnTo>
                    <a:pt x="54" y="49"/>
                  </a:lnTo>
                  <a:lnTo>
                    <a:pt x="54" y="44"/>
                  </a:lnTo>
                  <a:lnTo>
                    <a:pt x="60" y="27"/>
                  </a:lnTo>
                  <a:lnTo>
                    <a:pt x="65" y="27"/>
                  </a:lnTo>
                  <a:lnTo>
                    <a:pt x="60" y="17"/>
                  </a:lnTo>
                  <a:lnTo>
                    <a:pt x="71" y="1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6" name="Freeform 568"/>
            <p:cNvSpPr>
              <a:spLocks/>
            </p:cNvSpPr>
            <p:nvPr/>
          </p:nvSpPr>
          <p:spPr bwMode="auto">
            <a:xfrm>
              <a:off x="3014" y="2396"/>
              <a:ext cx="38" cy="33"/>
            </a:xfrm>
            <a:custGeom>
              <a:avLst/>
              <a:gdLst>
                <a:gd name="T0" fmla="*/ 27 w 38"/>
                <a:gd name="T1" fmla="*/ 0 h 33"/>
                <a:gd name="T2" fmla="*/ 16 w 38"/>
                <a:gd name="T3" fmla="*/ 0 h 33"/>
                <a:gd name="T4" fmla="*/ 5 w 38"/>
                <a:gd name="T5" fmla="*/ 0 h 33"/>
                <a:gd name="T6" fmla="*/ 5 w 38"/>
                <a:gd name="T7" fmla="*/ 6 h 33"/>
                <a:gd name="T8" fmla="*/ 0 w 38"/>
                <a:gd name="T9" fmla="*/ 22 h 33"/>
                <a:gd name="T10" fmla="*/ 11 w 38"/>
                <a:gd name="T11" fmla="*/ 22 h 33"/>
                <a:gd name="T12" fmla="*/ 5 w 38"/>
                <a:gd name="T13" fmla="*/ 27 h 33"/>
                <a:gd name="T14" fmla="*/ 5 w 38"/>
                <a:gd name="T15" fmla="*/ 33 h 33"/>
                <a:gd name="T16" fmla="*/ 22 w 38"/>
                <a:gd name="T17" fmla="*/ 17 h 33"/>
                <a:gd name="T18" fmla="*/ 38 w 38"/>
                <a:gd name="T19" fmla="*/ 17 h 33"/>
                <a:gd name="T20" fmla="*/ 38 w 38"/>
                <a:gd name="T21" fmla="*/ 11 h 33"/>
                <a:gd name="T22" fmla="*/ 27 w 38"/>
                <a:gd name="T23" fmla="*/ 6 h 33"/>
                <a:gd name="T24" fmla="*/ 27 w 38"/>
                <a:gd name="T25" fmla="*/ 0 h 33"/>
                <a:gd name="T26" fmla="*/ 27 w 38"/>
                <a:gd name="T27" fmla="*/ 0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33"/>
                <a:gd name="T44" fmla="*/ 38 w 38"/>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33">
                  <a:moveTo>
                    <a:pt x="27" y="0"/>
                  </a:moveTo>
                  <a:lnTo>
                    <a:pt x="16" y="0"/>
                  </a:lnTo>
                  <a:lnTo>
                    <a:pt x="5" y="0"/>
                  </a:lnTo>
                  <a:lnTo>
                    <a:pt x="5" y="6"/>
                  </a:lnTo>
                  <a:lnTo>
                    <a:pt x="0" y="22"/>
                  </a:lnTo>
                  <a:lnTo>
                    <a:pt x="11" y="22"/>
                  </a:lnTo>
                  <a:lnTo>
                    <a:pt x="5" y="27"/>
                  </a:lnTo>
                  <a:lnTo>
                    <a:pt x="5" y="33"/>
                  </a:lnTo>
                  <a:lnTo>
                    <a:pt x="22" y="17"/>
                  </a:lnTo>
                  <a:lnTo>
                    <a:pt x="38" y="17"/>
                  </a:lnTo>
                  <a:lnTo>
                    <a:pt x="38" y="11"/>
                  </a:lnTo>
                  <a:lnTo>
                    <a:pt x="27" y="6"/>
                  </a:lnTo>
                  <a:lnTo>
                    <a:pt x="2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7" name="Freeform 569"/>
            <p:cNvSpPr>
              <a:spLocks/>
            </p:cNvSpPr>
            <p:nvPr/>
          </p:nvSpPr>
          <p:spPr bwMode="auto">
            <a:xfrm>
              <a:off x="3019" y="2396"/>
              <a:ext cx="240" cy="104"/>
            </a:xfrm>
            <a:custGeom>
              <a:avLst/>
              <a:gdLst>
                <a:gd name="T0" fmla="*/ 6 w 240"/>
                <a:gd name="T1" fmla="*/ 27 h 104"/>
                <a:gd name="T2" fmla="*/ 17 w 240"/>
                <a:gd name="T3" fmla="*/ 22 h 104"/>
                <a:gd name="T4" fmla="*/ 33 w 240"/>
                <a:gd name="T5" fmla="*/ 27 h 104"/>
                <a:gd name="T6" fmla="*/ 33 w 240"/>
                <a:gd name="T7" fmla="*/ 22 h 104"/>
                <a:gd name="T8" fmla="*/ 38 w 240"/>
                <a:gd name="T9" fmla="*/ 17 h 104"/>
                <a:gd name="T10" fmla="*/ 38 w 240"/>
                <a:gd name="T11" fmla="*/ 11 h 104"/>
                <a:gd name="T12" fmla="*/ 77 w 240"/>
                <a:gd name="T13" fmla="*/ 6 h 104"/>
                <a:gd name="T14" fmla="*/ 115 w 240"/>
                <a:gd name="T15" fmla="*/ 0 h 104"/>
                <a:gd name="T16" fmla="*/ 125 w 240"/>
                <a:gd name="T17" fmla="*/ 6 h 104"/>
                <a:gd name="T18" fmla="*/ 153 w 240"/>
                <a:gd name="T19" fmla="*/ 17 h 104"/>
                <a:gd name="T20" fmla="*/ 180 w 240"/>
                <a:gd name="T21" fmla="*/ 17 h 104"/>
                <a:gd name="T22" fmla="*/ 207 w 240"/>
                <a:gd name="T23" fmla="*/ 6 h 104"/>
                <a:gd name="T24" fmla="*/ 223 w 240"/>
                <a:gd name="T25" fmla="*/ 17 h 104"/>
                <a:gd name="T26" fmla="*/ 234 w 240"/>
                <a:gd name="T27" fmla="*/ 38 h 104"/>
                <a:gd name="T28" fmla="*/ 229 w 240"/>
                <a:gd name="T29" fmla="*/ 49 h 104"/>
                <a:gd name="T30" fmla="*/ 240 w 240"/>
                <a:gd name="T31" fmla="*/ 77 h 104"/>
                <a:gd name="T32" fmla="*/ 234 w 240"/>
                <a:gd name="T33" fmla="*/ 77 h 104"/>
                <a:gd name="T34" fmla="*/ 213 w 240"/>
                <a:gd name="T35" fmla="*/ 77 h 104"/>
                <a:gd name="T36" fmla="*/ 207 w 240"/>
                <a:gd name="T37" fmla="*/ 77 h 104"/>
                <a:gd name="T38" fmla="*/ 185 w 240"/>
                <a:gd name="T39" fmla="*/ 82 h 104"/>
                <a:gd name="T40" fmla="*/ 158 w 240"/>
                <a:gd name="T41" fmla="*/ 82 h 104"/>
                <a:gd name="T42" fmla="*/ 131 w 240"/>
                <a:gd name="T43" fmla="*/ 87 h 104"/>
                <a:gd name="T44" fmla="*/ 131 w 240"/>
                <a:gd name="T45" fmla="*/ 93 h 104"/>
                <a:gd name="T46" fmla="*/ 125 w 240"/>
                <a:gd name="T47" fmla="*/ 104 h 104"/>
                <a:gd name="T48" fmla="*/ 125 w 240"/>
                <a:gd name="T49" fmla="*/ 93 h 104"/>
                <a:gd name="T50" fmla="*/ 125 w 240"/>
                <a:gd name="T51" fmla="*/ 87 h 104"/>
                <a:gd name="T52" fmla="*/ 109 w 240"/>
                <a:gd name="T53" fmla="*/ 87 h 104"/>
                <a:gd name="T54" fmla="*/ 98 w 240"/>
                <a:gd name="T55" fmla="*/ 93 h 104"/>
                <a:gd name="T56" fmla="*/ 60 w 240"/>
                <a:gd name="T57" fmla="*/ 82 h 104"/>
                <a:gd name="T58" fmla="*/ 55 w 240"/>
                <a:gd name="T59" fmla="*/ 93 h 104"/>
                <a:gd name="T60" fmla="*/ 38 w 240"/>
                <a:gd name="T61" fmla="*/ 93 h 104"/>
                <a:gd name="T62" fmla="*/ 33 w 240"/>
                <a:gd name="T63" fmla="*/ 87 h 104"/>
                <a:gd name="T64" fmla="*/ 22 w 240"/>
                <a:gd name="T65" fmla="*/ 87 h 104"/>
                <a:gd name="T66" fmla="*/ 17 w 240"/>
                <a:gd name="T67" fmla="*/ 87 h 104"/>
                <a:gd name="T68" fmla="*/ 11 w 240"/>
                <a:gd name="T69" fmla="*/ 82 h 104"/>
                <a:gd name="T70" fmla="*/ 11 w 240"/>
                <a:gd name="T71" fmla="*/ 77 h 104"/>
                <a:gd name="T72" fmla="*/ 11 w 240"/>
                <a:gd name="T73" fmla="*/ 71 h 104"/>
                <a:gd name="T74" fmla="*/ 0 w 240"/>
                <a:gd name="T75" fmla="*/ 60 h 104"/>
                <a:gd name="T76" fmla="*/ 6 w 240"/>
                <a:gd name="T77" fmla="*/ 60 h 104"/>
                <a:gd name="T78" fmla="*/ 6 w 240"/>
                <a:gd name="T79" fmla="*/ 55 h 104"/>
                <a:gd name="T80" fmla="*/ 6 w 240"/>
                <a:gd name="T81" fmla="*/ 44 h 104"/>
                <a:gd name="T82" fmla="*/ 0 w 240"/>
                <a:gd name="T83" fmla="*/ 44 h 104"/>
                <a:gd name="T84" fmla="*/ 0 w 240"/>
                <a:gd name="T85" fmla="*/ 33 h 10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0"/>
                <a:gd name="T130" fmla="*/ 0 h 104"/>
                <a:gd name="T131" fmla="*/ 240 w 240"/>
                <a:gd name="T132" fmla="*/ 104 h 10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0" h="104">
                  <a:moveTo>
                    <a:pt x="0" y="33"/>
                  </a:moveTo>
                  <a:lnTo>
                    <a:pt x="6" y="27"/>
                  </a:lnTo>
                  <a:lnTo>
                    <a:pt x="17" y="27"/>
                  </a:lnTo>
                  <a:lnTo>
                    <a:pt x="17" y="22"/>
                  </a:lnTo>
                  <a:lnTo>
                    <a:pt x="33" y="27"/>
                  </a:lnTo>
                  <a:lnTo>
                    <a:pt x="33" y="22"/>
                  </a:lnTo>
                  <a:lnTo>
                    <a:pt x="44" y="22"/>
                  </a:lnTo>
                  <a:lnTo>
                    <a:pt x="38" y="17"/>
                  </a:lnTo>
                  <a:lnTo>
                    <a:pt x="33" y="17"/>
                  </a:lnTo>
                  <a:lnTo>
                    <a:pt x="38" y="11"/>
                  </a:lnTo>
                  <a:lnTo>
                    <a:pt x="60" y="17"/>
                  </a:lnTo>
                  <a:lnTo>
                    <a:pt x="77" y="6"/>
                  </a:lnTo>
                  <a:lnTo>
                    <a:pt x="93" y="0"/>
                  </a:lnTo>
                  <a:lnTo>
                    <a:pt x="115" y="0"/>
                  </a:lnTo>
                  <a:lnTo>
                    <a:pt x="120" y="6"/>
                  </a:lnTo>
                  <a:lnTo>
                    <a:pt x="125" y="6"/>
                  </a:lnTo>
                  <a:lnTo>
                    <a:pt x="131" y="11"/>
                  </a:lnTo>
                  <a:lnTo>
                    <a:pt x="153" y="17"/>
                  </a:lnTo>
                  <a:lnTo>
                    <a:pt x="169" y="17"/>
                  </a:lnTo>
                  <a:lnTo>
                    <a:pt x="180" y="17"/>
                  </a:lnTo>
                  <a:lnTo>
                    <a:pt x="196" y="6"/>
                  </a:lnTo>
                  <a:lnTo>
                    <a:pt x="207" y="6"/>
                  </a:lnTo>
                  <a:lnTo>
                    <a:pt x="213" y="6"/>
                  </a:lnTo>
                  <a:lnTo>
                    <a:pt x="223" y="17"/>
                  </a:lnTo>
                  <a:lnTo>
                    <a:pt x="223" y="27"/>
                  </a:lnTo>
                  <a:lnTo>
                    <a:pt x="234" y="38"/>
                  </a:lnTo>
                  <a:lnTo>
                    <a:pt x="229" y="44"/>
                  </a:lnTo>
                  <a:lnTo>
                    <a:pt x="229" y="49"/>
                  </a:lnTo>
                  <a:lnTo>
                    <a:pt x="229" y="71"/>
                  </a:lnTo>
                  <a:lnTo>
                    <a:pt x="240" y="77"/>
                  </a:lnTo>
                  <a:lnTo>
                    <a:pt x="234" y="77"/>
                  </a:lnTo>
                  <a:lnTo>
                    <a:pt x="229" y="77"/>
                  </a:lnTo>
                  <a:lnTo>
                    <a:pt x="213" y="77"/>
                  </a:lnTo>
                  <a:lnTo>
                    <a:pt x="207" y="82"/>
                  </a:lnTo>
                  <a:lnTo>
                    <a:pt x="207" y="77"/>
                  </a:lnTo>
                  <a:lnTo>
                    <a:pt x="196" y="82"/>
                  </a:lnTo>
                  <a:lnTo>
                    <a:pt x="185" y="82"/>
                  </a:lnTo>
                  <a:lnTo>
                    <a:pt x="164" y="87"/>
                  </a:lnTo>
                  <a:lnTo>
                    <a:pt x="158" y="82"/>
                  </a:lnTo>
                  <a:lnTo>
                    <a:pt x="142" y="87"/>
                  </a:lnTo>
                  <a:lnTo>
                    <a:pt x="131" y="87"/>
                  </a:lnTo>
                  <a:lnTo>
                    <a:pt x="131" y="93"/>
                  </a:lnTo>
                  <a:lnTo>
                    <a:pt x="125" y="104"/>
                  </a:lnTo>
                  <a:lnTo>
                    <a:pt x="125" y="98"/>
                  </a:lnTo>
                  <a:lnTo>
                    <a:pt x="125" y="93"/>
                  </a:lnTo>
                  <a:lnTo>
                    <a:pt x="125" y="87"/>
                  </a:lnTo>
                  <a:lnTo>
                    <a:pt x="120" y="87"/>
                  </a:lnTo>
                  <a:lnTo>
                    <a:pt x="109" y="87"/>
                  </a:lnTo>
                  <a:lnTo>
                    <a:pt x="104" y="87"/>
                  </a:lnTo>
                  <a:lnTo>
                    <a:pt x="98" y="93"/>
                  </a:lnTo>
                  <a:lnTo>
                    <a:pt x="82" y="98"/>
                  </a:lnTo>
                  <a:lnTo>
                    <a:pt x="60" y="82"/>
                  </a:lnTo>
                  <a:lnTo>
                    <a:pt x="55" y="87"/>
                  </a:lnTo>
                  <a:lnTo>
                    <a:pt x="55" y="93"/>
                  </a:lnTo>
                  <a:lnTo>
                    <a:pt x="44" y="98"/>
                  </a:lnTo>
                  <a:lnTo>
                    <a:pt x="38" y="93"/>
                  </a:lnTo>
                  <a:lnTo>
                    <a:pt x="38" y="87"/>
                  </a:lnTo>
                  <a:lnTo>
                    <a:pt x="33" y="87"/>
                  </a:lnTo>
                  <a:lnTo>
                    <a:pt x="28" y="87"/>
                  </a:lnTo>
                  <a:lnTo>
                    <a:pt x="22" y="87"/>
                  </a:lnTo>
                  <a:lnTo>
                    <a:pt x="17" y="87"/>
                  </a:lnTo>
                  <a:lnTo>
                    <a:pt x="28" y="82"/>
                  </a:lnTo>
                  <a:lnTo>
                    <a:pt x="11" y="82"/>
                  </a:lnTo>
                  <a:lnTo>
                    <a:pt x="17" y="77"/>
                  </a:lnTo>
                  <a:lnTo>
                    <a:pt x="11" y="77"/>
                  </a:lnTo>
                  <a:lnTo>
                    <a:pt x="11" y="71"/>
                  </a:lnTo>
                  <a:lnTo>
                    <a:pt x="11" y="66"/>
                  </a:lnTo>
                  <a:lnTo>
                    <a:pt x="0" y="60"/>
                  </a:lnTo>
                  <a:lnTo>
                    <a:pt x="0" y="55"/>
                  </a:lnTo>
                  <a:lnTo>
                    <a:pt x="6" y="60"/>
                  </a:lnTo>
                  <a:lnTo>
                    <a:pt x="11" y="60"/>
                  </a:lnTo>
                  <a:lnTo>
                    <a:pt x="6" y="55"/>
                  </a:lnTo>
                  <a:lnTo>
                    <a:pt x="11" y="55"/>
                  </a:lnTo>
                  <a:lnTo>
                    <a:pt x="6" y="44"/>
                  </a:lnTo>
                  <a:lnTo>
                    <a:pt x="6" y="38"/>
                  </a:lnTo>
                  <a:lnTo>
                    <a:pt x="0" y="44"/>
                  </a:lnTo>
                  <a:lnTo>
                    <a:pt x="0"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8" name="Freeform 570"/>
            <p:cNvSpPr>
              <a:spLocks/>
            </p:cNvSpPr>
            <p:nvPr/>
          </p:nvSpPr>
          <p:spPr bwMode="auto">
            <a:xfrm>
              <a:off x="3226" y="2745"/>
              <a:ext cx="136" cy="82"/>
            </a:xfrm>
            <a:custGeom>
              <a:avLst/>
              <a:gdLst>
                <a:gd name="T0" fmla="*/ 49 w 136"/>
                <a:gd name="T1" fmla="*/ 44 h 82"/>
                <a:gd name="T2" fmla="*/ 82 w 136"/>
                <a:gd name="T3" fmla="*/ 6 h 82"/>
                <a:gd name="T4" fmla="*/ 125 w 136"/>
                <a:gd name="T5" fmla="*/ 0 h 82"/>
                <a:gd name="T6" fmla="*/ 136 w 136"/>
                <a:gd name="T7" fmla="*/ 28 h 82"/>
                <a:gd name="T8" fmla="*/ 131 w 136"/>
                <a:gd name="T9" fmla="*/ 33 h 82"/>
                <a:gd name="T10" fmla="*/ 125 w 136"/>
                <a:gd name="T11" fmla="*/ 44 h 82"/>
                <a:gd name="T12" fmla="*/ 93 w 136"/>
                <a:gd name="T13" fmla="*/ 55 h 82"/>
                <a:gd name="T14" fmla="*/ 87 w 136"/>
                <a:gd name="T15" fmla="*/ 60 h 82"/>
                <a:gd name="T16" fmla="*/ 82 w 136"/>
                <a:gd name="T17" fmla="*/ 66 h 82"/>
                <a:gd name="T18" fmla="*/ 71 w 136"/>
                <a:gd name="T19" fmla="*/ 66 h 82"/>
                <a:gd name="T20" fmla="*/ 55 w 136"/>
                <a:gd name="T21" fmla="*/ 71 h 82"/>
                <a:gd name="T22" fmla="*/ 44 w 136"/>
                <a:gd name="T23" fmla="*/ 71 h 82"/>
                <a:gd name="T24" fmla="*/ 33 w 136"/>
                <a:gd name="T25" fmla="*/ 82 h 82"/>
                <a:gd name="T26" fmla="*/ 16 w 136"/>
                <a:gd name="T27" fmla="*/ 82 h 82"/>
                <a:gd name="T28" fmla="*/ 11 w 136"/>
                <a:gd name="T29" fmla="*/ 77 h 82"/>
                <a:gd name="T30" fmla="*/ 6 w 136"/>
                <a:gd name="T31" fmla="*/ 50 h 82"/>
                <a:gd name="T32" fmla="*/ 0 w 136"/>
                <a:gd name="T33" fmla="*/ 50 h 82"/>
                <a:gd name="T34" fmla="*/ 6 w 136"/>
                <a:gd name="T35" fmla="*/ 39 h 82"/>
                <a:gd name="T36" fmla="*/ 0 w 136"/>
                <a:gd name="T37" fmla="*/ 33 h 82"/>
                <a:gd name="T38" fmla="*/ 11 w 136"/>
                <a:gd name="T39" fmla="*/ 22 h 82"/>
                <a:gd name="T40" fmla="*/ 27 w 136"/>
                <a:gd name="T41" fmla="*/ 22 h 82"/>
                <a:gd name="T42" fmla="*/ 49 w 136"/>
                <a:gd name="T43" fmla="*/ 28 h 82"/>
                <a:gd name="T44" fmla="*/ 49 w 136"/>
                <a:gd name="T45" fmla="*/ 44 h 82"/>
                <a:gd name="T46" fmla="*/ 49 w 136"/>
                <a:gd name="T47" fmla="*/ 44 h 8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6"/>
                <a:gd name="T73" fmla="*/ 0 h 82"/>
                <a:gd name="T74" fmla="*/ 136 w 136"/>
                <a:gd name="T75" fmla="*/ 82 h 8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6" h="82">
                  <a:moveTo>
                    <a:pt x="49" y="44"/>
                  </a:moveTo>
                  <a:lnTo>
                    <a:pt x="82" y="6"/>
                  </a:lnTo>
                  <a:lnTo>
                    <a:pt x="125" y="0"/>
                  </a:lnTo>
                  <a:lnTo>
                    <a:pt x="136" y="28"/>
                  </a:lnTo>
                  <a:lnTo>
                    <a:pt x="131" y="33"/>
                  </a:lnTo>
                  <a:lnTo>
                    <a:pt x="125" y="44"/>
                  </a:lnTo>
                  <a:lnTo>
                    <a:pt x="93" y="55"/>
                  </a:lnTo>
                  <a:lnTo>
                    <a:pt x="87" y="60"/>
                  </a:lnTo>
                  <a:lnTo>
                    <a:pt x="82" y="66"/>
                  </a:lnTo>
                  <a:lnTo>
                    <a:pt x="71" y="66"/>
                  </a:lnTo>
                  <a:lnTo>
                    <a:pt x="55" y="71"/>
                  </a:lnTo>
                  <a:lnTo>
                    <a:pt x="44" y="71"/>
                  </a:lnTo>
                  <a:lnTo>
                    <a:pt x="33" y="82"/>
                  </a:lnTo>
                  <a:lnTo>
                    <a:pt x="16" y="82"/>
                  </a:lnTo>
                  <a:lnTo>
                    <a:pt x="11" y="77"/>
                  </a:lnTo>
                  <a:lnTo>
                    <a:pt x="6" y="50"/>
                  </a:lnTo>
                  <a:lnTo>
                    <a:pt x="0" y="50"/>
                  </a:lnTo>
                  <a:lnTo>
                    <a:pt x="6" y="39"/>
                  </a:lnTo>
                  <a:lnTo>
                    <a:pt x="0" y="33"/>
                  </a:lnTo>
                  <a:lnTo>
                    <a:pt x="11" y="22"/>
                  </a:lnTo>
                  <a:lnTo>
                    <a:pt x="27" y="22"/>
                  </a:lnTo>
                  <a:lnTo>
                    <a:pt x="49" y="28"/>
                  </a:lnTo>
                  <a:lnTo>
                    <a:pt x="49" y="4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49" name="Freeform 571"/>
            <p:cNvSpPr>
              <a:spLocks/>
            </p:cNvSpPr>
            <p:nvPr/>
          </p:nvSpPr>
          <p:spPr bwMode="auto">
            <a:xfrm>
              <a:off x="3389" y="2631"/>
              <a:ext cx="17" cy="5"/>
            </a:xfrm>
            <a:custGeom>
              <a:avLst/>
              <a:gdLst>
                <a:gd name="T0" fmla="*/ 17 w 17"/>
                <a:gd name="T1" fmla="*/ 0 h 5"/>
                <a:gd name="T2" fmla="*/ 11 w 17"/>
                <a:gd name="T3" fmla="*/ 0 h 5"/>
                <a:gd name="T4" fmla="*/ 0 w 17"/>
                <a:gd name="T5" fmla="*/ 5 h 5"/>
                <a:gd name="T6" fmla="*/ 17 w 17"/>
                <a:gd name="T7" fmla="*/ 0 h 5"/>
                <a:gd name="T8" fmla="*/ 17 w 17"/>
                <a:gd name="T9" fmla="*/ 0 h 5"/>
                <a:gd name="T10" fmla="*/ 0 60000 65536"/>
                <a:gd name="T11" fmla="*/ 0 60000 65536"/>
                <a:gd name="T12" fmla="*/ 0 60000 65536"/>
                <a:gd name="T13" fmla="*/ 0 60000 65536"/>
                <a:gd name="T14" fmla="*/ 0 60000 65536"/>
                <a:gd name="T15" fmla="*/ 0 w 17"/>
                <a:gd name="T16" fmla="*/ 0 h 5"/>
                <a:gd name="T17" fmla="*/ 17 w 17"/>
                <a:gd name="T18" fmla="*/ 5 h 5"/>
              </a:gdLst>
              <a:ahLst/>
              <a:cxnLst>
                <a:cxn ang="T10">
                  <a:pos x="T0" y="T1"/>
                </a:cxn>
                <a:cxn ang="T11">
                  <a:pos x="T2" y="T3"/>
                </a:cxn>
                <a:cxn ang="T12">
                  <a:pos x="T4" y="T5"/>
                </a:cxn>
                <a:cxn ang="T13">
                  <a:pos x="T6" y="T7"/>
                </a:cxn>
                <a:cxn ang="T14">
                  <a:pos x="T8" y="T9"/>
                </a:cxn>
              </a:cxnLst>
              <a:rect l="T15" t="T16" r="T17" b="T18"/>
              <a:pathLst>
                <a:path w="17" h="5">
                  <a:moveTo>
                    <a:pt x="17" y="0"/>
                  </a:moveTo>
                  <a:lnTo>
                    <a:pt x="11" y="0"/>
                  </a:lnTo>
                  <a:lnTo>
                    <a:pt x="0" y="5"/>
                  </a:lnTo>
                  <a:lnTo>
                    <a:pt x="1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0" name="Freeform 572"/>
            <p:cNvSpPr>
              <a:spLocks/>
            </p:cNvSpPr>
            <p:nvPr/>
          </p:nvSpPr>
          <p:spPr bwMode="auto">
            <a:xfrm>
              <a:off x="3248" y="2434"/>
              <a:ext cx="245" cy="224"/>
            </a:xfrm>
            <a:custGeom>
              <a:avLst/>
              <a:gdLst>
                <a:gd name="T0" fmla="*/ 131 w 245"/>
                <a:gd name="T1" fmla="*/ 44 h 224"/>
                <a:gd name="T2" fmla="*/ 136 w 245"/>
                <a:gd name="T3" fmla="*/ 33 h 224"/>
                <a:gd name="T4" fmla="*/ 169 w 245"/>
                <a:gd name="T5" fmla="*/ 22 h 224"/>
                <a:gd name="T6" fmla="*/ 196 w 245"/>
                <a:gd name="T7" fmla="*/ 33 h 224"/>
                <a:gd name="T8" fmla="*/ 212 w 245"/>
                <a:gd name="T9" fmla="*/ 49 h 224"/>
                <a:gd name="T10" fmla="*/ 223 w 245"/>
                <a:gd name="T11" fmla="*/ 66 h 224"/>
                <a:gd name="T12" fmla="*/ 218 w 245"/>
                <a:gd name="T13" fmla="*/ 88 h 224"/>
                <a:gd name="T14" fmla="*/ 212 w 245"/>
                <a:gd name="T15" fmla="*/ 93 h 224"/>
                <a:gd name="T16" fmla="*/ 212 w 245"/>
                <a:gd name="T17" fmla="*/ 99 h 224"/>
                <a:gd name="T18" fmla="*/ 212 w 245"/>
                <a:gd name="T19" fmla="*/ 126 h 224"/>
                <a:gd name="T20" fmla="*/ 229 w 245"/>
                <a:gd name="T21" fmla="*/ 137 h 224"/>
                <a:gd name="T22" fmla="*/ 218 w 245"/>
                <a:gd name="T23" fmla="*/ 153 h 224"/>
                <a:gd name="T24" fmla="*/ 239 w 245"/>
                <a:gd name="T25" fmla="*/ 180 h 224"/>
                <a:gd name="T26" fmla="*/ 245 w 245"/>
                <a:gd name="T27" fmla="*/ 197 h 224"/>
                <a:gd name="T28" fmla="*/ 234 w 245"/>
                <a:gd name="T29" fmla="*/ 202 h 224"/>
                <a:gd name="T30" fmla="*/ 223 w 245"/>
                <a:gd name="T31" fmla="*/ 224 h 224"/>
                <a:gd name="T32" fmla="*/ 163 w 245"/>
                <a:gd name="T33" fmla="*/ 197 h 224"/>
                <a:gd name="T34" fmla="*/ 136 w 245"/>
                <a:gd name="T35" fmla="*/ 202 h 224"/>
                <a:gd name="T36" fmla="*/ 120 w 245"/>
                <a:gd name="T37" fmla="*/ 197 h 224"/>
                <a:gd name="T38" fmla="*/ 109 w 245"/>
                <a:gd name="T39" fmla="*/ 191 h 224"/>
                <a:gd name="T40" fmla="*/ 87 w 245"/>
                <a:gd name="T41" fmla="*/ 170 h 224"/>
                <a:gd name="T42" fmla="*/ 76 w 245"/>
                <a:gd name="T43" fmla="*/ 153 h 224"/>
                <a:gd name="T44" fmla="*/ 60 w 245"/>
                <a:gd name="T45" fmla="*/ 148 h 224"/>
                <a:gd name="T46" fmla="*/ 49 w 245"/>
                <a:gd name="T47" fmla="*/ 148 h 224"/>
                <a:gd name="T48" fmla="*/ 43 w 245"/>
                <a:gd name="T49" fmla="*/ 137 h 224"/>
                <a:gd name="T50" fmla="*/ 43 w 245"/>
                <a:gd name="T51" fmla="*/ 115 h 224"/>
                <a:gd name="T52" fmla="*/ 16 w 245"/>
                <a:gd name="T53" fmla="*/ 93 h 224"/>
                <a:gd name="T54" fmla="*/ 27 w 245"/>
                <a:gd name="T55" fmla="*/ 71 h 224"/>
                <a:gd name="T56" fmla="*/ 27 w 245"/>
                <a:gd name="T57" fmla="*/ 66 h 224"/>
                <a:gd name="T58" fmla="*/ 11 w 245"/>
                <a:gd name="T59" fmla="*/ 49 h 224"/>
                <a:gd name="T60" fmla="*/ 11 w 245"/>
                <a:gd name="T61" fmla="*/ 39 h 224"/>
                <a:gd name="T62" fmla="*/ 0 w 245"/>
                <a:gd name="T63" fmla="*/ 11 h 224"/>
                <a:gd name="T64" fmla="*/ 5 w 245"/>
                <a:gd name="T65" fmla="*/ 0 h 224"/>
                <a:gd name="T66" fmla="*/ 16 w 245"/>
                <a:gd name="T67" fmla="*/ 11 h 224"/>
                <a:gd name="T68" fmla="*/ 33 w 245"/>
                <a:gd name="T69" fmla="*/ 11 h 224"/>
                <a:gd name="T70" fmla="*/ 49 w 245"/>
                <a:gd name="T71" fmla="*/ 0 h 224"/>
                <a:gd name="T72" fmla="*/ 54 w 245"/>
                <a:gd name="T73" fmla="*/ 11 h 224"/>
                <a:gd name="T74" fmla="*/ 60 w 245"/>
                <a:gd name="T75" fmla="*/ 22 h 224"/>
                <a:gd name="T76" fmla="*/ 76 w 245"/>
                <a:gd name="T77" fmla="*/ 39 h 224"/>
                <a:gd name="T78" fmla="*/ 98 w 245"/>
                <a:gd name="T79" fmla="*/ 49 h 224"/>
                <a:gd name="T80" fmla="*/ 120 w 245"/>
                <a:gd name="T81" fmla="*/ 49 h 22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5"/>
                <a:gd name="T124" fmla="*/ 0 h 224"/>
                <a:gd name="T125" fmla="*/ 245 w 245"/>
                <a:gd name="T126" fmla="*/ 224 h 22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5" h="224">
                  <a:moveTo>
                    <a:pt x="120" y="49"/>
                  </a:moveTo>
                  <a:lnTo>
                    <a:pt x="131" y="44"/>
                  </a:lnTo>
                  <a:lnTo>
                    <a:pt x="125" y="39"/>
                  </a:lnTo>
                  <a:lnTo>
                    <a:pt x="136" y="33"/>
                  </a:lnTo>
                  <a:lnTo>
                    <a:pt x="147" y="28"/>
                  </a:lnTo>
                  <a:lnTo>
                    <a:pt x="169" y="22"/>
                  </a:lnTo>
                  <a:lnTo>
                    <a:pt x="174" y="28"/>
                  </a:lnTo>
                  <a:lnTo>
                    <a:pt x="196" y="33"/>
                  </a:lnTo>
                  <a:lnTo>
                    <a:pt x="196" y="39"/>
                  </a:lnTo>
                  <a:lnTo>
                    <a:pt x="212" y="49"/>
                  </a:lnTo>
                  <a:lnTo>
                    <a:pt x="218" y="49"/>
                  </a:lnTo>
                  <a:lnTo>
                    <a:pt x="223" y="66"/>
                  </a:lnTo>
                  <a:lnTo>
                    <a:pt x="218" y="77"/>
                  </a:lnTo>
                  <a:lnTo>
                    <a:pt x="218" y="88"/>
                  </a:lnTo>
                  <a:lnTo>
                    <a:pt x="212" y="88"/>
                  </a:lnTo>
                  <a:lnTo>
                    <a:pt x="212" y="93"/>
                  </a:lnTo>
                  <a:lnTo>
                    <a:pt x="212" y="99"/>
                  </a:lnTo>
                  <a:lnTo>
                    <a:pt x="212" y="110"/>
                  </a:lnTo>
                  <a:lnTo>
                    <a:pt x="212" y="126"/>
                  </a:lnTo>
                  <a:lnTo>
                    <a:pt x="223" y="131"/>
                  </a:lnTo>
                  <a:lnTo>
                    <a:pt x="229" y="137"/>
                  </a:lnTo>
                  <a:lnTo>
                    <a:pt x="223" y="142"/>
                  </a:lnTo>
                  <a:lnTo>
                    <a:pt x="218" y="153"/>
                  </a:lnTo>
                  <a:lnTo>
                    <a:pt x="223" y="170"/>
                  </a:lnTo>
                  <a:lnTo>
                    <a:pt x="239" y="180"/>
                  </a:lnTo>
                  <a:lnTo>
                    <a:pt x="239" y="191"/>
                  </a:lnTo>
                  <a:lnTo>
                    <a:pt x="245" y="197"/>
                  </a:lnTo>
                  <a:lnTo>
                    <a:pt x="245" y="202"/>
                  </a:lnTo>
                  <a:lnTo>
                    <a:pt x="234" y="202"/>
                  </a:lnTo>
                  <a:lnTo>
                    <a:pt x="229" y="208"/>
                  </a:lnTo>
                  <a:lnTo>
                    <a:pt x="223" y="224"/>
                  </a:lnTo>
                  <a:lnTo>
                    <a:pt x="174" y="213"/>
                  </a:lnTo>
                  <a:lnTo>
                    <a:pt x="163" y="197"/>
                  </a:lnTo>
                  <a:lnTo>
                    <a:pt x="158" y="197"/>
                  </a:lnTo>
                  <a:lnTo>
                    <a:pt x="136" y="202"/>
                  </a:lnTo>
                  <a:lnTo>
                    <a:pt x="120" y="202"/>
                  </a:lnTo>
                  <a:lnTo>
                    <a:pt x="120" y="197"/>
                  </a:lnTo>
                  <a:lnTo>
                    <a:pt x="109" y="197"/>
                  </a:lnTo>
                  <a:lnTo>
                    <a:pt x="109" y="191"/>
                  </a:lnTo>
                  <a:lnTo>
                    <a:pt x="92" y="186"/>
                  </a:lnTo>
                  <a:lnTo>
                    <a:pt x="87" y="170"/>
                  </a:lnTo>
                  <a:lnTo>
                    <a:pt x="82" y="164"/>
                  </a:lnTo>
                  <a:lnTo>
                    <a:pt x="76" y="153"/>
                  </a:lnTo>
                  <a:lnTo>
                    <a:pt x="71" y="153"/>
                  </a:lnTo>
                  <a:lnTo>
                    <a:pt x="60" y="148"/>
                  </a:lnTo>
                  <a:lnTo>
                    <a:pt x="60" y="153"/>
                  </a:lnTo>
                  <a:lnTo>
                    <a:pt x="49" y="148"/>
                  </a:lnTo>
                  <a:lnTo>
                    <a:pt x="49" y="137"/>
                  </a:lnTo>
                  <a:lnTo>
                    <a:pt x="43" y="137"/>
                  </a:lnTo>
                  <a:lnTo>
                    <a:pt x="43" y="126"/>
                  </a:lnTo>
                  <a:lnTo>
                    <a:pt x="43" y="115"/>
                  </a:lnTo>
                  <a:lnTo>
                    <a:pt x="27" y="104"/>
                  </a:lnTo>
                  <a:lnTo>
                    <a:pt x="16" y="93"/>
                  </a:lnTo>
                  <a:lnTo>
                    <a:pt x="16" y="82"/>
                  </a:lnTo>
                  <a:lnTo>
                    <a:pt x="27" y="71"/>
                  </a:lnTo>
                  <a:lnTo>
                    <a:pt x="27" y="66"/>
                  </a:lnTo>
                  <a:lnTo>
                    <a:pt x="16" y="60"/>
                  </a:lnTo>
                  <a:lnTo>
                    <a:pt x="11" y="49"/>
                  </a:lnTo>
                  <a:lnTo>
                    <a:pt x="11" y="39"/>
                  </a:lnTo>
                  <a:lnTo>
                    <a:pt x="0" y="33"/>
                  </a:lnTo>
                  <a:lnTo>
                    <a:pt x="0" y="11"/>
                  </a:lnTo>
                  <a:lnTo>
                    <a:pt x="0" y="6"/>
                  </a:lnTo>
                  <a:lnTo>
                    <a:pt x="5" y="0"/>
                  </a:lnTo>
                  <a:lnTo>
                    <a:pt x="11" y="0"/>
                  </a:lnTo>
                  <a:lnTo>
                    <a:pt x="16" y="11"/>
                  </a:lnTo>
                  <a:lnTo>
                    <a:pt x="27" y="11"/>
                  </a:lnTo>
                  <a:lnTo>
                    <a:pt x="33" y="11"/>
                  </a:lnTo>
                  <a:lnTo>
                    <a:pt x="38" y="6"/>
                  </a:lnTo>
                  <a:lnTo>
                    <a:pt x="49" y="0"/>
                  </a:lnTo>
                  <a:lnTo>
                    <a:pt x="54" y="0"/>
                  </a:lnTo>
                  <a:lnTo>
                    <a:pt x="54" y="11"/>
                  </a:lnTo>
                  <a:lnTo>
                    <a:pt x="49" y="17"/>
                  </a:lnTo>
                  <a:lnTo>
                    <a:pt x="60" y="22"/>
                  </a:lnTo>
                  <a:lnTo>
                    <a:pt x="65" y="33"/>
                  </a:lnTo>
                  <a:lnTo>
                    <a:pt x="76" y="39"/>
                  </a:lnTo>
                  <a:lnTo>
                    <a:pt x="87" y="44"/>
                  </a:lnTo>
                  <a:lnTo>
                    <a:pt x="98" y="49"/>
                  </a:lnTo>
                  <a:lnTo>
                    <a:pt x="120"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1" name="Freeform 573"/>
            <p:cNvSpPr>
              <a:spLocks/>
            </p:cNvSpPr>
            <p:nvPr/>
          </p:nvSpPr>
          <p:spPr bwMode="auto">
            <a:xfrm>
              <a:off x="2965" y="2014"/>
              <a:ext cx="5" cy="6"/>
            </a:xfrm>
            <a:custGeom>
              <a:avLst/>
              <a:gdLst>
                <a:gd name="T0" fmla="*/ 5 w 5"/>
                <a:gd name="T1" fmla="*/ 6 h 6"/>
                <a:gd name="T2" fmla="*/ 5 w 5"/>
                <a:gd name="T3" fmla="*/ 0 h 6"/>
                <a:gd name="T4" fmla="*/ 0 w 5"/>
                <a:gd name="T5" fmla="*/ 6 h 6"/>
                <a:gd name="T6" fmla="*/ 5 w 5"/>
                <a:gd name="T7" fmla="*/ 6 h 6"/>
                <a:gd name="T8" fmla="*/ 5 w 5"/>
                <a:gd name="T9" fmla="*/ 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6"/>
                  </a:moveTo>
                  <a:lnTo>
                    <a:pt x="5" y="0"/>
                  </a:lnTo>
                  <a:lnTo>
                    <a:pt x="0" y="6"/>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2" name="Freeform 574"/>
            <p:cNvSpPr>
              <a:spLocks/>
            </p:cNvSpPr>
            <p:nvPr/>
          </p:nvSpPr>
          <p:spPr bwMode="auto">
            <a:xfrm>
              <a:off x="2932" y="2009"/>
              <a:ext cx="6" cy="11"/>
            </a:xfrm>
            <a:custGeom>
              <a:avLst/>
              <a:gdLst>
                <a:gd name="T0" fmla="*/ 6 w 6"/>
                <a:gd name="T1" fmla="*/ 0 h 11"/>
                <a:gd name="T2" fmla="*/ 0 w 6"/>
                <a:gd name="T3" fmla="*/ 0 h 11"/>
                <a:gd name="T4" fmla="*/ 0 w 6"/>
                <a:gd name="T5" fmla="*/ 5 h 11"/>
                <a:gd name="T6" fmla="*/ 6 w 6"/>
                <a:gd name="T7" fmla="*/ 11 h 11"/>
                <a:gd name="T8" fmla="*/ 6 w 6"/>
                <a:gd name="T9" fmla="*/ 0 h 11"/>
                <a:gd name="T10" fmla="*/ 6 w 6"/>
                <a:gd name="T11" fmla="*/ 0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6" y="0"/>
                  </a:moveTo>
                  <a:lnTo>
                    <a:pt x="0" y="0"/>
                  </a:lnTo>
                  <a:lnTo>
                    <a:pt x="0" y="5"/>
                  </a:lnTo>
                  <a:lnTo>
                    <a:pt x="6" y="11"/>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3" name="Freeform 575"/>
            <p:cNvSpPr>
              <a:spLocks/>
            </p:cNvSpPr>
            <p:nvPr/>
          </p:nvSpPr>
          <p:spPr bwMode="auto">
            <a:xfrm>
              <a:off x="2943" y="1709"/>
              <a:ext cx="142" cy="311"/>
            </a:xfrm>
            <a:custGeom>
              <a:avLst/>
              <a:gdLst>
                <a:gd name="T0" fmla="*/ 33 w 142"/>
                <a:gd name="T1" fmla="*/ 60 h 311"/>
                <a:gd name="T2" fmla="*/ 38 w 142"/>
                <a:gd name="T3" fmla="*/ 103 h 311"/>
                <a:gd name="T4" fmla="*/ 44 w 142"/>
                <a:gd name="T5" fmla="*/ 131 h 311"/>
                <a:gd name="T6" fmla="*/ 60 w 142"/>
                <a:gd name="T7" fmla="*/ 158 h 311"/>
                <a:gd name="T8" fmla="*/ 55 w 142"/>
                <a:gd name="T9" fmla="*/ 174 h 311"/>
                <a:gd name="T10" fmla="*/ 27 w 142"/>
                <a:gd name="T11" fmla="*/ 218 h 311"/>
                <a:gd name="T12" fmla="*/ 16 w 142"/>
                <a:gd name="T13" fmla="*/ 223 h 311"/>
                <a:gd name="T14" fmla="*/ 11 w 142"/>
                <a:gd name="T15" fmla="*/ 229 h 311"/>
                <a:gd name="T16" fmla="*/ 11 w 142"/>
                <a:gd name="T17" fmla="*/ 251 h 311"/>
                <a:gd name="T18" fmla="*/ 16 w 142"/>
                <a:gd name="T19" fmla="*/ 272 h 311"/>
                <a:gd name="T20" fmla="*/ 11 w 142"/>
                <a:gd name="T21" fmla="*/ 278 h 311"/>
                <a:gd name="T22" fmla="*/ 11 w 142"/>
                <a:gd name="T23" fmla="*/ 289 h 311"/>
                <a:gd name="T24" fmla="*/ 27 w 142"/>
                <a:gd name="T25" fmla="*/ 305 h 311"/>
                <a:gd name="T26" fmla="*/ 33 w 142"/>
                <a:gd name="T27" fmla="*/ 311 h 311"/>
                <a:gd name="T28" fmla="*/ 38 w 142"/>
                <a:gd name="T29" fmla="*/ 311 h 311"/>
                <a:gd name="T30" fmla="*/ 71 w 142"/>
                <a:gd name="T31" fmla="*/ 300 h 311"/>
                <a:gd name="T32" fmla="*/ 120 w 142"/>
                <a:gd name="T33" fmla="*/ 267 h 311"/>
                <a:gd name="T34" fmla="*/ 142 w 142"/>
                <a:gd name="T35" fmla="*/ 229 h 311"/>
                <a:gd name="T36" fmla="*/ 125 w 142"/>
                <a:gd name="T37" fmla="*/ 207 h 311"/>
                <a:gd name="T38" fmla="*/ 125 w 142"/>
                <a:gd name="T39" fmla="*/ 185 h 311"/>
                <a:gd name="T40" fmla="*/ 120 w 142"/>
                <a:gd name="T41" fmla="*/ 174 h 311"/>
                <a:gd name="T42" fmla="*/ 125 w 142"/>
                <a:gd name="T43" fmla="*/ 147 h 311"/>
                <a:gd name="T44" fmla="*/ 125 w 142"/>
                <a:gd name="T45" fmla="*/ 87 h 311"/>
                <a:gd name="T46" fmla="*/ 104 w 142"/>
                <a:gd name="T47" fmla="*/ 60 h 311"/>
                <a:gd name="T48" fmla="*/ 104 w 142"/>
                <a:gd name="T49" fmla="*/ 43 h 311"/>
                <a:gd name="T50" fmla="*/ 109 w 142"/>
                <a:gd name="T51" fmla="*/ 32 h 311"/>
                <a:gd name="T52" fmla="*/ 114 w 142"/>
                <a:gd name="T53" fmla="*/ 11 h 311"/>
                <a:gd name="T54" fmla="*/ 71 w 142"/>
                <a:gd name="T55" fmla="*/ 11 h 311"/>
                <a:gd name="T56" fmla="*/ 71 w 142"/>
                <a:gd name="T57" fmla="*/ 38 h 311"/>
                <a:gd name="T58" fmla="*/ 44 w 142"/>
                <a:gd name="T59" fmla="*/ 43 h 311"/>
                <a:gd name="T60" fmla="*/ 27 w 142"/>
                <a:gd name="T61" fmla="*/ 49 h 311"/>
                <a:gd name="T62" fmla="*/ 6 w 142"/>
                <a:gd name="T63" fmla="*/ 27 h 311"/>
                <a:gd name="T64" fmla="*/ 0 w 142"/>
                <a:gd name="T65" fmla="*/ 38 h 31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2"/>
                <a:gd name="T100" fmla="*/ 0 h 311"/>
                <a:gd name="T101" fmla="*/ 142 w 142"/>
                <a:gd name="T102" fmla="*/ 311 h 31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2" h="311">
                  <a:moveTo>
                    <a:pt x="0" y="38"/>
                  </a:moveTo>
                  <a:lnTo>
                    <a:pt x="33" y="60"/>
                  </a:lnTo>
                  <a:lnTo>
                    <a:pt x="38" y="76"/>
                  </a:lnTo>
                  <a:lnTo>
                    <a:pt x="38" y="103"/>
                  </a:lnTo>
                  <a:lnTo>
                    <a:pt x="44" y="114"/>
                  </a:lnTo>
                  <a:lnTo>
                    <a:pt x="44" y="131"/>
                  </a:lnTo>
                  <a:lnTo>
                    <a:pt x="49" y="142"/>
                  </a:lnTo>
                  <a:lnTo>
                    <a:pt x="60" y="158"/>
                  </a:lnTo>
                  <a:lnTo>
                    <a:pt x="65" y="174"/>
                  </a:lnTo>
                  <a:lnTo>
                    <a:pt x="55" y="174"/>
                  </a:lnTo>
                  <a:lnTo>
                    <a:pt x="55" y="185"/>
                  </a:lnTo>
                  <a:lnTo>
                    <a:pt x="27" y="218"/>
                  </a:lnTo>
                  <a:lnTo>
                    <a:pt x="22" y="223"/>
                  </a:lnTo>
                  <a:lnTo>
                    <a:pt x="16" y="223"/>
                  </a:lnTo>
                  <a:lnTo>
                    <a:pt x="16" y="229"/>
                  </a:lnTo>
                  <a:lnTo>
                    <a:pt x="11" y="229"/>
                  </a:lnTo>
                  <a:lnTo>
                    <a:pt x="6" y="240"/>
                  </a:lnTo>
                  <a:lnTo>
                    <a:pt x="11" y="251"/>
                  </a:lnTo>
                  <a:lnTo>
                    <a:pt x="11" y="256"/>
                  </a:lnTo>
                  <a:lnTo>
                    <a:pt x="16" y="272"/>
                  </a:lnTo>
                  <a:lnTo>
                    <a:pt x="11" y="272"/>
                  </a:lnTo>
                  <a:lnTo>
                    <a:pt x="11" y="278"/>
                  </a:lnTo>
                  <a:lnTo>
                    <a:pt x="11" y="283"/>
                  </a:lnTo>
                  <a:lnTo>
                    <a:pt x="11" y="289"/>
                  </a:lnTo>
                  <a:lnTo>
                    <a:pt x="11" y="294"/>
                  </a:lnTo>
                  <a:lnTo>
                    <a:pt x="27" y="305"/>
                  </a:lnTo>
                  <a:lnTo>
                    <a:pt x="33" y="300"/>
                  </a:lnTo>
                  <a:lnTo>
                    <a:pt x="33" y="311"/>
                  </a:lnTo>
                  <a:lnTo>
                    <a:pt x="38" y="311"/>
                  </a:lnTo>
                  <a:lnTo>
                    <a:pt x="49" y="311"/>
                  </a:lnTo>
                  <a:lnTo>
                    <a:pt x="71" y="300"/>
                  </a:lnTo>
                  <a:lnTo>
                    <a:pt x="93" y="294"/>
                  </a:lnTo>
                  <a:lnTo>
                    <a:pt x="120" y="267"/>
                  </a:lnTo>
                  <a:lnTo>
                    <a:pt x="142" y="240"/>
                  </a:lnTo>
                  <a:lnTo>
                    <a:pt x="142" y="229"/>
                  </a:lnTo>
                  <a:lnTo>
                    <a:pt x="136" y="218"/>
                  </a:lnTo>
                  <a:lnTo>
                    <a:pt x="125" y="207"/>
                  </a:lnTo>
                  <a:lnTo>
                    <a:pt x="131" y="191"/>
                  </a:lnTo>
                  <a:lnTo>
                    <a:pt x="125" y="185"/>
                  </a:lnTo>
                  <a:lnTo>
                    <a:pt x="125" y="174"/>
                  </a:lnTo>
                  <a:lnTo>
                    <a:pt x="120" y="174"/>
                  </a:lnTo>
                  <a:lnTo>
                    <a:pt x="120" y="163"/>
                  </a:lnTo>
                  <a:lnTo>
                    <a:pt x="125" y="147"/>
                  </a:lnTo>
                  <a:lnTo>
                    <a:pt x="114" y="109"/>
                  </a:lnTo>
                  <a:lnTo>
                    <a:pt x="125" y="87"/>
                  </a:lnTo>
                  <a:lnTo>
                    <a:pt x="114" y="71"/>
                  </a:lnTo>
                  <a:lnTo>
                    <a:pt x="104" y="60"/>
                  </a:lnTo>
                  <a:lnTo>
                    <a:pt x="109" y="43"/>
                  </a:lnTo>
                  <a:lnTo>
                    <a:pt x="104" y="43"/>
                  </a:lnTo>
                  <a:lnTo>
                    <a:pt x="109" y="38"/>
                  </a:lnTo>
                  <a:lnTo>
                    <a:pt x="109" y="32"/>
                  </a:lnTo>
                  <a:lnTo>
                    <a:pt x="114" y="21"/>
                  </a:lnTo>
                  <a:lnTo>
                    <a:pt x="114" y="11"/>
                  </a:lnTo>
                  <a:lnTo>
                    <a:pt x="98" y="0"/>
                  </a:lnTo>
                  <a:lnTo>
                    <a:pt x="71" y="11"/>
                  </a:lnTo>
                  <a:lnTo>
                    <a:pt x="71" y="16"/>
                  </a:lnTo>
                  <a:lnTo>
                    <a:pt x="71" y="38"/>
                  </a:lnTo>
                  <a:lnTo>
                    <a:pt x="55" y="49"/>
                  </a:lnTo>
                  <a:lnTo>
                    <a:pt x="44" y="43"/>
                  </a:lnTo>
                  <a:lnTo>
                    <a:pt x="38" y="49"/>
                  </a:lnTo>
                  <a:lnTo>
                    <a:pt x="27" y="49"/>
                  </a:lnTo>
                  <a:lnTo>
                    <a:pt x="11" y="27"/>
                  </a:lnTo>
                  <a:lnTo>
                    <a:pt x="6" y="27"/>
                  </a:lnTo>
                  <a:lnTo>
                    <a:pt x="11" y="32"/>
                  </a:lnTo>
                  <a:lnTo>
                    <a:pt x="0"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4" name="Rectangle 576"/>
            <p:cNvSpPr>
              <a:spLocks noChangeArrowheads="1"/>
            </p:cNvSpPr>
            <p:nvPr/>
          </p:nvSpPr>
          <p:spPr bwMode="auto">
            <a:xfrm>
              <a:off x="2698" y="2385"/>
              <a:ext cx="6"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555" name="Freeform 577"/>
            <p:cNvSpPr>
              <a:spLocks/>
            </p:cNvSpPr>
            <p:nvPr/>
          </p:nvSpPr>
          <p:spPr bwMode="auto">
            <a:xfrm>
              <a:off x="2546" y="2134"/>
              <a:ext cx="60" cy="82"/>
            </a:xfrm>
            <a:custGeom>
              <a:avLst/>
              <a:gdLst>
                <a:gd name="T0" fmla="*/ 38 w 60"/>
                <a:gd name="T1" fmla="*/ 6 h 82"/>
                <a:gd name="T2" fmla="*/ 38 w 60"/>
                <a:gd name="T3" fmla="*/ 0 h 82"/>
                <a:gd name="T4" fmla="*/ 32 w 60"/>
                <a:gd name="T5" fmla="*/ 6 h 82"/>
                <a:gd name="T6" fmla="*/ 22 w 60"/>
                <a:gd name="T7" fmla="*/ 11 h 82"/>
                <a:gd name="T8" fmla="*/ 27 w 60"/>
                <a:gd name="T9" fmla="*/ 17 h 82"/>
                <a:gd name="T10" fmla="*/ 27 w 60"/>
                <a:gd name="T11" fmla="*/ 22 h 82"/>
                <a:gd name="T12" fmla="*/ 11 w 60"/>
                <a:gd name="T13" fmla="*/ 22 h 82"/>
                <a:gd name="T14" fmla="*/ 11 w 60"/>
                <a:gd name="T15" fmla="*/ 28 h 82"/>
                <a:gd name="T16" fmla="*/ 11 w 60"/>
                <a:gd name="T17" fmla="*/ 28 h 82"/>
                <a:gd name="T18" fmla="*/ 5 w 60"/>
                <a:gd name="T19" fmla="*/ 28 h 82"/>
                <a:gd name="T20" fmla="*/ 11 w 60"/>
                <a:gd name="T21" fmla="*/ 33 h 82"/>
                <a:gd name="T22" fmla="*/ 5 w 60"/>
                <a:gd name="T23" fmla="*/ 38 h 82"/>
                <a:gd name="T24" fmla="*/ 11 w 60"/>
                <a:gd name="T25" fmla="*/ 44 h 82"/>
                <a:gd name="T26" fmla="*/ 22 w 60"/>
                <a:gd name="T27" fmla="*/ 44 h 82"/>
                <a:gd name="T28" fmla="*/ 11 w 60"/>
                <a:gd name="T29" fmla="*/ 60 h 82"/>
                <a:gd name="T30" fmla="*/ 22 w 60"/>
                <a:gd name="T31" fmla="*/ 55 h 82"/>
                <a:gd name="T32" fmla="*/ 22 w 60"/>
                <a:gd name="T33" fmla="*/ 60 h 82"/>
                <a:gd name="T34" fmla="*/ 11 w 60"/>
                <a:gd name="T35" fmla="*/ 60 h 82"/>
                <a:gd name="T36" fmla="*/ 11 w 60"/>
                <a:gd name="T37" fmla="*/ 66 h 82"/>
                <a:gd name="T38" fmla="*/ 0 w 60"/>
                <a:gd name="T39" fmla="*/ 66 h 82"/>
                <a:gd name="T40" fmla="*/ 11 w 60"/>
                <a:gd name="T41" fmla="*/ 71 h 82"/>
                <a:gd name="T42" fmla="*/ 5 w 60"/>
                <a:gd name="T43" fmla="*/ 77 h 82"/>
                <a:gd name="T44" fmla="*/ 11 w 60"/>
                <a:gd name="T45" fmla="*/ 77 h 82"/>
                <a:gd name="T46" fmla="*/ 5 w 60"/>
                <a:gd name="T47" fmla="*/ 82 h 82"/>
                <a:gd name="T48" fmla="*/ 11 w 60"/>
                <a:gd name="T49" fmla="*/ 77 h 82"/>
                <a:gd name="T50" fmla="*/ 11 w 60"/>
                <a:gd name="T51" fmla="*/ 82 h 82"/>
                <a:gd name="T52" fmla="*/ 16 w 60"/>
                <a:gd name="T53" fmla="*/ 82 h 82"/>
                <a:gd name="T54" fmla="*/ 38 w 60"/>
                <a:gd name="T55" fmla="*/ 71 h 82"/>
                <a:gd name="T56" fmla="*/ 54 w 60"/>
                <a:gd name="T57" fmla="*/ 71 h 82"/>
                <a:gd name="T58" fmla="*/ 60 w 60"/>
                <a:gd name="T59" fmla="*/ 55 h 82"/>
                <a:gd name="T60" fmla="*/ 60 w 60"/>
                <a:gd name="T61" fmla="*/ 38 h 82"/>
                <a:gd name="T62" fmla="*/ 54 w 60"/>
                <a:gd name="T63" fmla="*/ 33 h 82"/>
                <a:gd name="T64" fmla="*/ 54 w 60"/>
                <a:gd name="T65" fmla="*/ 28 h 82"/>
                <a:gd name="T66" fmla="*/ 49 w 60"/>
                <a:gd name="T67" fmla="*/ 17 h 82"/>
                <a:gd name="T68" fmla="*/ 38 w 60"/>
                <a:gd name="T69" fmla="*/ 22 h 82"/>
                <a:gd name="T70" fmla="*/ 32 w 60"/>
                <a:gd name="T71" fmla="*/ 17 h 82"/>
                <a:gd name="T72" fmla="*/ 38 w 60"/>
                <a:gd name="T73" fmla="*/ 6 h 82"/>
                <a:gd name="T74" fmla="*/ 38 w 60"/>
                <a:gd name="T75" fmla="*/ 6 h 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0"/>
                <a:gd name="T115" fmla="*/ 0 h 82"/>
                <a:gd name="T116" fmla="*/ 60 w 60"/>
                <a:gd name="T117" fmla="*/ 82 h 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0" h="82">
                  <a:moveTo>
                    <a:pt x="38" y="6"/>
                  </a:moveTo>
                  <a:lnTo>
                    <a:pt x="38" y="0"/>
                  </a:lnTo>
                  <a:lnTo>
                    <a:pt x="32" y="6"/>
                  </a:lnTo>
                  <a:lnTo>
                    <a:pt x="22" y="11"/>
                  </a:lnTo>
                  <a:lnTo>
                    <a:pt x="27" y="17"/>
                  </a:lnTo>
                  <a:lnTo>
                    <a:pt x="27" y="22"/>
                  </a:lnTo>
                  <a:lnTo>
                    <a:pt x="11" y="22"/>
                  </a:lnTo>
                  <a:lnTo>
                    <a:pt x="11" y="28"/>
                  </a:lnTo>
                  <a:lnTo>
                    <a:pt x="5" y="28"/>
                  </a:lnTo>
                  <a:lnTo>
                    <a:pt x="11" y="33"/>
                  </a:lnTo>
                  <a:lnTo>
                    <a:pt x="5" y="38"/>
                  </a:lnTo>
                  <a:lnTo>
                    <a:pt x="11" y="44"/>
                  </a:lnTo>
                  <a:lnTo>
                    <a:pt x="22" y="44"/>
                  </a:lnTo>
                  <a:lnTo>
                    <a:pt x="11" y="60"/>
                  </a:lnTo>
                  <a:lnTo>
                    <a:pt x="22" y="55"/>
                  </a:lnTo>
                  <a:lnTo>
                    <a:pt x="22" y="60"/>
                  </a:lnTo>
                  <a:lnTo>
                    <a:pt x="11" y="60"/>
                  </a:lnTo>
                  <a:lnTo>
                    <a:pt x="11" y="66"/>
                  </a:lnTo>
                  <a:lnTo>
                    <a:pt x="0" y="66"/>
                  </a:lnTo>
                  <a:lnTo>
                    <a:pt x="11" y="71"/>
                  </a:lnTo>
                  <a:lnTo>
                    <a:pt x="5" y="77"/>
                  </a:lnTo>
                  <a:lnTo>
                    <a:pt x="11" y="77"/>
                  </a:lnTo>
                  <a:lnTo>
                    <a:pt x="5" y="82"/>
                  </a:lnTo>
                  <a:lnTo>
                    <a:pt x="11" y="77"/>
                  </a:lnTo>
                  <a:lnTo>
                    <a:pt x="11" y="82"/>
                  </a:lnTo>
                  <a:lnTo>
                    <a:pt x="16" y="82"/>
                  </a:lnTo>
                  <a:lnTo>
                    <a:pt x="38" y="71"/>
                  </a:lnTo>
                  <a:lnTo>
                    <a:pt x="54" y="71"/>
                  </a:lnTo>
                  <a:lnTo>
                    <a:pt x="60" y="55"/>
                  </a:lnTo>
                  <a:lnTo>
                    <a:pt x="60" y="38"/>
                  </a:lnTo>
                  <a:lnTo>
                    <a:pt x="54" y="33"/>
                  </a:lnTo>
                  <a:lnTo>
                    <a:pt x="54" y="28"/>
                  </a:lnTo>
                  <a:lnTo>
                    <a:pt x="49" y="17"/>
                  </a:lnTo>
                  <a:lnTo>
                    <a:pt x="38" y="22"/>
                  </a:lnTo>
                  <a:lnTo>
                    <a:pt x="32" y="17"/>
                  </a:lnTo>
                  <a:lnTo>
                    <a:pt x="38"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6" name="Freeform 578"/>
            <p:cNvSpPr>
              <a:spLocks/>
            </p:cNvSpPr>
            <p:nvPr/>
          </p:nvSpPr>
          <p:spPr bwMode="auto">
            <a:xfrm>
              <a:off x="2611" y="2123"/>
              <a:ext cx="6" cy="6"/>
            </a:xfrm>
            <a:custGeom>
              <a:avLst/>
              <a:gdLst>
                <a:gd name="T0" fmla="*/ 0 w 6"/>
                <a:gd name="T1" fmla="*/ 0 h 6"/>
                <a:gd name="T2" fmla="*/ 6 w 6"/>
                <a:gd name="T3" fmla="*/ 6 h 6"/>
                <a:gd name="T4" fmla="*/ 6 w 6"/>
                <a:gd name="T5" fmla="*/ 0 h 6"/>
                <a:gd name="T6" fmla="*/ 0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6" y="6"/>
                  </a:lnTo>
                  <a:lnTo>
                    <a:pt x="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7" name="Freeform 579"/>
            <p:cNvSpPr>
              <a:spLocks/>
            </p:cNvSpPr>
            <p:nvPr/>
          </p:nvSpPr>
          <p:spPr bwMode="auto">
            <a:xfrm>
              <a:off x="2578" y="2134"/>
              <a:ext cx="33" cy="28"/>
            </a:xfrm>
            <a:custGeom>
              <a:avLst/>
              <a:gdLst>
                <a:gd name="T0" fmla="*/ 6 w 33"/>
                <a:gd name="T1" fmla="*/ 6 h 28"/>
                <a:gd name="T2" fmla="*/ 0 w 33"/>
                <a:gd name="T3" fmla="*/ 17 h 28"/>
                <a:gd name="T4" fmla="*/ 6 w 33"/>
                <a:gd name="T5" fmla="*/ 22 h 28"/>
                <a:gd name="T6" fmla="*/ 17 w 33"/>
                <a:gd name="T7" fmla="*/ 17 h 28"/>
                <a:gd name="T8" fmla="*/ 22 w 33"/>
                <a:gd name="T9" fmla="*/ 28 h 28"/>
                <a:gd name="T10" fmla="*/ 33 w 33"/>
                <a:gd name="T11" fmla="*/ 22 h 28"/>
                <a:gd name="T12" fmla="*/ 28 w 33"/>
                <a:gd name="T13" fmla="*/ 17 h 28"/>
                <a:gd name="T14" fmla="*/ 33 w 33"/>
                <a:gd name="T15" fmla="*/ 22 h 28"/>
                <a:gd name="T16" fmla="*/ 33 w 33"/>
                <a:gd name="T17" fmla="*/ 17 h 28"/>
                <a:gd name="T18" fmla="*/ 28 w 33"/>
                <a:gd name="T19" fmla="*/ 17 h 28"/>
                <a:gd name="T20" fmla="*/ 28 w 33"/>
                <a:gd name="T21" fmla="*/ 6 h 28"/>
                <a:gd name="T22" fmla="*/ 22 w 33"/>
                <a:gd name="T23" fmla="*/ 0 h 28"/>
                <a:gd name="T24" fmla="*/ 11 w 33"/>
                <a:gd name="T25" fmla="*/ 6 h 28"/>
                <a:gd name="T26" fmla="*/ 11 w 33"/>
                <a:gd name="T27" fmla="*/ 0 h 28"/>
                <a:gd name="T28" fmla="*/ 11 w 33"/>
                <a:gd name="T29" fmla="*/ 0 h 28"/>
                <a:gd name="T30" fmla="*/ 6 w 33"/>
                <a:gd name="T31" fmla="*/ 6 h 28"/>
                <a:gd name="T32" fmla="*/ 6 w 33"/>
                <a:gd name="T33" fmla="*/ 6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28"/>
                <a:gd name="T53" fmla="*/ 33 w 33"/>
                <a:gd name="T54" fmla="*/ 28 h 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28">
                  <a:moveTo>
                    <a:pt x="6" y="6"/>
                  </a:moveTo>
                  <a:lnTo>
                    <a:pt x="0" y="17"/>
                  </a:lnTo>
                  <a:lnTo>
                    <a:pt x="6" y="22"/>
                  </a:lnTo>
                  <a:lnTo>
                    <a:pt x="17" y="17"/>
                  </a:lnTo>
                  <a:lnTo>
                    <a:pt x="22" y="28"/>
                  </a:lnTo>
                  <a:lnTo>
                    <a:pt x="33" y="22"/>
                  </a:lnTo>
                  <a:lnTo>
                    <a:pt x="28" y="17"/>
                  </a:lnTo>
                  <a:lnTo>
                    <a:pt x="33" y="22"/>
                  </a:lnTo>
                  <a:lnTo>
                    <a:pt x="33" y="17"/>
                  </a:lnTo>
                  <a:lnTo>
                    <a:pt x="28" y="17"/>
                  </a:lnTo>
                  <a:lnTo>
                    <a:pt x="28" y="6"/>
                  </a:lnTo>
                  <a:lnTo>
                    <a:pt x="22" y="0"/>
                  </a:lnTo>
                  <a:lnTo>
                    <a:pt x="11" y="6"/>
                  </a:lnTo>
                  <a:lnTo>
                    <a:pt x="11"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8" name="Freeform 580"/>
            <p:cNvSpPr>
              <a:spLocks/>
            </p:cNvSpPr>
            <p:nvPr/>
          </p:nvSpPr>
          <p:spPr bwMode="auto">
            <a:xfrm>
              <a:off x="2595" y="2080"/>
              <a:ext cx="11" cy="11"/>
            </a:xfrm>
            <a:custGeom>
              <a:avLst/>
              <a:gdLst>
                <a:gd name="T0" fmla="*/ 5 w 11"/>
                <a:gd name="T1" fmla="*/ 0 h 11"/>
                <a:gd name="T2" fmla="*/ 0 w 11"/>
                <a:gd name="T3" fmla="*/ 5 h 11"/>
                <a:gd name="T4" fmla="*/ 11 w 11"/>
                <a:gd name="T5" fmla="*/ 11 h 11"/>
                <a:gd name="T6" fmla="*/ 11 w 11"/>
                <a:gd name="T7" fmla="*/ 11 h 11"/>
                <a:gd name="T8" fmla="*/ 11 w 11"/>
                <a:gd name="T9" fmla="*/ 11 h 11"/>
                <a:gd name="T10" fmla="*/ 5 w 11"/>
                <a:gd name="T11" fmla="*/ 0 h 11"/>
                <a:gd name="T12" fmla="*/ 5 w 11"/>
                <a:gd name="T13" fmla="*/ 0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5" y="0"/>
                  </a:moveTo>
                  <a:lnTo>
                    <a:pt x="0" y="5"/>
                  </a:lnTo>
                  <a:lnTo>
                    <a:pt x="11" y="11"/>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59" name="Freeform 581"/>
            <p:cNvSpPr>
              <a:spLocks/>
            </p:cNvSpPr>
            <p:nvPr/>
          </p:nvSpPr>
          <p:spPr bwMode="auto">
            <a:xfrm>
              <a:off x="2600" y="2102"/>
              <a:ext cx="6" cy="5"/>
            </a:xfrm>
            <a:custGeom>
              <a:avLst/>
              <a:gdLst>
                <a:gd name="T0" fmla="*/ 6 w 6"/>
                <a:gd name="T1" fmla="*/ 5 h 5"/>
                <a:gd name="T2" fmla="*/ 6 w 6"/>
                <a:gd name="T3" fmla="*/ 0 h 5"/>
                <a:gd name="T4" fmla="*/ 0 w 6"/>
                <a:gd name="T5" fmla="*/ 5 h 5"/>
                <a:gd name="T6" fmla="*/ 6 w 6"/>
                <a:gd name="T7" fmla="*/ 5 h 5"/>
                <a:gd name="T8" fmla="*/ 6 w 6"/>
                <a:gd name="T9" fmla="*/ 5 h 5"/>
                <a:gd name="T10" fmla="*/ 6 w 6"/>
                <a:gd name="T11" fmla="*/ 5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6" y="5"/>
                  </a:moveTo>
                  <a:lnTo>
                    <a:pt x="6" y="0"/>
                  </a:lnTo>
                  <a:lnTo>
                    <a:pt x="0" y="5"/>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0" name="Freeform 582"/>
            <p:cNvSpPr>
              <a:spLocks/>
            </p:cNvSpPr>
            <p:nvPr/>
          </p:nvSpPr>
          <p:spPr bwMode="auto">
            <a:xfrm>
              <a:off x="2606" y="2118"/>
              <a:ext cx="5" cy="5"/>
            </a:xfrm>
            <a:custGeom>
              <a:avLst/>
              <a:gdLst>
                <a:gd name="T0" fmla="*/ 5 w 5"/>
                <a:gd name="T1" fmla="*/ 0 h 5"/>
                <a:gd name="T2" fmla="*/ 0 w 5"/>
                <a:gd name="T3" fmla="*/ 5 h 5"/>
                <a:gd name="T4" fmla="*/ 0 w 5"/>
                <a:gd name="T5" fmla="*/ 0 h 5"/>
                <a:gd name="T6" fmla="*/ 5 w 5"/>
                <a:gd name="T7" fmla="*/ 0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0"/>
                  </a:moveTo>
                  <a:lnTo>
                    <a:pt x="0" y="5"/>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1" name="Freeform 583"/>
            <p:cNvSpPr>
              <a:spLocks/>
            </p:cNvSpPr>
            <p:nvPr/>
          </p:nvSpPr>
          <p:spPr bwMode="auto">
            <a:xfrm>
              <a:off x="2600" y="2123"/>
              <a:ext cx="6" cy="0"/>
            </a:xfrm>
            <a:custGeom>
              <a:avLst/>
              <a:gdLst>
                <a:gd name="T0" fmla="*/ 0 w 6"/>
                <a:gd name="T1" fmla="*/ 0 w 6"/>
                <a:gd name="T2" fmla="*/ 6 w 6"/>
                <a:gd name="T3" fmla="*/ 0 w 6"/>
                <a:gd name="T4" fmla="*/ 0 w 6"/>
                <a:gd name="T5" fmla="*/ 0 60000 65536"/>
                <a:gd name="T6" fmla="*/ 0 60000 65536"/>
                <a:gd name="T7" fmla="*/ 0 60000 65536"/>
                <a:gd name="T8" fmla="*/ 0 60000 65536"/>
                <a:gd name="T9" fmla="*/ 0 60000 65536"/>
                <a:gd name="T10" fmla="*/ 0 w 6"/>
                <a:gd name="T11" fmla="*/ 6 w 6"/>
              </a:gdLst>
              <a:ahLst/>
              <a:cxnLst>
                <a:cxn ang="T5">
                  <a:pos x="T0" y="0"/>
                </a:cxn>
                <a:cxn ang="T6">
                  <a:pos x="T1" y="0"/>
                </a:cxn>
                <a:cxn ang="T7">
                  <a:pos x="T2" y="0"/>
                </a:cxn>
                <a:cxn ang="T8">
                  <a:pos x="T3" y="0"/>
                </a:cxn>
                <a:cxn ang="T9">
                  <a:pos x="T4" y="0"/>
                </a:cxn>
              </a:cxnLst>
              <a:rect l="T10" t="0" r="T11" b="0"/>
              <a:pathLst>
                <a:path w="6">
                  <a:moveTo>
                    <a:pt x="0" y="0"/>
                  </a:moveTo>
                  <a:lnTo>
                    <a:pt x="0" y="0"/>
                  </a:lnTo>
                  <a:lnTo>
                    <a:pt x="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2" name="Rectangle 584"/>
            <p:cNvSpPr>
              <a:spLocks noChangeArrowheads="1"/>
            </p:cNvSpPr>
            <p:nvPr/>
          </p:nvSpPr>
          <p:spPr bwMode="auto">
            <a:xfrm>
              <a:off x="2622" y="2156"/>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563" name="Freeform 585"/>
            <p:cNvSpPr>
              <a:spLocks/>
            </p:cNvSpPr>
            <p:nvPr/>
          </p:nvSpPr>
          <p:spPr bwMode="auto">
            <a:xfrm>
              <a:off x="2622" y="2172"/>
              <a:ext cx="5" cy="6"/>
            </a:xfrm>
            <a:custGeom>
              <a:avLst/>
              <a:gdLst>
                <a:gd name="T0" fmla="*/ 5 w 5"/>
                <a:gd name="T1" fmla="*/ 6 h 6"/>
                <a:gd name="T2" fmla="*/ 0 w 5"/>
                <a:gd name="T3" fmla="*/ 0 h 6"/>
                <a:gd name="T4" fmla="*/ 5 w 5"/>
                <a:gd name="T5" fmla="*/ 6 h 6"/>
                <a:gd name="T6" fmla="*/ 5 w 5"/>
                <a:gd name="T7" fmla="*/ 6 h 6"/>
                <a:gd name="T8" fmla="*/ 5 w 5"/>
                <a:gd name="T9" fmla="*/ 6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6"/>
                  </a:moveTo>
                  <a:lnTo>
                    <a:pt x="0" y="0"/>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4" name="Freeform 586"/>
            <p:cNvSpPr>
              <a:spLocks/>
            </p:cNvSpPr>
            <p:nvPr/>
          </p:nvSpPr>
          <p:spPr bwMode="auto">
            <a:xfrm>
              <a:off x="2600" y="2052"/>
              <a:ext cx="104" cy="191"/>
            </a:xfrm>
            <a:custGeom>
              <a:avLst/>
              <a:gdLst>
                <a:gd name="T0" fmla="*/ 60 w 104"/>
                <a:gd name="T1" fmla="*/ 180 h 191"/>
                <a:gd name="T2" fmla="*/ 71 w 104"/>
                <a:gd name="T3" fmla="*/ 180 h 191"/>
                <a:gd name="T4" fmla="*/ 98 w 104"/>
                <a:gd name="T5" fmla="*/ 170 h 191"/>
                <a:gd name="T6" fmla="*/ 87 w 104"/>
                <a:gd name="T7" fmla="*/ 164 h 191"/>
                <a:gd name="T8" fmla="*/ 104 w 104"/>
                <a:gd name="T9" fmla="*/ 137 h 191"/>
                <a:gd name="T10" fmla="*/ 82 w 104"/>
                <a:gd name="T11" fmla="*/ 137 h 191"/>
                <a:gd name="T12" fmla="*/ 76 w 104"/>
                <a:gd name="T13" fmla="*/ 115 h 191"/>
                <a:gd name="T14" fmla="*/ 82 w 104"/>
                <a:gd name="T15" fmla="*/ 115 h 191"/>
                <a:gd name="T16" fmla="*/ 66 w 104"/>
                <a:gd name="T17" fmla="*/ 99 h 191"/>
                <a:gd name="T18" fmla="*/ 49 w 104"/>
                <a:gd name="T19" fmla="*/ 66 h 191"/>
                <a:gd name="T20" fmla="*/ 49 w 104"/>
                <a:gd name="T21" fmla="*/ 60 h 191"/>
                <a:gd name="T22" fmla="*/ 49 w 104"/>
                <a:gd name="T23" fmla="*/ 55 h 191"/>
                <a:gd name="T24" fmla="*/ 60 w 104"/>
                <a:gd name="T25" fmla="*/ 33 h 191"/>
                <a:gd name="T26" fmla="*/ 27 w 104"/>
                <a:gd name="T27" fmla="*/ 28 h 191"/>
                <a:gd name="T28" fmla="*/ 33 w 104"/>
                <a:gd name="T29" fmla="*/ 22 h 191"/>
                <a:gd name="T30" fmla="*/ 38 w 104"/>
                <a:gd name="T31" fmla="*/ 11 h 191"/>
                <a:gd name="T32" fmla="*/ 38 w 104"/>
                <a:gd name="T33" fmla="*/ 0 h 191"/>
                <a:gd name="T34" fmla="*/ 17 w 104"/>
                <a:gd name="T35" fmla="*/ 11 h 191"/>
                <a:gd name="T36" fmla="*/ 11 w 104"/>
                <a:gd name="T37" fmla="*/ 17 h 191"/>
                <a:gd name="T38" fmla="*/ 6 w 104"/>
                <a:gd name="T39" fmla="*/ 22 h 191"/>
                <a:gd name="T40" fmla="*/ 6 w 104"/>
                <a:gd name="T41" fmla="*/ 28 h 191"/>
                <a:gd name="T42" fmla="*/ 11 w 104"/>
                <a:gd name="T43" fmla="*/ 33 h 191"/>
                <a:gd name="T44" fmla="*/ 0 w 104"/>
                <a:gd name="T45" fmla="*/ 50 h 191"/>
                <a:gd name="T46" fmla="*/ 11 w 104"/>
                <a:gd name="T47" fmla="*/ 50 h 191"/>
                <a:gd name="T48" fmla="*/ 11 w 104"/>
                <a:gd name="T49" fmla="*/ 71 h 191"/>
                <a:gd name="T50" fmla="*/ 17 w 104"/>
                <a:gd name="T51" fmla="*/ 60 h 191"/>
                <a:gd name="T52" fmla="*/ 17 w 104"/>
                <a:gd name="T53" fmla="*/ 66 h 191"/>
                <a:gd name="T54" fmla="*/ 17 w 104"/>
                <a:gd name="T55" fmla="*/ 71 h 191"/>
                <a:gd name="T56" fmla="*/ 17 w 104"/>
                <a:gd name="T57" fmla="*/ 88 h 191"/>
                <a:gd name="T58" fmla="*/ 17 w 104"/>
                <a:gd name="T59" fmla="*/ 93 h 191"/>
                <a:gd name="T60" fmla="*/ 22 w 104"/>
                <a:gd name="T61" fmla="*/ 93 h 191"/>
                <a:gd name="T62" fmla="*/ 38 w 104"/>
                <a:gd name="T63" fmla="*/ 88 h 191"/>
                <a:gd name="T64" fmla="*/ 38 w 104"/>
                <a:gd name="T65" fmla="*/ 110 h 191"/>
                <a:gd name="T66" fmla="*/ 44 w 104"/>
                <a:gd name="T67" fmla="*/ 115 h 191"/>
                <a:gd name="T68" fmla="*/ 44 w 104"/>
                <a:gd name="T69" fmla="*/ 120 h 191"/>
                <a:gd name="T70" fmla="*/ 33 w 104"/>
                <a:gd name="T71" fmla="*/ 126 h 191"/>
                <a:gd name="T72" fmla="*/ 27 w 104"/>
                <a:gd name="T73" fmla="*/ 131 h 191"/>
                <a:gd name="T74" fmla="*/ 27 w 104"/>
                <a:gd name="T75" fmla="*/ 148 h 191"/>
                <a:gd name="T76" fmla="*/ 17 w 104"/>
                <a:gd name="T77" fmla="*/ 159 h 191"/>
                <a:gd name="T78" fmla="*/ 27 w 104"/>
                <a:gd name="T79" fmla="*/ 164 h 191"/>
                <a:gd name="T80" fmla="*/ 38 w 104"/>
                <a:gd name="T81" fmla="*/ 164 h 191"/>
                <a:gd name="T82" fmla="*/ 44 w 104"/>
                <a:gd name="T83" fmla="*/ 170 h 191"/>
                <a:gd name="T84" fmla="*/ 11 w 104"/>
                <a:gd name="T85" fmla="*/ 191 h 191"/>
                <a:gd name="T86" fmla="*/ 22 w 104"/>
                <a:gd name="T87" fmla="*/ 186 h 191"/>
                <a:gd name="T88" fmla="*/ 38 w 104"/>
                <a:gd name="T89" fmla="*/ 180 h 191"/>
                <a:gd name="T90" fmla="*/ 49 w 104"/>
                <a:gd name="T91" fmla="*/ 186 h 1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4"/>
                <a:gd name="T139" fmla="*/ 0 h 191"/>
                <a:gd name="T140" fmla="*/ 104 w 104"/>
                <a:gd name="T141" fmla="*/ 191 h 19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4" h="191">
                  <a:moveTo>
                    <a:pt x="49" y="186"/>
                  </a:moveTo>
                  <a:lnTo>
                    <a:pt x="60" y="180"/>
                  </a:lnTo>
                  <a:lnTo>
                    <a:pt x="66" y="175"/>
                  </a:lnTo>
                  <a:lnTo>
                    <a:pt x="71" y="180"/>
                  </a:lnTo>
                  <a:lnTo>
                    <a:pt x="93" y="175"/>
                  </a:lnTo>
                  <a:lnTo>
                    <a:pt x="98" y="170"/>
                  </a:lnTo>
                  <a:lnTo>
                    <a:pt x="93" y="170"/>
                  </a:lnTo>
                  <a:lnTo>
                    <a:pt x="87" y="164"/>
                  </a:lnTo>
                  <a:lnTo>
                    <a:pt x="104" y="153"/>
                  </a:lnTo>
                  <a:lnTo>
                    <a:pt x="104" y="137"/>
                  </a:lnTo>
                  <a:lnTo>
                    <a:pt x="98" y="131"/>
                  </a:lnTo>
                  <a:lnTo>
                    <a:pt x="82" y="137"/>
                  </a:lnTo>
                  <a:lnTo>
                    <a:pt x="87" y="126"/>
                  </a:lnTo>
                  <a:lnTo>
                    <a:pt x="76" y="115"/>
                  </a:lnTo>
                  <a:lnTo>
                    <a:pt x="82" y="120"/>
                  </a:lnTo>
                  <a:lnTo>
                    <a:pt x="82" y="115"/>
                  </a:lnTo>
                  <a:lnTo>
                    <a:pt x="71" y="99"/>
                  </a:lnTo>
                  <a:lnTo>
                    <a:pt x="66" y="99"/>
                  </a:lnTo>
                  <a:lnTo>
                    <a:pt x="60" y="77"/>
                  </a:lnTo>
                  <a:lnTo>
                    <a:pt x="49" y="66"/>
                  </a:lnTo>
                  <a:lnTo>
                    <a:pt x="38" y="66"/>
                  </a:lnTo>
                  <a:lnTo>
                    <a:pt x="49" y="60"/>
                  </a:lnTo>
                  <a:lnTo>
                    <a:pt x="44" y="55"/>
                  </a:lnTo>
                  <a:lnTo>
                    <a:pt x="49" y="55"/>
                  </a:lnTo>
                  <a:lnTo>
                    <a:pt x="55" y="44"/>
                  </a:lnTo>
                  <a:lnTo>
                    <a:pt x="60" y="33"/>
                  </a:lnTo>
                  <a:lnTo>
                    <a:pt x="55" y="28"/>
                  </a:lnTo>
                  <a:lnTo>
                    <a:pt x="27" y="28"/>
                  </a:lnTo>
                  <a:lnTo>
                    <a:pt x="33" y="22"/>
                  </a:lnTo>
                  <a:lnTo>
                    <a:pt x="27" y="22"/>
                  </a:lnTo>
                  <a:lnTo>
                    <a:pt x="38" y="11"/>
                  </a:lnTo>
                  <a:lnTo>
                    <a:pt x="38" y="6"/>
                  </a:lnTo>
                  <a:lnTo>
                    <a:pt x="38" y="0"/>
                  </a:lnTo>
                  <a:lnTo>
                    <a:pt x="17" y="6"/>
                  </a:lnTo>
                  <a:lnTo>
                    <a:pt x="17" y="11"/>
                  </a:lnTo>
                  <a:lnTo>
                    <a:pt x="11" y="11"/>
                  </a:lnTo>
                  <a:lnTo>
                    <a:pt x="11" y="17"/>
                  </a:lnTo>
                  <a:lnTo>
                    <a:pt x="11" y="22"/>
                  </a:lnTo>
                  <a:lnTo>
                    <a:pt x="6" y="22"/>
                  </a:lnTo>
                  <a:lnTo>
                    <a:pt x="6" y="28"/>
                  </a:lnTo>
                  <a:lnTo>
                    <a:pt x="6" y="33"/>
                  </a:lnTo>
                  <a:lnTo>
                    <a:pt x="11" y="33"/>
                  </a:lnTo>
                  <a:lnTo>
                    <a:pt x="6" y="50"/>
                  </a:lnTo>
                  <a:lnTo>
                    <a:pt x="0" y="50"/>
                  </a:lnTo>
                  <a:lnTo>
                    <a:pt x="6" y="55"/>
                  </a:lnTo>
                  <a:lnTo>
                    <a:pt x="11" y="50"/>
                  </a:lnTo>
                  <a:lnTo>
                    <a:pt x="6" y="82"/>
                  </a:lnTo>
                  <a:lnTo>
                    <a:pt x="11" y="71"/>
                  </a:lnTo>
                  <a:lnTo>
                    <a:pt x="11" y="66"/>
                  </a:lnTo>
                  <a:lnTo>
                    <a:pt x="17" y="60"/>
                  </a:lnTo>
                  <a:lnTo>
                    <a:pt x="11" y="71"/>
                  </a:lnTo>
                  <a:lnTo>
                    <a:pt x="17" y="66"/>
                  </a:lnTo>
                  <a:lnTo>
                    <a:pt x="22" y="66"/>
                  </a:lnTo>
                  <a:lnTo>
                    <a:pt x="17" y="71"/>
                  </a:lnTo>
                  <a:lnTo>
                    <a:pt x="22" y="77"/>
                  </a:lnTo>
                  <a:lnTo>
                    <a:pt x="17" y="88"/>
                  </a:lnTo>
                  <a:lnTo>
                    <a:pt x="17" y="93"/>
                  </a:lnTo>
                  <a:lnTo>
                    <a:pt x="22" y="93"/>
                  </a:lnTo>
                  <a:lnTo>
                    <a:pt x="27" y="93"/>
                  </a:lnTo>
                  <a:lnTo>
                    <a:pt x="38" y="88"/>
                  </a:lnTo>
                  <a:lnTo>
                    <a:pt x="33" y="99"/>
                  </a:lnTo>
                  <a:lnTo>
                    <a:pt x="38" y="110"/>
                  </a:lnTo>
                  <a:lnTo>
                    <a:pt x="44" y="104"/>
                  </a:lnTo>
                  <a:lnTo>
                    <a:pt x="44" y="115"/>
                  </a:lnTo>
                  <a:lnTo>
                    <a:pt x="44" y="120"/>
                  </a:lnTo>
                  <a:lnTo>
                    <a:pt x="44" y="126"/>
                  </a:lnTo>
                  <a:lnTo>
                    <a:pt x="33" y="126"/>
                  </a:lnTo>
                  <a:lnTo>
                    <a:pt x="22" y="137"/>
                  </a:lnTo>
                  <a:lnTo>
                    <a:pt x="27" y="131"/>
                  </a:lnTo>
                  <a:lnTo>
                    <a:pt x="33" y="142"/>
                  </a:lnTo>
                  <a:lnTo>
                    <a:pt x="27" y="148"/>
                  </a:lnTo>
                  <a:lnTo>
                    <a:pt x="11" y="159"/>
                  </a:lnTo>
                  <a:lnTo>
                    <a:pt x="17" y="159"/>
                  </a:lnTo>
                  <a:lnTo>
                    <a:pt x="22" y="159"/>
                  </a:lnTo>
                  <a:lnTo>
                    <a:pt x="27" y="164"/>
                  </a:lnTo>
                  <a:lnTo>
                    <a:pt x="33" y="159"/>
                  </a:lnTo>
                  <a:lnTo>
                    <a:pt x="38" y="164"/>
                  </a:lnTo>
                  <a:lnTo>
                    <a:pt x="49" y="159"/>
                  </a:lnTo>
                  <a:lnTo>
                    <a:pt x="44" y="170"/>
                  </a:lnTo>
                  <a:lnTo>
                    <a:pt x="27" y="170"/>
                  </a:lnTo>
                  <a:lnTo>
                    <a:pt x="11" y="191"/>
                  </a:lnTo>
                  <a:lnTo>
                    <a:pt x="17" y="191"/>
                  </a:lnTo>
                  <a:lnTo>
                    <a:pt x="22" y="186"/>
                  </a:lnTo>
                  <a:lnTo>
                    <a:pt x="33" y="191"/>
                  </a:lnTo>
                  <a:lnTo>
                    <a:pt x="38" y="180"/>
                  </a:lnTo>
                  <a:lnTo>
                    <a:pt x="44" y="180"/>
                  </a:lnTo>
                  <a:lnTo>
                    <a:pt x="49" y="18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5" name="Freeform 587"/>
            <p:cNvSpPr>
              <a:spLocks/>
            </p:cNvSpPr>
            <p:nvPr/>
          </p:nvSpPr>
          <p:spPr bwMode="auto">
            <a:xfrm>
              <a:off x="2589" y="2058"/>
              <a:ext cx="11" cy="16"/>
            </a:xfrm>
            <a:custGeom>
              <a:avLst/>
              <a:gdLst>
                <a:gd name="T0" fmla="*/ 11 w 11"/>
                <a:gd name="T1" fmla="*/ 0 h 16"/>
                <a:gd name="T2" fmla="*/ 0 w 11"/>
                <a:gd name="T3" fmla="*/ 5 h 16"/>
                <a:gd name="T4" fmla="*/ 0 w 11"/>
                <a:gd name="T5" fmla="*/ 16 h 16"/>
                <a:gd name="T6" fmla="*/ 11 w 11"/>
                <a:gd name="T7" fmla="*/ 11 h 16"/>
                <a:gd name="T8" fmla="*/ 11 w 11"/>
                <a:gd name="T9" fmla="*/ 11 h 16"/>
                <a:gd name="T10" fmla="*/ 11 w 11"/>
                <a:gd name="T11" fmla="*/ 5 h 16"/>
                <a:gd name="T12" fmla="*/ 11 w 11"/>
                <a:gd name="T13" fmla="*/ 0 h 16"/>
                <a:gd name="T14" fmla="*/ 11 w 11"/>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6"/>
                <a:gd name="T26" fmla="*/ 11 w 11"/>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6">
                  <a:moveTo>
                    <a:pt x="11" y="0"/>
                  </a:moveTo>
                  <a:lnTo>
                    <a:pt x="0" y="5"/>
                  </a:lnTo>
                  <a:lnTo>
                    <a:pt x="0" y="16"/>
                  </a:lnTo>
                  <a:lnTo>
                    <a:pt x="11" y="11"/>
                  </a:lnTo>
                  <a:lnTo>
                    <a:pt x="11" y="5"/>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6" name="Freeform 588"/>
            <p:cNvSpPr>
              <a:spLocks/>
            </p:cNvSpPr>
            <p:nvPr/>
          </p:nvSpPr>
          <p:spPr bwMode="auto">
            <a:xfrm>
              <a:off x="3634" y="1589"/>
              <a:ext cx="11" cy="5"/>
            </a:xfrm>
            <a:custGeom>
              <a:avLst/>
              <a:gdLst>
                <a:gd name="T0" fmla="*/ 0 w 11"/>
                <a:gd name="T1" fmla="*/ 0 h 5"/>
                <a:gd name="T2" fmla="*/ 11 w 11"/>
                <a:gd name="T3" fmla="*/ 0 h 5"/>
                <a:gd name="T4" fmla="*/ 6 w 11"/>
                <a:gd name="T5" fmla="*/ 5 h 5"/>
                <a:gd name="T6" fmla="*/ 0 w 11"/>
                <a:gd name="T7" fmla="*/ 0 h 5"/>
                <a:gd name="T8" fmla="*/ 0 w 11"/>
                <a:gd name="T9" fmla="*/ 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11" y="0"/>
                  </a:lnTo>
                  <a:lnTo>
                    <a:pt x="6" y="5"/>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567" name="Freeform 589"/>
            <p:cNvSpPr>
              <a:spLocks/>
            </p:cNvSpPr>
            <p:nvPr/>
          </p:nvSpPr>
          <p:spPr bwMode="auto">
            <a:xfrm>
              <a:off x="3634" y="1589"/>
              <a:ext cx="11" cy="5"/>
            </a:xfrm>
            <a:custGeom>
              <a:avLst/>
              <a:gdLst>
                <a:gd name="T0" fmla="*/ 0 w 11"/>
                <a:gd name="T1" fmla="*/ 0 h 5"/>
                <a:gd name="T2" fmla="*/ 11 w 11"/>
                <a:gd name="T3" fmla="*/ 0 h 5"/>
                <a:gd name="T4" fmla="*/ 6 w 11"/>
                <a:gd name="T5" fmla="*/ 5 h 5"/>
                <a:gd name="T6" fmla="*/ 0 w 11"/>
                <a:gd name="T7" fmla="*/ 0 h 5"/>
                <a:gd name="T8" fmla="*/ 0 60000 65536"/>
                <a:gd name="T9" fmla="*/ 0 60000 65536"/>
                <a:gd name="T10" fmla="*/ 0 60000 65536"/>
                <a:gd name="T11" fmla="*/ 0 60000 65536"/>
                <a:gd name="T12" fmla="*/ 0 w 11"/>
                <a:gd name="T13" fmla="*/ 0 h 5"/>
                <a:gd name="T14" fmla="*/ 11 w 11"/>
                <a:gd name="T15" fmla="*/ 5 h 5"/>
              </a:gdLst>
              <a:ahLst/>
              <a:cxnLst>
                <a:cxn ang="T8">
                  <a:pos x="T0" y="T1"/>
                </a:cxn>
                <a:cxn ang="T9">
                  <a:pos x="T2" y="T3"/>
                </a:cxn>
                <a:cxn ang="T10">
                  <a:pos x="T4" y="T5"/>
                </a:cxn>
                <a:cxn ang="T11">
                  <a:pos x="T6" y="T7"/>
                </a:cxn>
              </a:cxnLst>
              <a:rect l="T12" t="T13" r="T14" b="T15"/>
              <a:pathLst>
                <a:path w="11" h="5">
                  <a:moveTo>
                    <a:pt x="0" y="0"/>
                  </a:moveTo>
                  <a:lnTo>
                    <a:pt x="11" y="0"/>
                  </a:lnTo>
                  <a:lnTo>
                    <a:pt x="6" y="5"/>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68" name="Freeform 590"/>
            <p:cNvSpPr>
              <a:spLocks/>
            </p:cNvSpPr>
            <p:nvPr/>
          </p:nvSpPr>
          <p:spPr bwMode="auto">
            <a:xfrm>
              <a:off x="4576" y="2331"/>
              <a:ext cx="22" cy="22"/>
            </a:xfrm>
            <a:custGeom>
              <a:avLst/>
              <a:gdLst>
                <a:gd name="T0" fmla="*/ 22 w 22"/>
                <a:gd name="T1" fmla="*/ 5 h 22"/>
                <a:gd name="T2" fmla="*/ 0 w 22"/>
                <a:gd name="T3" fmla="*/ 22 h 22"/>
                <a:gd name="T4" fmla="*/ 11 w 22"/>
                <a:gd name="T5" fmla="*/ 5 h 22"/>
                <a:gd name="T6" fmla="*/ 16 w 22"/>
                <a:gd name="T7" fmla="*/ 5 h 22"/>
                <a:gd name="T8" fmla="*/ 22 w 22"/>
                <a:gd name="T9" fmla="*/ 0 h 22"/>
                <a:gd name="T10" fmla="*/ 22 w 22"/>
                <a:gd name="T11" fmla="*/ 5 h 22"/>
                <a:gd name="T12" fmla="*/ 22 w 22"/>
                <a:gd name="T13" fmla="*/ 5 h 22"/>
                <a:gd name="T14" fmla="*/ 0 60000 65536"/>
                <a:gd name="T15" fmla="*/ 0 60000 65536"/>
                <a:gd name="T16" fmla="*/ 0 60000 65536"/>
                <a:gd name="T17" fmla="*/ 0 60000 65536"/>
                <a:gd name="T18" fmla="*/ 0 60000 65536"/>
                <a:gd name="T19" fmla="*/ 0 60000 65536"/>
                <a:gd name="T20" fmla="*/ 0 60000 65536"/>
                <a:gd name="T21" fmla="*/ 0 w 22"/>
                <a:gd name="T22" fmla="*/ 0 h 22"/>
                <a:gd name="T23" fmla="*/ 22 w 22"/>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2">
                  <a:moveTo>
                    <a:pt x="22" y="5"/>
                  </a:moveTo>
                  <a:lnTo>
                    <a:pt x="0" y="22"/>
                  </a:lnTo>
                  <a:lnTo>
                    <a:pt x="11" y="5"/>
                  </a:lnTo>
                  <a:lnTo>
                    <a:pt x="16" y="5"/>
                  </a:lnTo>
                  <a:lnTo>
                    <a:pt x="22" y="0"/>
                  </a:lnTo>
                  <a:lnTo>
                    <a:pt x="22" y="5"/>
                  </a:lnTo>
                  <a:close/>
                </a:path>
              </a:pathLst>
            </a:custGeom>
            <a:solidFill>
              <a:schemeClr val="accent2"/>
            </a:solidFill>
            <a:ln w="12700" cmpd="sng">
              <a:solidFill>
                <a:schemeClr val="bg1"/>
              </a:solidFill>
              <a:round/>
              <a:headEnd/>
              <a:tailEnd/>
            </a:ln>
          </p:spPr>
          <p:txBody>
            <a:bodyPr/>
            <a:lstStyle/>
            <a:p>
              <a:endParaRPr lang="de-DE"/>
            </a:p>
          </p:txBody>
        </p:sp>
        <p:sp>
          <p:nvSpPr>
            <p:cNvPr id="356569" name="Freeform 591"/>
            <p:cNvSpPr>
              <a:spLocks/>
            </p:cNvSpPr>
            <p:nvPr/>
          </p:nvSpPr>
          <p:spPr bwMode="auto">
            <a:xfrm>
              <a:off x="4576" y="2331"/>
              <a:ext cx="22" cy="22"/>
            </a:xfrm>
            <a:custGeom>
              <a:avLst/>
              <a:gdLst>
                <a:gd name="T0" fmla="*/ 22 w 22"/>
                <a:gd name="T1" fmla="*/ 5 h 22"/>
                <a:gd name="T2" fmla="*/ 0 w 22"/>
                <a:gd name="T3" fmla="*/ 22 h 22"/>
                <a:gd name="T4" fmla="*/ 11 w 22"/>
                <a:gd name="T5" fmla="*/ 5 h 22"/>
                <a:gd name="T6" fmla="*/ 16 w 22"/>
                <a:gd name="T7" fmla="*/ 5 h 22"/>
                <a:gd name="T8" fmla="*/ 22 w 22"/>
                <a:gd name="T9" fmla="*/ 0 h 22"/>
                <a:gd name="T10" fmla="*/ 22 w 22"/>
                <a:gd name="T11" fmla="*/ 5 h 22"/>
                <a:gd name="T12" fmla="*/ 0 60000 65536"/>
                <a:gd name="T13" fmla="*/ 0 60000 65536"/>
                <a:gd name="T14" fmla="*/ 0 60000 65536"/>
                <a:gd name="T15" fmla="*/ 0 60000 65536"/>
                <a:gd name="T16" fmla="*/ 0 60000 65536"/>
                <a:gd name="T17" fmla="*/ 0 60000 65536"/>
                <a:gd name="T18" fmla="*/ 0 w 22"/>
                <a:gd name="T19" fmla="*/ 0 h 22"/>
                <a:gd name="T20" fmla="*/ 22 w 22"/>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2" h="22">
                  <a:moveTo>
                    <a:pt x="22" y="5"/>
                  </a:moveTo>
                  <a:lnTo>
                    <a:pt x="0" y="22"/>
                  </a:lnTo>
                  <a:lnTo>
                    <a:pt x="11" y="5"/>
                  </a:lnTo>
                  <a:lnTo>
                    <a:pt x="16" y="5"/>
                  </a:lnTo>
                  <a:lnTo>
                    <a:pt x="22" y="0"/>
                  </a:lnTo>
                  <a:lnTo>
                    <a:pt x="22" y="5"/>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0" name="Freeform 592"/>
            <p:cNvSpPr>
              <a:spLocks/>
            </p:cNvSpPr>
            <p:nvPr/>
          </p:nvSpPr>
          <p:spPr bwMode="auto">
            <a:xfrm>
              <a:off x="4554" y="2353"/>
              <a:ext cx="11" cy="16"/>
            </a:xfrm>
            <a:custGeom>
              <a:avLst/>
              <a:gdLst>
                <a:gd name="T0" fmla="*/ 11 w 11"/>
                <a:gd name="T1" fmla="*/ 0 h 16"/>
                <a:gd name="T2" fmla="*/ 11 w 11"/>
                <a:gd name="T3" fmla="*/ 0 h 16"/>
                <a:gd name="T4" fmla="*/ 0 w 11"/>
                <a:gd name="T5" fmla="*/ 16 h 16"/>
                <a:gd name="T6" fmla="*/ 0 w 11"/>
                <a:gd name="T7" fmla="*/ 10 h 16"/>
                <a:gd name="T8" fmla="*/ 11 w 11"/>
                <a:gd name="T9" fmla="*/ 0 h 16"/>
                <a:gd name="T10" fmla="*/ 11 w 11"/>
                <a:gd name="T11" fmla="*/ 0 h 16"/>
                <a:gd name="T12" fmla="*/ 0 60000 65536"/>
                <a:gd name="T13" fmla="*/ 0 60000 65536"/>
                <a:gd name="T14" fmla="*/ 0 60000 65536"/>
                <a:gd name="T15" fmla="*/ 0 60000 65536"/>
                <a:gd name="T16" fmla="*/ 0 60000 65536"/>
                <a:gd name="T17" fmla="*/ 0 60000 65536"/>
                <a:gd name="T18" fmla="*/ 0 w 11"/>
                <a:gd name="T19" fmla="*/ 0 h 16"/>
                <a:gd name="T20" fmla="*/ 11 w 11"/>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1" h="16">
                  <a:moveTo>
                    <a:pt x="11" y="0"/>
                  </a:moveTo>
                  <a:lnTo>
                    <a:pt x="11" y="0"/>
                  </a:lnTo>
                  <a:lnTo>
                    <a:pt x="0" y="16"/>
                  </a:lnTo>
                  <a:lnTo>
                    <a:pt x="0" y="10"/>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571" name="Freeform 593"/>
            <p:cNvSpPr>
              <a:spLocks/>
            </p:cNvSpPr>
            <p:nvPr/>
          </p:nvSpPr>
          <p:spPr bwMode="auto">
            <a:xfrm>
              <a:off x="4554" y="2353"/>
              <a:ext cx="11" cy="16"/>
            </a:xfrm>
            <a:custGeom>
              <a:avLst/>
              <a:gdLst>
                <a:gd name="T0" fmla="*/ 11 w 11"/>
                <a:gd name="T1" fmla="*/ 0 h 16"/>
                <a:gd name="T2" fmla="*/ 11 w 11"/>
                <a:gd name="T3" fmla="*/ 0 h 16"/>
                <a:gd name="T4" fmla="*/ 0 w 11"/>
                <a:gd name="T5" fmla="*/ 16 h 16"/>
                <a:gd name="T6" fmla="*/ 0 w 11"/>
                <a:gd name="T7" fmla="*/ 10 h 16"/>
                <a:gd name="T8" fmla="*/ 11 w 11"/>
                <a:gd name="T9" fmla="*/ 0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11" y="0"/>
                  </a:moveTo>
                  <a:lnTo>
                    <a:pt x="11" y="0"/>
                  </a:lnTo>
                  <a:lnTo>
                    <a:pt x="0" y="16"/>
                  </a:lnTo>
                  <a:lnTo>
                    <a:pt x="0" y="10"/>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2" name="Freeform 594"/>
            <p:cNvSpPr>
              <a:spLocks/>
            </p:cNvSpPr>
            <p:nvPr/>
          </p:nvSpPr>
          <p:spPr bwMode="auto">
            <a:xfrm>
              <a:off x="3743" y="1692"/>
              <a:ext cx="6" cy="11"/>
            </a:xfrm>
            <a:custGeom>
              <a:avLst/>
              <a:gdLst>
                <a:gd name="T0" fmla="*/ 0 w 6"/>
                <a:gd name="T1" fmla="*/ 6 h 11"/>
                <a:gd name="T2" fmla="*/ 0 w 6"/>
                <a:gd name="T3" fmla="*/ 0 h 11"/>
                <a:gd name="T4" fmla="*/ 6 w 6"/>
                <a:gd name="T5" fmla="*/ 11 h 11"/>
                <a:gd name="T6" fmla="*/ 0 w 6"/>
                <a:gd name="T7" fmla="*/ 11 h 11"/>
                <a:gd name="T8" fmla="*/ 0 w 6"/>
                <a:gd name="T9" fmla="*/ 6 h 11"/>
                <a:gd name="T10" fmla="*/ 0 w 6"/>
                <a:gd name="T11" fmla="*/ 6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0" y="6"/>
                  </a:moveTo>
                  <a:lnTo>
                    <a:pt x="0" y="0"/>
                  </a:lnTo>
                  <a:lnTo>
                    <a:pt x="6" y="11"/>
                  </a:lnTo>
                  <a:lnTo>
                    <a:pt x="0" y="11"/>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3" name="Freeform 595"/>
            <p:cNvSpPr>
              <a:spLocks/>
            </p:cNvSpPr>
            <p:nvPr/>
          </p:nvSpPr>
          <p:spPr bwMode="auto">
            <a:xfrm>
              <a:off x="3585" y="1823"/>
              <a:ext cx="17" cy="11"/>
            </a:xfrm>
            <a:custGeom>
              <a:avLst/>
              <a:gdLst>
                <a:gd name="T0" fmla="*/ 0 w 17"/>
                <a:gd name="T1" fmla="*/ 6 h 11"/>
                <a:gd name="T2" fmla="*/ 17 w 17"/>
                <a:gd name="T3" fmla="*/ 0 h 11"/>
                <a:gd name="T4" fmla="*/ 17 w 17"/>
                <a:gd name="T5" fmla="*/ 6 h 11"/>
                <a:gd name="T6" fmla="*/ 6 w 17"/>
                <a:gd name="T7" fmla="*/ 11 h 11"/>
                <a:gd name="T8" fmla="*/ 0 w 17"/>
                <a:gd name="T9" fmla="*/ 6 h 11"/>
                <a:gd name="T10" fmla="*/ 0 w 17"/>
                <a:gd name="T11" fmla="*/ 6 h 11"/>
                <a:gd name="T12" fmla="*/ 0 60000 65536"/>
                <a:gd name="T13" fmla="*/ 0 60000 65536"/>
                <a:gd name="T14" fmla="*/ 0 60000 65536"/>
                <a:gd name="T15" fmla="*/ 0 60000 65536"/>
                <a:gd name="T16" fmla="*/ 0 60000 65536"/>
                <a:gd name="T17" fmla="*/ 0 60000 65536"/>
                <a:gd name="T18" fmla="*/ 0 w 17"/>
                <a:gd name="T19" fmla="*/ 0 h 11"/>
                <a:gd name="T20" fmla="*/ 17 w 1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7" h="11">
                  <a:moveTo>
                    <a:pt x="0" y="6"/>
                  </a:moveTo>
                  <a:lnTo>
                    <a:pt x="17" y="0"/>
                  </a:lnTo>
                  <a:lnTo>
                    <a:pt x="17" y="6"/>
                  </a:lnTo>
                  <a:lnTo>
                    <a:pt x="6" y="11"/>
                  </a:lnTo>
                  <a:lnTo>
                    <a:pt x="0" y="6"/>
                  </a:lnTo>
                  <a:close/>
                </a:path>
              </a:pathLst>
            </a:custGeom>
            <a:solidFill>
              <a:schemeClr val="accent2"/>
            </a:solidFill>
            <a:ln w="12700" cmpd="sng">
              <a:solidFill>
                <a:schemeClr val="bg1"/>
              </a:solidFill>
              <a:round/>
              <a:headEnd/>
              <a:tailEnd/>
            </a:ln>
          </p:spPr>
          <p:txBody>
            <a:bodyPr/>
            <a:lstStyle/>
            <a:p>
              <a:endParaRPr lang="de-DE"/>
            </a:p>
          </p:txBody>
        </p:sp>
        <p:sp>
          <p:nvSpPr>
            <p:cNvPr id="356574" name="Freeform 596"/>
            <p:cNvSpPr>
              <a:spLocks/>
            </p:cNvSpPr>
            <p:nvPr/>
          </p:nvSpPr>
          <p:spPr bwMode="auto">
            <a:xfrm>
              <a:off x="3585" y="1823"/>
              <a:ext cx="17" cy="11"/>
            </a:xfrm>
            <a:custGeom>
              <a:avLst/>
              <a:gdLst>
                <a:gd name="T0" fmla="*/ 0 w 17"/>
                <a:gd name="T1" fmla="*/ 6 h 11"/>
                <a:gd name="T2" fmla="*/ 17 w 17"/>
                <a:gd name="T3" fmla="*/ 0 h 11"/>
                <a:gd name="T4" fmla="*/ 17 w 17"/>
                <a:gd name="T5" fmla="*/ 6 h 11"/>
                <a:gd name="T6" fmla="*/ 6 w 17"/>
                <a:gd name="T7" fmla="*/ 11 h 11"/>
                <a:gd name="T8" fmla="*/ 0 w 17"/>
                <a:gd name="T9" fmla="*/ 6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0" y="6"/>
                  </a:moveTo>
                  <a:lnTo>
                    <a:pt x="17" y="0"/>
                  </a:lnTo>
                  <a:lnTo>
                    <a:pt x="17" y="6"/>
                  </a:lnTo>
                  <a:lnTo>
                    <a:pt x="6" y="11"/>
                  </a:lnTo>
                  <a:lnTo>
                    <a:pt x="0" y="6"/>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5" name="Freeform 597"/>
            <p:cNvSpPr>
              <a:spLocks/>
            </p:cNvSpPr>
            <p:nvPr/>
          </p:nvSpPr>
          <p:spPr bwMode="auto">
            <a:xfrm>
              <a:off x="3732" y="1469"/>
              <a:ext cx="6" cy="16"/>
            </a:xfrm>
            <a:custGeom>
              <a:avLst/>
              <a:gdLst>
                <a:gd name="T0" fmla="*/ 6 w 6"/>
                <a:gd name="T1" fmla="*/ 5 h 16"/>
                <a:gd name="T2" fmla="*/ 6 w 6"/>
                <a:gd name="T3" fmla="*/ 16 h 16"/>
                <a:gd name="T4" fmla="*/ 0 w 6"/>
                <a:gd name="T5" fmla="*/ 5 h 16"/>
                <a:gd name="T6" fmla="*/ 0 w 6"/>
                <a:gd name="T7" fmla="*/ 0 h 16"/>
                <a:gd name="T8" fmla="*/ 6 w 6"/>
                <a:gd name="T9" fmla="*/ 5 h 16"/>
                <a:gd name="T10" fmla="*/ 6 w 6"/>
                <a:gd name="T11" fmla="*/ 5 h 16"/>
                <a:gd name="T12" fmla="*/ 0 60000 65536"/>
                <a:gd name="T13" fmla="*/ 0 60000 65536"/>
                <a:gd name="T14" fmla="*/ 0 60000 65536"/>
                <a:gd name="T15" fmla="*/ 0 60000 65536"/>
                <a:gd name="T16" fmla="*/ 0 60000 65536"/>
                <a:gd name="T17" fmla="*/ 0 60000 65536"/>
                <a:gd name="T18" fmla="*/ 0 w 6"/>
                <a:gd name="T19" fmla="*/ 0 h 16"/>
                <a:gd name="T20" fmla="*/ 6 w 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6" h="16">
                  <a:moveTo>
                    <a:pt x="6" y="5"/>
                  </a:moveTo>
                  <a:lnTo>
                    <a:pt x="6" y="16"/>
                  </a:lnTo>
                  <a:lnTo>
                    <a:pt x="0" y="5"/>
                  </a:lnTo>
                  <a:lnTo>
                    <a:pt x="0" y="0"/>
                  </a:lnTo>
                  <a:lnTo>
                    <a:pt x="6" y="5"/>
                  </a:lnTo>
                  <a:close/>
                </a:path>
              </a:pathLst>
            </a:custGeom>
            <a:solidFill>
              <a:schemeClr val="accent2"/>
            </a:solidFill>
            <a:ln w="12700" cmpd="sng">
              <a:solidFill>
                <a:schemeClr val="bg1"/>
              </a:solidFill>
              <a:round/>
              <a:headEnd/>
              <a:tailEnd/>
            </a:ln>
          </p:spPr>
          <p:txBody>
            <a:bodyPr/>
            <a:lstStyle/>
            <a:p>
              <a:endParaRPr lang="de-DE"/>
            </a:p>
          </p:txBody>
        </p:sp>
        <p:sp>
          <p:nvSpPr>
            <p:cNvPr id="356576" name="Freeform 598"/>
            <p:cNvSpPr>
              <a:spLocks/>
            </p:cNvSpPr>
            <p:nvPr/>
          </p:nvSpPr>
          <p:spPr bwMode="auto">
            <a:xfrm>
              <a:off x="3732" y="1469"/>
              <a:ext cx="6" cy="16"/>
            </a:xfrm>
            <a:custGeom>
              <a:avLst/>
              <a:gdLst>
                <a:gd name="T0" fmla="*/ 6 w 6"/>
                <a:gd name="T1" fmla="*/ 5 h 16"/>
                <a:gd name="T2" fmla="*/ 6 w 6"/>
                <a:gd name="T3" fmla="*/ 16 h 16"/>
                <a:gd name="T4" fmla="*/ 0 w 6"/>
                <a:gd name="T5" fmla="*/ 5 h 16"/>
                <a:gd name="T6" fmla="*/ 0 w 6"/>
                <a:gd name="T7" fmla="*/ 0 h 16"/>
                <a:gd name="T8" fmla="*/ 6 w 6"/>
                <a:gd name="T9" fmla="*/ 5 h 16"/>
                <a:gd name="T10" fmla="*/ 0 60000 65536"/>
                <a:gd name="T11" fmla="*/ 0 60000 65536"/>
                <a:gd name="T12" fmla="*/ 0 60000 65536"/>
                <a:gd name="T13" fmla="*/ 0 60000 65536"/>
                <a:gd name="T14" fmla="*/ 0 60000 65536"/>
                <a:gd name="T15" fmla="*/ 0 w 6"/>
                <a:gd name="T16" fmla="*/ 0 h 16"/>
                <a:gd name="T17" fmla="*/ 6 w 6"/>
                <a:gd name="T18" fmla="*/ 16 h 16"/>
              </a:gdLst>
              <a:ahLst/>
              <a:cxnLst>
                <a:cxn ang="T10">
                  <a:pos x="T0" y="T1"/>
                </a:cxn>
                <a:cxn ang="T11">
                  <a:pos x="T2" y="T3"/>
                </a:cxn>
                <a:cxn ang="T12">
                  <a:pos x="T4" y="T5"/>
                </a:cxn>
                <a:cxn ang="T13">
                  <a:pos x="T6" y="T7"/>
                </a:cxn>
                <a:cxn ang="T14">
                  <a:pos x="T8" y="T9"/>
                </a:cxn>
              </a:cxnLst>
              <a:rect l="T15" t="T16" r="T17" b="T18"/>
              <a:pathLst>
                <a:path w="6" h="16">
                  <a:moveTo>
                    <a:pt x="6" y="5"/>
                  </a:moveTo>
                  <a:lnTo>
                    <a:pt x="6" y="16"/>
                  </a:lnTo>
                  <a:lnTo>
                    <a:pt x="0" y="5"/>
                  </a:lnTo>
                  <a:lnTo>
                    <a:pt x="0" y="0"/>
                  </a:lnTo>
                  <a:lnTo>
                    <a:pt x="6" y="5"/>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7" name="Freeform 599"/>
            <p:cNvSpPr>
              <a:spLocks/>
            </p:cNvSpPr>
            <p:nvPr/>
          </p:nvSpPr>
          <p:spPr bwMode="auto">
            <a:xfrm>
              <a:off x="3672" y="1610"/>
              <a:ext cx="17" cy="11"/>
            </a:xfrm>
            <a:custGeom>
              <a:avLst/>
              <a:gdLst>
                <a:gd name="T0" fmla="*/ 6 w 17"/>
                <a:gd name="T1" fmla="*/ 0 h 11"/>
                <a:gd name="T2" fmla="*/ 17 w 17"/>
                <a:gd name="T3" fmla="*/ 0 h 11"/>
                <a:gd name="T4" fmla="*/ 0 w 17"/>
                <a:gd name="T5" fmla="*/ 11 h 11"/>
                <a:gd name="T6" fmla="*/ 6 w 17"/>
                <a:gd name="T7" fmla="*/ 0 h 11"/>
                <a:gd name="T8" fmla="*/ 6 w 17"/>
                <a:gd name="T9" fmla="*/ 0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6" y="0"/>
                  </a:moveTo>
                  <a:lnTo>
                    <a:pt x="17" y="0"/>
                  </a:lnTo>
                  <a:lnTo>
                    <a:pt x="0" y="11"/>
                  </a:lnTo>
                  <a:lnTo>
                    <a:pt x="6" y="0"/>
                  </a:lnTo>
                  <a:close/>
                </a:path>
              </a:pathLst>
            </a:custGeom>
            <a:solidFill>
              <a:schemeClr val="accent2"/>
            </a:solidFill>
            <a:ln w="12700" cmpd="sng">
              <a:solidFill>
                <a:schemeClr val="bg1"/>
              </a:solidFill>
              <a:round/>
              <a:headEnd/>
              <a:tailEnd/>
            </a:ln>
          </p:spPr>
          <p:txBody>
            <a:bodyPr/>
            <a:lstStyle/>
            <a:p>
              <a:endParaRPr lang="de-DE"/>
            </a:p>
          </p:txBody>
        </p:sp>
        <p:sp>
          <p:nvSpPr>
            <p:cNvPr id="356578" name="Freeform 600"/>
            <p:cNvSpPr>
              <a:spLocks/>
            </p:cNvSpPr>
            <p:nvPr/>
          </p:nvSpPr>
          <p:spPr bwMode="auto">
            <a:xfrm>
              <a:off x="3672" y="1610"/>
              <a:ext cx="17" cy="11"/>
            </a:xfrm>
            <a:custGeom>
              <a:avLst/>
              <a:gdLst>
                <a:gd name="T0" fmla="*/ 6 w 17"/>
                <a:gd name="T1" fmla="*/ 0 h 11"/>
                <a:gd name="T2" fmla="*/ 17 w 17"/>
                <a:gd name="T3" fmla="*/ 0 h 11"/>
                <a:gd name="T4" fmla="*/ 0 w 17"/>
                <a:gd name="T5" fmla="*/ 11 h 11"/>
                <a:gd name="T6" fmla="*/ 6 w 17"/>
                <a:gd name="T7" fmla="*/ 0 h 11"/>
                <a:gd name="T8" fmla="*/ 0 60000 65536"/>
                <a:gd name="T9" fmla="*/ 0 60000 65536"/>
                <a:gd name="T10" fmla="*/ 0 60000 65536"/>
                <a:gd name="T11" fmla="*/ 0 60000 65536"/>
                <a:gd name="T12" fmla="*/ 0 w 17"/>
                <a:gd name="T13" fmla="*/ 0 h 11"/>
                <a:gd name="T14" fmla="*/ 17 w 17"/>
                <a:gd name="T15" fmla="*/ 11 h 11"/>
              </a:gdLst>
              <a:ahLst/>
              <a:cxnLst>
                <a:cxn ang="T8">
                  <a:pos x="T0" y="T1"/>
                </a:cxn>
                <a:cxn ang="T9">
                  <a:pos x="T2" y="T3"/>
                </a:cxn>
                <a:cxn ang="T10">
                  <a:pos x="T4" y="T5"/>
                </a:cxn>
                <a:cxn ang="T11">
                  <a:pos x="T6" y="T7"/>
                </a:cxn>
              </a:cxnLst>
              <a:rect l="T12" t="T13" r="T14" b="T15"/>
              <a:pathLst>
                <a:path w="17" h="11">
                  <a:moveTo>
                    <a:pt x="6" y="0"/>
                  </a:moveTo>
                  <a:lnTo>
                    <a:pt x="17" y="0"/>
                  </a:lnTo>
                  <a:lnTo>
                    <a:pt x="0" y="11"/>
                  </a:lnTo>
                  <a:lnTo>
                    <a:pt x="6"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79" name="Freeform 601"/>
            <p:cNvSpPr>
              <a:spLocks/>
            </p:cNvSpPr>
            <p:nvPr/>
          </p:nvSpPr>
          <p:spPr bwMode="auto">
            <a:xfrm>
              <a:off x="3694" y="1589"/>
              <a:ext cx="11" cy="16"/>
            </a:xfrm>
            <a:custGeom>
              <a:avLst/>
              <a:gdLst>
                <a:gd name="T0" fmla="*/ 6 w 11"/>
                <a:gd name="T1" fmla="*/ 0 h 16"/>
                <a:gd name="T2" fmla="*/ 11 w 11"/>
                <a:gd name="T3" fmla="*/ 16 h 16"/>
                <a:gd name="T4" fmla="*/ 0 w 11"/>
                <a:gd name="T5" fmla="*/ 11 h 16"/>
                <a:gd name="T6" fmla="*/ 6 w 11"/>
                <a:gd name="T7" fmla="*/ 0 h 16"/>
                <a:gd name="T8" fmla="*/ 6 w 11"/>
                <a:gd name="T9" fmla="*/ 0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6" y="0"/>
                  </a:moveTo>
                  <a:lnTo>
                    <a:pt x="11" y="16"/>
                  </a:lnTo>
                  <a:lnTo>
                    <a:pt x="0" y="11"/>
                  </a:lnTo>
                  <a:lnTo>
                    <a:pt x="6" y="0"/>
                  </a:lnTo>
                  <a:close/>
                </a:path>
              </a:pathLst>
            </a:custGeom>
            <a:solidFill>
              <a:schemeClr val="accent2"/>
            </a:solidFill>
            <a:ln w="12700" cmpd="sng">
              <a:solidFill>
                <a:schemeClr val="bg1"/>
              </a:solidFill>
              <a:round/>
              <a:headEnd/>
              <a:tailEnd/>
            </a:ln>
          </p:spPr>
          <p:txBody>
            <a:bodyPr/>
            <a:lstStyle/>
            <a:p>
              <a:endParaRPr lang="de-DE"/>
            </a:p>
          </p:txBody>
        </p:sp>
        <p:sp>
          <p:nvSpPr>
            <p:cNvPr id="356580" name="Freeform 602"/>
            <p:cNvSpPr>
              <a:spLocks/>
            </p:cNvSpPr>
            <p:nvPr/>
          </p:nvSpPr>
          <p:spPr bwMode="auto">
            <a:xfrm>
              <a:off x="3694" y="1589"/>
              <a:ext cx="11" cy="16"/>
            </a:xfrm>
            <a:custGeom>
              <a:avLst/>
              <a:gdLst>
                <a:gd name="T0" fmla="*/ 6 w 11"/>
                <a:gd name="T1" fmla="*/ 0 h 16"/>
                <a:gd name="T2" fmla="*/ 11 w 11"/>
                <a:gd name="T3" fmla="*/ 16 h 16"/>
                <a:gd name="T4" fmla="*/ 0 w 11"/>
                <a:gd name="T5" fmla="*/ 11 h 16"/>
                <a:gd name="T6" fmla="*/ 6 w 11"/>
                <a:gd name="T7" fmla="*/ 0 h 16"/>
                <a:gd name="T8" fmla="*/ 0 60000 65536"/>
                <a:gd name="T9" fmla="*/ 0 60000 65536"/>
                <a:gd name="T10" fmla="*/ 0 60000 65536"/>
                <a:gd name="T11" fmla="*/ 0 60000 65536"/>
                <a:gd name="T12" fmla="*/ 0 w 11"/>
                <a:gd name="T13" fmla="*/ 0 h 16"/>
                <a:gd name="T14" fmla="*/ 11 w 11"/>
                <a:gd name="T15" fmla="*/ 16 h 16"/>
              </a:gdLst>
              <a:ahLst/>
              <a:cxnLst>
                <a:cxn ang="T8">
                  <a:pos x="T0" y="T1"/>
                </a:cxn>
                <a:cxn ang="T9">
                  <a:pos x="T2" y="T3"/>
                </a:cxn>
                <a:cxn ang="T10">
                  <a:pos x="T4" y="T5"/>
                </a:cxn>
                <a:cxn ang="T11">
                  <a:pos x="T6" y="T7"/>
                </a:cxn>
              </a:cxnLst>
              <a:rect l="T12" t="T13" r="T14" b="T15"/>
              <a:pathLst>
                <a:path w="11" h="16">
                  <a:moveTo>
                    <a:pt x="6" y="0"/>
                  </a:moveTo>
                  <a:lnTo>
                    <a:pt x="11" y="16"/>
                  </a:lnTo>
                  <a:lnTo>
                    <a:pt x="0" y="11"/>
                  </a:lnTo>
                  <a:lnTo>
                    <a:pt x="6"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81" name="Freeform 603"/>
            <p:cNvSpPr>
              <a:spLocks/>
            </p:cNvSpPr>
            <p:nvPr/>
          </p:nvSpPr>
          <p:spPr bwMode="auto">
            <a:xfrm>
              <a:off x="3585" y="1572"/>
              <a:ext cx="17" cy="17"/>
            </a:xfrm>
            <a:custGeom>
              <a:avLst/>
              <a:gdLst>
                <a:gd name="T0" fmla="*/ 0 w 17"/>
                <a:gd name="T1" fmla="*/ 17 h 17"/>
                <a:gd name="T2" fmla="*/ 0 w 17"/>
                <a:gd name="T3" fmla="*/ 6 h 17"/>
                <a:gd name="T4" fmla="*/ 0 w 17"/>
                <a:gd name="T5" fmla="*/ 0 h 17"/>
                <a:gd name="T6" fmla="*/ 11 w 17"/>
                <a:gd name="T7" fmla="*/ 0 h 17"/>
                <a:gd name="T8" fmla="*/ 11 w 17"/>
                <a:gd name="T9" fmla="*/ 0 h 17"/>
                <a:gd name="T10" fmla="*/ 11 w 17"/>
                <a:gd name="T11" fmla="*/ 6 h 17"/>
                <a:gd name="T12" fmla="*/ 17 w 17"/>
                <a:gd name="T13" fmla="*/ 11 h 17"/>
                <a:gd name="T14" fmla="*/ 0 w 17"/>
                <a:gd name="T15" fmla="*/ 17 h 17"/>
                <a:gd name="T16" fmla="*/ 0 w 17"/>
                <a:gd name="T17" fmla="*/ 17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17"/>
                <a:gd name="T29" fmla="*/ 17 w 17"/>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17">
                  <a:moveTo>
                    <a:pt x="0" y="17"/>
                  </a:moveTo>
                  <a:lnTo>
                    <a:pt x="0" y="6"/>
                  </a:lnTo>
                  <a:lnTo>
                    <a:pt x="0" y="0"/>
                  </a:lnTo>
                  <a:lnTo>
                    <a:pt x="11" y="0"/>
                  </a:lnTo>
                  <a:lnTo>
                    <a:pt x="11" y="6"/>
                  </a:lnTo>
                  <a:lnTo>
                    <a:pt x="17" y="11"/>
                  </a:lnTo>
                  <a:lnTo>
                    <a:pt x="0" y="17"/>
                  </a:lnTo>
                  <a:close/>
                </a:path>
              </a:pathLst>
            </a:custGeom>
            <a:solidFill>
              <a:schemeClr val="accent2"/>
            </a:solidFill>
            <a:ln w="12700" cmpd="sng">
              <a:solidFill>
                <a:schemeClr val="bg1"/>
              </a:solidFill>
              <a:round/>
              <a:headEnd/>
              <a:tailEnd/>
            </a:ln>
          </p:spPr>
          <p:txBody>
            <a:bodyPr/>
            <a:lstStyle/>
            <a:p>
              <a:endParaRPr lang="de-DE"/>
            </a:p>
          </p:txBody>
        </p:sp>
        <p:sp>
          <p:nvSpPr>
            <p:cNvPr id="356582" name="Freeform 604"/>
            <p:cNvSpPr>
              <a:spLocks/>
            </p:cNvSpPr>
            <p:nvPr/>
          </p:nvSpPr>
          <p:spPr bwMode="auto">
            <a:xfrm>
              <a:off x="3585" y="1572"/>
              <a:ext cx="17" cy="17"/>
            </a:xfrm>
            <a:custGeom>
              <a:avLst/>
              <a:gdLst>
                <a:gd name="T0" fmla="*/ 0 w 17"/>
                <a:gd name="T1" fmla="*/ 17 h 17"/>
                <a:gd name="T2" fmla="*/ 0 w 17"/>
                <a:gd name="T3" fmla="*/ 6 h 17"/>
                <a:gd name="T4" fmla="*/ 0 w 17"/>
                <a:gd name="T5" fmla="*/ 0 h 17"/>
                <a:gd name="T6" fmla="*/ 11 w 17"/>
                <a:gd name="T7" fmla="*/ 0 h 17"/>
                <a:gd name="T8" fmla="*/ 11 w 17"/>
                <a:gd name="T9" fmla="*/ 0 h 17"/>
                <a:gd name="T10" fmla="*/ 11 w 17"/>
                <a:gd name="T11" fmla="*/ 6 h 17"/>
                <a:gd name="T12" fmla="*/ 17 w 17"/>
                <a:gd name="T13" fmla="*/ 11 h 17"/>
                <a:gd name="T14" fmla="*/ 0 w 17"/>
                <a:gd name="T15" fmla="*/ 17 h 17"/>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7"/>
                <a:gd name="T26" fmla="*/ 17 w 17"/>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7">
                  <a:moveTo>
                    <a:pt x="0" y="17"/>
                  </a:moveTo>
                  <a:lnTo>
                    <a:pt x="0" y="6"/>
                  </a:lnTo>
                  <a:lnTo>
                    <a:pt x="0" y="0"/>
                  </a:lnTo>
                  <a:lnTo>
                    <a:pt x="11" y="0"/>
                  </a:lnTo>
                  <a:lnTo>
                    <a:pt x="11" y="6"/>
                  </a:lnTo>
                  <a:lnTo>
                    <a:pt x="17" y="11"/>
                  </a:lnTo>
                  <a:lnTo>
                    <a:pt x="0" y="17"/>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83" name="Freeform 605"/>
            <p:cNvSpPr>
              <a:spLocks/>
            </p:cNvSpPr>
            <p:nvPr/>
          </p:nvSpPr>
          <p:spPr bwMode="auto">
            <a:xfrm>
              <a:off x="3433" y="1698"/>
              <a:ext cx="27" cy="27"/>
            </a:xfrm>
            <a:custGeom>
              <a:avLst/>
              <a:gdLst>
                <a:gd name="T0" fmla="*/ 5 w 27"/>
                <a:gd name="T1" fmla="*/ 16 h 27"/>
                <a:gd name="T2" fmla="*/ 0 w 27"/>
                <a:gd name="T3" fmla="*/ 5 h 27"/>
                <a:gd name="T4" fmla="*/ 5 w 27"/>
                <a:gd name="T5" fmla="*/ 5 h 27"/>
                <a:gd name="T6" fmla="*/ 0 w 27"/>
                <a:gd name="T7" fmla="*/ 5 h 27"/>
                <a:gd name="T8" fmla="*/ 5 w 27"/>
                <a:gd name="T9" fmla="*/ 0 h 27"/>
                <a:gd name="T10" fmla="*/ 27 w 27"/>
                <a:gd name="T11" fmla="*/ 22 h 27"/>
                <a:gd name="T12" fmla="*/ 16 w 27"/>
                <a:gd name="T13" fmla="*/ 27 h 27"/>
                <a:gd name="T14" fmla="*/ 5 w 27"/>
                <a:gd name="T15" fmla="*/ 16 h 27"/>
                <a:gd name="T16" fmla="*/ 5 w 27"/>
                <a:gd name="T17" fmla="*/ 22 h 27"/>
                <a:gd name="T18" fmla="*/ 5 w 27"/>
                <a:gd name="T19" fmla="*/ 16 h 27"/>
                <a:gd name="T20" fmla="*/ 5 w 27"/>
                <a:gd name="T21" fmla="*/ 16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27"/>
                <a:gd name="T35" fmla="*/ 27 w 27"/>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27">
                  <a:moveTo>
                    <a:pt x="5" y="16"/>
                  </a:moveTo>
                  <a:lnTo>
                    <a:pt x="0" y="5"/>
                  </a:lnTo>
                  <a:lnTo>
                    <a:pt x="5" y="5"/>
                  </a:lnTo>
                  <a:lnTo>
                    <a:pt x="0" y="5"/>
                  </a:lnTo>
                  <a:lnTo>
                    <a:pt x="5" y="0"/>
                  </a:lnTo>
                  <a:lnTo>
                    <a:pt x="27" y="22"/>
                  </a:lnTo>
                  <a:lnTo>
                    <a:pt x="16" y="27"/>
                  </a:lnTo>
                  <a:lnTo>
                    <a:pt x="5" y="16"/>
                  </a:lnTo>
                  <a:lnTo>
                    <a:pt x="5" y="22"/>
                  </a:lnTo>
                  <a:lnTo>
                    <a:pt x="5" y="16"/>
                  </a:lnTo>
                  <a:close/>
                </a:path>
              </a:pathLst>
            </a:custGeom>
            <a:solidFill>
              <a:schemeClr val="accent2"/>
            </a:solidFill>
            <a:ln w="12700" cmpd="sng">
              <a:solidFill>
                <a:schemeClr val="bg1"/>
              </a:solidFill>
              <a:round/>
              <a:headEnd/>
              <a:tailEnd/>
            </a:ln>
          </p:spPr>
          <p:txBody>
            <a:bodyPr/>
            <a:lstStyle/>
            <a:p>
              <a:endParaRPr lang="de-DE"/>
            </a:p>
          </p:txBody>
        </p:sp>
        <p:sp>
          <p:nvSpPr>
            <p:cNvPr id="356584" name="Freeform 606"/>
            <p:cNvSpPr>
              <a:spLocks/>
            </p:cNvSpPr>
            <p:nvPr/>
          </p:nvSpPr>
          <p:spPr bwMode="auto">
            <a:xfrm>
              <a:off x="3433" y="1698"/>
              <a:ext cx="27" cy="27"/>
            </a:xfrm>
            <a:custGeom>
              <a:avLst/>
              <a:gdLst>
                <a:gd name="T0" fmla="*/ 5 w 27"/>
                <a:gd name="T1" fmla="*/ 16 h 27"/>
                <a:gd name="T2" fmla="*/ 0 w 27"/>
                <a:gd name="T3" fmla="*/ 5 h 27"/>
                <a:gd name="T4" fmla="*/ 5 w 27"/>
                <a:gd name="T5" fmla="*/ 5 h 27"/>
                <a:gd name="T6" fmla="*/ 0 w 27"/>
                <a:gd name="T7" fmla="*/ 5 h 27"/>
                <a:gd name="T8" fmla="*/ 5 w 27"/>
                <a:gd name="T9" fmla="*/ 0 h 27"/>
                <a:gd name="T10" fmla="*/ 27 w 27"/>
                <a:gd name="T11" fmla="*/ 22 h 27"/>
                <a:gd name="T12" fmla="*/ 16 w 27"/>
                <a:gd name="T13" fmla="*/ 27 h 27"/>
                <a:gd name="T14" fmla="*/ 5 w 27"/>
                <a:gd name="T15" fmla="*/ 16 h 27"/>
                <a:gd name="T16" fmla="*/ 5 w 27"/>
                <a:gd name="T17" fmla="*/ 22 h 27"/>
                <a:gd name="T18" fmla="*/ 5 w 27"/>
                <a:gd name="T19" fmla="*/ 16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27"/>
                <a:gd name="T32" fmla="*/ 27 w 27"/>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27">
                  <a:moveTo>
                    <a:pt x="5" y="16"/>
                  </a:moveTo>
                  <a:lnTo>
                    <a:pt x="0" y="5"/>
                  </a:lnTo>
                  <a:lnTo>
                    <a:pt x="5" y="5"/>
                  </a:lnTo>
                  <a:lnTo>
                    <a:pt x="0" y="5"/>
                  </a:lnTo>
                  <a:lnTo>
                    <a:pt x="5" y="0"/>
                  </a:lnTo>
                  <a:lnTo>
                    <a:pt x="27" y="22"/>
                  </a:lnTo>
                  <a:lnTo>
                    <a:pt x="16" y="27"/>
                  </a:lnTo>
                  <a:lnTo>
                    <a:pt x="5" y="16"/>
                  </a:lnTo>
                  <a:lnTo>
                    <a:pt x="5" y="22"/>
                  </a:lnTo>
                  <a:lnTo>
                    <a:pt x="5" y="16"/>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85" name="Freeform 607"/>
            <p:cNvSpPr>
              <a:spLocks/>
            </p:cNvSpPr>
            <p:nvPr/>
          </p:nvSpPr>
          <p:spPr bwMode="auto">
            <a:xfrm>
              <a:off x="3351" y="1660"/>
              <a:ext cx="11" cy="16"/>
            </a:xfrm>
            <a:custGeom>
              <a:avLst/>
              <a:gdLst>
                <a:gd name="T0" fmla="*/ 0 w 11"/>
                <a:gd name="T1" fmla="*/ 0 h 16"/>
                <a:gd name="T2" fmla="*/ 11 w 11"/>
                <a:gd name="T3" fmla="*/ 0 h 16"/>
                <a:gd name="T4" fmla="*/ 11 w 11"/>
                <a:gd name="T5" fmla="*/ 5 h 16"/>
                <a:gd name="T6" fmla="*/ 11 w 11"/>
                <a:gd name="T7" fmla="*/ 16 h 16"/>
                <a:gd name="T8" fmla="*/ 0 w 11"/>
                <a:gd name="T9" fmla="*/ 0 h 16"/>
                <a:gd name="T10" fmla="*/ 0 w 11"/>
                <a:gd name="T11" fmla="*/ 0 h 16"/>
                <a:gd name="T12" fmla="*/ 0 60000 65536"/>
                <a:gd name="T13" fmla="*/ 0 60000 65536"/>
                <a:gd name="T14" fmla="*/ 0 60000 65536"/>
                <a:gd name="T15" fmla="*/ 0 60000 65536"/>
                <a:gd name="T16" fmla="*/ 0 60000 65536"/>
                <a:gd name="T17" fmla="*/ 0 60000 65536"/>
                <a:gd name="T18" fmla="*/ 0 w 11"/>
                <a:gd name="T19" fmla="*/ 0 h 16"/>
                <a:gd name="T20" fmla="*/ 11 w 11"/>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1" h="16">
                  <a:moveTo>
                    <a:pt x="0" y="0"/>
                  </a:moveTo>
                  <a:lnTo>
                    <a:pt x="11" y="0"/>
                  </a:lnTo>
                  <a:lnTo>
                    <a:pt x="11" y="5"/>
                  </a:lnTo>
                  <a:lnTo>
                    <a:pt x="11" y="16"/>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586" name="Freeform 608"/>
            <p:cNvSpPr>
              <a:spLocks/>
            </p:cNvSpPr>
            <p:nvPr/>
          </p:nvSpPr>
          <p:spPr bwMode="auto">
            <a:xfrm>
              <a:off x="3351" y="1660"/>
              <a:ext cx="11" cy="16"/>
            </a:xfrm>
            <a:custGeom>
              <a:avLst/>
              <a:gdLst>
                <a:gd name="T0" fmla="*/ 0 w 11"/>
                <a:gd name="T1" fmla="*/ 0 h 16"/>
                <a:gd name="T2" fmla="*/ 11 w 11"/>
                <a:gd name="T3" fmla="*/ 0 h 16"/>
                <a:gd name="T4" fmla="*/ 11 w 11"/>
                <a:gd name="T5" fmla="*/ 5 h 16"/>
                <a:gd name="T6" fmla="*/ 11 w 11"/>
                <a:gd name="T7" fmla="*/ 16 h 16"/>
                <a:gd name="T8" fmla="*/ 0 w 11"/>
                <a:gd name="T9" fmla="*/ 0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0" y="0"/>
                  </a:moveTo>
                  <a:lnTo>
                    <a:pt x="11" y="0"/>
                  </a:lnTo>
                  <a:lnTo>
                    <a:pt x="11" y="5"/>
                  </a:lnTo>
                  <a:lnTo>
                    <a:pt x="11" y="16"/>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87" name="Freeform 609"/>
            <p:cNvSpPr>
              <a:spLocks/>
            </p:cNvSpPr>
            <p:nvPr/>
          </p:nvSpPr>
          <p:spPr bwMode="auto">
            <a:xfrm>
              <a:off x="3373" y="1392"/>
              <a:ext cx="196" cy="186"/>
            </a:xfrm>
            <a:custGeom>
              <a:avLst/>
              <a:gdLst>
                <a:gd name="T0" fmla="*/ 0 w 196"/>
                <a:gd name="T1" fmla="*/ 164 h 186"/>
                <a:gd name="T2" fmla="*/ 16 w 196"/>
                <a:gd name="T3" fmla="*/ 147 h 186"/>
                <a:gd name="T4" fmla="*/ 27 w 196"/>
                <a:gd name="T5" fmla="*/ 153 h 186"/>
                <a:gd name="T6" fmla="*/ 16 w 196"/>
                <a:gd name="T7" fmla="*/ 142 h 186"/>
                <a:gd name="T8" fmla="*/ 22 w 196"/>
                <a:gd name="T9" fmla="*/ 142 h 186"/>
                <a:gd name="T10" fmla="*/ 16 w 196"/>
                <a:gd name="T11" fmla="*/ 137 h 186"/>
                <a:gd name="T12" fmla="*/ 27 w 196"/>
                <a:gd name="T13" fmla="*/ 131 h 186"/>
                <a:gd name="T14" fmla="*/ 22 w 196"/>
                <a:gd name="T15" fmla="*/ 120 h 186"/>
                <a:gd name="T16" fmla="*/ 38 w 196"/>
                <a:gd name="T17" fmla="*/ 120 h 186"/>
                <a:gd name="T18" fmla="*/ 22 w 196"/>
                <a:gd name="T19" fmla="*/ 115 h 186"/>
                <a:gd name="T20" fmla="*/ 27 w 196"/>
                <a:gd name="T21" fmla="*/ 109 h 186"/>
                <a:gd name="T22" fmla="*/ 22 w 196"/>
                <a:gd name="T23" fmla="*/ 109 h 186"/>
                <a:gd name="T24" fmla="*/ 22 w 196"/>
                <a:gd name="T25" fmla="*/ 104 h 186"/>
                <a:gd name="T26" fmla="*/ 22 w 196"/>
                <a:gd name="T27" fmla="*/ 98 h 186"/>
                <a:gd name="T28" fmla="*/ 27 w 196"/>
                <a:gd name="T29" fmla="*/ 104 h 186"/>
                <a:gd name="T30" fmla="*/ 49 w 196"/>
                <a:gd name="T31" fmla="*/ 93 h 186"/>
                <a:gd name="T32" fmla="*/ 65 w 196"/>
                <a:gd name="T33" fmla="*/ 66 h 186"/>
                <a:gd name="T34" fmla="*/ 87 w 196"/>
                <a:gd name="T35" fmla="*/ 44 h 186"/>
                <a:gd name="T36" fmla="*/ 87 w 196"/>
                <a:gd name="T37" fmla="*/ 49 h 186"/>
                <a:gd name="T38" fmla="*/ 82 w 196"/>
                <a:gd name="T39" fmla="*/ 55 h 186"/>
                <a:gd name="T40" fmla="*/ 93 w 196"/>
                <a:gd name="T41" fmla="*/ 49 h 186"/>
                <a:gd name="T42" fmla="*/ 93 w 196"/>
                <a:gd name="T43" fmla="*/ 38 h 186"/>
                <a:gd name="T44" fmla="*/ 109 w 196"/>
                <a:gd name="T45" fmla="*/ 44 h 186"/>
                <a:gd name="T46" fmla="*/ 136 w 196"/>
                <a:gd name="T47" fmla="*/ 38 h 186"/>
                <a:gd name="T48" fmla="*/ 174 w 196"/>
                <a:gd name="T49" fmla="*/ 0 h 186"/>
                <a:gd name="T50" fmla="*/ 191 w 196"/>
                <a:gd name="T51" fmla="*/ 0 h 186"/>
                <a:gd name="T52" fmla="*/ 196 w 196"/>
                <a:gd name="T53" fmla="*/ 17 h 186"/>
                <a:gd name="T54" fmla="*/ 191 w 196"/>
                <a:gd name="T55" fmla="*/ 27 h 186"/>
                <a:gd name="T56" fmla="*/ 196 w 196"/>
                <a:gd name="T57" fmla="*/ 27 h 186"/>
                <a:gd name="T58" fmla="*/ 185 w 196"/>
                <a:gd name="T59" fmla="*/ 44 h 186"/>
                <a:gd name="T60" fmla="*/ 131 w 196"/>
                <a:gd name="T61" fmla="*/ 71 h 186"/>
                <a:gd name="T62" fmla="*/ 125 w 196"/>
                <a:gd name="T63" fmla="*/ 66 h 186"/>
                <a:gd name="T64" fmla="*/ 98 w 196"/>
                <a:gd name="T65" fmla="*/ 98 h 186"/>
                <a:gd name="T66" fmla="*/ 87 w 196"/>
                <a:gd name="T67" fmla="*/ 98 h 186"/>
                <a:gd name="T68" fmla="*/ 82 w 196"/>
                <a:gd name="T69" fmla="*/ 104 h 186"/>
                <a:gd name="T70" fmla="*/ 87 w 196"/>
                <a:gd name="T71" fmla="*/ 109 h 186"/>
                <a:gd name="T72" fmla="*/ 82 w 196"/>
                <a:gd name="T73" fmla="*/ 120 h 186"/>
                <a:gd name="T74" fmla="*/ 71 w 196"/>
                <a:gd name="T75" fmla="*/ 115 h 186"/>
                <a:gd name="T76" fmla="*/ 76 w 196"/>
                <a:gd name="T77" fmla="*/ 126 h 186"/>
                <a:gd name="T78" fmla="*/ 65 w 196"/>
                <a:gd name="T79" fmla="*/ 120 h 186"/>
                <a:gd name="T80" fmla="*/ 71 w 196"/>
                <a:gd name="T81" fmla="*/ 131 h 186"/>
                <a:gd name="T82" fmla="*/ 65 w 196"/>
                <a:gd name="T83" fmla="*/ 137 h 186"/>
                <a:gd name="T84" fmla="*/ 55 w 196"/>
                <a:gd name="T85" fmla="*/ 126 h 186"/>
                <a:gd name="T86" fmla="*/ 65 w 196"/>
                <a:gd name="T87" fmla="*/ 142 h 186"/>
                <a:gd name="T88" fmla="*/ 55 w 196"/>
                <a:gd name="T89" fmla="*/ 153 h 186"/>
                <a:gd name="T90" fmla="*/ 49 w 196"/>
                <a:gd name="T91" fmla="*/ 142 h 186"/>
                <a:gd name="T92" fmla="*/ 44 w 196"/>
                <a:gd name="T93" fmla="*/ 153 h 186"/>
                <a:gd name="T94" fmla="*/ 49 w 196"/>
                <a:gd name="T95" fmla="*/ 158 h 186"/>
                <a:gd name="T96" fmla="*/ 49 w 196"/>
                <a:gd name="T97" fmla="*/ 164 h 186"/>
                <a:gd name="T98" fmla="*/ 38 w 196"/>
                <a:gd name="T99" fmla="*/ 158 h 186"/>
                <a:gd name="T100" fmla="*/ 49 w 196"/>
                <a:gd name="T101" fmla="*/ 169 h 186"/>
                <a:gd name="T102" fmla="*/ 38 w 196"/>
                <a:gd name="T103" fmla="*/ 169 h 186"/>
                <a:gd name="T104" fmla="*/ 44 w 196"/>
                <a:gd name="T105" fmla="*/ 180 h 186"/>
                <a:gd name="T106" fmla="*/ 38 w 196"/>
                <a:gd name="T107" fmla="*/ 186 h 186"/>
                <a:gd name="T108" fmla="*/ 16 w 196"/>
                <a:gd name="T109" fmla="*/ 180 h 186"/>
                <a:gd name="T110" fmla="*/ 6 w 196"/>
                <a:gd name="T111" fmla="*/ 180 h 186"/>
                <a:gd name="T112" fmla="*/ 16 w 196"/>
                <a:gd name="T113" fmla="*/ 169 h 186"/>
                <a:gd name="T114" fmla="*/ 0 w 196"/>
                <a:gd name="T115" fmla="*/ 169 h 186"/>
                <a:gd name="T116" fmla="*/ 0 w 196"/>
                <a:gd name="T117" fmla="*/ 164 h 186"/>
                <a:gd name="T118" fmla="*/ 0 w 196"/>
                <a:gd name="T119" fmla="*/ 164 h 1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6"/>
                <a:gd name="T181" fmla="*/ 0 h 186"/>
                <a:gd name="T182" fmla="*/ 196 w 196"/>
                <a:gd name="T183" fmla="*/ 186 h 1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6" h="186">
                  <a:moveTo>
                    <a:pt x="0" y="164"/>
                  </a:moveTo>
                  <a:lnTo>
                    <a:pt x="16" y="147"/>
                  </a:lnTo>
                  <a:lnTo>
                    <a:pt x="27" y="153"/>
                  </a:lnTo>
                  <a:lnTo>
                    <a:pt x="16" y="142"/>
                  </a:lnTo>
                  <a:lnTo>
                    <a:pt x="22" y="142"/>
                  </a:lnTo>
                  <a:lnTo>
                    <a:pt x="16" y="137"/>
                  </a:lnTo>
                  <a:lnTo>
                    <a:pt x="27" y="131"/>
                  </a:lnTo>
                  <a:lnTo>
                    <a:pt x="22" y="120"/>
                  </a:lnTo>
                  <a:lnTo>
                    <a:pt x="38" y="120"/>
                  </a:lnTo>
                  <a:lnTo>
                    <a:pt x="22" y="115"/>
                  </a:lnTo>
                  <a:lnTo>
                    <a:pt x="27" y="109"/>
                  </a:lnTo>
                  <a:lnTo>
                    <a:pt x="22" y="109"/>
                  </a:lnTo>
                  <a:lnTo>
                    <a:pt x="22" y="104"/>
                  </a:lnTo>
                  <a:lnTo>
                    <a:pt x="22" y="98"/>
                  </a:lnTo>
                  <a:lnTo>
                    <a:pt x="27" y="104"/>
                  </a:lnTo>
                  <a:lnTo>
                    <a:pt x="49" y="93"/>
                  </a:lnTo>
                  <a:lnTo>
                    <a:pt x="65" y="66"/>
                  </a:lnTo>
                  <a:lnTo>
                    <a:pt x="87" y="44"/>
                  </a:lnTo>
                  <a:lnTo>
                    <a:pt x="87" y="49"/>
                  </a:lnTo>
                  <a:lnTo>
                    <a:pt x="82" y="55"/>
                  </a:lnTo>
                  <a:lnTo>
                    <a:pt x="93" y="49"/>
                  </a:lnTo>
                  <a:lnTo>
                    <a:pt x="93" y="38"/>
                  </a:lnTo>
                  <a:lnTo>
                    <a:pt x="109" y="44"/>
                  </a:lnTo>
                  <a:lnTo>
                    <a:pt x="136" y="38"/>
                  </a:lnTo>
                  <a:lnTo>
                    <a:pt x="174" y="0"/>
                  </a:lnTo>
                  <a:lnTo>
                    <a:pt x="191" y="0"/>
                  </a:lnTo>
                  <a:lnTo>
                    <a:pt x="196" y="17"/>
                  </a:lnTo>
                  <a:lnTo>
                    <a:pt x="191" y="27"/>
                  </a:lnTo>
                  <a:lnTo>
                    <a:pt x="196" y="27"/>
                  </a:lnTo>
                  <a:lnTo>
                    <a:pt x="185" y="44"/>
                  </a:lnTo>
                  <a:lnTo>
                    <a:pt x="131" y="71"/>
                  </a:lnTo>
                  <a:lnTo>
                    <a:pt x="125" y="66"/>
                  </a:lnTo>
                  <a:lnTo>
                    <a:pt x="98" y="98"/>
                  </a:lnTo>
                  <a:lnTo>
                    <a:pt x="87" y="98"/>
                  </a:lnTo>
                  <a:lnTo>
                    <a:pt x="82" y="104"/>
                  </a:lnTo>
                  <a:lnTo>
                    <a:pt x="87" y="109"/>
                  </a:lnTo>
                  <a:lnTo>
                    <a:pt x="82" y="120"/>
                  </a:lnTo>
                  <a:lnTo>
                    <a:pt x="71" y="115"/>
                  </a:lnTo>
                  <a:lnTo>
                    <a:pt x="76" y="126"/>
                  </a:lnTo>
                  <a:lnTo>
                    <a:pt x="65" y="120"/>
                  </a:lnTo>
                  <a:lnTo>
                    <a:pt x="71" y="131"/>
                  </a:lnTo>
                  <a:lnTo>
                    <a:pt x="65" y="137"/>
                  </a:lnTo>
                  <a:lnTo>
                    <a:pt x="55" y="126"/>
                  </a:lnTo>
                  <a:lnTo>
                    <a:pt x="65" y="142"/>
                  </a:lnTo>
                  <a:lnTo>
                    <a:pt x="55" y="153"/>
                  </a:lnTo>
                  <a:lnTo>
                    <a:pt x="49" y="142"/>
                  </a:lnTo>
                  <a:lnTo>
                    <a:pt x="44" y="153"/>
                  </a:lnTo>
                  <a:lnTo>
                    <a:pt x="49" y="158"/>
                  </a:lnTo>
                  <a:lnTo>
                    <a:pt x="49" y="164"/>
                  </a:lnTo>
                  <a:lnTo>
                    <a:pt x="38" y="158"/>
                  </a:lnTo>
                  <a:lnTo>
                    <a:pt x="49" y="169"/>
                  </a:lnTo>
                  <a:lnTo>
                    <a:pt x="38" y="169"/>
                  </a:lnTo>
                  <a:lnTo>
                    <a:pt x="44" y="180"/>
                  </a:lnTo>
                  <a:lnTo>
                    <a:pt x="38" y="186"/>
                  </a:lnTo>
                  <a:lnTo>
                    <a:pt x="16" y="180"/>
                  </a:lnTo>
                  <a:lnTo>
                    <a:pt x="6" y="180"/>
                  </a:lnTo>
                  <a:lnTo>
                    <a:pt x="16" y="169"/>
                  </a:lnTo>
                  <a:lnTo>
                    <a:pt x="0" y="169"/>
                  </a:lnTo>
                  <a:lnTo>
                    <a:pt x="0" y="164"/>
                  </a:lnTo>
                  <a:close/>
                </a:path>
              </a:pathLst>
            </a:custGeom>
            <a:solidFill>
              <a:schemeClr val="accent2"/>
            </a:solidFill>
            <a:ln w="12700" cmpd="sng">
              <a:solidFill>
                <a:schemeClr val="bg1"/>
              </a:solidFill>
              <a:round/>
              <a:headEnd/>
              <a:tailEnd/>
            </a:ln>
          </p:spPr>
          <p:txBody>
            <a:bodyPr/>
            <a:lstStyle/>
            <a:p>
              <a:endParaRPr lang="de-DE"/>
            </a:p>
          </p:txBody>
        </p:sp>
        <p:sp>
          <p:nvSpPr>
            <p:cNvPr id="356588" name="Freeform 610"/>
            <p:cNvSpPr>
              <a:spLocks/>
            </p:cNvSpPr>
            <p:nvPr/>
          </p:nvSpPr>
          <p:spPr bwMode="auto">
            <a:xfrm>
              <a:off x="3373" y="1392"/>
              <a:ext cx="196" cy="186"/>
            </a:xfrm>
            <a:custGeom>
              <a:avLst/>
              <a:gdLst>
                <a:gd name="T0" fmla="*/ 0 w 196"/>
                <a:gd name="T1" fmla="*/ 164 h 186"/>
                <a:gd name="T2" fmla="*/ 16 w 196"/>
                <a:gd name="T3" fmla="*/ 147 h 186"/>
                <a:gd name="T4" fmla="*/ 27 w 196"/>
                <a:gd name="T5" fmla="*/ 153 h 186"/>
                <a:gd name="T6" fmla="*/ 16 w 196"/>
                <a:gd name="T7" fmla="*/ 142 h 186"/>
                <a:gd name="T8" fmla="*/ 22 w 196"/>
                <a:gd name="T9" fmla="*/ 142 h 186"/>
                <a:gd name="T10" fmla="*/ 16 w 196"/>
                <a:gd name="T11" fmla="*/ 137 h 186"/>
                <a:gd name="T12" fmla="*/ 27 w 196"/>
                <a:gd name="T13" fmla="*/ 131 h 186"/>
                <a:gd name="T14" fmla="*/ 22 w 196"/>
                <a:gd name="T15" fmla="*/ 120 h 186"/>
                <a:gd name="T16" fmla="*/ 38 w 196"/>
                <a:gd name="T17" fmla="*/ 120 h 186"/>
                <a:gd name="T18" fmla="*/ 22 w 196"/>
                <a:gd name="T19" fmla="*/ 115 h 186"/>
                <a:gd name="T20" fmla="*/ 27 w 196"/>
                <a:gd name="T21" fmla="*/ 109 h 186"/>
                <a:gd name="T22" fmla="*/ 22 w 196"/>
                <a:gd name="T23" fmla="*/ 109 h 186"/>
                <a:gd name="T24" fmla="*/ 22 w 196"/>
                <a:gd name="T25" fmla="*/ 104 h 186"/>
                <a:gd name="T26" fmla="*/ 22 w 196"/>
                <a:gd name="T27" fmla="*/ 98 h 186"/>
                <a:gd name="T28" fmla="*/ 27 w 196"/>
                <a:gd name="T29" fmla="*/ 104 h 186"/>
                <a:gd name="T30" fmla="*/ 49 w 196"/>
                <a:gd name="T31" fmla="*/ 93 h 186"/>
                <a:gd name="T32" fmla="*/ 65 w 196"/>
                <a:gd name="T33" fmla="*/ 66 h 186"/>
                <a:gd name="T34" fmla="*/ 87 w 196"/>
                <a:gd name="T35" fmla="*/ 44 h 186"/>
                <a:gd name="T36" fmla="*/ 87 w 196"/>
                <a:gd name="T37" fmla="*/ 49 h 186"/>
                <a:gd name="T38" fmla="*/ 82 w 196"/>
                <a:gd name="T39" fmla="*/ 55 h 186"/>
                <a:gd name="T40" fmla="*/ 93 w 196"/>
                <a:gd name="T41" fmla="*/ 49 h 186"/>
                <a:gd name="T42" fmla="*/ 93 w 196"/>
                <a:gd name="T43" fmla="*/ 38 h 186"/>
                <a:gd name="T44" fmla="*/ 109 w 196"/>
                <a:gd name="T45" fmla="*/ 44 h 186"/>
                <a:gd name="T46" fmla="*/ 136 w 196"/>
                <a:gd name="T47" fmla="*/ 38 h 186"/>
                <a:gd name="T48" fmla="*/ 174 w 196"/>
                <a:gd name="T49" fmla="*/ 0 h 186"/>
                <a:gd name="T50" fmla="*/ 191 w 196"/>
                <a:gd name="T51" fmla="*/ 0 h 186"/>
                <a:gd name="T52" fmla="*/ 196 w 196"/>
                <a:gd name="T53" fmla="*/ 17 h 186"/>
                <a:gd name="T54" fmla="*/ 191 w 196"/>
                <a:gd name="T55" fmla="*/ 27 h 186"/>
                <a:gd name="T56" fmla="*/ 196 w 196"/>
                <a:gd name="T57" fmla="*/ 27 h 186"/>
                <a:gd name="T58" fmla="*/ 185 w 196"/>
                <a:gd name="T59" fmla="*/ 44 h 186"/>
                <a:gd name="T60" fmla="*/ 131 w 196"/>
                <a:gd name="T61" fmla="*/ 71 h 186"/>
                <a:gd name="T62" fmla="*/ 125 w 196"/>
                <a:gd name="T63" fmla="*/ 66 h 186"/>
                <a:gd name="T64" fmla="*/ 98 w 196"/>
                <a:gd name="T65" fmla="*/ 98 h 186"/>
                <a:gd name="T66" fmla="*/ 87 w 196"/>
                <a:gd name="T67" fmla="*/ 98 h 186"/>
                <a:gd name="T68" fmla="*/ 82 w 196"/>
                <a:gd name="T69" fmla="*/ 104 h 186"/>
                <a:gd name="T70" fmla="*/ 87 w 196"/>
                <a:gd name="T71" fmla="*/ 109 h 186"/>
                <a:gd name="T72" fmla="*/ 82 w 196"/>
                <a:gd name="T73" fmla="*/ 120 h 186"/>
                <a:gd name="T74" fmla="*/ 71 w 196"/>
                <a:gd name="T75" fmla="*/ 115 h 186"/>
                <a:gd name="T76" fmla="*/ 76 w 196"/>
                <a:gd name="T77" fmla="*/ 126 h 186"/>
                <a:gd name="T78" fmla="*/ 65 w 196"/>
                <a:gd name="T79" fmla="*/ 120 h 186"/>
                <a:gd name="T80" fmla="*/ 71 w 196"/>
                <a:gd name="T81" fmla="*/ 131 h 186"/>
                <a:gd name="T82" fmla="*/ 65 w 196"/>
                <a:gd name="T83" fmla="*/ 137 h 186"/>
                <a:gd name="T84" fmla="*/ 55 w 196"/>
                <a:gd name="T85" fmla="*/ 126 h 186"/>
                <a:gd name="T86" fmla="*/ 65 w 196"/>
                <a:gd name="T87" fmla="*/ 142 h 186"/>
                <a:gd name="T88" fmla="*/ 55 w 196"/>
                <a:gd name="T89" fmla="*/ 153 h 186"/>
                <a:gd name="T90" fmla="*/ 49 w 196"/>
                <a:gd name="T91" fmla="*/ 142 h 186"/>
                <a:gd name="T92" fmla="*/ 44 w 196"/>
                <a:gd name="T93" fmla="*/ 153 h 186"/>
                <a:gd name="T94" fmla="*/ 49 w 196"/>
                <a:gd name="T95" fmla="*/ 158 h 186"/>
                <a:gd name="T96" fmla="*/ 49 w 196"/>
                <a:gd name="T97" fmla="*/ 164 h 186"/>
                <a:gd name="T98" fmla="*/ 38 w 196"/>
                <a:gd name="T99" fmla="*/ 158 h 186"/>
                <a:gd name="T100" fmla="*/ 49 w 196"/>
                <a:gd name="T101" fmla="*/ 169 h 186"/>
                <a:gd name="T102" fmla="*/ 38 w 196"/>
                <a:gd name="T103" fmla="*/ 169 h 186"/>
                <a:gd name="T104" fmla="*/ 44 w 196"/>
                <a:gd name="T105" fmla="*/ 180 h 186"/>
                <a:gd name="T106" fmla="*/ 38 w 196"/>
                <a:gd name="T107" fmla="*/ 186 h 186"/>
                <a:gd name="T108" fmla="*/ 16 w 196"/>
                <a:gd name="T109" fmla="*/ 180 h 186"/>
                <a:gd name="T110" fmla="*/ 6 w 196"/>
                <a:gd name="T111" fmla="*/ 180 h 186"/>
                <a:gd name="T112" fmla="*/ 16 w 196"/>
                <a:gd name="T113" fmla="*/ 169 h 186"/>
                <a:gd name="T114" fmla="*/ 0 w 196"/>
                <a:gd name="T115" fmla="*/ 169 h 186"/>
                <a:gd name="T116" fmla="*/ 0 w 196"/>
                <a:gd name="T117" fmla="*/ 164 h 18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96"/>
                <a:gd name="T178" fmla="*/ 0 h 186"/>
                <a:gd name="T179" fmla="*/ 196 w 196"/>
                <a:gd name="T180" fmla="*/ 186 h 18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96" h="186">
                  <a:moveTo>
                    <a:pt x="0" y="164"/>
                  </a:moveTo>
                  <a:lnTo>
                    <a:pt x="16" y="147"/>
                  </a:lnTo>
                  <a:lnTo>
                    <a:pt x="27" y="153"/>
                  </a:lnTo>
                  <a:lnTo>
                    <a:pt x="16" y="142"/>
                  </a:lnTo>
                  <a:lnTo>
                    <a:pt x="22" y="142"/>
                  </a:lnTo>
                  <a:lnTo>
                    <a:pt x="16" y="137"/>
                  </a:lnTo>
                  <a:lnTo>
                    <a:pt x="27" y="131"/>
                  </a:lnTo>
                  <a:lnTo>
                    <a:pt x="22" y="120"/>
                  </a:lnTo>
                  <a:lnTo>
                    <a:pt x="38" y="120"/>
                  </a:lnTo>
                  <a:lnTo>
                    <a:pt x="22" y="115"/>
                  </a:lnTo>
                  <a:lnTo>
                    <a:pt x="27" y="109"/>
                  </a:lnTo>
                  <a:lnTo>
                    <a:pt x="22" y="109"/>
                  </a:lnTo>
                  <a:lnTo>
                    <a:pt x="22" y="104"/>
                  </a:lnTo>
                  <a:lnTo>
                    <a:pt x="22" y="98"/>
                  </a:lnTo>
                  <a:lnTo>
                    <a:pt x="27" y="104"/>
                  </a:lnTo>
                  <a:lnTo>
                    <a:pt x="49" y="93"/>
                  </a:lnTo>
                  <a:lnTo>
                    <a:pt x="65" y="66"/>
                  </a:lnTo>
                  <a:lnTo>
                    <a:pt x="87" y="44"/>
                  </a:lnTo>
                  <a:lnTo>
                    <a:pt x="87" y="49"/>
                  </a:lnTo>
                  <a:lnTo>
                    <a:pt x="82" y="55"/>
                  </a:lnTo>
                  <a:lnTo>
                    <a:pt x="93" y="49"/>
                  </a:lnTo>
                  <a:lnTo>
                    <a:pt x="93" y="38"/>
                  </a:lnTo>
                  <a:lnTo>
                    <a:pt x="109" y="44"/>
                  </a:lnTo>
                  <a:lnTo>
                    <a:pt x="136" y="38"/>
                  </a:lnTo>
                  <a:lnTo>
                    <a:pt x="174" y="0"/>
                  </a:lnTo>
                  <a:lnTo>
                    <a:pt x="191" y="0"/>
                  </a:lnTo>
                  <a:lnTo>
                    <a:pt x="196" y="17"/>
                  </a:lnTo>
                  <a:lnTo>
                    <a:pt x="191" y="27"/>
                  </a:lnTo>
                  <a:lnTo>
                    <a:pt x="196" y="27"/>
                  </a:lnTo>
                  <a:lnTo>
                    <a:pt x="185" y="44"/>
                  </a:lnTo>
                  <a:lnTo>
                    <a:pt x="131" y="71"/>
                  </a:lnTo>
                  <a:lnTo>
                    <a:pt x="125" y="66"/>
                  </a:lnTo>
                  <a:lnTo>
                    <a:pt x="98" y="98"/>
                  </a:lnTo>
                  <a:lnTo>
                    <a:pt x="87" y="98"/>
                  </a:lnTo>
                  <a:lnTo>
                    <a:pt x="82" y="104"/>
                  </a:lnTo>
                  <a:lnTo>
                    <a:pt x="87" y="109"/>
                  </a:lnTo>
                  <a:lnTo>
                    <a:pt x="82" y="120"/>
                  </a:lnTo>
                  <a:lnTo>
                    <a:pt x="71" y="115"/>
                  </a:lnTo>
                  <a:lnTo>
                    <a:pt x="76" y="126"/>
                  </a:lnTo>
                  <a:lnTo>
                    <a:pt x="65" y="120"/>
                  </a:lnTo>
                  <a:lnTo>
                    <a:pt x="71" y="131"/>
                  </a:lnTo>
                  <a:lnTo>
                    <a:pt x="65" y="137"/>
                  </a:lnTo>
                  <a:lnTo>
                    <a:pt x="55" y="126"/>
                  </a:lnTo>
                  <a:lnTo>
                    <a:pt x="65" y="142"/>
                  </a:lnTo>
                  <a:lnTo>
                    <a:pt x="55" y="153"/>
                  </a:lnTo>
                  <a:lnTo>
                    <a:pt x="49" y="142"/>
                  </a:lnTo>
                  <a:lnTo>
                    <a:pt x="44" y="153"/>
                  </a:lnTo>
                  <a:lnTo>
                    <a:pt x="49" y="158"/>
                  </a:lnTo>
                  <a:lnTo>
                    <a:pt x="49" y="164"/>
                  </a:lnTo>
                  <a:lnTo>
                    <a:pt x="38" y="158"/>
                  </a:lnTo>
                  <a:lnTo>
                    <a:pt x="49" y="169"/>
                  </a:lnTo>
                  <a:lnTo>
                    <a:pt x="38" y="169"/>
                  </a:lnTo>
                  <a:lnTo>
                    <a:pt x="44" y="180"/>
                  </a:lnTo>
                  <a:lnTo>
                    <a:pt x="38" y="186"/>
                  </a:lnTo>
                  <a:lnTo>
                    <a:pt x="16" y="180"/>
                  </a:lnTo>
                  <a:lnTo>
                    <a:pt x="6" y="180"/>
                  </a:lnTo>
                  <a:lnTo>
                    <a:pt x="16" y="169"/>
                  </a:lnTo>
                  <a:lnTo>
                    <a:pt x="0" y="169"/>
                  </a:lnTo>
                  <a:lnTo>
                    <a:pt x="0" y="164"/>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89" name="Freeform 611"/>
            <p:cNvSpPr>
              <a:spLocks/>
            </p:cNvSpPr>
            <p:nvPr/>
          </p:nvSpPr>
          <p:spPr bwMode="auto">
            <a:xfrm>
              <a:off x="3340" y="1572"/>
              <a:ext cx="82" cy="120"/>
            </a:xfrm>
            <a:custGeom>
              <a:avLst/>
              <a:gdLst>
                <a:gd name="T0" fmla="*/ 33 w 82"/>
                <a:gd name="T1" fmla="*/ 6 h 120"/>
                <a:gd name="T2" fmla="*/ 49 w 82"/>
                <a:gd name="T3" fmla="*/ 0 h 120"/>
                <a:gd name="T4" fmla="*/ 66 w 82"/>
                <a:gd name="T5" fmla="*/ 11 h 120"/>
                <a:gd name="T6" fmla="*/ 55 w 82"/>
                <a:gd name="T7" fmla="*/ 22 h 120"/>
                <a:gd name="T8" fmla="*/ 66 w 82"/>
                <a:gd name="T9" fmla="*/ 22 h 120"/>
                <a:gd name="T10" fmla="*/ 66 w 82"/>
                <a:gd name="T11" fmla="*/ 28 h 120"/>
                <a:gd name="T12" fmla="*/ 55 w 82"/>
                <a:gd name="T13" fmla="*/ 28 h 120"/>
                <a:gd name="T14" fmla="*/ 60 w 82"/>
                <a:gd name="T15" fmla="*/ 33 h 120"/>
                <a:gd name="T16" fmla="*/ 55 w 82"/>
                <a:gd name="T17" fmla="*/ 44 h 120"/>
                <a:gd name="T18" fmla="*/ 55 w 82"/>
                <a:gd name="T19" fmla="*/ 66 h 120"/>
                <a:gd name="T20" fmla="*/ 60 w 82"/>
                <a:gd name="T21" fmla="*/ 93 h 120"/>
                <a:gd name="T22" fmla="*/ 82 w 82"/>
                <a:gd name="T23" fmla="*/ 115 h 120"/>
                <a:gd name="T24" fmla="*/ 71 w 82"/>
                <a:gd name="T25" fmla="*/ 115 h 120"/>
                <a:gd name="T26" fmla="*/ 77 w 82"/>
                <a:gd name="T27" fmla="*/ 120 h 120"/>
                <a:gd name="T28" fmla="*/ 77 w 82"/>
                <a:gd name="T29" fmla="*/ 120 h 120"/>
                <a:gd name="T30" fmla="*/ 71 w 82"/>
                <a:gd name="T31" fmla="*/ 109 h 120"/>
                <a:gd name="T32" fmla="*/ 66 w 82"/>
                <a:gd name="T33" fmla="*/ 115 h 120"/>
                <a:gd name="T34" fmla="*/ 66 w 82"/>
                <a:gd name="T35" fmla="*/ 120 h 120"/>
                <a:gd name="T36" fmla="*/ 55 w 82"/>
                <a:gd name="T37" fmla="*/ 115 h 120"/>
                <a:gd name="T38" fmla="*/ 49 w 82"/>
                <a:gd name="T39" fmla="*/ 120 h 120"/>
                <a:gd name="T40" fmla="*/ 44 w 82"/>
                <a:gd name="T41" fmla="*/ 115 h 120"/>
                <a:gd name="T42" fmla="*/ 49 w 82"/>
                <a:gd name="T43" fmla="*/ 109 h 120"/>
                <a:gd name="T44" fmla="*/ 33 w 82"/>
                <a:gd name="T45" fmla="*/ 109 h 120"/>
                <a:gd name="T46" fmla="*/ 33 w 82"/>
                <a:gd name="T47" fmla="*/ 98 h 120"/>
                <a:gd name="T48" fmla="*/ 39 w 82"/>
                <a:gd name="T49" fmla="*/ 98 h 120"/>
                <a:gd name="T50" fmla="*/ 28 w 82"/>
                <a:gd name="T51" fmla="*/ 93 h 120"/>
                <a:gd name="T52" fmla="*/ 33 w 82"/>
                <a:gd name="T53" fmla="*/ 82 h 120"/>
                <a:gd name="T54" fmla="*/ 28 w 82"/>
                <a:gd name="T55" fmla="*/ 93 h 120"/>
                <a:gd name="T56" fmla="*/ 28 w 82"/>
                <a:gd name="T57" fmla="*/ 82 h 120"/>
                <a:gd name="T58" fmla="*/ 6 w 82"/>
                <a:gd name="T59" fmla="*/ 77 h 120"/>
                <a:gd name="T60" fmla="*/ 0 w 82"/>
                <a:gd name="T61" fmla="*/ 71 h 120"/>
                <a:gd name="T62" fmla="*/ 6 w 82"/>
                <a:gd name="T63" fmla="*/ 60 h 120"/>
                <a:gd name="T64" fmla="*/ 17 w 82"/>
                <a:gd name="T65" fmla="*/ 60 h 120"/>
                <a:gd name="T66" fmla="*/ 22 w 82"/>
                <a:gd name="T67" fmla="*/ 38 h 120"/>
                <a:gd name="T68" fmla="*/ 22 w 82"/>
                <a:gd name="T69" fmla="*/ 38 h 120"/>
                <a:gd name="T70" fmla="*/ 17 w 82"/>
                <a:gd name="T71" fmla="*/ 28 h 120"/>
                <a:gd name="T72" fmla="*/ 28 w 82"/>
                <a:gd name="T73" fmla="*/ 22 h 120"/>
                <a:gd name="T74" fmla="*/ 22 w 82"/>
                <a:gd name="T75" fmla="*/ 22 h 120"/>
                <a:gd name="T76" fmla="*/ 28 w 82"/>
                <a:gd name="T77" fmla="*/ 17 h 120"/>
                <a:gd name="T78" fmla="*/ 22 w 82"/>
                <a:gd name="T79" fmla="*/ 11 h 120"/>
                <a:gd name="T80" fmla="*/ 33 w 82"/>
                <a:gd name="T81" fmla="*/ 6 h 120"/>
                <a:gd name="T82" fmla="*/ 33 w 82"/>
                <a:gd name="T83" fmla="*/ 6 h 12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120"/>
                <a:gd name="T128" fmla="*/ 82 w 82"/>
                <a:gd name="T129" fmla="*/ 120 h 12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120">
                  <a:moveTo>
                    <a:pt x="33" y="6"/>
                  </a:moveTo>
                  <a:lnTo>
                    <a:pt x="49" y="0"/>
                  </a:lnTo>
                  <a:lnTo>
                    <a:pt x="66" y="11"/>
                  </a:lnTo>
                  <a:lnTo>
                    <a:pt x="55" y="22"/>
                  </a:lnTo>
                  <a:lnTo>
                    <a:pt x="66" y="22"/>
                  </a:lnTo>
                  <a:lnTo>
                    <a:pt x="66" y="28"/>
                  </a:lnTo>
                  <a:lnTo>
                    <a:pt x="55" y="28"/>
                  </a:lnTo>
                  <a:lnTo>
                    <a:pt x="60" y="33"/>
                  </a:lnTo>
                  <a:lnTo>
                    <a:pt x="55" y="44"/>
                  </a:lnTo>
                  <a:lnTo>
                    <a:pt x="55" y="66"/>
                  </a:lnTo>
                  <a:lnTo>
                    <a:pt x="60" y="93"/>
                  </a:lnTo>
                  <a:lnTo>
                    <a:pt x="82" y="115"/>
                  </a:lnTo>
                  <a:lnTo>
                    <a:pt x="71" y="115"/>
                  </a:lnTo>
                  <a:lnTo>
                    <a:pt x="77" y="120"/>
                  </a:lnTo>
                  <a:lnTo>
                    <a:pt x="71" y="109"/>
                  </a:lnTo>
                  <a:lnTo>
                    <a:pt x="66" y="115"/>
                  </a:lnTo>
                  <a:lnTo>
                    <a:pt x="66" y="120"/>
                  </a:lnTo>
                  <a:lnTo>
                    <a:pt x="55" y="115"/>
                  </a:lnTo>
                  <a:lnTo>
                    <a:pt x="49" y="120"/>
                  </a:lnTo>
                  <a:lnTo>
                    <a:pt x="44" y="115"/>
                  </a:lnTo>
                  <a:lnTo>
                    <a:pt x="49" y="109"/>
                  </a:lnTo>
                  <a:lnTo>
                    <a:pt x="33" y="109"/>
                  </a:lnTo>
                  <a:lnTo>
                    <a:pt x="33" y="98"/>
                  </a:lnTo>
                  <a:lnTo>
                    <a:pt x="39" y="98"/>
                  </a:lnTo>
                  <a:lnTo>
                    <a:pt x="28" y="93"/>
                  </a:lnTo>
                  <a:lnTo>
                    <a:pt x="33" y="82"/>
                  </a:lnTo>
                  <a:lnTo>
                    <a:pt x="28" y="93"/>
                  </a:lnTo>
                  <a:lnTo>
                    <a:pt x="28" y="82"/>
                  </a:lnTo>
                  <a:lnTo>
                    <a:pt x="6" y="77"/>
                  </a:lnTo>
                  <a:lnTo>
                    <a:pt x="0" y="71"/>
                  </a:lnTo>
                  <a:lnTo>
                    <a:pt x="6" y="60"/>
                  </a:lnTo>
                  <a:lnTo>
                    <a:pt x="17" y="60"/>
                  </a:lnTo>
                  <a:lnTo>
                    <a:pt x="22" y="38"/>
                  </a:lnTo>
                  <a:lnTo>
                    <a:pt x="17" y="28"/>
                  </a:lnTo>
                  <a:lnTo>
                    <a:pt x="28" y="22"/>
                  </a:lnTo>
                  <a:lnTo>
                    <a:pt x="22" y="22"/>
                  </a:lnTo>
                  <a:lnTo>
                    <a:pt x="28" y="17"/>
                  </a:lnTo>
                  <a:lnTo>
                    <a:pt x="22" y="11"/>
                  </a:lnTo>
                  <a:lnTo>
                    <a:pt x="33" y="6"/>
                  </a:lnTo>
                  <a:close/>
                </a:path>
              </a:pathLst>
            </a:custGeom>
            <a:solidFill>
              <a:schemeClr val="accent2"/>
            </a:solidFill>
            <a:ln w="12700" cmpd="sng">
              <a:solidFill>
                <a:schemeClr val="bg1"/>
              </a:solidFill>
              <a:round/>
              <a:headEnd/>
              <a:tailEnd/>
            </a:ln>
          </p:spPr>
          <p:txBody>
            <a:bodyPr/>
            <a:lstStyle/>
            <a:p>
              <a:endParaRPr lang="de-DE"/>
            </a:p>
          </p:txBody>
        </p:sp>
        <p:sp>
          <p:nvSpPr>
            <p:cNvPr id="356590" name="Freeform 612"/>
            <p:cNvSpPr>
              <a:spLocks/>
            </p:cNvSpPr>
            <p:nvPr/>
          </p:nvSpPr>
          <p:spPr bwMode="auto">
            <a:xfrm>
              <a:off x="3340" y="1572"/>
              <a:ext cx="82" cy="120"/>
            </a:xfrm>
            <a:custGeom>
              <a:avLst/>
              <a:gdLst>
                <a:gd name="T0" fmla="*/ 33 w 82"/>
                <a:gd name="T1" fmla="*/ 6 h 120"/>
                <a:gd name="T2" fmla="*/ 49 w 82"/>
                <a:gd name="T3" fmla="*/ 0 h 120"/>
                <a:gd name="T4" fmla="*/ 66 w 82"/>
                <a:gd name="T5" fmla="*/ 11 h 120"/>
                <a:gd name="T6" fmla="*/ 55 w 82"/>
                <a:gd name="T7" fmla="*/ 22 h 120"/>
                <a:gd name="T8" fmla="*/ 66 w 82"/>
                <a:gd name="T9" fmla="*/ 22 h 120"/>
                <a:gd name="T10" fmla="*/ 66 w 82"/>
                <a:gd name="T11" fmla="*/ 28 h 120"/>
                <a:gd name="T12" fmla="*/ 55 w 82"/>
                <a:gd name="T13" fmla="*/ 28 h 120"/>
                <a:gd name="T14" fmla="*/ 60 w 82"/>
                <a:gd name="T15" fmla="*/ 33 h 120"/>
                <a:gd name="T16" fmla="*/ 55 w 82"/>
                <a:gd name="T17" fmla="*/ 44 h 120"/>
                <a:gd name="T18" fmla="*/ 55 w 82"/>
                <a:gd name="T19" fmla="*/ 66 h 120"/>
                <a:gd name="T20" fmla="*/ 60 w 82"/>
                <a:gd name="T21" fmla="*/ 93 h 120"/>
                <a:gd name="T22" fmla="*/ 82 w 82"/>
                <a:gd name="T23" fmla="*/ 115 h 120"/>
                <a:gd name="T24" fmla="*/ 71 w 82"/>
                <a:gd name="T25" fmla="*/ 115 h 120"/>
                <a:gd name="T26" fmla="*/ 77 w 82"/>
                <a:gd name="T27" fmla="*/ 120 h 120"/>
                <a:gd name="T28" fmla="*/ 77 w 82"/>
                <a:gd name="T29" fmla="*/ 120 h 120"/>
                <a:gd name="T30" fmla="*/ 71 w 82"/>
                <a:gd name="T31" fmla="*/ 109 h 120"/>
                <a:gd name="T32" fmla="*/ 66 w 82"/>
                <a:gd name="T33" fmla="*/ 115 h 120"/>
                <a:gd name="T34" fmla="*/ 66 w 82"/>
                <a:gd name="T35" fmla="*/ 120 h 120"/>
                <a:gd name="T36" fmla="*/ 55 w 82"/>
                <a:gd name="T37" fmla="*/ 115 h 120"/>
                <a:gd name="T38" fmla="*/ 49 w 82"/>
                <a:gd name="T39" fmla="*/ 120 h 120"/>
                <a:gd name="T40" fmla="*/ 44 w 82"/>
                <a:gd name="T41" fmla="*/ 115 h 120"/>
                <a:gd name="T42" fmla="*/ 49 w 82"/>
                <a:gd name="T43" fmla="*/ 109 h 120"/>
                <a:gd name="T44" fmla="*/ 33 w 82"/>
                <a:gd name="T45" fmla="*/ 109 h 120"/>
                <a:gd name="T46" fmla="*/ 33 w 82"/>
                <a:gd name="T47" fmla="*/ 98 h 120"/>
                <a:gd name="T48" fmla="*/ 39 w 82"/>
                <a:gd name="T49" fmla="*/ 98 h 120"/>
                <a:gd name="T50" fmla="*/ 28 w 82"/>
                <a:gd name="T51" fmla="*/ 93 h 120"/>
                <a:gd name="T52" fmla="*/ 33 w 82"/>
                <a:gd name="T53" fmla="*/ 82 h 120"/>
                <a:gd name="T54" fmla="*/ 28 w 82"/>
                <a:gd name="T55" fmla="*/ 93 h 120"/>
                <a:gd name="T56" fmla="*/ 28 w 82"/>
                <a:gd name="T57" fmla="*/ 82 h 120"/>
                <a:gd name="T58" fmla="*/ 6 w 82"/>
                <a:gd name="T59" fmla="*/ 77 h 120"/>
                <a:gd name="T60" fmla="*/ 0 w 82"/>
                <a:gd name="T61" fmla="*/ 71 h 120"/>
                <a:gd name="T62" fmla="*/ 6 w 82"/>
                <a:gd name="T63" fmla="*/ 60 h 120"/>
                <a:gd name="T64" fmla="*/ 17 w 82"/>
                <a:gd name="T65" fmla="*/ 60 h 120"/>
                <a:gd name="T66" fmla="*/ 22 w 82"/>
                <a:gd name="T67" fmla="*/ 38 h 120"/>
                <a:gd name="T68" fmla="*/ 22 w 82"/>
                <a:gd name="T69" fmla="*/ 38 h 120"/>
                <a:gd name="T70" fmla="*/ 17 w 82"/>
                <a:gd name="T71" fmla="*/ 28 h 120"/>
                <a:gd name="T72" fmla="*/ 28 w 82"/>
                <a:gd name="T73" fmla="*/ 22 h 120"/>
                <a:gd name="T74" fmla="*/ 22 w 82"/>
                <a:gd name="T75" fmla="*/ 22 h 120"/>
                <a:gd name="T76" fmla="*/ 28 w 82"/>
                <a:gd name="T77" fmla="*/ 17 h 120"/>
                <a:gd name="T78" fmla="*/ 22 w 82"/>
                <a:gd name="T79" fmla="*/ 11 h 120"/>
                <a:gd name="T80" fmla="*/ 33 w 82"/>
                <a:gd name="T81" fmla="*/ 6 h 1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2"/>
                <a:gd name="T124" fmla="*/ 0 h 120"/>
                <a:gd name="T125" fmla="*/ 82 w 82"/>
                <a:gd name="T126" fmla="*/ 120 h 1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2" h="120">
                  <a:moveTo>
                    <a:pt x="33" y="6"/>
                  </a:moveTo>
                  <a:lnTo>
                    <a:pt x="49" y="0"/>
                  </a:lnTo>
                  <a:lnTo>
                    <a:pt x="66" y="11"/>
                  </a:lnTo>
                  <a:lnTo>
                    <a:pt x="55" y="22"/>
                  </a:lnTo>
                  <a:lnTo>
                    <a:pt x="66" y="22"/>
                  </a:lnTo>
                  <a:lnTo>
                    <a:pt x="66" y="28"/>
                  </a:lnTo>
                  <a:lnTo>
                    <a:pt x="55" y="28"/>
                  </a:lnTo>
                  <a:lnTo>
                    <a:pt x="60" y="33"/>
                  </a:lnTo>
                  <a:lnTo>
                    <a:pt x="55" y="44"/>
                  </a:lnTo>
                  <a:lnTo>
                    <a:pt x="55" y="66"/>
                  </a:lnTo>
                  <a:lnTo>
                    <a:pt x="60" y="93"/>
                  </a:lnTo>
                  <a:lnTo>
                    <a:pt x="82" y="115"/>
                  </a:lnTo>
                  <a:lnTo>
                    <a:pt x="71" y="115"/>
                  </a:lnTo>
                  <a:lnTo>
                    <a:pt x="77" y="120"/>
                  </a:lnTo>
                  <a:lnTo>
                    <a:pt x="71" y="109"/>
                  </a:lnTo>
                  <a:lnTo>
                    <a:pt x="66" y="115"/>
                  </a:lnTo>
                  <a:lnTo>
                    <a:pt x="66" y="120"/>
                  </a:lnTo>
                  <a:lnTo>
                    <a:pt x="55" y="115"/>
                  </a:lnTo>
                  <a:lnTo>
                    <a:pt x="49" y="120"/>
                  </a:lnTo>
                  <a:lnTo>
                    <a:pt x="44" y="115"/>
                  </a:lnTo>
                  <a:lnTo>
                    <a:pt x="49" y="109"/>
                  </a:lnTo>
                  <a:lnTo>
                    <a:pt x="33" y="109"/>
                  </a:lnTo>
                  <a:lnTo>
                    <a:pt x="33" y="98"/>
                  </a:lnTo>
                  <a:lnTo>
                    <a:pt x="39" y="98"/>
                  </a:lnTo>
                  <a:lnTo>
                    <a:pt x="28" y="93"/>
                  </a:lnTo>
                  <a:lnTo>
                    <a:pt x="33" y="82"/>
                  </a:lnTo>
                  <a:lnTo>
                    <a:pt x="28" y="93"/>
                  </a:lnTo>
                  <a:lnTo>
                    <a:pt x="28" y="82"/>
                  </a:lnTo>
                  <a:lnTo>
                    <a:pt x="6" y="77"/>
                  </a:lnTo>
                  <a:lnTo>
                    <a:pt x="0" y="71"/>
                  </a:lnTo>
                  <a:lnTo>
                    <a:pt x="6" y="60"/>
                  </a:lnTo>
                  <a:lnTo>
                    <a:pt x="17" y="60"/>
                  </a:lnTo>
                  <a:lnTo>
                    <a:pt x="22" y="38"/>
                  </a:lnTo>
                  <a:lnTo>
                    <a:pt x="17" y="28"/>
                  </a:lnTo>
                  <a:lnTo>
                    <a:pt x="28" y="22"/>
                  </a:lnTo>
                  <a:lnTo>
                    <a:pt x="22" y="22"/>
                  </a:lnTo>
                  <a:lnTo>
                    <a:pt x="28" y="17"/>
                  </a:lnTo>
                  <a:lnTo>
                    <a:pt x="22" y="11"/>
                  </a:lnTo>
                  <a:lnTo>
                    <a:pt x="33" y="6"/>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91" name="Freeform 613"/>
            <p:cNvSpPr>
              <a:spLocks/>
            </p:cNvSpPr>
            <p:nvPr/>
          </p:nvSpPr>
          <p:spPr bwMode="auto">
            <a:xfrm>
              <a:off x="3302" y="1730"/>
              <a:ext cx="28" cy="28"/>
            </a:xfrm>
            <a:custGeom>
              <a:avLst/>
              <a:gdLst>
                <a:gd name="T0" fmla="*/ 6 w 28"/>
                <a:gd name="T1" fmla="*/ 0 h 28"/>
                <a:gd name="T2" fmla="*/ 11 w 28"/>
                <a:gd name="T3" fmla="*/ 0 h 28"/>
                <a:gd name="T4" fmla="*/ 28 w 28"/>
                <a:gd name="T5" fmla="*/ 17 h 28"/>
                <a:gd name="T6" fmla="*/ 11 w 28"/>
                <a:gd name="T7" fmla="*/ 28 h 28"/>
                <a:gd name="T8" fmla="*/ 0 w 28"/>
                <a:gd name="T9" fmla="*/ 22 h 28"/>
                <a:gd name="T10" fmla="*/ 0 w 28"/>
                <a:gd name="T11" fmla="*/ 28 h 28"/>
                <a:gd name="T12" fmla="*/ 0 w 28"/>
                <a:gd name="T13" fmla="*/ 22 h 28"/>
                <a:gd name="T14" fmla="*/ 0 w 28"/>
                <a:gd name="T15" fmla="*/ 11 h 28"/>
                <a:gd name="T16" fmla="*/ 6 w 28"/>
                <a:gd name="T17" fmla="*/ 0 h 28"/>
                <a:gd name="T18" fmla="*/ 6 w 28"/>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
                <a:gd name="T31" fmla="*/ 0 h 28"/>
                <a:gd name="T32" fmla="*/ 28 w 28"/>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 h="28">
                  <a:moveTo>
                    <a:pt x="6" y="0"/>
                  </a:moveTo>
                  <a:lnTo>
                    <a:pt x="11" y="0"/>
                  </a:lnTo>
                  <a:lnTo>
                    <a:pt x="28" y="17"/>
                  </a:lnTo>
                  <a:lnTo>
                    <a:pt x="11" y="28"/>
                  </a:lnTo>
                  <a:lnTo>
                    <a:pt x="0" y="22"/>
                  </a:lnTo>
                  <a:lnTo>
                    <a:pt x="0" y="28"/>
                  </a:lnTo>
                  <a:lnTo>
                    <a:pt x="0" y="22"/>
                  </a:lnTo>
                  <a:lnTo>
                    <a:pt x="0" y="11"/>
                  </a:lnTo>
                  <a:lnTo>
                    <a:pt x="6" y="0"/>
                  </a:lnTo>
                  <a:close/>
                </a:path>
              </a:pathLst>
            </a:custGeom>
            <a:solidFill>
              <a:schemeClr val="accent2"/>
            </a:solidFill>
            <a:ln w="12700" cmpd="sng">
              <a:solidFill>
                <a:schemeClr val="bg1"/>
              </a:solidFill>
              <a:round/>
              <a:headEnd/>
              <a:tailEnd/>
            </a:ln>
          </p:spPr>
          <p:txBody>
            <a:bodyPr/>
            <a:lstStyle/>
            <a:p>
              <a:endParaRPr lang="de-DE"/>
            </a:p>
          </p:txBody>
        </p:sp>
        <p:sp>
          <p:nvSpPr>
            <p:cNvPr id="356592" name="Freeform 614"/>
            <p:cNvSpPr>
              <a:spLocks/>
            </p:cNvSpPr>
            <p:nvPr/>
          </p:nvSpPr>
          <p:spPr bwMode="auto">
            <a:xfrm>
              <a:off x="3302" y="1730"/>
              <a:ext cx="28" cy="28"/>
            </a:xfrm>
            <a:custGeom>
              <a:avLst/>
              <a:gdLst>
                <a:gd name="T0" fmla="*/ 6 w 28"/>
                <a:gd name="T1" fmla="*/ 0 h 28"/>
                <a:gd name="T2" fmla="*/ 11 w 28"/>
                <a:gd name="T3" fmla="*/ 0 h 28"/>
                <a:gd name="T4" fmla="*/ 28 w 28"/>
                <a:gd name="T5" fmla="*/ 17 h 28"/>
                <a:gd name="T6" fmla="*/ 11 w 28"/>
                <a:gd name="T7" fmla="*/ 28 h 28"/>
                <a:gd name="T8" fmla="*/ 0 w 28"/>
                <a:gd name="T9" fmla="*/ 22 h 28"/>
                <a:gd name="T10" fmla="*/ 0 w 28"/>
                <a:gd name="T11" fmla="*/ 28 h 28"/>
                <a:gd name="T12" fmla="*/ 0 w 28"/>
                <a:gd name="T13" fmla="*/ 22 h 28"/>
                <a:gd name="T14" fmla="*/ 0 w 28"/>
                <a:gd name="T15" fmla="*/ 11 h 28"/>
                <a:gd name="T16" fmla="*/ 6 w 28"/>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28"/>
                <a:gd name="T29" fmla="*/ 28 w 28"/>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28">
                  <a:moveTo>
                    <a:pt x="6" y="0"/>
                  </a:moveTo>
                  <a:lnTo>
                    <a:pt x="11" y="0"/>
                  </a:lnTo>
                  <a:lnTo>
                    <a:pt x="28" y="17"/>
                  </a:lnTo>
                  <a:lnTo>
                    <a:pt x="11" y="28"/>
                  </a:lnTo>
                  <a:lnTo>
                    <a:pt x="0" y="22"/>
                  </a:lnTo>
                  <a:lnTo>
                    <a:pt x="0" y="28"/>
                  </a:lnTo>
                  <a:lnTo>
                    <a:pt x="0" y="22"/>
                  </a:lnTo>
                  <a:lnTo>
                    <a:pt x="0" y="11"/>
                  </a:lnTo>
                  <a:lnTo>
                    <a:pt x="6"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93" name="Freeform 615"/>
            <p:cNvSpPr>
              <a:spLocks/>
            </p:cNvSpPr>
            <p:nvPr/>
          </p:nvSpPr>
          <p:spPr bwMode="auto">
            <a:xfrm>
              <a:off x="4609" y="2320"/>
              <a:ext cx="11" cy="11"/>
            </a:xfrm>
            <a:custGeom>
              <a:avLst/>
              <a:gdLst>
                <a:gd name="T0" fmla="*/ 11 w 11"/>
                <a:gd name="T1" fmla="*/ 0 h 11"/>
                <a:gd name="T2" fmla="*/ 0 w 11"/>
                <a:gd name="T3" fmla="*/ 11 h 11"/>
                <a:gd name="T4" fmla="*/ 5 w 11"/>
                <a:gd name="T5" fmla="*/ 5 h 11"/>
                <a:gd name="T6" fmla="*/ 11 w 11"/>
                <a:gd name="T7" fmla="*/ 0 h 11"/>
                <a:gd name="T8" fmla="*/ 11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11" y="0"/>
                  </a:moveTo>
                  <a:lnTo>
                    <a:pt x="0" y="11"/>
                  </a:lnTo>
                  <a:lnTo>
                    <a:pt x="5" y="5"/>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594" name="Freeform 616"/>
            <p:cNvSpPr>
              <a:spLocks/>
            </p:cNvSpPr>
            <p:nvPr/>
          </p:nvSpPr>
          <p:spPr bwMode="auto">
            <a:xfrm>
              <a:off x="4609" y="2320"/>
              <a:ext cx="11" cy="11"/>
            </a:xfrm>
            <a:custGeom>
              <a:avLst/>
              <a:gdLst>
                <a:gd name="T0" fmla="*/ 11 w 11"/>
                <a:gd name="T1" fmla="*/ 0 h 11"/>
                <a:gd name="T2" fmla="*/ 0 w 11"/>
                <a:gd name="T3" fmla="*/ 11 h 11"/>
                <a:gd name="T4" fmla="*/ 5 w 11"/>
                <a:gd name="T5" fmla="*/ 5 h 11"/>
                <a:gd name="T6" fmla="*/ 11 w 11"/>
                <a:gd name="T7" fmla="*/ 0 h 11"/>
                <a:gd name="T8" fmla="*/ 0 60000 65536"/>
                <a:gd name="T9" fmla="*/ 0 60000 65536"/>
                <a:gd name="T10" fmla="*/ 0 60000 65536"/>
                <a:gd name="T11" fmla="*/ 0 60000 65536"/>
                <a:gd name="T12" fmla="*/ 0 w 11"/>
                <a:gd name="T13" fmla="*/ 0 h 11"/>
                <a:gd name="T14" fmla="*/ 11 w 11"/>
                <a:gd name="T15" fmla="*/ 11 h 11"/>
              </a:gdLst>
              <a:ahLst/>
              <a:cxnLst>
                <a:cxn ang="T8">
                  <a:pos x="T0" y="T1"/>
                </a:cxn>
                <a:cxn ang="T9">
                  <a:pos x="T2" y="T3"/>
                </a:cxn>
                <a:cxn ang="T10">
                  <a:pos x="T4" y="T5"/>
                </a:cxn>
                <a:cxn ang="T11">
                  <a:pos x="T6" y="T7"/>
                </a:cxn>
              </a:cxnLst>
              <a:rect l="T12" t="T13" r="T14" b="T15"/>
              <a:pathLst>
                <a:path w="11" h="11">
                  <a:moveTo>
                    <a:pt x="11" y="0"/>
                  </a:moveTo>
                  <a:lnTo>
                    <a:pt x="0" y="11"/>
                  </a:lnTo>
                  <a:lnTo>
                    <a:pt x="5" y="5"/>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95" name="Freeform 617"/>
            <p:cNvSpPr>
              <a:spLocks/>
            </p:cNvSpPr>
            <p:nvPr/>
          </p:nvSpPr>
          <p:spPr bwMode="auto">
            <a:xfrm>
              <a:off x="4979" y="1649"/>
              <a:ext cx="49" cy="32"/>
            </a:xfrm>
            <a:custGeom>
              <a:avLst/>
              <a:gdLst>
                <a:gd name="T0" fmla="*/ 22 w 49"/>
                <a:gd name="T1" fmla="*/ 5 h 32"/>
                <a:gd name="T2" fmla="*/ 32 w 49"/>
                <a:gd name="T3" fmla="*/ 0 h 32"/>
                <a:gd name="T4" fmla="*/ 49 w 49"/>
                <a:gd name="T5" fmla="*/ 16 h 32"/>
                <a:gd name="T6" fmla="*/ 49 w 49"/>
                <a:gd name="T7" fmla="*/ 21 h 32"/>
                <a:gd name="T8" fmla="*/ 32 w 49"/>
                <a:gd name="T9" fmla="*/ 27 h 32"/>
                <a:gd name="T10" fmla="*/ 16 w 49"/>
                <a:gd name="T11" fmla="*/ 27 h 32"/>
                <a:gd name="T12" fmla="*/ 5 w 49"/>
                <a:gd name="T13" fmla="*/ 32 h 32"/>
                <a:gd name="T14" fmla="*/ 0 w 49"/>
                <a:gd name="T15" fmla="*/ 21 h 32"/>
                <a:gd name="T16" fmla="*/ 16 w 49"/>
                <a:gd name="T17" fmla="*/ 5 h 32"/>
                <a:gd name="T18" fmla="*/ 22 w 49"/>
                <a:gd name="T19" fmla="*/ 5 h 32"/>
                <a:gd name="T20" fmla="*/ 22 w 49"/>
                <a:gd name="T21" fmla="*/ 5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32"/>
                <a:gd name="T35" fmla="*/ 49 w 49"/>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32">
                  <a:moveTo>
                    <a:pt x="22" y="5"/>
                  </a:moveTo>
                  <a:lnTo>
                    <a:pt x="32" y="0"/>
                  </a:lnTo>
                  <a:lnTo>
                    <a:pt x="49" y="16"/>
                  </a:lnTo>
                  <a:lnTo>
                    <a:pt x="49" y="21"/>
                  </a:lnTo>
                  <a:lnTo>
                    <a:pt x="32" y="27"/>
                  </a:lnTo>
                  <a:lnTo>
                    <a:pt x="16" y="27"/>
                  </a:lnTo>
                  <a:lnTo>
                    <a:pt x="5" y="32"/>
                  </a:lnTo>
                  <a:lnTo>
                    <a:pt x="0" y="21"/>
                  </a:lnTo>
                  <a:lnTo>
                    <a:pt x="16" y="5"/>
                  </a:lnTo>
                  <a:lnTo>
                    <a:pt x="22" y="5"/>
                  </a:lnTo>
                  <a:close/>
                </a:path>
              </a:pathLst>
            </a:custGeom>
            <a:solidFill>
              <a:schemeClr val="accent2"/>
            </a:solidFill>
            <a:ln w="12700" cmpd="sng">
              <a:solidFill>
                <a:schemeClr val="bg1"/>
              </a:solidFill>
              <a:round/>
              <a:headEnd/>
              <a:tailEnd/>
            </a:ln>
          </p:spPr>
          <p:txBody>
            <a:bodyPr/>
            <a:lstStyle/>
            <a:p>
              <a:endParaRPr lang="de-DE"/>
            </a:p>
          </p:txBody>
        </p:sp>
        <p:sp>
          <p:nvSpPr>
            <p:cNvPr id="356596" name="Freeform 618"/>
            <p:cNvSpPr>
              <a:spLocks/>
            </p:cNvSpPr>
            <p:nvPr/>
          </p:nvSpPr>
          <p:spPr bwMode="auto">
            <a:xfrm>
              <a:off x="4979" y="1649"/>
              <a:ext cx="49" cy="32"/>
            </a:xfrm>
            <a:custGeom>
              <a:avLst/>
              <a:gdLst>
                <a:gd name="T0" fmla="*/ 22 w 49"/>
                <a:gd name="T1" fmla="*/ 5 h 32"/>
                <a:gd name="T2" fmla="*/ 32 w 49"/>
                <a:gd name="T3" fmla="*/ 0 h 32"/>
                <a:gd name="T4" fmla="*/ 49 w 49"/>
                <a:gd name="T5" fmla="*/ 16 h 32"/>
                <a:gd name="T6" fmla="*/ 49 w 49"/>
                <a:gd name="T7" fmla="*/ 21 h 32"/>
                <a:gd name="T8" fmla="*/ 32 w 49"/>
                <a:gd name="T9" fmla="*/ 27 h 32"/>
                <a:gd name="T10" fmla="*/ 16 w 49"/>
                <a:gd name="T11" fmla="*/ 27 h 32"/>
                <a:gd name="T12" fmla="*/ 5 w 49"/>
                <a:gd name="T13" fmla="*/ 32 h 32"/>
                <a:gd name="T14" fmla="*/ 0 w 49"/>
                <a:gd name="T15" fmla="*/ 21 h 32"/>
                <a:gd name="T16" fmla="*/ 16 w 49"/>
                <a:gd name="T17" fmla="*/ 5 h 32"/>
                <a:gd name="T18" fmla="*/ 22 w 49"/>
                <a:gd name="T19" fmla="*/ 5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2"/>
                <a:gd name="T32" fmla="*/ 49 w 49"/>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2">
                  <a:moveTo>
                    <a:pt x="22" y="5"/>
                  </a:moveTo>
                  <a:lnTo>
                    <a:pt x="32" y="0"/>
                  </a:lnTo>
                  <a:lnTo>
                    <a:pt x="49" y="16"/>
                  </a:lnTo>
                  <a:lnTo>
                    <a:pt x="49" y="21"/>
                  </a:lnTo>
                  <a:lnTo>
                    <a:pt x="32" y="27"/>
                  </a:lnTo>
                  <a:lnTo>
                    <a:pt x="16" y="27"/>
                  </a:lnTo>
                  <a:lnTo>
                    <a:pt x="5" y="32"/>
                  </a:lnTo>
                  <a:lnTo>
                    <a:pt x="0" y="21"/>
                  </a:lnTo>
                  <a:lnTo>
                    <a:pt x="16" y="5"/>
                  </a:lnTo>
                  <a:lnTo>
                    <a:pt x="22" y="5"/>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97" name="Freeform 619"/>
            <p:cNvSpPr>
              <a:spLocks/>
            </p:cNvSpPr>
            <p:nvPr/>
          </p:nvSpPr>
          <p:spPr bwMode="auto">
            <a:xfrm>
              <a:off x="4843" y="1714"/>
              <a:ext cx="16" cy="16"/>
            </a:xfrm>
            <a:custGeom>
              <a:avLst/>
              <a:gdLst>
                <a:gd name="T0" fmla="*/ 0 w 16"/>
                <a:gd name="T1" fmla="*/ 0 h 16"/>
                <a:gd name="T2" fmla="*/ 16 w 16"/>
                <a:gd name="T3" fmla="*/ 6 h 16"/>
                <a:gd name="T4" fmla="*/ 16 w 16"/>
                <a:gd name="T5" fmla="*/ 16 h 16"/>
                <a:gd name="T6" fmla="*/ 5 w 16"/>
                <a:gd name="T7" fmla="*/ 11 h 16"/>
                <a:gd name="T8" fmla="*/ 0 w 16"/>
                <a:gd name="T9" fmla="*/ 0 h 16"/>
                <a:gd name="T10" fmla="*/ 0 w 16"/>
                <a:gd name="T11" fmla="*/ 0 h 16"/>
                <a:gd name="T12" fmla="*/ 0 w 16"/>
                <a:gd name="T13" fmla="*/ 0 h 16"/>
                <a:gd name="T14" fmla="*/ 0 60000 65536"/>
                <a:gd name="T15" fmla="*/ 0 60000 65536"/>
                <a:gd name="T16" fmla="*/ 0 60000 65536"/>
                <a:gd name="T17" fmla="*/ 0 60000 65536"/>
                <a:gd name="T18" fmla="*/ 0 60000 65536"/>
                <a:gd name="T19" fmla="*/ 0 60000 65536"/>
                <a:gd name="T20" fmla="*/ 0 60000 65536"/>
                <a:gd name="T21" fmla="*/ 0 w 16"/>
                <a:gd name="T22" fmla="*/ 0 h 16"/>
                <a:gd name="T23" fmla="*/ 16 w 16"/>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6">
                  <a:moveTo>
                    <a:pt x="0" y="0"/>
                  </a:moveTo>
                  <a:lnTo>
                    <a:pt x="16" y="6"/>
                  </a:lnTo>
                  <a:lnTo>
                    <a:pt x="16" y="16"/>
                  </a:lnTo>
                  <a:lnTo>
                    <a:pt x="5" y="11"/>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598" name="Freeform 620"/>
            <p:cNvSpPr>
              <a:spLocks/>
            </p:cNvSpPr>
            <p:nvPr/>
          </p:nvSpPr>
          <p:spPr bwMode="auto">
            <a:xfrm>
              <a:off x="4843" y="1714"/>
              <a:ext cx="16" cy="16"/>
            </a:xfrm>
            <a:custGeom>
              <a:avLst/>
              <a:gdLst>
                <a:gd name="T0" fmla="*/ 0 w 16"/>
                <a:gd name="T1" fmla="*/ 0 h 16"/>
                <a:gd name="T2" fmla="*/ 16 w 16"/>
                <a:gd name="T3" fmla="*/ 6 h 16"/>
                <a:gd name="T4" fmla="*/ 16 w 16"/>
                <a:gd name="T5" fmla="*/ 16 h 16"/>
                <a:gd name="T6" fmla="*/ 5 w 16"/>
                <a:gd name="T7" fmla="*/ 11 h 16"/>
                <a:gd name="T8" fmla="*/ 0 w 16"/>
                <a:gd name="T9" fmla="*/ 0 h 16"/>
                <a:gd name="T10" fmla="*/ 0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0" y="0"/>
                  </a:moveTo>
                  <a:lnTo>
                    <a:pt x="16" y="6"/>
                  </a:lnTo>
                  <a:lnTo>
                    <a:pt x="16" y="16"/>
                  </a:lnTo>
                  <a:lnTo>
                    <a:pt x="5" y="11"/>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599" name="Freeform 621"/>
            <p:cNvSpPr>
              <a:spLocks/>
            </p:cNvSpPr>
            <p:nvPr/>
          </p:nvSpPr>
          <p:spPr bwMode="auto">
            <a:xfrm>
              <a:off x="4679" y="2232"/>
              <a:ext cx="11" cy="11"/>
            </a:xfrm>
            <a:custGeom>
              <a:avLst/>
              <a:gdLst>
                <a:gd name="T0" fmla="*/ 11 w 11"/>
                <a:gd name="T1" fmla="*/ 0 h 11"/>
                <a:gd name="T2" fmla="*/ 0 w 11"/>
                <a:gd name="T3" fmla="*/ 11 h 11"/>
                <a:gd name="T4" fmla="*/ 0 w 11"/>
                <a:gd name="T5" fmla="*/ 11 h 11"/>
                <a:gd name="T6" fmla="*/ 11 w 11"/>
                <a:gd name="T7" fmla="*/ 6 h 11"/>
                <a:gd name="T8" fmla="*/ 11 w 11"/>
                <a:gd name="T9" fmla="*/ 6 h 11"/>
                <a:gd name="T10" fmla="*/ 11 w 11"/>
                <a:gd name="T11" fmla="*/ 0 h 11"/>
                <a:gd name="T12" fmla="*/ 11 w 11"/>
                <a:gd name="T13" fmla="*/ 0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11" y="0"/>
                  </a:moveTo>
                  <a:lnTo>
                    <a:pt x="0" y="11"/>
                  </a:lnTo>
                  <a:lnTo>
                    <a:pt x="11" y="6"/>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600" name="Freeform 622"/>
            <p:cNvSpPr>
              <a:spLocks/>
            </p:cNvSpPr>
            <p:nvPr/>
          </p:nvSpPr>
          <p:spPr bwMode="auto">
            <a:xfrm>
              <a:off x="4679" y="2232"/>
              <a:ext cx="11" cy="11"/>
            </a:xfrm>
            <a:custGeom>
              <a:avLst/>
              <a:gdLst>
                <a:gd name="T0" fmla="*/ 11 w 11"/>
                <a:gd name="T1" fmla="*/ 0 h 11"/>
                <a:gd name="T2" fmla="*/ 0 w 11"/>
                <a:gd name="T3" fmla="*/ 11 h 11"/>
                <a:gd name="T4" fmla="*/ 0 w 11"/>
                <a:gd name="T5" fmla="*/ 11 h 11"/>
                <a:gd name="T6" fmla="*/ 11 w 11"/>
                <a:gd name="T7" fmla="*/ 6 h 11"/>
                <a:gd name="T8" fmla="*/ 11 w 11"/>
                <a:gd name="T9" fmla="*/ 6 h 11"/>
                <a:gd name="T10" fmla="*/ 11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0" y="11"/>
                  </a:lnTo>
                  <a:lnTo>
                    <a:pt x="11" y="6"/>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01" name="Freeform 623"/>
            <p:cNvSpPr>
              <a:spLocks/>
            </p:cNvSpPr>
            <p:nvPr/>
          </p:nvSpPr>
          <p:spPr bwMode="auto">
            <a:xfrm>
              <a:off x="4467" y="1610"/>
              <a:ext cx="22" cy="11"/>
            </a:xfrm>
            <a:custGeom>
              <a:avLst/>
              <a:gdLst>
                <a:gd name="T0" fmla="*/ 11 w 22"/>
                <a:gd name="T1" fmla="*/ 0 h 11"/>
                <a:gd name="T2" fmla="*/ 22 w 22"/>
                <a:gd name="T3" fmla="*/ 0 h 11"/>
                <a:gd name="T4" fmla="*/ 16 w 22"/>
                <a:gd name="T5" fmla="*/ 11 h 11"/>
                <a:gd name="T6" fmla="*/ 0 w 22"/>
                <a:gd name="T7" fmla="*/ 11 h 11"/>
                <a:gd name="T8" fmla="*/ 6 w 22"/>
                <a:gd name="T9" fmla="*/ 0 h 11"/>
                <a:gd name="T10" fmla="*/ 11 w 22"/>
                <a:gd name="T11" fmla="*/ 0 h 11"/>
                <a:gd name="T12" fmla="*/ 11 w 22"/>
                <a:gd name="T13" fmla="*/ 0 h 11"/>
                <a:gd name="T14" fmla="*/ 0 60000 65536"/>
                <a:gd name="T15" fmla="*/ 0 60000 65536"/>
                <a:gd name="T16" fmla="*/ 0 60000 65536"/>
                <a:gd name="T17" fmla="*/ 0 60000 65536"/>
                <a:gd name="T18" fmla="*/ 0 60000 65536"/>
                <a:gd name="T19" fmla="*/ 0 60000 65536"/>
                <a:gd name="T20" fmla="*/ 0 60000 65536"/>
                <a:gd name="T21" fmla="*/ 0 w 22"/>
                <a:gd name="T22" fmla="*/ 0 h 11"/>
                <a:gd name="T23" fmla="*/ 22 w 22"/>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1">
                  <a:moveTo>
                    <a:pt x="11" y="0"/>
                  </a:moveTo>
                  <a:lnTo>
                    <a:pt x="22" y="0"/>
                  </a:lnTo>
                  <a:lnTo>
                    <a:pt x="16" y="11"/>
                  </a:lnTo>
                  <a:lnTo>
                    <a:pt x="0" y="11"/>
                  </a:lnTo>
                  <a:lnTo>
                    <a:pt x="6" y="0"/>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602" name="Freeform 624"/>
            <p:cNvSpPr>
              <a:spLocks/>
            </p:cNvSpPr>
            <p:nvPr/>
          </p:nvSpPr>
          <p:spPr bwMode="auto">
            <a:xfrm>
              <a:off x="4467" y="1610"/>
              <a:ext cx="22" cy="11"/>
            </a:xfrm>
            <a:custGeom>
              <a:avLst/>
              <a:gdLst>
                <a:gd name="T0" fmla="*/ 11 w 22"/>
                <a:gd name="T1" fmla="*/ 0 h 11"/>
                <a:gd name="T2" fmla="*/ 22 w 22"/>
                <a:gd name="T3" fmla="*/ 0 h 11"/>
                <a:gd name="T4" fmla="*/ 16 w 22"/>
                <a:gd name="T5" fmla="*/ 11 h 11"/>
                <a:gd name="T6" fmla="*/ 0 w 22"/>
                <a:gd name="T7" fmla="*/ 11 h 11"/>
                <a:gd name="T8" fmla="*/ 6 w 22"/>
                <a:gd name="T9" fmla="*/ 0 h 11"/>
                <a:gd name="T10" fmla="*/ 11 w 22"/>
                <a:gd name="T11" fmla="*/ 0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11" y="0"/>
                  </a:moveTo>
                  <a:lnTo>
                    <a:pt x="22" y="0"/>
                  </a:lnTo>
                  <a:lnTo>
                    <a:pt x="16" y="11"/>
                  </a:lnTo>
                  <a:lnTo>
                    <a:pt x="0" y="11"/>
                  </a:lnTo>
                  <a:lnTo>
                    <a:pt x="6" y="0"/>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03" name="Freeform 625"/>
            <p:cNvSpPr>
              <a:spLocks/>
            </p:cNvSpPr>
            <p:nvPr/>
          </p:nvSpPr>
          <p:spPr bwMode="auto">
            <a:xfrm>
              <a:off x="4456" y="1649"/>
              <a:ext cx="11" cy="11"/>
            </a:xfrm>
            <a:custGeom>
              <a:avLst/>
              <a:gdLst>
                <a:gd name="T0" fmla="*/ 0 w 11"/>
                <a:gd name="T1" fmla="*/ 5 h 11"/>
                <a:gd name="T2" fmla="*/ 11 w 11"/>
                <a:gd name="T3" fmla="*/ 0 h 11"/>
                <a:gd name="T4" fmla="*/ 11 w 11"/>
                <a:gd name="T5" fmla="*/ 5 h 11"/>
                <a:gd name="T6" fmla="*/ 0 w 11"/>
                <a:gd name="T7" fmla="*/ 11 h 11"/>
                <a:gd name="T8" fmla="*/ 0 w 11"/>
                <a:gd name="T9" fmla="*/ 11 h 11"/>
                <a:gd name="T10" fmla="*/ 0 w 11"/>
                <a:gd name="T11" fmla="*/ 5 h 11"/>
                <a:gd name="T12" fmla="*/ 0 w 11"/>
                <a:gd name="T13" fmla="*/ 5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0" y="5"/>
                  </a:moveTo>
                  <a:lnTo>
                    <a:pt x="11" y="0"/>
                  </a:lnTo>
                  <a:lnTo>
                    <a:pt x="11" y="5"/>
                  </a:lnTo>
                  <a:lnTo>
                    <a:pt x="0" y="11"/>
                  </a:lnTo>
                  <a:lnTo>
                    <a:pt x="0" y="5"/>
                  </a:lnTo>
                  <a:close/>
                </a:path>
              </a:pathLst>
            </a:custGeom>
            <a:solidFill>
              <a:schemeClr val="accent2"/>
            </a:solidFill>
            <a:ln w="12700" cmpd="sng">
              <a:solidFill>
                <a:schemeClr val="bg1"/>
              </a:solidFill>
              <a:round/>
              <a:headEnd/>
              <a:tailEnd/>
            </a:ln>
          </p:spPr>
          <p:txBody>
            <a:bodyPr/>
            <a:lstStyle/>
            <a:p>
              <a:endParaRPr lang="de-DE"/>
            </a:p>
          </p:txBody>
        </p:sp>
        <p:sp>
          <p:nvSpPr>
            <p:cNvPr id="356604" name="Freeform 626"/>
            <p:cNvSpPr>
              <a:spLocks/>
            </p:cNvSpPr>
            <p:nvPr/>
          </p:nvSpPr>
          <p:spPr bwMode="auto">
            <a:xfrm>
              <a:off x="4456" y="1649"/>
              <a:ext cx="11" cy="11"/>
            </a:xfrm>
            <a:custGeom>
              <a:avLst/>
              <a:gdLst>
                <a:gd name="T0" fmla="*/ 0 w 11"/>
                <a:gd name="T1" fmla="*/ 5 h 11"/>
                <a:gd name="T2" fmla="*/ 11 w 11"/>
                <a:gd name="T3" fmla="*/ 0 h 11"/>
                <a:gd name="T4" fmla="*/ 11 w 11"/>
                <a:gd name="T5" fmla="*/ 5 h 11"/>
                <a:gd name="T6" fmla="*/ 0 w 11"/>
                <a:gd name="T7" fmla="*/ 11 h 11"/>
                <a:gd name="T8" fmla="*/ 0 w 11"/>
                <a:gd name="T9" fmla="*/ 11 h 11"/>
                <a:gd name="T10" fmla="*/ 0 w 11"/>
                <a:gd name="T11" fmla="*/ 5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5"/>
                  </a:moveTo>
                  <a:lnTo>
                    <a:pt x="11" y="0"/>
                  </a:lnTo>
                  <a:lnTo>
                    <a:pt x="11" y="5"/>
                  </a:lnTo>
                  <a:lnTo>
                    <a:pt x="0" y="11"/>
                  </a:lnTo>
                  <a:lnTo>
                    <a:pt x="0" y="5"/>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05" name="Freeform 627"/>
            <p:cNvSpPr>
              <a:spLocks/>
            </p:cNvSpPr>
            <p:nvPr/>
          </p:nvSpPr>
          <p:spPr bwMode="auto">
            <a:xfrm>
              <a:off x="4440" y="1649"/>
              <a:ext cx="16" cy="5"/>
            </a:xfrm>
            <a:custGeom>
              <a:avLst/>
              <a:gdLst>
                <a:gd name="T0" fmla="*/ 5 w 16"/>
                <a:gd name="T1" fmla="*/ 0 h 5"/>
                <a:gd name="T2" fmla="*/ 16 w 16"/>
                <a:gd name="T3" fmla="*/ 0 h 5"/>
                <a:gd name="T4" fmla="*/ 11 w 16"/>
                <a:gd name="T5" fmla="*/ 5 h 5"/>
                <a:gd name="T6" fmla="*/ 0 w 16"/>
                <a:gd name="T7" fmla="*/ 0 h 5"/>
                <a:gd name="T8" fmla="*/ 5 w 16"/>
                <a:gd name="T9" fmla="*/ 0 h 5"/>
                <a:gd name="T10" fmla="*/ 5 w 16"/>
                <a:gd name="T11" fmla="*/ 0 h 5"/>
                <a:gd name="T12" fmla="*/ 0 60000 65536"/>
                <a:gd name="T13" fmla="*/ 0 60000 65536"/>
                <a:gd name="T14" fmla="*/ 0 60000 65536"/>
                <a:gd name="T15" fmla="*/ 0 60000 65536"/>
                <a:gd name="T16" fmla="*/ 0 60000 65536"/>
                <a:gd name="T17" fmla="*/ 0 60000 65536"/>
                <a:gd name="T18" fmla="*/ 0 w 16"/>
                <a:gd name="T19" fmla="*/ 0 h 5"/>
                <a:gd name="T20" fmla="*/ 16 w 16"/>
                <a:gd name="T21" fmla="*/ 5 h 5"/>
              </a:gdLst>
              <a:ahLst/>
              <a:cxnLst>
                <a:cxn ang="T12">
                  <a:pos x="T0" y="T1"/>
                </a:cxn>
                <a:cxn ang="T13">
                  <a:pos x="T2" y="T3"/>
                </a:cxn>
                <a:cxn ang="T14">
                  <a:pos x="T4" y="T5"/>
                </a:cxn>
                <a:cxn ang="T15">
                  <a:pos x="T6" y="T7"/>
                </a:cxn>
                <a:cxn ang="T16">
                  <a:pos x="T8" y="T9"/>
                </a:cxn>
                <a:cxn ang="T17">
                  <a:pos x="T10" y="T11"/>
                </a:cxn>
              </a:cxnLst>
              <a:rect l="T18" t="T19" r="T20" b="T21"/>
              <a:pathLst>
                <a:path w="16" h="5">
                  <a:moveTo>
                    <a:pt x="5" y="0"/>
                  </a:moveTo>
                  <a:lnTo>
                    <a:pt x="16" y="0"/>
                  </a:lnTo>
                  <a:lnTo>
                    <a:pt x="11" y="5"/>
                  </a:lnTo>
                  <a:lnTo>
                    <a:pt x="0" y="0"/>
                  </a:lnTo>
                  <a:lnTo>
                    <a:pt x="5" y="0"/>
                  </a:lnTo>
                  <a:close/>
                </a:path>
              </a:pathLst>
            </a:custGeom>
            <a:solidFill>
              <a:schemeClr val="accent2"/>
            </a:solidFill>
            <a:ln w="12700" cmpd="sng">
              <a:solidFill>
                <a:schemeClr val="bg1"/>
              </a:solidFill>
              <a:round/>
              <a:headEnd/>
              <a:tailEnd/>
            </a:ln>
          </p:spPr>
          <p:txBody>
            <a:bodyPr/>
            <a:lstStyle/>
            <a:p>
              <a:endParaRPr lang="de-DE"/>
            </a:p>
          </p:txBody>
        </p:sp>
        <p:sp>
          <p:nvSpPr>
            <p:cNvPr id="356606" name="Freeform 628"/>
            <p:cNvSpPr>
              <a:spLocks/>
            </p:cNvSpPr>
            <p:nvPr/>
          </p:nvSpPr>
          <p:spPr bwMode="auto">
            <a:xfrm>
              <a:off x="4440" y="1649"/>
              <a:ext cx="16" cy="5"/>
            </a:xfrm>
            <a:custGeom>
              <a:avLst/>
              <a:gdLst>
                <a:gd name="T0" fmla="*/ 5 w 16"/>
                <a:gd name="T1" fmla="*/ 0 h 5"/>
                <a:gd name="T2" fmla="*/ 16 w 16"/>
                <a:gd name="T3" fmla="*/ 0 h 5"/>
                <a:gd name="T4" fmla="*/ 11 w 16"/>
                <a:gd name="T5" fmla="*/ 5 h 5"/>
                <a:gd name="T6" fmla="*/ 0 w 16"/>
                <a:gd name="T7" fmla="*/ 0 h 5"/>
                <a:gd name="T8" fmla="*/ 5 w 16"/>
                <a:gd name="T9" fmla="*/ 0 h 5"/>
                <a:gd name="T10" fmla="*/ 0 60000 65536"/>
                <a:gd name="T11" fmla="*/ 0 60000 65536"/>
                <a:gd name="T12" fmla="*/ 0 60000 65536"/>
                <a:gd name="T13" fmla="*/ 0 60000 65536"/>
                <a:gd name="T14" fmla="*/ 0 60000 65536"/>
                <a:gd name="T15" fmla="*/ 0 w 16"/>
                <a:gd name="T16" fmla="*/ 0 h 5"/>
                <a:gd name="T17" fmla="*/ 16 w 16"/>
                <a:gd name="T18" fmla="*/ 5 h 5"/>
              </a:gdLst>
              <a:ahLst/>
              <a:cxnLst>
                <a:cxn ang="T10">
                  <a:pos x="T0" y="T1"/>
                </a:cxn>
                <a:cxn ang="T11">
                  <a:pos x="T2" y="T3"/>
                </a:cxn>
                <a:cxn ang="T12">
                  <a:pos x="T4" y="T5"/>
                </a:cxn>
                <a:cxn ang="T13">
                  <a:pos x="T6" y="T7"/>
                </a:cxn>
                <a:cxn ang="T14">
                  <a:pos x="T8" y="T9"/>
                </a:cxn>
              </a:cxnLst>
              <a:rect l="T15" t="T16" r="T17" b="T18"/>
              <a:pathLst>
                <a:path w="16" h="5">
                  <a:moveTo>
                    <a:pt x="5" y="0"/>
                  </a:moveTo>
                  <a:lnTo>
                    <a:pt x="16" y="0"/>
                  </a:lnTo>
                  <a:lnTo>
                    <a:pt x="11" y="5"/>
                  </a:lnTo>
                  <a:lnTo>
                    <a:pt x="0" y="0"/>
                  </a:lnTo>
                  <a:lnTo>
                    <a:pt x="5"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07" name="Freeform 629"/>
            <p:cNvSpPr>
              <a:spLocks/>
            </p:cNvSpPr>
            <p:nvPr/>
          </p:nvSpPr>
          <p:spPr bwMode="auto">
            <a:xfrm>
              <a:off x="4478" y="1550"/>
              <a:ext cx="49" cy="28"/>
            </a:xfrm>
            <a:custGeom>
              <a:avLst/>
              <a:gdLst>
                <a:gd name="T0" fmla="*/ 22 w 49"/>
                <a:gd name="T1" fmla="*/ 0 h 28"/>
                <a:gd name="T2" fmla="*/ 38 w 49"/>
                <a:gd name="T3" fmla="*/ 0 h 28"/>
                <a:gd name="T4" fmla="*/ 49 w 49"/>
                <a:gd name="T5" fmla="*/ 17 h 28"/>
                <a:gd name="T6" fmla="*/ 49 w 49"/>
                <a:gd name="T7" fmla="*/ 28 h 28"/>
                <a:gd name="T8" fmla="*/ 5 w 49"/>
                <a:gd name="T9" fmla="*/ 22 h 28"/>
                <a:gd name="T10" fmla="*/ 0 w 49"/>
                <a:gd name="T11" fmla="*/ 22 h 28"/>
                <a:gd name="T12" fmla="*/ 11 w 49"/>
                <a:gd name="T13" fmla="*/ 17 h 28"/>
                <a:gd name="T14" fmla="*/ 16 w 49"/>
                <a:gd name="T15" fmla="*/ 0 h 28"/>
                <a:gd name="T16" fmla="*/ 22 w 49"/>
                <a:gd name="T17" fmla="*/ 0 h 28"/>
                <a:gd name="T18" fmla="*/ 22 w 49"/>
                <a:gd name="T19" fmla="*/ 0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28"/>
                <a:gd name="T32" fmla="*/ 49 w 49"/>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28">
                  <a:moveTo>
                    <a:pt x="22" y="0"/>
                  </a:moveTo>
                  <a:lnTo>
                    <a:pt x="38" y="0"/>
                  </a:lnTo>
                  <a:lnTo>
                    <a:pt x="49" y="17"/>
                  </a:lnTo>
                  <a:lnTo>
                    <a:pt x="49" y="28"/>
                  </a:lnTo>
                  <a:lnTo>
                    <a:pt x="5" y="22"/>
                  </a:lnTo>
                  <a:lnTo>
                    <a:pt x="0" y="22"/>
                  </a:lnTo>
                  <a:lnTo>
                    <a:pt x="11" y="17"/>
                  </a:lnTo>
                  <a:lnTo>
                    <a:pt x="16" y="0"/>
                  </a:lnTo>
                  <a:lnTo>
                    <a:pt x="22" y="0"/>
                  </a:lnTo>
                  <a:close/>
                </a:path>
              </a:pathLst>
            </a:custGeom>
            <a:solidFill>
              <a:schemeClr val="accent2"/>
            </a:solidFill>
            <a:ln w="12700" cmpd="sng">
              <a:solidFill>
                <a:schemeClr val="bg1"/>
              </a:solidFill>
              <a:round/>
              <a:headEnd/>
              <a:tailEnd/>
            </a:ln>
          </p:spPr>
          <p:txBody>
            <a:bodyPr/>
            <a:lstStyle/>
            <a:p>
              <a:endParaRPr lang="de-DE"/>
            </a:p>
          </p:txBody>
        </p:sp>
        <p:sp>
          <p:nvSpPr>
            <p:cNvPr id="356608" name="Freeform 630"/>
            <p:cNvSpPr>
              <a:spLocks/>
            </p:cNvSpPr>
            <p:nvPr/>
          </p:nvSpPr>
          <p:spPr bwMode="auto">
            <a:xfrm>
              <a:off x="4478" y="1550"/>
              <a:ext cx="49" cy="28"/>
            </a:xfrm>
            <a:custGeom>
              <a:avLst/>
              <a:gdLst>
                <a:gd name="T0" fmla="*/ 22 w 49"/>
                <a:gd name="T1" fmla="*/ 0 h 28"/>
                <a:gd name="T2" fmla="*/ 38 w 49"/>
                <a:gd name="T3" fmla="*/ 0 h 28"/>
                <a:gd name="T4" fmla="*/ 49 w 49"/>
                <a:gd name="T5" fmla="*/ 17 h 28"/>
                <a:gd name="T6" fmla="*/ 49 w 49"/>
                <a:gd name="T7" fmla="*/ 28 h 28"/>
                <a:gd name="T8" fmla="*/ 5 w 49"/>
                <a:gd name="T9" fmla="*/ 22 h 28"/>
                <a:gd name="T10" fmla="*/ 0 w 49"/>
                <a:gd name="T11" fmla="*/ 22 h 28"/>
                <a:gd name="T12" fmla="*/ 11 w 49"/>
                <a:gd name="T13" fmla="*/ 17 h 28"/>
                <a:gd name="T14" fmla="*/ 16 w 49"/>
                <a:gd name="T15" fmla="*/ 0 h 28"/>
                <a:gd name="T16" fmla="*/ 22 w 49"/>
                <a:gd name="T17" fmla="*/ 0 h 2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28"/>
                <a:gd name="T29" fmla="*/ 49 w 49"/>
                <a:gd name="T30" fmla="*/ 28 h 2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28">
                  <a:moveTo>
                    <a:pt x="22" y="0"/>
                  </a:moveTo>
                  <a:lnTo>
                    <a:pt x="38" y="0"/>
                  </a:lnTo>
                  <a:lnTo>
                    <a:pt x="49" y="17"/>
                  </a:lnTo>
                  <a:lnTo>
                    <a:pt x="49" y="28"/>
                  </a:lnTo>
                  <a:lnTo>
                    <a:pt x="5" y="22"/>
                  </a:lnTo>
                  <a:lnTo>
                    <a:pt x="0" y="22"/>
                  </a:lnTo>
                  <a:lnTo>
                    <a:pt x="11" y="17"/>
                  </a:lnTo>
                  <a:lnTo>
                    <a:pt x="16" y="0"/>
                  </a:lnTo>
                  <a:lnTo>
                    <a:pt x="22"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09" name="Freeform 631"/>
            <p:cNvSpPr>
              <a:spLocks/>
            </p:cNvSpPr>
            <p:nvPr/>
          </p:nvSpPr>
          <p:spPr bwMode="auto">
            <a:xfrm>
              <a:off x="4483" y="1529"/>
              <a:ext cx="11" cy="21"/>
            </a:xfrm>
            <a:custGeom>
              <a:avLst/>
              <a:gdLst>
                <a:gd name="T0" fmla="*/ 11 w 11"/>
                <a:gd name="T1" fmla="*/ 10 h 21"/>
                <a:gd name="T2" fmla="*/ 6 w 11"/>
                <a:gd name="T3" fmla="*/ 0 h 21"/>
                <a:gd name="T4" fmla="*/ 0 w 11"/>
                <a:gd name="T5" fmla="*/ 5 h 21"/>
                <a:gd name="T6" fmla="*/ 0 w 11"/>
                <a:gd name="T7" fmla="*/ 16 h 21"/>
                <a:gd name="T8" fmla="*/ 6 w 11"/>
                <a:gd name="T9" fmla="*/ 21 h 21"/>
                <a:gd name="T10" fmla="*/ 11 w 11"/>
                <a:gd name="T11" fmla="*/ 10 h 21"/>
                <a:gd name="T12" fmla="*/ 11 w 11"/>
                <a:gd name="T13" fmla="*/ 10 h 21"/>
                <a:gd name="T14" fmla="*/ 0 60000 65536"/>
                <a:gd name="T15" fmla="*/ 0 60000 65536"/>
                <a:gd name="T16" fmla="*/ 0 60000 65536"/>
                <a:gd name="T17" fmla="*/ 0 60000 65536"/>
                <a:gd name="T18" fmla="*/ 0 60000 65536"/>
                <a:gd name="T19" fmla="*/ 0 60000 65536"/>
                <a:gd name="T20" fmla="*/ 0 60000 65536"/>
                <a:gd name="T21" fmla="*/ 0 w 11"/>
                <a:gd name="T22" fmla="*/ 0 h 21"/>
                <a:gd name="T23" fmla="*/ 11 w 1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21">
                  <a:moveTo>
                    <a:pt x="11" y="10"/>
                  </a:moveTo>
                  <a:lnTo>
                    <a:pt x="6" y="0"/>
                  </a:lnTo>
                  <a:lnTo>
                    <a:pt x="0" y="5"/>
                  </a:lnTo>
                  <a:lnTo>
                    <a:pt x="0" y="16"/>
                  </a:lnTo>
                  <a:lnTo>
                    <a:pt x="6" y="21"/>
                  </a:lnTo>
                  <a:lnTo>
                    <a:pt x="11" y="10"/>
                  </a:lnTo>
                  <a:close/>
                </a:path>
              </a:pathLst>
            </a:custGeom>
            <a:solidFill>
              <a:schemeClr val="accent2"/>
            </a:solidFill>
            <a:ln w="12700" cmpd="sng">
              <a:solidFill>
                <a:schemeClr val="bg1"/>
              </a:solidFill>
              <a:round/>
              <a:headEnd/>
              <a:tailEnd/>
            </a:ln>
          </p:spPr>
          <p:txBody>
            <a:bodyPr/>
            <a:lstStyle/>
            <a:p>
              <a:endParaRPr lang="de-DE"/>
            </a:p>
          </p:txBody>
        </p:sp>
        <p:sp>
          <p:nvSpPr>
            <p:cNvPr id="356610" name="Freeform 632"/>
            <p:cNvSpPr>
              <a:spLocks/>
            </p:cNvSpPr>
            <p:nvPr/>
          </p:nvSpPr>
          <p:spPr bwMode="auto">
            <a:xfrm>
              <a:off x="4483" y="1529"/>
              <a:ext cx="11" cy="21"/>
            </a:xfrm>
            <a:custGeom>
              <a:avLst/>
              <a:gdLst>
                <a:gd name="T0" fmla="*/ 11 w 11"/>
                <a:gd name="T1" fmla="*/ 10 h 21"/>
                <a:gd name="T2" fmla="*/ 6 w 11"/>
                <a:gd name="T3" fmla="*/ 0 h 21"/>
                <a:gd name="T4" fmla="*/ 0 w 11"/>
                <a:gd name="T5" fmla="*/ 5 h 21"/>
                <a:gd name="T6" fmla="*/ 0 w 11"/>
                <a:gd name="T7" fmla="*/ 16 h 21"/>
                <a:gd name="T8" fmla="*/ 6 w 11"/>
                <a:gd name="T9" fmla="*/ 21 h 21"/>
                <a:gd name="T10" fmla="*/ 11 w 11"/>
                <a:gd name="T11" fmla="*/ 10 h 21"/>
                <a:gd name="T12" fmla="*/ 0 60000 65536"/>
                <a:gd name="T13" fmla="*/ 0 60000 65536"/>
                <a:gd name="T14" fmla="*/ 0 60000 65536"/>
                <a:gd name="T15" fmla="*/ 0 60000 65536"/>
                <a:gd name="T16" fmla="*/ 0 60000 65536"/>
                <a:gd name="T17" fmla="*/ 0 60000 65536"/>
                <a:gd name="T18" fmla="*/ 0 w 11"/>
                <a:gd name="T19" fmla="*/ 0 h 21"/>
                <a:gd name="T20" fmla="*/ 11 w 11"/>
                <a:gd name="T21" fmla="*/ 21 h 21"/>
              </a:gdLst>
              <a:ahLst/>
              <a:cxnLst>
                <a:cxn ang="T12">
                  <a:pos x="T0" y="T1"/>
                </a:cxn>
                <a:cxn ang="T13">
                  <a:pos x="T2" y="T3"/>
                </a:cxn>
                <a:cxn ang="T14">
                  <a:pos x="T4" y="T5"/>
                </a:cxn>
                <a:cxn ang="T15">
                  <a:pos x="T6" y="T7"/>
                </a:cxn>
                <a:cxn ang="T16">
                  <a:pos x="T8" y="T9"/>
                </a:cxn>
                <a:cxn ang="T17">
                  <a:pos x="T10" y="T11"/>
                </a:cxn>
              </a:cxnLst>
              <a:rect l="T18" t="T19" r="T20" b="T21"/>
              <a:pathLst>
                <a:path w="11" h="21">
                  <a:moveTo>
                    <a:pt x="11" y="10"/>
                  </a:moveTo>
                  <a:lnTo>
                    <a:pt x="6" y="0"/>
                  </a:lnTo>
                  <a:lnTo>
                    <a:pt x="0" y="5"/>
                  </a:lnTo>
                  <a:lnTo>
                    <a:pt x="0" y="16"/>
                  </a:lnTo>
                  <a:lnTo>
                    <a:pt x="6" y="21"/>
                  </a:lnTo>
                  <a:lnTo>
                    <a:pt x="11" y="1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11" name="Freeform 633"/>
            <p:cNvSpPr>
              <a:spLocks/>
            </p:cNvSpPr>
            <p:nvPr/>
          </p:nvSpPr>
          <p:spPr bwMode="auto">
            <a:xfrm>
              <a:off x="4565" y="1469"/>
              <a:ext cx="60" cy="38"/>
            </a:xfrm>
            <a:custGeom>
              <a:avLst/>
              <a:gdLst>
                <a:gd name="T0" fmla="*/ 0 w 60"/>
                <a:gd name="T1" fmla="*/ 0 h 38"/>
                <a:gd name="T2" fmla="*/ 27 w 60"/>
                <a:gd name="T3" fmla="*/ 5 h 38"/>
                <a:gd name="T4" fmla="*/ 22 w 60"/>
                <a:gd name="T5" fmla="*/ 16 h 38"/>
                <a:gd name="T6" fmla="*/ 60 w 60"/>
                <a:gd name="T7" fmla="*/ 21 h 38"/>
                <a:gd name="T8" fmla="*/ 55 w 60"/>
                <a:gd name="T9" fmla="*/ 32 h 38"/>
                <a:gd name="T10" fmla="*/ 33 w 60"/>
                <a:gd name="T11" fmla="*/ 38 h 38"/>
                <a:gd name="T12" fmla="*/ 11 w 60"/>
                <a:gd name="T13" fmla="*/ 21 h 38"/>
                <a:gd name="T14" fmla="*/ 0 w 60"/>
                <a:gd name="T15" fmla="*/ 0 h 38"/>
                <a:gd name="T16" fmla="*/ 0 w 60"/>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8"/>
                <a:gd name="T29" fmla="*/ 60 w 60"/>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8">
                  <a:moveTo>
                    <a:pt x="0" y="0"/>
                  </a:moveTo>
                  <a:lnTo>
                    <a:pt x="27" y="5"/>
                  </a:lnTo>
                  <a:lnTo>
                    <a:pt x="22" y="16"/>
                  </a:lnTo>
                  <a:lnTo>
                    <a:pt x="60" y="21"/>
                  </a:lnTo>
                  <a:lnTo>
                    <a:pt x="55" y="32"/>
                  </a:lnTo>
                  <a:lnTo>
                    <a:pt x="33" y="38"/>
                  </a:lnTo>
                  <a:lnTo>
                    <a:pt x="11" y="21"/>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612" name="Freeform 634"/>
            <p:cNvSpPr>
              <a:spLocks/>
            </p:cNvSpPr>
            <p:nvPr/>
          </p:nvSpPr>
          <p:spPr bwMode="auto">
            <a:xfrm>
              <a:off x="4565" y="1469"/>
              <a:ext cx="60" cy="38"/>
            </a:xfrm>
            <a:custGeom>
              <a:avLst/>
              <a:gdLst>
                <a:gd name="T0" fmla="*/ 0 w 60"/>
                <a:gd name="T1" fmla="*/ 0 h 38"/>
                <a:gd name="T2" fmla="*/ 27 w 60"/>
                <a:gd name="T3" fmla="*/ 5 h 38"/>
                <a:gd name="T4" fmla="*/ 22 w 60"/>
                <a:gd name="T5" fmla="*/ 16 h 38"/>
                <a:gd name="T6" fmla="*/ 60 w 60"/>
                <a:gd name="T7" fmla="*/ 21 h 38"/>
                <a:gd name="T8" fmla="*/ 55 w 60"/>
                <a:gd name="T9" fmla="*/ 32 h 38"/>
                <a:gd name="T10" fmla="*/ 33 w 60"/>
                <a:gd name="T11" fmla="*/ 38 h 38"/>
                <a:gd name="T12" fmla="*/ 11 w 60"/>
                <a:gd name="T13" fmla="*/ 21 h 38"/>
                <a:gd name="T14" fmla="*/ 0 w 60"/>
                <a:gd name="T15" fmla="*/ 0 h 38"/>
                <a:gd name="T16" fmla="*/ 0 60000 65536"/>
                <a:gd name="T17" fmla="*/ 0 60000 65536"/>
                <a:gd name="T18" fmla="*/ 0 60000 65536"/>
                <a:gd name="T19" fmla="*/ 0 60000 65536"/>
                <a:gd name="T20" fmla="*/ 0 60000 65536"/>
                <a:gd name="T21" fmla="*/ 0 60000 65536"/>
                <a:gd name="T22" fmla="*/ 0 60000 65536"/>
                <a:gd name="T23" fmla="*/ 0 60000 65536"/>
                <a:gd name="T24" fmla="*/ 0 w 60"/>
                <a:gd name="T25" fmla="*/ 0 h 38"/>
                <a:gd name="T26" fmla="*/ 60 w 60"/>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0" h="38">
                  <a:moveTo>
                    <a:pt x="0" y="0"/>
                  </a:moveTo>
                  <a:lnTo>
                    <a:pt x="27" y="5"/>
                  </a:lnTo>
                  <a:lnTo>
                    <a:pt x="22" y="16"/>
                  </a:lnTo>
                  <a:lnTo>
                    <a:pt x="60" y="21"/>
                  </a:lnTo>
                  <a:lnTo>
                    <a:pt x="55" y="32"/>
                  </a:lnTo>
                  <a:lnTo>
                    <a:pt x="33" y="38"/>
                  </a:lnTo>
                  <a:lnTo>
                    <a:pt x="11" y="21"/>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13" name="Freeform 635"/>
            <p:cNvSpPr>
              <a:spLocks/>
            </p:cNvSpPr>
            <p:nvPr/>
          </p:nvSpPr>
          <p:spPr bwMode="auto">
            <a:xfrm>
              <a:off x="4500" y="1436"/>
              <a:ext cx="54" cy="54"/>
            </a:xfrm>
            <a:custGeom>
              <a:avLst/>
              <a:gdLst>
                <a:gd name="T0" fmla="*/ 0 w 54"/>
                <a:gd name="T1" fmla="*/ 0 h 54"/>
                <a:gd name="T2" fmla="*/ 54 w 54"/>
                <a:gd name="T3" fmla="*/ 33 h 54"/>
                <a:gd name="T4" fmla="*/ 43 w 54"/>
                <a:gd name="T5" fmla="*/ 38 h 54"/>
                <a:gd name="T6" fmla="*/ 43 w 54"/>
                <a:gd name="T7" fmla="*/ 49 h 54"/>
                <a:gd name="T8" fmla="*/ 38 w 54"/>
                <a:gd name="T9" fmla="*/ 54 h 54"/>
                <a:gd name="T10" fmla="*/ 22 w 54"/>
                <a:gd name="T11" fmla="*/ 54 h 54"/>
                <a:gd name="T12" fmla="*/ 11 w 54"/>
                <a:gd name="T13" fmla="*/ 38 h 54"/>
                <a:gd name="T14" fmla="*/ 16 w 54"/>
                <a:gd name="T15" fmla="*/ 22 h 54"/>
                <a:gd name="T16" fmla="*/ 0 w 54"/>
                <a:gd name="T17" fmla="*/ 0 h 54"/>
                <a:gd name="T18" fmla="*/ 0 w 54"/>
                <a:gd name="T19" fmla="*/ 0 h 5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54"/>
                <a:gd name="T32" fmla="*/ 54 w 54"/>
                <a:gd name="T33" fmla="*/ 54 h 5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54">
                  <a:moveTo>
                    <a:pt x="0" y="0"/>
                  </a:moveTo>
                  <a:lnTo>
                    <a:pt x="54" y="33"/>
                  </a:lnTo>
                  <a:lnTo>
                    <a:pt x="43" y="38"/>
                  </a:lnTo>
                  <a:lnTo>
                    <a:pt x="43" y="49"/>
                  </a:lnTo>
                  <a:lnTo>
                    <a:pt x="38" y="54"/>
                  </a:lnTo>
                  <a:lnTo>
                    <a:pt x="22" y="54"/>
                  </a:lnTo>
                  <a:lnTo>
                    <a:pt x="11" y="38"/>
                  </a:lnTo>
                  <a:lnTo>
                    <a:pt x="16" y="22"/>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614" name="Freeform 636"/>
            <p:cNvSpPr>
              <a:spLocks/>
            </p:cNvSpPr>
            <p:nvPr/>
          </p:nvSpPr>
          <p:spPr bwMode="auto">
            <a:xfrm>
              <a:off x="4500" y="1436"/>
              <a:ext cx="54" cy="54"/>
            </a:xfrm>
            <a:custGeom>
              <a:avLst/>
              <a:gdLst>
                <a:gd name="T0" fmla="*/ 0 w 54"/>
                <a:gd name="T1" fmla="*/ 0 h 54"/>
                <a:gd name="T2" fmla="*/ 54 w 54"/>
                <a:gd name="T3" fmla="*/ 33 h 54"/>
                <a:gd name="T4" fmla="*/ 43 w 54"/>
                <a:gd name="T5" fmla="*/ 38 h 54"/>
                <a:gd name="T6" fmla="*/ 43 w 54"/>
                <a:gd name="T7" fmla="*/ 49 h 54"/>
                <a:gd name="T8" fmla="*/ 38 w 54"/>
                <a:gd name="T9" fmla="*/ 54 h 54"/>
                <a:gd name="T10" fmla="*/ 22 w 54"/>
                <a:gd name="T11" fmla="*/ 54 h 54"/>
                <a:gd name="T12" fmla="*/ 11 w 54"/>
                <a:gd name="T13" fmla="*/ 38 h 54"/>
                <a:gd name="T14" fmla="*/ 16 w 54"/>
                <a:gd name="T15" fmla="*/ 22 h 54"/>
                <a:gd name="T16" fmla="*/ 0 w 54"/>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4"/>
                <a:gd name="T28" fmla="*/ 0 h 54"/>
                <a:gd name="T29" fmla="*/ 54 w 54"/>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4" h="54">
                  <a:moveTo>
                    <a:pt x="0" y="0"/>
                  </a:moveTo>
                  <a:lnTo>
                    <a:pt x="54" y="33"/>
                  </a:lnTo>
                  <a:lnTo>
                    <a:pt x="43" y="38"/>
                  </a:lnTo>
                  <a:lnTo>
                    <a:pt x="43" y="49"/>
                  </a:lnTo>
                  <a:lnTo>
                    <a:pt x="38" y="54"/>
                  </a:lnTo>
                  <a:lnTo>
                    <a:pt x="22" y="54"/>
                  </a:lnTo>
                  <a:lnTo>
                    <a:pt x="11" y="38"/>
                  </a:lnTo>
                  <a:lnTo>
                    <a:pt x="16" y="22"/>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15" name="Freeform 637"/>
            <p:cNvSpPr>
              <a:spLocks/>
            </p:cNvSpPr>
            <p:nvPr/>
          </p:nvSpPr>
          <p:spPr bwMode="auto">
            <a:xfrm>
              <a:off x="4440" y="1430"/>
              <a:ext cx="87" cy="82"/>
            </a:xfrm>
            <a:custGeom>
              <a:avLst/>
              <a:gdLst>
                <a:gd name="T0" fmla="*/ 43 w 87"/>
                <a:gd name="T1" fmla="*/ 22 h 82"/>
                <a:gd name="T2" fmla="*/ 49 w 87"/>
                <a:gd name="T3" fmla="*/ 22 h 82"/>
                <a:gd name="T4" fmla="*/ 43 w 87"/>
                <a:gd name="T5" fmla="*/ 33 h 82"/>
                <a:gd name="T6" fmla="*/ 54 w 87"/>
                <a:gd name="T7" fmla="*/ 33 h 82"/>
                <a:gd name="T8" fmla="*/ 54 w 87"/>
                <a:gd name="T9" fmla="*/ 28 h 82"/>
                <a:gd name="T10" fmla="*/ 54 w 87"/>
                <a:gd name="T11" fmla="*/ 11 h 82"/>
                <a:gd name="T12" fmla="*/ 60 w 87"/>
                <a:gd name="T13" fmla="*/ 11 h 82"/>
                <a:gd name="T14" fmla="*/ 76 w 87"/>
                <a:gd name="T15" fmla="*/ 28 h 82"/>
                <a:gd name="T16" fmla="*/ 71 w 87"/>
                <a:gd name="T17" fmla="*/ 44 h 82"/>
                <a:gd name="T18" fmla="*/ 71 w 87"/>
                <a:gd name="T19" fmla="*/ 55 h 82"/>
                <a:gd name="T20" fmla="*/ 87 w 87"/>
                <a:gd name="T21" fmla="*/ 71 h 82"/>
                <a:gd name="T22" fmla="*/ 71 w 87"/>
                <a:gd name="T23" fmla="*/ 71 h 82"/>
                <a:gd name="T24" fmla="*/ 65 w 87"/>
                <a:gd name="T25" fmla="*/ 60 h 82"/>
                <a:gd name="T26" fmla="*/ 43 w 87"/>
                <a:gd name="T27" fmla="*/ 77 h 82"/>
                <a:gd name="T28" fmla="*/ 38 w 87"/>
                <a:gd name="T29" fmla="*/ 71 h 82"/>
                <a:gd name="T30" fmla="*/ 43 w 87"/>
                <a:gd name="T31" fmla="*/ 71 h 82"/>
                <a:gd name="T32" fmla="*/ 38 w 87"/>
                <a:gd name="T33" fmla="*/ 60 h 82"/>
                <a:gd name="T34" fmla="*/ 33 w 87"/>
                <a:gd name="T35" fmla="*/ 66 h 82"/>
                <a:gd name="T36" fmla="*/ 33 w 87"/>
                <a:gd name="T37" fmla="*/ 71 h 82"/>
                <a:gd name="T38" fmla="*/ 38 w 87"/>
                <a:gd name="T39" fmla="*/ 71 h 82"/>
                <a:gd name="T40" fmla="*/ 33 w 87"/>
                <a:gd name="T41" fmla="*/ 82 h 82"/>
                <a:gd name="T42" fmla="*/ 16 w 87"/>
                <a:gd name="T43" fmla="*/ 77 h 82"/>
                <a:gd name="T44" fmla="*/ 0 w 87"/>
                <a:gd name="T45" fmla="*/ 49 h 82"/>
                <a:gd name="T46" fmla="*/ 11 w 87"/>
                <a:gd name="T47" fmla="*/ 49 h 82"/>
                <a:gd name="T48" fmla="*/ 0 w 87"/>
                <a:gd name="T49" fmla="*/ 39 h 82"/>
                <a:gd name="T50" fmla="*/ 11 w 87"/>
                <a:gd name="T51" fmla="*/ 28 h 82"/>
                <a:gd name="T52" fmla="*/ 5 w 87"/>
                <a:gd name="T53" fmla="*/ 17 h 82"/>
                <a:gd name="T54" fmla="*/ 27 w 87"/>
                <a:gd name="T55" fmla="*/ 0 h 82"/>
                <a:gd name="T56" fmla="*/ 43 w 87"/>
                <a:gd name="T57" fmla="*/ 22 h 82"/>
                <a:gd name="T58" fmla="*/ 43 w 87"/>
                <a:gd name="T59" fmla="*/ 22 h 8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7"/>
                <a:gd name="T91" fmla="*/ 0 h 82"/>
                <a:gd name="T92" fmla="*/ 87 w 87"/>
                <a:gd name="T93" fmla="*/ 82 h 8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7" h="82">
                  <a:moveTo>
                    <a:pt x="43" y="22"/>
                  </a:moveTo>
                  <a:lnTo>
                    <a:pt x="49" y="22"/>
                  </a:lnTo>
                  <a:lnTo>
                    <a:pt x="43" y="33"/>
                  </a:lnTo>
                  <a:lnTo>
                    <a:pt x="54" y="33"/>
                  </a:lnTo>
                  <a:lnTo>
                    <a:pt x="54" y="28"/>
                  </a:lnTo>
                  <a:lnTo>
                    <a:pt x="54" y="11"/>
                  </a:lnTo>
                  <a:lnTo>
                    <a:pt x="60" y="11"/>
                  </a:lnTo>
                  <a:lnTo>
                    <a:pt x="76" y="28"/>
                  </a:lnTo>
                  <a:lnTo>
                    <a:pt x="71" y="44"/>
                  </a:lnTo>
                  <a:lnTo>
                    <a:pt x="71" y="55"/>
                  </a:lnTo>
                  <a:lnTo>
                    <a:pt x="87" y="71"/>
                  </a:lnTo>
                  <a:lnTo>
                    <a:pt x="71" y="71"/>
                  </a:lnTo>
                  <a:lnTo>
                    <a:pt x="65" y="60"/>
                  </a:lnTo>
                  <a:lnTo>
                    <a:pt x="43" y="77"/>
                  </a:lnTo>
                  <a:lnTo>
                    <a:pt x="38" y="71"/>
                  </a:lnTo>
                  <a:lnTo>
                    <a:pt x="43" y="71"/>
                  </a:lnTo>
                  <a:lnTo>
                    <a:pt x="38" y="60"/>
                  </a:lnTo>
                  <a:lnTo>
                    <a:pt x="33" y="66"/>
                  </a:lnTo>
                  <a:lnTo>
                    <a:pt x="33" y="71"/>
                  </a:lnTo>
                  <a:lnTo>
                    <a:pt x="38" y="71"/>
                  </a:lnTo>
                  <a:lnTo>
                    <a:pt x="33" y="82"/>
                  </a:lnTo>
                  <a:lnTo>
                    <a:pt x="16" y="77"/>
                  </a:lnTo>
                  <a:lnTo>
                    <a:pt x="0" y="49"/>
                  </a:lnTo>
                  <a:lnTo>
                    <a:pt x="11" y="49"/>
                  </a:lnTo>
                  <a:lnTo>
                    <a:pt x="0" y="39"/>
                  </a:lnTo>
                  <a:lnTo>
                    <a:pt x="11" y="28"/>
                  </a:lnTo>
                  <a:lnTo>
                    <a:pt x="5" y="17"/>
                  </a:lnTo>
                  <a:lnTo>
                    <a:pt x="27" y="0"/>
                  </a:lnTo>
                  <a:lnTo>
                    <a:pt x="43" y="22"/>
                  </a:lnTo>
                  <a:close/>
                </a:path>
              </a:pathLst>
            </a:custGeom>
            <a:solidFill>
              <a:schemeClr val="accent2"/>
            </a:solidFill>
            <a:ln w="12700" cmpd="sng">
              <a:solidFill>
                <a:schemeClr val="bg1"/>
              </a:solidFill>
              <a:round/>
              <a:headEnd/>
              <a:tailEnd/>
            </a:ln>
          </p:spPr>
          <p:txBody>
            <a:bodyPr/>
            <a:lstStyle/>
            <a:p>
              <a:endParaRPr lang="de-DE"/>
            </a:p>
          </p:txBody>
        </p:sp>
        <p:sp>
          <p:nvSpPr>
            <p:cNvPr id="356616" name="Freeform 638"/>
            <p:cNvSpPr>
              <a:spLocks/>
            </p:cNvSpPr>
            <p:nvPr/>
          </p:nvSpPr>
          <p:spPr bwMode="auto">
            <a:xfrm>
              <a:off x="4440" y="1430"/>
              <a:ext cx="87" cy="82"/>
            </a:xfrm>
            <a:custGeom>
              <a:avLst/>
              <a:gdLst>
                <a:gd name="T0" fmla="*/ 43 w 87"/>
                <a:gd name="T1" fmla="*/ 22 h 82"/>
                <a:gd name="T2" fmla="*/ 49 w 87"/>
                <a:gd name="T3" fmla="*/ 22 h 82"/>
                <a:gd name="T4" fmla="*/ 43 w 87"/>
                <a:gd name="T5" fmla="*/ 33 h 82"/>
                <a:gd name="T6" fmla="*/ 54 w 87"/>
                <a:gd name="T7" fmla="*/ 33 h 82"/>
                <a:gd name="T8" fmla="*/ 54 w 87"/>
                <a:gd name="T9" fmla="*/ 28 h 82"/>
                <a:gd name="T10" fmla="*/ 54 w 87"/>
                <a:gd name="T11" fmla="*/ 11 h 82"/>
                <a:gd name="T12" fmla="*/ 60 w 87"/>
                <a:gd name="T13" fmla="*/ 11 h 82"/>
                <a:gd name="T14" fmla="*/ 76 w 87"/>
                <a:gd name="T15" fmla="*/ 28 h 82"/>
                <a:gd name="T16" fmla="*/ 71 w 87"/>
                <a:gd name="T17" fmla="*/ 44 h 82"/>
                <a:gd name="T18" fmla="*/ 71 w 87"/>
                <a:gd name="T19" fmla="*/ 55 h 82"/>
                <a:gd name="T20" fmla="*/ 87 w 87"/>
                <a:gd name="T21" fmla="*/ 71 h 82"/>
                <a:gd name="T22" fmla="*/ 71 w 87"/>
                <a:gd name="T23" fmla="*/ 71 h 82"/>
                <a:gd name="T24" fmla="*/ 65 w 87"/>
                <a:gd name="T25" fmla="*/ 60 h 82"/>
                <a:gd name="T26" fmla="*/ 43 w 87"/>
                <a:gd name="T27" fmla="*/ 77 h 82"/>
                <a:gd name="T28" fmla="*/ 38 w 87"/>
                <a:gd name="T29" fmla="*/ 71 h 82"/>
                <a:gd name="T30" fmla="*/ 43 w 87"/>
                <a:gd name="T31" fmla="*/ 71 h 82"/>
                <a:gd name="T32" fmla="*/ 38 w 87"/>
                <a:gd name="T33" fmla="*/ 60 h 82"/>
                <a:gd name="T34" fmla="*/ 33 w 87"/>
                <a:gd name="T35" fmla="*/ 66 h 82"/>
                <a:gd name="T36" fmla="*/ 33 w 87"/>
                <a:gd name="T37" fmla="*/ 71 h 82"/>
                <a:gd name="T38" fmla="*/ 38 w 87"/>
                <a:gd name="T39" fmla="*/ 71 h 82"/>
                <a:gd name="T40" fmla="*/ 33 w 87"/>
                <a:gd name="T41" fmla="*/ 82 h 82"/>
                <a:gd name="T42" fmla="*/ 16 w 87"/>
                <a:gd name="T43" fmla="*/ 77 h 82"/>
                <a:gd name="T44" fmla="*/ 0 w 87"/>
                <a:gd name="T45" fmla="*/ 49 h 82"/>
                <a:gd name="T46" fmla="*/ 11 w 87"/>
                <a:gd name="T47" fmla="*/ 49 h 82"/>
                <a:gd name="T48" fmla="*/ 0 w 87"/>
                <a:gd name="T49" fmla="*/ 39 h 82"/>
                <a:gd name="T50" fmla="*/ 11 w 87"/>
                <a:gd name="T51" fmla="*/ 28 h 82"/>
                <a:gd name="T52" fmla="*/ 5 w 87"/>
                <a:gd name="T53" fmla="*/ 17 h 82"/>
                <a:gd name="T54" fmla="*/ 27 w 87"/>
                <a:gd name="T55" fmla="*/ 0 h 82"/>
                <a:gd name="T56" fmla="*/ 43 w 87"/>
                <a:gd name="T57" fmla="*/ 22 h 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7"/>
                <a:gd name="T88" fmla="*/ 0 h 82"/>
                <a:gd name="T89" fmla="*/ 87 w 87"/>
                <a:gd name="T90" fmla="*/ 82 h 8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7" h="82">
                  <a:moveTo>
                    <a:pt x="43" y="22"/>
                  </a:moveTo>
                  <a:lnTo>
                    <a:pt x="49" y="22"/>
                  </a:lnTo>
                  <a:lnTo>
                    <a:pt x="43" y="33"/>
                  </a:lnTo>
                  <a:lnTo>
                    <a:pt x="54" y="33"/>
                  </a:lnTo>
                  <a:lnTo>
                    <a:pt x="54" y="28"/>
                  </a:lnTo>
                  <a:lnTo>
                    <a:pt x="54" y="11"/>
                  </a:lnTo>
                  <a:lnTo>
                    <a:pt x="60" y="11"/>
                  </a:lnTo>
                  <a:lnTo>
                    <a:pt x="76" y="28"/>
                  </a:lnTo>
                  <a:lnTo>
                    <a:pt x="71" y="44"/>
                  </a:lnTo>
                  <a:lnTo>
                    <a:pt x="71" y="55"/>
                  </a:lnTo>
                  <a:lnTo>
                    <a:pt x="87" y="71"/>
                  </a:lnTo>
                  <a:lnTo>
                    <a:pt x="71" y="71"/>
                  </a:lnTo>
                  <a:lnTo>
                    <a:pt x="65" y="60"/>
                  </a:lnTo>
                  <a:lnTo>
                    <a:pt x="43" y="77"/>
                  </a:lnTo>
                  <a:lnTo>
                    <a:pt x="38" y="71"/>
                  </a:lnTo>
                  <a:lnTo>
                    <a:pt x="43" y="71"/>
                  </a:lnTo>
                  <a:lnTo>
                    <a:pt x="38" y="60"/>
                  </a:lnTo>
                  <a:lnTo>
                    <a:pt x="33" y="66"/>
                  </a:lnTo>
                  <a:lnTo>
                    <a:pt x="33" y="71"/>
                  </a:lnTo>
                  <a:lnTo>
                    <a:pt x="38" y="71"/>
                  </a:lnTo>
                  <a:lnTo>
                    <a:pt x="33" y="82"/>
                  </a:lnTo>
                  <a:lnTo>
                    <a:pt x="16" y="77"/>
                  </a:lnTo>
                  <a:lnTo>
                    <a:pt x="0" y="49"/>
                  </a:lnTo>
                  <a:lnTo>
                    <a:pt x="11" y="49"/>
                  </a:lnTo>
                  <a:lnTo>
                    <a:pt x="0" y="39"/>
                  </a:lnTo>
                  <a:lnTo>
                    <a:pt x="11" y="28"/>
                  </a:lnTo>
                  <a:lnTo>
                    <a:pt x="5" y="17"/>
                  </a:lnTo>
                  <a:lnTo>
                    <a:pt x="27" y="0"/>
                  </a:lnTo>
                  <a:lnTo>
                    <a:pt x="43" y="22"/>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17" name="Freeform 639"/>
            <p:cNvSpPr>
              <a:spLocks/>
            </p:cNvSpPr>
            <p:nvPr/>
          </p:nvSpPr>
          <p:spPr bwMode="auto">
            <a:xfrm>
              <a:off x="4424" y="1452"/>
              <a:ext cx="5" cy="27"/>
            </a:xfrm>
            <a:custGeom>
              <a:avLst/>
              <a:gdLst>
                <a:gd name="T0" fmla="*/ 5 w 5"/>
                <a:gd name="T1" fmla="*/ 17 h 27"/>
                <a:gd name="T2" fmla="*/ 5 w 5"/>
                <a:gd name="T3" fmla="*/ 27 h 27"/>
                <a:gd name="T4" fmla="*/ 0 w 5"/>
                <a:gd name="T5" fmla="*/ 22 h 27"/>
                <a:gd name="T6" fmla="*/ 0 w 5"/>
                <a:gd name="T7" fmla="*/ 0 h 27"/>
                <a:gd name="T8" fmla="*/ 5 w 5"/>
                <a:gd name="T9" fmla="*/ 11 h 27"/>
                <a:gd name="T10" fmla="*/ 5 w 5"/>
                <a:gd name="T11" fmla="*/ 17 h 27"/>
                <a:gd name="T12" fmla="*/ 5 w 5"/>
                <a:gd name="T13" fmla="*/ 17 h 27"/>
                <a:gd name="T14" fmla="*/ 0 60000 65536"/>
                <a:gd name="T15" fmla="*/ 0 60000 65536"/>
                <a:gd name="T16" fmla="*/ 0 60000 65536"/>
                <a:gd name="T17" fmla="*/ 0 60000 65536"/>
                <a:gd name="T18" fmla="*/ 0 60000 65536"/>
                <a:gd name="T19" fmla="*/ 0 60000 65536"/>
                <a:gd name="T20" fmla="*/ 0 60000 65536"/>
                <a:gd name="T21" fmla="*/ 0 w 5"/>
                <a:gd name="T22" fmla="*/ 0 h 27"/>
                <a:gd name="T23" fmla="*/ 5 w 5"/>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27">
                  <a:moveTo>
                    <a:pt x="5" y="17"/>
                  </a:moveTo>
                  <a:lnTo>
                    <a:pt x="5" y="27"/>
                  </a:lnTo>
                  <a:lnTo>
                    <a:pt x="0" y="22"/>
                  </a:lnTo>
                  <a:lnTo>
                    <a:pt x="0" y="0"/>
                  </a:lnTo>
                  <a:lnTo>
                    <a:pt x="5" y="11"/>
                  </a:lnTo>
                  <a:lnTo>
                    <a:pt x="5" y="17"/>
                  </a:lnTo>
                  <a:close/>
                </a:path>
              </a:pathLst>
            </a:custGeom>
            <a:solidFill>
              <a:schemeClr val="accent2"/>
            </a:solidFill>
            <a:ln w="12700" cmpd="sng">
              <a:solidFill>
                <a:schemeClr val="bg1"/>
              </a:solidFill>
              <a:round/>
              <a:headEnd/>
              <a:tailEnd/>
            </a:ln>
          </p:spPr>
          <p:txBody>
            <a:bodyPr/>
            <a:lstStyle/>
            <a:p>
              <a:endParaRPr lang="de-DE"/>
            </a:p>
          </p:txBody>
        </p:sp>
        <p:sp>
          <p:nvSpPr>
            <p:cNvPr id="356618" name="Freeform 640"/>
            <p:cNvSpPr>
              <a:spLocks/>
            </p:cNvSpPr>
            <p:nvPr/>
          </p:nvSpPr>
          <p:spPr bwMode="auto">
            <a:xfrm>
              <a:off x="4424" y="1452"/>
              <a:ext cx="5" cy="27"/>
            </a:xfrm>
            <a:custGeom>
              <a:avLst/>
              <a:gdLst>
                <a:gd name="T0" fmla="*/ 5 w 5"/>
                <a:gd name="T1" fmla="*/ 17 h 27"/>
                <a:gd name="T2" fmla="*/ 5 w 5"/>
                <a:gd name="T3" fmla="*/ 27 h 27"/>
                <a:gd name="T4" fmla="*/ 0 w 5"/>
                <a:gd name="T5" fmla="*/ 22 h 27"/>
                <a:gd name="T6" fmla="*/ 0 w 5"/>
                <a:gd name="T7" fmla="*/ 0 h 27"/>
                <a:gd name="T8" fmla="*/ 5 w 5"/>
                <a:gd name="T9" fmla="*/ 11 h 27"/>
                <a:gd name="T10" fmla="*/ 5 w 5"/>
                <a:gd name="T11" fmla="*/ 17 h 27"/>
                <a:gd name="T12" fmla="*/ 0 60000 65536"/>
                <a:gd name="T13" fmla="*/ 0 60000 65536"/>
                <a:gd name="T14" fmla="*/ 0 60000 65536"/>
                <a:gd name="T15" fmla="*/ 0 60000 65536"/>
                <a:gd name="T16" fmla="*/ 0 60000 65536"/>
                <a:gd name="T17" fmla="*/ 0 60000 65536"/>
                <a:gd name="T18" fmla="*/ 0 w 5"/>
                <a:gd name="T19" fmla="*/ 0 h 27"/>
                <a:gd name="T20" fmla="*/ 5 w 5"/>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5" h="27">
                  <a:moveTo>
                    <a:pt x="5" y="17"/>
                  </a:moveTo>
                  <a:lnTo>
                    <a:pt x="5" y="27"/>
                  </a:lnTo>
                  <a:lnTo>
                    <a:pt x="0" y="22"/>
                  </a:lnTo>
                  <a:lnTo>
                    <a:pt x="0" y="0"/>
                  </a:lnTo>
                  <a:lnTo>
                    <a:pt x="5" y="11"/>
                  </a:lnTo>
                  <a:lnTo>
                    <a:pt x="5" y="17"/>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19" name="Freeform 641"/>
            <p:cNvSpPr>
              <a:spLocks/>
            </p:cNvSpPr>
            <p:nvPr/>
          </p:nvSpPr>
          <p:spPr bwMode="auto">
            <a:xfrm>
              <a:off x="4424" y="1534"/>
              <a:ext cx="10" cy="16"/>
            </a:xfrm>
            <a:custGeom>
              <a:avLst/>
              <a:gdLst>
                <a:gd name="T0" fmla="*/ 10 w 10"/>
                <a:gd name="T1" fmla="*/ 5 h 16"/>
                <a:gd name="T2" fmla="*/ 10 w 10"/>
                <a:gd name="T3" fmla="*/ 11 h 16"/>
                <a:gd name="T4" fmla="*/ 10 w 10"/>
                <a:gd name="T5" fmla="*/ 16 h 16"/>
                <a:gd name="T6" fmla="*/ 0 w 10"/>
                <a:gd name="T7" fmla="*/ 0 h 16"/>
                <a:gd name="T8" fmla="*/ 10 w 10"/>
                <a:gd name="T9" fmla="*/ 5 h 16"/>
                <a:gd name="T10" fmla="*/ 10 w 10"/>
                <a:gd name="T11" fmla="*/ 5 h 16"/>
                <a:gd name="T12" fmla="*/ 0 60000 65536"/>
                <a:gd name="T13" fmla="*/ 0 60000 65536"/>
                <a:gd name="T14" fmla="*/ 0 60000 65536"/>
                <a:gd name="T15" fmla="*/ 0 60000 65536"/>
                <a:gd name="T16" fmla="*/ 0 60000 65536"/>
                <a:gd name="T17" fmla="*/ 0 60000 65536"/>
                <a:gd name="T18" fmla="*/ 0 w 10"/>
                <a:gd name="T19" fmla="*/ 0 h 16"/>
                <a:gd name="T20" fmla="*/ 10 w 10"/>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0" h="16">
                  <a:moveTo>
                    <a:pt x="10" y="5"/>
                  </a:moveTo>
                  <a:lnTo>
                    <a:pt x="10" y="11"/>
                  </a:lnTo>
                  <a:lnTo>
                    <a:pt x="10" y="16"/>
                  </a:lnTo>
                  <a:lnTo>
                    <a:pt x="0" y="0"/>
                  </a:lnTo>
                  <a:lnTo>
                    <a:pt x="10" y="5"/>
                  </a:lnTo>
                  <a:close/>
                </a:path>
              </a:pathLst>
            </a:custGeom>
            <a:solidFill>
              <a:schemeClr val="accent2"/>
            </a:solidFill>
            <a:ln w="12700" cmpd="sng">
              <a:solidFill>
                <a:schemeClr val="bg1"/>
              </a:solidFill>
              <a:round/>
              <a:headEnd/>
              <a:tailEnd/>
            </a:ln>
          </p:spPr>
          <p:txBody>
            <a:bodyPr/>
            <a:lstStyle/>
            <a:p>
              <a:endParaRPr lang="de-DE"/>
            </a:p>
          </p:txBody>
        </p:sp>
        <p:sp>
          <p:nvSpPr>
            <p:cNvPr id="356620" name="Freeform 642"/>
            <p:cNvSpPr>
              <a:spLocks/>
            </p:cNvSpPr>
            <p:nvPr/>
          </p:nvSpPr>
          <p:spPr bwMode="auto">
            <a:xfrm>
              <a:off x="4424" y="1534"/>
              <a:ext cx="10" cy="16"/>
            </a:xfrm>
            <a:custGeom>
              <a:avLst/>
              <a:gdLst>
                <a:gd name="T0" fmla="*/ 10 w 10"/>
                <a:gd name="T1" fmla="*/ 5 h 16"/>
                <a:gd name="T2" fmla="*/ 10 w 10"/>
                <a:gd name="T3" fmla="*/ 11 h 16"/>
                <a:gd name="T4" fmla="*/ 10 w 10"/>
                <a:gd name="T5" fmla="*/ 16 h 16"/>
                <a:gd name="T6" fmla="*/ 0 w 10"/>
                <a:gd name="T7" fmla="*/ 0 h 16"/>
                <a:gd name="T8" fmla="*/ 10 w 10"/>
                <a:gd name="T9" fmla="*/ 5 h 16"/>
                <a:gd name="T10" fmla="*/ 0 60000 65536"/>
                <a:gd name="T11" fmla="*/ 0 60000 65536"/>
                <a:gd name="T12" fmla="*/ 0 60000 65536"/>
                <a:gd name="T13" fmla="*/ 0 60000 65536"/>
                <a:gd name="T14" fmla="*/ 0 60000 65536"/>
                <a:gd name="T15" fmla="*/ 0 w 10"/>
                <a:gd name="T16" fmla="*/ 0 h 16"/>
                <a:gd name="T17" fmla="*/ 10 w 10"/>
                <a:gd name="T18" fmla="*/ 16 h 16"/>
              </a:gdLst>
              <a:ahLst/>
              <a:cxnLst>
                <a:cxn ang="T10">
                  <a:pos x="T0" y="T1"/>
                </a:cxn>
                <a:cxn ang="T11">
                  <a:pos x="T2" y="T3"/>
                </a:cxn>
                <a:cxn ang="T12">
                  <a:pos x="T4" y="T5"/>
                </a:cxn>
                <a:cxn ang="T13">
                  <a:pos x="T6" y="T7"/>
                </a:cxn>
                <a:cxn ang="T14">
                  <a:pos x="T8" y="T9"/>
                </a:cxn>
              </a:cxnLst>
              <a:rect l="T15" t="T16" r="T17" b="T18"/>
              <a:pathLst>
                <a:path w="10" h="16">
                  <a:moveTo>
                    <a:pt x="10" y="5"/>
                  </a:moveTo>
                  <a:lnTo>
                    <a:pt x="10" y="11"/>
                  </a:lnTo>
                  <a:lnTo>
                    <a:pt x="10" y="16"/>
                  </a:lnTo>
                  <a:lnTo>
                    <a:pt x="0" y="0"/>
                  </a:lnTo>
                  <a:lnTo>
                    <a:pt x="10" y="5"/>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1" name="Freeform 643"/>
            <p:cNvSpPr>
              <a:spLocks/>
            </p:cNvSpPr>
            <p:nvPr/>
          </p:nvSpPr>
          <p:spPr bwMode="auto">
            <a:xfrm>
              <a:off x="4783" y="2041"/>
              <a:ext cx="16" cy="17"/>
            </a:xfrm>
            <a:custGeom>
              <a:avLst/>
              <a:gdLst>
                <a:gd name="T0" fmla="*/ 11 w 16"/>
                <a:gd name="T1" fmla="*/ 0 h 17"/>
                <a:gd name="T2" fmla="*/ 5 w 16"/>
                <a:gd name="T3" fmla="*/ 6 h 17"/>
                <a:gd name="T4" fmla="*/ 5 w 16"/>
                <a:gd name="T5" fmla="*/ 6 h 17"/>
                <a:gd name="T6" fmla="*/ 0 w 16"/>
                <a:gd name="T7" fmla="*/ 17 h 17"/>
                <a:gd name="T8" fmla="*/ 16 w 16"/>
                <a:gd name="T9" fmla="*/ 6 h 17"/>
                <a:gd name="T10" fmla="*/ 11 w 16"/>
                <a:gd name="T11" fmla="*/ 0 h 17"/>
                <a:gd name="T12" fmla="*/ 11 w 16"/>
                <a:gd name="T13" fmla="*/ 0 h 17"/>
                <a:gd name="T14" fmla="*/ 0 60000 65536"/>
                <a:gd name="T15" fmla="*/ 0 60000 65536"/>
                <a:gd name="T16" fmla="*/ 0 60000 65536"/>
                <a:gd name="T17" fmla="*/ 0 60000 65536"/>
                <a:gd name="T18" fmla="*/ 0 60000 65536"/>
                <a:gd name="T19" fmla="*/ 0 60000 65536"/>
                <a:gd name="T20" fmla="*/ 0 60000 65536"/>
                <a:gd name="T21" fmla="*/ 0 w 16"/>
                <a:gd name="T22" fmla="*/ 0 h 17"/>
                <a:gd name="T23" fmla="*/ 16 w 16"/>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7">
                  <a:moveTo>
                    <a:pt x="11" y="0"/>
                  </a:moveTo>
                  <a:lnTo>
                    <a:pt x="5" y="6"/>
                  </a:lnTo>
                  <a:lnTo>
                    <a:pt x="0" y="17"/>
                  </a:lnTo>
                  <a:lnTo>
                    <a:pt x="16" y="6"/>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622" name="Freeform 644"/>
            <p:cNvSpPr>
              <a:spLocks/>
            </p:cNvSpPr>
            <p:nvPr/>
          </p:nvSpPr>
          <p:spPr bwMode="auto">
            <a:xfrm>
              <a:off x="4783" y="2041"/>
              <a:ext cx="16" cy="17"/>
            </a:xfrm>
            <a:custGeom>
              <a:avLst/>
              <a:gdLst>
                <a:gd name="T0" fmla="*/ 11 w 16"/>
                <a:gd name="T1" fmla="*/ 0 h 17"/>
                <a:gd name="T2" fmla="*/ 5 w 16"/>
                <a:gd name="T3" fmla="*/ 6 h 17"/>
                <a:gd name="T4" fmla="*/ 5 w 16"/>
                <a:gd name="T5" fmla="*/ 6 h 17"/>
                <a:gd name="T6" fmla="*/ 0 w 16"/>
                <a:gd name="T7" fmla="*/ 17 h 17"/>
                <a:gd name="T8" fmla="*/ 16 w 16"/>
                <a:gd name="T9" fmla="*/ 6 h 17"/>
                <a:gd name="T10" fmla="*/ 11 w 16"/>
                <a:gd name="T11" fmla="*/ 0 h 17"/>
                <a:gd name="T12" fmla="*/ 0 60000 65536"/>
                <a:gd name="T13" fmla="*/ 0 60000 65536"/>
                <a:gd name="T14" fmla="*/ 0 60000 65536"/>
                <a:gd name="T15" fmla="*/ 0 60000 65536"/>
                <a:gd name="T16" fmla="*/ 0 60000 65536"/>
                <a:gd name="T17" fmla="*/ 0 60000 65536"/>
                <a:gd name="T18" fmla="*/ 0 w 16"/>
                <a:gd name="T19" fmla="*/ 0 h 17"/>
                <a:gd name="T20" fmla="*/ 16 w 1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6" h="17">
                  <a:moveTo>
                    <a:pt x="11" y="0"/>
                  </a:moveTo>
                  <a:lnTo>
                    <a:pt x="5" y="6"/>
                  </a:lnTo>
                  <a:lnTo>
                    <a:pt x="0" y="17"/>
                  </a:lnTo>
                  <a:lnTo>
                    <a:pt x="16" y="6"/>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3" name="Freeform 645"/>
            <p:cNvSpPr>
              <a:spLocks/>
            </p:cNvSpPr>
            <p:nvPr/>
          </p:nvSpPr>
          <p:spPr bwMode="auto">
            <a:xfrm>
              <a:off x="4451" y="2140"/>
              <a:ext cx="11" cy="11"/>
            </a:xfrm>
            <a:custGeom>
              <a:avLst/>
              <a:gdLst>
                <a:gd name="T0" fmla="*/ 0 w 11"/>
                <a:gd name="T1" fmla="*/ 5 h 11"/>
                <a:gd name="T2" fmla="*/ 0 w 11"/>
                <a:gd name="T3" fmla="*/ 11 h 11"/>
                <a:gd name="T4" fmla="*/ 11 w 11"/>
                <a:gd name="T5" fmla="*/ 0 h 11"/>
                <a:gd name="T6" fmla="*/ 0 w 11"/>
                <a:gd name="T7" fmla="*/ 0 h 11"/>
                <a:gd name="T8" fmla="*/ 0 w 11"/>
                <a:gd name="T9" fmla="*/ 5 h 11"/>
                <a:gd name="T10" fmla="*/ 0 w 11"/>
                <a:gd name="T11" fmla="*/ 5 h 11"/>
                <a:gd name="T12" fmla="*/ 0 w 11"/>
                <a:gd name="T13" fmla="*/ 5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0" y="5"/>
                  </a:moveTo>
                  <a:lnTo>
                    <a:pt x="0" y="11"/>
                  </a:lnTo>
                  <a:lnTo>
                    <a:pt x="11" y="0"/>
                  </a:ln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4" name="Freeform 646"/>
            <p:cNvSpPr>
              <a:spLocks/>
            </p:cNvSpPr>
            <p:nvPr/>
          </p:nvSpPr>
          <p:spPr bwMode="auto">
            <a:xfrm>
              <a:off x="4505" y="2156"/>
              <a:ext cx="38" cy="169"/>
            </a:xfrm>
            <a:custGeom>
              <a:avLst/>
              <a:gdLst>
                <a:gd name="T0" fmla="*/ 11 w 38"/>
                <a:gd name="T1" fmla="*/ 0 h 169"/>
                <a:gd name="T2" fmla="*/ 17 w 38"/>
                <a:gd name="T3" fmla="*/ 6 h 169"/>
                <a:gd name="T4" fmla="*/ 22 w 38"/>
                <a:gd name="T5" fmla="*/ 33 h 169"/>
                <a:gd name="T6" fmla="*/ 17 w 38"/>
                <a:gd name="T7" fmla="*/ 44 h 169"/>
                <a:gd name="T8" fmla="*/ 22 w 38"/>
                <a:gd name="T9" fmla="*/ 60 h 169"/>
                <a:gd name="T10" fmla="*/ 33 w 38"/>
                <a:gd name="T11" fmla="*/ 104 h 169"/>
                <a:gd name="T12" fmla="*/ 38 w 38"/>
                <a:gd name="T13" fmla="*/ 115 h 169"/>
                <a:gd name="T14" fmla="*/ 27 w 38"/>
                <a:gd name="T15" fmla="*/ 104 h 169"/>
                <a:gd name="T16" fmla="*/ 17 w 38"/>
                <a:gd name="T17" fmla="*/ 109 h 169"/>
                <a:gd name="T18" fmla="*/ 11 w 38"/>
                <a:gd name="T19" fmla="*/ 137 h 169"/>
                <a:gd name="T20" fmla="*/ 17 w 38"/>
                <a:gd name="T21" fmla="*/ 153 h 169"/>
                <a:gd name="T22" fmla="*/ 22 w 38"/>
                <a:gd name="T23" fmla="*/ 153 h 169"/>
                <a:gd name="T24" fmla="*/ 27 w 38"/>
                <a:gd name="T25" fmla="*/ 164 h 169"/>
                <a:gd name="T26" fmla="*/ 22 w 38"/>
                <a:gd name="T27" fmla="*/ 169 h 169"/>
                <a:gd name="T28" fmla="*/ 22 w 38"/>
                <a:gd name="T29" fmla="*/ 158 h 169"/>
                <a:gd name="T30" fmla="*/ 11 w 38"/>
                <a:gd name="T31" fmla="*/ 153 h 169"/>
                <a:gd name="T32" fmla="*/ 6 w 38"/>
                <a:gd name="T33" fmla="*/ 169 h 169"/>
                <a:gd name="T34" fmla="*/ 6 w 38"/>
                <a:gd name="T35" fmla="*/ 169 h 169"/>
                <a:gd name="T36" fmla="*/ 6 w 38"/>
                <a:gd name="T37" fmla="*/ 153 h 169"/>
                <a:gd name="T38" fmla="*/ 6 w 38"/>
                <a:gd name="T39" fmla="*/ 131 h 169"/>
                <a:gd name="T40" fmla="*/ 6 w 38"/>
                <a:gd name="T41" fmla="*/ 115 h 169"/>
                <a:gd name="T42" fmla="*/ 6 w 38"/>
                <a:gd name="T43" fmla="*/ 93 h 169"/>
                <a:gd name="T44" fmla="*/ 6 w 38"/>
                <a:gd name="T45" fmla="*/ 76 h 169"/>
                <a:gd name="T46" fmla="*/ 6 w 38"/>
                <a:gd name="T47" fmla="*/ 66 h 169"/>
                <a:gd name="T48" fmla="*/ 0 w 38"/>
                <a:gd name="T49" fmla="*/ 55 h 169"/>
                <a:gd name="T50" fmla="*/ 0 w 38"/>
                <a:gd name="T51" fmla="*/ 44 h 169"/>
                <a:gd name="T52" fmla="*/ 0 w 38"/>
                <a:gd name="T53" fmla="*/ 16 h 169"/>
                <a:gd name="T54" fmla="*/ 11 w 38"/>
                <a:gd name="T55" fmla="*/ 22 h 169"/>
                <a:gd name="T56" fmla="*/ 11 w 38"/>
                <a:gd name="T57" fmla="*/ 16 h 169"/>
                <a:gd name="T58" fmla="*/ 11 w 38"/>
                <a:gd name="T59" fmla="*/ 0 h 169"/>
                <a:gd name="T60" fmla="*/ 11 w 38"/>
                <a:gd name="T61" fmla="*/ 0 h 169"/>
                <a:gd name="T62" fmla="*/ 11 w 38"/>
                <a:gd name="T63" fmla="*/ 0 h 1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8"/>
                <a:gd name="T97" fmla="*/ 0 h 169"/>
                <a:gd name="T98" fmla="*/ 38 w 38"/>
                <a:gd name="T99" fmla="*/ 169 h 1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8" h="169">
                  <a:moveTo>
                    <a:pt x="11" y="0"/>
                  </a:moveTo>
                  <a:lnTo>
                    <a:pt x="17" y="6"/>
                  </a:lnTo>
                  <a:lnTo>
                    <a:pt x="22" y="33"/>
                  </a:lnTo>
                  <a:lnTo>
                    <a:pt x="17" y="44"/>
                  </a:lnTo>
                  <a:lnTo>
                    <a:pt x="22" y="60"/>
                  </a:lnTo>
                  <a:lnTo>
                    <a:pt x="33" y="104"/>
                  </a:lnTo>
                  <a:lnTo>
                    <a:pt x="38" y="115"/>
                  </a:lnTo>
                  <a:lnTo>
                    <a:pt x="27" y="104"/>
                  </a:lnTo>
                  <a:lnTo>
                    <a:pt x="17" y="109"/>
                  </a:lnTo>
                  <a:lnTo>
                    <a:pt x="11" y="137"/>
                  </a:lnTo>
                  <a:lnTo>
                    <a:pt x="17" y="153"/>
                  </a:lnTo>
                  <a:lnTo>
                    <a:pt x="22" y="153"/>
                  </a:lnTo>
                  <a:lnTo>
                    <a:pt x="27" y="164"/>
                  </a:lnTo>
                  <a:lnTo>
                    <a:pt x="22" y="169"/>
                  </a:lnTo>
                  <a:lnTo>
                    <a:pt x="22" y="158"/>
                  </a:lnTo>
                  <a:lnTo>
                    <a:pt x="11" y="153"/>
                  </a:lnTo>
                  <a:lnTo>
                    <a:pt x="6" y="169"/>
                  </a:lnTo>
                  <a:lnTo>
                    <a:pt x="6" y="153"/>
                  </a:lnTo>
                  <a:lnTo>
                    <a:pt x="6" y="131"/>
                  </a:lnTo>
                  <a:lnTo>
                    <a:pt x="6" y="115"/>
                  </a:lnTo>
                  <a:lnTo>
                    <a:pt x="6" y="93"/>
                  </a:lnTo>
                  <a:lnTo>
                    <a:pt x="6" y="76"/>
                  </a:lnTo>
                  <a:lnTo>
                    <a:pt x="6" y="66"/>
                  </a:lnTo>
                  <a:lnTo>
                    <a:pt x="0" y="55"/>
                  </a:lnTo>
                  <a:lnTo>
                    <a:pt x="0" y="44"/>
                  </a:lnTo>
                  <a:lnTo>
                    <a:pt x="0" y="16"/>
                  </a:lnTo>
                  <a:lnTo>
                    <a:pt x="11" y="22"/>
                  </a:lnTo>
                  <a:lnTo>
                    <a:pt x="11" y="16"/>
                  </a:lnTo>
                  <a:lnTo>
                    <a:pt x="11" y="0"/>
                  </a:lnTo>
                  <a:close/>
                </a:path>
              </a:pathLst>
            </a:custGeom>
            <a:solidFill>
              <a:schemeClr val="accent2"/>
            </a:solidFill>
            <a:ln w="12700" cmpd="sng">
              <a:solidFill>
                <a:schemeClr val="bg1"/>
              </a:solidFill>
              <a:round/>
              <a:headEnd/>
              <a:tailEnd/>
            </a:ln>
          </p:spPr>
          <p:txBody>
            <a:bodyPr/>
            <a:lstStyle/>
            <a:p>
              <a:endParaRPr lang="de-DE"/>
            </a:p>
          </p:txBody>
        </p:sp>
        <p:sp>
          <p:nvSpPr>
            <p:cNvPr id="356625" name="Freeform 647"/>
            <p:cNvSpPr>
              <a:spLocks/>
            </p:cNvSpPr>
            <p:nvPr/>
          </p:nvSpPr>
          <p:spPr bwMode="auto">
            <a:xfrm>
              <a:off x="4505" y="2156"/>
              <a:ext cx="38" cy="169"/>
            </a:xfrm>
            <a:custGeom>
              <a:avLst/>
              <a:gdLst>
                <a:gd name="T0" fmla="*/ 11 w 38"/>
                <a:gd name="T1" fmla="*/ 0 h 169"/>
                <a:gd name="T2" fmla="*/ 17 w 38"/>
                <a:gd name="T3" fmla="*/ 6 h 169"/>
                <a:gd name="T4" fmla="*/ 22 w 38"/>
                <a:gd name="T5" fmla="*/ 33 h 169"/>
                <a:gd name="T6" fmla="*/ 17 w 38"/>
                <a:gd name="T7" fmla="*/ 44 h 169"/>
                <a:gd name="T8" fmla="*/ 22 w 38"/>
                <a:gd name="T9" fmla="*/ 60 h 169"/>
                <a:gd name="T10" fmla="*/ 33 w 38"/>
                <a:gd name="T11" fmla="*/ 104 h 169"/>
                <a:gd name="T12" fmla="*/ 38 w 38"/>
                <a:gd name="T13" fmla="*/ 115 h 169"/>
                <a:gd name="T14" fmla="*/ 27 w 38"/>
                <a:gd name="T15" fmla="*/ 104 h 169"/>
                <a:gd name="T16" fmla="*/ 17 w 38"/>
                <a:gd name="T17" fmla="*/ 109 h 169"/>
                <a:gd name="T18" fmla="*/ 11 w 38"/>
                <a:gd name="T19" fmla="*/ 137 h 169"/>
                <a:gd name="T20" fmla="*/ 17 w 38"/>
                <a:gd name="T21" fmla="*/ 153 h 169"/>
                <a:gd name="T22" fmla="*/ 22 w 38"/>
                <a:gd name="T23" fmla="*/ 153 h 169"/>
                <a:gd name="T24" fmla="*/ 27 w 38"/>
                <a:gd name="T25" fmla="*/ 164 h 169"/>
                <a:gd name="T26" fmla="*/ 22 w 38"/>
                <a:gd name="T27" fmla="*/ 169 h 169"/>
                <a:gd name="T28" fmla="*/ 22 w 38"/>
                <a:gd name="T29" fmla="*/ 158 h 169"/>
                <a:gd name="T30" fmla="*/ 11 w 38"/>
                <a:gd name="T31" fmla="*/ 153 h 169"/>
                <a:gd name="T32" fmla="*/ 6 w 38"/>
                <a:gd name="T33" fmla="*/ 169 h 169"/>
                <a:gd name="T34" fmla="*/ 6 w 38"/>
                <a:gd name="T35" fmla="*/ 169 h 169"/>
                <a:gd name="T36" fmla="*/ 6 w 38"/>
                <a:gd name="T37" fmla="*/ 153 h 169"/>
                <a:gd name="T38" fmla="*/ 6 w 38"/>
                <a:gd name="T39" fmla="*/ 131 h 169"/>
                <a:gd name="T40" fmla="*/ 6 w 38"/>
                <a:gd name="T41" fmla="*/ 115 h 169"/>
                <a:gd name="T42" fmla="*/ 6 w 38"/>
                <a:gd name="T43" fmla="*/ 93 h 169"/>
                <a:gd name="T44" fmla="*/ 6 w 38"/>
                <a:gd name="T45" fmla="*/ 76 h 169"/>
                <a:gd name="T46" fmla="*/ 6 w 38"/>
                <a:gd name="T47" fmla="*/ 66 h 169"/>
                <a:gd name="T48" fmla="*/ 0 w 38"/>
                <a:gd name="T49" fmla="*/ 55 h 169"/>
                <a:gd name="T50" fmla="*/ 0 w 38"/>
                <a:gd name="T51" fmla="*/ 44 h 169"/>
                <a:gd name="T52" fmla="*/ 0 w 38"/>
                <a:gd name="T53" fmla="*/ 16 h 169"/>
                <a:gd name="T54" fmla="*/ 11 w 38"/>
                <a:gd name="T55" fmla="*/ 22 h 169"/>
                <a:gd name="T56" fmla="*/ 11 w 38"/>
                <a:gd name="T57" fmla="*/ 16 h 169"/>
                <a:gd name="T58" fmla="*/ 11 w 38"/>
                <a:gd name="T59" fmla="*/ 0 h 169"/>
                <a:gd name="T60" fmla="*/ 11 w 38"/>
                <a:gd name="T61" fmla="*/ 0 h 16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
                <a:gd name="T94" fmla="*/ 0 h 169"/>
                <a:gd name="T95" fmla="*/ 38 w 38"/>
                <a:gd name="T96" fmla="*/ 169 h 16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 h="169">
                  <a:moveTo>
                    <a:pt x="11" y="0"/>
                  </a:moveTo>
                  <a:lnTo>
                    <a:pt x="17" y="6"/>
                  </a:lnTo>
                  <a:lnTo>
                    <a:pt x="22" y="33"/>
                  </a:lnTo>
                  <a:lnTo>
                    <a:pt x="17" y="44"/>
                  </a:lnTo>
                  <a:lnTo>
                    <a:pt x="22" y="60"/>
                  </a:lnTo>
                  <a:lnTo>
                    <a:pt x="33" y="104"/>
                  </a:lnTo>
                  <a:lnTo>
                    <a:pt x="38" y="115"/>
                  </a:lnTo>
                  <a:lnTo>
                    <a:pt x="27" y="104"/>
                  </a:lnTo>
                  <a:lnTo>
                    <a:pt x="17" y="109"/>
                  </a:lnTo>
                  <a:lnTo>
                    <a:pt x="11" y="137"/>
                  </a:lnTo>
                  <a:lnTo>
                    <a:pt x="17" y="153"/>
                  </a:lnTo>
                  <a:lnTo>
                    <a:pt x="22" y="153"/>
                  </a:lnTo>
                  <a:lnTo>
                    <a:pt x="27" y="164"/>
                  </a:lnTo>
                  <a:lnTo>
                    <a:pt x="22" y="169"/>
                  </a:lnTo>
                  <a:lnTo>
                    <a:pt x="22" y="158"/>
                  </a:lnTo>
                  <a:lnTo>
                    <a:pt x="11" y="153"/>
                  </a:lnTo>
                  <a:lnTo>
                    <a:pt x="6" y="169"/>
                  </a:lnTo>
                  <a:lnTo>
                    <a:pt x="6" y="153"/>
                  </a:lnTo>
                  <a:lnTo>
                    <a:pt x="6" y="131"/>
                  </a:lnTo>
                  <a:lnTo>
                    <a:pt x="6" y="115"/>
                  </a:lnTo>
                  <a:lnTo>
                    <a:pt x="6" y="93"/>
                  </a:lnTo>
                  <a:lnTo>
                    <a:pt x="6" y="76"/>
                  </a:lnTo>
                  <a:lnTo>
                    <a:pt x="6" y="66"/>
                  </a:lnTo>
                  <a:lnTo>
                    <a:pt x="0" y="55"/>
                  </a:lnTo>
                  <a:lnTo>
                    <a:pt x="0" y="44"/>
                  </a:lnTo>
                  <a:lnTo>
                    <a:pt x="0" y="16"/>
                  </a:lnTo>
                  <a:lnTo>
                    <a:pt x="11" y="22"/>
                  </a:lnTo>
                  <a:lnTo>
                    <a:pt x="11" y="16"/>
                  </a:lnTo>
                  <a:lnTo>
                    <a:pt x="11"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6" name="Freeform 648"/>
            <p:cNvSpPr>
              <a:spLocks/>
            </p:cNvSpPr>
            <p:nvPr/>
          </p:nvSpPr>
          <p:spPr bwMode="auto">
            <a:xfrm>
              <a:off x="2965" y="2047"/>
              <a:ext cx="11" cy="5"/>
            </a:xfrm>
            <a:custGeom>
              <a:avLst/>
              <a:gdLst>
                <a:gd name="T0" fmla="*/ 5 w 11"/>
                <a:gd name="T1" fmla="*/ 0 h 5"/>
                <a:gd name="T2" fmla="*/ 0 w 11"/>
                <a:gd name="T3" fmla="*/ 0 h 5"/>
                <a:gd name="T4" fmla="*/ 0 w 11"/>
                <a:gd name="T5" fmla="*/ 5 h 5"/>
                <a:gd name="T6" fmla="*/ 11 w 11"/>
                <a:gd name="T7" fmla="*/ 0 h 5"/>
                <a:gd name="T8" fmla="*/ 5 w 11"/>
                <a:gd name="T9" fmla="*/ 0 h 5"/>
                <a:gd name="T10" fmla="*/ 5 w 11"/>
                <a:gd name="T11" fmla="*/ 0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5" y="0"/>
                  </a:moveTo>
                  <a:lnTo>
                    <a:pt x="0" y="0"/>
                  </a:lnTo>
                  <a:lnTo>
                    <a:pt x="0" y="5"/>
                  </a:lnTo>
                  <a:lnTo>
                    <a:pt x="11"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7" name="Freeform 649"/>
            <p:cNvSpPr>
              <a:spLocks/>
            </p:cNvSpPr>
            <p:nvPr/>
          </p:nvSpPr>
          <p:spPr bwMode="auto">
            <a:xfrm>
              <a:off x="2959" y="2058"/>
              <a:ext cx="22" cy="11"/>
            </a:xfrm>
            <a:custGeom>
              <a:avLst/>
              <a:gdLst>
                <a:gd name="T0" fmla="*/ 17 w 22"/>
                <a:gd name="T1" fmla="*/ 0 h 11"/>
                <a:gd name="T2" fmla="*/ 0 w 22"/>
                <a:gd name="T3" fmla="*/ 0 h 11"/>
                <a:gd name="T4" fmla="*/ 0 w 22"/>
                <a:gd name="T5" fmla="*/ 5 h 11"/>
                <a:gd name="T6" fmla="*/ 6 w 22"/>
                <a:gd name="T7" fmla="*/ 5 h 11"/>
                <a:gd name="T8" fmla="*/ 6 w 22"/>
                <a:gd name="T9" fmla="*/ 11 h 11"/>
                <a:gd name="T10" fmla="*/ 6 w 22"/>
                <a:gd name="T11" fmla="*/ 5 h 11"/>
                <a:gd name="T12" fmla="*/ 22 w 22"/>
                <a:gd name="T13" fmla="*/ 0 h 11"/>
                <a:gd name="T14" fmla="*/ 17 w 22"/>
                <a:gd name="T15" fmla="*/ 0 h 11"/>
                <a:gd name="T16" fmla="*/ 17 w 22"/>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11"/>
                <a:gd name="T29" fmla="*/ 22 w 22"/>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11">
                  <a:moveTo>
                    <a:pt x="17" y="0"/>
                  </a:moveTo>
                  <a:lnTo>
                    <a:pt x="0" y="0"/>
                  </a:lnTo>
                  <a:lnTo>
                    <a:pt x="0" y="5"/>
                  </a:lnTo>
                  <a:lnTo>
                    <a:pt x="6" y="5"/>
                  </a:lnTo>
                  <a:lnTo>
                    <a:pt x="6" y="11"/>
                  </a:lnTo>
                  <a:lnTo>
                    <a:pt x="6" y="5"/>
                  </a:lnTo>
                  <a:lnTo>
                    <a:pt x="22" y="0"/>
                  </a:lnTo>
                  <a:lnTo>
                    <a:pt x="17" y="0"/>
                  </a:lnTo>
                  <a:close/>
                </a:path>
              </a:pathLst>
            </a:custGeom>
            <a:solidFill>
              <a:schemeClr val="accent2"/>
            </a:solidFill>
            <a:ln w="12700" cmpd="sng">
              <a:solidFill>
                <a:schemeClr val="bg1"/>
              </a:solidFill>
              <a:round/>
              <a:headEnd/>
              <a:tailEnd/>
            </a:ln>
          </p:spPr>
          <p:txBody>
            <a:bodyPr/>
            <a:lstStyle/>
            <a:p>
              <a:endParaRPr lang="de-DE"/>
            </a:p>
          </p:txBody>
        </p:sp>
        <p:sp>
          <p:nvSpPr>
            <p:cNvPr id="356628" name="Freeform 650"/>
            <p:cNvSpPr>
              <a:spLocks/>
            </p:cNvSpPr>
            <p:nvPr/>
          </p:nvSpPr>
          <p:spPr bwMode="auto">
            <a:xfrm>
              <a:off x="2959" y="2058"/>
              <a:ext cx="22" cy="11"/>
            </a:xfrm>
            <a:custGeom>
              <a:avLst/>
              <a:gdLst>
                <a:gd name="T0" fmla="*/ 17 w 22"/>
                <a:gd name="T1" fmla="*/ 0 h 11"/>
                <a:gd name="T2" fmla="*/ 0 w 22"/>
                <a:gd name="T3" fmla="*/ 0 h 11"/>
                <a:gd name="T4" fmla="*/ 0 w 22"/>
                <a:gd name="T5" fmla="*/ 5 h 11"/>
                <a:gd name="T6" fmla="*/ 6 w 22"/>
                <a:gd name="T7" fmla="*/ 5 h 11"/>
                <a:gd name="T8" fmla="*/ 6 w 22"/>
                <a:gd name="T9" fmla="*/ 11 h 11"/>
                <a:gd name="T10" fmla="*/ 6 w 22"/>
                <a:gd name="T11" fmla="*/ 5 h 11"/>
                <a:gd name="T12" fmla="*/ 22 w 22"/>
                <a:gd name="T13" fmla="*/ 0 h 11"/>
                <a:gd name="T14" fmla="*/ 17 w 22"/>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1"/>
                <a:gd name="T26" fmla="*/ 22 w 22"/>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1">
                  <a:moveTo>
                    <a:pt x="17" y="0"/>
                  </a:moveTo>
                  <a:lnTo>
                    <a:pt x="0" y="0"/>
                  </a:lnTo>
                  <a:lnTo>
                    <a:pt x="0" y="5"/>
                  </a:lnTo>
                  <a:lnTo>
                    <a:pt x="6" y="5"/>
                  </a:lnTo>
                  <a:lnTo>
                    <a:pt x="6" y="11"/>
                  </a:lnTo>
                  <a:lnTo>
                    <a:pt x="6" y="5"/>
                  </a:lnTo>
                  <a:lnTo>
                    <a:pt x="22" y="0"/>
                  </a:lnTo>
                  <a:lnTo>
                    <a:pt x="17"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29" name="Freeform 651"/>
            <p:cNvSpPr>
              <a:spLocks/>
            </p:cNvSpPr>
            <p:nvPr/>
          </p:nvSpPr>
          <p:spPr bwMode="auto">
            <a:xfrm>
              <a:off x="4440" y="3482"/>
              <a:ext cx="22" cy="6"/>
            </a:xfrm>
            <a:custGeom>
              <a:avLst/>
              <a:gdLst>
                <a:gd name="T0" fmla="*/ 0 w 22"/>
                <a:gd name="T1" fmla="*/ 0 h 6"/>
                <a:gd name="T2" fmla="*/ 11 w 22"/>
                <a:gd name="T3" fmla="*/ 0 h 6"/>
                <a:gd name="T4" fmla="*/ 22 w 22"/>
                <a:gd name="T5" fmla="*/ 6 h 6"/>
                <a:gd name="T6" fmla="*/ 5 w 22"/>
                <a:gd name="T7" fmla="*/ 6 h 6"/>
                <a:gd name="T8" fmla="*/ 0 w 22"/>
                <a:gd name="T9" fmla="*/ 6 h 6"/>
                <a:gd name="T10" fmla="*/ 0 w 22"/>
                <a:gd name="T11" fmla="*/ 0 h 6"/>
                <a:gd name="T12" fmla="*/ 0 w 22"/>
                <a:gd name="T13" fmla="*/ 0 h 6"/>
                <a:gd name="T14" fmla="*/ 0 60000 65536"/>
                <a:gd name="T15" fmla="*/ 0 60000 65536"/>
                <a:gd name="T16" fmla="*/ 0 60000 65536"/>
                <a:gd name="T17" fmla="*/ 0 60000 65536"/>
                <a:gd name="T18" fmla="*/ 0 60000 65536"/>
                <a:gd name="T19" fmla="*/ 0 60000 65536"/>
                <a:gd name="T20" fmla="*/ 0 60000 65536"/>
                <a:gd name="T21" fmla="*/ 0 w 22"/>
                <a:gd name="T22" fmla="*/ 0 h 6"/>
                <a:gd name="T23" fmla="*/ 22 w 22"/>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6">
                  <a:moveTo>
                    <a:pt x="0" y="0"/>
                  </a:moveTo>
                  <a:lnTo>
                    <a:pt x="11" y="0"/>
                  </a:lnTo>
                  <a:lnTo>
                    <a:pt x="22" y="6"/>
                  </a:lnTo>
                  <a:lnTo>
                    <a:pt x="5"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0" name="Freeform 652"/>
            <p:cNvSpPr>
              <a:spLocks/>
            </p:cNvSpPr>
            <p:nvPr/>
          </p:nvSpPr>
          <p:spPr bwMode="auto">
            <a:xfrm>
              <a:off x="4141" y="3127"/>
              <a:ext cx="517" cy="410"/>
            </a:xfrm>
            <a:custGeom>
              <a:avLst/>
              <a:gdLst>
                <a:gd name="T0" fmla="*/ 16 w 517"/>
                <a:gd name="T1" fmla="*/ 153 h 410"/>
                <a:gd name="T2" fmla="*/ 54 w 517"/>
                <a:gd name="T3" fmla="*/ 137 h 410"/>
                <a:gd name="T4" fmla="*/ 98 w 517"/>
                <a:gd name="T5" fmla="*/ 120 h 410"/>
                <a:gd name="T6" fmla="*/ 114 w 517"/>
                <a:gd name="T7" fmla="*/ 93 h 410"/>
                <a:gd name="T8" fmla="*/ 130 w 517"/>
                <a:gd name="T9" fmla="*/ 93 h 410"/>
                <a:gd name="T10" fmla="*/ 130 w 517"/>
                <a:gd name="T11" fmla="*/ 77 h 410"/>
                <a:gd name="T12" fmla="*/ 141 w 517"/>
                <a:gd name="T13" fmla="*/ 77 h 410"/>
                <a:gd name="T14" fmla="*/ 147 w 517"/>
                <a:gd name="T15" fmla="*/ 60 h 410"/>
                <a:gd name="T16" fmla="*/ 157 w 517"/>
                <a:gd name="T17" fmla="*/ 55 h 410"/>
                <a:gd name="T18" fmla="*/ 174 w 517"/>
                <a:gd name="T19" fmla="*/ 44 h 410"/>
                <a:gd name="T20" fmla="*/ 190 w 517"/>
                <a:gd name="T21" fmla="*/ 60 h 410"/>
                <a:gd name="T22" fmla="*/ 212 w 517"/>
                <a:gd name="T23" fmla="*/ 60 h 410"/>
                <a:gd name="T24" fmla="*/ 217 w 517"/>
                <a:gd name="T25" fmla="*/ 39 h 410"/>
                <a:gd name="T26" fmla="*/ 223 w 517"/>
                <a:gd name="T27" fmla="*/ 28 h 410"/>
                <a:gd name="T28" fmla="*/ 239 w 517"/>
                <a:gd name="T29" fmla="*/ 22 h 410"/>
                <a:gd name="T30" fmla="*/ 239 w 517"/>
                <a:gd name="T31" fmla="*/ 11 h 410"/>
                <a:gd name="T32" fmla="*/ 250 w 517"/>
                <a:gd name="T33" fmla="*/ 17 h 410"/>
                <a:gd name="T34" fmla="*/ 266 w 517"/>
                <a:gd name="T35" fmla="*/ 22 h 410"/>
                <a:gd name="T36" fmla="*/ 288 w 517"/>
                <a:gd name="T37" fmla="*/ 22 h 410"/>
                <a:gd name="T38" fmla="*/ 299 w 517"/>
                <a:gd name="T39" fmla="*/ 22 h 410"/>
                <a:gd name="T40" fmla="*/ 299 w 517"/>
                <a:gd name="T41" fmla="*/ 33 h 410"/>
                <a:gd name="T42" fmla="*/ 288 w 517"/>
                <a:gd name="T43" fmla="*/ 44 h 410"/>
                <a:gd name="T44" fmla="*/ 299 w 517"/>
                <a:gd name="T45" fmla="*/ 71 h 410"/>
                <a:gd name="T46" fmla="*/ 332 w 517"/>
                <a:gd name="T47" fmla="*/ 88 h 410"/>
                <a:gd name="T48" fmla="*/ 364 w 517"/>
                <a:gd name="T49" fmla="*/ 60 h 410"/>
                <a:gd name="T50" fmla="*/ 375 w 517"/>
                <a:gd name="T51" fmla="*/ 6 h 410"/>
                <a:gd name="T52" fmla="*/ 381 w 517"/>
                <a:gd name="T53" fmla="*/ 17 h 410"/>
                <a:gd name="T54" fmla="*/ 397 w 517"/>
                <a:gd name="T55" fmla="*/ 49 h 410"/>
                <a:gd name="T56" fmla="*/ 419 w 517"/>
                <a:gd name="T57" fmla="*/ 82 h 410"/>
                <a:gd name="T58" fmla="*/ 435 w 517"/>
                <a:gd name="T59" fmla="*/ 115 h 410"/>
                <a:gd name="T60" fmla="*/ 457 w 517"/>
                <a:gd name="T61" fmla="*/ 131 h 410"/>
                <a:gd name="T62" fmla="*/ 468 w 517"/>
                <a:gd name="T63" fmla="*/ 159 h 410"/>
                <a:gd name="T64" fmla="*/ 484 w 517"/>
                <a:gd name="T65" fmla="*/ 159 h 410"/>
                <a:gd name="T66" fmla="*/ 511 w 517"/>
                <a:gd name="T67" fmla="*/ 230 h 410"/>
                <a:gd name="T68" fmla="*/ 489 w 517"/>
                <a:gd name="T69" fmla="*/ 322 h 410"/>
                <a:gd name="T70" fmla="*/ 473 w 517"/>
                <a:gd name="T71" fmla="*/ 355 h 410"/>
                <a:gd name="T72" fmla="*/ 430 w 517"/>
                <a:gd name="T73" fmla="*/ 404 h 410"/>
                <a:gd name="T74" fmla="*/ 424 w 517"/>
                <a:gd name="T75" fmla="*/ 410 h 410"/>
                <a:gd name="T76" fmla="*/ 408 w 517"/>
                <a:gd name="T77" fmla="*/ 393 h 410"/>
                <a:gd name="T78" fmla="*/ 386 w 517"/>
                <a:gd name="T79" fmla="*/ 404 h 410"/>
                <a:gd name="T80" fmla="*/ 348 w 517"/>
                <a:gd name="T81" fmla="*/ 393 h 410"/>
                <a:gd name="T82" fmla="*/ 342 w 517"/>
                <a:gd name="T83" fmla="*/ 361 h 410"/>
                <a:gd name="T84" fmla="*/ 326 w 517"/>
                <a:gd name="T85" fmla="*/ 350 h 410"/>
                <a:gd name="T86" fmla="*/ 304 w 517"/>
                <a:gd name="T87" fmla="*/ 350 h 410"/>
                <a:gd name="T88" fmla="*/ 315 w 517"/>
                <a:gd name="T89" fmla="*/ 322 h 410"/>
                <a:gd name="T90" fmla="*/ 310 w 517"/>
                <a:gd name="T91" fmla="*/ 322 h 410"/>
                <a:gd name="T92" fmla="*/ 283 w 517"/>
                <a:gd name="T93" fmla="*/ 339 h 410"/>
                <a:gd name="T94" fmla="*/ 277 w 517"/>
                <a:gd name="T95" fmla="*/ 317 h 410"/>
                <a:gd name="T96" fmla="*/ 261 w 517"/>
                <a:gd name="T97" fmla="*/ 300 h 410"/>
                <a:gd name="T98" fmla="*/ 228 w 517"/>
                <a:gd name="T99" fmla="*/ 290 h 410"/>
                <a:gd name="T100" fmla="*/ 141 w 517"/>
                <a:gd name="T101" fmla="*/ 311 h 410"/>
                <a:gd name="T102" fmla="*/ 70 w 517"/>
                <a:gd name="T103" fmla="*/ 339 h 410"/>
                <a:gd name="T104" fmla="*/ 38 w 517"/>
                <a:gd name="T105" fmla="*/ 344 h 410"/>
                <a:gd name="T106" fmla="*/ 27 w 517"/>
                <a:gd name="T107" fmla="*/ 322 h 410"/>
                <a:gd name="T108" fmla="*/ 21 w 517"/>
                <a:gd name="T109" fmla="*/ 257 h 410"/>
                <a:gd name="T110" fmla="*/ 0 w 517"/>
                <a:gd name="T111" fmla="*/ 213 h 410"/>
                <a:gd name="T112" fmla="*/ 5 w 517"/>
                <a:gd name="T113" fmla="*/ 213 h 410"/>
                <a:gd name="T114" fmla="*/ 5 w 517"/>
                <a:gd name="T115" fmla="*/ 175 h 4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7"/>
                <a:gd name="T175" fmla="*/ 0 h 410"/>
                <a:gd name="T176" fmla="*/ 517 w 517"/>
                <a:gd name="T177" fmla="*/ 410 h 4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7" h="410">
                  <a:moveTo>
                    <a:pt x="10" y="153"/>
                  </a:moveTo>
                  <a:lnTo>
                    <a:pt x="10" y="148"/>
                  </a:lnTo>
                  <a:lnTo>
                    <a:pt x="10" y="159"/>
                  </a:lnTo>
                  <a:lnTo>
                    <a:pt x="16" y="153"/>
                  </a:lnTo>
                  <a:lnTo>
                    <a:pt x="27" y="148"/>
                  </a:lnTo>
                  <a:lnTo>
                    <a:pt x="32" y="142"/>
                  </a:lnTo>
                  <a:lnTo>
                    <a:pt x="43" y="131"/>
                  </a:lnTo>
                  <a:lnTo>
                    <a:pt x="54" y="137"/>
                  </a:lnTo>
                  <a:lnTo>
                    <a:pt x="70" y="131"/>
                  </a:lnTo>
                  <a:lnTo>
                    <a:pt x="76" y="126"/>
                  </a:lnTo>
                  <a:lnTo>
                    <a:pt x="81" y="126"/>
                  </a:lnTo>
                  <a:lnTo>
                    <a:pt x="98" y="120"/>
                  </a:lnTo>
                  <a:lnTo>
                    <a:pt x="103" y="115"/>
                  </a:lnTo>
                  <a:lnTo>
                    <a:pt x="108" y="104"/>
                  </a:lnTo>
                  <a:lnTo>
                    <a:pt x="114" y="99"/>
                  </a:lnTo>
                  <a:lnTo>
                    <a:pt x="114" y="93"/>
                  </a:lnTo>
                  <a:lnTo>
                    <a:pt x="114" y="88"/>
                  </a:lnTo>
                  <a:lnTo>
                    <a:pt x="119" y="82"/>
                  </a:lnTo>
                  <a:lnTo>
                    <a:pt x="125" y="77"/>
                  </a:lnTo>
                  <a:lnTo>
                    <a:pt x="130" y="93"/>
                  </a:lnTo>
                  <a:lnTo>
                    <a:pt x="130" y="88"/>
                  </a:lnTo>
                  <a:lnTo>
                    <a:pt x="136" y="88"/>
                  </a:lnTo>
                  <a:lnTo>
                    <a:pt x="130" y="82"/>
                  </a:lnTo>
                  <a:lnTo>
                    <a:pt x="130" y="77"/>
                  </a:lnTo>
                  <a:lnTo>
                    <a:pt x="136" y="77"/>
                  </a:lnTo>
                  <a:lnTo>
                    <a:pt x="141" y="77"/>
                  </a:lnTo>
                  <a:lnTo>
                    <a:pt x="141" y="82"/>
                  </a:lnTo>
                  <a:lnTo>
                    <a:pt x="141" y="77"/>
                  </a:lnTo>
                  <a:lnTo>
                    <a:pt x="147" y="71"/>
                  </a:lnTo>
                  <a:lnTo>
                    <a:pt x="147" y="66"/>
                  </a:lnTo>
                  <a:lnTo>
                    <a:pt x="152" y="66"/>
                  </a:lnTo>
                  <a:lnTo>
                    <a:pt x="147" y="60"/>
                  </a:lnTo>
                  <a:lnTo>
                    <a:pt x="152" y="60"/>
                  </a:lnTo>
                  <a:lnTo>
                    <a:pt x="152" y="55"/>
                  </a:lnTo>
                  <a:lnTo>
                    <a:pt x="157" y="55"/>
                  </a:lnTo>
                  <a:lnTo>
                    <a:pt x="163" y="55"/>
                  </a:lnTo>
                  <a:lnTo>
                    <a:pt x="163" y="44"/>
                  </a:lnTo>
                  <a:lnTo>
                    <a:pt x="163" y="49"/>
                  </a:lnTo>
                  <a:lnTo>
                    <a:pt x="174" y="44"/>
                  </a:lnTo>
                  <a:lnTo>
                    <a:pt x="185" y="49"/>
                  </a:lnTo>
                  <a:lnTo>
                    <a:pt x="190" y="55"/>
                  </a:lnTo>
                  <a:lnTo>
                    <a:pt x="185" y="66"/>
                  </a:lnTo>
                  <a:lnTo>
                    <a:pt x="190" y="60"/>
                  </a:lnTo>
                  <a:lnTo>
                    <a:pt x="195" y="55"/>
                  </a:lnTo>
                  <a:lnTo>
                    <a:pt x="201" y="55"/>
                  </a:lnTo>
                  <a:lnTo>
                    <a:pt x="212" y="60"/>
                  </a:lnTo>
                  <a:lnTo>
                    <a:pt x="212" y="55"/>
                  </a:lnTo>
                  <a:lnTo>
                    <a:pt x="206" y="49"/>
                  </a:lnTo>
                  <a:lnTo>
                    <a:pt x="212" y="39"/>
                  </a:lnTo>
                  <a:lnTo>
                    <a:pt x="217" y="39"/>
                  </a:lnTo>
                  <a:lnTo>
                    <a:pt x="217" y="33"/>
                  </a:lnTo>
                  <a:lnTo>
                    <a:pt x="217" y="28"/>
                  </a:lnTo>
                  <a:lnTo>
                    <a:pt x="223" y="28"/>
                  </a:lnTo>
                  <a:lnTo>
                    <a:pt x="228" y="28"/>
                  </a:lnTo>
                  <a:lnTo>
                    <a:pt x="228" y="22"/>
                  </a:lnTo>
                  <a:lnTo>
                    <a:pt x="239" y="22"/>
                  </a:lnTo>
                  <a:lnTo>
                    <a:pt x="244" y="22"/>
                  </a:lnTo>
                  <a:lnTo>
                    <a:pt x="244" y="17"/>
                  </a:lnTo>
                  <a:lnTo>
                    <a:pt x="239" y="11"/>
                  </a:lnTo>
                  <a:lnTo>
                    <a:pt x="244" y="11"/>
                  </a:lnTo>
                  <a:lnTo>
                    <a:pt x="250" y="17"/>
                  </a:lnTo>
                  <a:lnTo>
                    <a:pt x="250" y="11"/>
                  </a:lnTo>
                  <a:lnTo>
                    <a:pt x="255" y="17"/>
                  </a:lnTo>
                  <a:lnTo>
                    <a:pt x="261" y="17"/>
                  </a:lnTo>
                  <a:lnTo>
                    <a:pt x="266" y="22"/>
                  </a:lnTo>
                  <a:lnTo>
                    <a:pt x="277" y="22"/>
                  </a:lnTo>
                  <a:lnTo>
                    <a:pt x="283" y="22"/>
                  </a:lnTo>
                  <a:lnTo>
                    <a:pt x="293" y="17"/>
                  </a:lnTo>
                  <a:lnTo>
                    <a:pt x="288" y="22"/>
                  </a:lnTo>
                  <a:lnTo>
                    <a:pt x="293" y="22"/>
                  </a:lnTo>
                  <a:lnTo>
                    <a:pt x="293" y="28"/>
                  </a:lnTo>
                  <a:lnTo>
                    <a:pt x="299" y="17"/>
                  </a:lnTo>
                  <a:lnTo>
                    <a:pt x="299" y="22"/>
                  </a:lnTo>
                  <a:lnTo>
                    <a:pt x="304" y="22"/>
                  </a:lnTo>
                  <a:lnTo>
                    <a:pt x="299" y="33"/>
                  </a:lnTo>
                  <a:lnTo>
                    <a:pt x="293" y="33"/>
                  </a:lnTo>
                  <a:lnTo>
                    <a:pt x="293" y="39"/>
                  </a:lnTo>
                  <a:lnTo>
                    <a:pt x="288" y="44"/>
                  </a:lnTo>
                  <a:lnTo>
                    <a:pt x="293" y="44"/>
                  </a:lnTo>
                  <a:lnTo>
                    <a:pt x="288" y="60"/>
                  </a:lnTo>
                  <a:lnTo>
                    <a:pt x="293" y="66"/>
                  </a:lnTo>
                  <a:lnTo>
                    <a:pt x="299" y="71"/>
                  </a:lnTo>
                  <a:lnTo>
                    <a:pt x="310" y="71"/>
                  </a:lnTo>
                  <a:lnTo>
                    <a:pt x="321" y="82"/>
                  </a:lnTo>
                  <a:lnTo>
                    <a:pt x="332" y="82"/>
                  </a:lnTo>
                  <a:lnTo>
                    <a:pt x="332" y="88"/>
                  </a:lnTo>
                  <a:lnTo>
                    <a:pt x="342" y="99"/>
                  </a:lnTo>
                  <a:lnTo>
                    <a:pt x="353" y="93"/>
                  </a:lnTo>
                  <a:lnTo>
                    <a:pt x="359" y="82"/>
                  </a:lnTo>
                  <a:lnTo>
                    <a:pt x="364" y="60"/>
                  </a:lnTo>
                  <a:lnTo>
                    <a:pt x="364" y="44"/>
                  </a:lnTo>
                  <a:lnTo>
                    <a:pt x="364" y="28"/>
                  </a:lnTo>
                  <a:lnTo>
                    <a:pt x="375" y="6"/>
                  </a:lnTo>
                  <a:lnTo>
                    <a:pt x="375" y="0"/>
                  </a:lnTo>
                  <a:lnTo>
                    <a:pt x="381" y="6"/>
                  </a:lnTo>
                  <a:lnTo>
                    <a:pt x="381" y="17"/>
                  </a:lnTo>
                  <a:lnTo>
                    <a:pt x="381" y="22"/>
                  </a:lnTo>
                  <a:lnTo>
                    <a:pt x="386" y="28"/>
                  </a:lnTo>
                  <a:lnTo>
                    <a:pt x="391" y="49"/>
                  </a:lnTo>
                  <a:lnTo>
                    <a:pt x="397" y="49"/>
                  </a:lnTo>
                  <a:lnTo>
                    <a:pt x="402" y="49"/>
                  </a:lnTo>
                  <a:lnTo>
                    <a:pt x="413" y="60"/>
                  </a:lnTo>
                  <a:lnTo>
                    <a:pt x="413" y="82"/>
                  </a:lnTo>
                  <a:lnTo>
                    <a:pt x="419" y="82"/>
                  </a:lnTo>
                  <a:lnTo>
                    <a:pt x="424" y="104"/>
                  </a:lnTo>
                  <a:lnTo>
                    <a:pt x="424" y="110"/>
                  </a:lnTo>
                  <a:lnTo>
                    <a:pt x="424" y="115"/>
                  </a:lnTo>
                  <a:lnTo>
                    <a:pt x="435" y="115"/>
                  </a:lnTo>
                  <a:lnTo>
                    <a:pt x="440" y="115"/>
                  </a:lnTo>
                  <a:lnTo>
                    <a:pt x="440" y="126"/>
                  </a:lnTo>
                  <a:lnTo>
                    <a:pt x="451" y="126"/>
                  </a:lnTo>
                  <a:lnTo>
                    <a:pt x="457" y="131"/>
                  </a:lnTo>
                  <a:lnTo>
                    <a:pt x="457" y="137"/>
                  </a:lnTo>
                  <a:lnTo>
                    <a:pt x="462" y="137"/>
                  </a:lnTo>
                  <a:lnTo>
                    <a:pt x="468" y="148"/>
                  </a:lnTo>
                  <a:lnTo>
                    <a:pt x="468" y="159"/>
                  </a:lnTo>
                  <a:lnTo>
                    <a:pt x="473" y="159"/>
                  </a:lnTo>
                  <a:lnTo>
                    <a:pt x="473" y="153"/>
                  </a:lnTo>
                  <a:lnTo>
                    <a:pt x="479" y="164"/>
                  </a:lnTo>
                  <a:lnTo>
                    <a:pt x="484" y="159"/>
                  </a:lnTo>
                  <a:lnTo>
                    <a:pt x="484" y="175"/>
                  </a:lnTo>
                  <a:lnTo>
                    <a:pt x="506" y="191"/>
                  </a:lnTo>
                  <a:lnTo>
                    <a:pt x="511" y="208"/>
                  </a:lnTo>
                  <a:lnTo>
                    <a:pt x="511" y="230"/>
                  </a:lnTo>
                  <a:lnTo>
                    <a:pt x="517" y="251"/>
                  </a:lnTo>
                  <a:lnTo>
                    <a:pt x="511" y="290"/>
                  </a:lnTo>
                  <a:lnTo>
                    <a:pt x="506" y="306"/>
                  </a:lnTo>
                  <a:lnTo>
                    <a:pt x="489" y="322"/>
                  </a:lnTo>
                  <a:lnTo>
                    <a:pt x="489" y="328"/>
                  </a:lnTo>
                  <a:lnTo>
                    <a:pt x="484" y="350"/>
                  </a:lnTo>
                  <a:lnTo>
                    <a:pt x="479" y="344"/>
                  </a:lnTo>
                  <a:lnTo>
                    <a:pt x="473" y="355"/>
                  </a:lnTo>
                  <a:lnTo>
                    <a:pt x="473" y="382"/>
                  </a:lnTo>
                  <a:lnTo>
                    <a:pt x="462" y="388"/>
                  </a:lnTo>
                  <a:lnTo>
                    <a:pt x="451" y="393"/>
                  </a:lnTo>
                  <a:lnTo>
                    <a:pt x="430" y="404"/>
                  </a:lnTo>
                  <a:lnTo>
                    <a:pt x="424" y="404"/>
                  </a:lnTo>
                  <a:lnTo>
                    <a:pt x="424" y="410"/>
                  </a:lnTo>
                  <a:lnTo>
                    <a:pt x="430" y="404"/>
                  </a:lnTo>
                  <a:lnTo>
                    <a:pt x="424" y="410"/>
                  </a:lnTo>
                  <a:lnTo>
                    <a:pt x="413" y="404"/>
                  </a:lnTo>
                  <a:lnTo>
                    <a:pt x="413" y="399"/>
                  </a:lnTo>
                  <a:lnTo>
                    <a:pt x="408" y="399"/>
                  </a:lnTo>
                  <a:lnTo>
                    <a:pt x="408" y="393"/>
                  </a:lnTo>
                  <a:lnTo>
                    <a:pt x="408" y="388"/>
                  </a:lnTo>
                  <a:lnTo>
                    <a:pt x="402" y="393"/>
                  </a:lnTo>
                  <a:lnTo>
                    <a:pt x="386" y="404"/>
                  </a:lnTo>
                  <a:lnTo>
                    <a:pt x="375" y="399"/>
                  </a:lnTo>
                  <a:lnTo>
                    <a:pt x="370" y="399"/>
                  </a:lnTo>
                  <a:lnTo>
                    <a:pt x="364" y="399"/>
                  </a:lnTo>
                  <a:lnTo>
                    <a:pt x="348" y="393"/>
                  </a:lnTo>
                  <a:lnTo>
                    <a:pt x="342" y="382"/>
                  </a:lnTo>
                  <a:lnTo>
                    <a:pt x="342" y="377"/>
                  </a:lnTo>
                  <a:lnTo>
                    <a:pt x="342" y="371"/>
                  </a:lnTo>
                  <a:lnTo>
                    <a:pt x="342" y="361"/>
                  </a:lnTo>
                  <a:lnTo>
                    <a:pt x="332" y="355"/>
                  </a:lnTo>
                  <a:lnTo>
                    <a:pt x="337" y="350"/>
                  </a:lnTo>
                  <a:lnTo>
                    <a:pt x="321" y="355"/>
                  </a:lnTo>
                  <a:lnTo>
                    <a:pt x="326" y="350"/>
                  </a:lnTo>
                  <a:lnTo>
                    <a:pt x="326" y="339"/>
                  </a:lnTo>
                  <a:lnTo>
                    <a:pt x="321" y="333"/>
                  </a:lnTo>
                  <a:lnTo>
                    <a:pt x="315" y="344"/>
                  </a:lnTo>
                  <a:lnTo>
                    <a:pt x="304" y="350"/>
                  </a:lnTo>
                  <a:lnTo>
                    <a:pt x="304" y="344"/>
                  </a:lnTo>
                  <a:lnTo>
                    <a:pt x="310" y="344"/>
                  </a:lnTo>
                  <a:lnTo>
                    <a:pt x="310" y="333"/>
                  </a:lnTo>
                  <a:lnTo>
                    <a:pt x="315" y="322"/>
                  </a:lnTo>
                  <a:lnTo>
                    <a:pt x="321" y="317"/>
                  </a:lnTo>
                  <a:lnTo>
                    <a:pt x="315" y="306"/>
                  </a:lnTo>
                  <a:lnTo>
                    <a:pt x="315" y="311"/>
                  </a:lnTo>
                  <a:lnTo>
                    <a:pt x="310" y="322"/>
                  </a:lnTo>
                  <a:lnTo>
                    <a:pt x="299" y="328"/>
                  </a:lnTo>
                  <a:lnTo>
                    <a:pt x="293" y="339"/>
                  </a:lnTo>
                  <a:lnTo>
                    <a:pt x="293" y="344"/>
                  </a:lnTo>
                  <a:lnTo>
                    <a:pt x="283" y="339"/>
                  </a:lnTo>
                  <a:lnTo>
                    <a:pt x="283" y="333"/>
                  </a:lnTo>
                  <a:lnTo>
                    <a:pt x="277" y="317"/>
                  </a:lnTo>
                  <a:lnTo>
                    <a:pt x="266" y="311"/>
                  </a:lnTo>
                  <a:lnTo>
                    <a:pt x="272" y="306"/>
                  </a:lnTo>
                  <a:lnTo>
                    <a:pt x="261" y="300"/>
                  </a:lnTo>
                  <a:lnTo>
                    <a:pt x="250" y="295"/>
                  </a:lnTo>
                  <a:lnTo>
                    <a:pt x="244" y="300"/>
                  </a:lnTo>
                  <a:lnTo>
                    <a:pt x="239" y="295"/>
                  </a:lnTo>
                  <a:lnTo>
                    <a:pt x="228" y="290"/>
                  </a:lnTo>
                  <a:lnTo>
                    <a:pt x="206" y="290"/>
                  </a:lnTo>
                  <a:lnTo>
                    <a:pt x="190" y="300"/>
                  </a:lnTo>
                  <a:lnTo>
                    <a:pt x="163" y="300"/>
                  </a:lnTo>
                  <a:lnTo>
                    <a:pt x="141" y="311"/>
                  </a:lnTo>
                  <a:lnTo>
                    <a:pt x="130" y="328"/>
                  </a:lnTo>
                  <a:lnTo>
                    <a:pt x="87" y="328"/>
                  </a:lnTo>
                  <a:lnTo>
                    <a:pt x="81" y="333"/>
                  </a:lnTo>
                  <a:lnTo>
                    <a:pt x="70" y="339"/>
                  </a:lnTo>
                  <a:lnTo>
                    <a:pt x="65" y="344"/>
                  </a:lnTo>
                  <a:lnTo>
                    <a:pt x="59" y="344"/>
                  </a:lnTo>
                  <a:lnTo>
                    <a:pt x="38" y="344"/>
                  </a:lnTo>
                  <a:lnTo>
                    <a:pt x="27" y="333"/>
                  </a:lnTo>
                  <a:lnTo>
                    <a:pt x="21" y="333"/>
                  </a:lnTo>
                  <a:lnTo>
                    <a:pt x="21" y="322"/>
                  </a:lnTo>
                  <a:lnTo>
                    <a:pt x="27" y="322"/>
                  </a:lnTo>
                  <a:lnTo>
                    <a:pt x="32" y="317"/>
                  </a:lnTo>
                  <a:lnTo>
                    <a:pt x="32" y="295"/>
                  </a:lnTo>
                  <a:lnTo>
                    <a:pt x="21" y="273"/>
                  </a:lnTo>
                  <a:lnTo>
                    <a:pt x="21" y="257"/>
                  </a:lnTo>
                  <a:lnTo>
                    <a:pt x="10" y="240"/>
                  </a:lnTo>
                  <a:lnTo>
                    <a:pt x="5" y="224"/>
                  </a:lnTo>
                  <a:lnTo>
                    <a:pt x="0" y="213"/>
                  </a:lnTo>
                  <a:lnTo>
                    <a:pt x="5" y="219"/>
                  </a:lnTo>
                  <a:lnTo>
                    <a:pt x="5" y="213"/>
                  </a:lnTo>
                  <a:lnTo>
                    <a:pt x="10" y="213"/>
                  </a:lnTo>
                  <a:lnTo>
                    <a:pt x="0" y="186"/>
                  </a:lnTo>
                  <a:lnTo>
                    <a:pt x="0" y="180"/>
                  </a:lnTo>
                  <a:lnTo>
                    <a:pt x="5" y="175"/>
                  </a:lnTo>
                  <a:lnTo>
                    <a:pt x="5" y="159"/>
                  </a:lnTo>
                  <a:lnTo>
                    <a:pt x="10" y="15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1" name="Freeform 653"/>
            <p:cNvSpPr>
              <a:spLocks/>
            </p:cNvSpPr>
            <p:nvPr/>
          </p:nvSpPr>
          <p:spPr bwMode="auto">
            <a:xfrm>
              <a:off x="4440" y="3171"/>
              <a:ext cx="5" cy="5"/>
            </a:xfrm>
            <a:custGeom>
              <a:avLst/>
              <a:gdLst>
                <a:gd name="T0" fmla="*/ 0 w 5"/>
                <a:gd name="T1" fmla="*/ 0 h 5"/>
                <a:gd name="T2" fmla="*/ 5 w 5"/>
                <a:gd name="T3" fmla="*/ 0 h 5"/>
                <a:gd name="T4" fmla="*/ 5 w 5"/>
                <a:gd name="T5" fmla="*/ 5 h 5"/>
                <a:gd name="T6" fmla="*/ 0 w 5"/>
                <a:gd name="T7" fmla="*/ 5 h 5"/>
                <a:gd name="T8" fmla="*/ 0 w 5"/>
                <a:gd name="T9" fmla="*/ 0 h 5"/>
                <a:gd name="T10" fmla="*/ 0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0"/>
                  </a:moveTo>
                  <a:lnTo>
                    <a:pt x="5" y="0"/>
                  </a:lnTo>
                  <a:lnTo>
                    <a:pt x="5"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2" name="Freeform 654"/>
            <p:cNvSpPr>
              <a:spLocks/>
            </p:cNvSpPr>
            <p:nvPr/>
          </p:nvSpPr>
          <p:spPr bwMode="auto">
            <a:xfrm>
              <a:off x="4358" y="3138"/>
              <a:ext cx="17" cy="6"/>
            </a:xfrm>
            <a:custGeom>
              <a:avLst/>
              <a:gdLst>
                <a:gd name="T0" fmla="*/ 0 w 17"/>
                <a:gd name="T1" fmla="*/ 0 h 6"/>
                <a:gd name="T2" fmla="*/ 6 w 17"/>
                <a:gd name="T3" fmla="*/ 0 h 6"/>
                <a:gd name="T4" fmla="*/ 11 w 17"/>
                <a:gd name="T5" fmla="*/ 0 h 6"/>
                <a:gd name="T6" fmla="*/ 17 w 17"/>
                <a:gd name="T7" fmla="*/ 0 h 6"/>
                <a:gd name="T8" fmla="*/ 11 w 17"/>
                <a:gd name="T9" fmla="*/ 6 h 6"/>
                <a:gd name="T10" fmla="*/ 6 w 17"/>
                <a:gd name="T11" fmla="*/ 6 h 6"/>
                <a:gd name="T12" fmla="*/ 0 w 17"/>
                <a:gd name="T13" fmla="*/ 0 h 6"/>
                <a:gd name="T14" fmla="*/ 0 w 17"/>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6"/>
                <a:gd name="T26" fmla="*/ 17 w 17"/>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6">
                  <a:moveTo>
                    <a:pt x="0" y="0"/>
                  </a:moveTo>
                  <a:lnTo>
                    <a:pt x="6" y="0"/>
                  </a:lnTo>
                  <a:lnTo>
                    <a:pt x="11" y="0"/>
                  </a:lnTo>
                  <a:lnTo>
                    <a:pt x="17" y="0"/>
                  </a:lnTo>
                  <a:lnTo>
                    <a:pt x="11" y="6"/>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3" name="Freeform 655"/>
            <p:cNvSpPr>
              <a:spLocks/>
            </p:cNvSpPr>
            <p:nvPr/>
          </p:nvSpPr>
          <p:spPr bwMode="auto">
            <a:xfrm>
              <a:off x="4353" y="3138"/>
              <a:ext cx="11" cy="6"/>
            </a:xfrm>
            <a:custGeom>
              <a:avLst/>
              <a:gdLst>
                <a:gd name="T0" fmla="*/ 5 w 11"/>
                <a:gd name="T1" fmla="*/ 6 h 6"/>
                <a:gd name="T2" fmla="*/ 0 w 11"/>
                <a:gd name="T3" fmla="*/ 6 h 6"/>
                <a:gd name="T4" fmla="*/ 5 w 11"/>
                <a:gd name="T5" fmla="*/ 0 h 6"/>
                <a:gd name="T6" fmla="*/ 11 w 11"/>
                <a:gd name="T7" fmla="*/ 6 h 6"/>
                <a:gd name="T8" fmla="*/ 5 w 11"/>
                <a:gd name="T9" fmla="*/ 6 h 6"/>
                <a:gd name="T10" fmla="*/ 5 w 11"/>
                <a:gd name="T11" fmla="*/ 6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5" y="6"/>
                  </a:moveTo>
                  <a:lnTo>
                    <a:pt x="0" y="6"/>
                  </a:lnTo>
                  <a:lnTo>
                    <a:pt x="5" y="0"/>
                  </a:lnTo>
                  <a:lnTo>
                    <a:pt x="11" y="6"/>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4" name="Freeform 656"/>
            <p:cNvSpPr>
              <a:spLocks/>
            </p:cNvSpPr>
            <p:nvPr/>
          </p:nvSpPr>
          <p:spPr bwMode="auto">
            <a:xfrm>
              <a:off x="4473" y="3204"/>
              <a:ext cx="10" cy="5"/>
            </a:xfrm>
            <a:custGeom>
              <a:avLst/>
              <a:gdLst>
                <a:gd name="T0" fmla="*/ 5 w 10"/>
                <a:gd name="T1" fmla="*/ 0 h 5"/>
                <a:gd name="T2" fmla="*/ 10 w 10"/>
                <a:gd name="T3" fmla="*/ 5 h 5"/>
                <a:gd name="T4" fmla="*/ 5 w 10"/>
                <a:gd name="T5" fmla="*/ 5 h 5"/>
                <a:gd name="T6" fmla="*/ 0 w 10"/>
                <a:gd name="T7" fmla="*/ 5 h 5"/>
                <a:gd name="T8" fmla="*/ 5 w 10"/>
                <a:gd name="T9" fmla="*/ 0 h 5"/>
                <a:gd name="T10" fmla="*/ 5 w 10"/>
                <a:gd name="T11" fmla="*/ 0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5" y="0"/>
                  </a:moveTo>
                  <a:lnTo>
                    <a:pt x="10" y="5"/>
                  </a:lnTo>
                  <a:lnTo>
                    <a:pt x="5" y="5"/>
                  </a:ln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5" name="Freeform 657"/>
            <p:cNvSpPr>
              <a:spLocks/>
            </p:cNvSpPr>
            <p:nvPr/>
          </p:nvSpPr>
          <p:spPr bwMode="auto">
            <a:xfrm>
              <a:off x="4652" y="3318"/>
              <a:ext cx="6" cy="11"/>
            </a:xfrm>
            <a:custGeom>
              <a:avLst/>
              <a:gdLst>
                <a:gd name="T0" fmla="*/ 0 w 6"/>
                <a:gd name="T1" fmla="*/ 0 h 11"/>
                <a:gd name="T2" fmla="*/ 6 w 6"/>
                <a:gd name="T3" fmla="*/ 6 h 11"/>
                <a:gd name="T4" fmla="*/ 0 w 6"/>
                <a:gd name="T5" fmla="*/ 11 h 11"/>
                <a:gd name="T6" fmla="*/ 0 w 6"/>
                <a:gd name="T7" fmla="*/ 0 h 11"/>
                <a:gd name="T8" fmla="*/ 0 w 6"/>
                <a:gd name="T9" fmla="*/ 0 h 11"/>
                <a:gd name="T10" fmla="*/ 0 60000 65536"/>
                <a:gd name="T11" fmla="*/ 0 60000 65536"/>
                <a:gd name="T12" fmla="*/ 0 60000 65536"/>
                <a:gd name="T13" fmla="*/ 0 60000 65536"/>
                <a:gd name="T14" fmla="*/ 0 60000 65536"/>
                <a:gd name="T15" fmla="*/ 0 w 6"/>
                <a:gd name="T16" fmla="*/ 0 h 11"/>
                <a:gd name="T17" fmla="*/ 6 w 6"/>
                <a:gd name="T18" fmla="*/ 11 h 11"/>
              </a:gdLst>
              <a:ahLst/>
              <a:cxnLst>
                <a:cxn ang="T10">
                  <a:pos x="T0" y="T1"/>
                </a:cxn>
                <a:cxn ang="T11">
                  <a:pos x="T2" y="T3"/>
                </a:cxn>
                <a:cxn ang="T12">
                  <a:pos x="T4" y="T5"/>
                </a:cxn>
                <a:cxn ang="T13">
                  <a:pos x="T6" y="T7"/>
                </a:cxn>
                <a:cxn ang="T14">
                  <a:pos x="T8" y="T9"/>
                </a:cxn>
              </a:cxnLst>
              <a:rect l="T15" t="T16" r="T17" b="T18"/>
              <a:pathLst>
                <a:path w="6" h="11">
                  <a:moveTo>
                    <a:pt x="0" y="0"/>
                  </a:moveTo>
                  <a:lnTo>
                    <a:pt x="6" y="6"/>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6" name="Freeform 658"/>
            <p:cNvSpPr>
              <a:spLocks/>
            </p:cNvSpPr>
            <p:nvPr/>
          </p:nvSpPr>
          <p:spPr bwMode="auto">
            <a:xfrm>
              <a:off x="4146" y="2925"/>
              <a:ext cx="22" cy="17"/>
            </a:xfrm>
            <a:custGeom>
              <a:avLst/>
              <a:gdLst>
                <a:gd name="T0" fmla="*/ 0 w 22"/>
                <a:gd name="T1" fmla="*/ 6 h 17"/>
                <a:gd name="T2" fmla="*/ 16 w 22"/>
                <a:gd name="T3" fmla="*/ 0 h 17"/>
                <a:gd name="T4" fmla="*/ 16 w 22"/>
                <a:gd name="T5" fmla="*/ 6 h 17"/>
                <a:gd name="T6" fmla="*/ 22 w 22"/>
                <a:gd name="T7" fmla="*/ 11 h 17"/>
                <a:gd name="T8" fmla="*/ 16 w 22"/>
                <a:gd name="T9" fmla="*/ 6 h 17"/>
                <a:gd name="T10" fmla="*/ 11 w 22"/>
                <a:gd name="T11" fmla="*/ 17 h 17"/>
                <a:gd name="T12" fmla="*/ 0 w 22"/>
                <a:gd name="T13" fmla="*/ 6 h 17"/>
                <a:gd name="T14" fmla="*/ 0 w 22"/>
                <a:gd name="T15" fmla="*/ 6 h 17"/>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7"/>
                <a:gd name="T26" fmla="*/ 22 w 22"/>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7">
                  <a:moveTo>
                    <a:pt x="0" y="6"/>
                  </a:moveTo>
                  <a:lnTo>
                    <a:pt x="16" y="0"/>
                  </a:lnTo>
                  <a:lnTo>
                    <a:pt x="16" y="6"/>
                  </a:lnTo>
                  <a:lnTo>
                    <a:pt x="22" y="11"/>
                  </a:lnTo>
                  <a:lnTo>
                    <a:pt x="16" y="6"/>
                  </a:lnTo>
                  <a:lnTo>
                    <a:pt x="11" y="17"/>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7" name="Freeform 659"/>
            <p:cNvSpPr>
              <a:spLocks/>
            </p:cNvSpPr>
            <p:nvPr/>
          </p:nvSpPr>
          <p:spPr bwMode="auto">
            <a:xfrm>
              <a:off x="4500" y="3024"/>
              <a:ext cx="125" cy="103"/>
            </a:xfrm>
            <a:custGeom>
              <a:avLst/>
              <a:gdLst>
                <a:gd name="T0" fmla="*/ 0 w 125"/>
                <a:gd name="T1" fmla="*/ 32 h 103"/>
                <a:gd name="T2" fmla="*/ 0 w 125"/>
                <a:gd name="T3" fmla="*/ 0 h 103"/>
                <a:gd name="T4" fmla="*/ 43 w 125"/>
                <a:gd name="T5" fmla="*/ 16 h 103"/>
                <a:gd name="T6" fmla="*/ 54 w 125"/>
                <a:gd name="T7" fmla="*/ 27 h 103"/>
                <a:gd name="T8" fmla="*/ 60 w 125"/>
                <a:gd name="T9" fmla="*/ 38 h 103"/>
                <a:gd name="T10" fmla="*/ 81 w 125"/>
                <a:gd name="T11" fmla="*/ 49 h 103"/>
                <a:gd name="T12" fmla="*/ 87 w 125"/>
                <a:gd name="T13" fmla="*/ 54 h 103"/>
                <a:gd name="T14" fmla="*/ 76 w 125"/>
                <a:gd name="T15" fmla="*/ 54 h 103"/>
                <a:gd name="T16" fmla="*/ 81 w 125"/>
                <a:gd name="T17" fmla="*/ 65 h 103"/>
                <a:gd name="T18" fmla="*/ 87 w 125"/>
                <a:gd name="T19" fmla="*/ 71 h 103"/>
                <a:gd name="T20" fmla="*/ 98 w 125"/>
                <a:gd name="T21" fmla="*/ 82 h 103"/>
                <a:gd name="T22" fmla="*/ 103 w 125"/>
                <a:gd name="T23" fmla="*/ 82 h 103"/>
                <a:gd name="T24" fmla="*/ 103 w 125"/>
                <a:gd name="T25" fmla="*/ 87 h 103"/>
                <a:gd name="T26" fmla="*/ 114 w 125"/>
                <a:gd name="T27" fmla="*/ 92 h 103"/>
                <a:gd name="T28" fmla="*/ 114 w 125"/>
                <a:gd name="T29" fmla="*/ 98 h 103"/>
                <a:gd name="T30" fmla="*/ 125 w 125"/>
                <a:gd name="T31" fmla="*/ 98 h 103"/>
                <a:gd name="T32" fmla="*/ 120 w 125"/>
                <a:gd name="T33" fmla="*/ 103 h 103"/>
                <a:gd name="T34" fmla="*/ 120 w 125"/>
                <a:gd name="T35" fmla="*/ 103 h 103"/>
                <a:gd name="T36" fmla="*/ 120 w 125"/>
                <a:gd name="T37" fmla="*/ 103 h 103"/>
                <a:gd name="T38" fmla="*/ 114 w 125"/>
                <a:gd name="T39" fmla="*/ 103 h 103"/>
                <a:gd name="T40" fmla="*/ 87 w 125"/>
                <a:gd name="T41" fmla="*/ 98 h 103"/>
                <a:gd name="T42" fmla="*/ 76 w 125"/>
                <a:gd name="T43" fmla="*/ 87 h 103"/>
                <a:gd name="T44" fmla="*/ 76 w 125"/>
                <a:gd name="T45" fmla="*/ 87 h 103"/>
                <a:gd name="T46" fmla="*/ 71 w 125"/>
                <a:gd name="T47" fmla="*/ 82 h 103"/>
                <a:gd name="T48" fmla="*/ 65 w 125"/>
                <a:gd name="T49" fmla="*/ 76 h 103"/>
                <a:gd name="T50" fmla="*/ 43 w 125"/>
                <a:gd name="T51" fmla="*/ 65 h 103"/>
                <a:gd name="T52" fmla="*/ 38 w 125"/>
                <a:gd name="T53" fmla="*/ 65 h 103"/>
                <a:gd name="T54" fmla="*/ 32 w 125"/>
                <a:gd name="T55" fmla="*/ 65 h 103"/>
                <a:gd name="T56" fmla="*/ 32 w 125"/>
                <a:gd name="T57" fmla="*/ 71 h 103"/>
                <a:gd name="T58" fmla="*/ 32 w 125"/>
                <a:gd name="T59" fmla="*/ 71 h 103"/>
                <a:gd name="T60" fmla="*/ 32 w 125"/>
                <a:gd name="T61" fmla="*/ 71 h 103"/>
                <a:gd name="T62" fmla="*/ 22 w 125"/>
                <a:gd name="T63" fmla="*/ 76 h 103"/>
                <a:gd name="T64" fmla="*/ 27 w 125"/>
                <a:gd name="T65" fmla="*/ 82 h 103"/>
                <a:gd name="T66" fmla="*/ 22 w 125"/>
                <a:gd name="T67" fmla="*/ 87 h 103"/>
                <a:gd name="T68" fmla="*/ 0 w 125"/>
                <a:gd name="T69" fmla="*/ 87 h 103"/>
                <a:gd name="T70" fmla="*/ 0 w 125"/>
                <a:gd name="T71" fmla="*/ 54 h 103"/>
                <a:gd name="T72" fmla="*/ 0 w 125"/>
                <a:gd name="T73" fmla="*/ 32 h 103"/>
                <a:gd name="T74" fmla="*/ 0 w 125"/>
                <a:gd name="T75" fmla="*/ 32 h 10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5"/>
                <a:gd name="T115" fmla="*/ 0 h 103"/>
                <a:gd name="T116" fmla="*/ 125 w 125"/>
                <a:gd name="T117" fmla="*/ 103 h 10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5" h="103">
                  <a:moveTo>
                    <a:pt x="0" y="32"/>
                  </a:moveTo>
                  <a:lnTo>
                    <a:pt x="0" y="0"/>
                  </a:lnTo>
                  <a:lnTo>
                    <a:pt x="43" y="16"/>
                  </a:lnTo>
                  <a:lnTo>
                    <a:pt x="54" y="27"/>
                  </a:lnTo>
                  <a:lnTo>
                    <a:pt x="60" y="38"/>
                  </a:lnTo>
                  <a:lnTo>
                    <a:pt x="81" y="49"/>
                  </a:lnTo>
                  <a:lnTo>
                    <a:pt x="87" y="54"/>
                  </a:lnTo>
                  <a:lnTo>
                    <a:pt x="76" y="54"/>
                  </a:lnTo>
                  <a:lnTo>
                    <a:pt x="81" y="65"/>
                  </a:lnTo>
                  <a:lnTo>
                    <a:pt x="87" y="71"/>
                  </a:lnTo>
                  <a:lnTo>
                    <a:pt x="98" y="82"/>
                  </a:lnTo>
                  <a:lnTo>
                    <a:pt x="103" y="82"/>
                  </a:lnTo>
                  <a:lnTo>
                    <a:pt x="103" y="87"/>
                  </a:lnTo>
                  <a:lnTo>
                    <a:pt x="114" y="92"/>
                  </a:lnTo>
                  <a:lnTo>
                    <a:pt x="114" y="98"/>
                  </a:lnTo>
                  <a:lnTo>
                    <a:pt x="125" y="98"/>
                  </a:lnTo>
                  <a:lnTo>
                    <a:pt x="120" y="103"/>
                  </a:lnTo>
                  <a:lnTo>
                    <a:pt x="114" y="103"/>
                  </a:lnTo>
                  <a:lnTo>
                    <a:pt x="87" y="98"/>
                  </a:lnTo>
                  <a:lnTo>
                    <a:pt x="76" y="87"/>
                  </a:lnTo>
                  <a:lnTo>
                    <a:pt x="71" y="82"/>
                  </a:lnTo>
                  <a:lnTo>
                    <a:pt x="65" y="76"/>
                  </a:lnTo>
                  <a:lnTo>
                    <a:pt x="43" y="65"/>
                  </a:lnTo>
                  <a:lnTo>
                    <a:pt x="38" y="65"/>
                  </a:lnTo>
                  <a:lnTo>
                    <a:pt x="32" y="65"/>
                  </a:lnTo>
                  <a:lnTo>
                    <a:pt x="32" y="71"/>
                  </a:lnTo>
                  <a:lnTo>
                    <a:pt x="22" y="76"/>
                  </a:lnTo>
                  <a:lnTo>
                    <a:pt x="27" y="82"/>
                  </a:lnTo>
                  <a:lnTo>
                    <a:pt x="22" y="87"/>
                  </a:lnTo>
                  <a:lnTo>
                    <a:pt x="0" y="87"/>
                  </a:lnTo>
                  <a:lnTo>
                    <a:pt x="0" y="54"/>
                  </a:lnTo>
                  <a:lnTo>
                    <a:pt x="0" y="3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8" name="Freeform 660"/>
            <p:cNvSpPr>
              <a:spLocks/>
            </p:cNvSpPr>
            <p:nvPr/>
          </p:nvSpPr>
          <p:spPr bwMode="auto">
            <a:xfrm>
              <a:off x="4190" y="2844"/>
              <a:ext cx="32" cy="38"/>
            </a:xfrm>
            <a:custGeom>
              <a:avLst/>
              <a:gdLst>
                <a:gd name="T0" fmla="*/ 27 w 32"/>
                <a:gd name="T1" fmla="*/ 0 h 38"/>
                <a:gd name="T2" fmla="*/ 32 w 32"/>
                <a:gd name="T3" fmla="*/ 16 h 38"/>
                <a:gd name="T4" fmla="*/ 21 w 32"/>
                <a:gd name="T5" fmla="*/ 21 h 38"/>
                <a:gd name="T6" fmla="*/ 21 w 32"/>
                <a:gd name="T7" fmla="*/ 21 h 38"/>
                <a:gd name="T8" fmla="*/ 10 w 32"/>
                <a:gd name="T9" fmla="*/ 32 h 38"/>
                <a:gd name="T10" fmla="*/ 0 w 32"/>
                <a:gd name="T11" fmla="*/ 38 h 38"/>
                <a:gd name="T12" fmla="*/ 5 w 32"/>
                <a:gd name="T13" fmla="*/ 32 h 38"/>
                <a:gd name="T14" fmla="*/ 27 w 32"/>
                <a:gd name="T15" fmla="*/ 16 h 38"/>
                <a:gd name="T16" fmla="*/ 27 w 32"/>
                <a:gd name="T17" fmla="*/ 0 h 38"/>
                <a:gd name="T18" fmla="*/ 27 w 32"/>
                <a:gd name="T19" fmla="*/ 0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8"/>
                <a:gd name="T32" fmla="*/ 32 w 32"/>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8">
                  <a:moveTo>
                    <a:pt x="27" y="0"/>
                  </a:moveTo>
                  <a:lnTo>
                    <a:pt x="32" y="16"/>
                  </a:lnTo>
                  <a:lnTo>
                    <a:pt x="21" y="21"/>
                  </a:lnTo>
                  <a:lnTo>
                    <a:pt x="10" y="32"/>
                  </a:lnTo>
                  <a:lnTo>
                    <a:pt x="0" y="38"/>
                  </a:lnTo>
                  <a:lnTo>
                    <a:pt x="5" y="32"/>
                  </a:lnTo>
                  <a:lnTo>
                    <a:pt x="27" y="16"/>
                  </a:lnTo>
                  <a:lnTo>
                    <a:pt x="2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39" name="Freeform 661"/>
            <p:cNvSpPr>
              <a:spLocks/>
            </p:cNvSpPr>
            <p:nvPr/>
          </p:nvSpPr>
          <p:spPr bwMode="auto">
            <a:xfrm>
              <a:off x="4222" y="2925"/>
              <a:ext cx="6" cy="0"/>
            </a:xfrm>
            <a:custGeom>
              <a:avLst/>
              <a:gdLst>
                <a:gd name="T0" fmla="*/ 0 w 6"/>
                <a:gd name="T1" fmla="*/ 0 w 6"/>
                <a:gd name="T2" fmla="*/ 6 w 6"/>
                <a:gd name="T3" fmla="*/ 0 w 6"/>
                <a:gd name="T4" fmla="*/ 0 w 6"/>
                <a:gd name="T5" fmla="*/ 0 60000 65536"/>
                <a:gd name="T6" fmla="*/ 0 60000 65536"/>
                <a:gd name="T7" fmla="*/ 0 60000 65536"/>
                <a:gd name="T8" fmla="*/ 0 60000 65536"/>
                <a:gd name="T9" fmla="*/ 0 60000 65536"/>
                <a:gd name="T10" fmla="*/ 0 w 6"/>
                <a:gd name="T11" fmla="*/ 6 w 6"/>
              </a:gdLst>
              <a:ahLst/>
              <a:cxnLst>
                <a:cxn ang="T5">
                  <a:pos x="T0" y="0"/>
                </a:cxn>
                <a:cxn ang="T6">
                  <a:pos x="T1" y="0"/>
                </a:cxn>
                <a:cxn ang="T7">
                  <a:pos x="T2" y="0"/>
                </a:cxn>
                <a:cxn ang="T8">
                  <a:pos x="T3" y="0"/>
                </a:cxn>
                <a:cxn ang="T9">
                  <a:pos x="T4" y="0"/>
                </a:cxn>
              </a:cxnLst>
              <a:rect l="T10" t="0" r="T11" b="0"/>
              <a:pathLst>
                <a:path w="6">
                  <a:moveTo>
                    <a:pt x="0" y="0"/>
                  </a:moveTo>
                  <a:lnTo>
                    <a:pt x="0" y="0"/>
                  </a:lnTo>
                  <a:lnTo>
                    <a:pt x="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0" name="Freeform 662"/>
            <p:cNvSpPr>
              <a:spLocks/>
            </p:cNvSpPr>
            <p:nvPr/>
          </p:nvSpPr>
          <p:spPr bwMode="auto">
            <a:xfrm>
              <a:off x="4239" y="2915"/>
              <a:ext cx="5" cy="0"/>
            </a:xfrm>
            <a:custGeom>
              <a:avLst/>
              <a:gdLst>
                <a:gd name="T0" fmla="*/ 0 w 5"/>
                <a:gd name="T1" fmla="*/ 0 w 5"/>
                <a:gd name="T2" fmla="*/ 5 w 5"/>
                <a:gd name="T3" fmla="*/ 5 w 5"/>
                <a:gd name="T4" fmla="*/ 0 w 5"/>
                <a:gd name="T5" fmla="*/ 0 w 5"/>
                <a:gd name="T6" fmla="*/ 0 60000 65536"/>
                <a:gd name="T7" fmla="*/ 0 60000 65536"/>
                <a:gd name="T8" fmla="*/ 0 60000 65536"/>
                <a:gd name="T9" fmla="*/ 0 60000 65536"/>
                <a:gd name="T10" fmla="*/ 0 60000 65536"/>
                <a:gd name="T11" fmla="*/ 0 60000 65536"/>
                <a:gd name="T12" fmla="*/ 0 w 5"/>
                <a:gd name="T13" fmla="*/ 5 w 5"/>
              </a:gdLst>
              <a:ahLst/>
              <a:cxnLst>
                <a:cxn ang="T6">
                  <a:pos x="T0" y="0"/>
                </a:cxn>
                <a:cxn ang="T7">
                  <a:pos x="T1" y="0"/>
                </a:cxn>
                <a:cxn ang="T8">
                  <a:pos x="T2" y="0"/>
                </a:cxn>
                <a:cxn ang="T9">
                  <a:pos x="T3" y="0"/>
                </a:cxn>
                <a:cxn ang="T10">
                  <a:pos x="T4" y="0"/>
                </a:cxn>
                <a:cxn ang="T11">
                  <a:pos x="T5" y="0"/>
                </a:cxn>
              </a:cxnLst>
              <a:rect l="T12" t="0" r="T13" b="0"/>
              <a:pathLst>
                <a:path w="5">
                  <a:moveTo>
                    <a:pt x="0" y="0"/>
                  </a:moveTo>
                  <a:lnTo>
                    <a:pt x="0" y="0"/>
                  </a:lnTo>
                  <a:lnTo>
                    <a:pt x="5"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1" name="Freeform 663"/>
            <p:cNvSpPr>
              <a:spLocks/>
            </p:cNvSpPr>
            <p:nvPr/>
          </p:nvSpPr>
          <p:spPr bwMode="auto">
            <a:xfrm>
              <a:off x="4249" y="2909"/>
              <a:ext cx="6" cy="0"/>
            </a:xfrm>
            <a:custGeom>
              <a:avLst/>
              <a:gdLst>
                <a:gd name="T0" fmla="*/ 0 w 6"/>
                <a:gd name="T1" fmla="*/ 6 w 6"/>
                <a:gd name="T2" fmla="*/ 0 w 6"/>
                <a:gd name="T3" fmla="*/ 0 w 6"/>
                <a:gd name="T4" fmla="*/ 0 w 6"/>
                <a:gd name="T5" fmla="*/ 0 60000 65536"/>
                <a:gd name="T6" fmla="*/ 0 60000 65536"/>
                <a:gd name="T7" fmla="*/ 0 60000 65536"/>
                <a:gd name="T8" fmla="*/ 0 60000 65536"/>
                <a:gd name="T9" fmla="*/ 0 60000 65536"/>
                <a:gd name="T10" fmla="*/ 0 w 6"/>
                <a:gd name="T11" fmla="*/ 6 w 6"/>
              </a:gdLst>
              <a:ahLst/>
              <a:cxnLst>
                <a:cxn ang="T5">
                  <a:pos x="T0" y="0"/>
                </a:cxn>
                <a:cxn ang="T6">
                  <a:pos x="T1" y="0"/>
                </a:cxn>
                <a:cxn ang="T7">
                  <a:pos x="T2" y="0"/>
                </a:cxn>
                <a:cxn ang="T8">
                  <a:pos x="T3" y="0"/>
                </a:cxn>
                <a:cxn ang="T9">
                  <a:pos x="T4" y="0"/>
                </a:cxn>
              </a:cxnLst>
              <a:rect l="T10" t="0" r="T11" b="0"/>
              <a:pathLst>
                <a:path w="6">
                  <a:moveTo>
                    <a:pt x="0" y="0"/>
                  </a:moveTo>
                  <a:lnTo>
                    <a:pt x="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2" name="Freeform 664"/>
            <p:cNvSpPr>
              <a:spLocks/>
            </p:cNvSpPr>
            <p:nvPr/>
          </p:nvSpPr>
          <p:spPr bwMode="auto">
            <a:xfrm>
              <a:off x="4249" y="2865"/>
              <a:ext cx="60" cy="55"/>
            </a:xfrm>
            <a:custGeom>
              <a:avLst/>
              <a:gdLst>
                <a:gd name="T0" fmla="*/ 44 w 60"/>
                <a:gd name="T1" fmla="*/ 0 h 55"/>
                <a:gd name="T2" fmla="*/ 49 w 60"/>
                <a:gd name="T3" fmla="*/ 0 h 55"/>
                <a:gd name="T4" fmla="*/ 55 w 60"/>
                <a:gd name="T5" fmla="*/ 11 h 55"/>
                <a:gd name="T6" fmla="*/ 55 w 60"/>
                <a:gd name="T7" fmla="*/ 11 h 55"/>
                <a:gd name="T8" fmla="*/ 55 w 60"/>
                <a:gd name="T9" fmla="*/ 17 h 55"/>
                <a:gd name="T10" fmla="*/ 55 w 60"/>
                <a:gd name="T11" fmla="*/ 17 h 55"/>
                <a:gd name="T12" fmla="*/ 60 w 60"/>
                <a:gd name="T13" fmla="*/ 28 h 55"/>
                <a:gd name="T14" fmla="*/ 55 w 60"/>
                <a:gd name="T15" fmla="*/ 44 h 55"/>
                <a:gd name="T16" fmla="*/ 55 w 60"/>
                <a:gd name="T17" fmla="*/ 33 h 55"/>
                <a:gd name="T18" fmla="*/ 49 w 60"/>
                <a:gd name="T19" fmla="*/ 39 h 55"/>
                <a:gd name="T20" fmla="*/ 44 w 60"/>
                <a:gd name="T21" fmla="*/ 44 h 55"/>
                <a:gd name="T22" fmla="*/ 49 w 60"/>
                <a:gd name="T23" fmla="*/ 50 h 55"/>
                <a:gd name="T24" fmla="*/ 49 w 60"/>
                <a:gd name="T25" fmla="*/ 55 h 55"/>
                <a:gd name="T26" fmla="*/ 44 w 60"/>
                <a:gd name="T27" fmla="*/ 50 h 55"/>
                <a:gd name="T28" fmla="*/ 39 w 60"/>
                <a:gd name="T29" fmla="*/ 50 h 55"/>
                <a:gd name="T30" fmla="*/ 33 w 60"/>
                <a:gd name="T31" fmla="*/ 44 h 55"/>
                <a:gd name="T32" fmla="*/ 28 w 60"/>
                <a:gd name="T33" fmla="*/ 39 h 55"/>
                <a:gd name="T34" fmla="*/ 33 w 60"/>
                <a:gd name="T35" fmla="*/ 33 h 55"/>
                <a:gd name="T36" fmla="*/ 22 w 60"/>
                <a:gd name="T37" fmla="*/ 28 h 55"/>
                <a:gd name="T38" fmla="*/ 22 w 60"/>
                <a:gd name="T39" fmla="*/ 33 h 55"/>
                <a:gd name="T40" fmla="*/ 17 w 60"/>
                <a:gd name="T41" fmla="*/ 28 h 55"/>
                <a:gd name="T42" fmla="*/ 11 w 60"/>
                <a:gd name="T43" fmla="*/ 33 h 55"/>
                <a:gd name="T44" fmla="*/ 11 w 60"/>
                <a:gd name="T45" fmla="*/ 28 h 55"/>
                <a:gd name="T46" fmla="*/ 11 w 60"/>
                <a:gd name="T47" fmla="*/ 28 h 55"/>
                <a:gd name="T48" fmla="*/ 6 w 60"/>
                <a:gd name="T49" fmla="*/ 39 h 55"/>
                <a:gd name="T50" fmla="*/ 0 w 60"/>
                <a:gd name="T51" fmla="*/ 39 h 55"/>
                <a:gd name="T52" fmla="*/ 0 w 60"/>
                <a:gd name="T53" fmla="*/ 33 h 55"/>
                <a:gd name="T54" fmla="*/ 6 w 60"/>
                <a:gd name="T55" fmla="*/ 22 h 55"/>
                <a:gd name="T56" fmla="*/ 11 w 60"/>
                <a:gd name="T57" fmla="*/ 22 h 55"/>
                <a:gd name="T58" fmla="*/ 22 w 60"/>
                <a:gd name="T59" fmla="*/ 17 h 55"/>
                <a:gd name="T60" fmla="*/ 22 w 60"/>
                <a:gd name="T61" fmla="*/ 17 h 55"/>
                <a:gd name="T62" fmla="*/ 22 w 60"/>
                <a:gd name="T63" fmla="*/ 22 h 55"/>
                <a:gd name="T64" fmla="*/ 28 w 60"/>
                <a:gd name="T65" fmla="*/ 22 h 55"/>
                <a:gd name="T66" fmla="*/ 33 w 60"/>
                <a:gd name="T67" fmla="*/ 17 h 55"/>
                <a:gd name="T68" fmla="*/ 39 w 60"/>
                <a:gd name="T69" fmla="*/ 17 h 55"/>
                <a:gd name="T70" fmla="*/ 39 w 60"/>
                <a:gd name="T71" fmla="*/ 11 h 55"/>
                <a:gd name="T72" fmla="*/ 49 w 60"/>
                <a:gd name="T73" fmla="*/ 11 h 55"/>
                <a:gd name="T74" fmla="*/ 44 w 60"/>
                <a:gd name="T75" fmla="*/ 0 h 55"/>
                <a:gd name="T76" fmla="*/ 44 w 60"/>
                <a:gd name="T77" fmla="*/ 0 h 5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0"/>
                <a:gd name="T118" fmla="*/ 0 h 55"/>
                <a:gd name="T119" fmla="*/ 60 w 60"/>
                <a:gd name="T120" fmla="*/ 55 h 5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0" h="55">
                  <a:moveTo>
                    <a:pt x="44" y="0"/>
                  </a:moveTo>
                  <a:lnTo>
                    <a:pt x="49" y="0"/>
                  </a:lnTo>
                  <a:lnTo>
                    <a:pt x="55" y="11"/>
                  </a:lnTo>
                  <a:lnTo>
                    <a:pt x="55" y="17"/>
                  </a:lnTo>
                  <a:lnTo>
                    <a:pt x="60" y="28"/>
                  </a:lnTo>
                  <a:lnTo>
                    <a:pt x="55" y="44"/>
                  </a:lnTo>
                  <a:lnTo>
                    <a:pt x="55" y="33"/>
                  </a:lnTo>
                  <a:lnTo>
                    <a:pt x="49" y="39"/>
                  </a:lnTo>
                  <a:lnTo>
                    <a:pt x="44" y="44"/>
                  </a:lnTo>
                  <a:lnTo>
                    <a:pt x="49" y="50"/>
                  </a:lnTo>
                  <a:lnTo>
                    <a:pt x="49" y="55"/>
                  </a:lnTo>
                  <a:lnTo>
                    <a:pt x="44" y="50"/>
                  </a:lnTo>
                  <a:lnTo>
                    <a:pt x="39" y="50"/>
                  </a:lnTo>
                  <a:lnTo>
                    <a:pt x="33" y="44"/>
                  </a:lnTo>
                  <a:lnTo>
                    <a:pt x="28" y="39"/>
                  </a:lnTo>
                  <a:lnTo>
                    <a:pt x="33" y="33"/>
                  </a:lnTo>
                  <a:lnTo>
                    <a:pt x="22" y="28"/>
                  </a:lnTo>
                  <a:lnTo>
                    <a:pt x="22" y="33"/>
                  </a:lnTo>
                  <a:lnTo>
                    <a:pt x="17" y="28"/>
                  </a:lnTo>
                  <a:lnTo>
                    <a:pt x="11" y="33"/>
                  </a:lnTo>
                  <a:lnTo>
                    <a:pt x="11" y="28"/>
                  </a:lnTo>
                  <a:lnTo>
                    <a:pt x="6" y="39"/>
                  </a:lnTo>
                  <a:lnTo>
                    <a:pt x="0" y="39"/>
                  </a:lnTo>
                  <a:lnTo>
                    <a:pt x="0" y="33"/>
                  </a:lnTo>
                  <a:lnTo>
                    <a:pt x="6" y="22"/>
                  </a:lnTo>
                  <a:lnTo>
                    <a:pt x="11" y="22"/>
                  </a:lnTo>
                  <a:lnTo>
                    <a:pt x="22" y="17"/>
                  </a:lnTo>
                  <a:lnTo>
                    <a:pt x="22" y="22"/>
                  </a:lnTo>
                  <a:lnTo>
                    <a:pt x="28" y="22"/>
                  </a:lnTo>
                  <a:lnTo>
                    <a:pt x="33" y="17"/>
                  </a:lnTo>
                  <a:lnTo>
                    <a:pt x="39" y="17"/>
                  </a:lnTo>
                  <a:lnTo>
                    <a:pt x="39" y="11"/>
                  </a:lnTo>
                  <a:lnTo>
                    <a:pt x="49" y="11"/>
                  </a:lnTo>
                  <a:lnTo>
                    <a:pt x="44"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3" name="Freeform 665"/>
            <p:cNvSpPr>
              <a:spLocks/>
            </p:cNvSpPr>
            <p:nvPr/>
          </p:nvSpPr>
          <p:spPr bwMode="auto">
            <a:xfrm>
              <a:off x="4277" y="2860"/>
              <a:ext cx="11" cy="5"/>
            </a:xfrm>
            <a:custGeom>
              <a:avLst/>
              <a:gdLst>
                <a:gd name="T0" fmla="*/ 0 w 11"/>
                <a:gd name="T1" fmla="*/ 5 h 5"/>
                <a:gd name="T2" fmla="*/ 5 w 11"/>
                <a:gd name="T3" fmla="*/ 0 h 5"/>
                <a:gd name="T4" fmla="*/ 11 w 11"/>
                <a:gd name="T5" fmla="*/ 0 h 5"/>
                <a:gd name="T6" fmla="*/ 5 w 11"/>
                <a:gd name="T7" fmla="*/ 5 h 5"/>
                <a:gd name="T8" fmla="*/ 0 w 11"/>
                <a:gd name="T9" fmla="*/ 5 h 5"/>
                <a:gd name="T10" fmla="*/ 0 w 11"/>
                <a:gd name="T11" fmla="*/ 5 h 5"/>
                <a:gd name="T12" fmla="*/ 0 w 11"/>
                <a:gd name="T13" fmla="*/ 5 h 5"/>
                <a:gd name="T14" fmla="*/ 0 60000 65536"/>
                <a:gd name="T15" fmla="*/ 0 60000 65536"/>
                <a:gd name="T16" fmla="*/ 0 60000 65536"/>
                <a:gd name="T17" fmla="*/ 0 60000 65536"/>
                <a:gd name="T18" fmla="*/ 0 60000 65536"/>
                <a:gd name="T19" fmla="*/ 0 60000 65536"/>
                <a:gd name="T20" fmla="*/ 0 60000 65536"/>
                <a:gd name="T21" fmla="*/ 0 w 11"/>
                <a:gd name="T22" fmla="*/ 0 h 5"/>
                <a:gd name="T23" fmla="*/ 11 w 11"/>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5">
                  <a:moveTo>
                    <a:pt x="0" y="5"/>
                  </a:moveTo>
                  <a:lnTo>
                    <a:pt x="5" y="0"/>
                  </a:lnTo>
                  <a:lnTo>
                    <a:pt x="11" y="0"/>
                  </a:lnTo>
                  <a:lnTo>
                    <a:pt x="5"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4" name="Freeform 666"/>
            <p:cNvSpPr>
              <a:spLocks/>
            </p:cNvSpPr>
            <p:nvPr/>
          </p:nvSpPr>
          <p:spPr bwMode="auto">
            <a:xfrm>
              <a:off x="4271" y="2849"/>
              <a:ext cx="6" cy="22"/>
            </a:xfrm>
            <a:custGeom>
              <a:avLst/>
              <a:gdLst>
                <a:gd name="T0" fmla="*/ 6 w 6"/>
                <a:gd name="T1" fmla="*/ 0 h 22"/>
                <a:gd name="T2" fmla="*/ 6 w 6"/>
                <a:gd name="T3" fmla="*/ 11 h 22"/>
                <a:gd name="T4" fmla="*/ 0 w 6"/>
                <a:gd name="T5" fmla="*/ 22 h 22"/>
                <a:gd name="T6" fmla="*/ 0 w 6"/>
                <a:gd name="T7" fmla="*/ 16 h 22"/>
                <a:gd name="T8" fmla="*/ 6 w 6"/>
                <a:gd name="T9" fmla="*/ 0 h 22"/>
                <a:gd name="T10" fmla="*/ 6 w 6"/>
                <a:gd name="T11" fmla="*/ 0 h 22"/>
                <a:gd name="T12" fmla="*/ 0 60000 65536"/>
                <a:gd name="T13" fmla="*/ 0 60000 65536"/>
                <a:gd name="T14" fmla="*/ 0 60000 65536"/>
                <a:gd name="T15" fmla="*/ 0 60000 65536"/>
                <a:gd name="T16" fmla="*/ 0 60000 65536"/>
                <a:gd name="T17" fmla="*/ 0 60000 65536"/>
                <a:gd name="T18" fmla="*/ 0 w 6"/>
                <a:gd name="T19" fmla="*/ 0 h 22"/>
                <a:gd name="T20" fmla="*/ 6 w 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6" h="22">
                  <a:moveTo>
                    <a:pt x="6" y="0"/>
                  </a:moveTo>
                  <a:lnTo>
                    <a:pt x="6" y="11"/>
                  </a:lnTo>
                  <a:lnTo>
                    <a:pt x="0" y="22"/>
                  </a:lnTo>
                  <a:lnTo>
                    <a:pt x="0" y="1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5" name="Freeform 667"/>
            <p:cNvSpPr>
              <a:spLocks/>
            </p:cNvSpPr>
            <p:nvPr/>
          </p:nvSpPr>
          <p:spPr bwMode="auto">
            <a:xfrm>
              <a:off x="4298" y="2860"/>
              <a:ext cx="0" cy="5"/>
            </a:xfrm>
            <a:custGeom>
              <a:avLst/>
              <a:gdLst>
                <a:gd name="T0" fmla="*/ 0 h 5"/>
                <a:gd name="T1" fmla="*/ 0 h 5"/>
                <a:gd name="T2" fmla="*/ 5 h 5"/>
                <a:gd name="T3" fmla="*/ 0 h 5"/>
                <a:gd name="T4" fmla="*/ 0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0"/>
                  </a:moveTo>
                  <a:lnTo>
                    <a:pt x="0"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6" name="Freeform 668"/>
            <p:cNvSpPr>
              <a:spLocks/>
            </p:cNvSpPr>
            <p:nvPr/>
          </p:nvSpPr>
          <p:spPr bwMode="auto">
            <a:xfrm>
              <a:off x="4282" y="2844"/>
              <a:ext cx="11" cy="16"/>
            </a:xfrm>
            <a:custGeom>
              <a:avLst/>
              <a:gdLst>
                <a:gd name="T0" fmla="*/ 0 w 11"/>
                <a:gd name="T1" fmla="*/ 0 h 16"/>
                <a:gd name="T2" fmla="*/ 6 w 11"/>
                <a:gd name="T3" fmla="*/ 5 h 16"/>
                <a:gd name="T4" fmla="*/ 11 w 11"/>
                <a:gd name="T5" fmla="*/ 16 h 16"/>
                <a:gd name="T6" fmla="*/ 6 w 11"/>
                <a:gd name="T7" fmla="*/ 16 h 16"/>
                <a:gd name="T8" fmla="*/ 6 w 11"/>
                <a:gd name="T9" fmla="*/ 16 h 16"/>
                <a:gd name="T10" fmla="*/ 6 w 11"/>
                <a:gd name="T11" fmla="*/ 16 h 16"/>
                <a:gd name="T12" fmla="*/ 6 w 11"/>
                <a:gd name="T13" fmla="*/ 5 h 16"/>
                <a:gd name="T14" fmla="*/ 0 w 11"/>
                <a:gd name="T15" fmla="*/ 5 h 16"/>
                <a:gd name="T16" fmla="*/ 0 w 11"/>
                <a:gd name="T17" fmla="*/ 0 h 16"/>
                <a:gd name="T18" fmla="*/ 0 w 11"/>
                <a:gd name="T19" fmla="*/ 0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6"/>
                <a:gd name="T32" fmla="*/ 11 w 1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6">
                  <a:moveTo>
                    <a:pt x="0" y="0"/>
                  </a:moveTo>
                  <a:lnTo>
                    <a:pt x="6" y="5"/>
                  </a:lnTo>
                  <a:lnTo>
                    <a:pt x="11" y="16"/>
                  </a:lnTo>
                  <a:lnTo>
                    <a:pt x="6" y="16"/>
                  </a:lnTo>
                  <a:lnTo>
                    <a:pt x="6"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7" name="Freeform 669"/>
            <p:cNvSpPr>
              <a:spLocks/>
            </p:cNvSpPr>
            <p:nvPr/>
          </p:nvSpPr>
          <p:spPr bwMode="auto">
            <a:xfrm>
              <a:off x="4255" y="2849"/>
              <a:ext cx="16" cy="27"/>
            </a:xfrm>
            <a:custGeom>
              <a:avLst/>
              <a:gdLst>
                <a:gd name="T0" fmla="*/ 11 w 16"/>
                <a:gd name="T1" fmla="*/ 0 h 27"/>
                <a:gd name="T2" fmla="*/ 11 w 16"/>
                <a:gd name="T3" fmla="*/ 0 h 27"/>
                <a:gd name="T4" fmla="*/ 16 w 16"/>
                <a:gd name="T5" fmla="*/ 0 h 27"/>
                <a:gd name="T6" fmla="*/ 16 w 16"/>
                <a:gd name="T7" fmla="*/ 6 h 27"/>
                <a:gd name="T8" fmla="*/ 11 w 16"/>
                <a:gd name="T9" fmla="*/ 16 h 27"/>
                <a:gd name="T10" fmla="*/ 11 w 16"/>
                <a:gd name="T11" fmla="*/ 27 h 27"/>
                <a:gd name="T12" fmla="*/ 11 w 16"/>
                <a:gd name="T13" fmla="*/ 27 h 27"/>
                <a:gd name="T14" fmla="*/ 0 w 16"/>
                <a:gd name="T15" fmla="*/ 16 h 27"/>
                <a:gd name="T16" fmla="*/ 0 w 16"/>
                <a:gd name="T17" fmla="*/ 16 h 27"/>
                <a:gd name="T18" fmla="*/ 5 w 16"/>
                <a:gd name="T19" fmla="*/ 11 h 27"/>
                <a:gd name="T20" fmla="*/ 11 w 16"/>
                <a:gd name="T21" fmla="*/ 0 h 27"/>
                <a:gd name="T22" fmla="*/ 11 w 16"/>
                <a:gd name="T23" fmla="*/ 0 h 2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27"/>
                <a:gd name="T38" fmla="*/ 16 w 16"/>
                <a:gd name="T39" fmla="*/ 27 h 2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27">
                  <a:moveTo>
                    <a:pt x="11" y="0"/>
                  </a:moveTo>
                  <a:lnTo>
                    <a:pt x="11" y="0"/>
                  </a:lnTo>
                  <a:lnTo>
                    <a:pt x="16" y="0"/>
                  </a:lnTo>
                  <a:lnTo>
                    <a:pt x="16" y="6"/>
                  </a:lnTo>
                  <a:lnTo>
                    <a:pt x="11" y="16"/>
                  </a:lnTo>
                  <a:lnTo>
                    <a:pt x="11" y="27"/>
                  </a:lnTo>
                  <a:lnTo>
                    <a:pt x="0" y="16"/>
                  </a:lnTo>
                  <a:lnTo>
                    <a:pt x="5" y="11"/>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8" name="Freeform 670"/>
            <p:cNvSpPr>
              <a:spLocks/>
            </p:cNvSpPr>
            <p:nvPr/>
          </p:nvSpPr>
          <p:spPr bwMode="auto">
            <a:xfrm>
              <a:off x="4249" y="2838"/>
              <a:ext cx="17" cy="22"/>
            </a:xfrm>
            <a:custGeom>
              <a:avLst/>
              <a:gdLst>
                <a:gd name="T0" fmla="*/ 0 w 17"/>
                <a:gd name="T1" fmla="*/ 0 h 22"/>
                <a:gd name="T2" fmla="*/ 6 w 17"/>
                <a:gd name="T3" fmla="*/ 6 h 22"/>
                <a:gd name="T4" fmla="*/ 17 w 17"/>
                <a:gd name="T5" fmla="*/ 6 h 22"/>
                <a:gd name="T6" fmla="*/ 17 w 17"/>
                <a:gd name="T7" fmla="*/ 11 h 22"/>
                <a:gd name="T8" fmla="*/ 0 w 17"/>
                <a:gd name="T9" fmla="*/ 22 h 22"/>
                <a:gd name="T10" fmla="*/ 0 w 17"/>
                <a:gd name="T11" fmla="*/ 0 h 22"/>
                <a:gd name="T12" fmla="*/ 0 w 17"/>
                <a:gd name="T13" fmla="*/ 0 h 22"/>
                <a:gd name="T14" fmla="*/ 0 60000 65536"/>
                <a:gd name="T15" fmla="*/ 0 60000 65536"/>
                <a:gd name="T16" fmla="*/ 0 60000 65536"/>
                <a:gd name="T17" fmla="*/ 0 60000 65536"/>
                <a:gd name="T18" fmla="*/ 0 60000 65536"/>
                <a:gd name="T19" fmla="*/ 0 60000 65536"/>
                <a:gd name="T20" fmla="*/ 0 60000 65536"/>
                <a:gd name="T21" fmla="*/ 0 w 17"/>
                <a:gd name="T22" fmla="*/ 0 h 22"/>
                <a:gd name="T23" fmla="*/ 17 w 17"/>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2">
                  <a:moveTo>
                    <a:pt x="0" y="0"/>
                  </a:moveTo>
                  <a:lnTo>
                    <a:pt x="6" y="6"/>
                  </a:lnTo>
                  <a:lnTo>
                    <a:pt x="17" y="6"/>
                  </a:lnTo>
                  <a:lnTo>
                    <a:pt x="17" y="11"/>
                  </a:lnTo>
                  <a:lnTo>
                    <a:pt x="0" y="22"/>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49" name="Freeform 671"/>
            <p:cNvSpPr>
              <a:spLocks/>
            </p:cNvSpPr>
            <p:nvPr/>
          </p:nvSpPr>
          <p:spPr bwMode="auto">
            <a:xfrm>
              <a:off x="4282" y="2827"/>
              <a:ext cx="16" cy="22"/>
            </a:xfrm>
            <a:custGeom>
              <a:avLst/>
              <a:gdLst>
                <a:gd name="T0" fmla="*/ 0 w 16"/>
                <a:gd name="T1" fmla="*/ 0 h 22"/>
                <a:gd name="T2" fmla="*/ 11 w 16"/>
                <a:gd name="T3" fmla="*/ 6 h 22"/>
                <a:gd name="T4" fmla="*/ 16 w 16"/>
                <a:gd name="T5" fmla="*/ 6 h 22"/>
                <a:gd name="T6" fmla="*/ 16 w 16"/>
                <a:gd name="T7" fmla="*/ 17 h 22"/>
                <a:gd name="T8" fmla="*/ 16 w 16"/>
                <a:gd name="T9" fmla="*/ 22 h 22"/>
                <a:gd name="T10" fmla="*/ 11 w 16"/>
                <a:gd name="T11" fmla="*/ 22 h 22"/>
                <a:gd name="T12" fmla="*/ 0 w 16"/>
                <a:gd name="T13" fmla="*/ 0 h 22"/>
                <a:gd name="T14" fmla="*/ 0 w 16"/>
                <a:gd name="T15" fmla="*/ 0 h 22"/>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22"/>
                <a:gd name="T26" fmla="*/ 16 w 1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22">
                  <a:moveTo>
                    <a:pt x="0" y="0"/>
                  </a:moveTo>
                  <a:lnTo>
                    <a:pt x="11" y="6"/>
                  </a:lnTo>
                  <a:lnTo>
                    <a:pt x="16" y="6"/>
                  </a:lnTo>
                  <a:lnTo>
                    <a:pt x="16" y="17"/>
                  </a:lnTo>
                  <a:lnTo>
                    <a:pt x="16" y="22"/>
                  </a:lnTo>
                  <a:lnTo>
                    <a:pt x="11" y="22"/>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0" name="Freeform 672"/>
            <p:cNvSpPr>
              <a:spLocks/>
            </p:cNvSpPr>
            <p:nvPr/>
          </p:nvSpPr>
          <p:spPr bwMode="auto">
            <a:xfrm>
              <a:off x="4266" y="2827"/>
              <a:ext cx="11" cy="11"/>
            </a:xfrm>
            <a:custGeom>
              <a:avLst/>
              <a:gdLst>
                <a:gd name="T0" fmla="*/ 0 w 11"/>
                <a:gd name="T1" fmla="*/ 0 h 11"/>
                <a:gd name="T2" fmla="*/ 11 w 11"/>
                <a:gd name="T3" fmla="*/ 11 h 11"/>
                <a:gd name="T4" fmla="*/ 11 w 11"/>
                <a:gd name="T5" fmla="*/ 11 h 11"/>
                <a:gd name="T6" fmla="*/ 5 w 11"/>
                <a:gd name="T7" fmla="*/ 6 h 11"/>
                <a:gd name="T8" fmla="*/ 0 w 11"/>
                <a:gd name="T9" fmla="*/ 11 h 11"/>
                <a:gd name="T10" fmla="*/ 0 w 11"/>
                <a:gd name="T11" fmla="*/ 0 h 11"/>
                <a:gd name="T12" fmla="*/ 0 w 11"/>
                <a:gd name="T13" fmla="*/ 0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0" y="0"/>
                  </a:moveTo>
                  <a:lnTo>
                    <a:pt x="11" y="11"/>
                  </a:lnTo>
                  <a:lnTo>
                    <a:pt x="5" y="6"/>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1" name="Freeform 673"/>
            <p:cNvSpPr>
              <a:spLocks/>
            </p:cNvSpPr>
            <p:nvPr/>
          </p:nvSpPr>
          <p:spPr bwMode="auto">
            <a:xfrm>
              <a:off x="4249" y="2827"/>
              <a:ext cx="6" cy="6"/>
            </a:xfrm>
            <a:custGeom>
              <a:avLst/>
              <a:gdLst>
                <a:gd name="T0" fmla="*/ 0 w 6"/>
                <a:gd name="T1" fmla="*/ 6 h 6"/>
                <a:gd name="T2" fmla="*/ 6 w 6"/>
                <a:gd name="T3" fmla="*/ 0 h 6"/>
                <a:gd name="T4" fmla="*/ 0 w 6"/>
                <a:gd name="T5" fmla="*/ 6 h 6"/>
                <a:gd name="T6" fmla="*/ 0 w 6"/>
                <a:gd name="T7" fmla="*/ 6 h 6"/>
                <a:gd name="T8" fmla="*/ 0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6"/>
                  </a:moveTo>
                  <a:lnTo>
                    <a:pt x="6" y="0"/>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2" name="Freeform 674"/>
            <p:cNvSpPr>
              <a:spLocks/>
            </p:cNvSpPr>
            <p:nvPr/>
          </p:nvSpPr>
          <p:spPr bwMode="auto">
            <a:xfrm>
              <a:off x="4249" y="2816"/>
              <a:ext cx="6" cy="6"/>
            </a:xfrm>
            <a:custGeom>
              <a:avLst/>
              <a:gdLst>
                <a:gd name="T0" fmla="*/ 0 w 6"/>
                <a:gd name="T1" fmla="*/ 0 h 6"/>
                <a:gd name="T2" fmla="*/ 0 w 6"/>
                <a:gd name="T3" fmla="*/ 0 h 6"/>
                <a:gd name="T4" fmla="*/ 6 w 6"/>
                <a:gd name="T5" fmla="*/ 0 h 6"/>
                <a:gd name="T6" fmla="*/ 6 w 6"/>
                <a:gd name="T7" fmla="*/ 6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0"/>
                  </a:moveTo>
                  <a:lnTo>
                    <a:pt x="0" y="0"/>
                  </a:lnTo>
                  <a:lnTo>
                    <a:pt x="6"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3" name="Freeform 675"/>
            <p:cNvSpPr>
              <a:spLocks/>
            </p:cNvSpPr>
            <p:nvPr/>
          </p:nvSpPr>
          <p:spPr bwMode="auto">
            <a:xfrm>
              <a:off x="4249" y="2795"/>
              <a:ext cx="0" cy="5"/>
            </a:xfrm>
            <a:custGeom>
              <a:avLst/>
              <a:gdLst>
                <a:gd name="T0" fmla="*/ 0 h 5"/>
                <a:gd name="T1" fmla="*/ 0 h 5"/>
                <a:gd name="T2" fmla="*/ 5 h 5"/>
                <a:gd name="T3" fmla="*/ 0 h 5"/>
                <a:gd name="T4" fmla="*/ 0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0"/>
                  </a:moveTo>
                  <a:lnTo>
                    <a:pt x="0"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4" name="Freeform 676"/>
            <p:cNvSpPr>
              <a:spLocks/>
            </p:cNvSpPr>
            <p:nvPr/>
          </p:nvSpPr>
          <p:spPr bwMode="auto">
            <a:xfrm>
              <a:off x="4222" y="2751"/>
              <a:ext cx="55" cy="76"/>
            </a:xfrm>
            <a:custGeom>
              <a:avLst/>
              <a:gdLst>
                <a:gd name="T0" fmla="*/ 33 w 55"/>
                <a:gd name="T1" fmla="*/ 0 h 76"/>
                <a:gd name="T2" fmla="*/ 33 w 55"/>
                <a:gd name="T3" fmla="*/ 11 h 76"/>
                <a:gd name="T4" fmla="*/ 33 w 55"/>
                <a:gd name="T5" fmla="*/ 22 h 76"/>
                <a:gd name="T6" fmla="*/ 33 w 55"/>
                <a:gd name="T7" fmla="*/ 33 h 76"/>
                <a:gd name="T8" fmla="*/ 27 w 55"/>
                <a:gd name="T9" fmla="*/ 33 h 76"/>
                <a:gd name="T10" fmla="*/ 22 w 55"/>
                <a:gd name="T11" fmla="*/ 44 h 76"/>
                <a:gd name="T12" fmla="*/ 22 w 55"/>
                <a:gd name="T13" fmla="*/ 54 h 76"/>
                <a:gd name="T14" fmla="*/ 27 w 55"/>
                <a:gd name="T15" fmla="*/ 60 h 76"/>
                <a:gd name="T16" fmla="*/ 33 w 55"/>
                <a:gd name="T17" fmla="*/ 60 h 76"/>
                <a:gd name="T18" fmla="*/ 33 w 55"/>
                <a:gd name="T19" fmla="*/ 54 h 76"/>
                <a:gd name="T20" fmla="*/ 38 w 55"/>
                <a:gd name="T21" fmla="*/ 54 h 76"/>
                <a:gd name="T22" fmla="*/ 44 w 55"/>
                <a:gd name="T23" fmla="*/ 65 h 76"/>
                <a:gd name="T24" fmla="*/ 44 w 55"/>
                <a:gd name="T25" fmla="*/ 60 h 76"/>
                <a:gd name="T26" fmla="*/ 55 w 55"/>
                <a:gd name="T27" fmla="*/ 60 h 76"/>
                <a:gd name="T28" fmla="*/ 49 w 55"/>
                <a:gd name="T29" fmla="*/ 65 h 76"/>
                <a:gd name="T30" fmla="*/ 55 w 55"/>
                <a:gd name="T31" fmla="*/ 71 h 76"/>
                <a:gd name="T32" fmla="*/ 55 w 55"/>
                <a:gd name="T33" fmla="*/ 71 h 76"/>
                <a:gd name="T34" fmla="*/ 55 w 55"/>
                <a:gd name="T35" fmla="*/ 71 h 76"/>
                <a:gd name="T36" fmla="*/ 55 w 55"/>
                <a:gd name="T37" fmla="*/ 76 h 76"/>
                <a:gd name="T38" fmla="*/ 55 w 55"/>
                <a:gd name="T39" fmla="*/ 76 h 76"/>
                <a:gd name="T40" fmla="*/ 55 w 55"/>
                <a:gd name="T41" fmla="*/ 76 h 76"/>
                <a:gd name="T42" fmla="*/ 49 w 55"/>
                <a:gd name="T43" fmla="*/ 71 h 76"/>
                <a:gd name="T44" fmla="*/ 38 w 55"/>
                <a:gd name="T45" fmla="*/ 60 h 76"/>
                <a:gd name="T46" fmla="*/ 33 w 55"/>
                <a:gd name="T47" fmla="*/ 60 h 76"/>
                <a:gd name="T48" fmla="*/ 38 w 55"/>
                <a:gd name="T49" fmla="*/ 71 h 76"/>
                <a:gd name="T50" fmla="*/ 27 w 55"/>
                <a:gd name="T51" fmla="*/ 60 h 76"/>
                <a:gd name="T52" fmla="*/ 22 w 55"/>
                <a:gd name="T53" fmla="*/ 60 h 76"/>
                <a:gd name="T54" fmla="*/ 22 w 55"/>
                <a:gd name="T55" fmla="*/ 65 h 76"/>
                <a:gd name="T56" fmla="*/ 11 w 55"/>
                <a:gd name="T57" fmla="*/ 60 h 76"/>
                <a:gd name="T58" fmla="*/ 11 w 55"/>
                <a:gd name="T59" fmla="*/ 60 h 76"/>
                <a:gd name="T60" fmla="*/ 17 w 55"/>
                <a:gd name="T61" fmla="*/ 49 h 76"/>
                <a:gd name="T62" fmla="*/ 11 w 55"/>
                <a:gd name="T63" fmla="*/ 49 h 76"/>
                <a:gd name="T64" fmla="*/ 11 w 55"/>
                <a:gd name="T65" fmla="*/ 54 h 76"/>
                <a:gd name="T66" fmla="*/ 6 w 55"/>
                <a:gd name="T67" fmla="*/ 44 h 76"/>
                <a:gd name="T68" fmla="*/ 0 w 55"/>
                <a:gd name="T69" fmla="*/ 33 h 76"/>
                <a:gd name="T70" fmla="*/ 6 w 55"/>
                <a:gd name="T71" fmla="*/ 33 h 76"/>
                <a:gd name="T72" fmla="*/ 11 w 55"/>
                <a:gd name="T73" fmla="*/ 0 h 76"/>
                <a:gd name="T74" fmla="*/ 11 w 55"/>
                <a:gd name="T75" fmla="*/ 0 h 76"/>
                <a:gd name="T76" fmla="*/ 27 w 55"/>
                <a:gd name="T77" fmla="*/ 0 h 76"/>
                <a:gd name="T78" fmla="*/ 27 w 55"/>
                <a:gd name="T79" fmla="*/ 0 h 76"/>
                <a:gd name="T80" fmla="*/ 33 w 55"/>
                <a:gd name="T81" fmla="*/ 0 h 76"/>
                <a:gd name="T82" fmla="*/ 33 w 55"/>
                <a:gd name="T83" fmla="*/ 0 h 76"/>
                <a:gd name="T84" fmla="*/ 33 w 55"/>
                <a:gd name="T85" fmla="*/ 0 h 7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5"/>
                <a:gd name="T130" fmla="*/ 0 h 76"/>
                <a:gd name="T131" fmla="*/ 55 w 55"/>
                <a:gd name="T132" fmla="*/ 76 h 7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5" h="76">
                  <a:moveTo>
                    <a:pt x="33" y="0"/>
                  </a:moveTo>
                  <a:lnTo>
                    <a:pt x="33" y="11"/>
                  </a:lnTo>
                  <a:lnTo>
                    <a:pt x="33" y="22"/>
                  </a:lnTo>
                  <a:lnTo>
                    <a:pt x="33" y="33"/>
                  </a:lnTo>
                  <a:lnTo>
                    <a:pt x="27" y="33"/>
                  </a:lnTo>
                  <a:lnTo>
                    <a:pt x="22" y="44"/>
                  </a:lnTo>
                  <a:lnTo>
                    <a:pt x="22" y="54"/>
                  </a:lnTo>
                  <a:lnTo>
                    <a:pt x="27" y="60"/>
                  </a:lnTo>
                  <a:lnTo>
                    <a:pt x="33" y="60"/>
                  </a:lnTo>
                  <a:lnTo>
                    <a:pt x="33" y="54"/>
                  </a:lnTo>
                  <a:lnTo>
                    <a:pt x="38" y="54"/>
                  </a:lnTo>
                  <a:lnTo>
                    <a:pt x="44" y="65"/>
                  </a:lnTo>
                  <a:lnTo>
                    <a:pt x="44" y="60"/>
                  </a:lnTo>
                  <a:lnTo>
                    <a:pt x="55" y="60"/>
                  </a:lnTo>
                  <a:lnTo>
                    <a:pt x="49" y="65"/>
                  </a:lnTo>
                  <a:lnTo>
                    <a:pt x="55" y="71"/>
                  </a:lnTo>
                  <a:lnTo>
                    <a:pt x="55" y="76"/>
                  </a:lnTo>
                  <a:lnTo>
                    <a:pt x="49" y="71"/>
                  </a:lnTo>
                  <a:lnTo>
                    <a:pt x="38" y="60"/>
                  </a:lnTo>
                  <a:lnTo>
                    <a:pt x="33" y="60"/>
                  </a:lnTo>
                  <a:lnTo>
                    <a:pt x="38" y="71"/>
                  </a:lnTo>
                  <a:lnTo>
                    <a:pt x="27" y="60"/>
                  </a:lnTo>
                  <a:lnTo>
                    <a:pt x="22" y="60"/>
                  </a:lnTo>
                  <a:lnTo>
                    <a:pt x="22" y="65"/>
                  </a:lnTo>
                  <a:lnTo>
                    <a:pt x="11" y="60"/>
                  </a:lnTo>
                  <a:lnTo>
                    <a:pt x="17" y="49"/>
                  </a:lnTo>
                  <a:lnTo>
                    <a:pt x="11" y="49"/>
                  </a:lnTo>
                  <a:lnTo>
                    <a:pt x="11" y="54"/>
                  </a:lnTo>
                  <a:lnTo>
                    <a:pt x="6" y="44"/>
                  </a:lnTo>
                  <a:lnTo>
                    <a:pt x="0" y="33"/>
                  </a:lnTo>
                  <a:lnTo>
                    <a:pt x="6" y="33"/>
                  </a:lnTo>
                  <a:lnTo>
                    <a:pt x="11" y="0"/>
                  </a:lnTo>
                  <a:lnTo>
                    <a:pt x="27" y="0"/>
                  </a:lnTo>
                  <a:lnTo>
                    <a:pt x="33"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5" name="Freeform 677"/>
            <p:cNvSpPr>
              <a:spLocks/>
            </p:cNvSpPr>
            <p:nvPr/>
          </p:nvSpPr>
          <p:spPr bwMode="auto">
            <a:xfrm>
              <a:off x="4228" y="2816"/>
              <a:ext cx="16" cy="17"/>
            </a:xfrm>
            <a:custGeom>
              <a:avLst/>
              <a:gdLst>
                <a:gd name="T0" fmla="*/ 0 w 16"/>
                <a:gd name="T1" fmla="*/ 0 h 17"/>
                <a:gd name="T2" fmla="*/ 11 w 16"/>
                <a:gd name="T3" fmla="*/ 0 h 17"/>
                <a:gd name="T4" fmla="*/ 16 w 16"/>
                <a:gd name="T5" fmla="*/ 6 h 17"/>
                <a:gd name="T6" fmla="*/ 16 w 16"/>
                <a:gd name="T7" fmla="*/ 17 h 17"/>
                <a:gd name="T8" fmla="*/ 11 w 16"/>
                <a:gd name="T9" fmla="*/ 17 h 17"/>
                <a:gd name="T10" fmla="*/ 5 w 16"/>
                <a:gd name="T11" fmla="*/ 6 h 17"/>
                <a:gd name="T12" fmla="*/ 0 w 16"/>
                <a:gd name="T13" fmla="*/ 0 h 17"/>
                <a:gd name="T14" fmla="*/ 0 w 16"/>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7"/>
                <a:gd name="T26" fmla="*/ 16 w 16"/>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7">
                  <a:moveTo>
                    <a:pt x="0" y="0"/>
                  </a:moveTo>
                  <a:lnTo>
                    <a:pt x="11" y="0"/>
                  </a:lnTo>
                  <a:lnTo>
                    <a:pt x="16" y="6"/>
                  </a:lnTo>
                  <a:lnTo>
                    <a:pt x="16" y="17"/>
                  </a:lnTo>
                  <a:lnTo>
                    <a:pt x="11" y="17"/>
                  </a:lnTo>
                  <a:lnTo>
                    <a:pt x="5"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6" name="Freeform 678"/>
            <p:cNvSpPr>
              <a:spLocks/>
            </p:cNvSpPr>
            <p:nvPr/>
          </p:nvSpPr>
          <p:spPr bwMode="auto">
            <a:xfrm>
              <a:off x="3814" y="2636"/>
              <a:ext cx="60" cy="82"/>
            </a:xfrm>
            <a:custGeom>
              <a:avLst/>
              <a:gdLst>
                <a:gd name="T0" fmla="*/ 60 w 60"/>
                <a:gd name="T1" fmla="*/ 66 h 82"/>
                <a:gd name="T2" fmla="*/ 60 w 60"/>
                <a:gd name="T3" fmla="*/ 77 h 82"/>
                <a:gd name="T4" fmla="*/ 54 w 60"/>
                <a:gd name="T5" fmla="*/ 77 h 82"/>
                <a:gd name="T6" fmla="*/ 54 w 60"/>
                <a:gd name="T7" fmla="*/ 82 h 82"/>
                <a:gd name="T8" fmla="*/ 49 w 60"/>
                <a:gd name="T9" fmla="*/ 60 h 82"/>
                <a:gd name="T10" fmla="*/ 44 w 60"/>
                <a:gd name="T11" fmla="*/ 55 h 82"/>
                <a:gd name="T12" fmla="*/ 38 w 60"/>
                <a:gd name="T13" fmla="*/ 55 h 82"/>
                <a:gd name="T14" fmla="*/ 33 w 60"/>
                <a:gd name="T15" fmla="*/ 55 h 82"/>
                <a:gd name="T16" fmla="*/ 33 w 60"/>
                <a:gd name="T17" fmla="*/ 55 h 82"/>
                <a:gd name="T18" fmla="*/ 33 w 60"/>
                <a:gd name="T19" fmla="*/ 60 h 82"/>
                <a:gd name="T20" fmla="*/ 27 w 60"/>
                <a:gd name="T21" fmla="*/ 66 h 82"/>
                <a:gd name="T22" fmla="*/ 22 w 60"/>
                <a:gd name="T23" fmla="*/ 66 h 82"/>
                <a:gd name="T24" fmla="*/ 22 w 60"/>
                <a:gd name="T25" fmla="*/ 71 h 82"/>
                <a:gd name="T26" fmla="*/ 22 w 60"/>
                <a:gd name="T27" fmla="*/ 66 h 82"/>
                <a:gd name="T28" fmla="*/ 11 w 60"/>
                <a:gd name="T29" fmla="*/ 71 h 82"/>
                <a:gd name="T30" fmla="*/ 5 w 60"/>
                <a:gd name="T31" fmla="*/ 44 h 82"/>
                <a:gd name="T32" fmla="*/ 5 w 60"/>
                <a:gd name="T33" fmla="*/ 33 h 82"/>
                <a:gd name="T34" fmla="*/ 0 w 60"/>
                <a:gd name="T35" fmla="*/ 28 h 82"/>
                <a:gd name="T36" fmla="*/ 0 w 60"/>
                <a:gd name="T37" fmla="*/ 22 h 82"/>
                <a:gd name="T38" fmla="*/ 5 w 60"/>
                <a:gd name="T39" fmla="*/ 22 h 82"/>
                <a:gd name="T40" fmla="*/ 5 w 60"/>
                <a:gd name="T41" fmla="*/ 17 h 82"/>
                <a:gd name="T42" fmla="*/ 0 w 60"/>
                <a:gd name="T43" fmla="*/ 17 h 82"/>
                <a:gd name="T44" fmla="*/ 0 w 60"/>
                <a:gd name="T45" fmla="*/ 11 h 82"/>
                <a:gd name="T46" fmla="*/ 5 w 60"/>
                <a:gd name="T47" fmla="*/ 0 h 82"/>
                <a:gd name="T48" fmla="*/ 11 w 60"/>
                <a:gd name="T49" fmla="*/ 6 h 82"/>
                <a:gd name="T50" fmla="*/ 11 w 60"/>
                <a:gd name="T51" fmla="*/ 6 h 82"/>
                <a:gd name="T52" fmla="*/ 16 w 60"/>
                <a:gd name="T53" fmla="*/ 11 h 82"/>
                <a:gd name="T54" fmla="*/ 16 w 60"/>
                <a:gd name="T55" fmla="*/ 11 h 82"/>
                <a:gd name="T56" fmla="*/ 16 w 60"/>
                <a:gd name="T57" fmla="*/ 6 h 82"/>
                <a:gd name="T58" fmla="*/ 22 w 60"/>
                <a:gd name="T59" fmla="*/ 17 h 82"/>
                <a:gd name="T60" fmla="*/ 27 w 60"/>
                <a:gd name="T61" fmla="*/ 17 h 82"/>
                <a:gd name="T62" fmla="*/ 54 w 60"/>
                <a:gd name="T63" fmla="*/ 22 h 82"/>
                <a:gd name="T64" fmla="*/ 38 w 60"/>
                <a:gd name="T65" fmla="*/ 38 h 82"/>
                <a:gd name="T66" fmla="*/ 38 w 60"/>
                <a:gd name="T67" fmla="*/ 49 h 82"/>
                <a:gd name="T68" fmla="*/ 44 w 60"/>
                <a:gd name="T69" fmla="*/ 49 h 82"/>
                <a:gd name="T70" fmla="*/ 54 w 60"/>
                <a:gd name="T71" fmla="*/ 44 h 82"/>
                <a:gd name="T72" fmla="*/ 60 w 60"/>
                <a:gd name="T73" fmla="*/ 66 h 82"/>
                <a:gd name="T74" fmla="*/ 60 w 60"/>
                <a:gd name="T75" fmla="*/ 66 h 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0"/>
                <a:gd name="T115" fmla="*/ 0 h 82"/>
                <a:gd name="T116" fmla="*/ 60 w 60"/>
                <a:gd name="T117" fmla="*/ 82 h 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0" h="82">
                  <a:moveTo>
                    <a:pt x="60" y="66"/>
                  </a:moveTo>
                  <a:lnTo>
                    <a:pt x="60" y="77"/>
                  </a:lnTo>
                  <a:lnTo>
                    <a:pt x="54" y="77"/>
                  </a:lnTo>
                  <a:lnTo>
                    <a:pt x="54" y="82"/>
                  </a:lnTo>
                  <a:lnTo>
                    <a:pt x="49" y="60"/>
                  </a:lnTo>
                  <a:lnTo>
                    <a:pt x="44" y="55"/>
                  </a:lnTo>
                  <a:lnTo>
                    <a:pt x="38" y="55"/>
                  </a:lnTo>
                  <a:lnTo>
                    <a:pt x="33" y="55"/>
                  </a:lnTo>
                  <a:lnTo>
                    <a:pt x="33" y="60"/>
                  </a:lnTo>
                  <a:lnTo>
                    <a:pt x="27" y="66"/>
                  </a:lnTo>
                  <a:lnTo>
                    <a:pt x="22" y="66"/>
                  </a:lnTo>
                  <a:lnTo>
                    <a:pt x="22" y="71"/>
                  </a:lnTo>
                  <a:lnTo>
                    <a:pt x="22" y="66"/>
                  </a:lnTo>
                  <a:lnTo>
                    <a:pt x="11" y="71"/>
                  </a:lnTo>
                  <a:lnTo>
                    <a:pt x="5" y="44"/>
                  </a:lnTo>
                  <a:lnTo>
                    <a:pt x="5" y="33"/>
                  </a:lnTo>
                  <a:lnTo>
                    <a:pt x="0" y="28"/>
                  </a:lnTo>
                  <a:lnTo>
                    <a:pt x="0" y="22"/>
                  </a:lnTo>
                  <a:lnTo>
                    <a:pt x="5" y="22"/>
                  </a:lnTo>
                  <a:lnTo>
                    <a:pt x="5" y="17"/>
                  </a:lnTo>
                  <a:lnTo>
                    <a:pt x="0" y="17"/>
                  </a:lnTo>
                  <a:lnTo>
                    <a:pt x="0" y="11"/>
                  </a:lnTo>
                  <a:lnTo>
                    <a:pt x="5" y="0"/>
                  </a:lnTo>
                  <a:lnTo>
                    <a:pt x="11" y="6"/>
                  </a:lnTo>
                  <a:lnTo>
                    <a:pt x="16" y="11"/>
                  </a:lnTo>
                  <a:lnTo>
                    <a:pt x="16" y="6"/>
                  </a:lnTo>
                  <a:lnTo>
                    <a:pt x="22" y="17"/>
                  </a:lnTo>
                  <a:lnTo>
                    <a:pt x="27" y="17"/>
                  </a:lnTo>
                  <a:lnTo>
                    <a:pt x="54" y="22"/>
                  </a:lnTo>
                  <a:lnTo>
                    <a:pt x="38" y="38"/>
                  </a:lnTo>
                  <a:lnTo>
                    <a:pt x="38" y="49"/>
                  </a:lnTo>
                  <a:lnTo>
                    <a:pt x="44" y="49"/>
                  </a:lnTo>
                  <a:lnTo>
                    <a:pt x="54" y="44"/>
                  </a:lnTo>
                  <a:lnTo>
                    <a:pt x="60" y="6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7" name="Freeform 679"/>
            <p:cNvSpPr>
              <a:spLocks/>
            </p:cNvSpPr>
            <p:nvPr/>
          </p:nvSpPr>
          <p:spPr bwMode="auto">
            <a:xfrm>
              <a:off x="3847" y="2691"/>
              <a:ext cx="0" cy="5"/>
            </a:xfrm>
            <a:custGeom>
              <a:avLst/>
              <a:gdLst>
                <a:gd name="T0" fmla="*/ 0 h 5"/>
                <a:gd name="T1" fmla="*/ 5 h 5"/>
                <a:gd name="T2" fmla="*/ 5 h 5"/>
                <a:gd name="T3" fmla="*/ 5 h 5"/>
                <a:gd name="T4" fmla="*/ 0 h 5"/>
                <a:gd name="T5" fmla="*/ 0 h 5"/>
                <a:gd name="T6" fmla="*/ 0 60000 65536"/>
                <a:gd name="T7" fmla="*/ 0 60000 65536"/>
                <a:gd name="T8" fmla="*/ 0 60000 65536"/>
                <a:gd name="T9" fmla="*/ 0 60000 65536"/>
                <a:gd name="T10" fmla="*/ 0 60000 65536"/>
                <a:gd name="T11" fmla="*/ 0 60000 65536"/>
                <a:gd name="T12" fmla="*/ 0 h 5"/>
                <a:gd name="T13" fmla="*/ 5 h 5"/>
              </a:gdLst>
              <a:ahLst/>
              <a:cxnLst>
                <a:cxn ang="T6">
                  <a:pos x="0" y="T0"/>
                </a:cxn>
                <a:cxn ang="T7">
                  <a:pos x="0" y="T1"/>
                </a:cxn>
                <a:cxn ang="T8">
                  <a:pos x="0" y="T2"/>
                </a:cxn>
                <a:cxn ang="T9">
                  <a:pos x="0" y="T3"/>
                </a:cxn>
                <a:cxn ang="T10">
                  <a:pos x="0" y="T4"/>
                </a:cxn>
                <a:cxn ang="T11">
                  <a:pos x="0" y="T5"/>
                </a:cxn>
              </a:cxnLst>
              <a:rect l="0" t="T12" r="0" b="T13"/>
              <a:pathLst>
                <a:path h="5">
                  <a:moveTo>
                    <a:pt x="0" y="0"/>
                  </a:move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8" name="Freeform 680"/>
            <p:cNvSpPr>
              <a:spLocks/>
            </p:cNvSpPr>
            <p:nvPr/>
          </p:nvSpPr>
          <p:spPr bwMode="auto">
            <a:xfrm>
              <a:off x="3825" y="2614"/>
              <a:ext cx="43" cy="22"/>
            </a:xfrm>
            <a:custGeom>
              <a:avLst/>
              <a:gdLst>
                <a:gd name="T0" fmla="*/ 0 w 43"/>
                <a:gd name="T1" fmla="*/ 11 h 22"/>
                <a:gd name="T2" fmla="*/ 0 w 43"/>
                <a:gd name="T3" fmla="*/ 17 h 22"/>
                <a:gd name="T4" fmla="*/ 0 w 43"/>
                <a:gd name="T5" fmla="*/ 17 h 22"/>
                <a:gd name="T6" fmla="*/ 11 w 43"/>
                <a:gd name="T7" fmla="*/ 22 h 22"/>
                <a:gd name="T8" fmla="*/ 38 w 43"/>
                <a:gd name="T9" fmla="*/ 17 h 22"/>
                <a:gd name="T10" fmla="*/ 43 w 43"/>
                <a:gd name="T11" fmla="*/ 11 h 22"/>
                <a:gd name="T12" fmla="*/ 38 w 43"/>
                <a:gd name="T13" fmla="*/ 11 h 22"/>
                <a:gd name="T14" fmla="*/ 38 w 43"/>
                <a:gd name="T15" fmla="*/ 6 h 22"/>
                <a:gd name="T16" fmla="*/ 33 w 43"/>
                <a:gd name="T17" fmla="*/ 0 h 22"/>
                <a:gd name="T18" fmla="*/ 11 w 43"/>
                <a:gd name="T19" fmla="*/ 0 h 22"/>
                <a:gd name="T20" fmla="*/ 0 w 43"/>
                <a:gd name="T21" fmla="*/ 11 h 22"/>
                <a:gd name="T22" fmla="*/ 0 w 43"/>
                <a:gd name="T23" fmla="*/ 1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22"/>
                <a:gd name="T38" fmla="*/ 43 w 43"/>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22">
                  <a:moveTo>
                    <a:pt x="0" y="11"/>
                  </a:moveTo>
                  <a:lnTo>
                    <a:pt x="0" y="17"/>
                  </a:lnTo>
                  <a:lnTo>
                    <a:pt x="11" y="22"/>
                  </a:lnTo>
                  <a:lnTo>
                    <a:pt x="38" y="17"/>
                  </a:lnTo>
                  <a:lnTo>
                    <a:pt x="43" y="11"/>
                  </a:lnTo>
                  <a:lnTo>
                    <a:pt x="38" y="11"/>
                  </a:lnTo>
                  <a:lnTo>
                    <a:pt x="38" y="6"/>
                  </a:lnTo>
                  <a:lnTo>
                    <a:pt x="33" y="0"/>
                  </a:lnTo>
                  <a:lnTo>
                    <a:pt x="11" y="0"/>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59" name="Freeform 681"/>
            <p:cNvSpPr>
              <a:spLocks/>
            </p:cNvSpPr>
            <p:nvPr/>
          </p:nvSpPr>
          <p:spPr bwMode="auto">
            <a:xfrm>
              <a:off x="3868" y="2614"/>
              <a:ext cx="115" cy="246"/>
            </a:xfrm>
            <a:custGeom>
              <a:avLst/>
              <a:gdLst>
                <a:gd name="T0" fmla="*/ 104 w 115"/>
                <a:gd name="T1" fmla="*/ 104 h 246"/>
                <a:gd name="T2" fmla="*/ 87 w 115"/>
                <a:gd name="T3" fmla="*/ 120 h 246"/>
                <a:gd name="T4" fmla="*/ 71 w 115"/>
                <a:gd name="T5" fmla="*/ 137 h 246"/>
                <a:gd name="T6" fmla="*/ 82 w 115"/>
                <a:gd name="T7" fmla="*/ 153 h 246"/>
                <a:gd name="T8" fmla="*/ 82 w 115"/>
                <a:gd name="T9" fmla="*/ 170 h 246"/>
                <a:gd name="T10" fmla="*/ 77 w 115"/>
                <a:gd name="T11" fmla="*/ 186 h 246"/>
                <a:gd name="T12" fmla="*/ 87 w 115"/>
                <a:gd name="T13" fmla="*/ 208 h 246"/>
                <a:gd name="T14" fmla="*/ 87 w 115"/>
                <a:gd name="T15" fmla="*/ 235 h 246"/>
                <a:gd name="T16" fmla="*/ 82 w 115"/>
                <a:gd name="T17" fmla="*/ 246 h 246"/>
                <a:gd name="T18" fmla="*/ 82 w 115"/>
                <a:gd name="T19" fmla="*/ 224 h 246"/>
                <a:gd name="T20" fmla="*/ 82 w 115"/>
                <a:gd name="T21" fmla="*/ 208 h 246"/>
                <a:gd name="T22" fmla="*/ 77 w 115"/>
                <a:gd name="T23" fmla="*/ 202 h 246"/>
                <a:gd name="T24" fmla="*/ 71 w 115"/>
                <a:gd name="T25" fmla="*/ 164 h 246"/>
                <a:gd name="T26" fmla="*/ 60 w 115"/>
                <a:gd name="T27" fmla="*/ 148 h 246"/>
                <a:gd name="T28" fmla="*/ 39 w 115"/>
                <a:gd name="T29" fmla="*/ 170 h 246"/>
                <a:gd name="T30" fmla="*/ 28 w 115"/>
                <a:gd name="T31" fmla="*/ 170 h 246"/>
                <a:gd name="T32" fmla="*/ 28 w 115"/>
                <a:gd name="T33" fmla="*/ 153 h 246"/>
                <a:gd name="T34" fmla="*/ 22 w 115"/>
                <a:gd name="T35" fmla="*/ 126 h 246"/>
                <a:gd name="T36" fmla="*/ 17 w 115"/>
                <a:gd name="T37" fmla="*/ 126 h 246"/>
                <a:gd name="T38" fmla="*/ 22 w 115"/>
                <a:gd name="T39" fmla="*/ 126 h 246"/>
                <a:gd name="T40" fmla="*/ 11 w 115"/>
                <a:gd name="T41" fmla="*/ 115 h 246"/>
                <a:gd name="T42" fmla="*/ 0 w 115"/>
                <a:gd name="T43" fmla="*/ 99 h 246"/>
                <a:gd name="T44" fmla="*/ 6 w 115"/>
                <a:gd name="T45" fmla="*/ 88 h 246"/>
                <a:gd name="T46" fmla="*/ 11 w 115"/>
                <a:gd name="T47" fmla="*/ 77 h 246"/>
                <a:gd name="T48" fmla="*/ 11 w 115"/>
                <a:gd name="T49" fmla="*/ 77 h 246"/>
                <a:gd name="T50" fmla="*/ 28 w 115"/>
                <a:gd name="T51" fmla="*/ 60 h 246"/>
                <a:gd name="T52" fmla="*/ 39 w 115"/>
                <a:gd name="T53" fmla="*/ 33 h 246"/>
                <a:gd name="T54" fmla="*/ 49 w 115"/>
                <a:gd name="T55" fmla="*/ 17 h 246"/>
                <a:gd name="T56" fmla="*/ 60 w 115"/>
                <a:gd name="T57" fmla="*/ 6 h 246"/>
                <a:gd name="T58" fmla="*/ 66 w 115"/>
                <a:gd name="T59" fmla="*/ 0 h 246"/>
                <a:gd name="T60" fmla="*/ 71 w 115"/>
                <a:gd name="T61" fmla="*/ 0 h 246"/>
                <a:gd name="T62" fmla="*/ 82 w 115"/>
                <a:gd name="T63" fmla="*/ 11 h 246"/>
                <a:gd name="T64" fmla="*/ 82 w 115"/>
                <a:gd name="T65" fmla="*/ 33 h 246"/>
                <a:gd name="T66" fmla="*/ 71 w 115"/>
                <a:gd name="T67" fmla="*/ 60 h 246"/>
                <a:gd name="T68" fmla="*/ 87 w 115"/>
                <a:gd name="T69" fmla="*/ 60 h 246"/>
                <a:gd name="T70" fmla="*/ 93 w 115"/>
                <a:gd name="T71" fmla="*/ 71 h 246"/>
                <a:gd name="T72" fmla="*/ 98 w 115"/>
                <a:gd name="T73" fmla="*/ 88 h 246"/>
                <a:gd name="T74" fmla="*/ 109 w 115"/>
                <a:gd name="T75" fmla="*/ 88 h 246"/>
                <a:gd name="T76" fmla="*/ 115 w 115"/>
                <a:gd name="T77" fmla="*/ 93 h 24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5"/>
                <a:gd name="T118" fmla="*/ 0 h 246"/>
                <a:gd name="T119" fmla="*/ 115 w 115"/>
                <a:gd name="T120" fmla="*/ 246 h 24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5" h="246">
                  <a:moveTo>
                    <a:pt x="115" y="93"/>
                  </a:moveTo>
                  <a:lnTo>
                    <a:pt x="104" y="104"/>
                  </a:lnTo>
                  <a:lnTo>
                    <a:pt x="98" y="110"/>
                  </a:lnTo>
                  <a:lnTo>
                    <a:pt x="87" y="120"/>
                  </a:lnTo>
                  <a:lnTo>
                    <a:pt x="77" y="120"/>
                  </a:lnTo>
                  <a:lnTo>
                    <a:pt x="71" y="137"/>
                  </a:lnTo>
                  <a:lnTo>
                    <a:pt x="77" y="148"/>
                  </a:lnTo>
                  <a:lnTo>
                    <a:pt x="82" y="153"/>
                  </a:lnTo>
                  <a:lnTo>
                    <a:pt x="82" y="164"/>
                  </a:lnTo>
                  <a:lnTo>
                    <a:pt x="82" y="170"/>
                  </a:lnTo>
                  <a:lnTo>
                    <a:pt x="77" y="186"/>
                  </a:lnTo>
                  <a:lnTo>
                    <a:pt x="87" y="197"/>
                  </a:lnTo>
                  <a:lnTo>
                    <a:pt x="87" y="208"/>
                  </a:lnTo>
                  <a:lnTo>
                    <a:pt x="93" y="224"/>
                  </a:lnTo>
                  <a:lnTo>
                    <a:pt x="87" y="235"/>
                  </a:lnTo>
                  <a:lnTo>
                    <a:pt x="82" y="246"/>
                  </a:lnTo>
                  <a:lnTo>
                    <a:pt x="87" y="224"/>
                  </a:lnTo>
                  <a:lnTo>
                    <a:pt x="82" y="224"/>
                  </a:lnTo>
                  <a:lnTo>
                    <a:pt x="82" y="219"/>
                  </a:lnTo>
                  <a:lnTo>
                    <a:pt x="82" y="208"/>
                  </a:lnTo>
                  <a:lnTo>
                    <a:pt x="77" y="197"/>
                  </a:lnTo>
                  <a:lnTo>
                    <a:pt x="77" y="202"/>
                  </a:lnTo>
                  <a:lnTo>
                    <a:pt x="71" y="181"/>
                  </a:lnTo>
                  <a:lnTo>
                    <a:pt x="71" y="164"/>
                  </a:lnTo>
                  <a:lnTo>
                    <a:pt x="60" y="159"/>
                  </a:lnTo>
                  <a:lnTo>
                    <a:pt x="60" y="148"/>
                  </a:lnTo>
                  <a:lnTo>
                    <a:pt x="55" y="159"/>
                  </a:lnTo>
                  <a:lnTo>
                    <a:pt x="39" y="170"/>
                  </a:lnTo>
                  <a:lnTo>
                    <a:pt x="28" y="170"/>
                  </a:lnTo>
                  <a:lnTo>
                    <a:pt x="28" y="153"/>
                  </a:lnTo>
                  <a:lnTo>
                    <a:pt x="28" y="137"/>
                  </a:lnTo>
                  <a:lnTo>
                    <a:pt x="22" y="126"/>
                  </a:lnTo>
                  <a:lnTo>
                    <a:pt x="22" y="131"/>
                  </a:lnTo>
                  <a:lnTo>
                    <a:pt x="17" y="126"/>
                  </a:lnTo>
                  <a:lnTo>
                    <a:pt x="17" y="120"/>
                  </a:lnTo>
                  <a:lnTo>
                    <a:pt x="22" y="126"/>
                  </a:lnTo>
                  <a:lnTo>
                    <a:pt x="17" y="120"/>
                  </a:lnTo>
                  <a:lnTo>
                    <a:pt x="11" y="115"/>
                  </a:lnTo>
                  <a:lnTo>
                    <a:pt x="0" y="104"/>
                  </a:lnTo>
                  <a:lnTo>
                    <a:pt x="0" y="99"/>
                  </a:lnTo>
                  <a:lnTo>
                    <a:pt x="6" y="99"/>
                  </a:lnTo>
                  <a:lnTo>
                    <a:pt x="6" y="88"/>
                  </a:lnTo>
                  <a:lnTo>
                    <a:pt x="11" y="88"/>
                  </a:lnTo>
                  <a:lnTo>
                    <a:pt x="11" y="77"/>
                  </a:lnTo>
                  <a:lnTo>
                    <a:pt x="11" y="66"/>
                  </a:lnTo>
                  <a:lnTo>
                    <a:pt x="28" y="60"/>
                  </a:lnTo>
                  <a:lnTo>
                    <a:pt x="33" y="44"/>
                  </a:lnTo>
                  <a:lnTo>
                    <a:pt x="39" y="33"/>
                  </a:lnTo>
                  <a:lnTo>
                    <a:pt x="39" y="22"/>
                  </a:lnTo>
                  <a:lnTo>
                    <a:pt x="49" y="17"/>
                  </a:lnTo>
                  <a:lnTo>
                    <a:pt x="60" y="17"/>
                  </a:lnTo>
                  <a:lnTo>
                    <a:pt x="60" y="6"/>
                  </a:lnTo>
                  <a:lnTo>
                    <a:pt x="66" y="6"/>
                  </a:lnTo>
                  <a:lnTo>
                    <a:pt x="66" y="0"/>
                  </a:lnTo>
                  <a:lnTo>
                    <a:pt x="71" y="0"/>
                  </a:lnTo>
                  <a:lnTo>
                    <a:pt x="77" y="11"/>
                  </a:lnTo>
                  <a:lnTo>
                    <a:pt x="82" y="11"/>
                  </a:lnTo>
                  <a:lnTo>
                    <a:pt x="82" y="22"/>
                  </a:lnTo>
                  <a:lnTo>
                    <a:pt x="82" y="33"/>
                  </a:lnTo>
                  <a:lnTo>
                    <a:pt x="71" y="44"/>
                  </a:lnTo>
                  <a:lnTo>
                    <a:pt x="71" y="60"/>
                  </a:lnTo>
                  <a:lnTo>
                    <a:pt x="77" y="60"/>
                  </a:lnTo>
                  <a:lnTo>
                    <a:pt x="87" y="60"/>
                  </a:lnTo>
                  <a:lnTo>
                    <a:pt x="87" y="71"/>
                  </a:lnTo>
                  <a:lnTo>
                    <a:pt x="93" y="71"/>
                  </a:lnTo>
                  <a:lnTo>
                    <a:pt x="93" y="82"/>
                  </a:lnTo>
                  <a:lnTo>
                    <a:pt x="98" y="88"/>
                  </a:lnTo>
                  <a:lnTo>
                    <a:pt x="104" y="93"/>
                  </a:lnTo>
                  <a:lnTo>
                    <a:pt x="109" y="88"/>
                  </a:lnTo>
                  <a:lnTo>
                    <a:pt x="115" y="9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0" name="Freeform 682"/>
            <p:cNvSpPr>
              <a:spLocks/>
            </p:cNvSpPr>
            <p:nvPr/>
          </p:nvSpPr>
          <p:spPr bwMode="auto">
            <a:xfrm>
              <a:off x="3945" y="2838"/>
              <a:ext cx="5" cy="6"/>
            </a:xfrm>
            <a:custGeom>
              <a:avLst/>
              <a:gdLst>
                <a:gd name="T0" fmla="*/ 5 w 5"/>
                <a:gd name="T1" fmla="*/ 0 h 6"/>
                <a:gd name="T2" fmla="*/ 0 w 5"/>
                <a:gd name="T3" fmla="*/ 6 h 6"/>
                <a:gd name="T4" fmla="*/ 5 w 5"/>
                <a:gd name="T5" fmla="*/ 6 h 6"/>
                <a:gd name="T6" fmla="*/ 5 w 5"/>
                <a:gd name="T7" fmla="*/ 0 h 6"/>
                <a:gd name="T8" fmla="*/ 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0"/>
                  </a:moveTo>
                  <a:lnTo>
                    <a:pt x="0" y="6"/>
                  </a:lnTo>
                  <a:lnTo>
                    <a:pt x="5" y="6"/>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1" name="Freeform 683"/>
            <p:cNvSpPr>
              <a:spLocks/>
            </p:cNvSpPr>
            <p:nvPr/>
          </p:nvSpPr>
          <p:spPr bwMode="auto">
            <a:xfrm>
              <a:off x="3999" y="2800"/>
              <a:ext cx="65" cy="55"/>
            </a:xfrm>
            <a:custGeom>
              <a:avLst/>
              <a:gdLst>
                <a:gd name="T0" fmla="*/ 65 w 65"/>
                <a:gd name="T1" fmla="*/ 0 h 55"/>
                <a:gd name="T2" fmla="*/ 65 w 65"/>
                <a:gd name="T3" fmla="*/ 33 h 55"/>
                <a:gd name="T4" fmla="*/ 54 w 65"/>
                <a:gd name="T5" fmla="*/ 38 h 55"/>
                <a:gd name="T6" fmla="*/ 49 w 65"/>
                <a:gd name="T7" fmla="*/ 38 h 55"/>
                <a:gd name="T8" fmla="*/ 44 w 65"/>
                <a:gd name="T9" fmla="*/ 38 h 55"/>
                <a:gd name="T10" fmla="*/ 44 w 65"/>
                <a:gd name="T11" fmla="*/ 49 h 55"/>
                <a:gd name="T12" fmla="*/ 33 w 65"/>
                <a:gd name="T13" fmla="*/ 49 h 55"/>
                <a:gd name="T14" fmla="*/ 33 w 65"/>
                <a:gd name="T15" fmla="*/ 55 h 55"/>
                <a:gd name="T16" fmla="*/ 27 w 65"/>
                <a:gd name="T17" fmla="*/ 55 h 55"/>
                <a:gd name="T18" fmla="*/ 16 w 65"/>
                <a:gd name="T19" fmla="*/ 55 h 55"/>
                <a:gd name="T20" fmla="*/ 16 w 65"/>
                <a:gd name="T21" fmla="*/ 49 h 55"/>
                <a:gd name="T22" fmla="*/ 11 w 65"/>
                <a:gd name="T23" fmla="*/ 49 h 55"/>
                <a:gd name="T24" fmla="*/ 5 w 65"/>
                <a:gd name="T25" fmla="*/ 44 h 55"/>
                <a:gd name="T26" fmla="*/ 5 w 65"/>
                <a:gd name="T27" fmla="*/ 33 h 55"/>
                <a:gd name="T28" fmla="*/ 0 w 65"/>
                <a:gd name="T29" fmla="*/ 27 h 55"/>
                <a:gd name="T30" fmla="*/ 0 w 65"/>
                <a:gd name="T31" fmla="*/ 22 h 55"/>
                <a:gd name="T32" fmla="*/ 0 w 65"/>
                <a:gd name="T33" fmla="*/ 11 h 55"/>
                <a:gd name="T34" fmla="*/ 11 w 65"/>
                <a:gd name="T35" fmla="*/ 5 h 55"/>
                <a:gd name="T36" fmla="*/ 38 w 65"/>
                <a:gd name="T37" fmla="*/ 5 h 55"/>
                <a:gd name="T38" fmla="*/ 44 w 65"/>
                <a:gd name="T39" fmla="*/ 11 h 55"/>
                <a:gd name="T40" fmla="*/ 49 w 65"/>
                <a:gd name="T41" fmla="*/ 5 h 55"/>
                <a:gd name="T42" fmla="*/ 60 w 65"/>
                <a:gd name="T43" fmla="*/ 5 h 55"/>
                <a:gd name="T44" fmla="*/ 65 w 65"/>
                <a:gd name="T45" fmla="*/ 0 h 55"/>
                <a:gd name="T46" fmla="*/ 65 w 65"/>
                <a:gd name="T47" fmla="*/ 0 h 5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5"/>
                <a:gd name="T73" fmla="*/ 0 h 55"/>
                <a:gd name="T74" fmla="*/ 65 w 65"/>
                <a:gd name="T75" fmla="*/ 55 h 5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5" h="55">
                  <a:moveTo>
                    <a:pt x="65" y="0"/>
                  </a:moveTo>
                  <a:lnTo>
                    <a:pt x="65" y="33"/>
                  </a:lnTo>
                  <a:lnTo>
                    <a:pt x="54" y="38"/>
                  </a:lnTo>
                  <a:lnTo>
                    <a:pt x="49" y="38"/>
                  </a:lnTo>
                  <a:lnTo>
                    <a:pt x="44" y="38"/>
                  </a:lnTo>
                  <a:lnTo>
                    <a:pt x="44" y="49"/>
                  </a:lnTo>
                  <a:lnTo>
                    <a:pt x="33" y="49"/>
                  </a:lnTo>
                  <a:lnTo>
                    <a:pt x="33" y="55"/>
                  </a:lnTo>
                  <a:lnTo>
                    <a:pt x="27" y="55"/>
                  </a:lnTo>
                  <a:lnTo>
                    <a:pt x="16" y="55"/>
                  </a:lnTo>
                  <a:lnTo>
                    <a:pt x="16" y="49"/>
                  </a:lnTo>
                  <a:lnTo>
                    <a:pt x="11" y="49"/>
                  </a:lnTo>
                  <a:lnTo>
                    <a:pt x="5" y="44"/>
                  </a:lnTo>
                  <a:lnTo>
                    <a:pt x="5" y="33"/>
                  </a:lnTo>
                  <a:lnTo>
                    <a:pt x="0" y="27"/>
                  </a:lnTo>
                  <a:lnTo>
                    <a:pt x="0" y="22"/>
                  </a:lnTo>
                  <a:lnTo>
                    <a:pt x="0" y="11"/>
                  </a:lnTo>
                  <a:lnTo>
                    <a:pt x="11" y="5"/>
                  </a:lnTo>
                  <a:lnTo>
                    <a:pt x="38" y="5"/>
                  </a:lnTo>
                  <a:lnTo>
                    <a:pt x="44" y="11"/>
                  </a:lnTo>
                  <a:lnTo>
                    <a:pt x="49" y="5"/>
                  </a:lnTo>
                  <a:lnTo>
                    <a:pt x="60" y="5"/>
                  </a:lnTo>
                  <a:lnTo>
                    <a:pt x="6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2" name="Freeform 684"/>
            <p:cNvSpPr>
              <a:spLocks/>
            </p:cNvSpPr>
            <p:nvPr/>
          </p:nvSpPr>
          <p:spPr bwMode="auto">
            <a:xfrm>
              <a:off x="3629" y="2178"/>
              <a:ext cx="789" cy="546"/>
            </a:xfrm>
            <a:custGeom>
              <a:avLst/>
              <a:gdLst>
                <a:gd name="T0" fmla="*/ 33 w 789"/>
                <a:gd name="T1" fmla="*/ 245 h 546"/>
                <a:gd name="T2" fmla="*/ 87 w 789"/>
                <a:gd name="T3" fmla="*/ 207 h 546"/>
                <a:gd name="T4" fmla="*/ 109 w 789"/>
                <a:gd name="T5" fmla="*/ 147 h 546"/>
                <a:gd name="T6" fmla="*/ 152 w 789"/>
                <a:gd name="T7" fmla="*/ 109 h 546"/>
                <a:gd name="T8" fmla="*/ 180 w 789"/>
                <a:gd name="T9" fmla="*/ 87 h 546"/>
                <a:gd name="T10" fmla="*/ 218 w 789"/>
                <a:gd name="T11" fmla="*/ 136 h 546"/>
                <a:gd name="T12" fmla="*/ 278 w 789"/>
                <a:gd name="T13" fmla="*/ 175 h 546"/>
                <a:gd name="T14" fmla="*/ 403 w 789"/>
                <a:gd name="T15" fmla="*/ 224 h 546"/>
                <a:gd name="T16" fmla="*/ 484 w 789"/>
                <a:gd name="T17" fmla="*/ 175 h 546"/>
                <a:gd name="T18" fmla="*/ 539 w 789"/>
                <a:gd name="T19" fmla="*/ 153 h 546"/>
                <a:gd name="T20" fmla="*/ 571 w 789"/>
                <a:gd name="T21" fmla="*/ 109 h 546"/>
                <a:gd name="T22" fmla="*/ 550 w 789"/>
                <a:gd name="T23" fmla="*/ 71 h 546"/>
                <a:gd name="T24" fmla="*/ 604 w 789"/>
                <a:gd name="T25" fmla="*/ 27 h 546"/>
                <a:gd name="T26" fmla="*/ 642 w 789"/>
                <a:gd name="T27" fmla="*/ 0 h 546"/>
                <a:gd name="T28" fmla="*/ 691 w 789"/>
                <a:gd name="T29" fmla="*/ 49 h 546"/>
                <a:gd name="T30" fmla="*/ 735 w 789"/>
                <a:gd name="T31" fmla="*/ 109 h 546"/>
                <a:gd name="T32" fmla="*/ 789 w 789"/>
                <a:gd name="T33" fmla="*/ 115 h 546"/>
                <a:gd name="T34" fmla="*/ 751 w 789"/>
                <a:gd name="T35" fmla="*/ 158 h 546"/>
                <a:gd name="T36" fmla="*/ 735 w 789"/>
                <a:gd name="T37" fmla="*/ 207 h 546"/>
                <a:gd name="T38" fmla="*/ 702 w 789"/>
                <a:gd name="T39" fmla="*/ 229 h 546"/>
                <a:gd name="T40" fmla="*/ 653 w 789"/>
                <a:gd name="T41" fmla="*/ 256 h 546"/>
                <a:gd name="T42" fmla="*/ 620 w 789"/>
                <a:gd name="T43" fmla="*/ 262 h 546"/>
                <a:gd name="T44" fmla="*/ 604 w 789"/>
                <a:gd name="T45" fmla="*/ 251 h 546"/>
                <a:gd name="T46" fmla="*/ 566 w 789"/>
                <a:gd name="T47" fmla="*/ 273 h 546"/>
                <a:gd name="T48" fmla="*/ 593 w 789"/>
                <a:gd name="T49" fmla="*/ 300 h 546"/>
                <a:gd name="T50" fmla="*/ 626 w 789"/>
                <a:gd name="T51" fmla="*/ 300 h 546"/>
                <a:gd name="T52" fmla="*/ 604 w 789"/>
                <a:gd name="T53" fmla="*/ 316 h 546"/>
                <a:gd name="T54" fmla="*/ 599 w 789"/>
                <a:gd name="T55" fmla="*/ 344 h 546"/>
                <a:gd name="T56" fmla="*/ 604 w 789"/>
                <a:gd name="T57" fmla="*/ 382 h 546"/>
                <a:gd name="T58" fmla="*/ 620 w 789"/>
                <a:gd name="T59" fmla="*/ 409 h 546"/>
                <a:gd name="T60" fmla="*/ 615 w 789"/>
                <a:gd name="T61" fmla="*/ 420 h 546"/>
                <a:gd name="T62" fmla="*/ 593 w 789"/>
                <a:gd name="T63" fmla="*/ 458 h 546"/>
                <a:gd name="T64" fmla="*/ 577 w 789"/>
                <a:gd name="T65" fmla="*/ 486 h 546"/>
                <a:gd name="T66" fmla="*/ 566 w 789"/>
                <a:gd name="T67" fmla="*/ 502 h 546"/>
                <a:gd name="T68" fmla="*/ 528 w 789"/>
                <a:gd name="T69" fmla="*/ 513 h 546"/>
                <a:gd name="T70" fmla="*/ 528 w 789"/>
                <a:gd name="T71" fmla="*/ 518 h 546"/>
                <a:gd name="T72" fmla="*/ 512 w 789"/>
                <a:gd name="T73" fmla="*/ 518 h 546"/>
                <a:gd name="T74" fmla="*/ 473 w 789"/>
                <a:gd name="T75" fmla="*/ 546 h 546"/>
                <a:gd name="T76" fmla="*/ 446 w 789"/>
                <a:gd name="T77" fmla="*/ 529 h 546"/>
                <a:gd name="T78" fmla="*/ 424 w 789"/>
                <a:gd name="T79" fmla="*/ 524 h 546"/>
                <a:gd name="T80" fmla="*/ 381 w 789"/>
                <a:gd name="T81" fmla="*/ 518 h 546"/>
                <a:gd name="T82" fmla="*/ 359 w 789"/>
                <a:gd name="T83" fmla="*/ 535 h 546"/>
                <a:gd name="T84" fmla="*/ 337 w 789"/>
                <a:gd name="T85" fmla="*/ 524 h 546"/>
                <a:gd name="T86" fmla="*/ 316 w 789"/>
                <a:gd name="T87" fmla="*/ 496 h 546"/>
                <a:gd name="T88" fmla="*/ 321 w 789"/>
                <a:gd name="T89" fmla="*/ 447 h 546"/>
                <a:gd name="T90" fmla="*/ 299 w 789"/>
                <a:gd name="T91" fmla="*/ 431 h 546"/>
                <a:gd name="T92" fmla="*/ 278 w 789"/>
                <a:gd name="T93" fmla="*/ 420 h 546"/>
                <a:gd name="T94" fmla="*/ 207 w 789"/>
                <a:gd name="T95" fmla="*/ 436 h 546"/>
                <a:gd name="T96" fmla="*/ 174 w 789"/>
                <a:gd name="T97" fmla="*/ 442 h 546"/>
                <a:gd name="T98" fmla="*/ 147 w 789"/>
                <a:gd name="T99" fmla="*/ 431 h 546"/>
                <a:gd name="T100" fmla="*/ 114 w 789"/>
                <a:gd name="T101" fmla="*/ 409 h 546"/>
                <a:gd name="T102" fmla="*/ 71 w 789"/>
                <a:gd name="T103" fmla="*/ 393 h 546"/>
                <a:gd name="T104" fmla="*/ 71 w 789"/>
                <a:gd name="T105" fmla="*/ 376 h 546"/>
                <a:gd name="T106" fmla="*/ 76 w 789"/>
                <a:gd name="T107" fmla="*/ 349 h 546"/>
                <a:gd name="T108" fmla="*/ 82 w 789"/>
                <a:gd name="T109" fmla="*/ 322 h 546"/>
                <a:gd name="T110" fmla="*/ 33 w 789"/>
                <a:gd name="T111" fmla="*/ 322 h 546"/>
                <a:gd name="T112" fmla="*/ 22 w 789"/>
                <a:gd name="T113" fmla="*/ 300 h 546"/>
                <a:gd name="T114" fmla="*/ 16 w 789"/>
                <a:gd name="T115" fmla="*/ 278 h 546"/>
                <a:gd name="T116" fmla="*/ 0 w 789"/>
                <a:gd name="T117" fmla="*/ 256 h 5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9"/>
                <a:gd name="T178" fmla="*/ 0 h 546"/>
                <a:gd name="T179" fmla="*/ 789 w 789"/>
                <a:gd name="T180" fmla="*/ 546 h 5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9" h="546">
                  <a:moveTo>
                    <a:pt x="0" y="256"/>
                  </a:moveTo>
                  <a:lnTo>
                    <a:pt x="5" y="251"/>
                  </a:lnTo>
                  <a:lnTo>
                    <a:pt x="16" y="245"/>
                  </a:lnTo>
                  <a:lnTo>
                    <a:pt x="33" y="245"/>
                  </a:lnTo>
                  <a:lnTo>
                    <a:pt x="43" y="235"/>
                  </a:lnTo>
                  <a:lnTo>
                    <a:pt x="60" y="235"/>
                  </a:lnTo>
                  <a:lnTo>
                    <a:pt x="65" y="229"/>
                  </a:lnTo>
                  <a:lnTo>
                    <a:pt x="82" y="218"/>
                  </a:lnTo>
                  <a:lnTo>
                    <a:pt x="87" y="207"/>
                  </a:lnTo>
                  <a:lnTo>
                    <a:pt x="87" y="196"/>
                  </a:lnTo>
                  <a:lnTo>
                    <a:pt x="87" y="175"/>
                  </a:lnTo>
                  <a:lnTo>
                    <a:pt x="82" y="169"/>
                  </a:lnTo>
                  <a:lnTo>
                    <a:pt x="109" y="158"/>
                  </a:lnTo>
                  <a:lnTo>
                    <a:pt x="109" y="147"/>
                  </a:lnTo>
                  <a:lnTo>
                    <a:pt x="120" y="125"/>
                  </a:lnTo>
                  <a:lnTo>
                    <a:pt x="141" y="125"/>
                  </a:lnTo>
                  <a:lnTo>
                    <a:pt x="141" y="131"/>
                  </a:lnTo>
                  <a:lnTo>
                    <a:pt x="152" y="125"/>
                  </a:lnTo>
                  <a:lnTo>
                    <a:pt x="152" y="109"/>
                  </a:lnTo>
                  <a:lnTo>
                    <a:pt x="158" y="98"/>
                  </a:lnTo>
                  <a:lnTo>
                    <a:pt x="163" y="98"/>
                  </a:lnTo>
                  <a:lnTo>
                    <a:pt x="169" y="93"/>
                  </a:lnTo>
                  <a:lnTo>
                    <a:pt x="174" y="93"/>
                  </a:lnTo>
                  <a:lnTo>
                    <a:pt x="180" y="87"/>
                  </a:lnTo>
                  <a:lnTo>
                    <a:pt x="185" y="98"/>
                  </a:lnTo>
                  <a:lnTo>
                    <a:pt x="196" y="109"/>
                  </a:lnTo>
                  <a:lnTo>
                    <a:pt x="212" y="115"/>
                  </a:lnTo>
                  <a:lnTo>
                    <a:pt x="218" y="136"/>
                  </a:lnTo>
                  <a:lnTo>
                    <a:pt x="218" y="153"/>
                  </a:lnTo>
                  <a:lnTo>
                    <a:pt x="218" y="158"/>
                  </a:lnTo>
                  <a:lnTo>
                    <a:pt x="239" y="164"/>
                  </a:lnTo>
                  <a:lnTo>
                    <a:pt x="250" y="164"/>
                  </a:lnTo>
                  <a:lnTo>
                    <a:pt x="278" y="175"/>
                  </a:lnTo>
                  <a:lnTo>
                    <a:pt x="288" y="191"/>
                  </a:lnTo>
                  <a:lnTo>
                    <a:pt x="299" y="207"/>
                  </a:lnTo>
                  <a:lnTo>
                    <a:pt x="348" y="202"/>
                  </a:lnTo>
                  <a:lnTo>
                    <a:pt x="370" y="213"/>
                  </a:lnTo>
                  <a:lnTo>
                    <a:pt x="403" y="224"/>
                  </a:lnTo>
                  <a:lnTo>
                    <a:pt x="435" y="213"/>
                  </a:lnTo>
                  <a:lnTo>
                    <a:pt x="452" y="213"/>
                  </a:lnTo>
                  <a:lnTo>
                    <a:pt x="468" y="207"/>
                  </a:lnTo>
                  <a:lnTo>
                    <a:pt x="495" y="185"/>
                  </a:lnTo>
                  <a:lnTo>
                    <a:pt x="484" y="175"/>
                  </a:lnTo>
                  <a:lnTo>
                    <a:pt x="495" y="164"/>
                  </a:lnTo>
                  <a:lnTo>
                    <a:pt x="512" y="169"/>
                  </a:lnTo>
                  <a:lnTo>
                    <a:pt x="528" y="153"/>
                  </a:lnTo>
                  <a:lnTo>
                    <a:pt x="539" y="153"/>
                  </a:lnTo>
                  <a:lnTo>
                    <a:pt x="555" y="136"/>
                  </a:lnTo>
                  <a:lnTo>
                    <a:pt x="588" y="131"/>
                  </a:lnTo>
                  <a:lnTo>
                    <a:pt x="588" y="125"/>
                  </a:lnTo>
                  <a:lnTo>
                    <a:pt x="582" y="120"/>
                  </a:lnTo>
                  <a:lnTo>
                    <a:pt x="571" y="109"/>
                  </a:lnTo>
                  <a:lnTo>
                    <a:pt x="555" y="115"/>
                  </a:lnTo>
                  <a:lnTo>
                    <a:pt x="539" y="115"/>
                  </a:lnTo>
                  <a:lnTo>
                    <a:pt x="539" y="109"/>
                  </a:lnTo>
                  <a:lnTo>
                    <a:pt x="539" y="87"/>
                  </a:lnTo>
                  <a:lnTo>
                    <a:pt x="550" y="71"/>
                  </a:lnTo>
                  <a:lnTo>
                    <a:pt x="566" y="76"/>
                  </a:lnTo>
                  <a:lnTo>
                    <a:pt x="588" y="65"/>
                  </a:lnTo>
                  <a:lnTo>
                    <a:pt x="588" y="60"/>
                  </a:lnTo>
                  <a:lnTo>
                    <a:pt x="593" y="38"/>
                  </a:lnTo>
                  <a:lnTo>
                    <a:pt x="604" y="27"/>
                  </a:lnTo>
                  <a:lnTo>
                    <a:pt x="604" y="16"/>
                  </a:lnTo>
                  <a:lnTo>
                    <a:pt x="593" y="16"/>
                  </a:lnTo>
                  <a:lnTo>
                    <a:pt x="599" y="16"/>
                  </a:lnTo>
                  <a:lnTo>
                    <a:pt x="610" y="5"/>
                  </a:lnTo>
                  <a:lnTo>
                    <a:pt x="642" y="0"/>
                  </a:lnTo>
                  <a:lnTo>
                    <a:pt x="653" y="5"/>
                  </a:lnTo>
                  <a:lnTo>
                    <a:pt x="669" y="11"/>
                  </a:lnTo>
                  <a:lnTo>
                    <a:pt x="680" y="22"/>
                  </a:lnTo>
                  <a:lnTo>
                    <a:pt x="680" y="33"/>
                  </a:lnTo>
                  <a:lnTo>
                    <a:pt x="691" y="49"/>
                  </a:lnTo>
                  <a:lnTo>
                    <a:pt x="691" y="76"/>
                  </a:lnTo>
                  <a:lnTo>
                    <a:pt x="713" y="82"/>
                  </a:lnTo>
                  <a:lnTo>
                    <a:pt x="735" y="93"/>
                  </a:lnTo>
                  <a:lnTo>
                    <a:pt x="735" y="98"/>
                  </a:lnTo>
                  <a:lnTo>
                    <a:pt x="735" y="109"/>
                  </a:lnTo>
                  <a:lnTo>
                    <a:pt x="740" y="115"/>
                  </a:lnTo>
                  <a:lnTo>
                    <a:pt x="751" y="115"/>
                  </a:lnTo>
                  <a:lnTo>
                    <a:pt x="789" y="98"/>
                  </a:lnTo>
                  <a:lnTo>
                    <a:pt x="784" y="104"/>
                  </a:lnTo>
                  <a:lnTo>
                    <a:pt x="789" y="115"/>
                  </a:lnTo>
                  <a:lnTo>
                    <a:pt x="778" y="120"/>
                  </a:lnTo>
                  <a:lnTo>
                    <a:pt x="773" y="142"/>
                  </a:lnTo>
                  <a:lnTo>
                    <a:pt x="767" y="164"/>
                  </a:lnTo>
                  <a:lnTo>
                    <a:pt x="762" y="164"/>
                  </a:lnTo>
                  <a:lnTo>
                    <a:pt x="751" y="158"/>
                  </a:lnTo>
                  <a:lnTo>
                    <a:pt x="740" y="169"/>
                  </a:lnTo>
                  <a:lnTo>
                    <a:pt x="740" y="180"/>
                  </a:lnTo>
                  <a:lnTo>
                    <a:pt x="740" y="196"/>
                  </a:lnTo>
                  <a:lnTo>
                    <a:pt x="735" y="202"/>
                  </a:lnTo>
                  <a:lnTo>
                    <a:pt x="735" y="207"/>
                  </a:lnTo>
                  <a:lnTo>
                    <a:pt x="724" y="202"/>
                  </a:lnTo>
                  <a:lnTo>
                    <a:pt x="718" y="213"/>
                  </a:lnTo>
                  <a:lnTo>
                    <a:pt x="713" y="218"/>
                  </a:lnTo>
                  <a:lnTo>
                    <a:pt x="702" y="218"/>
                  </a:lnTo>
                  <a:lnTo>
                    <a:pt x="702" y="229"/>
                  </a:lnTo>
                  <a:lnTo>
                    <a:pt x="691" y="229"/>
                  </a:lnTo>
                  <a:lnTo>
                    <a:pt x="686" y="224"/>
                  </a:lnTo>
                  <a:lnTo>
                    <a:pt x="675" y="240"/>
                  </a:lnTo>
                  <a:lnTo>
                    <a:pt x="659" y="245"/>
                  </a:lnTo>
                  <a:lnTo>
                    <a:pt x="653" y="256"/>
                  </a:lnTo>
                  <a:lnTo>
                    <a:pt x="642" y="256"/>
                  </a:lnTo>
                  <a:lnTo>
                    <a:pt x="615" y="273"/>
                  </a:lnTo>
                  <a:lnTo>
                    <a:pt x="610" y="273"/>
                  </a:lnTo>
                  <a:lnTo>
                    <a:pt x="615" y="267"/>
                  </a:lnTo>
                  <a:lnTo>
                    <a:pt x="620" y="262"/>
                  </a:lnTo>
                  <a:lnTo>
                    <a:pt x="615" y="262"/>
                  </a:lnTo>
                  <a:lnTo>
                    <a:pt x="626" y="245"/>
                  </a:lnTo>
                  <a:lnTo>
                    <a:pt x="620" y="235"/>
                  </a:lnTo>
                  <a:lnTo>
                    <a:pt x="610" y="240"/>
                  </a:lnTo>
                  <a:lnTo>
                    <a:pt x="604" y="251"/>
                  </a:lnTo>
                  <a:lnTo>
                    <a:pt x="593" y="256"/>
                  </a:lnTo>
                  <a:lnTo>
                    <a:pt x="588" y="262"/>
                  </a:lnTo>
                  <a:lnTo>
                    <a:pt x="577" y="267"/>
                  </a:lnTo>
                  <a:lnTo>
                    <a:pt x="571" y="267"/>
                  </a:lnTo>
                  <a:lnTo>
                    <a:pt x="566" y="273"/>
                  </a:lnTo>
                  <a:lnTo>
                    <a:pt x="566" y="278"/>
                  </a:lnTo>
                  <a:lnTo>
                    <a:pt x="571" y="284"/>
                  </a:lnTo>
                  <a:lnTo>
                    <a:pt x="582" y="289"/>
                  </a:lnTo>
                  <a:lnTo>
                    <a:pt x="582" y="300"/>
                  </a:lnTo>
                  <a:lnTo>
                    <a:pt x="593" y="300"/>
                  </a:lnTo>
                  <a:lnTo>
                    <a:pt x="610" y="289"/>
                  </a:lnTo>
                  <a:lnTo>
                    <a:pt x="615" y="295"/>
                  </a:lnTo>
                  <a:lnTo>
                    <a:pt x="631" y="295"/>
                  </a:lnTo>
                  <a:lnTo>
                    <a:pt x="626" y="305"/>
                  </a:lnTo>
                  <a:lnTo>
                    <a:pt x="626" y="300"/>
                  </a:lnTo>
                  <a:lnTo>
                    <a:pt x="620" y="300"/>
                  </a:lnTo>
                  <a:lnTo>
                    <a:pt x="620" y="305"/>
                  </a:lnTo>
                  <a:lnTo>
                    <a:pt x="610" y="305"/>
                  </a:lnTo>
                  <a:lnTo>
                    <a:pt x="610" y="311"/>
                  </a:lnTo>
                  <a:lnTo>
                    <a:pt x="604" y="316"/>
                  </a:lnTo>
                  <a:lnTo>
                    <a:pt x="599" y="316"/>
                  </a:lnTo>
                  <a:lnTo>
                    <a:pt x="599" y="322"/>
                  </a:lnTo>
                  <a:lnTo>
                    <a:pt x="593" y="327"/>
                  </a:lnTo>
                  <a:lnTo>
                    <a:pt x="588" y="338"/>
                  </a:lnTo>
                  <a:lnTo>
                    <a:pt x="599" y="344"/>
                  </a:lnTo>
                  <a:lnTo>
                    <a:pt x="610" y="371"/>
                  </a:lnTo>
                  <a:lnTo>
                    <a:pt x="620" y="382"/>
                  </a:lnTo>
                  <a:lnTo>
                    <a:pt x="604" y="376"/>
                  </a:lnTo>
                  <a:lnTo>
                    <a:pt x="599" y="382"/>
                  </a:lnTo>
                  <a:lnTo>
                    <a:pt x="604" y="382"/>
                  </a:lnTo>
                  <a:lnTo>
                    <a:pt x="610" y="387"/>
                  </a:lnTo>
                  <a:lnTo>
                    <a:pt x="620" y="393"/>
                  </a:lnTo>
                  <a:lnTo>
                    <a:pt x="599" y="409"/>
                  </a:lnTo>
                  <a:lnTo>
                    <a:pt x="610" y="404"/>
                  </a:lnTo>
                  <a:lnTo>
                    <a:pt x="620" y="409"/>
                  </a:lnTo>
                  <a:lnTo>
                    <a:pt x="615" y="415"/>
                  </a:lnTo>
                  <a:lnTo>
                    <a:pt x="620" y="415"/>
                  </a:lnTo>
                  <a:lnTo>
                    <a:pt x="620" y="420"/>
                  </a:lnTo>
                  <a:lnTo>
                    <a:pt x="615" y="420"/>
                  </a:lnTo>
                  <a:lnTo>
                    <a:pt x="615" y="426"/>
                  </a:lnTo>
                  <a:lnTo>
                    <a:pt x="615" y="436"/>
                  </a:lnTo>
                  <a:lnTo>
                    <a:pt x="610" y="436"/>
                  </a:lnTo>
                  <a:lnTo>
                    <a:pt x="593" y="458"/>
                  </a:lnTo>
                  <a:lnTo>
                    <a:pt x="593" y="464"/>
                  </a:lnTo>
                  <a:lnTo>
                    <a:pt x="588" y="475"/>
                  </a:lnTo>
                  <a:lnTo>
                    <a:pt x="577" y="486"/>
                  </a:lnTo>
                  <a:lnTo>
                    <a:pt x="571" y="491"/>
                  </a:lnTo>
                  <a:lnTo>
                    <a:pt x="566" y="502"/>
                  </a:lnTo>
                  <a:lnTo>
                    <a:pt x="566" y="496"/>
                  </a:lnTo>
                  <a:lnTo>
                    <a:pt x="566" y="502"/>
                  </a:lnTo>
                  <a:lnTo>
                    <a:pt x="555" y="502"/>
                  </a:lnTo>
                  <a:lnTo>
                    <a:pt x="550" y="507"/>
                  </a:lnTo>
                  <a:lnTo>
                    <a:pt x="539" y="513"/>
                  </a:lnTo>
                  <a:lnTo>
                    <a:pt x="533" y="513"/>
                  </a:lnTo>
                  <a:lnTo>
                    <a:pt x="528" y="513"/>
                  </a:lnTo>
                  <a:lnTo>
                    <a:pt x="528" y="518"/>
                  </a:lnTo>
                  <a:lnTo>
                    <a:pt x="522" y="518"/>
                  </a:lnTo>
                  <a:lnTo>
                    <a:pt x="528" y="518"/>
                  </a:lnTo>
                  <a:lnTo>
                    <a:pt x="522" y="518"/>
                  </a:lnTo>
                  <a:lnTo>
                    <a:pt x="517" y="518"/>
                  </a:lnTo>
                  <a:lnTo>
                    <a:pt x="512" y="513"/>
                  </a:lnTo>
                  <a:lnTo>
                    <a:pt x="512" y="518"/>
                  </a:lnTo>
                  <a:lnTo>
                    <a:pt x="506" y="513"/>
                  </a:lnTo>
                  <a:lnTo>
                    <a:pt x="506" y="524"/>
                  </a:lnTo>
                  <a:lnTo>
                    <a:pt x="473" y="535"/>
                  </a:lnTo>
                  <a:lnTo>
                    <a:pt x="468" y="540"/>
                  </a:lnTo>
                  <a:lnTo>
                    <a:pt x="473" y="546"/>
                  </a:lnTo>
                  <a:lnTo>
                    <a:pt x="468" y="546"/>
                  </a:lnTo>
                  <a:lnTo>
                    <a:pt x="463" y="540"/>
                  </a:lnTo>
                  <a:lnTo>
                    <a:pt x="463" y="529"/>
                  </a:lnTo>
                  <a:lnTo>
                    <a:pt x="457" y="535"/>
                  </a:lnTo>
                  <a:lnTo>
                    <a:pt x="446" y="529"/>
                  </a:lnTo>
                  <a:lnTo>
                    <a:pt x="441" y="529"/>
                  </a:lnTo>
                  <a:lnTo>
                    <a:pt x="435" y="529"/>
                  </a:lnTo>
                  <a:lnTo>
                    <a:pt x="424" y="524"/>
                  </a:lnTo>
                  <a:lnTo>
                    <a:pt x="424" y="513"/>
                  </a:lnTo>
                  <a:lnTo>
                    <a:pt x="408" y="507"/>
                  </a:lnTo>
                  <a:lnTo>
                    <a:pt x="386" y="518"/>
                  </a:lnTo>
                  <a:lnTo>
                    <a:pt x="381" y="513"/>
                  </a:lnTo>
                  <a:lnTo>
                    <a:pt x="381" y="518"/>
                  </a:lnTo>
                  <a:lnTo>
                    <a:pt x="370" y="513"/>
                  </a:lnTo>
                  <a:lnTo>
                    <a:pt x="370" y="518"/>
                  </a:lnTo>
                  <a:lnTo>
                    <a:pt x="365" y="518"/>
                  </a:lnTo>
                  <a:lnTo>
                    <a:pt x="359" y="518"/>
                  </a:lnTo>
                  <a:lnTo>
                    <a:pt x="359" y="535"/>
                  </a:lnTo>
                  <a:lnTo>
                    <a:pt x="354" y="535"/>
                  </a:lnTo>
                  <a:lnTo>
                    <a:pt x="354" y="529"/>
                  </a:lnTo>
                  <a:lnTo>
                    <a:pt x="348" y="524"/>
                  </a:lnTo>
                  <a:lnTo>
                    <a:pt x="343" y="529"/>
                  </a:lnTo>
                  <a:lnTo>
                    <a:pt x="337" y="524"/>
                  </a:lnTo>
                  <a:lnTo>
                    <a:pt x="332" y="518"/>
                  </a:lnTo>
                  <a:lnTo>
                    <a:pt x="332" y="507"/>
                  </a:lnTo>
                  <a:lnTo>
                    <a:pt x="326" y="507"/>
                  </a:lnTo>
                  <a:lnTo>
                    <a:pt x="326" y="496"/>
                  </a:lnTo>
                  <a:lnTo>
                    <a:pt x="316" y="496"/>
                  </a:lnTo>
                  <a:lnTo>
                    <a:pt x="310" y="496"/>
                  </a:lnTo>
                  <a:lnTo>
                    <a:pt x="310" y="480"/>
                  </a:lnTo>
                  <a:lnTo>
                    <a:pt x="321" y="469"/>
                  </a:lnTo>
                  <a:lnTo>
                    <a:pt x="321" y="458"/>
                  </a:lnTo>
                  <a:lnTo>
                    <a:pt x="321" y="447"/>
                  </a:lnTo>
                  <a:lnTo>
                    <a:pt x="316" y="447"/>
                  </a:lnTo>
                  <a:lnTo>
                    <a:pt x="310" y="436"/>
                  </a:lnTo>
                  <a:lnTo>
                    <a:pt x="305" y="436"/>
                  </a:lnTo>
                  <a:lnTo>
                    <a:pt x="299" y="431"/>
                  </a:lnTo>
                  <a:lnTo>
                    <a:pt x="294" y="431"/>
                  </a:lnTo>
                  <a:lnTo>
                    <a:pt x="294" y="426"/>
                  </a:lnTo>
                  <a:lnTo>
                    <a:pt x="288" y="426"/>
                  </a:lnTo>
                  <a:lnTo>
                    <a:pt x="288" y="415"/>
                  </a:lnTo>
                  <a:lnTo>
                    <a:pt x="278" y="420"/>
                  </a:lnTo>
                  <a:lnTo>
                    <a:pt x="267" y="420"/>
                  </a:lnTo>
                  <a:lnTo>
                    <a:pt x="250" y="436"/>
                  </a:lnTo>
                  <a:lnTo>
                    <a:pt x="234" y="442"/>
                  </a:lnTo>
                  <a:lnTo>
                    <a:pt x="229" y="436"/>
                  </a:lnTo>
                  <a:lnTo>
                    <a:pt x="207" y="436"/>
                  </a:lnTo>
                  <a:lnTo>
                    <a:pt x="196" y="447"/>
                  </a:lnTo>
                  <a:lnTo>
                    <a:pt x="196" y="436"/>
                  </a:lnTo>
                  <a:lnTo>
                    <a:pt x="185" y="442"/>
                  </a:lnTo>
                  <a:lnTo>
                    <a:pt x="174" y="442"/>
                  </a:lnTo>
                  <a:lnTo>
                    <a:pt x="169" y="436"/>
                  </a:lnTo>
                  <a:lnTo>
                    <a:pt x="158" y="442"/>
                  </a:lnTo>
                  <a:lnTo>
                    <a:pt x="152" y="436"/>
                  </a:lnTo>
                  <a:lnTo>
                    <a:pt x="147" y="436"/>
                  </a:lnTo>
                  <a:lnTo>
                    <a:pt x="147" y="431"/>
                  </a:lnTo>
                  <a:lnTo>
                    <a:pt x="136" y="426"/>
                  </a:lnTo>
                  <a:lnTo>
                    <a:pt x="136" y="420"/>
                  </a:lnTo>
                  <a:lnTo>
                    <a:pt x="125" y="426"/>
                  </a:lnTo>
                  <a:lnTo>
                    <a:pt x="120" y="415"/>
                  </a:lnTo>
                  <a:lnTo>
                    <a:pt x="114" y="409"/>
                  </a:lnTo>
                  <a:lnTo>
                    <a:pt x="98" y="404"/>
                  </a:lnTo>
                  <a:lnTo>
                    <a:pt x="98" y="409"/>
                  </a:lnTo>
                  <a:lnTo>
                    <a:pt x="92" y="404"/>
                  </a:lnTo>
                  <a:lnTo>
                    <a:pt x="76" y="393"/>
                  </a:lnTo>
                  <a:lnTo>
                    <a:pt x="71" y="393"/>
                  </a:lnTo>
                  <a:lnTo>
                    <a:pt x="65" y="387"/>
                  </a:lnTo>
                  <a:lnTo>
                    <a:pt x="65" y="382"/>
                  </a:lnTo>
                  <a:lnTo>
                    <a:pt x="60" y="371"/>
                  </a:lnTo>
                  <a:lnTo>
                    <a:pt x="65" y="371"/>
                  </a:lnTo>
                  <a:lnTo>
                    <a:pt x="71" y="376"/>
                  </a:lnTo>
                  <a:lnTo>
                    <a:pt x="76" y="371"/>
                  </a:lnTo>
                  <a:lnTo>
                    <a:pt x="76" y="360"/>
                  </a:lnTo>
                  <a:lnTo>
                    <a:pt x="71" y="360"/>
                  </a:lnTo>
                  <a:lnTo>
                    <a:pt x="65" y="349"/>
                  </a:lnTo>
                  <a:lnTo>
                    <a:pt x="76" y="349"/>
                  </a:lnTo>
                  <a:lnTo>
                    <a:pt x="76" y="344"/>
                  </a:lnTo>
                  <a:lnTo>
                    <a:pt x="82" y="338"/>
                  </a:lnTo>
                  <a:lnTo>
                    <a:pt x="87" y="327"/>
                  </a:lnTo>
                  <a:lnTo>
                    <a:pt x="82" y="327"/>
                  </a:lnTo>
                  <a:lnTo>
                    <a:pt x="82" y="322"/>
                  </a:lnTo>
                  <a:lnTo>
                    <a:pt x="71" y="316"/>
                  </a:lnTo>
                  <a:lnTo>
                    <a:pt x="49" y="327"/>
                  </a:lnTo>
                  <a:lnTo>
                    <a:pt x="38" y="322"/>
                  </a:lnTo>
                  <a:lnTo>
                    <a:pt x="38" y="316"/>
                  </a:lnTo>
                  <a:lnTo>
                    <a:pt x="33" y="322"/>
                  </a:lnTo>
                  <a:lnTo>
                    <a:pt x="27" y="316"/>
                  </a:lnTo>
                  <a:lnTo>
                    <a:pt x="27" y="311"/>
                  </a:lnTo>
                  <a:lnTo>
                    <a:pt x="27" y="305"/>
                  </a:lnTo>
                  <a:lnTo>
                    <a:pt x="22" y="305"/>
                  </a:lnTo>
                  <a:lnTo>
                    <a:pt x="22" y="300"/>
                  </a:lnTo>
                  <a:lnTo>
                    <a:pt x="11" y="300"/>
                  </a:lnTo>
                  <a:lnTo>
                    <a:pt x="16" y="295"/>
                  </a:lnTo>
                  <a:lnTo>
                    <a:pt x="16" y="278"/>
                  </a:lnTo>
                  <a:lnTo>
                    <a:pt x="11" y="278"/>
                  </a:lnTo>
                  <a:lnTo>
                    <a:pt x="5" y="278"/>
                  </a:lnTo>
                  <a:lnTo>
                    <a:pt x="0" y="273"/>
                  </a:lnTo>
                  <a:lnTo>
                    <a:pt x="0" y="25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3" name="Freeform 685"/>
            <p:cNvSpPr>
              <a:spLocks/>
            </p:cNvSpPr>
            <p:nvPr/>
          </p:nvSpPr>
          <p:spPr bwMode="auto">
            <a:xfrm>
              <a:off x="4081" y="2729"/>
              <a:ext cx="27" cy="22"/>
            </a:xfrm>
            <a:custGeom>
              <a:avLst/>
              <a:gdLst>
                <a:gd name="T0" fmla="*/ 21 w 27"/>
                <a:gd name="T1" fmla="*/ 0 h 22"/>
                <a:gd name="T2" fmla="*/ 27 w 27"/>
                <a:gd name="T3" fmla="*/ 0 h 22"/>
                <a:gd name="T4" fmla="*/ 27 w 27"/>
                <a:gd name="T5" fmla="*/ 5 h 22"/>
                <a:gd name="T6" fmla="*/ 21 w 27"/>
                <a:gd name="T7" fmla="*/ 16 h 22"/>
                <a:gd name="T8" fmla="*/ 11 w 27"/>
                <a:gd name="T9" fmla="*/ 22 h 22"/>
                <a:gd name="T10" fmla="*/ 0 w 27"/>
                <a:gd name="T11" fmla="*/ 22 h 22"/>
                <a:gd name="T12" fmla="*/ 0 w 27"/>
                <a:gd name="T13" fmla="*/ 11 h 22"/>
                <a:gd name="T14" fmla="*/ 11 w 27"/>
                <a:gd name="T15" fmla="*/ 0 h 22"/>
                <a:gd name="T16" fmla="*/ 21 w 27"/>
                <a:gd name="T17" fmla="*/ 0 h 22"/>
                <a:gd name="T18" fmla="*/ 21 w 27"/>
                <a:gd name="T19" fmla="*/ 0 h 2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22"/>
                <a:gd name="T32" fmla="*/ 27 w 27"/>
                <a:gd name="T33" fmla="*/ 22 h 2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22">
                  <a:moveTo>
                    <a:pt x="21" y="0"/>
                  </a:moveTo>
                  <a:lnTo>
                    <a:pt x="27" y="0"/>
                  </a:lnTo>
                  <a:lnTo>
                    <a:pt x="27" y="5"/>
                  </a:lnTo>
                  <a:lnTo>
                    <a:pt x="21" y="16"/>
                  </a:lnTo>
                  <a:lnTo>
                    <a:pt x="11" y="22"/>
                  </a:lnTo>
                  <a:lnTo>
                    <a:pt x="0" y="22"/>
                  </a:lnTo>
                  <a:lnTo>
                    <a:pt x="0" y="11"/>
                  </a:lnTo>
                  <a:lnTo>
                    <a:pt x="11" y="0"/>
                  </a:lnTo>
                  <a:lnTo>
                    <a:pt x="2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4" name="Freeform 686"/>
            <p:cNvSpPr>
              <a:spLocks/>
            </p:cNvSpPr>
            <p:nvPr/>
          </p:nvSpPr>
          <p:spPr bwMode="auto">
            <a:xfrm>
              <a:off x="4228" y="2658"/>
              <a:ext cx="21" cy="44"/>
            </a:xfrm>
            <a:custGeom>
              <a:avLst/>
              <a:gdLst>
                <a:gd name="T0" fmla="*/ 16 w 21"/>
                <a:gd name="T1" fmla="*/ 0 h 44"/>
                <a:gd name="T2" fmla="*/ 21 w 21"/>
                <a:gd name="T3" fmla="*/ 0 h 44"/>
                <a:gd name="T4" fmla="*/ 21 w 21"/>
                <a:gd name="T5" fmla="*/ 6 h 44"/>
                <a:gd name="T6" fmla="*/ 11 w 21"/>
                <a:gd name="T7" fmla="*/ 44 h 44"/>
                <a:gd name="T8" fmla="*/ 0 w 21"/>
                <a:gd name="T9" fmla="*/ 33 h 44"/>
                <a:gd name="T10" fmla="*/ 0 w 21"/>
                <a:gd name="T11" fmla="*/ 22 h 44"/>
                <a:gd name="T12" fmla="*/ 11 w 21"/>
                <a:gd name="T13" fmla="*/ 0 h 44"/>
                <a:gd name="T14" fmla="*/ 16 w 21"/>
                <a:gd name="T15" fmla="*/ 0 h 44"/>
                <a:gd name="T16" fmla="*/ 16 w 21"/>
                <a:gd name="T17" fmla="*/ 0 h 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44"/>
                <a:gd name="T29" fmla="*/ 21 w 21"/>
                <a:gd name="T30" fmla="*/ 44 h 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44">
                  <a:moveTo>
                    <a:pt x="16" y="0"/>
                  </a:moveTo>
                  <a:lnTo>
                    <a:pt x="21" y="0"/>
                  </a:lnTo>
                  <a:lnTo>
                    <a:pt x="21" y="6"/>
                  </a:lnTo>
                  <a:lnTo>
                    <a:pt x="11" y="44"/>
                  </a:lnTo>
                  <a:lnTo>
                    <a:pt x="0" y="33"/>
                  </a:lnTo>
                  <a:lnTo>
                    <a:pt x="0" y="22"/>
                  </a:lnTo>
                  <a:lnTo>
                    <a:pt x="11" y="0"/>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5" name="Freeform 687"/>
            <p:cNvSpPr>
              <a:spLocks/>
            </p:cNvSpPr>
            <p:nvPr/>
          </p:nvSpPr>
          <p:spPr bwMode="auto">
            <a:xfrm>
              <a:off x="4483" y="2336"/>
              <a:ext cx="77" cy="71"/>
            </a:xfrm>
            <a:custGeom>
              <a:avLst/>
              <a:gdLst>
                <a:gd name="T0" fmla="*/ 66 w 77"/>
                <a:gd name="T1" fmla="*/ 22 h 71"/>
                <a:gd name="T2" fmla="*/ 71 w 77"/>
                <a:gd name="T3" fmla="*/ 22 h 71"/>
                <a:gd name="T4" fmla="*/ 66 w 77"/>
                <a:gd name="T5" fmla="*/ 27 h 71"/>
                <a:gd name="T6" fmla="*/ 71 w 77"/>
                <a:gd name="T7" fmla="*/ 38 h 71"/>
                <a:gd name="T8" fmla="*/ 77 w 77"/>
                <a:gd name="T9" fmla="*/ 33 h 71"/>
                <a:gd name="T10" fmla="*/ 77 w 77"/>
                <a:gd name="T11" fmla="*/ 38 h 71"/>
                <a:gd name="T12" fmla="*/ 49 w 77"/>
                <a:gd name="T13" fmla="*/ 44 h 71"/>
                <a:gd name="T14" fmla="*/ 44 w 77"/>
                <a:gd name="T15" fmla="*/ 60 h 71"/>
                <a:gd name="T16" fmla="*/ 28 w 77"/>
                <a:gd name="T17" fmla="*/ 49 h 71"/>
                <a:gd name="T18" fmla="*/ 17 w 77"/>
                <a:gd name="T19" fmla="*/ 55 h 71"/>
                <a:gd name="T20" fmla="*/ 6 w 77"/>
                <a:gd name="T21" fmla="*/ 49 h 71"/>
                <a:gd name="T22" fmla="*/ 6 w 77"/>
                <a:gd name="T23" fmla="*/ 55 h 71"/>
                <a:gd name="T24" fmla="*/ 6 w 77"/>
                <a:gd name="T25" fmla="*/ 55 h 71"/>
                <a:gd name="T26" fmla="*/ 17 w 77"/>
                <a:gd name="T27" fmla="*/ 66 h 71"/>
                <a:gd name="T28" fmla="*/ 0 w 77"/>
                <a:gd name="T29" fmla="*/ 71 h 71"/>
                <a:gd name="T30" fmla="*/ 0 w 77"/>
                <a:gd name="T31" fmla="*/ 60 h 71"/>
                <a:gd name="T32" fmla="*/ 0 w 77"/>
                <a:gd name="T33" fmla="*/ 55 h 71"/>
                <a:gd name="T34" fmla="*/ 0 w 77"/>
                <a:gd name="T35" fmla="*/ 49 h 71"/>
                <a:gd name="T36" fmla="*/ 6 w 77"/>
                <a:gd name="T37" fmla="*/ 44 h 71"/>
                <a:gd name="T38" fmla="*/ 6 w 77"/>
                <a:gd name="T39" fmla="*/ 38 h 71"/>
                <a:gd name="T40" fmla="*/ 17 w 77"/>
                <a:gd name="T41" fmla="*/ 38 h 71"/>
                <a:gd name="T42" fmla="*/ 17 w 77"/>
                <a:gd name="T43" fmla="*/ 33 h 71"/>
                <a:gd name="T44" fmla="*/ 17 w 77"/>
                <a:gd name="T45" fmla="*/ 27 h 71"/>
                <a:gd name="T46" fmla="*/ 22 w 77"/>
                <a:gd name="T47" fmla="*/ 22 h 71"/>
                <a:gd name="T48" fmla="*/ 22 w 77"/>
                <a:gd name="T49" fmla="*/ 11 h 71"/>
                <a:gd name="T50" fmla="*/ 22 w 77"/>
                <a:gd name="T51" fmla="*/ 0 h 71"/>
                <a:gd name="T52" fmla="*/ 22 w 77"/>
                <a:gd name="T53" fmla="*/ 0 h 71"/>
                <a:gd name="T54" fmla="*/ 44 w 77"/>
                <a:gd name="T55" fmla="*/ 22 h 71"/>
                <a:gd name="T56" fmla="*/ 60 w 77"/>
                <a:gd name="T57" fmla="*/ 27 h 71"/>
                <a:gd name="T58" fmla="*/ 66 w 77"/>
                <a:gd name="T59" fmla="*/ 22 h 71"/>
                <a:gd name="T60" fmla="*/ 66 w 77"/>
                <a:gd name="T61" fmla="*/ 22 h 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7"/>
                <a:gd name="T94" fmla="*/ 0 h 71"/>
                <a:gd name="T95" fmla="*/ 77 w 77"/>
                <a:gd name="T96" fmla="*/ 71 h 7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7" h="71">
                  <a:moveTo>
                    <a:pt x="66" y="22"/>
                  </a:moveTo>
                  <a:lnTo>
                    <a:pt x="71" y="22"/>
                  </a:lnTo>
                  <a:lnTo>
                    <a:pt x="66" y="27"/>
                  </a:lnTo>
                  <a:lnTo>
                    <a:pt x="71" y="38"/>
                  </a:lnTo>
                  <a:lnTo>
                    <a:pt x="77" y="33"/>
                  </a:lnTo>
                  <a:lnTo>
                    <a:pt x="77" y="38"/>
                  </a:lnTo>
                  <a:lnTo>
                    <a:pt x="49" y="44"/>
                  </a:lnTo>
                  <a:lnTo>
                    <a:pt x="44" y="60"/>
                  </a:lnTo>
                  <a:lnTo>
                    <a:pt x="28" y="49"/>
                  </a:lnTo>
                  <a:lnTo>
                    <a:pt x="17" y="55"/>
                  </a:lnTo>
                  <a:lnTo>
                    <a:pt x="6" y="49"/>
                  </a:lnTo>
                  <a:lnTo>
                    <a:pt x="6" y="55"/>
                  </a:lnTo>
                  <a:lnTo>
                    <a:pt x="17" y="66"/>
                  </a:lnTo>
                  <a:lnTo>
                    <a:pt x="0" y="71"/>
                  </a:lnTo>
                  <a:lnTo>
                    <a:pt x="0" y="60"/>
                  </a:lnTo>
                  <a:lnTo>
                    <a:pt x="0" y="55"/>
                  </a:lnTo>
                  <a:lnTo>
                    <a:pt x="0" y="49"/>
                  </a:lnTo>
                  <a:lnTo>
                    <a:pt x="6" y="44"/>
                  </a:lnTo>
                  <a:lnTo>
                    <a:pt x="6" y="38"/>
                  </a:lnTo>
                  <a:lnTo>
                    <a:pt x="17" y="38"/>
                  </a:lnTo>
                  <a:lnTo>
                    <a:pt x="17" y="33"/>
                  </a:lnTo>
                  <a:lnTo>
                    <a:pt x="17" y="27"/>
                  </a:lnTo>
                  <a:lnTo>
                    <a:pt x="22" y="22"/>
                  </a:lnTo>
                  <a:lnTo>
                    <a:pt x="22" y="11"/>
                  </a:lnTo>
                  <a:lnTo>
                    <a:pt x="22" y="0"/>
                  </a:lnTo>
                  <a:lnTo>
                    <a:pt x="44" y="22"/>
                  </a:lnTo>
                  <a:lnTo>
                    <a:pt x="60" y="27"/>
                  </a:lnTo>
                  <a:lnTo>
                    <a:pt x="66"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6" name="Rectangle 688"/>
            <p:cNvSpPr>
              <a:spLocks noChangeArrowheads="1"/>
            </p:cNvSpPr>
            <p:nvPr/>
          </p:nvSpPr>
          <p:spPr bwMode="auto">
            <a:xfrm>
              <a:off x="4342" y="2544"/>
              <a:ext cx="1"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667" name="Freeform 689"/>
            <p:cNvSpPr>
              <a:spLocks/>
            </p:cNvSpPr>
            <p:nvPr/>
          </p:nvSpPr>
          <p:spPr bwMode="auto">
            <a:xfrm>
              <a:off x="4358" y="2582"/>
              <a:ext cx="6" cy="0"/>
            </a:xfrm>
            <a:custGeom>
              <a:avLst/>
              <a:gdLst>
                <a:gd name="T0" fmla="*/ 6 w 6"/>
                <a:gd name="T1" fmla="*/ 0 w 6"/>
                <a:gd name="T2" fmla="*/ 6 w 6"/>
                <a:gd name="T3" fmla="*/ 6 w 6"/>
                <a:gd name="T4" fmla="*/ 6 w 6"/>
                <a:gd name="T5" fmla="*/ 0 60000 65536"/>
                <a:gd name="T6" fmla="*/ 0 60000 65536"/>
                <a:gd name="T7" fmla="*/ 0 60000 65536"/>
                <a:gd name="T8" fmla="*/ 0 60000 65536"/>
                <a:gd name="T9" fmla="*/ 0 60000 65536"/>
                <a:gd name="T10" fmla="*/ 0 w 6"/>
                <a:gd name="T11" fmla="*/ 6 w 6"/>
              </a:gdLst>
              <a:ahLst/>
              <a:cxnLst>
                <a:cxn ang="T5">
                  <a:pos x="T0" y="0"/>
                </a:cxn>
                <a:cxn ang="T6">
                  <a:pos x="T1" y="0"/>
                </a:cxn>
                <a:cxn ang="T7">
                  <a:pos x="T2" y="0"/>
                </a:cxn>
                <a:cxn ang="T8">
                  <a:pos x="T3" y="0"/>
                </a:cxn>
                <a:cxn ang="T9">
                  <a:pos x="T4" y="0"/>
                </a:cxn>
              </a:cxnLst>
              <a:rect l="T10" t="0" r="T11" b="0"/>
              <a:pathLst>
                <a:path w="6">
                  <a:moveTo>
                    <a:pt x="6" y="0"/>
                  </a:moveTo>
                  <a:lnTo>
                    <a:pt x="0"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8" name="Freeform 690"/>
            <p:cNvSpPr>
              <a:spLocks/>
            </p:cNvSpPr>
            <p:nvPr/>
          </p:nvSpPr>
          <p:spPr bwMode="auto">
            <a:xfrm>
              <a:off x="4353" y="2527"/>
              <a:ext cx="27" cy="44"/>
            </a:xfrm>
            <a:custGeom>
              <a:avLst/>
              <a:gdLst>
                <a:gd name="T0" fmla="*/ 11 w 27"/>
                <a:gd name="T1" fmla="*/ 0 h 44"/>
                <a:gd name="T2" fmla="*/ 0 w 27"/>
                <a:gd name="T3" fmla="*/ 11 h 44"/>
                <a:gd name="T4" fmla="*/ 0 w 27"/>
                <a:gd name="T5" fmla="*/ 17 h 44"/>
                <a:gd name="T6" fmla="*/ 0 w 27"/>
                <a:gd name="T7" fmla="*/ 17 h 44"/>
                <a:gd name="T8" fmla="*/ 0 w 27"/>
                <a:gd name="T9" fmla="*/ 17 h 44"/>
                <a:gd name="T10" fmla="*/ 0 w 27"/>
                <a:gd name="T11" fmla="*/ 22 h 44"/>
                <a:gd name="T12" fmla="*/ 5 w 27"/>
                <a:gd name="T13" fmla="*/ 22 h 44"/>
                <a:gd name="T14" fmla="*/ 5 w 27"/>
                <a:gd name="T15" fmla="*/ 11 h 44"/>
                <a:gd name="T16" fmla="*/ 11 w 27"/>
                <a:gd name="T17" fmla="*/ 17 h 44"/>
                <a:gd name="T18" fmla="*/ 11 w 27"/>
                <a:gd name="T19" fmla="*/ 22 h 44"/>
                <a:gd name="T20" fmla="*/ 5 w 27"/>
                <a:gd name="T21" fmla="*/ 33 h 44"/>
                <a:gd name="T22" fmla="*/ 5 w 27"/>
                <a:gd name="T23" fmla="*/ 38 h 44"/>
                <a:gd name="T24" fmla="*/ 11 w 27"/>
                <a:gd name="T25" fmla="*/ 44 h 44"/>
                <a:gd name="T26" fmla="*/ 11 w 27"/>
                <a:gd name="T27" fmla="*/ 33 h 44"/>
                <a:gd name="T28" fmla="*/ 11 w 27"/>
                <a:gd name="T29" fmla="*/ 38 h 44"/>
                <a:gd name="T30" fmla="*/ 11 w 27"/>
                <a:gd name="T31" fmla="*/ 44 h 44"/>
                <a:gd name="T32" fmla="*/ 16 w 27"/>
                <a:gd name="T33" fmla="*/ 38 h 44"/>
                <a:gd name="T34" fmla="*/ 27 w 27"/>
                <a:gd name="T35" fmla="*/ 17 h 44"/>
                <a:gd name="T36" fmla="*/ 27 w 27"/>
                <a:gd name="T37" fmla="*/ 11 h 44"/>
                <a:gd name="T38" fmla="*/ 22 w 27"/>
                <a:gd name="T39" fmla="*/ 11 h 44"/>
                <a:gd name="T40" fmla="*/ 22 w 27"/>
                <a:gd name="T41" fmla="*/ 6 h 44"/>
                <a:gd name="T42" fmla="*/ 16 w 27"/>
                <a:gd name="T43" fmla="*/ 6 h 44"/>
                <a:gd name="T44" fmla="*/ 11 w 27"/>
                <a:gd name="T45" fmla="*/ 0 h 44"/>
                <a:gd name="T46" fmla="*/ 11 w 27"/>
                <a:gd name="T47" fmla="*/ 0 h 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44"/>
                <a:gd name="T74" fmla="*/ 27 w 27"/>
                <a:gd name="T75" fmla="*/ 44 h 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44">
                  <a:moveTo>
                    <a:pt x="11" y="0"/>
                  </a:moveTo>
                  <a:lnTo>
                    <a:pt x="0" y="11"/>
                  </a:lnTo>
                  <a:lnTo>
                    <a:pt x="0" y="17"/>
                  </a:lnTo>
                  <a:lnTo>
                    <a:pt x="0" y="22"/>
                  </a:lnTo>
                  <a:lnTo>
                    <a:pt x="5" y="22"/>
                  </a:lnTo>
                  <a:lnTo>
                    <a:pt x="5" y="11"/>
                  </a:lnTo>
                  <a:lnTo>
                    <a:pt x="11" y="17"/>
                  </a:lnTo>
                  <a:lnTo>
                    <a:pt x="11" y="22"/>
                  </a:lnTo>
                  <a:lnTo>
                    <a:pt x="5" y="33"/>
                  </a:lnTo>
                  <a:lnTo>
                    <a:pt x="5" y="38"/>
                  </a:lnTo>
                  <a:lnTo>
                    <a:pt x="11" y="44"/>
                  </a:lnTo>
                  <a:lnTo>
                    <a:pt x="11" y="33"/>
                  </a:lnTo>
                  <a:lnTo>
                    <a:pt x="11" y="38"/>
                  </a:lnTo>
                  <a:lnTo>
                    <a:pt x="11" y="44"/>
                  </a:lnTo>
                  <a:lnTo>
                    <a:pt x="16" y="38"/>
                  </a:lnTo>
                  <a:lnTo>
                    <a:pt x="27" y="17"/>
                  </a:lnTo>
                  <a:lnTo>
                    <a:pt x="27" y="11"/>
                  </a:lnTo>
                  <a:lnTo>
                    <a:pt x="22" y="11"/>
                  </a:lnTo>
                  <a:lnTo>
                    <a:pt x="22" y="6"/>
                  </a:lnTo>
                  <a:lnTo>
                    <a:pt x="16" y="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69" name="Rectangle 691"/>
            <p:cNvSpPr>
              <a:spLocks noChangeArrowheads="1"/>
            </p:cNvSpPr>
            <p:nvPr/>
          </p:nvSpPr>
          <p:spPr bwMode="auto">
            <a:xfrm>
              <a:off x="4418" y="2516"/>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670" name="Freeform 692"/>
            <p:cNvSpPr>
              <a:spLocks/>
            </p:cNvSpPr>
            <p:nvPr/>
          </p:nvSpPr>
          <p:spPr bwMode="auto">
            <a:xfrm>
              <a:off x="4385" y="2522"/>
              <a:ext cx="33" cy="27"/>
            </a:xfrm>
            <a:custGeom>
              <a:avLst/>
              <a:gdLst>
                <a:gd name="T0" fmla="*/ 22 w 33"/>
                <a:gd name="T1" fmla="*/ 16 h 27"/>
                <a:gd name="T2" fmla="*/ 17 w 33"/>
                <a:gd name="T3" fmla="*/ 16 h 27"/>
                <a:gd name="T4" fmla="*/ 11 w 33"/>
                <a:gd name="T5" fmla="*/ 27 h 27"/>
                <a:gd name="T6" fmla="*/ 6 w 33"/>
                <a:gd name="T7" fmla="*/ 27 h 27"/>
                <a:gd name="T8" fmla="*/ 0 w 33"/>
                <a:gd name="T9" fmla="*/ 16 h 27"/>
                <a:gd name="T10" fmla="*/ 0 w 33"/>
                <a:gd name="T11" fmla="*/ 16 h 27"/>
                <a:gd name="T12" fmla="*/ 6 w 33"/>
                <a:gd name="T13" fmla="*/ 5 h 27"/>
                <a:gd name="T14" fmla="*/ 11 w 33"/>
                <a:gd name="T15" fmla="*/ 5 h 27"/>
                <a:gd name="T16" fmla="*/ 22 w 33"/>
                <a:gd name="T17" fmla="*/ 0 h 27"/>
                <a:gd name="T18" fmla="*/ 28 w 33"/>
                <a:gd name="T19" fmla="*/ 0 h 27"/>
                <a:gd name="T20" fmla="*/ 33 w 33"/>
                <a:gd name="T21" fmla="*/ 11 h 27"/>
                <a:gd name="T22" fmla="*/ 22 w 33"/>
                <a:gd name="T23" fmla="*/ 16 h 27"/>
                <a:gd name="T24" fmla="*/ 22 w 33"/>
                <a:gd name="T25" fmla="*/ 16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27"/>
                <a:gd name="T41" fmla="*/ 33 w 3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27">
                  <a:moveTo>
                    <a:pt x="22" y="16"/>
                  </a:moveTo>
                  <a:lnTo>
                    <a:pt x="17" y="16"/>
                  </a:lnTo>
                  <a:lnTo>
                    <a:pt x="11" y="27"/>
                  </a:lnTo>
                  <a:lnTo>
                    <a:pt x="6" y="27"/>
                  </a:lnTo>
                  <a:lnTo>
                    <a:pt x="0" y="16"/>
                  </a:lnTo>
                  <a:lnTo>
                    <a:pt x="6" y="5"/>
                  </a:lnTo>
                  <a:lnTo>
                    <a:pt x="11" y="5"/>
                  </a:lnTo>
                  <a:lnTo>
                    <a:pt x="22" y="0"/>
                  </a:lnTo>
                  <a:lnTo>
                    <a:pt x="28" y="0"/>
                  </a:lnTo>
                  <a:lnTo>
                    <a:pt x="33" y="11"/>
                  </a:lnTo>
                  <a:lnTo>
                    <a:pt x="22"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1" name="Freeform 693"/>
            <p:cNvSpPr>
              <a:spLocks/>
            </p:cNvSpPr>
            <p:nvPr/>
          </p:nvSpPr>
          <p:spPr bwMode="auto">
            <a:xfrm>
              <a:off x="4462" y="2456"/>
              <a:ext cx="5" cy="11"/>
            </a:xfrm>
            <a:custGeom>
              <a:avLst/>
              <a:gdLst>
                <a:gd name="T0" fmla="*/ 5 w 5"/>
                <a:gd name="T1" fmla="*/ 0 h 11"/>
                <a:gd name="T2" fmla="*/ 0 w 5"/>
                <a:gd name="T3" fmla="*/ 11 h 11"/>
                <a:gd name="T4" fmla="*/ 0 w 5"/>
                <a:gd name="T5" fmla="*/ 11 h 11"/>
                <a:gd name="T6" fmla="*/ 5 w 5"/>
                <a:gd name="T7" fmla="*/ 0 h 11"/>
                <a:gd name="T8" fmla="*/ 5 w 5"/>
                <a:gd name="T9" fmla="*/ 0 h 11"/>
                <a:gd name="T10" fmla="*/ 0 60000 65536"/>
                <a:gd name="T11" fmla="*/ 0 60000 65536"/>
                <a:gd name="T12" fmla="*/ 0 60000 65536"/>
                <a:gd name="T13" fmla="*/ 0 60000 65536"/>
                <a:gd name="T14" fmla="*/ 0 60000 65536"/>
                <a:gd name="T15" fmla="*/ 0 w 5"/>
                <a:gd name="T16" fmla="*/ 0 h 11"/>
                <a:gd name="T17" fmla="*/ 5 w 5"/>
                <a:gd name="T18" fmla="*/ 11 h 11"/>
              </a:gdLst>
              <a:ahLst/>
              <a:cxnLst>
                <a:cxn ang="T10">
                  <a:pos x="T0" y="T1"/>
                </a:cxn>
                <a:cxn ang="T11">
                  <a:pos x="T2" y="T3"/>
                </a:cxn>
                <a:cxn ang="T12">
                  <a:pos x="T4" y="T5"/>
                </a:cxn>
                <a:cxn ang="T13">
                  <a:pos x="T6" y="T7"/>
                </a:cxn>
                <a:cxn ang="T14">
                  <a:pos x="T8" y="T9"/>
                </a:cxn>
              </a:cxnLst>
              <a:rect l="T15" t="T16" r="T17" b="T18"/>
              <a:pathLst>
                <a:path w="5" h="11">
                  <a:moveTo>
                    <a:pt x="5" y="0"/>
                  </a:moveTo>
                  <a:lnTo>
                    <a:pt x="0" y="11"/>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2" name="Rectangle 694"/>
            <p:cNvSpPr>
              <a:spLocks noChangeArrowheads="1"/>
            </p:cNvSpPr>
            <p:nvPr/>
          </p:nvSpPr>
          <p:spPr bwMode="auto">
            <a:xfrm>
              <a:off x="4500" y="2336"/>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673" name="Freeform 695"/>
            <p:cNvSpPr>
              <a:spLocks/>
            </p:cNvSpPr>
            <p:nvPr/>
          </p:nvSpPr>
          <p:spPr bwMode="auto">
            <a:xfrm>
              <a:off x="4282" y="2380"/>
              <a:ext cx="82" cy="87"/>
            </a:xfrm>
            <a:custGeom>
              <a:avLst/>
              <a:gdLst>
                <a:gd name="T0" fmla="*/ 82 w 82"/>
                <a:gd name="T1" fmla="*/ 5 h 87"/>
                <a:gd name="T2" fmla="*/ 82 w 82"/>
                <a:gd name="T3" fmla="*/ 11 h 87"/>
                <a:gd name="T4" fmla="*/ 71 w 82"/>
                <a:gd name="T5" fmla="*/ 22 h 87"/>
                <a:gd name="T6" fmla="*/ 71 w 82"/>
                <a:gd name="T7" fmla="*/ 33 h 87"/>
                <a:gd name="T8" fmla="*/ 54 w 82"/>
                <a:gd name="T9" fmla="*/ 49 h 87"/>
                <a:gd name="T10" fmla="*/ 38 w 82"/>
                <a:gd name="T11" fmla="*/ 54 h 87"/>
                <a:gd name="T12" fmla="*/ 38 w 82"/>
                <a:gd name="T13" fmla="*/ 65 h 87"/>
                <a:gd name="T14" fmla="*/ 54 w 82"/>
                <a:gd name="T15" fmla="*/ 76 h 87"/>
                <a:gd name="T16" fmla="*/ 44 w 82"/>
                <a:gd name="T17" fmla="*/ 82 h 87"/>
                <a:gd name="T18" fmla="*/ 38 w 82"/>
                <a:gd name="T19" fmla="*/ 82 h 87"/>
                <a:gd name="T20" fmla="*/ 27 w 82"/>
                <a:gd name="T21" fmla="*/ 87 h 87"/>
                <a:gd name="T22" fmla="*/ 16 w 82"/>
                <a:gd name="T23" fmla="*/ 82 h 87"/>
                <a:gd name="T24" fmla="*/ 16 w 82"/>
                <a:gd name="T25" fmla="*/ 87 h 87"/>
                <a:gd name="T26" fmla="*/ 11 w 82"/>
                <a:gd name="T27" fmla="*/ 87 h 87"/>
                <a:gd name="T28" fmla="*/ 11 w 82"/>
                <a:gd name="T29" fmla="*/ 87 h 87"/>
                <a:gd name="T30" fmla="*/ 11 w 82"/>
                <a:gd name="T31" fmla="*/ 82 h 87"/>
                <a:gd name="T32" fmla="*/ 6 w 82"/>
                <a:gd name="T33" fmla="*/ 82 h 87"/>
                <a:gd name="T34" fmla="*/ 6 w 82"/>
                <a:gd name="T35" fmla="*/ 76 h 87"/>
                <a:gd name="T36" fmla="*/ 11 w 82"/>
                <a:gd name="T37" fmla="*/ 71 h 87"/>
                <a:gd name="T38" fmla="*/ 11 w 82"/>
                <a:gd name="T39" fmla="*/ 71 h 87"/>
                <a:gd name="T40" fmla="*/ 16 w 82"/>
                <a:gd name="T41" fmla="*/ 60 h 87"/>
                <a:gd name="T42" fmla="*/ 6 w 82"/>
                <a:gd name="T43" fmla="*/ 60 h 87"/>
                <a:gd name="T44" fmla="*/ 0 w 82"/>
                <a:gd name="T45" fmla="*/ 54 h 87"/>
                <a:gd name="T46" fmla="*/ 6 w 82"/>
                <a:gd name="T47" fmla="*/ 43 h 87"/>
                <a:gd name="T48" fmla="*/ 22 w 82"/>
                <a:gd name="T49" fmla="*/ 38 h 87"/>
                <a:gd name="T50" fmla="*/ 33 w 82"/>
                <a:gd name="T51" fmla="*/ 22 h 87"/>
                <a:gd name="T52" fmla="*/ 38 w 82"/>
                <a:gd name="T53" fmla="*/ 27 h 87"/>
                <a:gd name="T54" fmla="*/ 49 w 82"/>
                <a:gd name="T55" fmla="*/ 27 h 87"/>
                <a:gd name="T56" fmla="*/ 49 w 82"/>
                <a:gd name="T57" fmla="*/ 16 h 87"/>
                <a:gd name="T58" fmla="*/ 60 w 82"/>
                <a:gd name="T59" fmla="*/ 16 h 87"/>
                <a:gd name="T60" fmla="*/ 65 w 82"/>
                <a:gd name="T61" fmla="*/ 11 h 87"/>
                <a:gd name="T62" fmla="*/ 71 w 82"/>
                <a:gd name="T63" fmla="*/ 0 h 87"/>
                <a:gd name="T64" fmla="*/ 82 w 82"/>
                <a:gd name="T65" fmla="*/ 5 h 87"/>
                <a:gd name="T66" fmla="*/ 82 w 82"/>
                <a:gd name="T67" fmla="*/ 5 h 8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2"/>
                <a:gd name="T103" fmla="*/ 0 h 87"/>
                <a:gd name="T104" fmla="*/ 82 w 82"/>
                <a:gd name="T105" fmla="*/ 87 h 8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2" h="87">
                  <a:moveTo>
                    <a:pt x="82" y="5"/>
                  </a:moveTo>
                  <a:lnTo>
                    <a:pt x="82" y="11"/>
                  </a:lnTo>
                  <a:lnTo>
                    <a:pt x="71" y="22"/>
                  </a:lnTo>
                  <a:lnTo>
                    <a:pt x="71" y="33"/>
                  </a:lnTo>
                  <a:lnTo>
                    <a:pt x="54" y="49"/>
                  </a:lnTo>
                  <a:lnTo>
                    <a:pt x="38" y="54"/>
                  </a:lnTo>
                  <a:lnTo>
                    <a:pt x="38" y="65"/>
                  </a:lnTo>
                  <a:lnTo>
                    <a:pt x="54" y="76"/>
                  </a:lnTo>
                  <a:lnTo>
                    <a:pt x="44" y="82"/>
                  </a:lnTo>
                  <a:lnTo>
                    <a:pt x="38" y="82"/>
                  </a:lnTo>
                  <a:lnTo>
                    <a:pt x="27" y="87"/>
                  </a:lnTo>
                  <a:lnTo>
                    <a:pt x="16" y="82"/>
                  </a:lnTo>
                  <a:lnTo>
                    <a:pt x="16" y="87"/>
                  </a:lnTo>
                  <a:lnTo>
                    <a:pt x="11" y="87"/>
                  </a:lnTo>
                  <a:lnTo>
                    <a:pt x="11" y="82"/>
                  </a:lnTo>
                  <a:lnTo>
                    <a:pt x="6" y="82"/>
                  </a:lnTo>
                  <a:lnTo>
                    <a:pt x="6" y="76"/>
                  </a:lnTo>
                  <a:lnTo>
                    <a:pt x="11" y="71"/>
                  </a:lnTo>
                  <a:lnTo>
                    <a:pt x="16" y="60"/>
                  </a:lnTo>
                  <a:lnTo>
                    <a:pt x="6" y="60"/>
                  </a:lnTo>
                  <a:lnTo>
                    <a:pt x="0" y="54"/>
                  </a:lnTo>
                  <a:lnTo>
                    <a:pt x="6" y="43"/>
                  </a:lnTo>
                  <a:lnTo>
                    <a:pt x="22" y="38"/>
                  </a:lnTo>
                  <a:lnTo>
                    <a:pt x="33" y="22"/>
                  </a:lnTo>
                  <a:lnTo>
                    <a:pt x="38" y="27"/>
                  </a:lnTo>
                  <a:lnTo>
                    <a:pt x="49" y="27"/>
                  </a:lnTo>
                  <a:lnTo>
                    <a:pt x="49" y="16"/>
                  </a:lnTo>
                  <a:lnTo>
                    <a:pt x="60" y="16"/>
                  </a:lnTo>
                  <a:lnTo>
                    <a:pt x="65" y="11"/>
                  </a:lnTo>
                  <a:lnTo>
                    <a:pt x="71" y="0"/>
                  </a:lnTo>
                  <a:lnTo>
                    <a:pt x="82"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4" name="Freeform 696"/>
            <p:cNvSpPr>
              <a:spLocks/>
            </p:cNvSpPr>
            <p:nvPr/>
          </p:nvSpPr>
          <p:spPr bwMode="auto">
            <a:xfrm>
              <a:off x="4304" y="2538"/>
              <a:ext cx="11" cy="0"/>
            </a:xfrm>
            <a:custGeom>
              <a:avLst/>
              <a:gdLst>
                <a:gd name="T0" fmla="*/ 0 w 11"/>
                <a:gd name="T1" fmla="*/ 0 w 11"/>
                <a:gd name="T2" fmla="*/ 5 w 11"/>
                <a:gd name="T3" fmla="*/ 11 w 11"/>
                <a:gd name="T4" fmla="*/ 0 w 11"/>
                <a:gd name="T5" fmla="*/ 0 w 11"/>
                <a:gd name="T6" fmla="*/ 0 60000 65536"/>
                <a:gd name="T7" fmla="*/ 0 60000 65536"/>
                <a:gd name="T8" fmla="*/ 0 60000 65536"/>
                <a:gd name="T9" fmla="*/ 0 60000 65536"/>
                <a:gd name="T10" fmla="*/ 0 60000 65536"/>
                <a:gd name="T11" fmla="*/ 0 60000 65536"/>
                <a:gd name="T12" fmla="*/ 0 w 11"/>
                <a:gd name="T13" fmla="*/ 11 w 11"/>
              </a:gdLst>
              <a:ahLst/>
              <a:cxnLst>
                <a:cxn ang="T6">
                  <a:pos x="T0" y="0"/>
                </a:cxn>
                <a:cxn ang="T7">
                  <a:pos x="T1" y="0"/>
                </a:cxn>
                <a:cxn ang="T8">
                  <a:pos x="T2" y="0"/>
                </a:cxn>
                <a:cxn ang="T9">
                  <a:pos x="T3" y="0"/>
                </a:cxn>
                <a:cxn ang="T10">
                  <a:pos x="T4" y="0"/>
                </a:cxn>
                <a:cxn ang="T11">
                  <a:pos x="T5" y="0"/>
                </a:cxn>
              </a:cxnLst>
              <a:rect l="T12" t="0" r="T13" b="0"/>
              <a:pathLst>
                <a:path w="11">
                  <a:moveTo>
                    <a:pt x="0" y="0"/>
                  </a:moveTo>
                  <a:lnTo>
                    <a:pt x="0" y="0"/>
                  </a:lnTo>
                  <a:lnTo>
                    <a:pt x="5" y="0"/>
                  </a:lnTo>
                  <a:lnTo>
                    <a:pt x="11"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5" name="Freeform 697"/>
            <p:cNvSpPr>
              <a:spLocks/>
            </p:cNvSpPr>
            <p:nvPr/>
          </p:nvSpPr>
          <p:spPr bwMode="auto">
            <a:xfrm>
              <a:off x="4304" y="2456"/>
              <a:ext cx="43" cy="66"/>
            </a:xfrm>
            <a:custGeom>
              <a:avLst/>
              <a:gdLst>
                <a:gd name="T0" fmla="*/ 32 w 43"/>
                <a:gd name="T1" fmla="*/ 0 h 66"/>
                <a:gd name="T2" fmla="*/ 43 w 43"/>
                <a:gd name="T3" fmla="*/ 17 h 66"/>
                <a:gd name="T4" fmla="*/ 43 w 43"/>
                <a:gd name="T5" fmla="*/ 38 h 66"/>
                <a:gd name="T6" fmla="*/ 43 w 43"/>
                <a:gd name="T7" fmla="*/ 49 h 66"/>
                <a:gd name="T8" fmla="*/ 38 w 43"/>
                <a:gd name="T9" fmla="*/ 55 h 66"/>
                <a:gd name="T10" fmla="*/ 32 w 43"/>
                <a:gd name="T11" fmla="*/ 55 h 66"/>
                <a:gd name="T12" fmla="*/ 27 w 43"/>
                <a:gd name="T13" fmla="*/ 60 h 66"/>
                <a:gd name="T14" fmla="*/ 22 w 43"/>
                <a:gd name="T15" fmla="*/ 55 h 66"/>
                <a:gd name="T16" fmla="*/ 16 w 43"/>
                <a:gd name="T17" fmla="*/ 60 h 66"/>
                <a:gd name="T18" fmla="*/ 16 w 43"/>
                <a:gd name="T19" fmla="*/ 60 h 66"/>
                <a:gd name="T20" fmla="*/ 16 w 43"/>
                <a:gd name="T21" fmla="*/ 60 h 66"/>
                <a:gd name="T22" fmla="*/ 16 w 43"/>
                <a:gd name="T23" fmla="*/ 60 h 66"/>
                <a:gd name="T24" fmla="*/ 16 w 43"/>
                <a:gd name="T25" fmla="*/ 60 h 66"/>
                <a:gd name="T26" fmla="*/ 11 w 43"/>
                <a:gd name="T27" fmla="*/ 66 h 66"/>
                <a:gd name="T28" fmla="*/ 0 w 43"/>
                <a:gd name="T29" fmla="*/ 66 h 66"/>
                <a:gd name="T30" fmla="*/ 0 w 43"/>
                <a:gd name="T31" fmla="*/ 60 h 66"/>
                <a:gd name="T32" fmla="*/ 5 w 43"/>
                <a:gd name="T33" fmla="*/ 60 h 66"/>
                <a:gd name="T34" fmla="*/ 5 w 43"/>
                <a:gd name="T35" fmla="*/ 60 h 66"/>
                <a:gd name="T36" fmla="*/ 0 w 43"/>
                <a:gd name="T37" fmla="*/ 55 h 66"/>
                <a:gd name="T38" fmla="*/ 11 w 43"/>
                <a:gd name="T39" fmla="*/ 44 h 66"/>
                <a:gd name="T40" fmla="*/ 5 w 43"/>
                <a:gd name="T41" fmla="*/ 27 h 66"/>
                <a:gd name="T42" fmla="*/ 0 w 43"/>
                <a:gd name="T43" fmla="*/ 33 h 66"/>
                <a:gd name="T44" fmla="*/ 0 w 43"/>
                <a:gd name="T45" fmla="*/ 27 h 66"/>
                <a:gd name="T46" fmla="*/ 5 w 43"/>
                <a:gd name="T47" fmla="*/ 22 h 66"/>
                <a:gd name="T48" fmla="*/ 11 w 43"/>
                <a:gd name="T49" fmla="*/ 27 h 66"/>
                <a:gd name="T50" fmla="*/ 5 w 43"/>
                <a:gd name="T51" fmla="*/ 11 h 66"/>
                <a:gd name="T52" fmla="*/ 16 w 43"/>
                <a:gd name="T53" fmla="*/ 6 h 66"/>
                <a:gd name="T54" fmla="*/ 22 w 43"/>
                <a:gd name="T55" fmla="*/ 6 h 66"/>
                <a:gd name="T56" fmla="*/ 32 w 43"/>
                <a:gd name="T57" fmla="*/ 0 h 66"/>
                <a:gd name="T58" fmla="*/ 32 w 43"/>
                <a:gd name="T59" fmla="*/ 0 h 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
                <a:gd name="T91" fmla="*/ 0 h 66"/>
                <a:gd name="T92" fmla="*/ 43 w 43"/>
                <a:gd name="T93" fmla="*/ 66 h 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 h="66">
                  <a:moveTo>
                    <a:pt x="32" y="0"/>
                  </a:moveTo>
                  <a:lnTo>
                    <a:pt x="43" y="17"/>
                  </a:lnTo>
                  <a:lnTo>
                    <a:pt x="43" y="38"/>
                  </a:lnTo>
                  <a:lnTo>
                    <a:pt x="43" y="49"/>
                  </a:lnTo>
                  <a:lnTo>
                    <a:pt x="38" y="55"/>
                  </a:lnTo>
                  <a:lnTo>
                    <a:pt x="32" y="55"/>
                  </a:lnTo>
                  <a:lnTo>
                    <a:pt x="27" y="60"/>
                  </a:lnTo>
                  <a:lnTo>
                    <a:pt x="22" y="55"/>
                  </a:lnTo>
                  <a:lnTo>
                    <a:pt x="16" y="60"/>
                  </a:lnTo>
                  <a:lnTo>
                    <a:pt x="11" y="66"/>
                  </a:lnTo>
                  <a:lnTo>
                    <a:pt x="0" y="66"/>
                  </a:lnTo>
                  <a:lnTo>
                    <a:pt x="0" y="60"/>
                  </a:lnTo>
                  <a:lnTo>
                    <a:pt x="5" y="60"/>
                  </a:lnTo>
                  <a:lnTo>
                    <a:pt x="0" y="55"/>
                  </a:lnTo>
                  <a:lnTo>
                    <a:pt x="11" y="44"/>
                  </a:lnTo>
                  <a:lnTo>
                    <a:pt x="5" y="27"/>
                  </a:lnTo>
                  <a:lnTo>
                    <a:pt x="0" y="33"/>
                  </a:lnTo>
                  <a:lnTo>
                    <a:pt x="0" y="27"/>
                  </a:lnTo>
                  <a:lnTo>
                    <a:pt x="5" y="22"/>
                  </a:lnTo>
                  <a:lnTo>
                    <a:pt x="11" y="27"/>
                  </a:lnTo>
                  <a:lnTo>
                    <a:pt x="5" y="11"/>
                  </a:lnTo>
                  <a:lnTo>
                    <a:pt x="16" y="6"/>
                  </a:lnTo>
                  <a:lnTo>
                    <a:pt x="22" y="6"/>
                  </a:lnTo>
                  <a:lnTo>
                    <a:pt x="32"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6" name="Freeform 698"/>
            <p:cNvSpPr>
              <a:spLocks/>
            </p:cNvSpPr>
            <p:nvPr/>
          </p:nvSpPr>
          <p:spPr bwMode="auto">
            <a:xfrm>
              <a:off x="3972" y="2696"/>
              <a:ext cx="92" cy="115"/>
            </a:xfrm>
            <a:custGeom>
              <a:avLst/>
              <a:gdLst>
                <a:gd name="T0" fmla="*/ 11 w 92"/>
                <a:gd name="T1" fmla="*/ 11 h 115"/>
                <a:gd name="T2" fmla="*/ 0 w 92"/>
                <a:gd name="T3" fmla="*/ 22 h 115"/>
                <a:gd name="T4" fmla="*/ 0 w 92"/>
                <a:gd name="T5" fmla="*/ 28 h 115"/>
                <a:gd name="T6" fmla="*/ 5 w 92"/>
                <a:gd name="T7" fmla="*/ 28 h 115"/>
                <a:gd name="T8" fmla="*/ 5 w 92"/>
                <a:gd name="T9" fmla="*/ 38 h 115"/>
                <a:gd name="T10" fmla="*/ 11 w 92"/>
                <a:gd name="T11" fmla="*/ 38 h 115"/>
                <a:gd name="T12" fmla="*/ 5 w 92"/>
                <a:gd name="T13" fmla="*/ 66 h 115"/>
                <a:gd name="T14" fmla="*/ 22 w 92"/>
                <a:gd name="T15" fmla="*/ 55 h 115"/>
                <a:gd name="T16" fmla="*/ 27 w 92"/>
                <a:gd name="T17" fmla="*/ 60 h 115"/>
                <a:gd name="T18" fmla="*/ 32 w 92"/>
                <a:gd name="T19" fmla="*/ 60 h 115"/>
                <a:gd name="T20" fmla="*/ 38 w 92"/>
                <a:gd name="T21" fmla="*/ 55 h 115"/>
                <a:gd name="T22" fmla="*/ 38 w 92"/>
                <a:gd name="T23" fmla="*/ 55 h 115"/>
                <a:gd name="T24" fmla="*/ 43 w 92"/>
                <a:gd name="T25" fmla="*/ 55 h 115"/>
                <a:gd name="T26" fmla="*/ 54 w 92"/>
                <a:gd name="T27" fmla="*/ 66 h 115"/>
                <a:gd name="T28" fmla="*/ 60 w 92"/>
                <a:gd name="T29" fmla="*/ 82 h 115"/>
                <a:gd name="T30" fmla="*/ 65 w 92"/>
                <a:gd name="T31" fmla="*/ 93 h 115"/>
                <a:gd name="T32" fmla="*/ 65 w 92"/>
                <a:gd name="T33" fmla="*/ 104 h 115"/>
                <a:gd name="T34" fmla="*/ 65 w 92"/>
                <a:gd name="T35" fmla="*/ 109 h 115"/>
                <a:gd name="T36" fmla="*/ 71 w 92"/>
                <a:gd name="T37" fmla="*/ 115 h 115"/>
                <a:gd name="T38" fmla="*/ 76 w 92"/>
                <a:gd name="T39" fmla="*/ 109 h 115"/>
                <a:gd name="T40" fmla="*/ 87 w 92"/>
                <a:gd name="T41" fmla="*/ 109 h 115"/>
                <a:gd name="T42" fmla="*/ 92 w 92"/>
                <a:gd name="T43" fmla="*/ 104 h 115"/>
                <a:gd name="T44" fmla="*/ 92 w 92"/>
                <a:gd name="T45" fmla="*/ 99 h 115"/>
                <a:gd name="T46" fmla="*/ 87 w 92"/>
                <a:gd name="T47" fmla="*/ 82 h 115"/>
                <a:gd name="T48" fmla="*/ 81 w 92"/>
                <a:gd name="T49" fmla="*/ 82 h 115"/>
                <a:gd name="T50" fmla="*/ 81 w 92"/>
                <a:gd name="T51" fmla="*/ 77 h 115"/>
                <a:gd name="T52" fmla="*/ 76 w 92"/>
                <a:gd name="T53" fmla="*/ 71 h 115"/>
                <a:gd name="T54" fmla="*/ 71 w 92"/>
                <a:gd name="T55" fmla="*/ 66 h 115"/>
                <a:gd name="T56" fmla="*/ 60 w 92"/>
                <a:gd name="T57" fmla="*/ 49 h 115"/>
                <a:gd name="T58" fmla="*/ 49 w 92"/>
                <a:gd name="T59" fmla="*/ 44 h 115"/>
                <a:gd name="T60" fmla="*/ 49 w 92"/>
                <a:gd name="T61" fmla="*/ 38 h 115"/>
                <a:gd name="T62" fmla="*/ 54 w 92"/>
                <a:gd name="T63" fmla="*/ 38 h 115"/>
                <a:gd name="T64" fmla="*/ 60 w 92"/>
                <a:gd name="T65" fmla="*/ 33 h 115"/>
                <a:gd name="T66" fmla="*/ 54 w 92"/>
                <a:gd name="T67" fmla="*/ 22 h 115"/>
                <a:gd name="T68" fmla="*/ 49 w 92"/>
                <a:gd name="T69" fmla="*/ 22 h 115"/>
                <a:gd name="T70" fmla="*/ 38 w 92"/>
                <a:gd name="T71" fmla="*/ 22 h 115"/>
                <a:gd name="T72" fmla="*/ 32 w 92"/>
                <a:gd name="T73" fmla="*/ 17 h 115"/>
                <a:gd name="T74" fmla="*/ 32 w 92"/>
                <a:gd name="T75" fmla="*/ 11 h 115"/>
                <a:gd name="T76" fmla="*/ 27 w 92"/>
                <a:gd name="T77" fmla="*/ 0 h 115"/>
                <a:gd name="T78" fmla="*/ 22 w 92"/>
                <a:gd name="T79" fmla="*/ 0 h 115"/>
                <a:gd name="T80" fmla="*/ 16 w 92"/>
                <a:gd name="T81" fmla="*/ 0 h 115"/>
                <a:gd name="T82" fmla="*/ 16 w 92"/>
                <a:gd name="T83" fmla="*/ 17 h 115"/>
                <a:gd name="T84" fmla="*/ 11 w 92"/>
                <a:gd name="T85" fmla="*/ 17 h 115"/>
                <a:gd name="T86" fmla="*/ 11 w 92"/>
                <a:gd name="T87" fmla="*/ 11 h 115"/>
                <a:gd name="T88" fmla="*/ 11 w 92"/>
                <a:gd name="T89" fmla="*/ 11 h 11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2"/>
                <a:gd name="T136" fmla="*/ 0 h 115"/>
                <a:gd name="T137" fmla="*/ 92 w 92"/>
                <a:gd name="T138" fmla="*/ 115 h 11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2" h="115">
                  <a:moveTo>
                    <a:pt x="11" y="11"/>
                  </a:moveTo>
                  <a:lnTo>
                    <a:pt x="0" y="22"/>
                  </a:lnTo>
                  <a:lnTo>
                    <a:pt x="0" y="28"/>
                  </a:lnTo>
                  <a:lnTo>
                    <a:pt x="5" y="28"/>
                  </a:lnTo>
                  <a:lnTo>
                    <a:pt x="5" y="38"/>
                  </a:lnTo>
                  <a:lnTo>
                    <a:pt x="11" y="38"/>
                  </a:lnTo>
                  <a:lnTo>
                    <a:pt x="5" y="66"/>
                  </a:lnTo>
                  <a:lnTo>
                    <a:pt x="22" y="55"/>
                  </a:lnTo>
                  <a:lnTo>
                    <a:pt x="27" y="60"/>
                  </a:lnTo>
                  <a:lnTo>
                    <a:pt x="32" y="60"/>
                  </a:lnTo>
                  <a:lnTo>
                    <a:pt x="38" y="55"/>
                  </a:lnTo>
                  <a:lnTo>
                    <a:pt x="43" y="55"/>
                  </a:lnTo>
                  <a:lnTo>
                    <a:pt x="54" y="66"/>
                  </a:lnTo>
                  <a:lnTo>
                    <a:pt x="60" y="82"/>
                  </a:lnTo>
                  <a:lnTo>
                    <a:pt x="65" y="93"/>
                  </a:lnTo>
                  <a:lnTo>
                    <a:pt x="65" y="104"/>
                  </a:lnTo>
                  <a:lnTo>
                    <a:pt x="65" y="109"/>
                  </a:lnTo>
                  <a:lnTo>
                    <a:pt x="71" y="115"/>
                  </a:lnTo>
                  <a:lnTo>
                    <a:pt x="76" y="109"/>
                  </a:lnTo>
                  <a:lnTo>
                    <a:pt x="87" y="109"/>
                  </a:lnTo>
                  <a:lnTo>
                    <a:pt x="92" y="104"/>
                  </a:lnTo>
                  <a:lnTo>
                    <a:pt x="92" y="99"/>
                  </a:lnTo>
                  <a:lnTo>
                    <a:pt x="87" y="82"/>
                  </a:lnTo>
                  <a:lnTo>
                    <a:pt x="81" y="82"/>
                  </a:lnTo>
                  <a:lnTo>
                    <a:pt x="81" y="77"/>
                  </a:lnTo>
                  <a:lnTo>
                    <a:pt x="76" y="71"/>
                  </a:lnTo>
                  <a:lnTo>
                    <a:pt x="71" y="66"/>
                  </a:lnTo>
                  <a:lnTo>
                    <a:pt x="60" y="49"/>
                  </a:lnTo>
                  <a:lnTo>
                    <a:pt x="49" y="44"/>
                  </a:lnTo>
                  <a:lnTo>
                    <a:pt x="49" y="38"/>
                  </a:lnTo>
                  <a:lnTo>
                    <a:pt x="54" y="38"/>
                  </a:lnTo>
                  <a:lnTo>
                    <a:pt x="60" y="33"/>
                  </a:lnTo>
                  <a:lnTo>
                    <a:pt x="54" y="22"/>
                  </a:lnTo>
                  <a:lnTo>
                    <a:pt x="49" y="22"/>
                  </a:lnTo>
                  <a:lnTo>
                    <a:pt x="38" y="22"/>
                  </a:lnTo>
                  <a:lnTo>
                    <a:pt x="32" y="17"/>
                  </a:lnTo>
                  <a:lnTo>
                    <a:pt x="32" y="11"/>
                  </a:lnTo>
                  <a:lnTo>
                    <a:pt x="27" y="0"/>
                  </a:lnTo>
                  <a:lnTo>
                    <a:pt x="22" y="0"/>
                  </a:lnTo>
                  <a:lnTo>
                    <a:pt x="16" y="0"/>
                  </a:lnTo>
                  <a:lnTo>
                    <a:pt x="16" y="17"/>
                  </a:lnTo>
                  <a:lnTo>
                    <a:pt x="11" y="17"/>
                  </a:lnTo>
                  <a:lnTo>
                    <a:pt x="11"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7" name="Freeform 699"/>
            <p:cNvSpPr>
              <a:spLocks/>
            </p:cNvSpPr>
            <p:nvPr/>
          </p:nvSpPr>
          <p:spPr bwMode="auto">
            <a:xfrm>
              <a:off x="4092" y="2904"/>
              <a:ext cx="125" cy="76"/>
            </a:xfrm>
            <a:custGeom>
              <a:avLst/>
              <a:gdLst>
                <a:gd name="T0" fmla="*/ 0 w 125"/>
                <a:gd name="T1" fmla="*/ 60 h 76"/>
                <a:gd name="T2" fmla="*/ 5 w 125"/>
                <a:gd name="T3" fmla="*/ 65 h 76"/>
                <a:gd name="T4" fmla="*/ 16 w 125"/>
                <a:gd name="T5" fmla="*/ 65 h 76"/>
                <a:gd name="T6" fmla="*/ 21 w 125"/>
                <a:gd name="T7" fmla="*/ 60 h 76"/>
                <a:gd name="T8" fmla="*/ 21 w 125"/>
                <a:gd name="T9" fmla="*/ 60 h 76"/>
                <a:gd name="T10" fmla="*/ 27 w 125"/>
                <a:gd name="T11" fmla="*/ 49 h 76"/>
                <a:gd name="T12" fmla="*/ 43 w 125"/>
                <a:gd name="T13" fmla="*/ 49 h 76"/>
                <a:gd name="T14" fmla="*/ 54 w 125"/>
                <a:gd name="T15" fmla="*/ 32 h 76"/>
                <a:gd name="T16" fmla="*/ 54 w 125"/>
                <a:gd name="T17" fmla="*/ 27 h 76"/>
                <a:gd name="T18" fmla="*/ 65 w 125"/>
                <a:gd name="T19" fmla="*/ 38 h 76"/>
                <a:gd name="T20" fmla="*/ 70 w 125"/>
                <a:gd name="T21" fmla="*/ 27 h 76"/>
                <a:gd name="T22" fmla="*/ 76 w 125"/>
                <a:gd name="T23" fmla="*/ 32 h 76"/>
                <a:gd name="T24" fmla="*/ 70 w 125"/>
                <a:gd name="T25" fmla="*/ 27 h 76"/>
                <a:gd name="T26" fmla="*/ 76 w 125"/>
                <a:gd name="T27" fmla="*/ 21 h 76"/>
                <a:gd name="T28" fmla="*/ 76 w 125"/>
                <a:gd name="T29" fmla="*/ 16 h 76"/>
                <a:gd name="T30" fmla="*/ 81 w 125"/>
                <a:gd name="T31" fmla="*/ 16 h 76"/>
                <a:gd name="T32" fmla="*/ 92 w 125"/>
                <a:gd name="T33" fmla="*/ 0 h 76"/>
                <a:gd name="T34" fmla="*/ 92 w 125"/>
                <a:gd name="T35" fmla="*/ 5 h 76"/>
                <a:gd name="T36" fmla="*/ 98 w 125"/>
                <a:gd name="T37" fmla="*/ 0 h 76"/>
                <a:gd name="T38" fmla="*/ 98 w 125"/>
                <a:gd name="T39" fmla="*/ 5 h 76"/>
                <a:gd name="T40" fmla="*/ 103 w 125"/>
                <a:gd name="T41" fmla="*/ 5 h 76"/>
                <a:gd name="T42" fmla="*/ 103 w 125"/>
                <a:gd name="T43" fmla="*/ 11 h 76"/>
                <a:gd name="T44" fmla="*/ 108 w 125"/>
                <a:gd name="T45" fmla="*/ 11 h 76"/>
                <a:gd name="T46" fmla="*/ 108 w 125"/>
                <a:gd name="T47" fmla="*/ 16 h 76"/>
                <a:gd name="T48" fmla="*/ 114 w 125"/>
                <a:gd name="T49" fmla="*/ 16 h 76"/>
                <a:gd name="T50" fmla="*/ 125 w 125"/>
                <a:gd name="T51" fmla="*/ 21 h 76"/>
                <a:gd name="T52" fmla="*/ 119 w 125"/>
                <a:gd name="T53" fmla="*/ 27 h 76"/>
                <a:gd name="T54" fmla="*/ 114 w 125"/>
                <a:gd name="T55" fmla="*/ 27 h 76"/>
                <a:gd name="T56" fmla="*/ 114 w 125"/>
                <a:gd name="T57" fmla="*/ 32 h 76"/>
                <a:gd name="T58" fmla="*/ 108 w 125"/>
                <a:gd name="T59" fmla="*/ 32 h 76"/>
                <a:gd name="T60" fmla="*/ 103 w 125"/>
                <a:gd name="T61" fmla="*/ 32 h 76"/>
                <a:gd name="T62" fmla="*/ 103 w 125"/>
                <a:gd name="T63" fmla="*/ 32 h 76"/>
                <a:gd name="T64" fmla="*/ 98 w 125"/>
                <a:gd name="T65" fmla="*/ 32 h 76"/>
                <a:gd name="T66" fmla="*/ 81 w 125"/>
                <a:gd name="T67" fmla="*/ 32 h 76"/>
                <a:gd name="T68" fmla="*/ 65 w 125"/>
                <a:gd name="T69" fmla="*/ 65 h 76"/>
                <a:gd name="T70" fmla="*/ 65 w 125"/>
                <a:gd name="T71" fmla="*/ 65 h 76"/>
                <a:gd name="T72" fmla="*/ 59 w 125"/>
                <a:gd name="T73" fmla="*/ 71 h 76"/>
                <a:gd name="T74" fmla="*/ 49 w 125"/>
                <a:gd name="T75" fmla="*/ 71 h 76"/>
                <a:gd name="T76" fmla="*/ 43 w 125"/>
                <a:gd name="T77" fmla="*/ 71 h 76"/>
                <a:gd name="T78" fmla="*/ 38 w 125"/>
                <a:gd name="T79" fmla="*/ 71 h 76"/>
                <a:gd name="T80" fmla="*/ 27 w 125"/>
                <a:gd name="T81" fmla="*/ 76 h 76"/>
                <a:gd name="T82" fmla="*/ 10 w 125"/>
                <a:gd name="T83" fmla="*/ 76 h 76"/>
                <a:gd name="T84" fmla="*/ 5 w 125"/>
                <a:gd name="T85" fmla="*/ 71 h 76"/>
                <a:gd name="T86" fmla="*/ 0 w 125"/>
                <a:gd name="T87" fmla="*/ 60 h 76"/>
                <a:gd name="T88" fmla="*/ 0 w 125"/>
                <a:gd name="T89" fmla="*/ 60 h 76"/>
                <a:gd name="T90" fmla="*/ 0 w 125"/>
                <a:gd name="T91" fmla="*/ 60 h 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25"/>
                <a:gd name="T139" fmla="*/ 0 h 76"/>
                <a:gd name="T140" fmla="*/ 125 w 125"/>
                <a:gd name="T141" fmla="*/ 76 h 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25" h="76">
                  <a:moveTo>
                    <a:pt x="0" y="60"/>
                  </a:moveTo>
                  <a:lnTo>
                    <a:pt x="5" y="65"/>
                  </a:lnTo>
                  <a:lnTo>
                    <a:pt x="16" y="65"/>
                  </a:lnTo>
                  <a:lnTo>
                    <a:pt x="21" y="60"/>
                  </a:lnTo>
                  <a:lnTo>
                    <a:pt x="27" y="49"/>
                  </a:lnTo>
                  <a:lnTo>
                    <a:pt x="43" y="49"/>
                  </a:lnTo>
                  <a:lnTo>
                    <a:pt x="54" y="32"/>
                  </a:lnTo>
                  <a:lnTo>
                    <a:pt x="54" y="27"/>
                  </a:lnTo>
                  <a:lnTo>
                    <a:pt x="65" y="38"/>
                  </a:lnTo>
                  <a:lnTo>
                    <a:pt x="70" y="27"/>
                  </a:lnTo>
                  <a:lnTo>
                    <a:pt x="76" y="32"/>
                  </a:lnTo>
                  <a:lnTo>
                    <a:pt x="70" y="27"/>
                  </a:lnTo>
                  <a:lnTo>
                    <a:pt x="76" y="21"/>
                  </a:lnTo>
                  <a:lnTo>
                    <a:pt x="76" y="16"/>
                  </a:lnTo>
                  <a:lnTo>
                    <a:pt x="81" y="16"/>
                  </a:lnTo>
                  <a:lnTo>
                    <a:pt x="92" y="0"/>
                  </a:lnTo>
                  <a:lnTo>
                    <a:pt x="92" y="5"/>
                  </a:lnTo>
                  <a:lnTo>
                    <a:pt x="98" y="0"/>
                  </a:lnTo>
                  <a:lnTo>
                    <a:pt x="98" y="5"/>
                  </a:lnTo>
                  <a:lnTo>
                    <a:pt x="103" y="5"/>
                  </a:lnTo>
                  <a:lnTo>
                    <a:pt x="103" y="11"/>
                  </a:lnTo>
                  <a:lnTo>
                    <a:pt x="108" y="11"/>
                  </a:lnTo>
                  <a:lnTo>
                    <a:pt x="108" y="16"/>
                  </a:lnTo>
                  <a:lnTo>
                    <a:pt x="114" y="16"/>
                  </a:lnTo>
                  <a:lnTo>
                    <a:pt x="125" y="21"/>
                  </a:lnTo>
                  <a:lnTo>
                    <a:pt x="119" y="27"/>
                  </a:lnTo>
                  <a:lnTo>
                    <a:pt x="114" y="27"/>
                  </a:lnTo>
                  <a:lnTo>
                    <a:pt x="114" y="32"/>
                  </a:lnTo>
                  <a:lnTo>
                    <a:pt x="108" y="32"/>
                  </a:lnTo>
                  <a:lnTo>
                    <a:pt x="103" y="32"/>
                  </a:lnTo>
                  <a:lnTo>
                    <a:pt x="98" y="32"/>
                  </a:lnTo>
                  <a:lnTo>
                    <a:pt x="81" y="32"/>
                  </a:lnTo>
                  <a:lnTo>
                    <a:pt x="65" y="65"/>
                  </a:lnTo>
                  <a:lnTo>
                    <a:pt x="59" y="71"/>
                  </a:lnTo>
                  <a:lnTo>
                    <a:pt x="49" y="71"/>
                  </a:lnTo>
                  <a:lnTo>
                    <a:pt x="43" y="71"/>
                  </a:lnTo>
                  <a:lnTo>
                    <a:pt x="38" y="71"/>
                  </a:lnTo>
                  <a:lnTo>
                    <a:pt x="27" y="76"/>
                  </a:lnTo>
                  <a:lnTo>
                    <a:pt x="10" y="76"/>
                  </a:lnTo>
                  <a:lnTo>
                    <a:pt x="5" y="71"/>
                  </a:lnTo>
                  <a:lnTo>
                    <a:pt x="0"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8" name="Freeform 700"/>
            <p:cNvSpPr>
              <a:spLocks/>
            </p:cNvSpPr>
            <p:nvPr/>
          </p:nvSpPr>
          <p:spPr bwMode="auto">
            <a:xfrm>
              <a:off x="3972" y="2904"/>
              <a:ext cx="54" cy="71"/>
            </a:xfrm>
            <a:custGeom>
              <a:avLst/>
              <a:gdLst>
                <a:gd name="T0" fmla="*/ 27 w 54"/>
                <a:gd name="T1" fmla="*/ 5 h 71"/>
                <a:gd name="T2" fmla="*/ 27 w 54"/>
                <a:gd name="T3" fmla="*/ 5 h 71"/>
                <a:gd name="T4" fmla="*/ 38 w 54"/>
                <a:gd name="T5" fmla="*/ 16 h 71"/>
                <a:gd name="T6" fmla="*/ 38 w 54"/>
                <a:gd name="T7" fmla="*/ 21 h 71"/>
                <a:gd name="T8" fmla="*/ 38 w 54"/>
                <a:gd name="T9" fmla="*/ 43 h 71"/>
                <a:gd name="T10" fmla="*/ 54 w 54"/>
                <a:gd name="T11" fmla="*/ 65 h 71"/>
                <a:gd name="T12" fmla="*/ 49 w 54"/>
                <a:gd name="T13" fmla="*/ 71 h 71"/>
                <a:gd name="T14" fmla="*/ 43 w 54"/>
                <a:gd name="T15" fmla="*/ 65 h 71"/>
                <a:gd name="T16" fmla="*/ 38 w 54"/>
                <a:gd name="T17" fmla="*/ 71 h 71"/>
                <a:gd name="T18" fmla="*/ 16 w 54"/>
                <a:gd name="T19" fmla="*/ 49 h 71"/>
                <a:gd name="T20" fmla="*/ 5 w 54"/>
                <a:gd name="T21" fmla="*/ 32 h 71"/>
                <a:gd name="T22" fmla="*/ 0 w 54"/>
                <a:gd name="T23" fmla="*/ 5 h 71"/>
                <a:gd name="T24" fmla="*/ 0 w 54"/>
                <a:gd name="T25" fmla="*/ 0 h 71"/>
                <a:gd name="T26" fmla="*/ 11 w 54"/>
                <a:gd name="T27" fmla="*/ 5 h 71"/>
                <a:gd name="T28" fmla="*/ 11 w 54"/>
                <a:gd name="T29" fmla="*/ 16 h 71"/>
                <a:gd name="T30" fmla="*/ 16 w 54"/>
                <a:gd name="T31" fmla="*/ 11 h 71"/>
                <a:gd name="T32" fmla="*/ 22 w 54"/>
                <a:gd name="T33" fmla="*/ 11 h 71"/>
                <a:gd name="T34" fmla="*/ 27 w 54"/>
                <a:gd name="T35" fmla="*/ 5 h 71"/>
                <a:gd name="T36" fmla="*/ 27 w 54"/>
                <a:gd name="T37" fmla="*/ 5 h 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
                <a:gd name="T58" fmla="*/ 0 h 71"/>
                <a:gd name="T59" fmla="*/ 54 w 54"/>
                <a:gd name="T60" fmla="*/ 71 h 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 h="71">
                  <a:moveTo>
                    <a:pt x="27" y="5"/>
                  </a:moveTo>
                  <a:lnTo>
                    <a:pt x="27" y="5"/>
                  </a:lnTo>
                  <a:lnTo>
                    <a:pt x="38" y="16"/>
                  </a:lnTo>
                  <a:lnTo>
                    <a:pt x="38" y="21"/>
                  </a:lnTo>
                  <a:lnTo>
                    <a:pt x="38" y="43"/>
                  </a:lnTo>
                  <a:lnTo>
                    <a:pt x="54" y="65"/>
                  </a:lnTo>
                  <a:lnTo>
                    <a:pt x="49" y="71"/>
                  </a:lnTo>
                  <a:lnTo>
                    <a:pt x="43" y="65"/>
                  </a:lnTo>
                  <a:lnTo>
                    <a:pt x="38" y="71"/>
                  </a:lnTo>
                  <a:lnTo>
                    <a:pt x="16" y="49"/>
                  </a:lnTo>
                  <a:lnTo>
                    <a:pt x="5" y="32"/>
                  </a:lnTo>
                  <a:lnTo>
                    <a:pt x="0" y="5"/>
                  </a:lnTo>
                  <a:lnTo>
                    <a:pt x="0" y="0"/>
                  </a:lnTo>
                  <a:lnTo>
                    <a:pt x="11" y="5"/>
                  </a:lnTo>
                  <a:lnTo>
                    <a:pt x="11" y="16"/>
                  </a:lnTo>
                  <a:lnTo>
                    <a:pt x="16" y="11"/>
                  </a:lnTo>
                  <a:lnTo>
                    <a:pt x="22" y="11"/>
                  </a:lnTo>
                  <a:lnTo>
                    <a:pt x="27"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79" name="Freeform 701"/>
            <p:cNvSpPr>
              <a:spLocks/>
            </p:cNvSpPr>
            <p:nvPr/>
          </p:nvSpPr>
          <p:spPr bwMode="auto">
            <a:xfrm>
              <a:off x="3711" y="2582"/>
              <a:ext cx="103" cy="60"/>
            </a:xfrm>
            <a:custGeom>
              <a:avLst/>
              <a:gdLst>
                <a:gd name="T0" fmla="*/ 10 w 103"/>
                <a:gd name="T1" fmla="*/ 0 h 60"/>
                <a:gd name="T2" fmla="*/ 16 w 103"/>
                <a:gd name="T3" fmla="*/ 5 h 60"/>
                <a:gd name="T4" fmla="*/ 16 w 103"/>
                <a:gd name="T5" fmla="*/ 0 h 60"/>
                <a:gd name="T6" fmla="*/ 32 w 103"/>
                <a:gd name="T7" fmla="*/ 5 h 60"/>
                <a:gd name="T8" fmla="*/ 38 w 103"/>
                <a:gd name="T9" fmla="*/ 11 h 60"/>
                <a:gd name="T10" fmla="*/ 43 w 103"/>
                <a:gd name="T11" fmla="*/ 22 h 60"/>
                <a:gd name="T12" fmla="*/ 54 w 103"/>
                <a:gd name="T13" fmla="*/ 16 h 60"/>
                <a:gd name="T14" fmla="*/ 54 w 103"/>
                <a:gd name="T15" fmla="*/ 22 h 60"/>
                <a:gd name="T16" fmla="*/ 65 w 103"/>
                <a:gd name="T17" fmla="*/ 27 h 60"/>
                <a:gd name="T18" fmla="*/ 65 w 103"/>
                <a:gd name="T19" fmla="*/ 32 h 60"/>
                <a:gd name="T20" fmla="*/ 70 w 103"/>
                <a:gd name="T21" fmla="*/ 32 h 60"/>
                <a:gd name="T22" fmla="*/ 76 w 103"/>
                <a:gd name="T23" fmla="*/ 38 h 60"/>
                <a:gd name="T24" fmla="*/ 87 w 103"/>
                <a:gd name="T25" fmla="*/ 32 h 60"/>
                <a:gd name="T26" fmla="*/ 92 w 103"/>
                <a:gd name="T27" fmla="*/ 38 h 60"/>
                <a:gd name="T28" fmla="*/ 103 w 103"/>
                <a:gd name="T29" fmla="*/ 38 h 60"/>
                <a:gd name="T30" fmla="*/ 103 w 103"/>
                <a:gd name="T31" fmla="*/ 49 h 60"/>
                <a:gd name="T32" fmla="*/ 103 w 103"/>
                <a:gd name="T33" fmla="*/ 49 h 60"/>
                <a:gd name="T34" fmla="*/ 103 w 103"/>
                <a:gd name="T35" fmla="*/ 54 h 60"/>
                <a:gd name="T36" fmla="*/ 103 w 103"/>
                <a:gd name="T37" fmla="*/ 60 h 60"/>
                <a:gd name="T38" fmla="*/ 92 w 103"/>
                <a:gd name="T39" fmla="*/ 60 h 60"/>
                <a:gd name="T40" fmla="*/ 65 w 103"/>
                <a:gd name="T41" fmla="*/ 54 h 60"/>
                <a:gd name="T42" fmla="*/ 54 w 103"/>
                <a:gd name="T43" fmla="*/ 43 h 60"/>
                <a:gd name="T44" fmla="*/ 38 w 103"/>
                <a:gd name="T45" fmla="*/ 43 h 60"/>
                <a:gd name="T46" fmla="*/ 0 w 103"/>
                <a:gd name="T47" fmla="*/ 22 h 60"/>
                <a:gd name="T48" fmla="*/ 5 w 103"/>
                <a:gd name="T49" fmla="*/ 11 h 60"/>
                <a:gd name="T50" fmla="*/ 10 w 103"/>
                <a:gd name="T51" fmla="*/ 0 h 60"/>
                <a:gd name="T52" fmla="*/ 10 w 103"/>
                <a:gd name="T53" fmla="*/ 0 h 6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3"/>
                <a:gd name="T82" fmla="*/ 0 h 60"/>
                <a:gd name="T83" fmla="*/ 103 w 103"/>
                <a:gd name="T84" fmla="*/ 60 h 6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3" h="60">
                  <a:moveTo>
                    <a:pt x="10" y="0"/>
                  </a:moveTo>
                  <a:lnTo>
                    <a:pt x="16" y="5"/>
                  </a:lnTo>
                  <a:lnTo>
                    <a:pt x="16" y="0"/>
                  </a:lnTo>
                  <a:lnTo>
                    <a:pt x="32" y="5"/>
                  </a:lnTo>
                  <a:lnTo>
                    <a:pt x="38" y="11"/>
                  </a:lnTo>
                  <a:lnTo>
                    <a:pt x="43" y="22"/>
                  </a:lnTo>
                  <a:lnTo>
                    <a:pt x="54" y="16"/>
                  </a:lnTo>
                  <a:lnTo>
                    <a:pt x="54" y="22"/>
                  </a:lnTo>
                  <a:lnTo>
                    <a:pt x="65" y="27"/>
                  </a:lnTo>
                  <a:lnTo>
                    <a:pt x="65" y="32"/>
                  </a:lnTo>
                  <a:lnTo>
                    <a:pt x="70" y="32"/>
                  </a:lnTo>
                  <a:lnTo>
                    <a:pt x="76" y="38"/>
                  </a:lnTo>
                  <a:lnTo>
                    <a:pt x="87" y="32"/>
                  </a:lnTo>
                  <a:lnTo>
                    <a:pt x="92" y="38"/>
                  </a:lnTo>
                  <a:lnTo>
                    <a:pt x="103" y="38"/>
                  </a:lnTo>
                  <a:lnTo>
                    <a:pt x="103" y="49"/>
                  </a:lnTo>
                  <a:lnTo>
                    <a:pt x="103" y="54"/>
                  </a:lnTo>
                  <a:lnTo>
                    <a:pt x="103" y="60"/>
                  </a:lnTo>
                  <a:lnTo>
                    <a:pt x="92" y="60"/>
                  </a:lnTo>
                  <a:lnTo>
                    <a:pt x="65" y="54"/>
                  </a:lnTo>
                  <a:lnTo>
                    <a:pt x="54" y="43"/>
                  </a:lnTo>
                  <a:lnTo>
                    <a:pt x="38" y="43"/>
                  </a:lnTo>
                  <a:lnTo>
                    <a:pt x="0" y="22"/>
                  </a:lnTo>
                  <a:lnTo>
                    <a:pt x="5" y="11"/>
                  </a:lnTo>
                  <a:lnTo>
                    <a:pt x="1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0" name="Freeform 702"/>
            <p:cNvSpPr>
              <a:spLocks/>
            </p:cNvSpPr>
            <p:nvPr/>
          </p:nvSpPr>
          <p:spPr bwMode="auto">
            <a:xfrm>
              <a:off x="4015" y="2969"/>
              <a:ext cx="6" cy="6"/>
            </a:xfrm>
            <a:custGeom>
              <a:avLst/>
              <a:gdLst>
                <a:gd name="T0" fmla="*/ 6 w 6"/>
                <a:gd name="T1" fmla="*/ 6 h 6"/>
                <a:gd name="T2" fmla="*/ 6 w 6"/>
                <a:gd name="T3" fmla="*/ 0 h 6"/>
                <a:gd name="T4" fmla="*/ 0 w 6"/>
                <a:gd name="T5" fmla="*/ 6 h 6"/>
                <a:gd name="T6" fmla="*/ 6 w 6"/>
                <a:gd name="T7" fmla="*/ 6 h 6"/>
                <a:gd name="T8" fmla="*/ 6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6" y="0"/>
                  </a:lnTo>
                  <a:lnTo>
                    <a:pt x="0" y="6"/>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1" name="Freeform 703"/>
            <p:cNvSpPr>
              <a:spLocks/>
            </p:cNvSpPr>
            <p:nvPr/>
          </p:nvSpPr>
          <p:spPr bwMode="auto">
            <a:xfrm>
              <a:off x="3939" y="2718"/>
              <a:ext cx="98" cy="202"/>
            </a:xfrm>
            <a:custGeom>
              <a:avLst/>
              <a:gdLst>
                <a:gd name="T0" fmla="*/ 98 w 98"/>
                <a:gd name="T1" fmla="*/ 87 h 202"/>
                <a:gd name="T2" fmla="*/ 71 w 98"/>
                <a:gd name="T3" fmla="*/ 87 h 202"/>
                <a:gd name="T4" fmla="*/ 60 w 98"/>
                <a:gd name="T5" fmla="*/ 93 h 202"/>
                <a:gd name="T6" fmla="*/ 60 w 98"/>
                <a:gd name="T7" fmla="*/ 104 h 202"/>
                <a:gd name="T8" fmla="*/ 60 w 98"/>
                <a:gd name="T9" fmla="*/ 109 h 202"/>
                <a:gd name="T10" fmla="*/ 65 w 98"/>
                <a:gd name="T11" fmla="*/ 115 h 202"/>
                <a:gd name="T12" fmla="*/ 65 w 98"/>
                <a:gd name="T13" fmla="*/ 126 h 202"/>
                <a:gd name="T14" fmla="*/ 65 w 98"/>
                <a:gd name="T15" fmla="*/ 115 h 202"/>
                <a:gd name="T16" fmla="*/ 55 w 98"/>
                <a:gd name="T17" fmla="*/ 109 h 202"/>
                <a:gd name="T18" fmla="*/ 38 w 98"/>
                <a:gd name="T19" fmla="*/ 109 h 202"/>
                <a:gd name="T20" fmla="*/ 38 w 98"/>
                <a:gd name="T21" fmla="*/ 98 h 202"/>
                <a:gd name="T22" fmla="*/ 33 w 98"/>
                <a:gd name="T23" fmla="*/ 98 h 202"/>
                <a:gd name="T24" fmla="*/ 27 w 98"/>
                <a:gd name="T25" fmla="*/ 98 h 202"/>
                <a:gd name="T26" fmla="*/ 27 w 98"/>
                <a:gd name="T27" fmla="*/ 115 h 202"/>
                <a:gd name="T28" fmla="*/ 16 w 98"/>
                <a:gd name="T29" fmla="*/ 142 h 202"/>
                <a:gd name="T30" fmla="*/ 22 w 98"/>
                <a:gd name="T31" fmla="*/ 153 h 202"/>
                <a:gd name="T32" fmla="*/ 27 w 98"/>
                <a:gd name="T33" fmla="*/ 153 h 202"/>
                <a:gd name="T34" fmla="*/ 38 w 98"/>
                <a:gd name="T35" fmla="*/ 180 h 202"/>
                <a:gd name="T36" fmla="*/ 38 w 98"/>
                <a:gd name="T37" fmla="*/ 186 h 202"/>
                <a:gd name="T38" fmla="*/ 49 w 98"/>
                <a:gd name="T39" fmla="*/ 186 h 202"/>
                <a:gd name="T40" fmla="*/ 60 w 98"/>
                <a:gd name="T41" fmla="*/ 191 h 202"/>
                <a:gd name="T42" fmla="*/ 55 w 98"/>
                <a:gd name="T43" fmla="*/ 197 h 202"/>
                <a:gd name="T44" fmla="*/ 49 w 98"/>
                <a:gd name="T45" fmla="*/ 197 h 202"/>
                <a:gd name="T46" fmla="*/ 44 w 98"/>
                <a:gd name="T47" fmla="*/ 202 h 202"/>
                <a:gd name="T48" fmla="*/ 44 w 98"/>
                <a:gd name="T49" fmla="*/ 191 h 202"/>
                <a:gd name="T50" fmla="*/ 33 w 98"/>
                <a:gd name="T51" fmla="*/ 186 h 202"/>
                <a:gd name="T52" fmla="*/ 33 w 98"/>
                <a:gd name="T53" fmla="*/ 191 h 202"/>
                <a:gd name="T54" fmla="*/ 11 w 98"/>
                <a:gd name="T55" fmla="*/ 164 h 202"/>
                <a:gd name="T56" fmla="*/ 6 w 98"/>
                <a:gd name="T57" fmla="*/ 169 h 202"/>
                <a:gd name="T58" fmla="*/ 6 w 98"/>
                <a:gd name="T59" fmla="*/ 158 h 202"/>
                <a:gd name="T60" fmla="*/ 11 w 98"/>
                <a:gd name="T61" fmla="*/ 142 h 202"/>
                <a:gd name="T62" fmla="*/ 16 w 98"/>
                <a:gd name="T63" fmla="*/ 131 h 202"/>
                <a:gd name="T64" fmla="*/ 22 w 98"/>
                <a:gd name="T65" fmla="*/ 120 h 202"/>
                <a:gd name="T66" fmla="*/ 16 w 98"/>
                <a:gd name="T67" fmla="*/ 104 h 202"/>
                <a:gd name="T68" fmla="*/ 16 w 98"/>
                <a:gd name="T69" fmla="*/ 93 h 202"/>
                <a:gd name="T70" fmla="*/ 6 w 98"/>
                <a:gd name="T71" fmla="*/ 82 h 202"/>
                <a:gd name="T72" fmla="*/ 6 w 98"/>
                <a:gd name="T73" fmla="*/ 82 h 202"/>
                <a:gd name="T74" fmla="*/ 11 w 98"/>
                <a:gd name="T75" fmla="*/ 66 h 202"/>
                <a:gd name="T76" fmla="*/ 11 w 98"/>
                <a:gd name="T77" fmla="*/ 60 h 202"/>
                <a:gd name="T78" fmla="*/ 11 w 98"/>
                <a:gd name="T79" fmla="*/ 49 h 202"/>
                <a:gd name="T80" fmla="*/ 6 w 98"/>
                <a:gd name="T81" fmla="*/ 44 h 202"/>
                <a:gd name="T82" fmla="*/ 0 w 98"/>
                <a:gd name="T83" fmla="*/ 33 h 202"/>
                <a:gd name="T84" fmla="*/ 6 w 98"/>
                <a:gd name="T85" fmla="*/ 16 h 202"/>
                <a:gd name="T86" fmla="*/ 16 w 98"/>
                <a:gd name="T87" fmla="*/ 16 h 202"/>
                <a:gd name="T88" fmla="*/ 27 w 98"/>
                <a:gd name="T89" fmla="*/ 6 h 202"/>
                <a:gd name="T90" fmla="*/ 33 w 98"/>
                <a:gd name="T91" fmla="*/ 0 h 202"/>
                <a:gd name="T92" fmla="*/ 33 w 98"/>
                <a:gd name="T93" fmla="*/ 6 h 202"/>
                <a:gd name="T94" fmla="*/ 38 w 98"/>
                <a:gd name="T95" fmla="*/ 6 h 202"/>
                <a:gd name="T96" fmla="*/ 38 w 98"/>
                <a:gd name="T97" fmla="*/ 16 h 202"/>
                <a:gd name="T98" fmla="*/ 44 w 98"/>
                <a:gd name="T99" fmla="*/ 16 h 202"/>
                <a:gd name="T100" fmla="*/ 38 w 98"/>
                <a:gd name="T101" fmla="*/ 44 h 202"/>
                <a:gd name="T102" fmla="*/ 55 w 98"/>
                <a:gd name="T103" fmla="*/ 33 h 202"/>
                <a:gd name="T104" fmla="*/ 60 w 98"/>
                <a:gd name="T105" fmla="*/ 38 h 202"/>
                <a:gd name="T106" fmla="*/ 65 w 98"/>
                <a:gd name="T107" fmla="*/ 38 h 202"/>
                <a:gd name="T108" fmla="*/ 71 w 98"/>
                <a:gd name="T109" fmla="*/ 33 h 202"/>
                <a:gd name="T110" fmla="*/ 71 w 98"/>
                <a:gd name="T111" fmla="*/ 33 h 202"/>
                <a:gd name="T112" fmla="*/ 76 w 98"/>
                <a:gd name="T113" fmla="*/ 33 h 202"/>
                <a:gd name="T114" fmla="*/ 87 w 98"/>
                <a:gd name="T115" fmla="*/ 44 h 202"/>
                <a:gd name="T116" fmla="*/ 93 w 98"/>
                <a:gd name="T117" fmla="*/ 60 h 202"/>
                <a:gd name="T118" fmla="*/ 98 w 98"/>
                <a:gd name="T119" fmla="*/ 71 h 202"/>
                <a:gd name="T120" fmla="*/ 98 w 98"/>
                <a:gd name="T121" fmla="*/ 82 h 202"/>
                <a:gd name="T122" fmla="*/ 98 w 98"/>
                <a:gd name="T123" fmla="*/ 87 h 202"/>
                <a:gd name="T124" fmla="*/ 98 w 98"/>
                <a:gd name="T125" fmla="*/ 87 h 2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8"/>
                <a:gd name="T190" fmla="*/ 0 h 202"/>
                <a:gd name="T191" fmla="*/ 98 w 98"/>
                <a:gd name="T192" fmla="*/ 202 h 2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8" h="202">
                  <a:moveTo>
                    <a:pt x="98" y="87"/>
                  </a:moveTo>
                  <a:lnTo>
                    <a:pt x="71" y="87"/>
                  </a:lnTo>
                  <a:lnTo>
                    <a:pt x="60" y="93"/>
                  </a:lnTo>
                  <a:lnTo>
                    <a:pt x="60" y="104"/>
                  </a:lnTo>
                  <a:lnTo>
                    <a:pt x="60" y="109"/>
                  </a:lnTo>
                  <a:lnTo>
                    <a:pt x="65" y="115"/>
                  </a:lnTo>
                  <a:lnTo>
                    <a:pt x="65" y="126"/>
                  </a:lnTo>
                  <a:lnTo>
                    <a:pt x="65" y="115"/>
                  </a:lnTo>
                  <a:lnTo>
                    <a:pt x="55" y="109"/>
                  </a:lnTo>
                  <a:lnTo>
                    <a:pt x="38" y="109"/>
                  </a:lnTo>
                  <a:lnTo>
                    <a:pt x="38" y="98"/>
                  </a:lnTo>
                  <a:lnTo>
                    <a:pt x="33" y="98"/>
                  </a:lnTo>
                  <a:lnTo>
                    <a:pt x="27" y="98"/>
                  </a:lnTo>
                  <a:lnTo>
                    <a:pt x="27" y="115"/>
                  </a:lnTo>
                  <a:lnTo>
                    <a:pt x="16" y="142"/>
                  </a:lnTo>
                  <a:lnTo>
                    <a:pt x="22" y="153"/>
                  </a:lnTo>
                  <a:lnTo>
                    <a:pt x="27" y="153"/>
                  </a:lnTo>
                  <a:lnTo>
                    <a:pt x="38" y="180"/>
                  </a:lnTo>
                  <a:lnTo>
                    <a:pt x="38" y="186"/>
                  </a:lnTo>
                  <a:lnTo>
                    <a:pt x="49" y="186"/>
                  </a:lnTo>
                  <a:lnTo>
                    <a:pt x="60" y="191"/>
                  </a:lnTo>
                  <a:lnTo>
                    <a:pt x="55" y="197"/>
                  </a:lnTo>
                  <a:lnTo>
                    <a:pt x="49" y="197"/>
                  </a:lnTo>
                  <a:lnTo>
                    <a:pt x="44" y="202"/>
                  </a:lnTo>
                  <a:lnTo>
                    <a:pt x="44" y="191"/>
                  </a:lnTo>
                  <a:lnTo>
                    <a:pt x="33" y="186"/>
                  </a:lnTo>
                  <a:lnTo>
                    <a:pt x="33" y="191"/>
                  </a:lnTo>
                  <a:lnTo>
                    <a:pt x="11" y="164"/>
                  </a:lnTo>
                  <a:lnTo>
                    <a:pt x="6" y="169"/>
                  </a:lnTo>
                  <a:lnTo>
                    <a:pt x="6" y="158"/>
                  </a:lnTo>
                  <a:lnTo>
                    <a:pt x="11" y="142"/>
                  </a:lnTo>
                  <a:lnTo>
                    <a:pt x="16" y="131"/>
                  </a:lnTo>
                  <a:lnTo>
                    <a:pt x="22" y="120"/>
                  </a:lnTo>
                  <a:lnTo>
                    <a:pt x="16" y="104"/>
                  </a:lnTo>
                  <a:lnTo>
                    <a:pt x="16" y="93"/>
                  </a:lnTo>
                  <a:lnTo>
                    <a:pt x="6" y="82"/>
                  </a:lnTo>
                  <a:lnTo>
                    <a:pt x="11" y="66"/>
                  </a:lnTo>
                  <a:lnTo>
                    <a:pt x="11" y="60"/>
                  </a:lnTo>
                  <a:lnTo>
                    <a:pt x="11" y="49"/>
                  </a:lnTo>
                  <a:lnTo>
                    <a:pt x="6" y="44"/>
                  </a:lnTo>
                  <a:lnTo>
                    <a:pt x="0" y="33"/>
                  </a:lnTo>
                  <a:lnTo>
                    <a:pt x="6" y="16"/>
                  </a:lnTo>
                  <a:lnTo>
                    <a:pt x="16" y="16"/>
                  </a:lnTo>
                  <a:lnTo>
                    <a:pt x="27" y="6"/>
                  </a:lnTo>
                  <a:lnTo>
                    <a:pt x="33" y="0"/>
                  </a:lnTo>
                  <a:lnTo>
                    <a:pt x="33" y="6"/>
                  </a:lnTo>
                  <a:lnTo>
                    <a:pt x="38" y="6"/>
                  </a:lnTo>
                  <a:lnTo>
                    <a:pt x="38" y="16"/>
                  </a:lnTo>
                  <a:lnTo>
                    <a:pt x="44" y="16"/>
                  </a:lnTo>
                  <a:lnTo>
                    <a:pt x="38" y="44"/>
                  </a:lnTo>
                  <a:lnTo>
                    <a:pt x="55" y="33"/>
                  </a:lnTo>
                  <a:lnTo>
                    <a:pt x="60" y="38"/>
                  </a:lnTo>
                  <a:lnTo>
                    <a:pt x="65" y="38"/>
                  </a:lnTo>
                  <a:lnTo>
                    <a:pt x="71" y="33"/>
                  </a:lnTo>
                  <a:lnTo>
                    <a:pt x="76" y="33"/>
                  </a:lnTo>
                  <a:lnTo>
                    <a:pt x="87" y="44"/>
                  </a:lnTo>
                  <a:lnTo>
                    <a:pt x="93" y="60"/>
                  </a:lnTo>
                  <a:lnTo>
                    <a:pt x="98" y="71"/>
                  </a:lnTo>
                  <a:lnTo>
                    <a:pt x="98" y="82"/>
                  </a:lnTo>
                  <a:lnTo>
                    <a:pt x="98" y="8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2" name="Freeform 704"/>
            <p:cNvSpPr>
              <a:spLocks/>
            </p:cNvSpPr>
            <p:nvPr/>
          </p:nvSpPr>
          <p:spPr bwMode="auto">
            <a:xfrm>
              <a:off x="3999" y="2685"/>
              <a:ext cx="87" cy="197"/>
            </a:xfrm>
            <a:custGeom>
              <a:avLst/>
              <a:gdLst>
                <a:gd name="T0" fmla="*/ 0 w 87"/>
                <a:gd name="T1" fmla="*/ 6 h 197"/>
                <a:gd name="T2" fmla="*/ 11 w 87"/>
                <a:gd name="T3" fmla="*/ 6 h 197"/>
                <a:gd name="T4" fmla="*/ 38 w 87"/>
                <a:gd name="T5" fmla="*/ 0 h 197"/>
                <a:gd name="T6" fmla="*/ 54 w 87"/>
                <a:gd name="T7" fmla="*/ 17 h 197"/>
                <a:gd name="T8" fmla="*/ 71 w 87"/>
                <a:gd name="T9" fmla="*/ 22 h 197"/>
                <a:gd name="T10" fmla="*/ 54 w 87"/>
                <a:gd name="T11" fmla="*/ 33 h 197"/>
                <a:gd name="T12" fmla="*/ 44 w 87"/>
                <a:gd name="T13" fmla="*/ 55 h 197"/>
                <a:gd name="T14" fmla="*/ 49 w 87"/>
                <a:gd name="T15" fmla="*/ 71 h 197"/>
                <a:gd name="T16" fmla="*/ 60 w 87"/>
                <a:gd name="T17" fmla="*/ 82 h 197"/>
                <a:gd name="T18" fmla="*/ 76 w 87"/>
                <a:gd name="T19" fmla="*/ 99 h 197"/>
                <a:gd name="T20" fmla="*/ 82 w 87"/>
                <a:gd name="T21" fmla="*/ 110 h 197"/>
                <a:gd name="T22" fmla="*/ 87 w 87"/>
                <a:gd name="T23" fmla="*/ 148 h 197"/>
                <a:gd name="T24" fmla="*/ 87 w 87"/>
                <a:gd name="T25" fmla="*/ 159 h 197"/>
                <a:gd name="T26" fmla="*/ 65 w 87"/>
                <a:gd name="T27" fmla="*/ 170 h 197"/>
                <a:gd name="T28" fmla="*/ 49 w 87"/>
                <a:gd name="T29" fmla="*/ 180 h 197"/>
                <a:gd name="T30" fmla="*/ 44 w 87"/>
                <a:gd name="T31" fmla="*/ 180 h 197"/>
                <a:gd name="T32" fmla="*/ 33 w 87"/>
                <a:gd name="T33" fmla="*/ 197 h 197"/>
                <a:gd name="T34" fmla="*/ 33 w 87"/>
                <a:gd name="T35" fmla="*/ 186 h 197"/>
                <a:gd name="T36" fmla="*/ 27 w 87"/>
                <a:gd name="T37" fmla="*/ 170 h 197"/>
                <a:gd name="T38" fmla="*/ 33 w 87"/>
                <a:gd name="T39" fmla="*/ 164 h 197"/>
                <a:gd name="T40" fmla="*/ 44 w 87"/>
                <a:gd name="T41" fmla="*/ 153 h 197"/>
                <a:gd name="T42" fmla="*/ 54 w 87"/>
                <a:gd name="T43" fmla="*/ 153 h 197"/>
                <a:gd name="T44" fmla="*/ 65 w 87"/>
                <a:gd name="T45" fmla="*/ 115 h 197"/>
                <a:gd name="T46" fmla="*/ 60 w 87"/>
                <a:gd name="T47" fmla="*/ 93 h 197"/>
                <a:gd name="T48" fmla="*/ 54 w 87"/>
                <a:gd name="T49" fmla="*/ 88 h 197"/>
                <a:gd name="T50" fmla="*/ 44 w 87"/>
                <a:gd name="T51" fmla="*/ 77 h 197"/>
                <a:gd name="T52" fmla="*/ 22 w 87"/>
                <a:gd name="T53" fmla="*/ 55 h 197"/>
                <a:gd name="T54" fmla="*/ 27 w 87"/>
                <a:gd name="T55" fmla="*/ 49 h 197"/>
                <a:gd name="T56" fmla="*/ 27 w 87"/>
                <a:gd name="T57" fmla="*/ 33 h 197"/>
                <a:gd name="T58" fmla="*/ 11 w 87"/>
                <a:gd name="T59" fmla="*/ 33 h 197"/>
                <a:gd name="T60" fmla="*/ 5 w 87"/>
                <a:gd name="T61" fmla="*/ 22 h 197"/>
                <a:gd name="T62" fmla="*/ 0 w 87"/>
                <a:gd name="T63" fmla="*/ 11 h 19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7"/>
                <a:gd name="T97" fmla="*/ 0 h 197"/>
                <a:gd name="T98" fmla="*/ 87 w 87"/>
                <a:gd name="T99" fmla="*/ 197 h 19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7" h="197">
                  <a:moveTo>
                    <a:pt x="0" y="11"/>
                  </a:moveTo>
                  <a:lnTo>
                    <a:pt x="0" y="6"/>
                  </a:lnTo>
                  <a:lnTo>
                    <a:pt x="11" y="11"/>
                  </a:lnTo>
                  <a:lnTo>
                    <a:pt x="11" y="6"/>
                  </a:lnTo>
                  <a:lnTo>
                    <a:pt x="16" y="11"/>
                  </a:lnTo>
                  <a:lnTo>
                    <a:pt x="38" y="0"/>
                  </a:lnTo>
                  <a:lnTo>
                    <a:pt x="54" y="6"/>
                  </a:lnTo>
                  <a:lnTo>
                    <a:pt x="54" y="17"/>
                  </a:lnTo>
                  <a:lnTo>
                    <a:pt x="65" y="22"/>
                  </a:lnTo>
                  <a:lnTo>
                    <a:pt x="71" y="22"/>
                  </a:lnTo>
                  <a:lnTo>
                    <a:pt x="65" y="28"/>
                  </a:lnTo>
                  <a:lnTo>
                    <a:pt x="54" y="33"/>
                  </a:lnTo>
                  <a:lnTo>
                    <a:pt x="44" y="44"/>
                  </a:lnTo>
                  <a:lnTo>
                    <a:pt x="44" y="55"/>
                  </a:lnTo>
                  <a:lnTo>
                    <a:pt x="44" y="66"/>
                  </a:lnTo>
                  <a:lnTo>
                    <a:pt x="49" y="71"/>
                  </a:lnTo>
                  <a:lnTo>
                    <a:pt x="49" y="77"/>
                  </a:lnTo>
                  <a:lnTo>
                    <a:pt x="60" y="82"/>
                  </a:lnTo>
                  <a:lnTo>
                    <a:pt x="65" y="93"/>
                  </a:lnTo>
                  <a:lnTo>
                    <a:pt x="76" y="99"/>
                  </a:lnTo>
                  <a:lnTo>
                    <a:pt x="76" y="104"/>
                  </a:lnTo>
                  <a:lnTo>
                    <a:pt x="82" y="110"/>
                  </a:lnTo>
                  <a:lnTo>
                    <a:pt x="87" y="142"/>
                  </a:lnTo>
                  <a:lnTo>
                    <a:pt x="87" y="148"/>
                  </a:lnTo>
                  <a:lnTo>
                    <a:pt x="87" y="153"/>
                  </a:lnTo>
                  <a:lnTo>
                    <a:pt x="87" y="159"/>
                  </a:lnTo>
                  <a:lnTo>
                    <a:pt x="71" y="170"/>
                  </a:lnTo>
                  <a:lnTo>
                    <a:pt x="65" y="170"/>
                  </a:lnTo>
                  <a:lnTo>
                    <a:pt x="54" y="170"/>
                  </a:lnTo>
                  <a:lnTo>
                    <a:pt x="49" y="180"/>
                  </a:lnTo>
                  <a:lnTo>
                    <a:pt x="54" y="180"/>
                  </a:lnTo>
                  <a:lnTo>
                    <a:pt x="44" y="180"/>
                  </a:lnTo>
                  <a:lnTo>
                    <a:pt x="49" y="186"/>
                  </a:lnTo>
                  <a:lnTo>
                    <a:pt x="33" y="197"/>
                  </a:lnTo>
                  <a:lnTo>
                    <a:pt x="33" y="186"/>
                  </a:lnTo>
                  <a:lnTo>
                    <a:pt x="33" y="175"/>
                  </a:lnTo>
                  <a:lnTo>
                    <a:pt x="27" y="170"/>
                  </a:lnTo>
                  <a:lnTo>
                    <a:pt x="33" y="170"/>
                  </a:lnTo>
                  <a:lnTo>
                    <a:pt x="33" y="164"/>
                  </a:lnTo>
                  <a:lnTo>
                    <a:pt x="44" y="164"/>
                  </a:lnTo>
                  <a:lnTo>
                    <a:pt x="44" y="153"/>
                  </a:lnTo>
                  <a:lnTo>
                    <a:pt x="49" y="153"/>
                  </a:lnTo>
                  <a:lnTo>
                    <a:pt x="54" y="153"/>
                  </a:lnTo>
                  <a:lnTo>
                    <a:pt x="65" y="148"/>
                  </a:lnTo>
                  <a:lnTo>
                    <a:pt x="65" y="115"/>
                  </a:lnTo>
                  <a:lnTo>
                    <a:pt x="65" y="110"/>
                  </a:lnTo>
                  <a:lnTo>
                    <a:pt x="60" y="93"/>
                  </a:lnTo>
                  <a:lnTo>
                    <a:pt x="54" y="93"/>
                  </a:lnTo>
                  <a:lnTo>
                    <a:pt x="54" y="88"/>
                  </a:lnTo>
                  <a:lnTo>
                    <a:pt x="49" y="82"/>
                  </a:lnTo>
                  <a:lnTo>
                    <a:pt x="44" y="77"/>
                  </a:lnTo>
                  <a:lnTo>
                    <a:pt x="33" y="60"/>
                  </a:lnTo>
                  <a:lnTo>
                    <a:pt x="22" y="55"/>
                  </a:lnTo>
                  <a:lnTo>
                    <a:pt x="22" y="49"/>
                  </a:lnTo>
                  <a:lnTo>
                    <a:pt x="27" y="49"/>
                  </a:lnTo>
                  <a:lnTo>
                    <a:pt x="33" y="44"/>
                  </a:lnTo>
                  <a:lnTo>
                    <a:pt x="27" y="33"/>
                  </a:lnTo>
                  <a:lnTo>
                    <a:pt x="22" y="33"/>
                  </a:lnTo>
                  <a:lnTo>
                    <a:pt x="11" y="33"/>
                  </a:lnTo>
                  <a:lnTo>
                    <a:pt x="5" y="28"/>
                  </a:lnTo>
                  <a:lnTo>
                    <a:pt x="5" y="22"/>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3" name="Freeform 705"/>
            <p:cNvSpPr>
              <a:spLocks/>
            </p:cNvSpPr>
            <p:nvPr/>
          </p:nvSpPr>
          <p:spPr bwMode="auto">
            <a:xfrm>
              <a:off x="3907" y="2920"/>
              <a:ext cx="141" cy="147"/>
            </a:xfrm>
            <a:custGeom>
              <a:avLst/>
              <a:gdLst>
                <a:gd name="T0" fmla="*/ 0 w 141"/>
                <a:gd name="T1" fmla="*/ 0 h 147"/>
                <a:gd name="T2" fmla="*/ 5 w 141"/>
                <a:gd name="T3" fmla="*/ 0 h 147"/>
                <a:gd name="T4" fmla="*/ 16 w 141"/>
                <a:gd name="T5" fmla="*/ 5 h 147"/>
                <a:gd name="T6" fmla="*/ 32 w 141"/>
                <a:gd name="T7" fmla="*/ 5 h 147"/>
                <a:gd name="T8" fmla="*/ 38 w 141"/>
                <a:gd name="T9" fmla="*/ 16 h 147"/>
                <a:gd name="T10" fmla="*/ 54 w 141"/>
                <a:gd name="T11" fmla="*/ 27 h 147"/>
                <a:gd name="T12" fmla="*/ 70 w 141"/>
                <a:gd name="T13" fmla="*/ 44 h 147"/>
                <a:gd name="T14" fmla="*/ 70 w 141"/>
                <a:gd name="T15" fmla="*/ 44 h 147"/>
                <a:gd name="T16" fmla="*/ 76 w 141"/>
                <a:gd name="T17" fmla="*/ 44 h 147"/>
                <a:gd name="T18" fmla="*/ 81 w 141"/>
                <a:gd name="T19" fmla="*/ 49 h 147"/>
                <a:gd name="T20" fmla="*/ 87 w 141"/>
                <a:gd name="T21" fmla="*/ 55 h 147"/>
                <a:gd name="T22" fmla="*/ 92 w 141"/>
                <a:gd name="T23" fmla="*/ 55 h 147"/>
                <a:gd name="T24" fmla="*/ 92 w 141"/>
                <a:gd name="T25" fmla="*/ 55 h 147"/>
                <a:gd name="T26" fmla="*/ 97 w 141"/>
                <a:gd name="T27" fmla="*/ 60 h 147"/>
                <a:gd name="T28" fmla="*/ 103 w 141"/>
                <a:gd name="T29" fmla="*/ 60 h 147"/>
                <a:gd name="T30" fmla="*/ 103 w 141"/>
                <a:gd name="T31" fmla="*/ 66 h 147"/>
                <a:gd name="T32" fmla="*/ 103 w 141"/>
                <a:gd name="T33" fmla="*/ 66 h 147"/>
                <a:gd name="T34" fmla="*/ 103 w 141"/>
                <a:gd name="T35" fmla="*/ 66 h 147"/>
                <a:gd name="T36" fmla="*/ 108 w 141"/>
                <a:gd name="T37" fmla="*/ 66 h 147"/>
                <a:gd name="T38" fmla="*/ 108 w 141"/>
                <a:gd name="T39" fmla="*/ 71 h 147"/>
                <a:gd name="T40" fmla="*/ 108 w 141"/>
                <a:gd name="T41" fmla="*/ 76 h 147"/>
                <a:gd name="T42" fmla="*/ 108 w 141"/>
                <a:gd name="T43" fmla="*/ 76 h 147"/>
                <a:gd name="T44" fmla="*/ 108 w 141"/>
                <a:gd name="T45" fmla="*/ 82 h 147"/>
                <a:gd name="T46" fmla="*/ 108 w 141"/>
                <a:gd name="T47" fmla="*/ 82 h 147"/>
                <a:gd name="T48" fmla="*/ 119 w 141"/>
                <a:gd name="T49" fmla="*/ 87 h 147"/>
                <a:gd name="T50" fmla="*/ 119 w 141"/>
                <a:gd name="T51" fmla="*/ 93 h 147"/>
                <a:gd name="T52" fmla="*/ 125 w 141"/>
                <a:gd name="T53" fmla="*/ 98 h 147"/>
                <a:gd name="T54" fmla="*/ 125 w 141"/>
                <a:gd name="T55" fmla="*/ 104 h 147"/>
                <a:gd name="T56" fmla="*/ 136 w 141"/>
                <a:gd name="T57" fmla="*/ 104 h 147"/>
                <a:gd name="T58" fmla="*/ 141 w 141"/>
                <a:gd name="T59" fmla="*/ 109 h 147"/>
                <a:gd name="T60" fmla="*/ 136 w 141"/>
                <a:gd name="T61" fmla="*/ 147 h 147"/>
                <a:gd name="T62" fmla="*/ 130 w 141"/>
                <a:gd name="T63" fmla="*/ 142 h 147"/>
                <a:gd name="T64" fmla="*/ 130 w 141"/>
                <a:gd name="T65" fmla="*/ 147 h 147"/>
                <a:gd name="T66" fmla="*/ 125 w 141"/>
                <a:gd name="T67" fmla="*/ 142 h 147"/>
                <a:gd name="T68" fmla="*/ 125 w 141"/>
                <a:gd name="T69" fmla="*/ 142 h 147"/>
                <a:gd name="T70" fmla="*/ 125 w 141"/>
                <a:gd name="T71" fmla="*/ 147 h 147"/>
                <a:gd name="T72" fmla="*/ 108 w 141"/>
                <a:gd name="T73" fmla="*/ 136 h 147"/>
                <a:gd name="T74" fmla="*/ 92 w 141"/>
                <a:gd name="T75" fmla="*/ 126 h 147"/>
                <a:gd name="T76" fmla="*/ 92 w 141"/>
                <a:gd name="T77" fmla="*/ 120 h 147"/>
                <a:gd name="T78" fmla="*/ 76 w 141"/>
                <a:gd name="T79" fmla="*/ 104 h 147"/>
                <a:gd name="T80" fmla="*/ 65 w 141"/>
                <a:gd name="T81" fmla="*/ 82 h 147"/>
                <a:gd name="T82" fmla="*/ 59 w 141"/>
                <a:gd name="T83" fmla="*/ 71 h 147"/>
                <a:gd name="T84" fmla="*/ 54 w 141"/>
                <a:gd name="T85" fmla="*/ 66 h 147"/>
                <a:gd name="T86" fmla="*/ 48 w 141"/>
                <a:gd name="T87" fmla="*/ 49 h 147"/>
                <a:gd name="T88" fmla="*/ 43 w 141"/>
                <a:gd name="T89" fmla="*/ 44 h 147"/>
                <a:gd name="T90" fmla="*/ 32 w 141"/>
                <a:gd name="T91" fmla="*/ 44 h 147"/>
                <a:gd name="T92" fmla="*/ 32 w 141"/>
                <a:gd name="T93" fmla="*/ 33 h 147"/>
                <a:gd name="T94" fmla="*/ 27 w 141"/>
                <a:gd name="T95" fmla="*/ 27 h 147"/>
                <a:gd name="T96" fmla="*/ 21 w 141"/>
                <a:gd name="T97" fmla="*/ 22 h 147"/>
                <a:gd name="T98" fmla="*/ 5 w 141"/>
                <a:gd name="T99" fmla="*/ 11 h 147"/>
                <a:gd name="T100" fmla="*/ 0 w 141"/>
                <a:gd name="T101" fmla="*/ 0 h 147"/>
                <a:gd name="T102" fmla="*/ 0 w 141"/>
                <a:gd name="T103" fmla="*/ 0 h 14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1"/>
                <a:gd name="T157" fmla="*/ 0 h 147"/>
                <a:gd name="T158" fmla="*/ 141 w 141"/>
                <a:gd name="T159" fmla="*/ 147 h 14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1" h="147">
                  <a:moveTo>
                    <a:pt x="0" y="0"/>
                  </a:moveTo>
                  <a:lnTo>
                    <a:pt x="5" y="0"/>
                  </a:lnTo>
                  <a:lnTo>
                    <a:pt x="16" y="5"/>
                  </a:lnTo>
                  <a:lnTo>
                    <a:pt x="32" y="5"/>
                  </a:lnTo>
                  <a:lnTo>
                    <a:pt x="38" y="16"/>
                  </a:lnTo>
                  <a:lnTo>
                    <a:pt x="54" y="27"/>
                  </a:lnTo>
                  <a:lnTo>
                    <a:pt x="70" y="44"/>
                  </a:lnTo>
                  <a:lnTo>
                    <a:pt x="76" y="44"/>
                  </a:lnTo>
                  <a:lnTo>
                    <a:pt x="81" y="49"/>
                  </a:lnTo>
                  <a:lnTo>
                    <a:pt x="87" y="55"/>
                  </a:lnTo>
                  <a:lnTo>
                    <a:pt x="92" y="55"/>
                  </a:lnTo>
                  <a:lnTo>
                    <a:pt x="97" y="60"/>
                  </a:lnTo>
                  <a:lnTo>
                    <a:pt x="103" y="60"/>
                  </a:lnTo>
                  <a:lnTo>
                    <a:pt x="103" y="66"/>
                  </a:lnTo>
                  <a:lnTo>
                    <a:pt x="108" y="66"/>
                  </a:lnTo>
                  <a:lnTo>
                    <a:pt x="108" y="71"/>
                  </a:lnTo>
                  <a:lnTo>
                    <a:pt x="108" y="76"/>
                  </a:lnTo>
                  <a:lnTo>
                    <a:pt x="108" y="82"/>
                  </a:lnTo>
                  <a:lnTo>
                    <a:pt x="119" y="87"/>
                  </a:lnTo>
                  <a:lnTo>
                    <a:pt x="119" y="93"/>
                  </a:lnTo>
                  <a:lnTo>
                    <a:pt x="125" y="98"/>
                  </a:lnTo>
                  <a:lnTo>
                    <a:pt x="125" y="104"/>
                  </a:lnTo>
                  <a:lnTo>
                    <a:pt x="136" y="104"/>
                  </a:lnTo>
                  <a:lnTo>
                    <a:pt x="141" y="109"/>
                  </a:lnTo>
                  <a:lnTo>
                    <a:pt x="136" y="147"/>
                  </a:lnTo>
                  <a:lnTo>
                    <a:pt x="130" y="142"/>
                  </a:lnTo>
                  <a:lnTo>
                    <a:pt x="130" y="147"/>
                  </a:lnTo>
                  <a:lnTo>
                    <a:pt x="125" y="142"/>
                  </a:lnTo>
                  <a:lnTo>
                    <a:pt x="125" y="147"/>
                  </a:lnTo>
                  <a:lnTo>
                    <a:pt x="108" y="136"/>
                  </a:lnTo>
                  <a:lnTo>
                    <a:pt x="92" y="126"/>
                  </a:lnTo>
                  <a:lnTo>
                    <a:pt x="92" y="120"/>
                  </a:lnTo>
                  <a:lnTo>
                    <a:pt x="76" y="104"/>
                  </a:lnTo>
                  <a:lnTo>
                    <a:pt x="65" y="82"/>
                  </a:lnTo>
                  <a:lnTo>
                    <a:pt x="59" y="71"/>
                  </a:lnTo>
                  <a:lnTo>
                    <a:pt x="54" y="66"/>
                  </a:lnTo>
                  <a:lnTo>
                    <a:pt x="48" y="49"/>
                  </a:lnTo>
                  <a:lnTo>
                    <a:pt x="43" y="44"/>
                  </a:lnTo>
                  <a:lnTo>
                    <a:pt x="32" y="44"/>
                  </a:lnTo>
                  <a:lnTo>
                    <a:pt x="32" y="33"/>
                  </a:lnTo>
                  <a:lnTo>
                    <a:pt x="27" y="27"/>
                  </a:lnTo>
                  <a:lnTo>
                    <a:pt x="21" y="22"/>
                  </a:lnTo>
                  <a:lnTo>
                    <a:pt x="5"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4" name="Freeform 706"/>
            <p:cNvSpPr>
              <a:spLocks/>
            </p:cNvSpPr>
            <p:nvPr/>
          </p:nvSpPr>
          <p:spPr bwMode="auto">
            <a:xfrm>
              <a:off x="4369" y="2996"/>
              <a:ext cx="131" cy="115"/>
            </a:xfrm>
            <a:custGeom>
              <a:avLst/>
              <a:gdLst>
                <a:gd name="T0" fmla="*/ 131 w 131"/>
                <a:gd name="T1" fmla="*/ 60 h 115"/>
                <a:gd name="T2" fmla="*/ 131 w 131"/>
                <a:gd name="T3" fmla="*/ 28 h 115"/>
                <a:gd name="T4" fmla="*/ 109 w 131"/>
                <a:gd name="T5" fmla="*/ 28 h 115"/>
                <a:gd name="T6" fmla="*/ 87 w 131"/>
                <a:gd name="T7" fmla="*/ 11 h 115"/>
                <a:gd name="T8" fmla="*/ 82 w 131"/>
                <a:gd name="T9" fmla="*/ 17 h 115"/>
                <a:gd name="T10" fmla="*/ 76 w 131"/>
                <a:gd name="T11" fmla="*/ 22 h 115"/>
                <a:gd name="T12" fmla="*/ 65 w 131"/>
                <a:gd name="T13" fmla="*/ 22 h 115"/>
                <a:gd name="T14" fmla="*/ 60 w 131"/>
                <a:gd name="T15" fmla="*/ 39 h 115"/>
                <a:gd name="T16" fmla="*/ 55 w 131"/>
                <a:gd name="T17" fmla="*/ 39 h 115"/>
                <a:gd name="T18" fmla="*/ 49 w 131"/>
                <a:gd name="T19" fmla="*/ 39 h 115"/>
                <a:gd name="T20" fmla="*/ 44 w 131"/>
                <a:gd name="T21" fmla="*/ 28 h 115"/>
                <a:gd name="T22" fmla="*/ 44 w 131"/>
                <a:gd name="T23" fmla="*/ 28 h 115"/>
                <a:gd name="T24" fmla="*/ 44 w 131"/>
                <a:gd name="T25" fmla="*/ 33 h 115"/>
                <a:gd name="T26" fmla="*/ 38 w 131"/>
                <a:gd name="T27" fmla="*/ 28 h 115"/>
                <a:gd name="T28" fmla="*/ 38 w 131"/>
                <a:gd name="T29" fmla="*/ 11 h 115"/>
                <a:gd name="T30" fmla="*/ 38 w 131"/>
                <a:gd name="T31" fmla="*/ 6 h 115"/>
                <a:gd name="T32" fmla="*/ 27 w 131"/>
                <a:gd name="T33" fmla="*/ 6 h 115"/>
                <a:gd name="T34" fmla="*/ 22 w 131"/>
                <a:gd name="T35" fmla="*/ 0 h 115"/>
                <a:gd name="T36" fmla="*/ 16 w 131"/>
                <a:gd name="T37" fmla="*/ 0 h 115"/>
                <a:gd name="T38" fmla="*/ 0 w 131"/>
                <a:gd name="T39" fmla="*/ 6 h 115"/>
                <a:gd name="T40" fmla="*/ 0 w 131"/>
                <a:gd name="T41" fmla="*/ 11 h 115"/>
                <a:gd name="T42" fmla="*/ 11 w 131"/>
                <a:gd name="T43" fmla="*/ 17 h 115"/>
                <a:gd name="T44" fmla="*/ 11 w 131"/>
                <a:gd name="T45" fmla="*/ 22 h 115"/>
                <a:gd name="T46" fmla="*/ 16 w 131"/>
                <a:gd name="T47" fmla="*/ 28 h 115"/>
                <a:gd name="T48" fmla="*/ 33 w 131"/>
                <a:gd name="T49" fmla="*/ 22 h 115"/>
                <a:gd name="T50" fmla="*/ 33 w 131"/>
                <a:gd name="T51" fmla="*/ 28 h 115"/>
                <a:gd name="T52" fmla="*/ 33 w 131"/>
                <a:gd name="T53" fmla="*/ 28 h 115"/>
                <a:gd name="T54" fmla="*/ 27 w 131"/>
                <a:gd name="T55" fmla="*/ 28 h 115"/>
                <a:gd name="T56" fmla="*/ 22 w 131"/>
                <a:gd name="T57" fmla="*/ 33 h 115"/>
                <a:gd name="T58" fmla="*/ 11 w 131"/>
                <a:gd name="T59" fmla="*/ 33 h 115"/>
                <a:gd name="T60" fmla="*/ 11 w 131"/>
                <a:gd name="T61" fmla="*/ 33 h 115"/>
                <a:gd name="T62" fmla="*/ 16 w 131"/>
                <a:gd name="T63" fmla="*/ 33 h 115"/>
                <a:gd name="T64" fmla="*/ 22 w 131"/>
                <a:gd name="T65" fmla="*/ 39 h 115"/>
                <a:gd name="T66" fmla="*/ 22 w 131"/>
                <a:gd name="T67" fmla="*/ 50 h 115"/>
                <a:gd name="T68" fmla="*/ 33 w 131"/>
                <a:gd name="T69" fmla="*/ 44 h 115"/>
                <a:gd name="T70" fmla="*/ 33 w 131"/>
                <a:gd name="T71" fmla="*/ 33 h 115"/>
                <a:gd name="T72" fmla="*/ 33 w 131"/>
                <a:gd name="T73" fmla="*/ 44 h 115"/>
                <a:gd name="T74" fmla="*/ 44 w 131"/>
                <a:gd name="T75" fmla="*/ 50 h 115"/>
                <a:gd name="T76" fmla="*/ 49 w 131"/>
                <a:gd name="T77" fmla="*/ 50 h 115"/>
                <a:gd name="T78" fmla="*/ 49 w 131"/>
                <a:gd name="T79" fmla="*/ 55 h 115"/>
                <a:gd name="T80" fmla="*/ 71 w 131"/>
                <a:gd name="T81" fmla="*/ 55 h 115"/>
                <a:gd name="T82" fmla="*/ 93 w 131"/>
                <a:gd name="T83" fmla="*/ 66 h 115"/>
                <a:gd name="T84" fmla="*/ 98 w 131"/>
                <a:gd name="T85" fmla="*/ 82 h 115"/>
                <a:gd name="T86" fmla="*/ 98 w 131"/>
                <a:gd name="T87" fmla="*/ 82 h 115"/>
                <a:gd name="T88" fmla="*/ 104 w 131"/>
                <a:gd name="T89" fmla="*/ 88 h 115"/>
                <a:gd name="T90" fmla="*/ 98 w 131"/>
                <a:gd name="T91" fmla="*/ 88 h 115"/>
                <a:gd name="T92" fmla="*/ 104 w 131"/>
                <a:gd name="T93" fmla="*/ 93 h 115"/>
                <a:gd name="T94" fmla="*/ 98 w 131"/>
                <a:gd name="T95" fmla="*/ 93 h 115"/>
                <a:gd name="T96" fmla="*/ 93 w 131"/>
                <a:gd name="T97" fmla="*/ 93 h 115"/>
                <a:gd name="T98" fmla="*/ 87 w 131"/>
                <a:gd name="T99" fmla="*/ 104 h 115"/>
                <a:gd name="T100" fmla="*/ 98 w 131"/>
                <a:gd name="T101" fmla="*/ 104 h 115"/>
                <a:gd name="T102" fmla="*/ 104 w 131"/>
                <a:gd name="T103" fmla="*/ 99 h 115"/>
                <a:gd name="T104" fmla="*/ 114 w 131"/>
                <a:gd name="T105" fmla="*/ 99 h 115"/>
                <a:gd name="T106" fmla="*/ 131 w 131"/>
                <a:gd name="T107" fmla="*/ 115 h 115"/>
                <a:gd name="T108" fmla="*/ 131 w 131"/>
                <a:gd name="T109" fmla="*/ 82 h 115"/>
                <a:gd name="T110" fmla="*/ 131 w 131"/>
                <a:gd name="T111" fmla="*/ 60 h 115"/>
                <a:gd name="T112" fmla="*/ 131 w 131"/>
                <a:gd name="T113" fmla="*/ 60 h 11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1"/>
                <a:gd name="T172" fmla="*/ 0 h 115"/>
                <a:gd name="T173" fmla="*/ 131 w 131"/>
                <a:gd name="T174" fmla="*/ 115 h 11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1" h="115">
                  <a:moveTo>
                    <a:pt x="131" y="60"/>
                  </a:moveTo>
                  <a:lnTo>
                    <a:pt x="131" y="28"/>
                  </a:lnTo>
                  <a:lnTo>
                    <a:pt x="109" y="28"/>
                  </a:lnTo>
                  <a:lnTo>
                    <a:pt x="87" y="11"/>
                  </a:lnTo>
                  <a:lnTo>
                    <a:pt x="82" y="17"/>
                  </a:lnTo>
                  <a:lnTo>
                    <a:pt x="76" y="22"/>
                  </a:lnTo>
                  <a:lnTo>
                    <a:pt x="65" y="22"/>
                  </a:lnTo>
                  <a:lnTo>
                    <a:pt x="60" y="39"/>
                  </a:lnTo>
                  <a:lnTo>
                    <a:pt x="55" y="39"/>
                  </a:lnTo>
                  <a:lnTo>
                    <a:pt x="49" y="39"/>
                  </a:lnTo>
                  <a:lnTo>
                    <a:pt x="44" y="28"/>
                  </a:lnTo>
                  <a:lnTo>
                    <a:pt x="44" y="33"/>
                  </a:lnTo>
                  <a:lnTo>
                    <a:pt x="38" y="28"/>
                  </a:lnTo>
                  <a:lnTo>
                    <a:pt x="38" y="11"/>
                  </a:lnTo>
                  <a:lnTo>
                    <a:pt x="38" y="6"/>
                  </a:lnTo>
                  <a:lnTo>
                    <a:pt x="27" y="6"/>
                  </a:lnTo>
                  <a:lnTo>
                    <a:pt x="22" y="0"/>
                  </a:lnTo>
                  <a:lnTo>
                    <a:pt x="16" y="0"/>
                  </a:lnTo>
                  <a:lnTo>
                    <a:pt x="0" y="6"/>
                  </a:lnTo>
                  <a:lnTo>
                    <a:pt x="0" y="11"/>
                  </a:lnTo>
                  <a:lnTo>
                    <a:pt x="11" y="17"/>
                  </a:lnTo>
                  <a:lnTo>
                    <a:pt x="11" y="22"/>
                  </a:lnTo>
                  <a:lnTo>
                    <a:pt x="16" y="28"/>
                  </a:lnTo>
                  <a:lnTo>
                    <a:pt x="33" y="22"/>
                  </a:lnTo>
                  <a:lnTo>
                    <a:pt x="33" y="28"/>
                  </a:lnTo>
                  <a:lnTo>
                    <a:pt x="27" y="28"/>
                  </a:lnTo>
                  <a:lnTo>
                    <a:pt x="22" y="33"/>
                  </a:lnTo>
                  <a:lnTo>
                    <a:pt x="11" y="33"/>
                  </a:lnTo>
                  <a:lnTo>
                    <a:pt x="16" y="33"/>
                  </a:lnTo>
                  <a:lnTo>
                    <a:pt x="22" y="39"/>
                  </a:lnTo>
                  <a:lnTo>
                    <a:pt x="22" y="50"/>
                  </a:lnTo>
                  <a:lnTo>
                    <a:pt x="33" y="44"/>
                  </a:lnTo>
                  <a:lnTo>
                    <a:pt x="33" y="33"/>
                  </a:lnTo>
                  <a:lnTo>
                    <a:pt x="33" y="44"/>
                  </a:lnTo>
                  <a:lnTo>
                    <a:pt x="44" y="50"/>
                  </a:lnTo>
                  <a:lnTo>
                    <a:pt x="49" y="50"/>
                  </a:lnTo>
                  <a:lnTo>
                    <a:pt x="49" y="55"/>
                  </a:lnTo>
                  <a:lnTo>
                    <a:pt x="71" y="55"/>
                  </a:lnTo>
                  <a:lnTo>
                    <a:pt x="93" y="66"/>
                  </a:lnTo>
                  <a:lnTo>
                    <a:pt x="98" y="82"/>
                  </a:lnTo>
                  <a:lnTo>
                    <a:pt x="104" y="88"/>
                  </a:lnTo>
                  <a:lnTo>
                    <a:pt x="98" y="88"/>
                  </a:lnTo>
                  <a:lnTo>
                    <a:pt x="104" y="93"/>
                  </a:lnTo>
                  <a:lnTo>
                    <a:pt x="98" y="93"/>
                  </a:lnTo>
                  <a:lnTo>
                    <a:pt x="93" y="93"/>
                  </a:lnTo>
                  <a:lnTo>
                    <a:pt x="87" y="104"/>
                  </a:lnTo>
                  <a:lnTo>
                    <a:pt x="98" y="104"/>
                  </a:lnTo>
                  <a:lnTo>
                    <a:pt x="104" y="99"/>
                  </a:lnTo>
                  <a:lnTo>
                    <a:pt x="114" y="99"/>
                  </a:lnTo>
                  <a:lnTo>
                    <a:pt x="131" y="115"/>
                  </a:lnTo>
                  <a:lnTo>
                    <a:pt x="131" y="82"/>
                  </a:lnTo>
                  <a:lnTo>
                    <a:pt x="131"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5" name="Freeform 707"/>
            <p:cNvSpPr>
              <a:spLocks/>
            </p:cNvSpPr>
            <p:nvPr/>
          </p:nvSpPr>
          <p:spPr bwMode="auto">
            <a:xfrm>
              <a:off x="4320" y="3007"/>
              <a:ext cx="11" cy="6"/>
            </a:xfrm>
            <a:custGeom>
              <a:avLst/>
              <a:gdLst>
                <a:gd name="T0" fmla="*/ 0 w 11"/>
                <a:gd name="T1" fmla="*/ 6 h 6"/>
                <a:gd name="T2" fmla="*/ 6 w 11"/>
                <a:gd name="T3" fmla="*/ 0 h 6"/>
                <a:gd name="T4" fmla="*/ 11 w 11"/>
                <a:gd name="T5" fmla="*/ 6 h 6"/>
                <a:gd name="T6" fmla="*/ 0 w 11"/>
                <a:gd name="T7" fmla="*/ 6 h 6"/>
                <a:gd name="T8" fmla="*/ 0 w 11"/>
                <a:gd name="T9" fmla="*/ 6 h 6"/>
                <a:gd name="T10" fmla="*/ 0 w 11"/>
                <a:gd name="T11" fmla="*/ 6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0" y="6"/>
                  </a:moveTo>
                  <a:lnTo>
                    <a:pt x="6" y="0"/>
                  </a:lnTo>
                  <a:lnTo>
                    <a:pt x="11" y="6"/>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6" name="Freeform 708"/>
            <p:cNvSpPr>
              <a:spLocks/>
            </p:cNvSpPr>
            <p:nvPr/>
          </p:nvSpPr>
          <p:spPr bwMode="auto">
            <a:xfrm>
              <a:off x="4320" y="2996"/>
              <a:ext cx="6" cy="6"/>
            </a:xfrm>
            <a:custGeom>
              <a:avLst/>
              <a:gdLst>
                <a:gd name="T0" fmla="*/ 0 w 6"/>
                <a:gd name="T1" fmla="*/ 0 h 6"/>
                <a:gd name="T2" fmla="*/ 0 w 6"/>
                <a:gd name="T3" fmla="*/ 0 h 6"/>
                <a:gd name="T4" fmla="*/ 6 w 6"/>
                <a:gd name="T5" fmla="*/ 6 h 6"/>
                <a:gd name="T6" fmla="*/ 0 w 6"/>
                <a:gd name="T7" fmla="*/ 6 h 6"/>
                <a:gd name="T8" fmla="*/ 0 w 6"/>
                <a:gd name="T9" fmla="*/ 0 h 6"/>
                <a:gd name="T10" fmla="*/ 0 w 6"/>
                <a:gd name="T11" fmla="*/ 0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0" y="0"/>
                  </a:moveTo>
                  <a:lnTo>
                    <a:pt x="0" y="0"/>
                  </a:lnTo>
                  <a:lnTo>
                    <a:pt x="6"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7" name="Freeform 709"/>
            <p:cNvSpPr>
              <a:spLocks/>
            </p:cNvSpPr>
            <p:nvPr/>
          </p:nvSpPr>
          <p:spPr bwMode="auto">
            <a:xfrm>
              <a:off x="4320" y="2964"/>
              <a:ext cx="16" cy="38"/>
            </a:xfrm>
            <a:custGeom>
              <a:avLst/>
              <a:gdLst>
                <a:gd name="T0" fmla="*/ 6 w 16"/>
                <a:gd name="T1" fmla="*/ 0 h 38"/>
                <a:gd name="T2" fmla="*/ 11 w 16"/>
                <a:gd name="T3" fmla="*/ 11 h 38"/>
                <a:gd name="T4" fmla="*/ 6 w 16"/>
                <a:gd name="T5" fmla="*/ 16 h 38"/>
                <a:gd name="T6" fmla="*/ 6 w 16"/>
                <a:gd name="T7" fmla="*/ 16 h 38"/>
                <a:gd name="T8" fmla="*/ 16 w 16"/>
                <a:gd name="T9" fmla="*/ 11 h 38"/>
                <a:gd name="T10" fmla="*/ 16 w 16"/>
                <a:gd name="T11" fmla="*/ 11 h 38"/>
                <a:gd name="T12" fmla="*/ 16 w 16"/>
                <a:gd name="T13" fmla="*/ 16 h 38"/>
                <a:gd name="T14" fmla="*/ 11 w 16"/>
                <a:gd name="T15" fmla="*/ 16 h 38"/>
                <a:gd name="T16" fmla="*/ 16 w 16"/>
                <a:gd name="T17" fmla="*/ 27 h 38"/>
                <a:gd name="T18" fmla="*/ 11 w 16"/>
                <a:gd name="T19" fmla="*/ 22 h 38"/>
                <a:gd name="T20" fmla="*/ 6 w 16"/>
                <a:gd name="T21" fmla="*/ 22 h 38"/>
                <a:gd name="T22" fmla="*/ 6 w 16"/>
                <a:gd name="T23" fmla="*/ 32 h 38"/>
                <a:gd name="T24" fmla="*/ 11 w 16"/>
                <a:gd name="T25" fmla="*/ 38 h 38"/>
                <a:gd name="T26" fmla="*/ 6 w 16"/>
                <a:gd name="T27" fmla="*/ 32 h 38"/>
                <a:gd name="T28" fmla="*/ 0 w 16"/>
                <a:gd name="T29" fmla="*/ 11 h 38"/>
                <a:gd name="T30" fmla="*/ 0 w 16"/>
                <a:gd name="T31" fmla="*/ 5 h 38"/>
                <a:gd name="T32" fmla="*/ 6 w 16"/>
                <a:gd name="T33" fmla="*/ 0 h 38"/>
                <a:gd name="T34" fmla="*/ 6 w 16"/>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
                <a:gd name="T55" fmla="*/ 0 h 38"/>
                <a:gd name="T56" fmla="*/ 16 w 16"/>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 h="38">
                  <a:moveTo>
                    <a:pt x="6" y="0"/>
                  </a:moveTo>
                  <a:lnTo>
                    <a:pt x="11" y="11"/>
                  </a:lnTo>
                  <a:lnTo>
                    <a:pt x="6" y="16"/>
                  </a:lnTo>
                  <a:lnTo>
                    <a:pt x="16" y="11"/>
                  </a:lnTo>
                  <a:lnTo>
                    <a:pt x="16" y="16"/>
                  </a:lnTo>
                  <a:lnTo>
                    <a:pt x="11" y="16"/>
                  </a:lnTo>
                  <a:lnTo>
                    <a:pt x="16" y="27"/>
                  </a:lnTo>
                  <a:lnTo>
                    <a:pt x="11" y="22"/>
                  </a:lnTo>
                  <a:lnTo>
                    <a:pt x="6" y="22"/>
                  </a:lnTo>
                  <a:lnTo>
                    <a:pt x="6" y="32"/>
                  </a:lnTo>
                  <a:lnTo>
                    <a:pt x="11" y="38"/>
                  </a:lnTo>
                  <a:lnTo>
                    <a:pt x="6" y="32"/>
                  </a:lnTo>
                  <a:lnTo>
                    <a:pt x="0" y="11"/>
                  </a:lnTo>
                  <a:lnTo>
                    <a:pt x="0"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8" name="Freeform 710"/>
            <p:cNvSpPr>
              <a:spLocks/>
            </p:cNvSpPr>
            <p:nvPr/>
          </p:nvSpPr>
          <p:spPr bwMode="auto">
            <a:xfrm>
              <a:off x="4331" y="2958"/>
              <a:ext cx="5" cy="6"/>
            </a:xfrm>
            <a:custGeom>
              <a:avLst/>
              <a:gdLst>
                <a:gd name="T0" fmla="*/ 5 w 5"/>
                <a:gd name="T1" fmla="*/ 0 h 6"/>
                <a:gd name="T2" fmla="*/ 5 w 5"/>
                <a:gd name="T3" fmla="*/ 6 h 6"/>
                <a:gd name="T4" fmla="*/ 0 w 5"/>
                <a:gd name="T5" fmla="*/ 6 h 6"/>
                <a:gd name="T6" fmla="*/ 0 w 5"/>
                <a:gd name="T7" fmla="*/ 0 h 6"/>
                <a:gd name="T8" fmla="*/ 5 w 5"/>
                <a:gd name="T9" fmla="*/ 0 h 6"/>
                <a:gd name="T10" fmla="*/ 5 w 5"/>
                <a:gd name="T11" fmla="*/ 0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5" y="0"/>
                  </a:moveTo>
                  <a:lnTo>
                    <a:pt x="5" y="6"/>
                  </a:lnTo>
                  <a:lnTo>
                    <a:pt x="0" y="6"/>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89" name="Freeform 711"/>
            <p:cNvSpPr>
              <a:spLocks/>
            </p:cNvSpPr>
            <p:nvPr/>
          </p:nvSpPr>
          <p:spPr bwMode="auto">
            <a:xfrm>
              <a:off x="4304" y="3029"/>
              <a:ext cx="16" cy="11"/>
            </a:xfrm>
            <a:custGeom>
              <a:avLst/>
              <a:gdLst>
                <a:gd name="T0" fmla="*/ 0 w 16"/>
                <a:gd name="T1" fmla="*/ 0 h 11"/>
                <a:gd name="T2" fmla="*/ 11 w 16"/>
                <a:gd name="T3" fmla="*/ 0 h 11"/>
                <a:gd name="T4" fmla="*/ 16 w 16"/>
                <a:gd name="T5" fmla="*/ 6 h 11"/>
                <a:gd name="T6" fmla="*/ 16 w 16"/>
                <a:gd name="T7" fmla="*/ 11 h 11"/>
                <a:gd name="T8" fmla="*/ 11 w 16"/>
                <a:gd name="T9" fmla="*/ 11 h 11"/>
                <a:gd name="T10" fmla="*/ 5 w 16"/>
                <a:gd name="T11" fmla="*/ 11 h 11"/>
                <a:gd name="T12" fmla="*/ 0 w 16"/>
                <a:gd name="T13" fmla="*/ 6 h 11"/>
                <a:gd name="T14" fmla="*/ 0 w 16"/>
                <a:gd name="T15" fmla="*/ 0 h 11"/>
                <a:gd name="T16" fmla="*/ 0 w 16"/>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
                <a:gd name="T29" fmla="*/ 16 w 16"/>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
                  <a:moveTo>
                    <a:pt x="0" y="0"/>
                  </a:moveTo>
                  <a:lnTo>
                    <a:pt x="11" y="0"/>
                  </a:lnTo>
                  <a:lnTo>
                    <a:pt x="16" y="6"/>
                  </a:lnTo>
                  <a:lnTo>
                    <a:pt x="16" y="11"/>
                  </a:lnTo>
                  <a:lnTo>
                    <a:pt x="11" y="11"/>
                  </a:lnTo>
                  <a:lnTo>
                    <a:pt x="5" y="11"/>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0" name="Freeform 712"/>
            <p:cNvSpPr>
              <a:spLocks/>
            </p:cNvSpPr>
            <p:nvPr/>
          </p:nvSpPr>
          <p:spPr bwMode="auto">
            <a:xfrm>
              <a:off x="4293" y="3013"/>
              <a:ext cx="11" cy="5"/>
            </a:xfrm>
            <a:custGeom>
              <a:avLst/>
              <a:gdLst>
                <a:gd name="T0" fmla="*/ 0 w 11"/>
                <a:gd name="T1" fmla="*/ 0 h 5"/>
                <a:gd name="T2" fmla="*/ 11 w 11"/>
                <a:gd name="T3" fmla="*/ 0 h 5"/>
                <a:gd name="T4" fmla="*/ 5 w 11"/>
                <a:gd name="T5" fmla="*/ 5 h 5"/>
                <a:gd name="T6" fmla="*/ 0 w 11"/>
                <a:gd name="T7" fmla="*/ 0 h 5"/>
                <a:gd name="T8" fmla="*/ 0 w 11"/>
                <a:gd name="T9" fmla="*/ 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11" y="0"/>
                  </a:lnTo>
                  <a:lnTo>
                    <a:pt x="5"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1" name="Freeform 713"/>
            <p:cNvSpPr>
              <a:spLocks/>
            </p:cNvSpPr>
            <p:nvPr/>
          </p:nvSpPr>
          <p:spPr bwMode="auto">
            <a:xfrm>
              <a:off x="4282" y="3013"/>
              <a:ext cx="11" cy="5"/>
            </a:xfrm>
            <a:custGeom>
              <a:avLst/>
              <a:gdLst>
                <a:gd name="T0" fmla="*/ 0 w 11"/>
                <a:gd name="T1" fmla="*/ 0 h 5"/>
                <a:gd name="T2" fmla="*/ 11 w 11"/>
                <a:gd name="T3" fmla="*/ 0 h 5"/>
                <a:gd name="T4" fmla="*/ 6 w 11"/>
                <a:gd name="T5" fmla="*/ 5 h 5"/>
                <a:gd name="T6" fmla="*/ 0 w 11"/>
                <a:gd name="T7" fmla="*/ 0 h 5"/>
                <a:gd name="T8" fmla="*/ 0 w 11"/>
                <a:gd name="T9" fmla="*/ 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11" y="0"/>
                  </a:lnTo>
                  <a:lnTo>
                    <a:pt x="6"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2" name="Freeform 714"/>
            <p:cNvSpPr>
              <a:spLocks/>
            </p:cNvSpPr>
            <p:nvPr/>
          </p:nvSpPr>
          <p:spPr bwMode="auto">
            <a:xfrm>
              <a:off x="4266" y="3007"/>
              <a:ext cx="5" cy="6"/>
            </a:xfrm>
            <a:custGeom>
              <a:avLst/>
              <a:gdLst>
                <a:gd name="T0" fmla="*/ 0 w 5"/>
                <a:gd name="T1" fmla="*/ 0 h 6"/>
                <a:gd name="T2" fmla="*/ 5 w 5"/>
                <a:gd name="T3" fmla="*/ 0 h 6"/>
                <a:gd name="T4" fmla="*/ 5 w 5"/>
                <a:gd name="T5" fmla="*/ 6 h 6"/>
                <a:gd name="T6" fmla="*/ 0 w 5"/>
                <a:gd name="T7" fmla="*/ 6 h 6"/>
                <a:gd name="T8" fmla="*/ 0 w 5"/>
                <a:gd name="T9" fmla="*/ 0 h 6"/>
                <a:gd name="T10" fmla="*/ 0 w 5"/>
                <a:gd name="T11" fmla="*/ 0 h 6"/>
                <a:gd name="T12" fmla="*/ 0 60000 65536"/>
                <a:gd name="T13" fmla="*/ 0 60000 65536"/>
                <a:gd name="T14" fmla="*/ 0 60000 65536"/>
                <a:gd name="T15" fmla="*/ 0 60000 65536"/>
                <a:gd name="T16" fmla="*/ 0 60000 65536"/>
                <a:gd name="T17" fmla="*/ 0 60000 65536"/>
                <a:gd name="T18" fmla="*/ 0 w 5"/>
                <a:gd name="T19" fmla="*/ 0 h 6"/>
                <a:gd name="T20" fmla="*/ 5 w 5"/>
                <a:gd name="T21" fmla="*/ 6 h 6"/>
              </a:gdLst>
              <a:ahLst/>
              <a:cxnLst>
                <a:cxn ang="T12">
                  <a:pos x="T0" y="T1"/>
                </a:cxn>
                <a:cxn ang="T13">
                  <a:pos x="T2" y="T3"/>
                </a:cxn>
                <a:cxn ang="T14">
                  <a:pos x="T4" y="T5"/>
                </a:cxn>
                <a:cxn ang="T15">
                  <a:pos x="T6" y="T7"/>
                </a:cxn>
                <a:cxn ang="T16">
                  <a:pos x="T8" y="T9"/>
                </a:cxn>
                <a:cxn ang="T17">
                  <a:pos x="T10" y="T11"/>
                </a:cxn>
              </a:cxnLst>
              <a:rect l="T18" t="T19" r="T20" b="T21"/>
              <a:pathLst>
                <a:path w="5" h="6">
                  <a:moveTo>
                    <a:pt x="0" y="0"/>
                  </a:moveTo>
                  <a:lnTo>
                    <a:pt x="5" y="0"/>
                  </a:lnTo>
                  <a:lnTo>
                    <a:pt x="5"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3" name="Freeform 715"/>
            <p:cNvSpPr>
              <a:spLocks/>
            </p:cNvSpPr>
            <p:nvPr/>
          </p:nvSpPr>
          <p:spPr bwMode="auto">
            <a:xfrm>
              <a:off x="4260" y="3007"/>
              <a:ext cx="6" cy="6"/>
            </a:xfrm>
            <a:custGeom>
              <a:avLst/>
              <a:gdLst>
                <a:gd name="T0" fmla="*/ 6 w 6"/>
                <a:gd name="T1" fmla="*/ 0 h 6"/>
                <a:gd name="T2" fmla="*/ 6 w 6"/>
                <a:gd name="T3" fmla="*/ 0 h 6"/>
                <a:gd name="T4" fmla="*/ 0 w 6"/>
                <a:gd name="T5" fmla="*/ 6 h 6"/>
                <a:gd name="T6" fmla="*/ 0 w 6"/>
                <a:gd name="T7" fmla="*/ 0 h 6"/>
                <a:gd name="T8" fmla="*/ 6 w 6"/>
                <a:gd name="T9" fmla="*/ 0 h 6"/>
                <a:gd name="T10" fmla="*/ 6 w 6"/>
                <a:gd name="T11" fmla="*/ 0 h 6"/>
                <a:gd name="T12" fmla="*/ 0 60000 65536"/>
                <a:gd name="T13" fmla="*/ 0 60000 65536"/>
                <a:gd name="T14" fmla="*/ 0 60000 65536"/>
                <a:gd name="T15" fmla="*/ 0 60000 65536"/>
                <a:gd name="T16" fmla="*/ 0 60000 65536"/>
                <a:gd name="T17" fmla="*/ 0 60000 65536"/>
                <a:gd name="T18" fmla="*/ 0 w 6"/>
                <a:gd name="T19" fmla="*/ 0 h 6"/>
                <a:gd name="T20" fmla="*/ 6 w 6"/>
                <a:gd name="T21" fmla="*/ 6 h 6"/>
              </a:gdLst>
              <a:ahLst/>
              <a:cxnLst>
                <a:cxn ang="T12">
                  <a:pos x="T0" y="T1"/>
                </a:cxn>
                <a:cxn ang="T13">
                  <a:pos x="T2" y="T3"/>
                </a:cxn>
                <a:cxn ang="T14">
                  <a:pos x="T4" y="T5"/>
                </a:cxn>
                <a:cxn ang="T15">
                  <a:pos x="T6" y="T7"/>
                </a:cxn>
                <a:cxn ang="T16">
                  <a:pos x="T8" y="T9"/>
                </a:cxn>
                <a:cxn ang="T17">
                  <a:pos x="T10" y="T11"/>
                </a:cxn>
              </a:cxnLst>
              <a:rect l="T18" t="T19" r="T20" b="T21"/>
              <a:pathLst>
                <a:path w="6" h="6">
                  <a:moveTo>
                    <a:pt x="6" y="0"/>
                  </a:moveTo>
                  <a:lnTo>
                    <a:pt x="6" y="0"/>
                  </a:lnTo>
                  <a:lnTo>
                    <a:pt x="0" y="6"/>
                  </a:lnTo>
                  <a:lnTo>
                    <a:pt x="0"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4" name="Rectangle 716"/>
            <p:cNvSpPr>
              <a:spLocks noChangeArrowheads="1"/>
            </p:cNvSpPr>
            <p:nvPr/>
          </p:nvSpPr>
          <p:spPr bwMode="auto">
            <a:xfrm>
              <a:off x="4266" y="3046"/>
              <a:ext cx="1"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695" name="Freeform 717"/>
            <p:cNvSpPr>
              <a:spLocks/>
            </p:cNvSpPr>
            <p:nvPr/>
          </p:nvSpPr>
          <p:spPr bwMode="auto">
            <a:xfrm>
              <a:off x="4260" y="3046"/>
              <a:ext cx="6" cy="16"/>
            </a:xfrm>
            <a:custGeom>
              <a:avLst/>
              <a:gdLst>
                <a:gd name="T0" fmla="*/ 0 w 6"/>
                <a:gd name="T1" fmla="*/ 10 h 16"/>
                <a:gd name="T2" fmla="*/ 6 w 6"/>
                <a:gd name="T3" fmla="*/ 0 h 16"/>
                <a:gd name="T4" fmla="*/ 6 w 6"/>
                <a:gd name="T5" fmla="*/ 5 h 16"/>
                <a:gd name="T6" fmla="*/ 6 w 6"/>
                <a:gd name="T7" fmla="*/ 10 h 16"/>
                <a:gd name="T8" fmla="*/ 6 w 6"/>
                <a:gd name="T9" fmla="*/ 16 h 16"/>
                <a:gd name="T10" fmla="*/ 0 w 6"/>
                <a:gd name="T11" fmla="*/ 16 h 16"/>
                <a:gd name="T12" fmla="*/ 0 w 6"/>
                <a:gd name="T13" fmla="*/ 16 h 16"/>
                <a:gd name="T14" fmla="*/ 0 w 6"/>
                <a:gd name="T15" fmla="*/ 10 h 16"/>
                <a:gd name="T16" fmla="*/ 0 w 6"/>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16"/>
                <a:gd name="T29" fmla="*/ 6 w 6"/>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16">
                  <a:moveTo>
                    <a:pt x="0" y="10"/>
                  </a:moveTo>
                  <a:lnTo>
                    <a:pt x="6" y="0"/>
                  </a:lnTo>
                  <a:lnTo>
                    <a:pt x="6" y="5"/>
                  </a:lnTo>
                  <a:lnTo>
                    <a:pt x="6" y="10"/>
                  </a:lnTo>
                  <a:lnTo>
                    <a:pt x="6" y="16"/>
                  </a:lnTo>
                  <a:lnTo>
                    <a:pt x="0" y="16"/>
                  </a:lnTo>
                  <a:lnTo>
                    <a:pt x="0" y="1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6" name="Freeform 718"/>
            <p:cNvSpPr>
              <a:spLocks/>
            </p:cNvSpPr>
            <p:nvPr/>
          </p:nvSpPr>
          <p:spPr bwMode="auto">
            <a:xfrm>
              <a:off x="4249" y="3056"/>
              <a:ext cx="6" cy="6"/>
            </a:xfrm>
            <a:custGeom>
              <a:avLst/>
              <a:gdLst>
                <a:gd name="T0" fmla="*/ 0 w 6"/>
                <a:gd name="T1" fmla="*/ 0 h 6"/>
                <a:gd name="T2" fmla="*/ 0 w 6"/>
                <a:gd name="T3" fmla="*/ 0 h 6"/>
                <a:gd name="T4" fmla="*/ 6 w 6"/>
                <a:gd name="T5" fmla="*/ 6 h 6"/>
                <a:gd name="T6" fmla="*/ 0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0"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7" name="Freeform 719"/>
            <p:cNvSpPr>
              <a:spLocks/>
            </p:cNvSpPr>
            <p:nvPr/>
          </p:nvSpPr>
          <p:spPr bwMode="auto">
            <a:xfrm>
              <a:off x="4211" y="2969"/>
              <a:ext cx="82" cy="93"/>
            </a:xfrm>
            <a:custGeom>
              <a:avLst/>
              <a:gdLst>
                <a:gd name="T0" fmla="*/ 28 w 82"/>
                <a:gd name="T1" fmla="*/ 6 h 93"/>
                <a:gd name="T2" fmla="*/ 28 w 82"/>
                <a:gd name="T3" fmla="*/ 6 h 93"/>
                <a:gd name="T4" fmla="*/ 22 w 82"/>
                <a:gd name="T5" fmla="*/ 11 h 93"/>
                <a:gd name="T6" fmla="*/ 17 w 82"/>
                <a:gd name="T7" fmla="*/ 11 h 93"/>
                <a:gd name="T8" fmla="*/ 17 w 82"/>
                <a:gd name="T9" fmla="*/ 11 h 93"/>
                <a:gd name="T10" fmla="*/ 11 w 82"/>
                <a:gd name="T11" fmla="*/ 22 h 93"/>
                <a:gd name="T12" fmla="*/ 11 w 82"/>
                <a:gd name="T13" fmla="*/ 27 h 93"/>
                <a:gd name="T14" fmla="*/ 6 w 82"/>
                <a:gd name="T15" fmla="*/ 38 h 93"/>
                <a:gd name="T16" fmla="*/ 6 w 82"/>
                <a:gd name="T17" fmla="*/ 44 h 93"/>
                <a:gd name="T18" fmla="*/ 0 w 82"/>
                <a:gd name="T19" fmla="*/ 55 h 93"/>
                <a:gd name="T20" fmla="*/ 0 w 82"/>
                <a:gd name="T21" fmla="*/ 66 h 93"/>
                <a:gd name="T22" fmla="*/ 11 w 82"/>
                <a:gd name="T23" fmla="*/ 66 h 93"/>
                <a:gd name="T24" fmla="*/ 11 w 82"/>
                <a:gd name="T25" fmla="*/ 77 h 93"/>
                <a:gd name="T26" fmla="*/ 6 w 82"/>
                <a:gd name="T27" fmla="*/ 93 h 93"/>
                <a:gd name="T28" fmla="*/ 11 w 82"/>
                <a:gd name="T29" fmla="*/ 93 h 93"/>
                <a:gd name="T30" fmla="*/ 22 w 82"/>
                <a:gd name="T31" fmla="*/ 93 h 93"/>
                <a:gd name="T32" fmla="*/ 22 w 82"/>
                <a:gd name="T33" fmla="*/ 66 h 93"/>
                <a:gd name="T34" fmla="*/ 17 w 82"/>
                <a:gd name="T35" fmla="*/ 60 h 93"/>
                <a:gd name="T36" fmla="*/ 28 w 82"/>
                <a:gd name="T37" fmla="*/ 55 h 93"/>
                <a:gd name="T38" fmla="*/ 28 w 82"/>
                <a:gd name="T39" fmla="*/ 60 h 93"/>
                <a:gd name="T40" fmla="*/ 28 w 82"/>
                <a:gd name="T41" fmla="*/ 66 h 93"/>
                <a:gd name="T42" fmla="*/ 28 w 82"/>
                <a:gd name="T43" fmla="*/ 71 h 93"/>
                <a:gd name="T44" fmla="*/ 33 w 82"/>
                <a:gd name="T45" fmla="*/ 77 h 93"/>
                <a:gd name="T46" fmla="*/ 38 w 82"/>
                <a:gd name="T47" fmla="*/ 87 h 93"/>
                <a:gd name="T48" fmla="*/ 38 w 82"/>
                <a:gd name="T49" fmla="*/ 87 h 93"/>
                <a:gd name="T50" fmla="*/ 44 w 82"/>
                <a:gd name="T51" fmla="*/ 82 h 93"/>
                <a:gd name="T52" fmla="*/ 49 w 82"/>
                <a:gd name="T53" fmla="*/ 77 h 93"/>
                <a:gd name="T54" fmla="*/ 49 w 82"/>
                <a:gd name="T55" fmla="*/ 77 h 93"/>
                <a:gd name="T56" fmla="*/ 49 w 82"/>
                <a:gd name="T57" fmla="*/ 77 h 93"/>
                <a:gd name="T58" fmla="*/ 44 w 82"/>
                <a:gd name="T59" fmla="*/ 71 h 93"/>
                <a:gd name="T60" fmla="*/ 44 w 82"/>
                <a:gd name="T61" fmla="*/ 66 h 93"/>
                <a:gd name="T62" fmla="*/ 33 w 82"/>
                <a:gd name="T63" fmla="*/ 44 h 93"/>
                <a:gd name="T64" fmla="*/ 38 w 82"/>
                <a:gd name="T65" fmla="*/ 44 h 93"/>
                <a:gd name="T66" fmla="*/ 44 w 82"/>
                <a:gd name="T67" fmla="*/ 44 h 93"/>
                <a:gd name="T68" fmla="*/ 49 w 82"/>
                <a:gd name="T69" fmla="*/ 33 h 93"/>
                <a:gd name="T70" fmla="*/ 60 w 82"/>
                <a:gd name="T71" fmla="*/ 33 h 93"/>
                <a:gd name="T72" fmla="*/ 60 w 82"/>
                <a:gd name="T73" fmla="*/ 27 h 93"/>
                <a:gd name="T74" fmla="*/ 55 w 82"/>
                <a:gd name="T75" fmla="*/ 27 h 93"/>
                <a:gd name="T76" fmla="*/ 49 w 82"/>
                <a:gd name="T77" fmla="*/ 33 h 93"/>
                <a:gd name="T78" fmla="*/ 44 w 82"/>
                <a:gd name="T79" fmla="*/ 33 h 93"/>
                <a:gd name="T80" fmla="*/ 44 w 82"/>
                <a:gd name="T81" fmla="*/ 33 h 93"/>
                <a:gd name="T82" fmla="*/ 38 w 82"/>
                <a:gd name="T83" fmla="*/ 33 h 93"/>
                <a:gd name="T84" fmla="*/ 28 w 82"/>
                <a:gd name="T85" fmla="*/ 38 h 93"/>
                <a:gd name="T86" fmla="*/ 22 w 82"/>
                <a:gd name="T87" fmla="*/ 38 h 93"/>
                <a:gd name="T88" fmla="*/ 17 w 82"/>
                <a:gd name="T89" fmla="*/ 33 h 93"/>
                <a:gd name="T90" fmla="*/ 17 w 82"/>
                <a:gd name="T91" fmla="*/ 22 h 93"/>
                <a:gd name="T92" fmla="*/ 22 w 82"/>
                <a:gd name="T93" fmla="*/ 17 h 93"/>
                <a:gd name="T94" fmla="*/ 33 w 82"/>
                <a:gd name="T95" fmla="*/ 17 h 93"/>
                <a:gd name="T96" fmla="*/ 71 w 82"/>
                <a:gd name="T97" fmla="*/ 17 h 93"/>
                <a:gd name="T98" fmla="*/ 82 w 82"/>
                <a:gd name="T99" fmla="*/ 6 h 93"/>
                <a:gd name="T100" fmla="*/ 77 w 82"/>
                <a:gd name="T101" fmla="*/ 0 h 93"/>
                <a:gd name="T102" fmla="*/ 66 w 82"/>
                <a:gd name="T103" fmla="*/ 11 h 93"/>
                <a:gd name="T104" fmla="*/ 49 w 82"/>
                <a:gd name="T105" fmla="*/ 11 h 93"/>
                <a:gd name="T106" fmla="*/ 28 w 82"/>
                <a:gd name="T107" fmla="*/ 6 h 93"/>
                <a:gd name="T108" fmla="*/ 28 w 82"/>
                <a:gd name="T109" fmla="*/ 6 h 9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2"/>
                <a:gd name="T166" fmla="*/ 0 h 93"/>
                <a:gd name="T167" fmla="*/ 82 w 82"/>
                <a:gd name="T168" fmla="*/ 93 h 9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2" h="93">
                  <a:moveTo>
                    <a:pt x="28" y="6"/>
                  </a:moveTo>
                  <a:lnTo>
                    <a:pt x="28" y="6"/>
                  </a:lnTo>
                  <a:lnTo>
                    <a:pt x="22" y="11"/>
                  </a:lnTo>
                  <a:lnTo>
                    <a:pt x="17" y="11"/>
                  </a:lnTo>
                  <a:lnTo>
                    <a:pt x="11" y="22"/>
                  </a:lnTo>
                  <a:lnTo>
                    <a:pt x="11" y="27"/>
                  </a:lnTo>
                  <a:lnTo>
                    <a:pt x="6" y="38"/>
                  </a:lnTo>
                  <a:lnTo>
                    <a:pt x="6" y="44"/>
                  </a:lnTo>
                  <a:lnTo>
                    <a:pt x="0" y="55"/>
                  </a:lnTo>
                  <a:lnTo>
                    <a:pt x="0" y="66"/>
                  </a:lnTo>
                  <a:lnTo>
                    <a:pt x="11" y="66"/>
                  </a:lnTo>
                  <a:lnTo>
                    <a:pt x="11" y="77"/>
                  </a:lnTo>
                  <a:lnTo>
                    <a:pt x="6" y="93"/>
                  </a:lnTo>
                  <a:lnTo>
                    <a:pt x="11" y="93"/>
                  </a:lnTo>
                  <a:lnTo>
                    <a:pt x="22" y="93"/>
                  </a:lnTo>
                  <a:lnTo>
                    <a:pt x="22" y="66"/>
                  </a:lnTo>
                  <a:lnTo>
                    <a:pt x="17" y="60"/>
                  </a:lnTo>
                  <a:lnTo>
                    <a:pt x="28" y="55"/>
                  </a:lnTo>
                  <a:lnTo>
                    <a:pt x="28" y="60"/>
                  </a:lnTo>
                  <a:lnTo>
                    <a:pt x="28" y="66"/>
                  </a:lnTo>
                  <a:lnTo>
                    <a:pt x="28" y="71"/>
                  </a:lnTo>
                  <a:lnTo>
                    <a:pt x="33" y="77"/>
                  </a:lnTo>
                  <a:lnTo>
                    <a:pt x="38" y="87"/>
                  </a:lnTo>
                  <a:lnTo>
                    <a:pt x="44" y="82"/>
                  </a:lnTo>
                  <a:lnTo>
                    <a:pt x="49" y="77"/>
                  </a:lnTo>
                  <a:lnTo>
                    <a:pt x="44" y="71"/>
                  </a:lnTo>
                  <a:lnTo>
                    <a:pt x="44" y="66"/>
                  </a:lnTo>
                  <a:lnTo>
                    <a:pt x="33" y="44"/>
                  </a:lnTo>
                  <a:lnTo>
                    <a:pt x="38" y="44"/>
                  </a:lnTo>
                  <a:lnTo>
                    <a:pt x="44" y="44"/>
                  </a:lnTo>
                  <a:lnTo>
                    <a:pt x="49" y="33"/>
                  </a:lnTo>
                  <a:lnTo>
                    <a:pt x="60" y="33"/>
                  </a:lnTo>
                  <a:lnTo>
                    <a:pt x="60" y="27"/>
                  </a:lnTo>
                  <a:lnTo>
                    <a:pt x="55" y="27"/>
                  </a:lnTo>
                  <a:lnTo>
                    <a:pt x="49" y="33"/>
                  </a:lnTo>
                  <a:lnTo>
                    <a:pt x="44" y="33"/>
                  </a:lnTo>
                  <a:lnTo>
                    <a:pt x="38" y="33"/>
                  </a:lnTo>
                  <a:lnTo>
                    <a:pt x="28" y="38"/>
                  </a:lnTo>
                  <a:lnTo>
                    <a:pt x="22" y="38"/>
                  </a:lnTo>
                  <a:lnTo>
                    <a:pt x="17" y="33"/>
                  </a:lnTo>
                  <a:lnTo>
                    <a:pt x="17" y="22"/>
                  </a:lnTo>
                  <a:lnTo>
                    <a:pt x="22" y="17"/>
                  </a:lnTo>
                  <a:lnTo>
                    <a:pt x="33" y="17"/>
                  </a:lnTo>
                  <a:lnTo>
                    <a:pt x="71" y="17"/>
                  </a:lnTo>
                  <a:lnTo>
                    <a:pt x="82" y="6"/>
                  </a:lnTo>
                  <a:lnTo>
                    <a:pt x="77" y="0"/>
                  </a:lnTo>
                  <a:lnTo>
                    <a:pt x="66" y="11"/>
                  </a:lnTo>
                  <a:lnTo>
                    <a:pt x="49" y="11"/>
                  </a:lnTo>
                  <a:lnTo>
                    <a:pt x="28"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8" name="Freeform 720"/>
            <p:cNvSpPr>
              <a:spLocks/>
            </p:cNvSpPr>
            <p:nvPr/>
          </p:nvSpPr>
          <p:spPr bwMode="auto">
            <a:xfrm>
              <a:off x="4162" y="3078"/>
              <a:ext cx="6" cy="6"/>
            </a:xfrm>
            <a:custGeom>
              <a:avLst/>
              <a:gdLst>
                <a:gd name="T0" fmla="*/ 0 w 6"/>
                <a:gd name="T1" fmla="*/ 0 h 6"/>
                <a:gd name="T2" fmla="*/ 6 w 6"/>
                <a:gd name="T3" fmla="*/ 0 h 6"/>
                <a:gd name="T4" fmla="*/ 6 w 6"/>
                <a:gd name="T5" fmla="*/ 6 h 6"/>
                <a:gd name="T6" fmla="*/ 0 w 6"/>
                <a:gd name="T7" fmla="*/ 0 h 6"/>
                <a:gd name="T8" fmla="*/ 0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0" y="0"/>
                  </a:moveTo>
                  <a:lnTo>
                    <a:pt x="6"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699" name="Freeform 721"/>
            <p:cNvSpPr>
              <a:spLocks/>
            </p:cNvSpPr>
            <p:nvPr/>
          </p:nvSpPr>
          <p:spPr bwMode="auto">
            <a:xfrm>
              <a:off x="4135" y="3078"/>
              <a:ext cx="16" cy="6"/>
            </a:xfrm>
            <a:custGeom>
              <a:avLst/>
              <a:gdLst>
                <a:gd name="T0" fmla="*/ 0 w 16"/>
                <a:gd name="T1" fmla="*/ 0 h 6"/>
                <a:gd name="T2" fmla="*/ 11 w 16"/>
                <a:gd name="T3" fmla="*/ 0 h 6"/>
                <a:gd name="T4" fmla="*/ 16 w 16"/>
                <a:gd name="T5" fmla="*/ 6 h 6"/>
                <a:gd name="T6" fmla="*/ 6 w 16"/>
                <a:gd name="T7" fmla="*/ 6 h 6"/>
                <a:gd name="T8" fmla="*/ 0 w 16"/>
                <a:gd name="T9" fmla="*/ 6 h 6"/>
                <a:gd name="T10" fmla="*/ 0 w 16"/>
                <a:gd name="T11" fmla="*/ 0 h 6"/>
                <a:gd name="T12" fmla="*/ 0 w 16"/>
                <a:gd name="T13" fmla="*/ 0 h 6"/>
                <a:gd name="T14" fmla="*/ 0 60000 65536"/>
                <a:gd name="T15" fmla="*/ 0 60000 65536"/>
                <a:gd name="T16" fmla="*/ 0 60000 65536"/>
                <a:gd name="T17" fmla="*/ 0 60000 65536"/>
                <a:gd name="T18" fmla="*/ 0 60000 65536"/>
                <a:gd name="T19" fmla="*/ 0 60000 65536"/>
                <a:gd name="T20" fmla="*/ 0 60000 65536"/>
                <a:gd name="T21" fmla="*/ 0 w 16"/>
                <a:gd name="T22" fmla="*/ 0 h 6"/>
                <a:gd name="T23" fmla="*/ 16 w 16"/>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
                  <a:moveTo>
                    <a:pt x="0" y="0"/>
                  </a:moveTo>
                  <a:lnTo>
                    <a:pt x="11" y="0"/>
                  </a:lnTo>
                  <a:lnTo>
                    <a:pt x="16" y="6"/>
                  </a:lnTo>
                  <a:lnTo>
                    <a:pt x="6"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0" name="Freeform 722"/>
            <p:cNvSpPr>
              <a:spLocks/>
            </p:cNvSpPr>
            <p:nvPr/>
          </p:nvSpPr>
          <p:spPr bwMode="auto">
            <a:xfrm>
              <a:off x="4157" y="3095"/>
              <a:ext cx="11" cy="11"/>
            </a:xfrm>
            <a:custGeom>
              <a:avLst/>
              <a:gdLst>
                <a:gd name="T0" fmla="*/ 5 w 11"/>
                <a:gd name="T1" fmla="*/ 0 h 11"/>
                <a:gd name="T2" fmla="*/ 11 w 11"/>
                <a:gd name="T3" fmla="*/ 0 h 11"/>
                <a:gd name="T4" fmla="*/ 11 w 11"/>
                <a:gd name="T5" fmla="*/ 5 h 11"/>
                <a:gd name="T6" fmla="*/ 5 w 11"/>
                <a:gd name="T7" fmla="*/ 11 h 11"/>
                <a:gd name="T8" fmla="*/ 5 w 11"/>
                <a:gd name="T9" fmla="*/ 5 h 11"/>
                <a:gd name="T10" fmla="*/ 0 w 11"/>
                <a:gd name="T11" fmla="*/ 5 h 11"/>
                <a:gd name="T12" fmla="*/ 0 w 11"/>
                <a:gd name="T13" fmla="*/ 0 h 11"/>
                <a:gd name="T14" fmla="*/ 5 w 11"/>
                <a:gd name="T15" fmla="*/ 0 h 11"/>
                <a:gd name="T16" fmla="*/ 5 w 11"/>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11"/>
                <a:gd name="T29" fmla="*/ 11 w 11"/>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11">
                  <a:moveTo>
                    <a:pt x="5" y="0"/>
                  </a:moveTo>
                  <a:lnTo>
                    <a:pt x="11" y="0"/>
                  </a:lnTo>
                  <a:lnTo>
                    <a:pt x="11" y="5"/>
                  </a:lnTo>
                  <a:lnTo>
                    <a:pt x="5" y="11"/>
                  </a:lnTo>
                  <a:lnTo>
                    <a:pt x="5" y="5"/>
                  </a:lnTo>
                  <a:lnTo>
                    <a:pt x="0" y="5"/>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1" name="Freeform 723"/>
            <p:cNvSpPr>
              <a:spLocks/>
            </p:cNvSpPr>
            <p:nvPr/>
          </p:nvSpPr>
          <p:spPr bwMode="auto">
            <a:xfrm>
              <a:off x="4173" y="3095"/>
              <a:ext cx="11" cy="11"/>
            </a:xfrm>
            <a:custGeom>
              <a:avLst/>
              <a:gdLst>
                <a:gd name="T0" fmla="*/ 0 w 11"/>
                <a:gd name="T1" fmla="*/ 5 h 11"/>
                <a:gd name="T2" fmla="*/ 6 w 11"/>
                <a:gd name="T3" fmla="*/ 0 h 11"/>
                <a:gd name="T4" fmla="*/ 11 w 11"/>
                <a:gd name="T5" fmla="*/ 5 h 11"/>
                <a:gd name="T6" fmla="*/ 11 w 11"/>
                <a:gd name="T7" fmla="*/ 11 h 11"/>
                <a:gd name="T8" fmla="*/ 0 w 11"/>
                <a:gd name="T9" fmla="*/ 11 h 11"/>
                <a:gd name="T10" fmla="*/ 0 w 11"/>
                <a:gd name="T11" fmla="*/ 5 h 11"/>
                <a:gd name="T12" fmla="*/ 0 w 11"/>
                <a:gd name="T13" fmla="*/ 5 h 11"/>
                <a:gd name="T14" fmla="*/ 0 60000 65536"/>
                <a:gd name="T15" fmla="*/ 0 60000 65536"/>
                <a:gd name="T16" fmla="*/ 0 60000 65536"/>
                <a:gd name="T17" fmla="*/ 0 60000 65536"/>
                <a:gd name="T18" fmla="*/ 0 60000 65536"/>
                <a:gd name="T19" fmla="*/ 0 60000 65536"/>
                <a:gd name="T20" fmla="*/ 0 60000 65536"/>
                <a:gd name="T21" fmla="*/ 0 w 11"/>
                <a:gd name="T22" fmla="*/ 0 h 11"/>
                <a:gd name="T23" fmla="*/ 11 w 11"/>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11">
                  <a:moveTo>
                    <a:pt x="0" y="5"/>
                  </a:moveTo>
                  <a:lnTo>
                    <a:pt x="6" y="0"/>
                  </a:lnTo>
                  <a:lnTo>
                    <a:pt x="11" y="5"/>
                  </a:lnTo>
                  <a:lnTo>
                    <a:pt x="11" y="11"/>
                  </a:lnTo>
                  <a:lnTo>
                    <a:pt x="0" y="11"/>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2" name="Freeform 724"/>
            <p:cNvSpPr>
              <a:spLocks/>
            </p:cNvSpPr>
            <p:nvPr/>
          </p:nvSpPr>
          <p:spPr bwMode="auto">
            <a:xfrm>
              <a:off x="4184" y="3095"/>
              <a:ext cx="33" cy="16"/>
            </a:xfrm>
            <a:custGeom>
              <a:avLst/>
              <a:gdLst>
                <a:gd name="T0" fmla="*/ 6 w 33"/>
                <a:gd name="T1" fmla="*/ 5 h 16"/>
                <a:gd name="T2" fmla="*/ 11 w 33"/>
                <a:gd name="T3" fmla="*/ 5 h 16"/>
                <a:gd name="T4" fmla="*/ 16 w 33"/>
                <a:gd name="T5" fmla="*/ 11 h 16"/>
                <a:gd name="T6" fmla="*/ 22 w 33"/>
                <a:gd name="T7" fmla="*/ 5 h 16"/>
                <a:gd name="T8" fmla="*/ 16 w 33"/>
                <a:gd name="T9" fmla="*/ 5 h 16"/>
                <a:gd name="T10" fmla="*/ 16 w 33"/>
                <a:gd name="T11" fmla="*/ 0 h 16"/>
                <a:gd name="T12" fmla="*/ 22 w 33"/>
                <a:gd name="T13" fmla="*/ 5 h 16"/>
                <a:gd name="T14" fmla="*/ 22 w 33"/>
                <a:gd name="T15" fmla="*/ 5 h 16"/>
                <a:gd name="T16" fmla="*/ 22 w 33"/>
                <a:gd name="T17" fmla="*/ 5 h 16"/>
                <a:gd name="T18" fmla="*/ 27 w 33"/>
                <a:gd name="T19" fmla="*/ 5 h 16"/>
                <a:gd name="T20" fmla="*/ 33 w 33"/>
                <a:gd name="T21" fmla="*/ 11 h 16"/>
                <a:gd name="T22" fmla="*/ 22 w 33"/>
                <a:gd name="T23" fmla="*/ 11 h 16"/>
                <a:gd name="T24" fmla="*/ 22 w 33"/>
                <a:gd name="T25" fmla="*/ 11 h 16"/>
                <a:gd name="T26" fmla="*/ 6 w 33"/>
                <a:gd name="T27" fmla="*/ 16 h 16"/>
                <a:gd name="T28" fmla="*/ 0 w 33"/>
                <a:gd name="T29" fmla="*/ 11 h 16"/>
                <a:gd name="T30" fmla="*/ 6 w 33"/>
                <a:gd name="T31" fmla="*/ 5 h 16"/>
                <a:gd name="T32" fmla="*/ 6 w 33"/>
                <a:gd name="T33" fmla="*/ 5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3"/>
                <a:gd name="T52" fmla="*/ 0 h 16"/>
                <a:gd name="T53" fmla="*/ 33 w 33"/>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3" h="16">
                  <a:moveTo>
                    <a:pt x="6" y="5"/>
                  </a:moveTo>
                  <a:lnTo>
                    <a:pt x="11" y="5"/>
                  </a:lnTo>
                  <a:lnTo>
                    <a:pt x="16" y="11"/>
                  </a:lnTo>
                  <a:lnTo>
                    <a:pt x="22" y="5"/>
                  </a:lnTo>
                  <a:lnTo>
                    <a:pt x="16" y="5"/>
                  </a:lnTo>
                  <a:lnTo>
                    <a:pt x="16" y="0"/>
                  </a:lnTo>
                  <a:lnTo>
                    <a:pt x="22" y="5"/>
                  </a:lnTo>
                  <a:lnTo>
                    <a:pt x="27" y="5"/>
                  </a:lnTo>
                  <a:lnTo>
                    <a:pt x="33" y="11"/>
                  </a:lnTo>
                  <a:lnTo>
                    <a:pt x="22" y="11"/>
                  </a:lnTo>
                  <a:lnTo>
                    <a:pt x="6" y="16"/>
                  </a:lnTo>
                  <a:lnTo>
                    <a:pt x="0" y="11"/>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3" name="Freeform 725"/>
            <p:cNvSpPr>
              <a:spLocks/>
            </p:cNvSpPr>
            <p:nvPr/>
          </p:nvSpPr>
          <p:spPr bwMode="auto">
            <a:xfrm>
              <a:off x="4211" y="3111"/>
              <a:ext cx="28" cy="11"/>
            </a:xfrm>
            <a:custGeom>
              <a:avLst/>
              <a:gdLst>
                <a:gd name="T0" fmla="*/ 11 w 28"/>
                <a:gd name="T1" fmla="*/ 0 h 11"/>
                <a:gd name="T2" fmla="*/ 22 w 28"/>
                <a:gd name="T3" fmla="*/ 5 h 11"/>
                <a:gd name="T4" fmla="*/ 28 w 28"/>
                <a:gd name="T5" fmla="*/ 11 h 11"/>
                <a:gd name="T6" fmla="*/ 17 w 28"/>
                <a:gd name="T7" fmla="*/ 11 h 11"/>
                <a:gd name="T8" fmla="*/ 11 w 28"/>
                <a:gd name="T9" fmla="*/ 5 h 11"/>
                <a:gd name="T10" fmla="*/ 6 w 28"/>
                <a:gd name="T11" fmla="*/ 5 h 11"/>
                <a:gd name="T12" fmla="*/ 0 w 28"/>
                <a:gd name="T13" fmla="*/ 0 h 11"/>
                <a:gd name="T14" fmla="*/ 11 w 28"/>
                <a:gd name="T15" fmla="*/ 0 h 11"/>
                <a:gd name="T16" fmla="*/ 11 w 28"/>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11"/>
                <a:gd name="T29" fmla="*/ 28 w 28"/>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11">
                  <a:moveTo>
                    <a:pt x="11" y="0"/>
                  </a:moveTo>
                  <a:lnTo>
                    <a:pt x="22" y="5"/>
                  </a:lnTo>
                  <a:lnTo>
                    <a:pt x="28" y="11"/>
                  </a:lnTo>
                  <a:lnTo>
                    <a:pt x="17" y="11"/>
                  </a:lnTo>
                  <a:lnTo>
                    <a:pt x="11" y="5"/>
                  </a:lnTo>
                  <a:lnTo>
                    <a:pt x="6" y="5"/>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4" name="Freeform 726"/>
            <p:cNvSpPr>
              <a:spLocks/>
            </p:cNvSpPr>
            <p:nvPr/>
          </p:nvSpPr>
          <p:spPr bwMode="auto">
            <a:xfrm>
              <a:off x="4222" y="3095"/>
              <a:ext cx="44" cy="11"/>
            </a:xfrm>
            <a:custGeom>
              <a:avLst/>
              <a:gdLst>
                <a:gd name="T0" fmla="*/ 0 w 44"/>
                <a:gd name="T1" fmla="*/ 5 h 11"/>
                <a:gd name="T2" fmla="*/ 11 w 44"/>
                <a:gd name="T3" fmla="*/ 0 h 11"/>
                <a:gd name="T4" fmla="*/ 22 w 44"/>
                <a:gd name="T5" fmla="*/ 5 h 11"/>
                <a:gd name="T6" fmla="*/ 33 w 44"/>
                <a:gd name="T7" fmla="*/ 5 h 11"/>
                <a:gd name="T8" fmla="*/ 33 w 44"/>
                <a:gd name="T9" fmla="*/ 5 h 11"/>
                <a:gd name="T10" fmla="*/ 38 w 44"/>
                <a:gd name="T11" fmla="*/ 5 h 11"/>
                <a:gd name="T12" fmla="*/ 38 w 44"/>
                <a:gd name="T13" fmla="*/ 0 h 11"/>
                <a:gd name="T14" fmla="*/ 44 w 44"/>
                <a:gd name="T15" fmla="*/ 5 h 11"/>
                <a:gd name="T16" fmla="*/ 38 w 44"/>
                <a:gd name="T17" fmla="*/ 11 h 11"/>
                <a:gd name="T18" fmla="*/ 17 w 44"/>
                <a:gd name="T19" fmla="*/ 11 h 11"/>
                <a:gd name="T20" fmla="*/ 0 w 44"/>
                <a:gd name="T21" fmla="*/ 11 h 11"/>
                <a:gd name="T22" fmla="*/ 0 w 44"/>
                <a:gd name="T23" fmla="*/ 5 h 11"/>
                <a:gd name="T24" fmla="*/ 0 w 44"/>
                <a:gd name="T25" fmla="*/ 5 h 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
                <a:gd name="T40" fmla="*/ 0 h 11"/>
                <a:gd name="T41" fmla="*/ 44 w 44"/>
                <a:gd name="T42" fmla="*/ 11 h 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 h="11">
                  <a:moveTo>
                    <a:pt x="0" y="5"/>
                  </a:moveTo>
                  <a:lnTo>
                    <a:pt x="11" y="0"/>
                  </a:lnTo>
                  <a:lnTo>
                    <a:pt x="22" y="5"/>
                  </a:lnTo>
                  <a:lnTo>
                    <a:pt x="33" y="5"/>
                  </a:lnTo>
                  <a:lnTo>
                    <a:pt x="38" y="5"/>
                  </a:lnTo>
                  <a:lnTo>
                    <a:pt x="38" y="0"/>
                  </a:lnTo>
                  <a:lnTo>
                    <a:pt x="44" y="5"/>
                  </a:lnTo>
                  <a:lnTo>
                    <a:pt x="38" y="11"/>
                  </a:lnTo>
                  <a:lnTo>
                    <a:pt x="17" y="11"/>
                  </a:lnTo>
                  <a:lnTo>
                    <a:pt x="0" y="11"/>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5" name="Freeform 727"/>
            <p:cNvSpPr>
              <a:spLocks/>
            </p:cNvSpPr>
            <p:nvPr/>
          </p:nvSpPr>
          <p:spPr bwMode="auto">
            <a:xfrm>
              <a:off x="4271" y="3095"/>
              <a:ext cx="0" cy="5"/>
            </a:xfrm>
            <a:custGeom>
              <a:avLst/>
              <a:gdLst>
                <a:gd name="T0" fmla="*/ 5 h 5"/>
                <a:gd name="T1" fmla="*/ 0 h 5"/>
                <a:gd name="T2" fmla="*/ 5 h 5"/>
                <a:gd name="T3" fmla="*/ 0 h 5"/>
                <a:gd name="T4" fmla="*/ 5 h 5"/>
                <a:gd name="T5" fmla="*/ 5 h 5"/>
                <a:gd name="T6" fmla="*/ 5 h 5"/>
                <a:gd name="T7" fmla="*/ 0 60000 65536"/>
                <a:gd name="T8" fmla="*/ 0 60000 65536"/>
                <a:gd name="T9" fmla="*/ 0 60000 65536"/>
                <a:gd name="T10" fmla="*/ 0 60000 65536"/>
                <a:gd name="T11" fmla="*/ 0 60000 65536"/>
                <a:gd name="T12" fmla="*/ 0 60000 65536"/>
                <a:gd name="T13" fmla="*/ 0 60000 65536"/>
                <a:gd name="T14" fmla="*/ 0 h 5"/>
                <a:gd name="T15" fmla="*/ 5 h 5"/>
              </a:gdLst>
              <a:ahLst/>
              <a:cxnLst>
                <a:cxn ang="T7">
                  <a:pos x="0" y="T0"/>
                </a:cxn>
                <a:cxn ang="T8">
                  <a:pos x="0" y="T1"/>
                </a:cxn>
                <a:cxn ang="T9">
                  <a:pos x="0" y="T2"/>
                </a:cxn>
                <a:cxn ang="T10">
                  <a:pos x="0" y="T3"/>
                </a:cxn>
                <a:cxn ang="T11">
                  <a:pos x="0" y="T4"/>
                </a:cxn>
                <a:cxn ang="T12">
                  <a:pos x="0" y="T5"/>
                </a:cxn>
                <a:cxn ang="T13">
                  <a:pos x="0" y="T6"/>
                </a:cxn>
              </a:cxnLst>
              <a:rect l="0" t="T14" r="0" b="T15"/>
              <a:pathLst>
                <a:path h="5">
                  <a:moveTo>
                    <a:pt x="0" y="5"/>
                  </a:moveTo>
                  <a:lnTo>
                    <a:pt x="0" y="0"/>
                  </a:lnTo>
                  <a:lnTo>
                    <a:pt x="0" y="5"/>
                  </a:ln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6" name="Freeform 728"/>
            <p:cNvSpPr>
              <a:spLocks/>
            </p:cNvSpPr>
            <p:nvPr/>
          </p:nvSpPr>
          <p:spPr bwMode="auto">
            <a:xfrm>
              <a:off x="4277" y="3095"/>
              <a:ext cx="5" cy="5"/>
            </a:xfrm>
            <a:custGeom>
              <a:avLst/>
              <a:gdLst>
                <a:gd name="T0" fmla="*/ 0 w 5"/>
                <a:gd name="T1" fmla="*/ 5 h 5"/>
                <a:gd name="T2" fmla="*/ 5 w 5"/>
                <a:gd name="T3" fmla="*/ 0 h 5"/>
                <a:gd name="T4" fmla="*/ 0 w 5"/>
                <a:gd name="T5" fmla="*/ 5 h 5"/>
                <a:gd name="T6" fmla="*/ 0 w 5"/>
                <a:gd name="T7" fmla="*/ 5 h 5"/>
                <a:gd name="T8" fmla="*/ 0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5"/>
                  </a:moveTo>
                  <a:lnTo>
                    <a:pt x="5"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7" name="Freeform 729"/>
            <p:cNvSpPr>
              <a:spLocks/>
            </p:cNvSpPr>
            <p:nvPr/>
          </p:nvSpPr>
          <p:spPr bwMode="auto">
            <a:xfrm>
              <a:off x="4282" y="3095"/>
              <a:ext cx="11" cy="5"/>
            </a:xfrm>
            <a:custGeom>
              <a:avLst/>
              <a:gdLst>
                <a:gd name="T0" fmla="*/ 0 w 11"/>
                <a:gd name="T1" fmla="*/ 0 h 5"/>
                <a:gd name="T2" fmla="*/ 11 w 11"/>
                <a:gd name="T3" fmla="*/ 5 h 5"/>
                <a:gd name="T4" fmla="*/ 6 w 11"/>
                <a:gd name="T5" fmla="*/ 5 h 5"/>
                <a:gd name="T6" fmla="*/ 0 w 11"/>
                <a:gd name="T7" fmla="*/ 0 h 5"/>
                <a:gd name="T8" fmla="*/ 0 w 11"/>
                <a:gd name="T9" fmla="*/ 0 h 5"/>
                <a:gd name="T10" fmla="*/ 0 60000 65536"/>
                <a:gd name="T11" fmla="*/ 0 60000 65536"/>
                <a:gd name="T12" fmla="*/ 0 60000 65536"/>
                <a:gd name="T13" fmla="*/ 0 60000 65536"/>
                <a:gd name="T14" fmla="*/ 0 60000 65536"/>
                <a:gd name="T15" fmla="*/ 0 w 11"/>
                <a:gd name="T16" fmla="*/ 0 h 5"/>
                <a:gd name="T17" fmla="*/ 11 w 11"/>
                <a:gd name="T18" fmla="*/ 5 h 5"/>
              </a:gdLst>
              <a:ahLst/>
              <a:cxnLst>
                <a:cxn ang="T10">
                  <a:pos x="T0" y="T1"/>
                </a:cxn>
                <a:cxn ang="T11">
                  <a:pos x="T2" y="T3"/>
                </a:cxn>
                <a:cxn ang="T12">
                  <a:pos x="T4" y="T5"/>
                </a:cxn>
                <a:cxn ang="T13">
                  <a:pos x="T6" y="T7"/>
                </a:cxn>
                <a:cxn ang="T14">
                  <a:pos x="T8" y="T9"/>
                </a:cxn>
              </a:cxnLst>
              <a:rect l="T15" t="T16" r="T17" b="T18"/>
              <a:pathLst>
                <a:path w="11" h="5">
                  <a:moveTo>
                    <a:pt x="0" y="0"/>
                  </a:moveTo>
                  <a:lnTo>
                    <a:pt x="11" y="5"/>
                  </a:lnTo>
                  <a:lnTo>
                    <a:pt x="6"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8" name="Freeform 730"/>
            <p:cNvSpPr>
              <a:spLocks/>
            </p:cNvSpPr>
            <p:nvPr/>
          </p:nvSpPr>
          <p:spPr bwMode="auto">
            <a:xfrm>
              <a:off x="4260" y="3127"/>
              <a:ext cx="11" cy="6"/>
            </a:xfrm>
            <a:custGeom>
              <a:avLst/>
              <a:gdLst>
                <a:gd name="T0" fmla="*/ 0 w 11"/>
                <a:gd name="T1" fmla="*/ 6 h 6"/>
                <a:gd name="T2" fmla="*/ 11 w 11"/>
                <a:gd name="T3" fmla="*/ 0 h 6"/>
                <a:gd name="T4" fmla="*/ 6 w 11"/>
                <a:gd name="T5" fmla="*/ 6 h 6"/>
                <a:gd name="T6" fmla="*/ 0 w 11"/>
                <a:gd name="T7" fmla="*/ 6 h 6"/>
                <a:gd name="T8" fmla="*/ 0 w 11"/>
                <a:gd name="T9" fmla="*/ 6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0" y="6"/>
                  </a:moveTo>
                  <a:lnTo>
                    <a:pt x="11" y="0"/>
                  </a:lnTo>
                  <a:lnTo>
                    <a:pt x="6" y="6"/>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09" name="Freeform 731"/>
            <p:cNvSpPr>
              <a:spLocks/>
            </p:cNvSpPr>
            <p:nvPr/>
          </p:nvSpPr>
          <p:spPr bwMode="auto">
            <a:xfrm>
              <a:off x="4271" y="3100"/>
              <a:ext cx="49" cy="27"/>
            </a:xfrm>
            <a:custGeom>
              <a:avLst/>
              <a:gdLst>
                <a:gd name="T0" fmla="*/ 22 w 49"/>
                <a:gd name="T1" fmla="*/ 11 h 27"/>
                <a:gd name="T2" fmla="*/ 17 w 49"/>
                <a:gd name="T3" fmla="*/ 22 h 27"/>
                <a:gd name="T4" fmla="*/ 6 w 49"/>
                <a:gd name="T5" fmla="*/ 27 h 27"/>
                <a:gd name="T6" fmla="*/ 0 w 49"/>
                <a:gd name="T7" fmla="*/ 22 h 27"/>
                <a:gd name="T8" fmla="*/ 6 w 49"/>
                <a:gd name="T9" fmla="*/ 16 h 27"/>
                <a:gd name="T10" fmla="*/ 17 w 49"/>
                <a:gd name="T11" fmla="*/ 11 h 27"/>
                <a:gd name="T12" fmla="*/ 22 w 49"/>
                <a:gd name="T13" fmla="*/ 6 h 27"/>
                <a:gd name="T14" fmla="*/ 49 w 49"/>
                <a:gd name="T15" fmla="*/ 0 h 27"/>
                <a:gd name="T16" fmla="*/ 49 w 49"/>
                <a:gd name="T17" fmla="*/ 6 h 27"/>
                <a:gd name="T18" fmla="*/ 22 w 49"/>
                <a:gd name="T19" fmla="*/ 11 h 27"/>
                <a:gd name="T20" fmla="*/ 22 w 49"/>
                <a:gd name="T21" fmla="*/ 11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27"/>
                <a:gd name="T35" fmla="*/ 49 w 49"/>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27">
                  <a:moveTo>
                    <a:pt x="22" y="11"/>
                  </a:moveTo>
                  <a:lnTo>
                    <a:pt x="17" y="22"/>
                  </a:lnTo>
                  <a:lnTo>
                    <a:pt x="6" y="27"/>
                  </a:lnTo>
                  <a:lnTo>
                    <a:pt x="0" y="22"/>
                  </a:lnTo>
                  <a:lnTo>
                    <a:pt x="6" y="16"/>
                  </a:lnTo>
                  <a:lnTo>
                    <a:pt x="17" y="11"/>
                  </a:lnTo>
                  <a:lnTo>
                    <a:pt x="22" y="6"/>
                  </a:lnTo>
                  <a:lnTo>
                    <a:pt x="49" y="0"/>
                  </a:lnTo>
                  <a:lnTo>
                    <a:pt x="49" y="6"/>
                  </a:lnTo>
                  <a:lnTo>
                    <a:pt x="22"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0" name="Freeform 732"/>
            <p:cNvSpPr>
              <a:spLocks/>
            </p:cNvSpPr>
            <p:nvPr/>
          </p:nvSpPr>
          <p:spPr bwMode="auto">
            <a:xfrm>
              <a:off x="4304" y="3089"/>
              <a:ext cx="11" cy="6"/>
            </a:xfrm>
            <a:custGeom>
              <a:avLst/>
              <a:gdLst>
                <a:gd name="T0" fmla="*/ 0 w 11"/>
                <a:gd name="T1" fmla="*/ 6 h 6"/>
                <a:gd name="T2" fmla="*/ 0 w 11"/>
                <a:gd name="T3" fmla="*/ 0 h 6"/>
                <a:gd name="T4" fmla="*/ 5 w 11"/>
                <a:gd name="T5" fmla="*/ 0 h 6"/>
                <a:gd name="T6" fmla="*/ 11 w 11"/>
                <a:gd name="T7" fmla="*/ 0 h 6"/>
                <a:gd name="T8" fmla="*/ 5 w 11"/>
                <a:gd name="T9" fmla="*/ 6 h 6"/>
                <a:gd name="T10" fmla="*/ 0 w 11"/>
                <a:gd name="T11" fmla="*/ 6 h 6"/>
                <a:gd name="T12" fmla="*/ 0 w 11"/>
                <a:gd name="T13" fmla="*/ 6 h 6"/>
                <a:gd name="T14" fmla="*/ 0 60000 65536"/>
                <a:gd name="T15" fmla="*/ 0 60000 65536"/>
                <a:gd name="T16" fmla="*/ 0 60000 65536"/>
                <a:gd name="T17" fmla="*/ 0 60000 65536"/>
                <a:gd name="T18" fmla="*/ 0 60000 65536"/>
                <a:gd name="T19" fmla="*/ 0 60000 65536"/>
                <a:gd name="T20" fmla="*/ 0 60000 65536"/>
                <a:gd name="T21" fmla="*/ 0 w 11"/>
                <a:gd name="T22" fmla="*/ 0 h 6"/>
                <a:gd name="T23" fmla="*/ 11 w 11"/>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 h="6">
                  <a:moveTo>
                    <a:pt x="0" y="6"/>
                  </a:moveTo>
                  <a:lnTo>
                    <a:pt x="0" y="0"/>
                  </a:lnTo>
                  <a:lnTo>
                    <a:pt x="5" y="0"/>
                  </a:lnTo>
                  <a:lnTo>
                    <a:pt x="11" y="0"/>
                  </a:lnTo>
                  <a:lnTo>
                    <a:pt x="5" y="6"/>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1" name="Freeform 733"/>
            <p:cNvSpPr>
              <a:spLocks/>
            </p:cNvSpPr>
            <p:nvPr/>
          </p:nvSpPr>
          <p:spPr bwMode="auto">
            <a:xfrm>
              <a:off x="4369" y="3084"/>
              <a:ext cx="6" cy="11"/>
            </a:xfrm>
            <a:custGeom>
              <a:avLst/>
              <a:gdLst>
                <a:gd name="T0" fmla="*/ 0 w 6"/>
                <a:gd name="T1" fmla="*/ 5 h 11"/>
                <a:gd name="T2" fmla="*/ 6 w 6"/>
                <a:gd name="T3" fmla="*/ 0 h 11"/>
                <a:gd name="T4" fmla="*/ 6 w 6"/>
                <a:gd name="T5" fmla="*/ 0 h 11"/>
                <a:gd name="T6" fmla="*/ 6 w 6"/>
                <a:gd name="T7" fmla="*/ 5 h 11"/>
                <a:gd name="T8" fmla="*/ 0 w 6"/>
                <a:gd name="T9" fmla="*/ 11 h 11"/>
                <a:gd name="T10" fmla="*/ 0 w 6"/>
                <a:gd name="T11" fmla="*/ 5 h 11"/>
                <a:gd name="T12" fmla="*/ 0 w 6"/>
                <a:gd name="T13" fmla="*/ 5 h 11"/>
                <a:gd name="T14" fmla="*/ 0 60000 65536"/>
                <a:gd name="T15" fmla="*/ 0 60000 65536"/>
                <a:gd name="T16" fmla="*/ 0 60000 65536"/>
                <a:gd name="T17" fmla="*/ 0 60000 65536"/>
                <a:gd name="T18" fmla="*/ 0 60000 65536"/>
                <a:gd name="T19" fmla="*/ 0 60000 65536"/>
                <a:gd name="T20" fmla="*/ 0 60000 65536"/>
                <a:gd name="T21" fmla="*/ 0 w 6"/>
                <a:gd name="T22" fmla="*/ 0 h 11"/>
                <a:gd name="T23" fmla="*/ 6 w 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11">
                  <a:moveTo>
                    <a:pt x="0" y="5"/>
                  </a:moveTo>
                  <a:lnTo>
                    <a:pt x="6" y="0"/>
                  </a:lnTo>
                  <a:lnTo>
                    <a:pt x="6" y="5"/>
                  </a:lnTo>
                  <a:lnTo>
                    <a:pt x="0" y="11"/>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2" name="Freeform 734"/>
            <p:cNvSpPr>
              <a:spLocks/>
            </p:cNvSpPr>
            <p:nvPr/>
          </p:nvSpPr>
          <p:spPr bwMode="auto">
            <a:xfrm>
              <a:off x="4407" y="3073"/>
              <a:ext cx="6" cy="5"/>
            </a:xfrm>
            <a:custGeom>
              <a:avLst/>
              <a:gdLst>
                <a:gd name="T0" fmla="*/ 0 w 6"/>
                <a:gd name="T1" fmla="*/ 0 h 5"/>
                <a:gd name="T2" fmla="*/ 6 w 6"/>
                <a:gd name="T3" fmla="*/ 5 h 5"/>
                <a:gd name="T4" fmla="*/ 0 w 6"/>
                <a:gd name="T5" fmla="*/ 5 h 5"/>
                <a:gd name="T6" fmla="*/ 0 w 6"/>
                <a:gd name="T7" fmla="*/ 5 h 5"/>
                <a:gd name="T8" fmla="*/ 0 w 6"/>
                <a:gd name="T9" fmla="*/ 5 h 5"/>
                <a:gd name="T10" fmla="*/ 0 w 6"/>
                <a:gd name="T11" fmla="*/ 0 h 5"/>
                <a:gd name="T12" fmla="*/ 0 w 6"/>
                <a:gd name="T13" fmla="*/ 0 h 5"/>
                <a:gd name="T14" fmla="*/ 0 60000 65536"/>
                <a:gd name="T15" fmla="*/ 0 60000 65536"/>
                <a:gd name="T16" fmla="*/ 0 60000 65536"/>
                <a:gd name="T17" fmla="*/ 0 60000 65536"/>
                <a:gd name="T18" fmla="*/ 0 60000 65536"/>
                <a:gd name="T19" fmla="*/ 0 60000 65536"/>
                <a:gd name="T20" fmla="*/ 0 60000 65536"/>
                <a:gd name="T21" fmla="*/ 0 w 6"/>
                <a:gd name="T22" fmla="*/ 0 h 5"/>
                <a:gd name="T23" fmla="*/ 6 w 6"/>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5">
                  <a:moveTo>
                    <a:pt x="0" y="0"/>
                  </a:moveTo>
                  <a:lnTo>
                    <a:pt x="6"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3" name="Freeform 735"/>
            <p:cNvSpPr>
              <a:spLocks/>
            </p:cNvSpPr>
            <p:nvPr/>
          </p:nvSpPr>
          <p:spPr bwMode="auto">
            <a:xfrm>
              <a:off x="4407" y="3067"/>
              <a:ext cx="6" cy="11"/>
            </a:xfrm>
            <a:custGeom>
              <a:avLst/>
              <a:gdLst>
                <a:gd name="T0" fmla="*/ 0 w 6"/>
                <a:gd name="T1" fmla="*/ 6 h 11"/>
                <a:gd name="T2" fmla="*/ 0 w 6"/>
                <a:gd name="T3" fmla="*/ 0 h 11"/>
                <a:gd name="T4" fmla="*/ 6 w 6"/>
                <a:gd name="T5" fmla="*/ 6 h 11"/>
                <a:gd name="T6" fmla="*/ 6 w 6"/>
                <a:gd name="T7" fmla="*/ 11 h 11"/>
                <a:gd name="T8" fmla="*/ 0 w 6"/>
                <a:gd name="T9" fmla="*/ 6 h 11"/>
                <a:gd name="T10" fmla="*/ 0 w 6"/>
                <a:gd name="T11" fmla="*/ 6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0" y="6"/>
                  </a:moveTo>
                  <a:lnTo>
                    <a:pt x="0" y="0"/>
                  </a:lnTo>
                  <a:lnTo>
                    <a:pt x="6" y="6"/>
                  </a:lnTo>
                  <a:lnTo>
                    <a:pt x="6" y="11"/>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4" name="Freeform 736"/>
            <p:cNvSpPr>
              <a:spLocks/>
            </p:cNvSpPr>
            <p:nvPr/>
          </p:nvSpPr>
          <p:spPr bwMode="auto">
            <a:xfrm>
              <a:off x="4407" y="3062"/>
              <a:ext cx="6" cy="11"/>
            </a:xfrm>
            <a:custGeom>
              <a:avLst/>
              <a:gdLst>
                <a:gd name="T0" fmla="*/ 0 w 6"/>
                <a:gd name="T1" fmla="*/ 5 h 11"/>
                <a:gd name="T2" fmla="*/ 6 w 6"/>
                <a:gd name="T3" fmla="*/ 0 h 11"/>
                <a:gd name="T4" fmla="*/ 6 w 6"/>
                <a:gd name="T5" fmla="*/ 0 h 11"/>
                <a:gd name="T6" fmla="*/ 6 w 6"/>
                <a:gd name="T7" fmla="*/ 11 h 11"/>
                <a:gd name="T8" fmla="*/ 6 w 6"/>
                <a:gd name="T9" fmla="*/ 11 h 11"/>
                <a:gd name="T10" fmla="*/ 6 w 6"/>
                <a:gd name="T11" fmla="*/ 5 h 11"/>
                <a:gd name="T12" fmla="*/ 0 w 6"/>
                <a:gd name="T13" fmla="*/ 5 h 11"/>
                <a:gd name="T14" fmla="*/ 0 w 6"/>
                <a:gd name="T15" fmla="*/ 5 h 11"/>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1"/>
                <a:gd name="T26" fmla="*/ 6 w 6"/>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1">
                  <a:moveTo>
                    <a:pt x="0" y="5"/>
                  </a:moveTo>
                  <a:lnTo>
                    <a:pt x="6" y="0"/>
                  </a:lnTo>
                  <a:lnTo>
                    <a:pt x="6" y="11"/>
                  </a:lnTo>
                  <a:lnTo>
                    <a:pt x="6"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5" name="Freeform 737"/>
            <p:cNvSpPr>
              <a:spLocks/>
            </p:cNvSpPr>
            <p:nvPr/>
          </p:nvSpPr>
          <p:spPr bwMode="auto">
            <a:xfrm>
              <a:off x="4391" y="3062"/>
              <a:ext cx="5" cy="5"/>
            </a:xfrm>
            <a:custGeom>
              <a:avLst/>
              <a:gdLst>
                <a:gd name="T0" fmla="*/ 5 w 5"/>
                <a:gd name="T1" fmla="*/ 0 h 5"/>
                <a:gd name="T2" fmla="*/ 5 w 5"/>
                <a:gd name="T3" fmla="*/ 0 h 5"/>
                <a:gd name="T4" fmla="*/ 0 w 5"/>
                <a:gd name="T5" fmla="*/ 5 h 5"/>
                <a:gd name="T6" fmla="*/ 5 w 5"/>
                <a:gd name="T7" fmla="*/ 0 h 5"/>
                <a:gd name="T8" fmla="*/ 5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5" y="0"/>
                  </a:moveTo>
                  <a:lnTo>
                    <a:pt x="5" y="0"/>
                  </a:ln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6" name="Freeform 738"/>
            <p:cNvSpPr>
              <a:spLocks/>
            </p:cNvSpPr>
            <p:nvPr/>
          </p:nvSpPr>
          <p:spPr bwMode="auto">
            <a:xfrm>
              <a:off x="4326" y="3029"/>
              <a:ext cx="38" cy="11"/>
            </a:xfrm>
            <a:custGeom>
              <a:avLst/>
              <a:gdLst>
                <a:gd name="T0" fmla="*/ 0 w 38"/>
                <a:gd name="T1" fmla="*/ 6 h 11"/>
                <a:gd name="T2" fmla="*/ 0 w 38"/>
                <a:gd name="T3" fmla="*/ 6 h 11"/>
                <a:gd name="T4" fmla="*/ 5 w 38"/>
                <a:gd name="T5" fmla="*/ 0 h 11"/>
                <a:gd name="T6" fmla="*/ 21 w 38"/>
                <a:gd name="T7" fmla="*/ 0 h 11"/>
                <a:gd name="T8" fmla="*/ 32 w 38"/>
                <a:gd name="T9" fmla="*/ 0 h 11"/>
                <a:gd name="T10" fmla="*/ 38 w 38"/>
                <a:gd name="T11" fmla="*/ 11 h 11"/>
                <a:gd name="T12" fmla="*/ 38 w 38"/>
                <a:gd name="T13" fmla="*/ 11 h 11"/>
                <a:gd name="T14" fmla="*/ 27 w 38"/>
                <a:gd name="T15" fmla="*/ 6 h 11"/>
                <a:gd name="T16" fmla="*/ 16 w 38"/>
                <a:gd name="T17" fmla="*/ 6 h 11"/>
                <a:gd name="T18" fmla="*/ 16 w 38"/>
                <a:gd name="T19" fmla="*/ 6 h 11"/>
                <a:gd name="T20" fmla="*/ 10 w 38"/>
                <a:gd name="T21" fmla="*/ 6 h 11"/>
                <a:gd name="T22" fmla="*/ 5 w 38"/>
                <a:gd name="T23" fmla="*/ 6 h 11"/>
                <a:gd name="T24" fmla="*/ 0 w 38"/>
                <a:gd name="T25" fmla="*/ 6 h 11"/>
                <a:gd name="T26" fmla="*/ 0 w 38"/>
                <a:gd name="T27" fmla="*/ 6 h 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8"/>
                <a:gd name="T43" fmla="*/ 0 h 11"/>
                <a:gd name="T44" fmla="*/ 38 w 38"/>
                <a:gd name="T45" fmla="*/ 11 h 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8" h="11">
                  <a:moveTo>
                    <a:pt x="0" y="6"/>
                  </a:moveTo>
                  <a:lnTo>
                    <a:pt x="0" y="6"/>
                  </a:lnTo>
                  <a:lnTo>
                    <a:pt x="5" y="0"/>
                  </a:lnTo>
                  <a:lnTo>
                    <a:pt x="21" y="0"/>
                  </a:lnTo>
                  <a:lnTo>
                    <a:pt x="32" y="0"/>
                  </a:lnTo>
                  <a:lnTo>
                    <a:pt x="38" y="11"/>
                  </a:lnTo>
                  <a:lnTo>
                    <a:pt x="27" y="6"/>
                  </a:lnTo>
                  <a:lnTo>
                    <a:pt x="16" y="6"/>
                  </a:lnTo>
                  <a:lnTo>
                    <a:pt x="10" y="6"/>
                  </a:lnTo>
                  <a:lnTo>
                    <a:pt x="5" y="6"/>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7" name="Freeform 739"/>
            <p:cNvSpPr>
              <a:spLocks/>
            </p:cNvSpPr>
            <p:nvPr/>
          </p:nvSpPr>
          <p:spPr bwMode="auto">
            <a:xfrm>
              <a:off x="4353" y="3013"/>
              <a:ext cx="5" cy="5"/>
            </a:xfrm>
            <a:custGeom>
              <a:avLst/>
              <a:gdLst>
                <a:gd name="T0" fmla="*/ 0 w 5"/>
                <a:gd name="T1" fmla="*/ 0 h 5"/>
                <a:gd name="T2" fmla="*/ 5 w 5"/>
                <a:gd name="T3" fmla="*/ 0 h 5"/>
                <a:gd name="T4" fmla="*/ 5 w 5"/>
                <a:gd name="T5" fmla="*/ 5 h 5"/>
                <a:gd name="T6" fmla="*/ 0 w 5"/>
                <a:gd name="T7" fmla="*/ 5 h 5"/>
                <a:gd name="T8" fmla="*/ 0 w 5"/>
                <a:gd name="T9" fmla="*/ 0 h 5"/>
                <a:gd name="T10" fmla="*/ 0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0"/>
                  </a:moveTo>
                  <a:lnTo>
                    <a:pt x="5" y="0"/>
                  </a:lnTo>
                  <a:lnTo>
                    <a:pt x="5"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8" name="Freeform 740"/>
            <p:cNvSpPr>
              <a:spLocks/>
            </p:cNvSpPr>
            <p:nvPr/>
          </p:nvSpPr>
          <p:spPr bwMode="auto">
            <a:xfrm>
              <a:off x="4364" y="3002"/>
              <a:ext cx="5" cy="5"/>
            </a:xfrm>
            <a:custGeom>
              <a:avLst/>
              <a:gdLst>
                <a:gd name="T0" fmla="*/ 0 w 5"/>
                <a:gd name="T1" fmla="*/ 5 h 5"/>
                <a:gd name="T2" fmla="*/ 5 w 5"/>
                <a:gd name="T3" fmla="*/ 0 h 5"/>
                <a:gd name="T4" fmla="*/ 5 w 5"/>
                <a:gd name="T5" fmla="*/ 5 h 5"/>
                <a:gd name="T6" fmla="*/ 0 w 5"/>
                <a:gd name="T7" fmla="*/ 5 h 5"/>
                <a:gd name="T8" fmla="*/ 0 w 5"/>
                <a:gd name="T9" fmla="*/ 5 h 5"/>
                <a:gd name="T10" fmla="*/ 0 w 5"/>
                <a:gd name="T11" fmla="*/ 5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5"/>
                  </a:moveTo>
                  <a:lnTo>
                    <a:pt x="5" y="0"/>
                  </a:lnTo>
                  <a:lnTo>
                    <a:pt x="5"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19" name="Freeform 741"/>
            <p:cNvSpPr>
              <a:spLocks/>
            </p:cNvSpPr>
            <p:nvPr/>
          </p:nvSpPr>
          <p:spPr bwMode="auto">
            <a:xfrm>
              <a:off x="4358" y="2991"/>
              <a:ext cx="11" cy="5"/>
            </a:xfrm>
            <a:custGeom>
              <a:avLst/>
              <a:gdLst>
                <a:gd name="T0" fmla="*/ 0 w 11"/>
                <a:gd name="T1" fmla="*/ 0 h 5"/>
                <a:gd name="T2" fmla="*/ 6 w 11"/>
                <a:gd name="T3" fmla="*/ 0 h 5"/>
                <a:gd name="T4" fmla="*/ 11 w 11"/>
                <a:gd name="T5" fmla="*/ 5 h 5"/>
                <a:gd name="T6" fmla="*/ 6 w 11"/>
                <a:gd name="T7" fmla="*/ 5 h 5"/>
                <a:gd name="T8" fmla="*/ 0 w 11"/>
                <a:gd name="T9" fmla="*/ 0 h 5"/>
                <a:gd name="T10" fmla="*/ 0 w 11"/>
                <a:gd name="T11" fmla="*/ 0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0" y="0"/>
                  </a:moveTo>
                  <a:lnTo>
                    <a:pt x="6" y="0"/>
                  </a:lnTo>
                  <a:lnTo>
                    <a:pt x="11" y="5"/>
                  </a:lnTo>
                  <a:lnTo>
                    <a:pt x="6"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0" name="Freeform 742"/>
            <p:cNvSpPr>
              <a:spLocks/>
            </p:cNvSpPr>
            <p:nvPr/>
          </p:nvSpPr>
          <p:spPr bwMode="auto">
            <a:xfrm>
              <a:off x="4429" y="3013"/>
              <a:ext cx="16" cy="0"/>
            </a:xfrm>
            <a:custGeom>
              <a:avLst/>
              <a:gdLst>
                <a:gd name="T0" fmla="*/ 0 w 16"/>
                <a:gd name="T1" fmla="*/ 11 w 16"/>
                <a:gd name="T2" fmla="*/ 16 w 16"/>
                <a:gd name="T3" fmla="*/ 0 w 16"/>
                <a:gd name="T4" fmla="*/ 0 w 16"/>
                <a:gd name="T5" fmla="*/ 0 w 16"/>
                <a:gd name="T6" fmla="*/ 0 60000 65536"/>
                <a:gd name="T7" fmla="*/ 0 60000 65536"/>
                <a:gd name="T8" fmla="*/ 0 60000 65536"/>
                <a:gd name="T9" fmla="*/ 0 60000 65536"/>
                <a:gd name="T10" fmla="*/ 0 60000 65536"/>
                <a:gd name="T11" fmla="*/ 0 60000 65536"/>
                <a:gd name="T12" fmla="*/ 0 w 16"/>
                <a:gd name="T13" fmla="*/ 16 w 16"/>
              </a:gdLst>
              <a:ahLst/>
              <a:cxnLst>
                <a:cxn ang="T6">
                  <a:pos x="T0" y="0"/>
                </a:cxn>
                <a:cxn ang="T7">
                  <a:pos x="T1" y="0"/>
                </a:cxn>
                <a:cxn ang="T8">
                  <a:pos x="T2" y="0"/>
                </a:cxn>
                <a:cxn ang="T9">
                  <a:pos x="T3" y="0"/>
                </a:cxn>
                <a:cxn ang="T10">
                  <a:pos x="T4" y="0"/>
                </a:cxn>
                <a:cxn ang="T11">
                  <a:pos x="T5" y="0"/>
                </a:cxn>
              </a:cxnLst>
              <a:rect l="T12" t="0" r="T13" b="0"/>
              <a:pathLst>
                <a:path w="16">
                  <a:moveTo>
                    <a:pt x="0" y="0"/>
                  </a:moveTo>
                  <a:lnTo>
                    <a:pt x="11" y="0"/>
                  </a:lnTo>
                  <a:lnTo>
                    <a:pt x="1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1" name="Freeform 743"/>
            <p:cNvSpPr>
              <a:spLocks/>
            </p:cNvSpPr>
            <p:nvPr/>
          </p:nvSpPr>
          <p:spPr bwMode="auto">
            <a:xfrm>
              <a:off x="4424" y="3002"/>
              <a:ext cx="10" cy="5"/>
            </a:xfrm>
            <a:custGeom>
              <a:avLst/>
              <a:gdLst>
                <a:gd name="T0" fmla="*/ 0 w 10"/>
                <a:gd name="T1" fmla="*/ 0 h 5"/>
                <a:gd name="T2" fmla="*/ 5 w 10"/>
                <a:gd name="T3" fmla="*/ 0 h 5"/>
                <a:gd name="T4" fmla="*/ 10 w 10"/>
                <a:gd name="T5" fmla="*/ 5 h 5"/>
                <a:gd name="T6" fmla="*/ 10 w 10"/>
                <a:gd name="T7" fmla="*/ 5 h 5"/>
                <a:gd name="T8" fmla="*/ 0 w 10"/>
                <a:gd name="T9" fmla="*/ 0 h 5"/>
                <a:gd name="T10" fmla="*/ 0 w 10"/>
                <a:gd name="T11" fmla="*/ 0 h 5"/>
                <a:gd name="T12" fmla="*/ 0 60000 65536"/>
                <a:gd name="T13" fmla="*/ 0 60000 65536"/>
                <a:gd name="T14" fmla="*/ 0 60000 65536"/>
                <a:gd name="T15" fmla="*/ 0 60000 65536"/>
                <a:gd name="T16" fmla="*/ 0 60000 65536"/>
                <a:gd name="T17" fmla="*/ 0 60000 65536"/>
                <a:gd name="T18" fmla="*/ 0 w 10"/>
                <a:gd name="T19" fmla="*/ 0 h 5"/>
                <a:gd name="T20" fmla="*/ 10 w 10"/>
                <a:gd name="T21" fmla="*/ 5 h 5"/>
              </a:gdLst>
              <a:ahLst/>
              <a:cxnLst>
                <a:cxn ang="T12">
                  <a:pos x="T0" y="T1"/>
                </a:cxn>
                <a:cxn ang="T13">
                  <a:pos x="T2" y="T3"/>
                </a:cxn>
                <a:cxn ang="T14">
                  <a:pos x="T4" y="T5"/>
                </a:cxn>
                <a:cxn ang="T15">
                  <a:pos x="T6" y="T7"/>
                </a:cxn>
                <a:cxn ang="T16">
                  <a:pos x="T8" y="T9"/>
                </a:cxn>
                <a:cxn ang="T17">
                  <a:pos x="T10" y="T11"/>
                </a:cxn>
              </a:cxnLst>
              <a:rect l="T18" t="T19" r="T20" b="T21"/>
              <a:pathLst>
                <a:path w="10" h="5">
                  <a:moveTo>
                    <a:pt x="0" y="0"/>
                  </a:moveTo>
                  <a:lnTo>
                    <a:pt x="5" y="0"/>
                  </a:lnTo>
                  <a:lnTo>
                    <a:pt x="1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2" name="Freeform 744"/>
            <p:cNvSpPr>
              <a:spLocks/>
            </p:cNvSpPr>
            <p:nvPr/>
          </p:nvSpPr>
          <p:spPr bwMode="auto">
            <a:xfrm>
              <a:off x="4331" y="3035"/>
              <a:ext cx="0" cy="5"/>
            </a:xfrm>
            <a:custGeom>
              <a:avLst/>
              <a:gdLst>
                <a:gd name="T0" fmla="*/ 5 h 5"/>
                <a:gd name="T1" fmla="*/ 5 h 5"/>
                <a:gd name="T2" fmla="*/ 0 h 5"/>
                <a:gd name="T3" fmla="*/ 5 h 5"/>
                <a:gd name="T4" fmla="*/ 5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5"/>
                  </a:moveTo>
                  <a:lnTo>
                    <a:pt x="0" y="5"/>
                  </a:ln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3" name="Freeform 745"/>
            <p:cNvSpPr>
              <a:spLocks/>
            </p:cNvSpPr>
            <p:nvPr/>
          </p:nvSpPr>
          <p:spPr bwMode="auto">
            <a:xfrm>
              <a:off x="4173" y="3035"/>
              <a:ext cx="6" cy="11"/>
            </a:xfrm>
            <a:custGeom>
              <a:avLst/>
              <a:gdLst>
                <a:gd name="T0" fmla="*/ 6 w 6"/>
                <a:gd name="T1" fmla="*/ 0 h 11"/>
                <a:gd name="T2" fmla="*/ 6 w 6"/>
                <a:gd name="T3" fmla="*/ 5 h 11"/>
                <a:gd name="T4" fmla="*/ 6 w 6"/>
                <a:gd name="T5" fmla="*/ 11 h 11"/>
                <a:gd name="T6" fmla="*/ 0 w 6"/>
                <a:gd name="T7" fmla="*/ 5 h 11"/>
                <a:gd name="T8" fmla="*/ 6 w 6"/>
                <a:gd name="T9" fmla="*/ 0 h 11"/>
                <a:gd name="T10" fmla="*/ 6 w 6"/>
                <a:gd name="T11" fmla="*/ 0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6" y="0"/>
                  </a:moveTo>
                  <a:lnTo>
                    <a:pt x="6" y="5"/>
                  </a:lnTo>
                  <a:lnTo>
                    <a:pt x="6" y="11"/>
                  </a:lnTo>
                  <a:lnTo>
                    <a:pt x="0"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4" name="Freeform 746"/>
            <p:cNvSpPr>
              <a:spLocks/>
            </p:cNvSpPr>
            <p:nvPr/>
          </p:nvSpPr>
          <p:spPr bwMode="auto">
            <a:xfrm>
              <a:off x="4086" y="2936"/>
              <a:ext cx="125" cy="110"/>
            </a:xfrm>
            <a:custGeom>
              <a:avLst/>
              <a:gdLst>
                <a:gd name="T0" fmla="*/ 109 w 125"/>
                <a:gd name="T1" fmla="*/ 0 h 110"/>
                <a:gd name="T2" fmla="*/ 104 w 125"/>
                <a:gd name="T3" fmla="*/ 0 h 110"/>
                <a:gd name="T4" fmla="*/ 87 w 125"/>
                <a:gd name="T5" fmla="*/ 0 h 110"/>
                <a:gd name="T6" fmla="*/ 71 w 125"/>
                <a:gd name="T7" fmla="*/ 33 h 110"/>
                <a:gd name="T8" fmla="*/ 71 w 125"/>
                <a:gd name="T9" fmla="*/ 33 h 110"/>
                <a:gd name="T10" fmla="*/ 65 w 125"/>
                <a:gd name="T11" fmla="*/ 39 h 110"/>
                <a:gd name="T12" fmla="*/ 55 w 125"/>
                <a:gd name="T13" fmla="*/ 39 h 110"/>
                <a:gd name="T14" fmla="*/ 49 w 125"/>
                <a:gd name="T15" fmla="*/ 39 h 110"/>
                <a:gd name="T16" fmla="*/ 44 w 125"/>
                <a:gd name="T17" fmla="*/ 39 h 110"/>
                <a:gd name="T18" fmla="*/ 33 w 125"/>
                <a:gd name="T19" fmla="*/ 44 h 110"/>
                <a:gd name="T20" fmla="*/ 16 w 125"/>
                <a:gd name="T21" fmla="*/ 44 h 110"/>
                <a:gd name="T22" fmla="*/ 11 w 125"/>
                <a:gd name="T23" fmla="*/ 39 h 110"/>
                <a:gd name="T24" fmla="*/ 6 w 125"/>
                <a:gd name="T25" fmla="*/ 28 h 110"/>
                <a:gd name="T26" fmla="*/ 6 w 125"/>
                <a:gd name="T27" fmla="*/ 28 h 110"/>
                <a:gd name="T28" fmla="*/ 0 w 125"/>
                <a:gd name="T29" fmla="*/ 33 h 110"/>
                <a:gd name="T30" fmla="*/ 0 w 125"/>
                <a:gd name="T31" fmla="*/ 50 h 110"/>
                <a:gd name="T32" fmla="*/ 0 w 125"/>
                <a:gd name="T33" fmla="*/ 60 h 110"/>
                <a:gd name="T34" fmla="*/ 6 w 125"/>
                <a:gd name="T35" fmla="*/ 66 h 110"/>
                <a:gd name="T36" fmla="*/ 11 w 125"/>
                <a:gd name="T37" fmla="*/ 71 h 110"/>
                <a:gd name="T38" fmla="*/ 16 w 125"/>
                <a:gd name="T39" fmla="*/ 93 h 110"/>
                <a:gd name="T40" fmla="*/ 27 w 125"/>
                <a:gd name="T41" fmla="*/ 93 h 110"/>
                <a:gd name="T42" fmla="*/ 33 w 125"/>
                <a:gd name="T43" fmla="*/ 93 h 110"/>
                <a:gd name="T44" fmla="*/ 38 w 125"/>
                <a:gd name="T45" fmla="*/ 99 h 110"/>
                <a:gd name="T46" fmla="*/ 44 w 125"/>
                <a:gd name="T47" fmla="*/ 99 h 110"/>
                <a:gd name="T48" fmla="*/ 49 w 125"/>
                <a:gd name="T49" fmla="*/ 93 h 110"/>
                <a:gd name="T50" fmla="*/ 60 w 125"/>
                <a:gd name="T51" fmla="*/ 99 h 110"/>
                <a:gd name="T52" fmla="*/ 60 w 125"/>
                <a:gd name="T53" fmla="*/ 99 h 110"/>
                <a:gd name="T54" fmla="*/ 65 w 125"/>
                <a:gd name="T55" fmla="*/ 99 h 110"/>
                <a:gd name="T56" fmla="*/ 71 w 125"/>
                <a:gd name="T57" fmla="*/ 104 h 110"/>
                <a:gd name="T58" fmla="*/ 71 w 125"/>
                <a:gd name="T59" fmla="*/ 110 h 110"/>
                <a:gd name="T60" fmla="*/ 76 w 125"/>
                <a:gd name="T61" fmla="*/ 110 h 110"/>
                <a:gd name="T62" fmla="*/ 87 w 125"/>
                <a:gd name="T63" fmla="*/ 99 h 110"/>
                <a:gd name="T64" fmla="*/ 98 w 125"/>
                <a:gd name="T65" fmla="*/ 82 h 110"/>
                <a:gd name="T66" fmla="*/ 93 w 125"/>
                <a:gd name="T67" fmla="*/ 77 h 110"/>
                <a:gd name="T68" fmla="*/ 104 w 125"/>
                <a:gd name="T69" fmla="*/ 71 h 110"/>
                <a:gd name="T70" fmla="*/ 109 w 125"/>
                <a:gd name="T71" fmla="*/ 60 h 110"/>
                <a:gd name="T72" fmla="*/ 109 w 125"/>
                <a:gd name="T73" fmla="*/ 50 h 110"/>
                <a:gd name="T74" fmla="*/ 114 w 125"/>
                <a:gd name="T75" fmla="*/ 44 h 110"/>
                <a:gd name="T76" fmla="*/ 114 w 125"/>
                <a:gd name="T77" fmla="*/ 44 h 110"/>
                <a:gd name="T78" fmla="*/ 120 w 125"/>
                <a:gd name="T79" fmla="*/ 44 h 110"/>
                <a:gd name="T80" fmla="*/ 125 w 125"/>
                <a:gd name="T81" fmla="*/ 44 h 110"/>
                <a:gd name="T82" fmla="*/ 114 w 125"/>
                <a:gd name="T83" fmla="*/ 33 h 110"/>
                <a:gd name="T84" fmla="*/ 114 w 125"/>
                <a:gd name="T85" fmla="*/ 28 h 110"/>
                <a:gd name="T86" fmla="*/ 104 w 125"/>
                <a:gd name="T87" fmla="*/ 11 h 110"/>
                <a:gd name="T88" fmla="*/ 109 w 125"/>
                <a:gd name="T89" fmla="*/ 6 h 110"/>
                <a:gd name="T90" fmla="*/ 109 w 125"/>
                <a:gd name="T91" fmla="*/ 6 h 110"/>
                <a:gd name="T92" fmla="*/ 109 w 125"/>
                <a:gd name="T93" fmla="*/ 0 h 110"/>
                <a:gd name="T94" fmla="*/ 109 w 125"/>
                <a:gd name="T95" fmla="*/ 0 h 11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25"/>
                <a:gd name="T145" fmla="*/ 0 h 110"/>
                <a:gd name="T146" fmla="*/ 125 w 125"/>
                <a:gd name="T147" fmla="*/ 110 h 11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25" h="110">
                  <a:moveTo>
                    <a:pt x="109" y="0"/>
                  </a:moveTo>
                  <a:lnTo>
                    <a:pt x="104" y="0"/>
                  </a:lnTo>
                  <a:lnTo>
                    <a:pt x="87" y="0"/>
                  </a:lnTo>
                  <a:lnTo>
                    <a:pt x="71" y="33"/>
                  </a:lnTo>
                  <a:lnTo>
                    <a:pt x="65" y="39"/>
                  </a:lnTo>
                  <a:lnTo>
                    <a:pt x="55" y="39"/>
                  </a:lnTo>
                  <a:lnTo>
                    <a:pt x="49" y="39"/>
                  </a:lnTo>
                  <a:lnTo>
                    <a:pt x="44" y="39"/>
                  </a:lnTo>
                  <a:lnTo>
                    <a:pt x="33" y="44"/>
                  </a:lnTo>
                  <a:lnTo>
                    <a:pt x="16" y="44"/>
                  </a:lnTo>
                  <a:lnTo>
                    <a:pt x="11" y="39"/>
                  </a:lnTo>
                  <a:lnTo>
                    <a:pt x="6" y="28"/>
                  </a:lnTo>
                  <a:lnTo>
                    <a:pt x="0" y="33"/>
                  </a:lnTo>
                  <a:lnTo>
                    <a:pt x="0" y="50"/>
                  </a:lnTo>
                  <a:lnTo>
                    <a:pt x="0" y="60"/>
                  </a:lnTo>
                  <a:lnTo>
                    <a:pt x="6" y="66"/>
                  </a:lnTo>
                  <a:lnTo>
                    <a:pt x="11" y="71"/>
                  </a:lnTo>
                  <a:lnTo>
                    <a:pt x="16" y="93"/>
                  </a:lnTo>
                  <a:lnTo>
                    <a:pt x="27" y="93"/>
                  </a:lnTo>
                  <a:lnTo>
                    <a:pt x="33" y="93"/>
                  </a:lnTo>
                  <a:lnTo>
                    <a:pt x="38" y="99"/>
                  </a:lnTo>
                  <a:lnTo>
                    <a:pt x="44" y="99"/>
                  </a:lnTo>
                  <a:lnTo>
                    <a:pt x="49" y="93"/>
                  </a:lnTo>
                  <a:lnTo>
                    <a:pt x="60" y="99"/>
                  </a:lnTo>
                  <a:lnTo>
                    <a:pt x="65" y="99"/>
                  </a:lnTo>
                  <a:lnTo>
                    <a:pt x="71" y="104"/>
                  </a:lnTo>
                  <a:lnTo>
                    <a:pt x="71" y="110"/>
                  </a:lnTo>
                  <a:lnTo>
                    <a:pt x="76" y="110"/>
                  </a:lnTo>
                  <a:lnTo>
                    <a:pt x="87" y="99"/>
                  </a:lnTo>
                  <a:lnTo>
                    <a:pt x="98" y="82"/>
                  </a:lnTo>
                  <a:lnTo>
                    <a:pt x="93" y="77"/>
                  </a:lnTo>
                  <a:lnTo>
                    <a:pt x="104" y="71"/>
                  </a:lnTo>
                  <a:lnTo>
                    <a:pt x="109" y="60"/>
                  </a:lnTo>
                  <a:lnTo>
                    <a:pt x="109" y="50"/>
                  </a:lnTo>
                  <a:lnTo>
                    <a:pt x="114" y="44"/>
                  </a:lnTo>
                  <a:lnTo>
                    <a:pt x="120" y="44"/>
                  </a:lnTo>
                  <a:lnTo>
                    <a:pt x="125" y="44"/>
                  </a:lnTo>
                  <a:lnTo>
                    <a:pt x="114" y="33"/>
                  </a:lnTo>
                  <a:lnTo>
                    <a:pt x="114" y="28"/>
                  </a:lnTo>
                  <a:lnTo>
                    <a:pt x="104" y="11"/>
                  </a:lnTo>
                  <a:lnTo>
                    <a:pt x="109" y="6"/>
                  </a:lnTo>
                  <a:lnTo>
                    <a:pt x="109"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5" name="Freeform 747"/>
            <p:cNvSpPr>
              <a:spLocks/>
            </p:cNvSpPr>
            <p:nvPr/>
          </p:nvSpPr>
          <p:spPr bwMode="auto">
            <a:xfrm>
              <a:off x="4037" y="3067"/>
              <a:ext cx="120" cy="39"/>
            </a:xfrm>
            <a:custGeom>
              <a:avLst/>
              <a:gdLst>
                <a:gd name="T0" fmla="*/ 87 w 120"/>
                <a:gd name="T1" fmla="*/ 33 h 39"/>
                <a:gd name="T2" fmla="*/ 82 w 120"/>
                <a:gd name="T3" fmla="*/ 33 h 39"/>
                <a:gd name="T4" fmla="*/ 71 w 120"/>
                <a:gd name="T5" fmla="*/ 28 h 39"/>
                <a:gd name="T6" fmla="*/ 55 w 120"/>
                <a:gd name="T7" fmla="*/ 22 h 39"/>
                <a:gd name="T8" fmla="*/ 44 w 120"/>
                <a:gd name="T9" fmla="*/ 22 h 39"/>
                <a:gd name="T10" fmla="*/ 38 w 120"/>
                <a:gd name="T11" fmla="*/ 22 h 39"/>
                <a:gd name="T12" fmla="*/ 22 w 120"/>
                <a:gd name="T13" fmla="*/ 22 h 39"/>
                <a:gd name="T14" fmla="*/ 16 w 120"/>
                <a:gd name="T15" fmla="*/ 17 h 39"/>
                <a:gd name="T16" fmla="*/ 16 w 120"/>
                <a:gd name="T17" fmla="*/ 17 h 39"/>
                <a:gd name="T18" fmla="*/ 0 w 120"/>
                <a:gd name="T19" fmla="*/ 11 h 39"/>
                <a:gd name="T20" fmla="*/ 0 w 120"/>
                <a:gd name="T21" fmla="*/ 11 h 39"/>
                <a:gd name="T22" fmla="*/ 6 w 120"/>
                <a:gd name="T23" fmla="*/ 11 h 39"/>
                <a:gd name="T24" fmla="*/ 11 w 120"/>
                <a:gd name="T25" fmla="*/ 0 h 39"/>
                <a:gd name="T26" fmla="*/ 11 w 120"/>
                <a:gd name="T27" fmla="*/ 0 h 39"/>
                <a:gd name="T28" fmla="*/ 22 w 120"/>
                <a:gd name="T29" fmla="*/ 0 h 39"/>
                <a:gd name="T30" fmla="*/ 27 w 120"/>
                <a:gd name="T31" fmla="*/ 0 h 39"/>
                <a:gd name="T32" fmla="*/ 27 w 120"/>
                <a:gd name="T33" fmla="*/ 6 h 39"/>
                <a:gd name="T34" fmla="*/ 38 w 120"/>
                <a:gd name="T35" fmla="*/ 6 h 39"/>
                <a:gd name="T36" fmla="*/ 44 w 120"/>
                <a:gd name="T37" fmla="*/ 11 h 39"/>
                <a:gd name="T38" fmla="*/ 65 w 120"/>
                <a:gd name="T39" fmla="*/ 11 h 39"/>
                <a:gd name="T40" fmla="*/ 71 w 120"/>
                <a:gd name="T41" fmla="*/ 6 h 39"/>
                <a:gd name="T42" fmla="*/ 71 w 120"/>
                <a:gd name="T43" fmla="*/ 6 h 39"/>
                <a:gd name="T44" fmla="*/ 76 w 120"/>
                <a:gd name="T45" fmla="*/ 11 h 39"/>
                <a:gd name="T46" fmla="*/ 82 w 120"/>
                <a:gd name="T47" fmla="*/ 11 h 39"/>
                <a:gd name="T48" fmla="*/ 93 w 120"/>
                <a:gd name="T49" fmla="*/ 11 h 39"/>
                <a:gd name="T50" fmla="*/ 98 w 120"/>
                <a:gd name="T51" fmla="*/ 22 h 39"/>
                <a:gd name="T52" fmla="*/ 120 w 120"/>
                <a:gd name="T53" fmla="*/ 22 h 39"/>
                <a:gd name="T54" fmla="*/ 114 w 120"/>
                <a:gd name="T55" fmla="*/ 33 h 39"/>
                <a:gd name="T56" fmla="*/ 120 w 120"/>
                <a:gd name="T57" fmla="*/ 39 h 39"/>
                <a:gd name="T58" fmla="*/ 104 w 120"/>
                <a:gd name="T59" fmla="*/ 33 h 39"/>
                <a:gd name="T60" fmla="*/ 93 w 120"/>
                <a:gd name="T61" fmla="*/ 33 h 39"/>
                <a:gd name="T62" fmla="*/ 87 w 120"/>
                <a:gd name="T63" fmla="*/ 33 h 39"/>
                <a:gd name="T64" fmla="*/ 87 w 120"/>
                <a:gd name="T65" fmla="*/ 33 h 3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0"/>
                <a:gd name="T100" fmla="*/ 0 h 39"/>
                <a:gd name="T101" fmla="*/ 120 w 120"/>
                <a:gd name="T102" fmla="*/ 39 h 3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0" h="39">
                  <a:moveTo>
                    <a:pt x="87" y="33"/>
                  </a:moveTo>
                  <a:lnTo>
                    <a:pt x="82" y="33"/>
                  </a:lnTo>
                  <a:lnTo>
                    <a:pt x="71" y="28"/>
                  </a:lnTo>
                  <a:lnTo>
                    <a:pt x="55" y="22"/>
                  </a:lnTo>
                  <a:lnTo>
                    <a:pt x="44" y="22"/>
                  </a:lnTo>
                  <a:lnTo>
                    <a:pt x="38" y="22"/>
                  </a:lnTo>
                  <a:lnTo>
                    <a:pt x="22" y="22"/>
                  </a:lnTo>
                  <a:lnTo>
                    <a:pt x="16" y="17"/>
                  </a:lnTo>
                  <a:lnTo>
                    <a:pt x="0" y="11"/>
                  </a:lnTo>
                  <a:lnTo>
                    <a:pt x="6" y="11"/>
                  </a:lnTo>
                  <a:lnTo>
                    <a:pt x="11" y="0"/>
                  </a:lnTo>
                  <a:lnTo>
                    <a:pt x="22" y="0"/>
                  </a:lnTo>
                  <a:lnTo>
                    <a:pt x="27" y="0"/>
                  </a:lnTo>
                  <a:lnTo>
                    <a:pt x="27" y="6"/>
                  </a:lnTo>
                  <a:lnTo>
                    <a:pt x="38" y="6"/>
                  </a:lnTo>
                  <a:lnTo>
                    <a:pt x="44" y="11"/>
                  </a:lnTo>
                  <a:lnTo>
                    <a:pt x="65" y="11"/>
                  </a:lnTo>
                  <a:lnTo>
                    <a:pt x="71" y="6"/>
                  </a:lnTo>
                  <a:lnTo>
                    <a:pt x="76" y="11"/>
                  </a:lnTo>
                  <a:lnTo>
                    <a:pt x="82" y="11"/>
                  </a:lnTo>
                  <a:lnTo>
                    <a:pt x="93" y="11"/>
                  </a:lnTo>
                  <a:lnTo>
                    <a:pt x="98" y="22"/>
                  </a:lnTo>
                  <a:lnTo>
                    <a:pt x="120" y="22"/>
                  </a:lnTo>
                  <a:lnTo>
                    <a:pt x="114" y="33"/>
                  </a:lnTo>
                  <a:lnTo>
                    <a:pt x="120" y="39"/>
                  </a:lnTo>
                  <a:lnTo>
                    <a:pt x="104" y="33"/>
                  </a:lnTo>
                  <a:lnTo>
                    <a:pt x="93" y="33"/>
                  </a:lnTo>
                  <a:lnTo>
                    <a:pt x="87"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6" name="Freeform 748"/>
            <p:cNvSpPr>
              <a:spLocks/>
            </p:cNvSpPr>
            <p:nvPr/>
          </p:nvSpPr>
          <p:spPr bwMode="auto">
            <a:xfrm>
              <a:off x="4070" y="3024"/>
              <a:ext cx="5" cy="5"/>
            </a:xfrm>
            <a:custGeom>
              <a:avLst/>
              <a:gdLst>
                <a:gd name="T0" fmla="*/ 0 w 5"/>
                <a:gd name="T1" fmla="*/ 0 h 5"/>
                <a:gd name="T2" fmla="*/ 5 w 5"/>
                <a:gd name="T3" fmla="*/ 5 h 5"/>
                <a:gd name="T4" fmla="*/ 5 w 5"/>
                <a:gd name="T5" fmla="*/ 5 h 5"/>
                <a:gd name="T6" fmla="*/ 0 w 5"/>
                <a:gd name="T7" fmla="*/ 5 h 5"/>
                <a:gd name="T8" fmla="*/ 0 w 5"/>
                <a:gd name="T9" fmla="*/ 0 h 5"/>
                <a:gd name="T10" fmla="*/ 0 w 5"/>
                <a:gd name="T11" fmla="*/ 0 h 5"/>
                <a:gd name="T12" fmla="*/ 0 60000 65536"/>
                <a:gd name="T13" fmla="*/ 0 60000 65536"/>
                <a:gd name="T14" fmla="*/ 0 60000 65536"/>
                <a:gd name="T15" fmla="*/ 0 60000 65536"/>
                <a:gd name="T16" fmla="*/ 0 60000 65536"/>
                <a:gd name="T17" fmla="*/ 0 60000 65536"/>
                <a:gd name="T18" fmla="*/ 0 w 5"/>
                <a:gd name="T19" fmla="*/ 0 h 5"/>
                <a:gd name="T20" fmla="*/ 5 w 5"/>
                <a:gd name="T21" fmla="*/ 5 h 5"/>
              </a:gdLst>
              <a:ahLst/>
              <a:cxnLst>
                <a:cxn ang="T12">
                  <a:pos x="T0" y="T1"/>
                </a:cxn>
                <a:cxn ang="T13">
                  <a:pos x="T2" y="T3"/>
                </a:cxn>
                <a:cxn ang="T14">
                  <a:pos x="T4" y="T5"/>
                </a:cxn>
                <a:cxn ang="T15">
                  <a:pos x="T6" y="T7"/>
                </a:cxn>
                <a:cxn ang="T16">
                  <a:pos x="T8" y="T9"/>
                </a:cxn>
                <a:cxn ang="T17">
                  <a:pos x="T10" y="T11"/>
                </a:cxn>
              </a:cxnLst>
              <a:rect l="T18" t="T19" r="T20" b="T21"/>
              <a:pathLst>
                <a:path w="5" h="5">
                  <a:moveTo>
                    <a:pt x="0" y="0"/>
                  </a:moveTo>
                  <a:lnTo>
                    <a:pt x="5"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7" name="Freeform 749"/>
            <p:cNvSpPr>
              <a:spLocks/>
            </p:cNvSpPr>
            <p:nvPr/>
          </p:nvSpPr>
          <p:spPr bwMode="auto">
            <a:xfrm>
              <a:off x="4037" y="3013"/>
              <a:ext cx="16" cy="16"/>
            </a:xfrm>
            <a:custGeom>
              <a:avLst/>
              <a:gdLst>
                <a:gd name="T0" fmla="*/ 0 w 16"/>
                <a:gd name="T1" fmla="*/ 5 h 16"/>
                <a:gd name="T2" fmla="*/ 0 w 16"/>
                <a:gd name="T3" fmla="*/ 0 h 16"/>
                <a:gd name="T4" fmla="*/ 6 w 16"/>
                <a:gd name="T5" fmla="*/ 0 h 16"/>
                <a:gd name="T6" fmla="*/ 6 w 16"/>
                <a:gd name="T7" fmla="*/ 0 h 16"/>
                <a:gd name="T8" fmla="*/ 11 w 16"/>
                <a:gd name="T9" fmla="*/ 11 h 16"/>
                <a:gd name="T10" fmla="*/ 16 w 16"/>
                <a:gd name="T11" fmla="*/ 11 h 16"/>
                <a:gd name="T12" fmla="*/ 16 w 16"/>
                <a:gd name="T13" fmla="*/ 16 h 16"/>
                <a:gd name="T14" fmla="*/ 11 w 16"/>
                <a:gd name="T15" fmla="*/ 16 h 16"/>
                <a:gd name="T16" fmla="*/ 6 w 16"/>
                <a:gd name="T17" fmla="*/ 5 h 16"/>
                <a:gd name="T18" fmla="*/ 0 w 16"/>
                <a:gd name="T19" fmla="*/ 5 h 16"/>
                <a:gd name="T20" fmla="*/ 0 w 16"/>
                <a:gd name="T21" fmla="*/ 5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16"/>
                <a:gd name="T35" fmla="*/ 16 w 16"/>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16">
                  <a:moveTo>
                    <a:pt x="0" y="5"/>
                  </a:moveTo>
                  <a:lnTo>
                    <a:pt x="0" y="0"/>
                  </a:lnTo>
                  <a:lnTo>
                    <a:pt x="6" y="0"/>
                  </a:lnTo>
                  <a:lnTo>
                    <a:pt x="11" y="11"/>
                  </a:lnTo>
                  <a:lnTo>
                    <a:pt x="16" y="11"/>
                  </a:lnTo>
                  <a:lnTo>
                    <a:pt x="16" y="16"/>
                  </a:lnTo>
                  <a:lnTo>
                    <a:pt x="11" y="16"/>
                  </a:lnTo>
                  <a:lnTo>
                    <a:pt x="6"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8" name="Freeform 750"/>
            <p:cNvSpPr>
              <a:spLocks/>
            </p:cNvSpPr>
            <p:nvPr/>
          </p:nvSpPr>
          <p:spPr bwMode="auto">
            <a:xfrm>
              <a:off x="4026" y="2996"/>
              <a:ext cx="0" cy="0"/>
            </a:xfrm>
            <a:custGeom>
              <a:avLst/>
              <a:gdLst>
                <a:gd name="T0" fmla="*/ 0 60000 65536"/>
                <a:gd name="T1" fmla="*/ 0 60000 65536"/>
                <a:gd name="T2" fmla="*/ 0 60000 65536"/>
                <a:gd name="T3" fmla="*/ 0 60000 65536"/>
                <a:gd name="T4" fmla="*/ 0 60000 65536"/>
                <a:gd name="T5" fmla="*/ 0 60000 65536"/>
              </a:gdLst>
              <a:ahLst/>
              <a:cxnLst>
                <a:cxn ang="T0">
                  <a:pos x="0" y="0"/>
                </a:cxn>
                <a:cxn ang="T1">
                  <a:pos x="0" y="0"/>
                </a:cxn>
                <a:cxn ang="T2">
                  <a:pos x="0" y="0"/>
                </a:cxn>
                <a:cxn ang="T3">
                  <a:pos x="0" y="0"/>
                </a:cxn>
                <a:cxn ang="T4">
                  <a:pos x="0" y="0"/>
                </a:cxn>
                <a:cxn ang="T5">
                  <a:pos x="0" y="0"/>
                </a:cxn>
              </a:cxnLst>
              <a:rect l="0" t="0" r="0" b="0"/>
              <a:pathLst>
                <a:path>
                  <a:moveTo>
                    <a:pt x="0" y="0"/>
                  </a:move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29" name="Freeform 751"/>
            <p:cNvSpPr>
              <a:spLocks/>
            </p:cNvSpPr>
            <p:nvPr/>
          </p:nvSpPr>
          <p:spPr bwMode="auto">
            <a:xfrm>
              <a:off x="4026" y="2975"/>
              <a:ext cx="0" cy="5"/>
            </a:xfrm>
            <a:custGeom>
              <a:avLst/>
              <a:gdLst>
                <a:gd name="T0" fmla="*/ 0 h 5"/>
                <a:gd name="T1" fmla="*/ 5 h 5"/>
                <a:gd name="T2" fmla="*/ 0 h 5"/>
                <a:gd name="T3" fmla="*/ 0 h 5"/>
                <a:gd name="T4" fmla="*/ 0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0"/>
                  </a:move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0" name="Freeform 752"/>
            <p:cNvSpPr>
              <a:spLocks/>
            </p:cNvSpPr>
            <p:nvPr/>
          </p:nvSpPr>
          <p:spPr bwMode="auto">
            <a:xfrm>
              <a:off x="3955" y="3002"/>
              <a:ext cx="6" cy="11"/>
            </a:xfrm>
            <a:custGeom>
              <a:avLst/>
              <a:gdLst>
                <a:gd name="T0" fmla="*/ 0 w 6"/>
                <a:gd name="T1" fmla="*/ 0 h 11"/>
                <a:gd name="T2" fmla="*/ 0 w 6"/>
                <a:gd name="T3" fmla="*/ 0 h 11"/>
                <a:gd name="T4" fmla="*/ 6 w 6"/>
                <a:gd name="T5" fmla="*/ 11 h 11"/>
                <a:gd name="T6" fmla="*/ 0 w 6"/>
                <a:gd name="T7" fmla="*/ 11 h 11"/>
                <a:gd name="T8" fmla="*/ 0 w 6"/>
                <a:gd name="T9" fmla="*/ 0 h 11"/>
                <a:gd name="T10" fmla="*/ 0 w 6"/>
                <a:gd name="T11" fmla="*/ 0 h 11"/>
                <a:gd name="T12" fmla="*/ 0 60000 65536"/>
                <a:gd name="T13" fmla="*/ 0 60000 65536"/>
                <a:gd name="T14" fmla="*/ 0 60000 65536"/>
                <a:gd name="T15" fmla="*/ 0 60000 65536"/>
                <a:gd name="T16" fmla="*/ 0 60000 65536"/>
                <a:gd name="T17" fmla="*/ 0 60000 65536"/>
                <a:gd name="T18" fmla="*/ 0 w 6"/>
                <a:gd name="T19" fmla="*/ 0 h 11"/>
                <a:gd name="T20" fmla="*/ 6 w 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6" h="11">
                  <a:moveTo>
                    <a:pt x="0" y="0"/>
                  </a:moveTo>
                  <a:lnTo>
                    <a:pt x="0" y="0"/>
                  </a:lnTo>
                  <a:lnTo>
                    <a:pt x="6" y="11"/>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1" name="Freeform 753"/>
            <p:cNvSpPr>
              <a:spLocks/>
            </p:cNvSpPr>
            <p:nvPr/>
          </p:nvSpPr>
          <p:spPr bwMode="auto">
            <a:xfrm>
              <a:off x="3994" y="2969"/>
              <a:ext cx="5" cy="6"/>
            </a:xfrm>
            <a:custGeom>
              <a:avLst/>
              <a:gdLst>
                <a:gd name="T0" fmla="*/ 0 w 5"/>
                <a:gd name="T1" fmla="*/ 0 h 6"/>
                <a:gd name="T2" fmla="*/ 5 w 5"/>
                <a:gd name="T3" fmla="*/ 0 h 6"/>
                <a:gd name="T4" fmla="*/ 5 w 5"/>
                <a:gd name="T5" fmla="*/ 6 h 6"/>
                <a:gd name="T6" fmla="*/ 0 w 5"/>
                <a:gd name="T7" fmla="*/ 0 h 6"/>
                <a:gd name="T8" fmla="*/ 0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0" y="0"/>
                  </a:moveTo>
                  <a:lnTo>
                    <a:pt x="5" y="0"/>
                  </a:lnTo>
                  <a:lnTo>
                    <a:pt x="5"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2" name="Freeform 754"/>
            <p:cNvSpPr>
              <a:spLocks/>
            </p:cNvSpPr>
            <p:nvPr/>
          </p:nvSpPr>
          <p:spPr bwMode="auto">
            <a:xfrm>
              <a:off x="3988" y="2964"/>
              <a:ext cx="6" cy="5"/>
            </a:xfrm>
            <a:custGeom>
              <a:avLst/>
              <a:gdLst>
                <a:gd name="T0" fmla="*/ 6 w 6"/>
                <a:gd name="T1" fmla="*/ 5 h 5"/>
                <a:gd name="T2" fmla="*/ 0 w 6"/>
                <a:gd name="T3" fmla="*/ 0 h 5"/>
                <a:gd name="T4" fmla="*/ 6 w 6"/>
                <a:gd name="T5" fmla="*/ 0 h 5"/>
                <a:gd name="T6" fmla="*/ 6 w 6"/>
                <a:gd name="T7" fmla="*/ 5 h 5"/>
                <a:gd name="T8" fmla="*/ 6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6" y="5"/>
                  </a:moveTo>
                  <a:lnTo>
                    <a:pt x="0" y="0"/>
                  </a:lnTo>
                  <a:lnTo>
                    <a:pt x="6"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3" name="Freeform 755"/>
            <p:cNvSpPr>
              <a:spLocks/>
            </p:cNvSpPr>
            <p:nvPr/>
          </p:nvSpPr>
          <p:spPr bwMode="auto">
            <a:xfrm>
              <a:off x="3934" y="2975"/>
              <a:ext cx="11" cy="11"/>
            </a:xfrm>
            <a:custGeom>
              <a:avLst/>
              <a:gdLst>
                <a:gd name="T0" fmla="*/ 0 w 11"/>
                <a:gd name="T1" fmla="*/ 0 h 11"/>
                <a:gd name="T2" fmla="*/ 0 w 11"/>
                <a:gd name="T3" fmla="*/ 0 h 11"/>
                <a:gd name="T4" fmla="*/ 11 w 11"/>
                <a:gd name="T5" fmla="*/ 5 h 11"/>
                <a:gd name="T6" fmla="*/ 11 w 11"/>
                <a:gd name="T7" fmla="*/ 11 h 11"/>
                <a:gd name="T8" fmla="*/ 0 w 11"/>
                <a:gd name="T9" fmla="*/ 0 h 11"/>
                <a:gd name="T10" fmla="*/ 0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0"/>
                  </a:moveTo>
                  <a:lnTo>
                    <a:pt x="0" y="0"/>
                  </a:lnTo>
                  <a:lnTo>
                    <a:pt x="11" y="5"/>
                  </a:lnTo>
                  <a:lnTo>
                    <a:pt x="11"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4" name="Freeform 756"/>
            <p:cNvSpPr>
              <a:spLocks/>
            </p:cNvSpPr>
            <p:nvPr/>
          </p:nvSpPr>
          <p:spPr bwMode="auto">
            <a:xfrm>
              <a:off x="3912" y="2953"/>
              <a:ext cx="11" cy="11"/>
            </a:xfrm>
            <a:custGeom>
              <a:avLst/>
              <a:gdLst>
                <a:gd name="T0" fmla="*/ 0 w 11"/>
                <a:gd name="T1" fmla="*/ 5 h 11"/>
                <a:gd name="T2" fmla="*/ 5 w 11"/>
                <a:gd name="T3" fmla="*/ 0 h 11"/>
                <a:gd name="T4" fmla="*/ 11 w 11"/>
                <a:gd name="T5" fmla="*/ 11 h 11"/>
                <a:gd name="T6" fmla="*/ 0 w 11"/>
                <a:gd name="T7" fmla="*/ 5 h 11"/>
                <a:gd name="T8" fmla="*/ 0 w 11"/>
                <a:gd name="T9" fmla="*/ 5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5"/>
                  </a:moveTo>
                  <a:lnTo>
                    <a:pt x="5" y="0"/>
                  </a:lnTo>
                  <a:lnTo>
                    <a:pt x="11" y="11"/>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5" name="Freeform 757"/>
            <p:cNvSpPr>
              <a:spLocks/>
            </p:cNvSpPr>
            <p:nvPr/>
          </p:nvSpPr>
          <p:spPr bwMode="auto">
            <a:xfrm>
              <a:off x="4255" y="3051"/>
              <a:ext cx="5" cy="11"/>
            </a:xfrm>
            <a:custGeom>
              <a:avLst/>
              <a:gdLst>
                <a:gd name="T0" fmla="*/ 0 w 5"/>
                <a:gd name="T1" fmla="*/ 0 h 11"/>
                <a:gd name="T2" fmla="*/ 5 w 5"/>
                <a:gd name="T3" fmla="*/ 0 h 11"/>
                <a:gd name="T4" fmla="*/ 5 w 5"/>
                <a:gd name="T5" fmla="*/ 11 h 11"/>
                <a:gd name="T6" fmla="*/ 0 w 5"/>
                <a:gd name="T7" fmla="*/ 11 h 11"/>
                <a:gd name="T8" fmla="*/ 0 w 5"/>
                <a:gd name="T9" fmla="*/ 0 h 11"/>
                <a:gd name="T10" fmla="*/ 0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0" y="0"/>
                  </a:moveTo>
                  <a:lnTo>
                    <a:pt x="5" y="0"/>
                  </a:lnTo>
                  <a:lnTo>
                    <a:pt x="5" y="11"/>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6" name="Freeform 758"/>
            <p:cNvSpPr>
              <a:spLocks/>
            </p:cNvSpPr>
            <p:nvPr/>
          </p:nvSpPr>
          <p:spPr bwMode="auto">
            <a:xfrm>
              <a:off x="3553" y="2494"/>
              <a:ext cx="381" cy="393"/>
            </a:xfrm>
            <a:custGeom>
              <a:avLst/>
              <a:gdLst>
                <a:gd name="T0" fmla="*/ 158 w 381"/>
                <a:gd name="T1" fmla="*/ 110 h 393"/>
                <a:gd name="T2" fmla="*/ 223 w 381"/>
                <a:gd name="T3" fmla="*/ 142 h 393"/>
                <a:gd name="T4" fmla="*/ 261 w 381"/>
                <a:gd name="T5" fmla="*/ 142 h 393"/>
                <a:gd name="T6" fmla="*/ 261 w 381"/>
                <a:gd name="T7" fmla="*/ 126 h 393"/>
                <a:gd name="T8" fmla="*/ 272 w 381"/>
                <a:gd name="T9" fmla="*/ 131 h 393"/>
                <a:gd name="T10" fmla="*/ 283 w 381"/>
                <a:gd name="T11" fmla="*/ 142 h 393"/>
                <a:gd name="T12" fmla="*/ 310 w 381"/>
                <a:gd name="T13" fmla="*/ 131 h 393"/>
                <a:gd name="T14" fmla="*/ 343 w 381"/>
                <a:gd name="T15" fmla="*/ 104 h 393"/>
                <a:gd name="T16" fmla="*/ 364 w 381"/>
                <a:gd name="T17" fmla="*/ 110 h 393"/>
                <a:gd name="T18" fmla="*/ 375 w 381"/>
                <a:gd name="T19" fmla="*/ 115 h 393"/>
                <a:gd name="T20" fmla="*/ 375 w 381"/>
                <a:gd name="T21" fmla="*/ 126 h 393"/>
                <a:gd name="T22" fmla="*/ 354 w 381"/>
                <a:gd name="T23" fmla="*/ 142 h 393"/>
                <a:gd name="T24" fmla="*/ 343 w 381"/>
                <a:gd name="T25" fmla="*/ 180 h 393"/>
                <a:gd name="T26" fmla="*/ 326 w 381"/>
                <a:gd name="T27" fmla="*/ 197 h 393"/>
                <a:gd name="T28" fmla="*/ 321 w 381"/>
                <a:gd name="T29" fmla="*/ 208 h 393"/>
                <a:gd name="T30" fmla="*/ 299 w 381"/>
                <a:gd name="T31" fmla="*/ 191 h 393"/>
                <a:gd name="T32" fmla="*/ 288 w 381"/>
                <a:gd name="T33" fmla="*/ 159 h 393"/>
                <a:gd name="T34" fmla="*/ 277 w 381"/>
                <a:gd name="T35" fmla="*/ 153 h 393"/>
                <a:gd name="T36" fmla="*/ 272 w 381"/>
                <a:gd name="T37" fmla="*/ 148 h 393"/>
                <a:gd name="T38" fmla="*/ 261 w 381"/>
                <a:gd name="T39" fmla="*/ 159 h 393"/>
                <a:gd name="T40" fmla="*/ 261 w 381"/>
                <a:gd name="T41" fmla="*/ 164 h 393"/>
                <a:gd name="T42" fmla="*/ 266 w 381"/>
                <a:gd name="T43" fmla="*/ 186 h 393"/>
                <a:gd name="T44" fmla="*/ 266 w 381"/>
                <a:gd name="T45" fmla="*/ 208 h 393"/>
                <a:gd name="T46" fmla="*/ 261 w 381"/>
                <a:gd name="T47" fmla="*/ 208 h 393"/>
                <a:gd name="T48" fmla="*/ 245 w 381"/>
                <a:gd name="T49" fmla="*/ 224 h 393"/>
                <a:gd name="T50" fmla="*/ 212 w 381"/>
                <a:gd name="T51" fmla="*/ 257 h 393"/>
                <a:gd name="T52" fmla="*/ 174 w 381"/>
                <a:gd name="T53" fmla="*/ 284 h 393"/>
                <a:gd name="T54" fmla="*/ 158 w 381"/>
                <a:gd name="T55" fmla="*/ 301 h 393"/>
                <a:gd name="T56" fmla="*/ 152 w 381"/>
                <a:gd name="T57" fmla="*/ 350 h 393"/>
                <a:gd name="T58" fmla="*/ 141 w 381"/>
                <a:gd name="T59" fmla="*/ 371 h 393"/>
                <a:gd name="T60" fmla="*/ 130 w 381"/>
                <a:gd name="T61" fmla="*/ 388 h 393"/>
                <a:gd name="T62" fmla="*/ 114 w 381"/>
                <a:gd name="T63" fmla="*/ 382 h 393"/>
                <a:gd name="T64" fmla="*/ 87 w 381"/>
                <a:gd name="T65" fmla="*/ 322 h 393"/>
                <a:gd name="T66" fmla="*/ 76 w 381"/>
                <a:gd name="T67" fmla="*/ 295 h 393"/>
                <a:gd name="T68" fmla="*/ 65 w 381"/>
                <a:gd name="T69" fmla="*/ 257 h 393"/>
                <a:gd name="T70" fmla="*/ 60 w 381"/>
                <a:gd name="T71" fmla="*/ 240 h 393"/>
                <a:gd name="T72" fmla="*/ 65 w 381"/>
                <a:gd name="T73" fmla="*/ 202 h 393"/>
                <a:gd name="T74" fmla="*/ 43 w 381"/>
                <a:gd name="T75" fmla="*/ 224 h 393"/>
                <a:gd name="T76" fmla="*/ 16 w 381"/>
                <a:gd name="T77" fmla="*/ 202 h 393"/>
                <a:gd name="T78" fmla="*/ 32 w 381"/>
                <a:gd name="T79" fmla="*/ 191 h 393"/>
                <a:gd name="T80" fmla="*/ 0 w 381"/>
                <a:gd name="T81" fmla="*/ 180 h 393"/>
                <a:gd name="T82" fmla="*/ 16 w 381"/>
                <a:gd name="T83" fmla="*/ 175 h 393"/>
                <a:gd name="T84" fmla="*/ 38 w 381"/>
                <a:gd name="T85" fmla="*/ 175 h 393"/>
                <a:gd name="T86" fmla="*/ 32 w 381"/>
                <a:gd name="T87" fmla="*/ 153 h 393"/>
                <a:gd name="T88" fmla="*/ 21 w 381"/>
                <a:gd name="T89" fmla="*/ 137 h 393"/>
                <a:gd name="T90" fmla="*/ 54 w 381"/>
                <a:gd name="T91" fmla="*/ 126 h 393"/>
                <a:gd name="T92" fmla="*/ 70 w 381"/>
                <a:gd name="T93" fmla="*/ 93 h 393"/>
                <a:gd name="T94" fmla="*/ 81 w 381"/>
                <a:gd name="T95" fmla="*/ 82 h 393"/>
                <a:gd name="T96" fmla="*/ 87 w 381"/>
                <a:gd name="T97" fmla="*/ 71 h 393"/>
                <a:gd name="T98" fmla="*/ 98 w 381"/>
                <a:gd name="T99" fmla="*/ 60 h 393"/>
                <a:gd name="T100" fmla="*/ 87 w 381"/>
                <a:gd name="T101" fmla="*/ 50 h 393"/>
                <a:gd name="T102" fmla="*/ 81 w 381"/>
                <a:gd name="T103" fmla="*/ 39 h 393"/>
                <a:gd name="T104" fmla="*/ 76 w 381"/>
                <a:gd name="T105" fmla="*/ 28 h 393"/>
                <a:gd name="T106" fmla="*/ 81 w 381"/>
                <a:gd name="T107" fmla="*/ 22 h 393"/>
                <a:gd name="T108" fmla="*/ 109 w 381"/>
                <a:gd name="T109" fmla="*/ 22 h 393"/>
                <a:gd name="T110" fmla="*/ 125 w 381"/>
                <a:gd name="T111" fmla="*/ 11 h 393"/>
                <a:gd name="T112" fmla="*/ 158 w 381"/>
                <a:gd name="T113" fmla="*/ 11 h 393"/>
                <a:gd name="T114" fmla="*/ 152 w 381"/>
                <a:gd name="T115" fmla="*/ 28 h 393"/>
                <a:gd name="T116" fmla="*/ 147 w 381"/>
                <a:gd name="T117" fmla="*/ 44 h 393"/>
                <a:gd name="T118" fmla="*/ 147 w 381"/>
                <a:gd name="T119" fmla="*/ 60 h 393"/>
                <a:gd name="T120" fmla="*/ 141 w 381"/>
                <a:gd name="T121" fmla="*/ 66 h 393"/>
                <a:gd name="T122" fmla="*/ 152 w 381"/>
                <a:gd name="T123" fmla="*/ 77 h 39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81"/>
                <a:gd name="T187" fmla="*/ 0 h 393"/>
                <a:gd name="T188" fmla="*/ 381 w 381"/>
                <a:gd name="T189" fmla="*/ 393 h 39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81" h="393">
                  <a:moveTo>
                    <a:pt x="168" y="88"/>
                  </a:moveTo>
                  <a:lnTo>
                    <a:pt x="163" y="99"/>
                  </a:lnTo>
                  <a:lnTo>
                    <a:pt x="158" y="110"/>
                  </a:lnTo>
                  <a:lnTo>
                    <a:pt x="196" y="131"/>
                  </a:lnTo>
                  <a:lnTo>
                    <a:pt x="212" y="131"/>
                  </a:lnTo>
                  <a:lnTo>
                    <a:pt x="223" y="142"/>
                  </a:lnTo>
                  <a:lnTo>
                    <a:pt x="250" y="148"/>
                  </a:lnTo>
                  <a:lnTo>
                    <a:pt x="261" y="148"/>
                  </a:lnTo>
                  <a:lnTo>
                    <a:pt x="261" y="142"/>
                  </a:lnTo>
                  <a:lnTo>
                    <a:pt x="261" y="137"/>
                  </a:lnTo>
                  <a:lnTo>
                    <a:pt x="261" y="126"/>
                  </a:lnTo>
                  <a:lnTo>
                    <a:pt x="272" y="120"/>
                  </a:lnTo>
                  <a:lnTo>
                    <a:pt x="272" y="131"/>
                  </a:lnTo>
                  <a:lnTo>
                    <a:pt x="272" y="137"/>
                  </a:lnTo>
                  <a:lnTo>
                    <a:pt x="283" y="142"/>
                  </a:lnTo>
                  <a:lnTo>
                    <a:pt x="310" y="137"/>
                  </a:lnTo>
                  <a:lnTo>
                    <a:pt x="315" y="131"/>
                  </a:lnTo>
                  <a:lnTo>
                    <a:pt x="310" y="131"/>
                  </a:lnTo>
                  <a:lnTo>
                    <a:pt x="310" y="126"/>
                  </a:lnTo>
                  <a:lnTo>
                    <a:pt x="326" y="120"/>
                  </a:lnTo>
                  <a:lnTo>
                    <a:pt x="343" y="104"/>
                  </a:lnTo>
                  <a:lnTo>
                    <a:pt x="354" y="104"/>
                  </a:lnTo>
                  <a:lnTo>
                    <a:pt x="364" y="99"/>
                  </a:lnTo>
                  <a:lnTo>
                    <a:pt x="364" y="110"/>
                  </a:lnTo>
                  <a:lnTo>
                    <a:pt x="370" y="110"/>
                  </a:lnTo>
                  <a:lnTo>
                    <a:pt x="370" y="115"/>
                  </a:lnTo>
                  <a:lnTo>
                    <a:pt x="375" y="115"/>
                  </a:lnTo>
                  <a:lnTo>
                    <a:pt x="381" y="120"/>
                  </a:lnTo>
                  <a:lnTo>
                    <a:pt x="381" y="126"/>
                  </a:lnTo>
                  <a:lnTo>
                    <a:pt x="375" y="126"/>
                  </a:lnTo>
                  <a:lnTo>
                    <a:pt x="375" y="137"/>
                  </a:lnTo>
                  <a:lnTo>
                    <a:pt x="364" y="137"/>
                  </a:lnTo>
                  <a:lnTo>
                    <a:pt x="354" y="142"/>
                  </a:lnTo>
                  <a:lnTo>
                    <a:pt x="354" y="153"/>
                  </a:lnTo>
                  <a:lnTo>
                    <a:pt x="348" y="164"/>
                  </a:lnTo>
                  <a:lnTo>
                    <a:pt x="343" y="180"/>
                  </a:lnTo>
                  <a:lnTo>
                    <a:pt x="326" y="186"/>
                  </a:lnTo>
                  <a:lnTo>
                    <a:pt x="326" y="197"/>
                  </a:lnTo>
                  <a:lnTo>
                    <a:pt x="326" y="208"/>
                  </a:lnTo>
                  <a:lnTo>
                    <a:pt x="321" y="208"/>
                  </a:lnTo>
                  <a:lnTo>
                    <a:pt x="315" y="186"/>
                  </a:lnTo>
                  <a:lnTo>
                    <a:pt x="305" y="191"/>
                  </a:lnTo>
                  <a:lnTo>
                    <a:pt x="299" y="191"/>
                  </a:lnTo>
                  <a:lnTo>
                    <a:pt x="299" y="180"/>
                  </a:lnTo>
                  <a:lnTo>
                    <a:pt x="315" y="164"/>
                  </a:lnTo>
                  <a:lnTo>
                    <a:pt x="288" y="159"/>
                  </a:lnTo>
                  <a:lnTo>
                    <a:pt x="283" y="159"/>
                  </a:lnTo>
                  <a:lnTo>
                    <a:pt x="277" y="148"/>
                  </a:lnTo>
                  <a:lnTo>
                    <a:pt x="277" y="153"/>
                  </a:lnTo>
                  <a:lnTo>
                    <a:pt x="272" y="148"/>
                  </a:lnTo>
                  <a:lnTo>
                    <a:pt x="266" y="142"/>
                  </a:lnTo>
                  <a:lnTo>
                    <a:pt x="261" y="153"/>
                  </a:lnTo>
                  <a:lnTo>
                    <a:pt x="261" y="159"/>
                  </a:lnTo>
                  <a:lnTo>
                    <a:pt x="266" y="159"/>
                  </a:lnTo>
                  <a:lnTo>
                    <a:pt x="266" y="164"/>
                  </a:lnTo>
                  <a:lnTo>
                    <a:pt x="261" y="164"/>
                  </a:lnTo>
                  <a:lnTo>
                    <a:pt x="261" y="170"/>
                  </a:lnTo>
                  <a:lnTo>
                    <a:pt x="266" y="175"/>
                  </a:lnTo>
                  <a:lnTo>
                    <a:pt x="266" y="186"/>
                  </a:lnTo>
                  <a:lnTo>
                    <a:pt x="272" y="213"/>
                  </a:lnTo>
                  <a:lnTo>
                    <a:pt x="266" y="208"/>
                  </a:lnTo>
                  <a:lnTo>
                    <a:pt x="266" y="213"/>
                  </a:lnTo>
                  <a:lnTo>
                    <a:pt x="261" y="213"/>
                  </a:lnTo>
                  <a:lnTo>
                    <a:pt x="261" y="208"/>
                  </a:lnTo>
                  <a:lnTo>
                    <a:pt x="261" y="213"/>
                  </a:lnTo>
                  <a:lnTo>
                    <a:pt x="245" y="219"/>
                  </a:lnTo>
                  <a:lnTo>
                    <a:pt x="245" y="224"/>
                  </a:lnTo>
                  <a:lnTo>
                    <a:pt x="239" y="235"/>
                  </a:lnTo>
                  <a:lnTo>
                    <a:pt x="223" y="246"/>
                  </a:lnTo>
                  <a:lnTo>
                    <a:pt x="212" y="257"/>
                  </a:lnTo>
                  <a:lnTo>
                    <a:pt x="185" y="273"/>
                  </a:lnTo>
                  <a:lnTo>
                    <a:pt x="185" y="284"/>
                  </a:lnTo>
                  <a:lnTo>
                    <a:pt x="174" y="284"/>
                  </a:lnTo>
                  <a:lnTo>
                    <a:pt x="168" y="295"/>
                  </a:lnTo>
                  <a:lnTo>
                    <a:pt x="163" y="295"/>
                  </a:lnTo>
                  <a:lnTo>
                    <a:pt x="158" y="301"/>
                  </a:lnTo>
                  <a:lnTo>
                    <a:pt x="158" y="322"/>
                  </a:lnTo>
                  <a:lnTo>
                    <a:pt x="163" y="328"/>
                  </a:lnTo>
                  <a:lnTo>
                    <a:pt x="152" y="350"/>
                  </a:lnTo>
                  <a:lnTo>
                    <a:pt x="152" y="366"/>
                  </a:lnTo>
                  <a:lnTo>
                    <a:pt x="147" y="366"/>
                  </a:lnTo>
                  <a:lnTo>
                    <a:pt x="141" y="371"/>
                  </a:lnTo>
                  <a:lnTo>
                    <a:pt x="141" y="377"/>
                  </a:lnTo>
                  <a:lnTo>
                    <a:pt x="130" y="382"/>
                  </a:lnTo>
                  <a:lnTo>
                    <a:pt x="130" y="388"/>
                  </a:lnTo>
                  <a:lnTo>
                    <a:pt x="125" y="393"/>
                  </a:lnTo>
                  <a:lnTo>
                    <a:pt x="114" y="382"/>
                  </a:lnTo>
                  <a:lnTo>
                    <a:pt x="103" y="350"/>
                  </a:lnTo>
                  <a:lnTo>
                    <a:pt x="92" y="339"/>
                  </a:lnTo>
                  <a:lnTo>
                    <a:pt x="87" y="322"/>
                  </a:lnTo>
                  <a:lnTo>
                    <a:pt x="81" y="301"/>
                  </a:lnTo>
                  <a:lnTo>
                    <a:pt x="81" y="295"/>
                  </a:lnTo>
                  <a:lnTo>
                    <a:pt x="76" y="295"/>
                  </a:lnTo>
                  <a:lnTo>
                    <a:pt x="76" y="290"/>
                  </a:lnTo>
                  <a:lnTo>
                    <a:pt x="70" y="284"/>
                  </a:lnTo>
                  <a:lnTo>
                    <a:pt x="65" y="257"/>
                  </a:lnTo>
                  <a:lnTo>
                    <a:pt x="65" y="246"/>
                  </a:lnTo>
                  <a:lnTo>
                    <a:pt x="60" y="240"/>
                  </a:lnTo>
                  <a:lnTo>
                    <a:pt x="65" y="230"/>
                  </a:lnTo>
                  <a:lnTo>
                    <a:pt x="60" y="208"/>
                  </a:lnTo>
                  <a:lnTo>
                    <a:pt x="65" y="202"/>
                  </a:lnTo>
                  <a:lnTo>
                    <a:pt x="54" y="202"/>
                  </a:lnTo>
                  <a:lnTo>
                    <a:pt x="54" y="219"/>
                  </a:lnTo>
                  <a:lnTo>
                    <a:pt x="43" y="224"/>
                  </a:lnTo>
                  <a:lnTo>
                    <a:pt x="32" y="224"/>
                  </a:lnTo>
                  <a:lnTo>
                    <a:pt x="16" y="208"/>
                  </a:lnTo>
                  <a:lnTo>
                    <a:pt x="16" y="202"/>
                  </a:lnTo>
                  <a:lnTo>
                    <a:pt x="27" y="202"/>
                  </a:lnTo>
                  <a:lnTo>
                    <a:pt x="32" y="197"/>
                  </a:lnTo>
                  <a:lnTo>
                    <a:pt x="32" y="191"/>
                  </a:lnTo>
                  <a:lnTo>
                    <a:pt x="21" y="197"/>
                  </a:lnTo>
                  <a:lnTo>
                    <a:pt x="16" y="197"/>
                  </a:lnTo>
                  <a:lnTo>
                    <a:pt x="0" y="180"/>
                  </a:lnTo>
                  <a:lnTo>
                    <a:pt x="5" y="180"/>
                  </a:lnTo>
                  <a:lnTo>
                    <a:pt x="11" y="180"/>
                  </a:lnTo>
                  <a:lnTo>
                    <a:pt x="16" y="175"/>
                  </a:lnTo>
                  <a:lnTo>
                    <a:pt x="27" y="175"/>
                  </a:lnTo>
                  <a:lnTo>
                    <a:pt x="32" y="175"/>
                  </a:lnTo>
                  <a:lnTo>
                    <a:pt x="38" y="175"/>
                  </a:lnTo>
                  <a:lnTo>
                    <a:pt x="43" y="175"/>
                  </a:lnTo>
                  <a:lnTo>
                    <a:pt x="38" y="159"/>
                  </a:lnTo>
                  <a:lnTo>
                    <a:pt x="32" y="153"/>
                  </a:lnTo>
                  <a:lnTo>
                    <a:pt x="32" y="142"/>
                  </a:lnTo>
                  <a:lnTo>
                    <a:pt x="21" y="142"/>
                  </a:lnTo>
                  <a:lnTo>
                    <a:pt x="21" y="137"/>
                  </a:lnTo>
                  <a:lnTo>
                    <a:pt x="32" y="120"/>
                  </a:lnTo>
                  <a:lnTo>
                    <a:pt x="38" y="126"/>
                  </a:lnTo>
                  <a:lnTo>
                    <a:pt x="54" y="126"/>
                  </a:lnTo>
                  <a:lnTo>
                    <a:pt x="60" y="115"/>
                  </a:lnTo>
                  <a:lnTo>
                    <a:pt x="65" y="110"/>
                  </a:lnTo>
                  <a:lnTo>
                    <a:pt x="70" y="93"/>
                  </a:lnTo>
                  <a:lnTo>
                    <a:pt x="76" y="93"/>
                  </a:lnTo>
                  <a:lnTo>
                    <a:pt x="76" y="88"/>
                  </a:lnTo>
                  <a:lnTo>
                    <a:pt x="81" y="82"/>
                  </a:lnTo>
                  <a:lnTo>
                    <a:pt x="92" y="77"/>
                  </a:lnTo>
                  <a:lnTo>
                    <a:pt x="87" y="77"/>
                  </a:lnTo>
                  <a:lnTo>
                    <a:pt x="87" y="71"/>
                  </a:lnTo>
                  <a:lnTo>
                    <a:pt x="87" y="66"/>
                  </a:lnTo>
                  <a:lnTo>
                    <a:pt x="98" y="60"/>
                  </a:lnTo>
                  <a:lnTo>
                    <a:pt x="98" y="55"/>
                  </a:lnTo>
                  <a:lnTo>
                    <a:pt x="87" y="55"/>
                  </a:lnTo>
                  <a:lnTo>
                    <a:pt x="87" y="50"/>
                  </a:lnTo>
                  <a:lnTo>
                    <a:pt x="81" y="50"/>
                  </a:lnTo>
                  <a:lnTo>
                    <a:pt x="81" y="44"/>
                  </a:lnTo>
                  <a:lnTo>
                    <a:pt x="81" y="39"/>
                  </a:lnTo>
                  <a:lnTo>
                    <a:pt x="81" y="33"/>
                  </a:lnTo>
                  <a:lnTo>
                    <a:pt x="76" y="28"/>
                  </a:lnTo>
                  <a:lnTo>
                    <a:pt x="81" y="28"/>
                  </a:lnTo>
                  <a:lnTo>
                    <a:pt x="76" y="28"/>
                  </a:lnTo>
                  <a:lnTo>
                    <a:pt x="81" y="22"/>
                  </a:lnTo>
                  <a:lnTo>
                    <a:pt x="81" y="17"/>
                  </a:lnTo>
                  <a:lnTo>
                    <a:pt x="98" y="22"/>
                  </a:lnTo>
                  <a:lnTo>
                    <a:pt x="109" y="22"/>
                  </a:lnTo>
                  <a:lnTo>
                    <a:pt x="114" y="22"/>
                  </a:lnTo>
                  <a:lnTo>
                    <a:pt x="119" y="17"/>
                  </a:lnTo>
                  <a:lnTo>
                    <a:pt x="125" y="11"/>
                  </a:lnTo>
                  <a:lnTo>
                    <a:pt x="147" y="0"/>
                  </a:lnTo>
                  <a:lnTo>
                    <a:pt x="158" y="6"/>
                  </a:lnTo>
                  <a:lnTo>
                    <a:pt x="158" y="11"/>
                  </a:lnTo>
                  <a:lnTo>
                    <a:pt x="163" y="11"/>
                  </a:lnTo>
                  <a:lnTo>
                    <a:pt x="158" y="22"/>
                  </a:lnTo>
                  <a:lnTo>
                    <a:pt x="152" y="28"/>
                  </a:lnTo>
                  <a:lnTo>
                    <a:pt x="152" y="33"/>
                  </a:lnTo>
                  <a:lnTo>
                    <a:pt x="141" y="33"/>
                  </a:lnTo>
                  <a:lnTo>
                    <a:pt x="147" y="44"/>
                  </a:lnTo>
                  <a:lnTo>
                    <a:pt x="152" y="44"/>
                  </a:lnTo>
                  <a:lnTo>
                    <a:pt x="152" y="55"/>
                  </a:lnTo>
                  <a:lnTo>
                    <a:pt x="147" y="60"/>
                  </a:lnTo>
                  <a:lnTo>
                    <a:pt x="141" y="55"/>
                  </a:lnTo>
                  <a:lnTo>
                    <a:pt x="136" y="55"/>
                  </a:lnTo>
                  <a:lnTo>
                    <a:pt x="141" y="66"/>
                  </a:lnTo>
                  <a:lnTo>
                    <a:pt x="141" y="71"/>
                  </a:lnTo>
                  <a:lnTo>
                    <a:pt x="147" y="77"/>
                  </a:lnTo>
                  <a:lnTo>
                    <a:pt x="152" y="77"/>
                  </a:lnTo>
                  <a:lnTo>
                    <a:pt x="168" y="8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7" name="Freeform 759"/>
            <p:cNvSpPr>
              <a:spLocks/>
            </p:cNvSpPr>
            <p:nvPr/>
          </p:nvSpPr>
          <p:spPr bwMode="auto">
            <a:xfrm>
              <a:off x="3874" y="2816"/>
              <a:ext cx="5" cy="28"/>
            </a:xfrm>
            <a:custGeom>
              <a:avLst/>
              <a:gdLst>
                <a:gd name="T0" fmla="*/ 5 w 5"/>
                <a:gd name="T1" fmla="*/ 0 h 28"/>
                <a:gd name="T2" fmla="*/ 0 w 5"/>
                <a:gd name="T3" fmla="*/ 22 h 28"/>
                <a:gd name="T4" fmla="*/ 0 w 5"/>
                <a:gd name="T5" fmla="*/ 28 h 28"/>
                <a:gd name="T6" fmla="*/ 5 w 5"/>
                <a:gd name="T7" fmla="*/ 0 h 28"/>
                <a:gd name="T8" fmla="*/ 5 w 5"/>
                <a:gd name="T9" fmla="*/ 0 h 28"/>
                <a:gd name="T10" fmla="*/ 0 60000 65536"/>
                <a:gd name="T11" fmla="*/ 0 60000 65536"/>
                <a:gd name="T12" fmla="*/ 0 60000 65536"/>
                <a:gd name="T13" fmla="*/ 0 60000 65536"/>
                <a:gd name="T14" fmla="*/ 0 60000 65536"/>
                <a:gd name="T15" fmla="*/ 0 w 5"/>
                <a:gd name="T16" fmla="*/ 0 h 28"/>
                <a:gd name="T17" fmla="*/ 5 w 5"/>
                <a:gd name="T18" fmla="*/ 28 h 28"/>
              </a:gdLst>
              <a:ahLst/>
              <a:cxnLst>
                <a:cxn ang="T10">
                  <a:pos x="T0" y="T1"/>
                </a:cxn>
                <a:cxn ang="T11">
                  <a:pos x="T2" y="T3"/>
                </a:cxn>
                <a:cxn ang="T12">
                  <a:pos x="T4" y="T5"/>
                </a:cxn>
                <a:cxn ang="T13">
                  <a:pos x="T6" y="T7"/>
                </a:cxn>
                <a:cxn ang="T14">
                  <a:pos x="T8" y="T9"/>
                </a:cxn>
              </a:cxnLst>
              <a:rect l="T15" t="T16" r="T17" b="T18"/>
              <a:pathLst>
                <a:path w="5" h="28">
                  <a:moveTo>
                    <a:pt x="5" y="0"/>
                  </a:moveTo>
                  <a:lnTo>
                    <a:pt x="0" y="22"/>
                  </a:lnTo>
                  <a:lnTo>
                    <a:pt x="0" y="28"/>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8" name="Freeform 760"/>
            <p:cNvSpPr>
              <a:spLocks/>
            </p:cNvSpPr>
            <p:nvPr/>
          </p:nvSpPr>
          <p:spPr bwMode="auto">
            <a:xfrm>
              <a:off x="3885" y="2898"/>
              <a:ext cx="5" cy="6"/>
            </a:xfrm>
            <a:custGeom>
              <a:avLst/>
              <a:gdLst>
                <a:gd name="T0" fmla="*/ 5 w 5"/>
                <a:gd name="T1" fmla="*/ 0 h 6"/>
                <a:gd name="T2" fmla="*/ 0 w 5"/>
                <a:gd name="T3" fmla="*/ 0 h 6"/>
                <a:gd name="T4" fmla="*/ 0 w 5"/>
                <a:gd name="T5" fmla="*/ 6 h 6"/>
                <a:gd name="T6" fmla="*/ 5 w 5"/>
                <a:gd name="T7" fmla="*/ 0 h 6"/>
                <a:gd name="T8" fmla="*/ 5 w 5"/>
                <a:gd name="T9" fmla="*/ 0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5" y="0"/>
                  </a:moveTo>
                  <a:lnTo>
                    <a:pt x="0" y="0"/>
                  </a:lnTo>
                  <a:lnTo>
                    <a:pt x="0" y="6"/>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39" name="Freeform 761"/>
            <p:cNvSpPr>
              <a:spLocks/>
            </p:cNvSpPr>
            <p:nvPr/>
          </p:nvSpPr>
          <p:spPr bwMode="auto">
            <a:xfrm>
              <a:off x="3809" y="2205"/>
              <a:ext cx="408" cy="197"/>
            </a:xfrm>
            <a:custGeom>
              <a:avLst/>
              <a:gdLst>
                <a:gd name="T0" fmla="*/ 0 w 408"/>
                <a:gd name="T1" fmla="*/ 60 h 197"/>
                <a:gd name="T2" fmla="*/ 5 w 408"/>
                <a:gd name="T3" fmla="*/ 71 h 197"/>
                <a:gd name="T4" fmla="*/ 16 w 408"/>
                <a:gd name="T5" fmla="*/ 82 h 197"/>
                <a:gd name="T6" fmla="*/ 32 w 408"/>
                <a:gd name="T7" fmla="*/ 88 h 197"/>
                <a:gd name="T8" fmla="*/ 32 w 408"/>
                <a:gd name="T9" fmla="*/ 88 h 197"/>
                <a:gd name="T10" fmla="*/ 38 w 408"/>
                <a:gd name="T11" fmla="*/ 109 h 197"/>
                <a:gd name="T12" fmla="*/ 38 w 408"/>
                <a:gd name="T13" fmla="*/ 126 h 197"/>
                <a:gd name="T14" fmla="*/ 38 w 408"/>
                <a:gd name="T15" fmla="*/ 131 h 197"/>
                <a:gd name="T16" fmla="*/ 59 w 408"/>
                <a:gd name="T17" fmla="*/ 137 h 197"/>
                <a:gd name="T18" fmla="*/ 70 w 408"/>
                <a:gd name="T19" fmla="*/ 137 h 197"/>
                <a:gd name="T20" fmla="*/ 98 w 408"/>
                <a:gd name="T21" fmla="*/ 148 h 197"/>
                <a:gd name="T22" fmla="*/ 108 w 408"/>
                <a:gd name="T23" fmla="*/ 164 h 197"/>
                <a:gd name="T24" fmla="*/ 119 w 408"/>
                <a:gd name="T25" fmla="*/ 180 h 197"/>
                <a:gd name="T26" fmla="*/ 168 w 408"/>
                <a:gd name="T27" fmla="*/ 175 h 197"/>
                <a:gd name="T28" fmla="*/ 190 w 408"/>
                <a:gd name="T29" fmla="*/ 186 h 197"/>
                <a:gd name="T30" fmla="*/ 223 w 408"/>
                <a:gd name="T31" fmla="*/ 197 h 197"/>
                <a:gd name="T32" fmla="*/ 255 w 408"/>
                <a:gd name="T33" fmla="*/ 186 h 197"/>
                <a:gd name="T34" fmla="*/ 272 w 408"/>
                <a:gd name="T35" fmla="*/ 186 h 197"/>
                <a:gd name="T36" fmla="*/ 288 w 408"/>
                <a:gd name="T37" fmla="*/ 180 h 197"/>
                <a:gd name="T38" fmla="*/ 315 w 408"/>
                <a:gd name="T39" fmla="*/ 158 h 197"/>
                <a:gd name="T40" fmla="*/ 304 w 408"/>
                <a:gd name="T41" fmla="*/ 148 h 197"/>
                <a:gd name="T42" fmla="*/ 315 w 408"/>
                <a:gd name="T43" fmla="*/ 137 h 197"/>
                <a:gd name="T44" fmla="*/ 315 w 408"/>
                <a:gd name="T45" fmla="*/ 137 h 197"/>
                <a:gd name="T46" fmla="*/ 332 w 408"/>
                <a:gd name="T47" fmla="*/ 142 h 197"/>
                <a:gd name="T48" fmla="*/ 348 w 408"/>
                <a:gd name="T49" fmla="*/ 126 h 197"/>
                <a:gd name="T50" fmla="*/ 359 w 408"/>
                <a:gd name="T51" fmla="*/ 126 h 197"/>
                <a:gd name="T52" fmla="*/ 375 w 408"/>
                <a:gd name="T53" fmla="*/ 109 h 197"/>
                <a:gd name="T54" fmla="*/ 408 w 408"/>
                <a:gd name="T55" fmla="*/ 104 h 197"/>
                <a:gd name="T56" fmla="*/ 408 w 408"/>
                <a:gd name="T57" fmla="*/ 98 h 197"/>
                <a:gd name="T58" fmla="*/ 402 w 408"/>
                <a:gd name="T59" fmla="*/ 93 h 197"/>
                <a:gd name="T60" fmla="*/ 391 w 408"/>
                <a:gd name="T61" fmla="*/ 82 h 197"/>
                <a:gd name="T62" fmla="*/ 375 w 408"/>
                <a:gd name="T63" fmla="*/ 88 h 197"/>
                <a:gd name="T64" fmla="*/ 359 w 408"/>
                <a:gd name="T65" fmla="*/ 88 h 197"/>
                <a:gd name="T66" fmla="*/ 359 w 408"/>
                <a:gd name="T67" fmla="*/ 82 h 197"/>
                <a:gd name="T68" fmla="*/ 359 w 408"/>
                <a:gd name="T69" fmla="*/ 60 h 197"/>
                <a:gd name="T70" fmla="*/ 370 w 408"/>
                <a:gd name="T71" fmla="*/ 44 h 197"/>
                <a:gd name="T72" fmla="*/ 359 w 408"/>
                <a:gd name="T73" fmla="*/ 44 h 197"/>
                <a:gd name="T74" fmla="*/ 348 w 408"/>
                <a:gd name="T75" fmla="*/ 38 h 197"/>
                <a:gd name="T76" fmla="*/ 326 w 408"/>
                <a:gd name="T77" fmla="*/ 49 h 197"/>
                <a:gd name="T78" fmla="*/ 299 w 408"/>
                <a:gd name="T79" fmla="*/ 60 h 197"/>
                <a:gd name="T80" fmla="*/ 288 w 408"/>
                <a:gd name="T81" fmla="*/ 55 h 197"/>
                <a:gd name="T82" fmla="*/ 272 w 408"/>
                <a:gd name="T83" fmla="*/ 55 h 197"/>
                <a:gd name="T84" fmla="*/ 261 w 408"/>
                <a:gd name="T85" fmla="*/ 44 h 197"/>
                <a:gd name="T86" fmla="*/ 234 w 408"/>
                <a:gd name="T87" fmla="*/ 33 h 197"/>
                <a:gd name="T88" fmla="*/ 223 w 408"/>
                <a:gd name="T89" fmla="*/ 27 h 197"/>
                <a:gd name="T90" fmla="*/ 206 w 408"/>
                <a:gd name="T91" fmla="*/ 38 h 197"/>
                <a:gd name="T92" fmla="*/ 195 w 408"/>
                <a:gd name="T93" fmla="*/ 33 h 197"/>
                <a:gd name="T94" fmla="*/ 185 w 408"/>
                <a:gd name="T95" fmla="*/ 27 h 197"/>
                <a:gd name="T96" fmla="*/ 185 w 408"/>
                <a:gd name="T97" fmla="*/ 11 h 197"/>
                <a:gd name="T98" fmla="*/ 146 w 408"/>
                <a:gd name="T99" fmla="*/ 0 h 197"/>
                <a:gd name="T100" fmla="*/ 130 w 408"/>
                <a:gd name="T101" fmla="*/ 11 h 197"/>
                <a:gd name="T102" fmla="*/ 136 w 408"/>
                <a:gd name="T103" fmla="*/ 27 h 197"/>
                <a:gd name="T104" fmla="*/ 130 w 408"/>
                <a:gd name="T105" fmla="*/ 33 h 197"/>
                <a:gd name="T106" fmla="*/ 136 w 408"/>
                <a:gd name="T107" fmla="*/ 38 h 197"/>
                <a:gd name="T108" fmla="*/ 130 w 408"/>
                <a:gd name="T109" fmla="*/ 44 h 197"/>
                <a:gd name="T110" fmla="*/ 92 w 408"/>
                <a:gd name="T111" fmla="*/ 44 h 197"/>
                <a:gd name="T112" fmla="*/ 87 w 408"/>
                <a:gd name="T113" fmla="*/ 33 h 197"/>
                <a:gd name="T114" fmla="*/ 54 w 408"/>
                <a:gd name="T115" fmla="*/ 27 h 197"/>
                <a:gd name="T116" fmla="*/ 38 w 408"/>
                <a:gd name="T117" fmla="*/ 33 h 197"/>
                <a:gd name="T118" fmla="*/ 5 w 408"/>
                <a:gd name="T119" fmla="*/ 55 h 197"/>
                <a:gd name="T120" fmla="*/ 0 w 408"/>
                <a:gd name="T121" fmla="*/ 60 h 197"/>
                <a:gd name="T122" fmla="*/ 0 w 408"/>
                <a:gd name="T123" fmla="*/ 60 h 19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8"/>
                <a:gd name="T187" fmla="*/ 0 h 197"/>
                <a:gd name="T188" fmla="*/ 408 w 408"/>
                <a:gd name="T189" fmla="*/ 197 h 19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8" h="197">
                  <a:moveTo>
                    <a:pt x="0" y="60"/>
                  </a:moveTo>
                  <a:lnTo>
                    <a:pt x="5" y="71"/>
                  </a:lnTo>
                  <a:lnTo>
                    <a:pt x="16" y="82"/>
                  </a:lnTo>
                  <a:lnTo>
                    <a:pt x="32" y="88"/>
                  </a:lnTo>
                  <a:lnTo>
                    <a:pt x="38" y="109"/>
                  </a:lnTo>
                  <a:lnTo>
                    <a:pt x="38" y="126"/>
                  </a:lnTo>
                  <a:lnTo>
                    <a:pt x="38" y="131"/>
                  </a:lnTo>
                  <a:lnTo>
                    <a:pt x="59" y="137"/>
                  </a:lnTo>
                  <a:lnTo>
                    <a:pt x="70" y="137"/>
                  </a:lnTo>
                  <a:lnTo>
                    <a:pt x="98" y="148"/>
                  </a:lnTo>
                  <a:lnTo>
                    <a:pt x="108" y="164"/>
                  </a:lnTo>
                  <a:lnTo>
                    <a:pt x="119" y="180"/>
                  </a:lnTo>
                  <a:lnTo>
                    <a:pt x="168" y="175"/>
                  </a:lnTo>
                  <a:lnTo>
                    <a:pt x="190" y="186"/>
                  </a:lnTo>
                  <a:lnTo>
                    <a:pt x="223" y="197"/>
                  </a:lnTo>
                  <a:lnTo>
                    <a:pt x="255" y="186"/>
                  </a:lnTo>
                  <a:lnTo>
                    <a:pt x="272" y="186"/>
                  </a:lnTo>
                  <a:lnTo>
                    <a:pt x="288" y="180"/>
                  </a:lnTo>
                  <a:lnTo>
                    <a:pt x="315" y="158"/>
                  </a:lnTo>
                  <a:lnTo>
                    <a:pt x="304" y="148"/>
                  </a:lnTo>
                  <a:lnTo>
                    <a:pt x="315" y="137"/>
                  </a:lnTo>
                  <a:lnTo>
                    <a:pt x="332" y="142"/>
                  </a:lnTo>
                  <a:lnTo>
                    <a:pt x="348" y="126"/>
                  </a:lnTo>
                  <a:lnTo>
                    <a:pt x="359" y="126"/>
                  </a:lnTo>
                  <a:lnTo>
                    <a:pt x="375" y="109"/>
                  </a:lnTo>
                  <a:lnTo>
                    <a:pt x="408" y="104"/>
                  </a:lnTo>
                  <a:lnTo>
                    <a:pt x="408" y="98"/>
                  </a:lnTo>
                  <a:lnTo>
                    <a:pt x="402" y="93"/>
                  </a:lnTo>
                  <a:lnTo>
                    <a:pt x="391" y="82"/>
                  </a:lnTo>
                  <a:lnTo>
                    <a:pt x="375" y="88"/>
                  </a:lnTo>
                  <a:lnTo>
                    <a:pt x="359" y="88"/>
                  </a:lnTo>
                  <a:lnTo>
                    <a:pt x="359" y="82"/>
                  </a:lnTo>
                  <a:lnTo>
                    <a:pt x="359" y="60"/>
                  </a:lnTo>
                  <a:lnTo>
                    <a:pt x="370" y="44"/>
                  </a:lnTo>
                  <a:lnTo>
                    <a:pt x="359" y="44"/>
                  </a:lnTo>
                  <a:lnTo>
                    <a:pt x="348" y="38"/>
                  </a:lnTo>
                  <a:lnTo>
                    <a:pt x="326" y="49"/>
                  </a:lnTo>
                  <a:lnTo>
                    <a:pt x="299" y="60"/>
                  </a:lnTo>
                  <a:lnTo>
                    <a:pt x="288" y="55"/>
                  </a:lnTo>
                  <a:lnTo>
                    <a:pt x="272" y="55"/>
                  </a:lnTo>
                  <a:lnTo>
                    <a:pt x="261" y="44"/>
                  </a:lnTo>
                  <a:lnTo>
                    <a:pt x="234" y="33"/>
                  </a:lnTo>
                  <a:lnTo>
                    <a:pt x="223" y="27"/>
                  </a:lnTo>
                  <a:lnTo>
                    <a:pt x="206" y="38"/>
                  </a:lnTo>
                  <a:lnTo>
                    <a:pt x="195" y="33"/>
                  </a:lnTo>
                  <a:lnTo>
                    <a:pt x="185" y="27"/>
                  </a:lnTo>
                  <a:lnTo>
                    <a:pt x="185" y="11"/>
                  </a:lnTo>
                  <a:lnTo>
                    <a:pt x="146" y="0"/>
                  </a:lnTo>
                  <a:lnTo>
                    <a:pt x="130" y="11"/>
                  </a:lnTo>
                  <a:lnTo>
                    <a:pt x="136" y="27"/>
                  </a:lnTo>
                  <a:lnTo>
                    <a:pt x="130" y="33"/>
                  </a:lnTo>
                  <a:lnTo>
                    <a:pt x="136" y="38"/>
                  </a:lnTo>
                  <a:lnTo>
                    <a:pt x="130" y="44"/>
                  </a:lnTo>
                  <a:lnTo>
                    <a:pt x="92" y="44"/>
                  </a:lnTo>
                  <a:lnTo>
                    <a:pt x="87" y="33"/>
                  </a:lnTo>
                  <a:lnTo>
                    <a:pt x="54" y="27"/>
                  </a:lnTo>
                  <a:lnTo>
                    <a:pt x="38" y="33"/>
                  </a:lnTo>
                  <a:lnTo>
                    <a:pt x="5" y="55"/>
                  </a:lnTo>
                  <a:lnTo>
                    <a:pt x="0"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40" name="Freeform 762"/>
            <p:cNvSpPr>
              <a:spLocks/>
            </p:cNvSpPr>
            <p:nvPr/>
          </p:nvSpPr>
          <p:spPr bwMode="auto">
            <a:xfrm>
              <a:off x="2981" y="2025"/>
              <a:ext cx="66" cy="55"/>
            </a:xfrm>
            <a:custGeom>
              <a:avLst/>
              <a:gdLst>
                <a:gd name="T0" fmla="*/ 55 w 66"/>
                <a:gd name="T1" fmla="*/ 55 h 55"/>
                <a:gd name="T2" fmla="*/ 55 w 66"/>
                <a:gd name="T3" fmla="*/ 55 h 55"/>
                <a:gd name="T4" fmla="*/ 60 w 66"/>
                <a:gd name="T5" fmla="*/ 49 h 55"/>
                <a:gd name="T6" fmla="*/ 55 w 66"/>
                <a:gd name="T7" fmla="*/ 44 h 55"/>
                <a:gd name="T8" fmla="*/ 55 w 66"/>
                <a:gd name="T9" fmla="*/ 44 h 55"/>
                <a:gd name="T10" fmla="*/ 55 w 66"/>
                <a:gd name="T11" fmla="*/ 38 h 55"/>
                <a:gd name="T12" fmla="*/ 49 w 66"/>
                <a:gd name="T13" fmla="*/ 38 h 55"/>
                <a:gd name="T14" fmla="*/ 49 w 66"/>
                <a:gd name="T15" fmla="*/ 22 h 55"/>
                <a:gd name="T16" fmla="*/ 60 w 66"/>
                <a:gd name="T17" fmla="*/ 22 h 55"/>
                <a:gd name="T18" fmla="*/ 66 w 66"/>
                <a:gd name="T19" fmla="*/ 11 h 55"/>
                <a:gd name="T20" fmla="*/ 66 w 66"/>
                <a:gd name="T21" fmla="*/ 6 h 55"/>
                <a:gd name="T22" fmla="*/ 60 w 66"/>
                <a:gd name="T23" fmla="*/ 0 h 55"/>
                <a:gd name="T24" fmla="*/ 60 w 66"/>
                <a:gd name="T25" fmla="*/ 11 h 55"/>
                <a:gd name="T26" fmla="*/ 55 w 66"/>
                <a:gd name="T27" fmla="*/ 11 h 55"/>
                <a:gd name="T28" fmla="*/ 27 w 66"/>
                <a:gd name="T29" fmla="*/ 6 h 55"/>
                <a:gd name="T30" fmla="*/ 0 w 66"/>
                <a:gd name="T31" fmla="*/ 16 h 55"/>
                <a:gd name="T32" fmla="*/ 0 w 66"/>
                <a:gd name="T33" fmla="*/ 27 h 55"/>
                <a:gd name="T34" fmla="*/ 6 w 66"/>
                <a:gd name="T35" fmla="*/ 27 h 55"/>
                <a:gd name="T36" fmla="*/ 0 w 66"/>
                <a:gd name="T37" fmla="*/ 27 h 55"/>
                <a:gd name="T38" fmla="*/ 6 w 66"/>
                <a:gd name="T39" fmla="*/ 38 h 55"/>
                <a:gd name="T40" fmla="*/ 17 w 66"/>
                <a:gd name="T41" fmla="*/ 38 h 55"/>
                <a:gd name="T42" fmla="*/ 11 w 66"/>
                <a:gd name="T43" fmla="*/ 49 h 55"/>
                <a:gd name="T44" fmla="*/ 27 w 66"/>
                <a:gd name="T45" fmla="*/ 44 h 55"/>
                <a:gd name="T46" fmla="*/ 38 w 66"/>
                <a:gd name="T47" fmla="*/ 49 h 55"/>
                <a:gd name="T48" fmla="*/ 44 w 66"/>
                <a:gd name="T49" fmla="*/ 55 h 55"/>
                <a:gd name="T50" fmla="*/ 49 w 66"/>
                <a:gd name="T51" fmla="*/ 55 h 55"/>
                <a:gd name="T52" fmla="*/ 55 w 66"/>
                <a:gd name="T53" fmla="*/ 55 h 55"/>
                <a:gd name="T54" fmla="*/ 55 w 66"/>
                <a:gd name="T55" fmla="*/ 55 h 5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
                <a:gd name="T85" fmla="*/ 0 h 55"/>
                <a:gd name="T86" fmla="*/ 66 w 66"/>
                <a:gd name="T87" fmla="*/ 55 h 5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 h="55">
                  <a:moveTo>
                    <a:pt x="55" y="55"/>
                  </a:moveTo>
                  <a:lnTo>
                    <a:pt x="55" y="55"/>
                  </a:lnTo>
                  <a:lnTo>
                    <a:pt x="60" y="49"/>
                  </a:lnTo>
                  <a:lnTo>
                    <a:pt x="55" y="44"/>
                  </a:lnTo>
                  <a:lnTo>
                    <a:pt x="55" y="38"/>
                  </a:lnTo>
                  <a:lnTo>
                    <a:pt x="49" y="38"/>
                  </a:lnTo>
                  <a:lnTo>
                    <a:pt x="49" y="22"/>
                  </a:lnTo>
                  <a:lnTo>
                    <a:pt x="60" y="22"/>
                  </a:lnTo>
                  <a:lnTo>
                    <a:pt x="66" y="11"/>
                  </a:lnTo>
                  <a:lnTo>
                    <a:pt x="66" y="6"/>
                  </a:lnTo>
                  <a:lnTo>
                    <a:pt x="60" y="0"/>
                  </a:lnTo>
                  <a:lnTo>
                    <a:pt x="60" y="11"/>
                  </a:lnTo>
                  <a:lnTo>
                    <a:pt x="55" y="11"/>
                  </a:lnTo>
                  <a:lnTo>
                    <a:pt x="27" y="6"/>
                  </a:lnTo>
                  <a:lnTo>
                    <a:pt x="0" y="16"/>
                  </a:lnTo>
                  <a:lnTo>
                    <a:pt x="0" y="27"/>
                  </a:lnTo>
                  <a:lnTo>
                    <a:pt x="6" y="27"/>
                  </a:lnTo>
                  <a:lnTo>
                    <a:pt x="0" y="27"/>
                  </a:lnTo>
                  <a:lnTo>
                    <a:pt x="6" y="38"/>
                  </a:lnTo>
                  <a:lnTo>
                    <a:pt x="17" y="38"/>
                  </a:lnTo>
                  <a:lnTo>
                    <a:pt x="11" y="49"/>
                  </a:lnTo>
                  <a:lnTo>
                    <a:pt x="27" y="44"/>
                  </a:lnTo>
                  <a:lnTo>
                    <a:pt x="38" y="49"/>
                  </a:lnTo>
                  <a:lnTo>
                    <a:pt x="44" y="55"/>
                  </a:lnTo>
                  <a:lnTo>
                    <a:pt x="49" y="55"/>
                  </a:lnTo>
                  <a:lnTo>
                    <a:pt x="55" y="55"/>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1" name="Freeform 763"/>
            <p:cNvSpPr>
              <a:spLocks/>
            </p:cNvSpPr>
            <p:nvPr/>
          </p:nvSpPr>
          <p:spPr bwMode="auto">
            <a:xfrm>
              <a:off x="2949" y="2069"/>
              <a:ext cx="98" cy="54"/>
            </a:xfrm>
            <a:custGeom>
              <a:avLst/>
              <a:gdLst>
                <a:gd name="T0" fmla="*/ 0 w 98"/>
                <a:gd name="T1" fmla="*/ 43 h 54"/>
                <a:gd name="T2" fmla="*/ 0 w 98"/>
                <a:gd name="T3" fmla="*/ 33 h 54"/>
                <a:gd name="T4" fmla="*/ 10 w 98"/>
                <a:gd name="T5" fmla="*/ 11 h 54"/>
                <a:gd name="T6" fmla="*/ 21 w 98"/>
                <a:gd name="T7" fmla="*/ 5 h 54"/>
                <a:gd name="T8" fmla="*/ 32 w 98"/>
                <a:gd name="T9" fmla="*/ 22 h 54"/>
                <a:gd name="T10" fmla="*/ 43 w 98"/>
                <a:gd name="T11" fmla="*/ 27 h 54"/>
                <a:gd name="T12" fmla="*/ 43 w 98"/>
                <a:gd name="T13" fmla="*/ 22 h 54"/>
                <a:gd name="T14" fmla="*/ 43 w 98"/>
                <a:gd name="T15" fmla="*/ 5 h 54"/>
                <a:gd name="T16" fmla="*/ 59 w 98"/>
                <a:gd name="T17" fmla="*/ 0 h 54"/>
                <a:gd name="T18" fmla="*/ 70 w 98"/>
                <a:gd name="T19" fmla="*/ 5 h 54"/>
                <a:gd name="T20" fmla="*/ 76 w 98"/>
                <a:gd name="T21" fmla="*/ 11 h 54"/>
                <a:gd name="T22" fmla="*/ 81 w 98"/>
                <a:gd name="T23" fmla="*/ 11 h 54"/>
                <a:gd name="T24" fmla="*/ 87 w 98"/>
                <a:gd name="T25" fmla="*/ 11 h 54"/>
                <a:gd name="T26" fmla="*/ 92 w 98"/>
                <a:gd name="T27" fmla="*/ 16 h 54"/>
                <a:gd name="T28" fmla="*/ 87 w 98"/>
                <a:gd name="T29" fmla="*/ 27 h 54"/>
                <a:gd name="T30" fmla="*/ 92 w 98"/>
                <a:gd name="T31" fmla="*/ 27 h 54"/>
                <a:gd name="T32" fmla="*/ 98 w 98"/>
                <a:gd name="T33" fmla="*/ 38 h 54"/>
                <a:gd name="T34" fmla="*/ 98 w 98"/>
                <a:gd name="T35" fmla="*/ 43 h 54"/>
                <a:gd name="T36" fmla="*/ 92 w 98"/>
                <a:gd name="T37" fmla="*/ 43 h 54"/>
                <a:gd name="T38" fmla="*/ 87 w 98"/>
                <a:gd name="T39" fmla="*/ 54 h 54"/>
                <a:gd name="T40" fmla="*/ 81 w 98"/>
                <a:gd name="T41" fmla="*/ 54 h 54"/>
                <a:gd name="T42" fmla="*/ 76 w 98"/>
                <a:gd name="T43" fmla="*/ 54 h 54"/>
                <a:gd name="T44" fmla="*/ 70 w 98"/>
                <a:gd name="T45" fmla="*/ 54 h 54"/>
                <a:gd name="T46" fmla="*/ 59 w 98"/>
                <a:gd name="T47" fmla="*/ 43 h 54"/>
                <a:gd name="T48" fmla="*/ 54 w 98"/>
                <a:gd name="T49" fmla="*/ 43 h 54"/>
                <a:gd name="T50" fmla="*/ 54 w 98"/>
                <a:gd name="T51" fmla="*/ 38 h 54"/>
                <a:gd name="T52" fmla="*/ 43 w 98"/>
                <a:gd name="T53" fmla="*/ 43 h 54"/>
                <a:gd name="T54" fmla="*/ 38 w 98"/>
                <a:gd name="T55" fmla="*/ 38 h 54"/>
                <a:gd name="T56" fmla="*/ 16 w 98"/>
                <a:gd name="T57" fmla="*/ 38 h 54"/>
                <a:gd name="T58" fmla="*/ 10 w 98"/>
                <a:gd name="T59" fmla="*/ 43 h 54"/>
                <a:gd name="T60" fmla="*/ 5 w 98"/>
                <a:gd name="T61" fmla="*/ 49 h 54"/>
                <a:gd name="T62" fmla="*/ 0 w 98"/>
                <a:gd name="T63" fmla="*/ 43 h 54"/>
                <a:gd name="T64" fmla="*/ 0 w 98"/>
                <a:gd name="T65" fmla="*/ 43 h 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98"/>
                <a:gd name="T100" fmla="*/ 0 h 54"/>
                <a:gd name="T101" fmla="*/ 98 w 98"/>
                <a:gd name="T102" fmla="*/ 54 h 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98" h="54">
                  <a:moveTo>
                    <a:pt x="0" y="43"/>
                  </a:moveTo>
                  <a:lnTo>
                    <a:pt x="0" y="33"/>
                  </a:lnTo>
                  <a:lnTo>
                    <a:pt x="10" y="11"/>
                  </a:lnTo>
                  <a:lnTo>
                    <a:pt x="21" y="5"/>
                  </a:lnTo>
                  <a:lnTo>
                    <a:pt x="32" y="22"/>
                  </a:lnTo>
                  <a:lnTo>
                    <a:pt x="43" y="27"/>
                  </a:lnTo>
                  <a:lnTo>
                    <a:pt x="43" y="22"/>
                  </a:lnTo>
                  <a:lnTo>
                    <a:pt x="43" y="5"/>
                  </a:lnTo>
                  <a:lnTo>
                    <a:pt x="59" y="0"/>
                  </a:lnTo>
                  <a:lnTo>
                    <a:pt x="70" y="5"/>
                  </a:lnTo>
                  <a:lnTo>
                    <a:pt x="76" y="11"/>
                  </a:lnTo>
                  <a:lnTo>
                    <a:pt x="81" y="11"/>
                  </a:lnTo>
                  <a:lnTo>
                    <a:pt x="87" y="11"/>
                  </a:lnTo>
                  <a:lnTo>
                    <a:pt x="92" y="16"/>
                  </a:lnTo>
                  <a:lnTo>
                    <a:pt x="87" y="27"/>
                  </a:lnTo>
                  <a:lnTo>
                    <a:pt x="92" y="27"/>
                  </a:lnTo>
                  <a:lnTo>
                    <a:pt x="98" y="38"/>
                  </a:lnTo>
                  <a:lnTo>
                    <a:pt x="98" y="43"/>
                  </a:lnTo>
                  <a:lnTo>
                    <a:pt x="92" y="43"/>
                  </a:lnTo>
                  <a:lnTo>
                    <a:pt x="87" y="54"/>
                  </a:lnTo>
                  <a:lnTo>
                    <a:pt x="81" y="54"/>
                  </a:lnTo>
                  <a:lnTo>
                    <a:pt x="76" y="54"/>
                  </a:lnTo>
                  <a:lnTo>
                    <a:pt x="70" y="54"/>
                  </a:lnTo>
                  <a:lnTo>
                    <a:pt x="59" y="43"/>
                  </a:lnTo>
                  <a:lnTo>
                    <a:pt x="54" y="43"/>
                  </a:lnTo>
                  <a:lnTo>
                    <a:pt x="54" y="38"/>
                  </a:lnTo>
                  <a:lnTo>
                    <a:pt x="43" y="43"/>
                  </a:lnTo>
                  <a:lnTo>
                    <a:pt x="38" y="38"/>
                  </a:lnTo>
                  <a:lnTo>
                    <a:pt x="16" y="38"/>
                  </a:lnTo>
                  <a:lnTo>
                    <a:pt x="10" y="43"/>
                  </a:lnTo>
                  <a:lnTo>
                    <a:pt x="5" y="49"/>
                  </a:lnTo>
                  <a:lnTo>
                    <a:pt x="0" y="43"/>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2" name="Freeform 764"/>
            <p:cNvSpPr>
              <a:spLocks/>
            </p:cNvSpPr>
            <p:nvPr/>
          </p:nvSpPr>
          <p:spPr bwMode="auto">
            <a:xfrm>
              <a:off x="2932" y="2134"/>
              <a:ext cx="44" cy="22"/>
            </a:xfrm>
            <a:custGeom>
              <a:avLst/>
              <a:gdLst>
                <a:gd name="T0" fmla="*/ 44 w 44"/>
                <a:gd name="T1" fmla="*/ 22 h 22"/>
                <a:gd name="T2" fmla="*/ 44 w 44"/>
                <a:gd name="T3" fmla="*/ 11 h 22"/>
                <a:gd name="T4" fmla="*/ 38 w 44"/>
                <a:gd name="T5" fmla="*/ 6 h 22"/>
                <a:gd name="T6" fmla="*/ 33 w 44"/>
                <a:gd name="T7" fmla="*/ 6 h 22"/>
                <a:gd name="T8" fmla="*/ 22 w 44"/>
                <a:gd name="T9" fmla="*/ 0 h 22"/>
                <a:gd name="T10" fmla="*/ 22 w 44"/>
                <a:gd name="T11" fmla="*/ 0 h 22"/>
                <a:gd name="T12" fmla="*/ 22 w 44"/>
                <a:gd name="T13" fmla="*/ 6 h 22"/>
                <a:gd name="T14" fmla="*/ 11 w 44"/>
                <a:gd name="T15" fmla="*/ 6 h 22"/>
                <a:gd name="T16" fmla="*/ 17 w 44"/>
                <a:gd name="T17" fmla="*/ 0 h 22"/>
                <a:gd name="T18" fmla="*/ 6 w 44"/>
                <a:gd name="T19" fmla="*/ 6 h 22"/>
                <a:gd name="T20" fmla="*/ 0 w 44"/>
                <a:gd name="T21" fmla="*/ 17 h 22"/>
                <a:gd name="T22" fmla="*/ 17 w 44"/>
                <a:gd name="T23" fmla="*/ 22 h 22"/>
                <a:gd name="T24" fmla="*/ 44 w 44"/>
                <a:gd name="T25" fmla="*/ 22 h 22"/>
                <a:gd name="T26" fmla="*/ 44 w 44"/>
                <a:gd name="T27" fmla="*/ 22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
                <a:gd name="T43" fmla="*/ 0 h 22"/>
                <a:gd name="T44" fmla="*/ 44 w 4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 h="22">
                  <a:moveTo>
                    <a:pt x="44" y="22"/>
                  </a:moveTo>
                  <a:lnTo>
                    <a:pt x="44" y="11"/>
                  </a:lnTo>
                  <a:lnTo>
                    <a:pt x="38" y="6"/>
                  </a:lnTo>
                  <a:lnTo>
                    <a:pt x="33" y="6"/>
                  </a:lnTo>
                  <a:lnTo>
                    <a:pt x="22" y="0"/>
                  </a:lnTo>
                  <a:lnTo>
                    <a:pt x="22" y="6"/>
                  </a:lnTo>
                  <a:lnTo>
                    <a:pt x="11" y="6"/>
                  </a:lnTo>
                  <a:lnTo>
                    <a:pt x="17" y="0"/>
                  </a:lnTo>
                  <a:lnTo>
                    <a:pt x="6" y="6"/>
                  </a:lnTo>
                  <a:lnTo>
                    <a:pt x="0" y="17"/>
                  </a:lnTo>
                  <a:lnTo>
                    <a:pt x="17" y="22"/>
                  </a:lnTo>
                  <a:lnTo>
                    <a:pt x="44" y="22"/>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3" name="Freeform 765"/>
            <p:cNvSpPr>
              <a:spLocks/>
            </p:cNvSpPr>
            <p:nvPr/>
          </p:nvSpPr>
          <p:spPr bwMode="auto">
            <a:xfrm>
              <a:off x="2949" y="2107"/>
              <a:ext cx="76" cy="55"/>
            </a:xfrm>
            <a:custGeom>
              <a:avLst/>
              <a:gdLst>
                <a:gd name="T0" fmla="*/ 27 w 76"/>
                <a:gd name="T1" fmla="*/ 49 h 55"/>
                <a:gd name="T2" fmla="*/ 27 w 76"/>
                <a:gd name="T3" fmla="*/ 38 h 55"/>
                <a:gd name="T4" fmla="*/ 21 w 76"/>
                <a:gd name="T5" fmla="*/ 33 h 55"/>
                <a:gd name="T6" fmla="*/ 16 w 76"/>
                <a:gd name="T7" fmla="*/ 33 h 55"/>
                <a:gd name="T8" fmla="*/ 5 w 76"/>
                <a:gd name="T9" fmla="*/ 27 h 55"/>
                <a:gd name="T10" fmla="*/ 0 w 76"/>
                <a:gd name="T11" fmla="*/ 5 h 55"/>
                <a:gd name="T12" fmla="*/ 5 w 76"/>
                <a:gd name="T13" fmla="*/ 11 h 55"/>
                <a:gd name="T14" fmla="*/ 10 w 76"/>
                <a:gd name="T15" fmla="*/ 5 h 55"/>
                <a:gd name="T16" fmla="*/ 16 w 76"/>
                <a:gd name="T17" fmla="*/ 0 h 55"/>
                <a:gd name="T18" fmla="*/ 38 w 76"/>
                <a:gd name="T19" fmla="*/ 0 h 55"/>
                <a:gd name="T20" fmla="*/ 43 w 76"/>
                <a:gd name="T21" fmla="*/ 5 h 55"/>
                <a:gd name="T22" fmla="*/ 54 w 76"/>
                <a:gd name="T23" fmla="*/ 0 h 55"/>
                <a:gd name="T24" fmla="*/ 54 w 76"/>
                <a:gd name="T25" fmla="*/ 5 h 55"/>
                <a:gd name="T26" fmla="*/ 59 w 76"/>
                <a:gd name="T27" fmla="*/ 5 h 55"/>
                <a:gd name="T28" fmla="*/ 70 w 76"/>
                <a:gd name="T29" fmla="*/ 16 h 55"/>
                <a:gd name="T30" fmla="*/ 76 w 76"/>
                <a:gd name="T31" fmla="*/ 16 h 55"/>
                <a:gd name="T32" fmla="*/ 76 w 76"/>
                <a:gd name="T33" fmla="*/ 22 h 55"/>
                <a:gd name="T34" fmla="*/ 76 w 76"/>
                <a:gd name="T35" fmla="*/ 27 h 55"/>
                <a:gd name="T36" fmla="*/ 76 w 76"/>
                <a:gd name="T37" fmla="*/ 27 h 55"/>
                <a:gd name="T38" fmla="*/ 76 w 76"/>
                <a:gd name="T39" fmla="*/ 33 h 55"/>
                <a:gd name="T40" fmla="*/ 65 w 76"/>
                <a:gd name="T41" fmla="*/ 33 h 55"/>
                <a:gd name="T42" fmla="*/ 65 w 76"/>
                <a:gd name="T43" fmla="*/ 49 h 55"/>
                <a:gd name="T44" fmla="*/ 65 w 76"/>
                <a:gd name="T45" fmla="*/ 49 h 55"/>
                <a:gd name="T46" fmla="*/ 65 w 76"/>
                <a:gd name="T47" fmla="*/ 55 h 55"/>
                <a:gd name="T48" fmla="*/ 59 w 76"/>
                <a:gd name="T49" fmla="*/ 49 h 55"/>
                <a:gd name="T50" fmla="*/ 54 w 76"/>
                <a:gd name="T51" fmla="*/ 55 h 55"/>
                <a:gd name="T52" fmla="*/ 54 w 76"/>
                <a:gd name="T53" fmla="*/ 55 h 55"/>
                <a:gd name="T54" fmla="*/ 32 w 76"/>
                <a:gd name="T55" fmla="*/ 55 h 55"/>
                <a:gd name="T56" fmla="*/ 32 w 76"/>
                <a:gd name="T57" fmla="*/ 55 h 55"/>
                <a:gd name="T58" fmla="*/ 27 w 76"/>
                <a:gd name="T59" fmla="*/ 49 h 55"/>
                <a:gd name="T60" fmla="*/ 27 w 76"/>
                <a:gd name="T61" fmla="*/ 49 h 5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6"/>
                <a:gd name="T94" fmla="*/ 0 h 55"/>
                <a:gd name="T95" fmla="*/ 76 w 76"/>
                <a:gd name="T96" fmla="*/ 55 h 5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6" h="55">
                  <a:moveTo>
                    <a:pt x="27" y="49"/>
                  </a:moveTo>
                  <a:lnTo>
                    <a:pt x="27" y="38"/>
                  </a:lnTo>
                  <a:lnTo>
                    <a:pt x="21" y="33"/>
                  </a:lnTo>
                  <a:lnTo>
                    <a:pt x="16" y="33"/>
                  </a:lnTo>
                  <a:lnTo>
                    <a:pt x="5" y="27"/>
                  </a:lnTo>
                  <a:lnTo>
                    <a:pt x="0" y="5"/>
                  </a:lnTo>
                  <a:lnTo>
                    <a:pt x="5" y="11"/>
                  </a:lnTo>
                  <a:lnTo>
                    <a:pt x="10" y="5"/>
                  </a:lnTo>
                  <a:lnTo>
                    <a:pt x="16" y="0"/>
                  </a:lnTo>
                  <a:lnTo>
                    <a:pt x="38" y="0"/>
                  </a:lnTo>
                  <a:lnTo>
                    <a:pt x="43" y="5"/>
                  </a:lnTo>
                  <a:lnTo>
                    <a:pt x="54" y="0"/>
                  </a:lnTo>
                  <a:lnTo>
                    <a:pt x="54" y="5"/>
                  </a:lnTo>
                  <a:lnTo>
                    <a:pt x="59" y="5"/>
                  </a:lnTo>
                  <a:lnTo>
                    <a:pt x="70" y="16"/>
                  </a:lnTo>
                  <a:lnTo>
                    <a:pt x="76" y="16"/>
                  </a:lnTo>
                  <a:lnTo>
                    <a:pt x="76" y="22"/>
                  </a:lnTo>
                  <a:lnTo>
                    <a:pt x="76" y="27"/>
                  </a:lnTo>
                  <a:lnTo>
                    <a:pt x="76" y="33"/>
                  </a:lnTo>
                  <a:lnTo>
                    <a:pt x="65" y="33"/>
                  </a:lnTo>
                  <a:lnTo>
                    <a:pt x="65" y="49"/>
                  </a:lnTo>
                  <a:lnTo>
                    <a:pt x="65" y="55"/>
                  </a:lnTo>
                  <a:lnTo>
                    <a:pt x="59" y="49"/>
                  </a:lnTo>
                  <a:lnTo>
                    <a:pt x="54" y="55"/>
                  </a:lnTo>
                  <a:lnTo>
                    <a:pt x="32" y="55"/>
                  </a:lnTo>
                  <a:lnTo>
                    <a:pt x="27" y="49"/>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4" name="Freeform 766"/>
            <p:cNvSpPr>
              <a:spLocks/>
            </p:cNvSpPr>
            <p:nvPr/>
          </p:nvSpPr>
          <p:spPr bwMode="auto">
            <a:xfrm>
              <a:off x="2981" y="2112"/>
              <a:ext cx="120" cy="110"/>
            </a:xfrm>
            <a:custGeom>
              <a:avLst/>
              <a:gdLst>
                <a:gd name="T0" fmla="*/ 0 w 120"/>
                <a:gd name="T1" fmla="*/ 99 h 110"/>
                <a:gd name="T2" fmla="*/ 0 w 120"/>
                <a:gd name="T3" fmla="*/ 93 h 110"/>
                <a:gd name="T4" fmla="*/ 0 w 120"/>
                <a:gd name="T5" fmla="*/ 88 h 110"/>
                <a:gd name="T6" fmla="*/ 6 w 120"/>
                <a:gd name="T7" fmla="*/ 77 h 110"/>
                <a:gd name="T8" fmla="*/ 0 w 120"/>
                <a:gd name="T9" fmla="*/ 50 h 110"/>
                <a:gd name="T10" fmla="*/ 22 w 120"/>
                <a:gd name="T11" fmla="*/ 50 h 110"/>
                <a:gd name="T12" fmla="*/ 22 w 120"/>
                <a:gd name="T13" fmla="*/ 50 h 110"/>
                <a:gd name="T14" fmla="*/ 27 w 120"/>
                <a:gd name="T15" fmla="*/ 44 h 110"/>
                <a:gd name="T16" fmla="*/ 33 w 120"/>
                <a:gd name="T17" fmla="*/ 50 h 110"/>
                <a:gd name="T18" fmla="*/ 33 w 120"/>
                <a:gd name="T19" fmla="*/ 44 h 110"/>
                <a:gd name="T20" fmla="*/ 33 w 120"/>
                <a:gd name="T21" fmla="*/ 44 h 110"/>
                <a:gd name="T22" fmla="*/ 33 w 120"/>
                <a:gd name="T23" fmla="*/ 28 h 110"/>
                <a:gd name="T24" fmla="*/ 44 w 120"/>
                <a:gd name="T25" fmla="*/ 28 h 110"/>
                <a:gd name="T26" fmla="*/ 44 w 120"/>
                <a:gd name="T27" fmla="*/ 22 h 110"/>
                <a:gd name="T28" fmla="*/ 44 w 120"/>
                <a:gd name="T29" fmla="*/ 22 h 110"/>
                <a:gd name="T30" fmla="*/ 44 w 120"/>
                <a:gd name="T31" fmla="*/ 17 h 110"/>
                <a:gd name="T32" fmla="*/ 44 w 120"/>
                <a:gd name="T33" fmla="*/ 11 h 110"/>
                <a:gd name="T34" fmla="*/ 49 w 120"/>
                <a:gd name="T35" fmla="*/ 11 h 110"/>
                <a:gd name="T36" fmla="*/ 55 w 120"/>
                <a:gd name="T37" fmla="*/ 11 h 110"/>
                <a:gd name="T38" fmla="*/ 60 w 120"/>
                <a:gd name="T39" fmla="*/ 0 h 110"/>
                <a:gd name="T40" fmla="*/ 66 w 120"/>
                <a:gd name="T41" fmla="*/ 0 h 110"/>
                <a:gd name="T42" fmla="*/ 66 w 120"/>
                <a:gd name="T43" fmla="*/ 6 h 110"/>
                <a:gd name="T44" fmla="*/ 76 w 120"/>
                <a:gd name="T45" fmla="*/ 6 h 110"/>
                <a:gd name="T46" fmla="*/ 82 w 120"/>
                <a:gd name="T47" fmla="*/ 6 h 110"/>
                <a:gd name="T48" fmla="*/ 82 w 120"/>
                <a:gd name="T49" fmla="*/ 11 h 110"/>
                <a:gd name="T50" fmla="*/ 87 w 120"/>
                <a:gd name="T51" fmla="*/ 11 h 110"/>
                <a:gd name="T52" fmla="*/ 98 w 120"/>
                <a:gd name="T53" fmla="*/ 17 h 110"/>
                <a:gd name="T54" fmla="*/ 98 w 120"/>
                <a:gd name="T55" fmla="*/ 22 h 110"/>
                <a:gd name="T56" fmla="*/ 98 w 120"/>
                <a:gd name="T57" fmla="*/ 22 h 110"/>
                <a:gd name="T58" fmla="*/ 98 w 120"/>
                <a:gd name="T59" fmla="*/ 33 h 110"/>
                <a:gd name="T60" fmla="*/ 104 w 120"/>
                <a:gd name="T61" fmla="*/ 44 h 110"/>
                <a:gd name="T62" fmla="*/ 109 w 120"/>
                <a:gd name="T63" fmla="*/ 50 h 110"/>
                <a:gd name="T64" fmla="*/ 109 w 120"/>
                <a:gd name="T65" fmla="*/ 55 h 110"/>
                <a:gd name="T66" fmla="*/ 115 w 120"/>
                <a:gd name="T67" fmla="*/ 55 h 110"/>
                <a:gd name="T68" fmla="*/ 120 w 120"/>
                <a:gd name="T69" fmla="*/ 55 h 110"/>
                <a:gd name="T70" fmla="*/ 120 w 120"/>
                <a:gd name="T71" fmla="*/ 60 h 110"/>
                <a:gd name="T72" fmla="*/ 120 w 120"/>
                <a:gd name="T73" fmla="*/ 60 h 110"/>
                <a:gd name="T74" fmla="*/ 120 w 120"/>
                <a:gd name="T75" fmla="*/ 60 h 110"/>
                <a:gd name="T76" fmla="*/ 115 w 120"/>
                <a:gd name="T77" fmla="*/ 66 h 110"/>
                <a:gd name="T78" fmla="*/ 109 w 120"/>
                <a:gd name="T79" fmla="*/ 66 h 110"/>
                <a:gd name="T80" fmla="*/ 104 w 120"/>
                <a:gd name="T81" fmla="*/ 71 h 110"/>
                <a:gd name="T82" fmla="*/ 104 w 120"/>
                <a:gd name="T83" fmla="*/ 71 h 110"/>
                <a:gd name="T84" fmla="*/ 109 w 120"/>
                <a:gd name="T85" fmla="*/ 88 h 110"/>
                <a:gd name="T86" fmla="*/ 98 w 120"/>
                <a:gd name="T87" fmla="*/ 93 h 110"/>
                <a:gd name="T88" fmla="*/ 98 w 120"/>
                <a:gd name="T89" fmla="*/ 93 h 110"/>
                <a:gd name="T90" fmla="*/ 93 w 120"/>
                <a:gd name="T91" fmla="*/ 104 h 110"/>
                <a:gd name="T92" fmla="*/ 93 w 120"/>
                <a:gd name="T93" fmla="*/ 110 h 110"/>
                <a:gd name="T94" fmla="*/ 87 w 120"/>
                <a:gd name="T95" fmla="*/ 104 h 110"/>
                <a:gd name="T96" fmla="*/ 82 w 120"/>
                <a:gd name="T97" fmla="*/ 104 h 110"/>
                <a:gd name="T98" fmla="*/ 76 w 120"/>
                <a:gd name="T99" fmla="*/ 99 h 110"/>
                <a:gd name="T100" fmla="*/ 71 w 120"/>
                <a:gd name="T101" fmla="*/ 104 h 110"/>
                <a:gd name="T102" fmla="*/ 66 w 120"/>
                <a:gd name="T103" fmla="*/ 104 h 110"/>
                <a:gd name="T104" fmla="*/ 55 w 120"/>
                <a:gd name="T105" fmla="*/ 104 h 110"/>
                <a:gd name="T106" fmla="*/ 55 w 120"/>
                <a:gd name="T107" fmla="*/ 104 h 110"/>
                <a:gd name="T108" fmla="*/ 49 w 120"/>
                <a:gd name="T109" fmla="*/ 104 h 110"/>
                <a:gd name="T110" fmla="*/ 49 w 120"/>
                <a:gd name="T111" fmla="*/ 99 h 110"/>
                <a:gd name="T112" fmla="*/ 33 w 120"/>
                <a:gd name="T113" fmla="*/ 93 h 110"/>
                <a:gd name="T114" fmla="*/ 17 w 120"/>
                <a:gd name="T115" fmla="*/ 93 h 110"/>
                <a:gd name="T116" fmla="*/ 11 w 120"/>
                <a:gd name="T117" fmla="*/ 99 h 110"/>
                <a:gd name="T118" fmla="*/ 0 w 120"/>
                <a:gd name="T119" fmla="*/ 99 h 110"/>
                <a:gd name="T120" fmla="*/ 0 w 120"/>
                <a:gd name="T121" fmla="*/ 99 h 11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0"/>
                <a:gd name="T184" fmla="*/ 0 h 110"/>
                <a:gd name="T185" fmla="*/ 120 w 120"/>
                <a:gd name="T186" fmla="*/ 110 h 11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0" h="110">
                  <a:moveTo>
                    <a:pt x="0" y="99"/>
                  </a:moveTo>
                  <a:lnTo>
                    <a:pt x="0" y="93"/>
                  </a:lnTo>
                  <a:lnTo>
                    <a:pt x="0" y="88"/>
                  </a:lnTo>
                  <a:lnTo>
                    <a:pt x="6" y="77"/>
                  </a:lnTo>
                  <a:lnTo>
                    <a:pt x="0" y="50"/>
                  </a:lnTo>
                  <a:lnTo>
                    <a:pt x="22" y="50"/>
                  </a:lnTo>
                  <a:lnTo>
                    <a:pt x="27" y="44"/>
                  </a:lnTo>
                  <a:lnTo>
                    <a:pt x="33" y="50"/>
                  </a:lnTo>
                  <a:lnTo>
                    <a:pt x="33" y="44"/>
                  </a:lnTo>
                  <a:lnTo>
                    <a:pt x="33" y="28"/>
                  </a:lnTo>
                  <a:lnTo>
                    <a:pt x="44" y="28"/>
                  </a:lnTo>
                  <a:lnTo>
                    <a:pt x="44" y="22"/>
                  </a:lnTo>
                  <a:lnTo>
                    <a:pt x="44" y="17"/>
                  </a:lnTo>
                  <a:lnTo>
                    <a:pt x="44" y="11"/>
                  </a:lnTo>
                  <a:lnTo>
                    <a:pt x="49" y="11"/>
                  </a:lnTo>
                  <a:lnTo>
                    <a:pt x="55" y="11"/>
                  </a:lnTo>
                  <a:lnTo>
                    <a:pt x="60" y="0"/>
                  </a:lnTo>
                  <a:lnTo>
                    <a:pt x="66" y="0"/>
                  </a:lnTo>
                  <a:lnTo>
                    <a:pt x="66" y="6"/>
                  </a:lnTo>
                  <a:lnTo>
                    <a:pt x="76" y="6"/>
                  </a:lnTo>
                  <a:lnTo>
                    <a:pt x="82" y="6"/>
                  </a:lnTo>
                  <a:lnTo>
                    <a:pt x="82" y="11"/>
                  </a:lnTo>
                  <a:lnTo>
                    <a:pt x="87" y="11"/>
                  </a:lnTo>
                  <a:lnTo>
                    <a:pt x="98" y="17"/>
                  </a:lnTo>
                  <a:lnTo>
                    <a:pt x="98" y="22"/>
                  </a:lnTo>
                  <a:lnTo>
                    <a:pt x="98" y="33"/>
                  </a:lnTo>
                  <a:lnTo>
                    <a:pt x="104" y="44"/>
                  </a:lnTo>
                  <a:lnTo>
                    <a:pt x="109" y="50"/>
                  </a:lnTo>
                  <a:lnTo>
                    <a:pt x="109" y="55"/>
                  </a:lnTo>
                  <a:lnTo>
                    <a:pt x="115" y="55"/>
                  </a:lnTo>
                  <a:lnTo>
                    <a:pt x="120" y="55"/>
                  </a:lnTo>
                  <a:lnTo>
                    <a:pt x="120" y="60"/>
                  </a:lnTo>
                  <a:lnTo>
                    <a:pt x="115" y="66"/>
                  </a:lnTo>
                  <a:lnTo>
                    <a:pt x="109" y="66"/>
                  </a:lnTo>
                  <a:lnTo>
                    <a:pt x="104" y="71"/>
                  </a:lnTo>
                  <a:lnTo>
                    <a:pt x="109" y="88"/>
                  </a:lnTo>
                  <a:lnTo>
                    <a:pt x="98" y="93"/>
                  </a:lnTo>
                  <a:lnTo>
                    <a:pt x="93" y="104"/>
                  </a:lnTo>
                  <a:lnTo>
                    <a:pt x="93" y="110"/>
                  </a:lnTo>
                  <a:lnTo>
                    <a:pt x="87" y="104"/>
                  </a:lnTo>
                  <a:lnTo>
                    <a:pt x="82" y="104"/>
                  </a:lnTo>
                  <a:lnTo>
                    <a:pt x="76" y="99"/>
                  </a:lnTo>
                  <a:lnTo>
                    <a:pt x="71" y="104"/>
                  </a:lnTo>
                  <a:lnTo>
                    <a:pt x="66" y="104"/>
                  </a:lnTo>
                  <a:lnTo>
                    <a:pt x="55" y="104"/>
                  </a:lnTo>
                  <a:lnTo>
                    <a:pt x="49" y="104"/>
                  </a:lnTo>
                  <a:lnTo>
                    <a:pt x="49" y="99"/>
                  </a:lnTo>
                  <a:lnTo>
                    <a:pt x="33" y="93"/>
                  </a:lnTo>
                  <a:lnTo>
                    <a:pt x="17" y="93"/>
                  </a:lnTo>
                  <a:lnTo>
                    <a:pt x="11" y="99"/>
                  </a:lnTo>
                  <a:lnTo>
                    <a:pt x="0" y="99"/>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5" name="Freeform 767"/>
            <p:cNvSpPr>
              <a:spLocks/>
            </p:cNvSpPr>
            <p:nvPr/>
          </p:nvSpPr>
          <p:spPr bwMode="auto">
            <a:xfrm>
              <a:off x="3025" y="2276"/>
              <a:ext cx="43" cy="55"/>
            </a:xfrm>
            <a:custGeom>
              <a:avLst/>
              <a:gdLst>
                <a:gd name="T0" fmla="*/ 16 w 43"/>
                <a:gd name="T1" fmla="*/ 55 h 55"/>
                <a:gd name="T2" fmla="*/ 22 w 43"/>
                <a:gd name="T3" fmla="*/ 55 h 55"/>
                <a:gd name="T4" fmla="*/ 27 w 43"/>
                <a:gd name="T5" fmla="*/ 49 h 55"/>
                <a:gd name="T6" fmla="*/ 27 w 43"/>
                <a:gd name="T7" fmla="*/ 44 h 55"/>
                <a:gd name="T8" fmla="*/ 32 w 43"/>
                <a:gd name="T9" fmla="*/ 38 h 55"/>
                <a:gd name="T10" fmla="*/ 43 w 43"/>
                <a:gd name="T11" fmla="*/ 38 h 55"/>
                <a:gd name="T12" fmla="*/ 43 w 43"/>
                <a:gd name="T13" fmla="*/ 33 h 55"/>
                <a:gd name="T14" fmla="*/ 38 w 43"/>
                <a:gd name="T15" fmla="*/ 27 h 55"/>
                <a:gd name="T16" fmla="*/ 38 w 43"/>
                <a:gd name="T17" fmla="*/ 22 h 55"/>
                <a:gd name="T18" fmla="*/ 32 w 43"/>
                <a:gd name="T19" fmla="*/ 17 h 55"/>
                <a:gd name="T20" fmla="*/ 32 w 43"/>
                <a:gd name="T21" fmla="*/ 11 h 55"/>
                <a:gd name="T22" fmla="*/ 27 w 43"/>
                <a:gd name="T23" fmla="*/ 6 h 55"/>
                <a:gd name="T24" fmla="*/ 22 w 43"/>
                <a:gd name="T25" fmla="*/ 6 h 55"/>
                <a:gd name="T26" fmla="*/ 11 w 43"/>
                <a:gd name="T27" fmla="*/ 0 h 55"/>
                <a:gd name="T28" fmla="*/ 5 w 43"/>
                <a:gd name="T29" fmla="*/ 0 h 55"/>
                <a:gd name="T30" fmla="*/ 0 w 43"/>
                <a:gd name="T31" fmla="*/ 6 h 55"/>
                <a:gd name="T32" fmla="*/ 5 w 43"/>
                <a:gd name="T33" fmla="*/ 11 h 55"/>
                <a:gd name="T34" fmla="*/ 16 w 43"/>
                <a:gd name="T35" fmla="*/ 33 h 55"/>
                <a:gd name="T36" fmla="*/ 16 w 43"/>
                <a:gd name="T37" fmla="*/ 55 h 55"/>
                <a:gd name="T38" fmla="*/ 16 w 43"/>
                <a:gd name="T39" fmla="*/ 55 h 5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
                <a:gd name="T61" fmla="*/ 0 h 55"/>
                <a:gd name="T62" fmla="*/ 43 w 43"/>
                <a:gd name="T63" fmla="*/ 55 h 5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 h="55">
                  <a:moveTo>
                    <a:pt x="16" y="55"/>
                  </a:moveTo>
                  <a:lnTo>
                    <a:pt x="22" y="55"/>
                  </a:lnTo>
                  <a:lnTo>
                    <a:pt x="27" y="49"/>
                  </a:lnTo>
                  <a:lnTo>
                    <a:pt x="27" y="44"/>
                  </a:lnTo>
                  <a:lnTo>
                    <a:pt x="32" y="38"/>
                  </a:lnTo>
                  <a:lnTo>
                    <a:pt x="43" y="38"/>
                  </a:lnTo>
                  <a:lnTo>
                    <a:pt x="43" y="33"/>
                  </a:lnTo>
                  <a:lnTo>
                    <a:pt x="38" y="27"/>
                  </a:lnTo>
                  <a:lnTo>
                    <a:pt x="38" y="22"/>
                  </a:lnTo>
                  <a:lnTo>
                    <a:pt x="32" y="17"/>
                  </a:lnTo>
                  <a:lnTo>
                    <a:pt x="32" y="11"/>
                  </a:lnTo>
                  <a:lnTo>
                    <a:pt x="27" y="6"/>
                  </a:lnTo>
                  <a:lnTo>
                    <a:pt x="22" y="6"/>
                  </a:lnTo>
                  <a:lnTo>
                    <a:pt x="11" y="0"/>
                  </a:lnTo>
                  <a:lnTo>
                    <a:pt x="5" y="0"/>
                  </a:lnTo>
                  <a:lnTo>
                    <a:pt x="0" y="6"/>
                  </a:lnTo>
                  <a:lnTo>
                    <a:pt x="5" y="11"/>
                  </a:lnTo>
                  <a:lnTo>
                    <a:pt x="16" y="33"/>
                  </a:lnTo>
                  <a:lnTo>
                    <a:pt x="16" y="55"/>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6" name="Freeform 768"/>
            <p:cNvSpPr>
              <a:spLocks/>
            </p:cNvSpPr>
            <p:nvPr/>
          </p:nvSpPr>
          <p:spPr bwMode="auto">
            <a:xfrm>
              <a:off x="2965" y="2200"/>
              <a:ext cx="234" cy="153"/>
            </a:xfrm>
            <a:custGeom>
              <a:avLst/>
              <a:gdLst>
                <a:gd name="T0" fmla="*/ 38 w 234"/>
                <a:gd name="T1" fmla="*/ 87 h 153"/>
                <a:gd name="T2" fmla="*/ 11 w 234"/>
                <a:gd name="T3" fmla="*/ 87 h 153"/>
                <a:gd name="T4" fmla="*/ 5 w 234"/>
                <a:gd name="T5" fmla="*/ 65 h 153"/>
                <a:gd name="T6" fmla="*/ 5 w 234"/>
                <a:gd name="T7" fmla="*/ 54 h 153"/>
                <a:gd name="T8" fmla="*/ 22 w 234"/>
                <a:gd name="T9" fmla="*/ 32 h 153"/>
                <a:gd name="T10" fmla="*/ 27 w 234"/>
                <a:gd name="T11" fmla="*/ 11 h 153"/>
                <a:gd name="T12" fmla="*/ 49 w 234"/>
                <a:gd name="T13" fmla="*/ 5 h 153"/>
                <a:gd name="T14" fmla="*/ 65 w 234"/>
                <a:gd name="T15" fmla="*/ 16 h 153"/>
                <a:gd name="T16" fmla="*/ 71 w 234"/>
                <a:gd name="T17" fmla="*/ 16 h 153"/>
                <a:gd name="T18" fmla="*/ 87 w 234"/>
                <a:gd name="T19" fmla="*/ 16 h 153"/>
                <a:gd name="T20" fmla="*/ 98 w 234"/>
                <a:gd name="T21" fmla="*/ 16 h 153"/>
                <a:gd name="T22" fmla="*/ 109 w 234"/>
                <a:gd name="T23" fmla="*/ 22 h 153"/>
                <a:gd name="T24" fmla="*/ 114 w 234"/>
                <a:gd name="T25" fmla="*/ 5 h 153"/>
                <a:gd name="T26" fmla="*/ 125 w 234"/>
                <a:gd name="T27" fmla="*/ 0 h 153"/>
                <a:gd name="T28" fmla="*/ 136 w 234"/>
                <a:gd name="T29" fmla="*/ 0 h 153"/>
                <a:gd name="T30" fmla="*/ 158 w 234"/>
                <a:gd name="T31" fmla="*/ 5 h 153"/>
                <a:gd name="T32" fmla="*/ 158 w 234"/>
                <a:gd name="T33" fmla="*/ 11 h 153"/>
                <a:gd name="T34" fmla="*/ 163 w 234"/>
                <a:gd name="T35" fmla="*/ 22 h 153"/>
                <a:gd name="T36" fmla="*/ 174 w 234"/>
                <a:gd name="T37" fmla="*/ 27 h 153"/>
                <a:gd name="T38" fmla="*/ 174 w 234"/>
                <a:gd name="T39" fmla="*/ 38 h 153"/>
                <a:gd name="T40" fmla="*/ 185 w 234"/>
                <a:gd name="T41" fmla="*/ 38 h 153"/>
                <a:gd name="T42" fmla="*/ 196 w 234"/>
                <a:gd name="T43" fmla="*/ 38 h 153"/>
                <a:gd name="T44" fmla="*/ 212 w 234"/>
                <a:gd name="T45" fmla="*/ 43 h 153"/>
                <a:gd name="T46" fmla="*/ 218 w 234"/>
                <a:gd name="T47" fmla="*/ 49 h 153"/>
                <a:gd name="T48" fmla="*/ 234 w 234"/>
                <a:gd name="T49" fmla="*/ 54 h 153"/>
                <a:gd name="T50" fmla="*/ 234 w 234"/>
                <a:gd name="T51" fmla="*/ 65 h 153"/>
                <a:gd name="T52" fmla="*/ 234 w 234"/>
                <a:gd name="T53" fmla="*/ 71 h 153"/>
                <a:gd name="T54" fmla="*/ 228 w 234"/>
                <a:gd name="T55" fmla="*/ 76 h 153"/>
                <a:gd name="T56" fmla="*/ 228 w 234"/>
                <a:gd name="T57" fmla="*/ 87 h 153"/>
                <a:gd name="T58" fmla="*/ 218 w 234"/>
                <a:gd name="T59" fmla="*/ 87 h 153"/>
                <a:gd name="T60" fmla="*/ 212 w 234"/>
                <a:gd name="T61" fmla="*/ 93 h 153"/>
                <a:gd name="T62" fmla="*/ 207 w 234"/>
                <a:gd name="T63" fmla="*/ 103 h 153"/>
                <a:gd name="T64" fmla="*/ 169 w 234"/>
                <a:gd name="T65" fmla="*/ 120 h 153"/>
                <a:gd name="T66" fmla="*/ 163 w 234"/>
                <a:gd name="T67" fmla="*/ 120 h 153"/>
                <a:gd name="T68" fmla="*/ 163 w 234"/>
                <a:gd name="T69" fmla="*/ 120 h 153"/>
                <a:gd name="T70" fmla="*/ 152 w 234"/>
                <a:gd name="T71" fmla="*/ 120 h 153"/>
                <a:gd name="T72" fmla="*/ 152 w 234"/>
                <a:gd name="T73" fmla="*/ 120 h 153"/>
                <a:gd name="T74" fmla="*/ 163 w 234"/>
                <a:gd name="T75" fmla="*/ 125 h 153"/>
                <a:gd name="T76" fmla="*/ 163 w 234"/>
                <a:gd name="T77" fmla="*/ 131 h 153"/>
                <a:gd name="T78" fmla="*/ 185 w 234"/>
                <a:gd name="T79" fmla="*/ 136 h 153"/>
                <a:gd name="T80" fmla="*/ 174 w 234"/>
                <a:gd name="T81" fmla="*/ 142 h 153"/>
                <a:gd name="T82" fmla="*/ 147 w 234"/>
                <a:gd name="T83" fmla="*/ 153 h 153"/>
                <a:gd name="T84" fmla="*/ 136 w 234"/>
                <a:gd name="T85" fmla="*/ 136 h 153"/>
                <a:gd name="T86" fmla="*/ 147 w 234"/>
                <a:gd name="T87" fmla="*/ 120 h 153"/>
                <a:gd name="T88" fmla="*/ 131 w 234"/>
                <a:gd name="T89" fmla="*/ 114 h 153"/>
                <a:gd name="T90" fmla="*/ 131 w 234"/>
                <a:gd name="T91" fmla="*/ 114 h 153"/>
                <a:gd name="T92" fmla="*/ 109 w 234"/>
                <a:gd name="T93" fmla="*/ 114 h 153"/>
                <a:gd name="T94" fmla="*/ 103 w 234"/>
                <a:gd name="T95" fmla="*/ 114 h 153"/>
                <a:gd name="T96" fmla="*/ 98 w 234"/>
                <a:gd name="T97" fmla="*/ 131 h 153"/>
                <a:gd name="T98" fmla="*/ 98 w 234"/>
                <a:gd name="T99" fmla="*/ 136 h 153"/>
                <a:gd name="T100" fmla="*/ 76 w 234"/>
                <a:gd name="T101" fmla="*/ 131 h 153"/>
                <a:gd name="T102" fmla="*/ 87 w 234"/>
                <a:gd name="T103" fmla="*/ 125 h 153"/>
                <a:gd name="T104" fmla="*/ 92 w 234"/>
                <a:gd name="T105" fmla="*/ 114 h 153"/>
                <a:gd name="T106" fmla="*/ 103 w 234"/>
                <a:gd name="T107" fmla="*/ 109 h 153"/>
                <a:gd name="T108" fmla="*/ 98 w 234"/>
                <a:gd name="T109" fmla="*/ 98 h 153"/>
                <a:gd name="T110" fmla="*/ 92 w 234"/>
                <a:gd name="T111" fmla="*/ 87 h 153"/>
                <a:gd name="T112" fmla="*/ 82 w 234"/>
                <a:gd name="T113" fmla="*/ 82 h 153"/>
                <a:gd name="T114" fmla="*/ 65 w 234"/>
                <a:gd name="T115" fmla="*/ 76 h 153"/>
                <a:gd name="T116" fmla="*/ 60 w 234"/>
                <a:gd name="T117" fmla="*/ 82 h 1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153"/>
                <a:gd name="T179" fmla="*/ 234 w 234"/>
                <a:gd name="T180" fmla="*/ 153 h 1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153">
                  <a:moveTo>
                    <a:pt x="60" y="82"/>
                  </a:moveTo>
                  <a:lnTo>
                    <a:pt x="38" y="87"/>
                  </a:lnTo>
                  <a:lnTo>
                    <a:pt x="33" y="87"/>
                  </a:lnTo>
                  <a:lnTo>
                    <a:pt x="11" y="87"/>
                  </a:lnTo>
                  <a:lnTo>
                    <a:pt x="0" y="76"/>
                  </a:lnTo>
                  <a:lnTo>
                    <a:pt x="5" y="65"/>
                  </a:lnTo>
                  <a:lnTo>
                    <a:pt x="5" y="54"/>
                  </a:lnTo>
                  <a:lnTo>
                    <a:pt x="11" y="49"/>
                  </a:lnTo>
                  <a:lnTo>
                    <a:pt x="22" y="32"/>
                  </a:lnTo>
                  <a:lnTo>
                    <a:pt x="16" y="11"/>
                  </a:lnTo>
                  <a:lnTo>
                    <a:pt x="27" y="11"/>
                  </a:lnTo>
                  <a:lnTo>
                    <a:pt x="33" y="5"/>
                  </a:lnTo>
                  <a:lnTo>
                    <a:pt x="49" y="5"/>
                  </a:lnTo>
                  <a:lnTo>
                    <a:pt x="65" y="11"/>
                  </a:lnTo>
                  <a:lnTo>
                    <a:pt x="65" y="16"/>
                  </a:lnTo>
                  <a:lnTo>
                    <a:pt x="71" y="16"/>
                  </a:lnTo>
                  <a:lnTo>
                    <a:pt x="82" y="16"/>
                  </a:lnTo>
                  <a:lnTo>
                    <a:pt x="87" y="16"/>
                  </a:lnTo>
                  <a:lnTo>
                    <a:pt x="92" y="11"/>
                  </a:lnTo>
                  <a:lnTo>
                    <a:pt x="98" y="16"/>
                  </a:lnTo>
                  <a:lnTo>
                    <a:pt x="103" y="16"/>
                  </a:lnTo>
                  <a:lnTo>
                    <a:pt x="109" y="22"/>
                  </a:lnTo>
                  <a:lnTo>
                    <a:pt x="109" y="16"/>
                  </a:lnTo>
                  <a:lnTo>
                    <a:pt x="114" y="5"/>
                  </a:lnTo>
                  <a:lnTo>
                    <a:pt x="125" y="0"/>
                  </a:lnTo>
                  <a:lnTo>
                    <a:pt x="131" y="5"/>
                  </a:lnTo>
                  <a:lnTo>
                    <a:pt x="136" y="0"/>
                  </a:lnTo>
                  <a:lnTo>
                    <a:pt x="152" y="0"/>
                  </a:lnTo>
                  <a:lnTo>
                    <a:pt x="158" y="5"/>
                  </a:lnTo>
                  <a:lnTo>
                    <a:pt x="158" y="11"/>
                  </a:lnTo>
                  <a:lnTo>
                    <a:pt x="158" y="16"/>
                  </a:lnTo>
                  <a:lnTo>
                    <a:pt x="163" y="22"/>
                  </a:lnTo>
                  <a:lnTo>
                    <a:pt x="169" y="22"/>
                  </a:lnTo>
                  <a:lnTo>
                    <a:pt x="174" y="27"/>
                  </a:lnTo>
                  <a:lnTo>
                    <a:pt x="174" y="32"/>
                  </a:lnTo>
                  <a:lnTo>
                    <a:pt x="174" y="38"/>
                  </a:lnTo>
                  <a:lnTo>
                    <a:pt x="179" y="38"/>
                  </a:lnTo>
                  <a:lnTo>
                    <a:pt x="185" y="38"/>
                  </a:lnTo>
                  <a:lnTo>
                    <a:pt x="190" y="38"/>
                  </a:lnTo>
                  <a:lnTo>
                    <a:pt x="196" y="38"/>
                  </a:lnTo>
                  <a:lnTo>
                    <a:pt x="207" y="43"/>
                  </a:lnTo>
                  <a:lnTo>
                    <a:pt x="212" y="43"/>
                  </a:lnTo>
                  <a:lnTo>
                    <a:pt x="218" y="49"/>
                  </a:lnTo>
                  <a:lnTo>
                    <a:pt x="234" y="54"/>
                  </a:lnTo>
                  <a:lnTo>
                    <a:pt x="234" y="60"/>
                  </a:lnTo>
                  <a:lnTo>
                    <a:pt x="234" y="65"/>
                  </a:lnTo>
                  <a:lnTo>
                    <a:pt x="228" y="65"/>
                  </a:lnTo>
                  <a:lnTo>
                    <a:pt x="234" y="71"/>
                  </a:lnTo>
                  <a:lnTo>
                    <a:pt x="228" y="71"/>
                  </a:lnTo>
                  <a:lnTo>
                    <a:pt x="228" y="76"/>
                  </a:lnTo>
                  <a:lnTo>
                    <a:pt x="228" y="87"/>
                  </a:lnTo>
                  <a:lnTo>
                    <a:pt x="223" y="87"/>
                  </a:lnTo>
                  <a:lnTo>
                    <a:pt x="218" y="87"/>
                  </a:lnTo>
                  <a:lnTo>
                    <a:pt x="212" y="93"/>
                  </a:lnTo>
                  <a:lnTo>
                    <a:pt x="207" y="98"/>
                  </a:lnTo>
                  <a:lnTo>
                    <a:pt x="207" y="103"/>
                  </a:lnTo>
                  <a:lnTo>
                    <a:pt x="174" y="114"/>
                  </a:lnTo>
                  <a:lnTo>
                    <a:pt x="169" y="120"/>
                  </a:lnTo>
                  <a:lnTo>
                    <a:pt x="169" y="114"/>
                  </a:lnTo>
                  <a:lnTo>
                    <a:pt x="163" y="120"/>
                  </a:lnTo>
                  <a:lnTo>
                    <a:pt x="163" y="125"/>
                  </a:lnTo>
                  <a:lnTo>
                    <a:pt x="163" y="120"/>
                  </a:lnTo>
                  <a:lnTo>
                    <a:pt x="158" y="125"/>
                  </a:lnTo>
                  <a:lnTo>
                    <a:pt x="152" y="120"/>
                  </a:lnTo>
                  <a:lnTo>
                    <a:pt x="158" y="125"/>
                  </a:lnTo>
                  <a:lnTo>
                    <a:pt x="163" y="125"/>
                  </a:lnTo>
                  <a:lnTo>
                    <a:pt x="158" y="125"/>
                  </a:lnTo>
                  <a:lnTo>
                    <a:pt x="163" y="131"/>
                  </a:lnTo>
                  <a:lnTo>
                    <a:pt x="169" y="136"/>
                  </a:lnTo>
                  <a:lnTo>
                    <a:pt x="185" y="136"/>
                  </a:lnTo>
                  <a:lnTo>
                    <a:pt x="185" y="142"/>
                  </a:lnTo>
                  <a:lnTo>
                    <a:pt x="174" y="142"/>
                  </a:lnTo>
                  <a:lnTo>
                    <a:pt x="152" y="153"/>
                  </a:lnTo>
                  <a:lnTo>
                    <a:pt x="147" y="153"/>
                  </a:lnTo>
                  <a:lnTo>
                    <a:pt x="147" y="142"/>
                  </a:lnTo>
                  <a:lnTo>
                    <a:pt x="136" y="136"/>
                  </a:lnTo>
                  <a:lnTo>
                    <a:pt x="152" y="125"/>
                  </a:lnTo>
                  <a:lnTo>
                    <a:pt x="147" y="120"/>
                  </a:lnTo>
                  <a:lnTo>
                    <a:pt x="125" y="120"/>
                  </a:lnTo>
                  <a:lnTo>
                    <a:pt x="131" y="114"/>
                  </a:lnTo>
                  <a:lnTo>
                    <a:pt x="125" y="114"/>
                  </a:lnTo>
                  <a:lnTo>
                    <a:pt x="131" y="114"/>
                  </a:lnTo>
                  <a:lnTo>
                    <a:pt x="125" y="109"/>
                  </a:lnTo>
                  <a:lnTo>
                    <a:pt x="109" y="114"/>
                  </a:lnTo>
                  <a:lnTo>
                    <a:pt x="109" y="120"/>
                  </a:lnTo>
                  <a:lnTo>
                    <a:pt x="103" y="114"/>
                  </a:lnTo>
                  <a:lnTo>
                    <a:pt x="109" y="125"/>
                  </a:lnTo>
                  <a:lnTo>
                    <a:pt x="98" y="131"/>
                  </a:lnTo>
                  <a:lnTo>
                    <a:pt x="98" y="125"/>
                  </a:lnTo>
                  <a:lnTo>
                    <a:pt x="98" y="136"/>
                  </a:lnTo>
                  <a:lnTo>
                    <a:pt x="82" y="136"/>
                  </a:lnTo>
                  <a:lnTo>
                    <a:pt x="76" y="131"/>
                  </a:lnTo>
                  <a:lnTo>
                    <a:pt x="82" y="131"/>
                  </a:lnTo>
                  <a:lnTo>
                    <a:pt x="87" y="125"/>
                  </a:lnTo>
                  <a:lnTo>
                    <a:pt x="87" y="120"/>
                  </a:lnTo>
                  <a:lnTo>
                    <a:pt x="92" y="114"/>
                  </a:lnTo>
                  <a:lnTo>
                    <a:pt x="103" y="114"/>
                  </a:lnTo>
                  <a:lnTo>
                    <a:pt x="103" y="109"/>
                  </a:lnTo>
                  <a:lnTo>
                    <a:pt x="98" y="103"/>
                  </a:lnTo>
                  <a:lnTo>
                    <a:pt x="98" y="98"/>
                  </a:lnTo>
                  <a:lnTo>
                    <a:pt x="92" y="93"/>
                  </a:lnTo>
                  <a:lnTo>
                    <a:pt x="92" y="87"/>
                  </a:lnTo>
                  <a:lnTo>
                    <a:pt x="87" y="82"/>
                  </a:lnTo>
                  <a:lnTo>
                    <a:pt x="82" y="82"/>
                  </a:lnTo>
                  <a:lnTo>
                    <a:pt x="71" y="76"/>
                  </a:lnTo>
                  <a:lnTo>
                    <a:pt x="65" y="76"/>
                  </a:lnTo>
                  <a:lnTo>
                    <a:pt x="60" y="82"/>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7" name="Freeform 769"/>
            <p:cNvSpPr>
              <a:spLocks/>
            </p:cNvSpPr>
            <p:nvPr/>
          </p:nvSpPr>
          <p:spPr bwMode="auto">
            <a:xfrm>
              <a:off x="3242" y="2407"/>
              <a:ext cx="39" cy="38"/>
            </a:xfrm>
            <a:custGeom>
              <a:avLst/>
              <a:gdLst>
                <a:gd name="T0" fmla="*/ 0 w 39"/>
                <a:gd name="T1" fmla="*/ 6 h 38"/>
                <a:gd name="T2" fmla="*/ 17 w 39"/>
                <a:gd name="T3" fmla="*/ 0 h 38"/>
                <a:gd name="T4" fmla="*/ 17 w 39"/>
                <a:gd name="T5" fmla="*/ 0 h 38"/>
                <a:gd name="T6" fmla="*/ 22 w 39"/>
                <a:gd name="T7" fmla="*/ 6 h 38"/>
                <a:gd name="T8" fmla="*/ 22 w 39"/>
                <a:gd name="T9" fmla="*/ 6 h 38"/>
                <a:gd name="T10" fmla="*/ 22 w 39"/>
                <a:gd name="T11" fmla="*/ 11 h 38"/>
                <a:gd name="T12" fmla="*/ 28 w 39"/>
                <a:gd name="T13" fmla="*/ 16 h 38"/>
                <a:gd name="T14" fmla="*/ 28 w 39"/>
                <a:gd name="T15" fmla="*/ 22 h 38"/>
                <a:gd name="T16" fmla="*/ 33 w 39"/>
                <a:gd name="T17" fmla="*/ 27 h 38"/>
                <a:gd name="T18" fmla="*/ 39 w 39"/>
                <a:gd name="T19" fmla="*/ 27 h 38"/>
                <a:gd name="T20" fmla="*/ 39 w 39"/>
                <a:gd name="T21" fmla="*/ 33 h 38"/>
                <a:gd name="T22" fmla="*/ 33 w 39"/>
                <a:gd name="T23" fmla="*/ 33 h 38"/>
                <a:gd name="T24" fmla="*/ 39 w 39"/>
                <a:gd name="T25" fmla="*/ 38 h 38"/>
                <a:gd name="T26" fmla="*/ 33 w 39"/>
                <a:gd name="T27" fmla="*/ 38 h 38"/>
                <a:gd name="T28" fmla="*/ 28 w 39"/>
                <a:gd name="T29" fmla="*/ 27 h 38"/>
                <a:gd name="T30" fmla="*/ 22 w 39"/>
                <a:gd name="T31" fmla="*/ 27 h 38"/>
                <a:gd name="T32" fmla="*/ 17 w 39"/>
                <a:gd name="T33" fmla="*/ 27 h 38"/>
                <a:gd name="T34" fmla="*/ 17 w 39"/>
                <a:gd name="T35" fmla="*/ 27 h 38"/>
                <a:gd name="T36" fmla="*/ 11 w 39"/>
                <a:gd name="T37" fmla="*/ 27 h 38"/>
                <a:gd name="T38" fmla="*/ 0 w 39"/>
                <a:gd name="T39" fmla="*/ 16 h 38"/>
                <a:gd name="T40" fmla="*/ 0 w 39"/>
                <a:gd name="T41" fmla="*/ 6 h 38"/>
                <a:gd name="T42" fmla="*/ 0 w 39"/>
                <a:gd name="T43" fmla="*/ 6 h 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9"/>
                <a:gd name="T67" fmla="*/ 0 h 38"/>
                <a:gd name="T68" fmla="*/ 39 w 39"/>
                <a:gd name="T69" fmla="*/ 38 h 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9" h="38">
                  <a:moveTo>
                    <a:pt x="0" y="6"/>
                  </a:moveTo>
                  <a:lnTo>
                    <a:pt x="17" y="0"/>
                  </a:lnTo>
                  <a:lnTo>
                    <a:pt x="22" y="6"/>
                  </a:lnTo>
                  <a:lnTo>
                    <a:pt x="22" y="11"/>
                  </a:lnTo>
                  <a:lnTo>
                    <a:pt x="28" y="16"/>
                  </a:lnTo>
                  <a:lnTo>
                    <a:pt x="28" y="22"/>
                  </a:lnTo>
                  <a:lnTo>
                    <a:pt x="33" y="27"/>
                  </a:lnTo>
                  <a:lnTo>
                    <a:pt x="39" y="27"/>
                  </a:lnTo>
                  <a:lnTo>
                    <a:pt x="39" y="33"/>
                  </a:lnTo>
                  <a:lnTo>
                    <a:pt x="33" y="33"/>
                  </a:lnTo>
                  <a:lnTo>
                    <a:pt x="39" y="38"/>
                  </a:lnTo>
                  <a:lnTo>
                    <a:pt x="33" y="38"/>
                  </a:lnTo>
                  <a:lnTo>
                    <a:pt x="28" y="27"/>
                  </a:lnTo>
                  <a:lnTo>
                    <a:pt x="22" y="27"/>
                  </a:lnTo>
                  <a:lnTo>
                    <a:pt x="17" y="27"/>
                  </a:lnTo>
                  <a:lnTo>
                    <a:pt x="11" y="27"/>
                  </a:lnTo>
                  <a:lnTo>
                    <a:pt x="0" y="16"/>
                  </a:lnTo>
                  <a:lnTo>
                    <a:pt x="0" y="6"/>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8" name="Freeform 770"/>
            <p:cNvSpPr>
              <a:spLocks/>
            </p:cNvSpPr>
            <p:nvPr/>
          </p:nvSpPr>
          <p:spPr bwMode="auto">
            <a:xfrm>
              <a:off x="3259" y="2434"/>
              <a:ext cx="16" cy="11"/>
            </a:xfrm>
            <a:custGeom>
              <a:avLst/>
              <a:gdLst>
                <a:gd name="T0" fmla="*/ 0 w 16"/>
                <a:gd name="T1" fmla="*/ 0 h 11"/>
                <a:gd name="T2" fmla="*/ 0 w 16"/>
                <a:gd name="T3" fmla="*/ 0 h 11"/>
                <a:gd name="T4" fmla="*/ 5 w 16"/>
                <a:gd name="T5" fmla="*/ 0 h 11"/>
                <a:gd name="T6" fmla="*/ 11 w 16"/>
                <a:gd name="T7" fmla="*/ 0 h 11"/>
                <a:gd name="T8" fmla="*/ 16 w 16"/>
                <a:gd name="T9" fmla="*/ 11 h 11"/>
                <a:gd name="T10" fmla="*/ 5 w 16"/>
                <a:gd name="T11" fmla="*/ 11 h 11"/>
                <a:gd name="T12" fmla="*/ 0 w 16"/>
                <a:gd name="T13" fmla="*/ 0 h 11"/>
                <a:gd name="T14" fmla="*/ 0 w 16"/>
                <a:gd name="T15" fmla="*/ 0 h 1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1"/>
                <a:gd name="T26" fmla="*/ 16 w 16"/>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1">
                  <a:moveTo>
                    <a:pt x="0" y="0"/>
                  </a:moveTo>
                  <a:lnTo>
                    <a:pt x="0" y="0"/>
                  </a:lnTo>
                  <a:lnTo>
                    <a:pt x="5" y="0"/>
                  </a:lnTo>
                  <a:lnTo>
                    <a:pt x="11" y="0"/>
                  </a:lnTo>
                  <a:lnTo>
                    <a:pt x="16" y="11"/>
                  </a:lnTo>
                  <a:lnTo>
                    <a:pt x="5" y="11"/>
                  </a:lnTo>
                  <a:lnTo>
                    <a:pt x="0" y="0"/>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49" name="Freeform 771"/>
            <p:cNvSpPr>
              <a:spLocks/>
            </p:cNvSpPr>
            <p:nvPr/>
          </p:nvSpPr>
          <p:spPr bwMode="auto">
            <a:xfrm>
              <a:off x="3259" y="2396"/>
              <a:ext cx="71" cy="60"/>
            </a:xfrm>
            <a:custGeom>
              <a:avLst/>
              <a:gdLst>
                <a:gd name="T0" fmla="*/ 22 w 71"/>
                <a:gd name="T1" fmla="*/ 49 h 60"/>
                <a:gd name="T2" fmla="*/ 16 w 71"/>
                <a:gd name="T3" fmla="*/ 44 h 60"/>
                <a:gd name="T4" fmla="*/ 22 w 71"/>
                <a:gd name="T5" fmla="*/ 44 h 60"/>
                <a:gd name="T6" fmla="*/ 22 w 71"/>
                <a:gd name="T7" fmla="*/ 38 h 60"/>
                <a:gd name="T8" fmla="*/ 16 w 71"/>
                <a:gd name="T9" fmla="*/ 38 h 60"/>
                <a:gd name="T10" fmla="*/ 11 w 71"/>
                <a:gd name="T11" fmla="*/ 33 h 60"/>
                <a:gd name="T12" fmla="*/ 11 w 71"/>
                <a:gd name="T13" fmla="*/ 27 h 60"/>
                <a:gd name="T14" fmla="*/ 5 w 71"/>
                <a:gd name="T15" fmla="*/ 22 h 60"/>
                <a:gd name="T16" fmla="*/ 5 w 71"/>
                <a:gd name="T17" fmla="*/ 17 h 60"/>
                <a:gd name="T18" fmla="*/ 5 w 71"/>
                <a:gd name="T19" fmla="*/ 17 h 60"/>
                <a:gd name="T20" fmla="*/ 0 w 71"/>
                <a:gd name="T21" fmla="*/ 11 h 60"/>
                <a:gd name="T22" fmla="*/ 5 w 71"/>
                <a:gd name="T23" fmla="*/ 6 h 60"/>
                <a:gd name="T24" fmla="*/ 22 w 71"/>
                <a:gd name="T25" fmla="*/ 11 h 60"/>
                <a:gd name="T26" fmla="*/ 22 w 71"/>
                <a:gd name="T27" fmla="*/ 11 h 60"/>
                <a:gd name="T28" fmla="*/ 16 w 71"/>
                <a:gd name="T29" fmla="*/ 6 h 60"/>
                <a:gd name="T30" fmla="*/ 22 w 71"/>
                <a:gd name="T31" fmla="*/ 0 h 60"/>
                <a:gd name="T32" fmla="*/ 27 w 71"/>
                <a:gd name="T33" fmla="*/ 6 h 60"/>
                <a:gd name="T34" fmla="*/ 32 w 71"/>
                <a:gd name="T35" fmla="*/ 11 h 60"/>
                <a:gd name="T36" fmla="*/ 38 w 71"/>
                <a:gd name="T37" fmla="*/ 11 h 60"/>
                <a:gd name="T38" fmla="*/ 43 w 71"/>
                <a:gd name="T39" fmla="*/ 0 h 60"/>
                <a:gd name="T40" fmla="*/ 49 w 71"/>
                <a:gd name="T41" fmla="*/ 6 h 60"/>
                <a:gd name="T42" fmla="*/ 60 w 71"/>
                <a:gd name="T43" fmla="*/ 22 h 60"/>
                <a:gd name="T44" fmla="*/ 65 w 71"/>
                <a:gd name="T45" fmla="*/ 22 h 60"/>
                <a:gd name="T46" fmla="*/ 71 w 71"/>
                <a:gd name="T47" fmla="*/ 27 h 60"/>
                <a:gd name="T48" fmla="*/ 65 w 71"/>
                <a:gd name="T49" fmla="*/ 27 h 60"/>
                <a:gd name="T50" fmla="*/ 60 w 71"/>
                <a:gd name="T51" fmla="*/ 27 h 60"/>
                <a:gd name="T52" fmla="*/ 54 w 71"/>
                <a:gd name="T53" fmla="*/ 49 h 60"/>
                <a:gd name="T54" fmla="*/ 49 w 71"/>
                <a:gd name="T55" fmla="*/ 44 h 60"/>
                <a:gd name="T56" fmla="*/ 49 w 71"/>
                <a:gd name="T57" fmla="*/ 60 h 60"/>
                <a:gd name="T58" fmla="*/ 38 w 71"/>
                <a:gd name="T59" fmla="*/ 55 h 60"/>
                <a:gd name="T60" fmla="*/ 43 w 71"/>
                <a:gd name="T61" fmla="*/ 49 h 60"/>
                <a:gd name="T62" fmla="*/ 43 w 71"/>
                <a:gd name="T63" fmla="*/ 38 h 60"/>
                <a:gd name="T64" fmla="*/ 38 w 71"/>
                <a:gd name="T65" fmla="*/ 38 h 60"/>
                <a:gd name="T66" fmla="*/ 27 w 71"/>
                <a:gd name="T67" fmla="*/ 44 h 60"/>
                <a:gd name="T68" fmla="*/ 22 w 71"/>
                <a:gd name="T69" fmla="*/ 49 h 60"/>
                <a:gd name="T70" fmla="*/ 22 w 71"/>
                <a:gd name="T71" fmla="*/ 49 h 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1"/>
                <a:gd name="T109" fmla="*/ 0 h 60"/>
                <a:gd name="T110" fmla="*/ 71 w 71"/>
                <a:gd name="T111" fmla="*/ 60 h 6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1" h="60">
                  <a:moveTo>
                    <a:pt x="22" y="49"/>
                  </a:moveTo>
                  <a:lnTo>
                    <a:pt x="16" y="44"/>
                  </a:lnTo>
                  <a:lnTo>
                    <a:pt x="22" y="44"/>
                  </a:lnTo>
                  <a:lnTo>
                    <a:pt x="22" y="38"/>
                  </a:lnTo>
                  <a:lnTo>
                    <a:pt x="16" y="38"/>
                  </a:lnTo>
                  <a:lnTo>
                    <a:pt x="11" y="33"/>
                  </a:lnTo>
                  <a:lnTo>
                    <a:pt x="11" y="27"/>
                  </a:lnTo>
                  <a:lnTo>
                    <a:pt x="5" y="22"/>
                  </a:lnTo>
                  <a:lnTo>
                    <a:pt x="5" y="17"/>
                  </a:lnTo>
                  <a:lnTo>
                    <a:pt x="0" y="11"/>
                  </a:lnTo>
                  <a:lnTo>
                    <a:pt x="5" y="6"/>
                  </a:lnTo>
                  <a:lnTo>
                    <a:pt x="22" y="11"/>
                  </a:lnTo>
                  <a:lnTo>
                    <a:pt x="16" y="6"/>
                  </a:lnTo>
                  <a:lnTo>
                    <a:pt x="22" y="0"/>
                  </a:lnTo>
                  <a:lnTo>
                    <a:pt x="27" y="6"/>
                  </a:lnTo>
                  <a:lnTo>
                    <a:pt x="32" y="11"/>
                  </a:lnTo>
                  <a:lnTo>
                    <a:pt x="38" y="11"/>
                  </a:lnTo>
                  <a:lnTo>
                    <a:pt x="43" y="0"/>
                  </a:lnTo>
                  <a:lnTo>
                    <a:pt x="49" y="6"/>
                  </a:lnTo>
                  <a:lnTo>
                    <a:pt x="60" y="22"/>
                  </a:lnTo>
                  <a:lnTo>
                    <a:pt x="65" y="22"/>
                  </a:lnTo>
                  <a:lnTo>
                    <a:pt x="71" y="27"/>
                  </a:lnTo>
                  <a:lnTo>
                    <a:pt x="65" y="27"/>
                  </a:lnTo>
                  <a:lnTo>
                    <a:pt x="60" y="27"/>
                  </a:lnTo>
                  <a:lnTo>
                    <a:pt x="54" y="49"/>
                  </a:lnTo>
                  <a:lnTo>
                    <a:pt x="49" y="44"/>
                  </a:lnTo>
                  <a:lnTo>
                    <a:pt x="49" y="60"/>
                  </a:lnTo>
                  <a:lnTo>
                    <a:pt x="38" y="55"/>
                  </a:lnTo>
                  <a:lnTo>
                    <a:pt x="43" y="49"/>
                  </a:lnTo>
                  <a:lnTo>
                    <a:pt x="43" y="38"/>
                  </a:lnTo>
                  <a:lnTo>
                    <a:pt x="38" y="38"/>
                  </a:lnTo>
                  <a:lnTo>
                    <a:pt x="27" y="44"/>
                  </a:lnTo>
                  <a:lnTo>
                    <a:pt x="22" y="49"/>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0" name="Freeform 772"/>
            <p:cNvSpPr>
              <a:spLocks/>
            </p:cNvSpPr>
            <p:nvPr/>
          </p:nvSpPr>
          <p:spPr bwMode="auto">
            <a:xfrm>
              <a:off x="3193" y="2369"/>
              <a:ext cx="88" cy="44"/>
            </a:xfrm>
            <a:custGeom>
              <a:avLst/>
              <a:gdLst>
                <a:gd name="T0" fmla="*/ 49 w 88"/>
                <a:gd name="T1" fmla="*/ 44 h 44"/>
                <a:gd name="T2" fmla="*/ 39 w 88"/>
                <a:gd name="T3" fmla="*/ 33 h 44"/>
                <a:gd name="T4" fmla="*/ 33 w 88"/>
                <a:gd name="T5" fmla="*/ 33 h 44"/>
                <a:gd name="T6" fmla="*/ 22 w 88"/>
                <a:gd name="T7" fmla="*/ 33 h 44"/>
                <a:gd name="T8" fmla="*/ 22 w 88"/>
                <a:gd name="T9" fmla="*/ 33 h 44"/>
                <a:gd name="T10" fmla="*/ 22 w 88"/>
                <a:gd name="T11" fmla="*/ 27 h 44"/>
                <a:gd name="T12" fmla="*/ 17 w 88"/>
                <a:gd name="T13" fmla="*/ 11 h 44"/>
                <a:gd name="T14" fmla="*/ 6 w 88"/>
                <a:gd name="T15" fmla="*/ 5 h 44"/>
                <a:gd name="T16" fmla="*/ 0 w 88"/>
                <a:gd name="T17" fmla="*/ 0 h 44"/>
                <a:gd name="T18" fmla="*/ 11 w 88"/>
                <a:gd name="T19" fmla="*/ 0 h 44"/>
                <a:gd name="T20" fmla="*/ 28 w 88"/>
                <a:gd name="T21" fmla="*/ 5 h 44"/>
                <a:gd name="T22" fmla="*/ 39 w 88"/>
                <a:gd name="T23" fmla="*/ 5 h 44"/>
                <a:gd name="T24" fmla="*/ 55 w 88"/>
                <a:gd name="T25" fmla="*/ 16 h 44"/>
                <a:gd name="T26" fmla="*/ 66 w 88"/>
                <a:gd name="T27" fmla="*/ 11 h 44"/>
                <a:gd name="T28" fmla="*/ 71 w 88"/>
                <a:gd name="T29" fmla="*/ 11 h 44"/>
                <a:gd name="T30" fmla="*/ 77 w 88"/>
                <a:gd name="T31" fmla="*/ 16 h 44"/>
                <a:gd name="T32" fmla="*/ 77 w 88"/>
                <a:gd name="T33" fmla="*/ 22 h 44"/>
                <a:gd name="T34" fmla="*/ 88 w 88"/>
                <a:gd name="T35" fmla="*/ 27 h 44"/>
                <a:gd name="T36" fmla="*/ 82 w 88"/>
                <a:gd name="T37" fmla="*/ 33 h 44"/>
                <a:gd name="T38" fmla="*/ 88 w 88"/>
                <a:gd name="T39" fmla="*/ 38 h 44"/>
                <a:gd name="T40" fmla="*/ 88 w 88"/>
                <a:gd name="T41" fmla="*/ 38 h 44"/>
                <a:gd name="T42" fmla="*/ 71 w 88"/>
                <a:gd name="T43" fmla="*/ 33 h 44"/>
                <a:gd name="T44" fmla="*/ 66 w 88"/>
                <a:gd name="T45" fmla="*/ 38 h 44"/>
                <a:gd name="T46" fmla="*/ 66 w 88"/>
                <a:gd name="T47" fmla="*/ 38 h 44"/>
                <a:gd name="T48" fmla="*/ 49 w 88"/>
                <a:gd name="T49" fmla="*/ 44 h 44"/>
                <a:gd name="T50" fmla="*/ 49 w 88"/>
                <a:gd name="T51" fmla="*/ 44 h 4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8"/>
                <a:gd name="T79" fmla="*/ 0 h 44"/>
                <a:gd name="T80" fmla="*/ 88 w 88"/>
                <a:gd name="T81" fmla="*/ 44 h 4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8" h="44">
                  <a:moveTo>
                    <a:pt x="49" y="44"/>
                  </a:moveTo>
                  <a:lnTo>
                    <a:pt x="39" y="33"/>
                  </a:lnTo>
                  <a:lnTo>
                    <a:pt x="33" y="33"/>
                  </a:lnTo>
                  <a:lnTo>
                    <a:pt x="22" y="33"/>
                  </a:lnTo>
                  <a:lnTo>
                    <a:pt x="22" y="27"/>
                  </a:lnTo>
                  <a:lnTo>
                    <a:pt x="17" y="11"/>
                  </a:lnTo>
                  <a:lnTo>
                    <a:pt x="6" y="5"/>
                  </a:lnTo>
                  <a:lnTo>
                    <a:pt x="0" y="0"/>
                  </a:lnTo>
                  <a:lnTo>
                    <a:pt x="11" y="0"/>
                  </a:lnTo>
                  <a:lnTo>
                    <a:pt x="28" y="5"/>
                  </a:lnTo>
                  <a:lnTo>
                    <a:pt x="39" y="5"/>
                  </a:lnTo>
                  <a:lnTo>
                    <a:pt x="55" y="16"/>
                  </a:lnTo>
                  <a:lnTo>
                    <a:pt x="66" y="11"/>
                  </a:lnTo>
                  <a:lnTo>
                    <a:pt x="71" y="11"/>
                  </a:lnTo>
                  <a:lnTo>
                    <a:pt x="77" y="16"/>
                  </a:lnTo>
                  <a:lnTo>
                    <a:pt x="77" y="22"/>
                  </a:lnTo>
                  <a:lnTo>
                    <a:pt x="88" y="27"/>
                  </a:lnTo>
                  <a:lnTo>
                    <a:pt x="82" y="33"/>
                  </a:lnTo>
                  <a:lnTo>
                    <a:pt x="88" y="38"/>
                  </a:lnTo>
                  <a:lnTo>
                    <a:pt x="71" y="33"/>
                  </a:lnTo>
                  <a:lnTo>
                    <a:pt x="66" y="38"/>
                  </a:lnTo>
                  <a:lnTo>
                    <a:pt x="49" y="44"/>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1" name="Freeform 773"/>
            <p:cNvSpPr>
              <a:spLocks/>
            </p:cNvSpPr>
            <p:nvPr/>
          </p:nvSpPr>
          <p:spPr bwMode="auto">
            <a:xfrm>
              <a:off x="3357" y="2380"/>
              <a:ext cx="185" cy="125"/>
            </a:xfrm>
            <a:custGeom>
              <a:avLst/>
              <a:gdLst>
                <a:gd name="T0" fmla="*/ 179 w 185"/>
                <a:gd name="T1" fmla="*/ 87 h 125"/>
                <a:gd name="T2" fmla="*/ 174 w 185"/>
                <a:gd name="T3" fmla="*/ 76 h 125"/>
                <a:gd name="T4" fmla="*/ 158 w 185"/>
                <a:gd name="T5" fmla="*/ 65 h 125"/>
                <a:gd name="T6" fmla="*/ 141 w 185"/>
                <a:gd name="T7" fmla="*/ 60 h 125"/>
                <a:gd name="T8" fmla="*/ 120 w 185"/>
                <a:gd name="T9" fmla="*/ 27 h 125"/>
                <a:gd name="T10" fmla="*/ 114 w 185"/>
                <a:gd name="T11" fmla="*/ 27 h 125"/>
                <a:gd name="T12" fmla="*/ 98 w 185"/>
                <a:gd name="T13" fmla="*/ 16 h 125"/>
                <a:gd name="T14" fmla="*/ 98 w 185"/>
                <a:gd name="T15" fmla="*/ 16 h 125"/>
                <a:gd name="T16" fmla="*/ 87 w 185"/>
                <a:gd name="T17" fmla="*/ 11 h 125"/>
                <a:gd name="T18" fmla="*/ 76 w 185"/>
                <a:gd name="T19" fmla="*/ 5 h 125"/>
                <a:gd name="T20" fmla="*/ 76 w 185"/>
                <a:gd name="T21" fmla="*/ 5 h 125"/>
                <a:gd name="T22" fmla="*/ 71 w 185"/>
                <a:gd name="T23" fmla="*/ 11 h 125"/>
                <a:gd name="T24" fmla="*/ 60 w 185"/>
                <a:gd name="T25" fmla="*/ 16 h 125"/>
                <a:gd name="T26" fmla="*/ 60 w 185"/>
                <a:gd name="T27" fmla="*/ 27 h 125"/>
                <a:gd name="T28" fmla="*/ 38 w 185"/>
                <a:gd name="T29" fmla="*/ 27 h 125"/>
                <a:gd name="T30" fmla="*/ 22 w 185"/>
                <a:gd name="T31" fmla="*/ 5 h 125"/>
                <a:gd name="T32" fmla="*/ 0 w 185"/>
                <a:gd name="T33" fmla="*/ 16 h 125"/>
                <a:gd name="T34" fmla="*/ 0 w 185"/>
                <a:gd name="T35" fmla="*/ 22 h 125"/>
                <a:gd name="T36" fmla="*/ 16 w 185"/>
                <a:gd name="T37" fmla="*/ 16 h 125"/>
                <a:gd name="T38" fmla="*/ 27 w 185"/>
                <a:gd name="T39" fmla="*/ 33 h 125"/>
                <a:gd name="T40" fmla="*/ 22 w 185"/>
                <a:gd name="T41" fmla="*/ 38 h 125"/>
                <a:gd name="T42" fmla="*/ 5 w 185"/>
                <a:gd name="T43" fmla="*/ 38 h 125"/>
                <a:gd name="T44" fmla="*/ 0 w 185"/>
                <a:gd name="T45" fmla="*/ 43 h 125"/>
                <a:gd name="T46" fmla="*/ 11 w 185"/>
                <a:gd name="T47" fmla="*/ 49 h 125"/>
                <a:gd name="T48" fmla="*/ 11 w 185"/>
                <a:gd name="T49" fmla="*/ 54 h 125"/>
                <a:gd name="T50" fmla="*/ 11 w 185"/>
                <a:gd name="T51" fmla="*/ 60 h 125"/>
                <a:gd name="T52" fmla="*/ 16 w 185"/>
                <a:gd name="T53" fmla="*/ 76 h 125"/>
                <a:gd name="T54" fmla="*/ 27 w 185"/>
                <a:gd name="T55" fmla="*/ 87 h 125"/>
                <a:gd name="T56" fmla="*/ 60 w 185"/>
                <a:gd name="T57" fmla="*/ 76 h 125"/>
                <a:gd name="T58" fmla="*/ 87 w 185"/>
                <a:gd name="T59" fmla="*/ 87 h 125"/>
                <a:gd name="T60" fmla="*/ 103 w 185"/>
                <a:gd name="T61" fmla="*/ 103 h 125"/>
                <a:gd name="T62" fmla="*/ 114 w 185"/>
                <a:gd name="T63" fmla="*/ 120 h 125"/>
                <a:gd name="T64" fmla="*/ 114 w 185"/>
                <a:gd name="T65" fmla="*/ 125 h 125"/>
                <a:gd name="T66" fmla="*/ 136 w 185"/>
                <a:gd name="T67" fmla="*/ 125 h 125"/>
                <a:gd name="T68" fmla="*/ 136 w 185"/>
                <a:gd name="T69" fmla="*/ 120 h 125"/>
                <a:gd name="T70" fmla="*/ 158 w 185"/>
                <a:gd name="T71" fmla="*/ 93 h 125"/>
                <a:gd name="T72" fmla="*/ 168 w 185"/>
                <a:gd name="T73" fmla="*/ 93 h 125"/>
                <a:gd name="T74" fmla="*/ 179 w 185"/>
                <a:gd name="T75" fmla="*/ 93 h 1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5"/>
                <a:gd name="T115" fmla="*/ 0 h 125"/>
                <a:gd name="T116" fmla="*/ 185 w 185"/>
                <a:gd name="T117" fmla="*/ 125 h 12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5" h="125">
                  <a:moveTo>
                    <a:pt x="179" y="93"/>
                  </a:moveTo>
                  <a:lnTo>
                    <a:pt x="179" y="87"/>
                  </a:lnTo>
                  <a:lnTo>
                    <a:pt x="185" y="82"/>
                  </a:lnTo>
                  <a:lnTo>
                    <a:pt x="174" y="76"/>
                  </a:lnTo>
                  <a:lnTo>
                    <a:pt x="168" y="76"/>
                  </a:lnTo>
                  <a:lnTo>
                    <a:pt x="158" y="65"/>
                  </a:lnTo>
                  <a:lnTo>
                    <a:pt x="147" y="65"/>
                  </a:lnTo>
                  <a:lnTo>
                    <a:pt x="141" y="60"/>
                  </a:lnTo>
                  <a:lnTo>
                    <a:pt x="130" y="49"/>
                  </a:lnTo>
                  <a:lnTo>
                    <a:pt x="120" y="27"/>
                  </a:lnTo>
                  <a:lnTo>
                    <a:pt x="114" y="27"/>
                  </a:lnTo>
                  <a:lnTo>
                    <a:pt x="98" y="27"/>
                  </a:lnTo>
                  <a:lnTo>
                    <a:pt x="98" y="16"/>
                  </a:lnTo>
                  <a:lnTo>
                    <a:pt x="98" y="11"/>
                  </a:lnTo>
                  <a:lnTo>
                    <a:pt x="87" y="11"/>
                  </a:lnTo>
                  <a:lnTo>
                    <a:pt x="81" y="0"/>
                  </a:lnTo>
                  <a:lnTo>
                    <a:pt x="76" y="5"/>
                  </a:lnTo>
                  <a:lnTo>
                    <a:pt x="71" y="5"/>
                  </a:lnTo>
                  <a:lnTo>
                    <a:pt x="71" y="11"/>
                  </a:lnTo>
                  <a:lnTo>
                    <a:pt x="60" y="11"/>
                  </a:lnTo>
                  <a:lnTo>
                    <a:pt x="60" y="16"/>
                  </a:lnTo>
                  <a:lnTo>
                    <a:pt x="60" y="27"/>
                  </a:lnTo>
                  <a:lnTo>
                    <a:pt x="43" y="27"/>
                  </a:lnTo>
                  <a:lnTo>
                    <a:pt x="38" y="27"/>
                  </a:lnTo>
                  <a:lnTo>
                    <a:pt x="27" y="11"/>
                  </a:lnTo>
                  <a:lnTo>
                    <a:pt x="22" y="5"/>
                  </a:lnTo>
                  <a:lnTo>
                    <a:pt x="5" y="11"/>
                  </a:lnTo>
                  <a:lnTo>
                    <a:pt x="0" y="16"/>
                  </a:lnTo>
                  <a:lnTo>
                    <a:pt x="0" y="27"/>
                  </a:lnTo>
                  <a:lnTo>
                    <a:pt x="0" y="22"/>
                  </a:lnTo>
                  <a:lnTo>
                    <a:pt x="11" y="16"/>
                  </a:lnTo>
                  <a:lnTo>
                    <a:pt x="16" y="16"/>
                  </a:lnTo>
                  <a:lnTo>
                    <a:pt x="22" y="22"/>
                  </a:lnTo>
                  <a:lnTo>
                    <a:pt x="27" y="33"/>
                  </a:lnTo>
                  <a:lnTo>
                    <a:pt x="22" y="38"/>
                  </a:lnTo>
                  <a:lnTo>
                    <a:pt x="5" y="38"/>
                  </a:lnTo>
                  <a:lnTo>
                    <a:pt x="5" y="33"/>
                  </a:lnTo>
                  <a:lnTo>
                    <a:pt x="0" y="43"/>
                  </a:lnTo>
                  <a:lnTo>
                    <a:pt x="5" y="49"/>
                  </a:lnTo>
                  <a:lnTo>
                    <a:pt x="11" y="49"/>
                  </a:lnTo>
                  <a:lnTo>
                    <a:pt x="11" y="54"/>
                  </a:lnTo>
                  <a:lnTo>
                    <a:pt x="16" y="54"/>
                  </a:lnTo>
                  <a:lnTo>
                    <a:pt x="11" y="60"/>
                  </a:lnTo>
                  <a:lnTo>
                    <a:pt x="22" y="65"/>
                  </a:lnTo>
                  <a:lnTo>
                    <a:pt x="16" y="76"/>
                  </a:lnTo>
                  <a:lnTo>
                    <a:pt x="16" y="93"/>
                  </a:lnTo>
                  <a:lnTo>
                    <a:pt x="27" y="87"/>
                  </a:lnTo>
                  <a:lnTo>
                    <a:pt x="38" y="82"/>
                  </a:lnTo>
                  <a:lnTo>
                    <a:pt x="60" y="76"/>
                  </a:lnTo>
                  <a:lnTo>
                    <a:pt x="65" y="82"/>
                  </a:lnTo>
                  <a:lnTo>
                    <a:pt x="87" y="87"/>
                  </a:lnTo>
                  <a:lnTo>
                    <a:pt x="87" y="93"/>
                  </a:lnTo>
                  <a:lnTo>
                    <a:pt x="103" y="103"/>
                  </a:lnTo>
                  <a:lnTo>
                    <a:pt x="109" y="103"/>
                  </a:lnTo>
                  <a:lnTo>
                    <a:pt x="114" y="120"/>
                  </a:lnTo>
                  <a:lnTo>
                    <a:pt x="114" y="125"/>
                  </a:lnTo>
                  <a:lnTo>
                    <a:pt x="130" y="125"/>
                  </a:lnTo>
                  <a:lnTo>
                    <a:pt x="136" y="125"/>
                  </a:lnTo>
                  <a:lnTo>
                    <a:pt x="136" y="120"/>
                  </a:lnTo>
                  <a:lnTo>
                    <a:pt x="152" y="109"/>
                  </a:lnTo>
                  <a:lnTo>
                    <a:pt x="158" y="93"/>
                  </a:lnTo>
                  <a:lnTo>
                    <a:pt x="163" y="93"/>
                  </a:lnTo>
                  <a:lnTo>
                    <a:pt x="168" y="93"/>
                  </a:lnTo>
                  <a:lnTo>
                    <a:pt x="179" y="93"/>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2" name="Freeform 774"/>
            <p:cNvSpPr>
              <a:spLocks/>
            </p:cNvSpPr>
            <p:nvPr/>
          </p:nvSpPr>
          <p:spPr bwMode="auto">
            <a:xfrm>
              <a:off x="3400" y="2331"/>
              <a:ext cx="223" cy="142"/>
            </a:xfrm>
            <a:custGeom>
              <a:avLst/>
              <a:gdLst>
                <a:gd name="T0" fmla="*/ 191 w 223"/>
                <a:gd name="T1" fmla="*/ 92 h 142"/>
                <a:gd name="T2" fmla="*/ 191 w 223"/>
                <a:gd name="T3" fmla="*/ 87 h 142"/>
                <a:gd name="T4" fmla="*/ 191 w 223"/>
                <a:gd name="T5" fmla="*/ 82 h 142"/>
                <a:gd name="T6" fmla="*/ 174 w 223"/>
                <a:gd name="T7" fmla="*/ 87 h 142"/>
                <a:gd name="T8" fmla="*/ 174 w 223"/>
                <a:gd name="T9" fmla="*/ 92 h 142"/>
                <a:gd name="T10" fmla="*/ 164 w 223"/>
                <a:gd name="T11" fmla="*/ 103 h 142"/>
                <a:gd name="T12" fmla="*/ 147 w 223"/>
                <a:gd name="T13" fmla="*/ 109 h 142"/>
                <a:gd name="T14" fmla="*/ 158 w 223"/>
                <a:gd name="T15" fmla="*/ 114 h 142"/>
                <a:gd name="T16" fmla="*/ 164 w 223"/>
                <a:gd name="T17" fmla="*/ 125 h 142"/>
                <a:gd name="T18" fmla="*/ 153 w 223"/>
                <a:gd name="T19" fmla="*/ 142 h 142"/>
                <a:gd name="T20" fmla="*/ 136 w 223"/>
                <a:gd name="T21" fmla="*/ 136 h 142"/>
                <a:gd name="T22" fmla="*/ 131 w 223"/>
                <a:gd name="T23" fmla="*/ 125 h 142"/>
                <a:gd name="T24" fmla="*/ 115 w 223"/>
                <a:gd name="T25" fmla="*/ 114 h 142"/>
                <a:gd name="T26" fmla="*/ 98 w 223"/>
                <a:gd name="T27" fmla="*/ 109 h 142"/>
                <a:gd name="T28" fmla="*/ 77 w 223"/>
                <a:gd name="T29" fmla="*/ 76 h 142"/>
                <a:gd name="T30" fmla="*/ 71 w 223"/>
                <a:gd name="T31" fmla="*/ 76 h 142"/>
                <a:gd name="T32" fmla="*/ 55 w 223"/>
                <a:gd name="T33" fmla="*/ 65 h 142"/>
                <a:gd name="T34" fmla="*/ 55 w 223"/>
                <a:gd name="T35" fmla="*/ 65 h 142"/>
                <a:gd name="T36" fmla="*/ 44 w 223"/>
                <a:gd name="T37" fmla="*/ 60 h 142"/>
                <a:gd name="T38" fmla="*/ 33 w 223"/>
                <a:gd name="T39" fmla="*/ 54 h 142"/>
                <a:gd name="T40" fmla="*/ 33 w 223"/>
                <a:gd name="T41" fmla="*/ 54 h 142"/>
                <a:gd name="T42" fmla="*/ 28 w 223"/>
                <a:gd name="T43" fmla="*/ 60 h 142"/>
                <a:gd name="T44" fmla="*/ 17 w 223"/>
                <a:gd name="T45" fmla="*/ 65 h 142"/>
                <a:gd name="T46" fmla="*/ 17 w 223"/>
                <a:gd name="T47" fmla="*/ 76 h 142"/>
                <a:gd name="T48" fmla="*/ 0 w 223"/>
                <a:gd name="T49" fmla="*/ 76 h 142"/>
                <a:gd name="T50" fmla="*/ 33 w 223"/>
                <a:gd name="T51" fmla="*/ 0 h 142"/>
                <a:gd name="T52" fmla="*/ 55 w 223"/>
                <a:gd name="T53" fmla="*/ 11 h 142"/>
                <a:gd name="T54" fmla="*/ 120 w 223"/>
                <a:gd name="T55" fmla="*/ 32 h 142"/>
                <a:gd name="T56" fmla="*/ 131 w 223"/>
                <a:gd name="T57" fmla="*/ 49 h 142"/>
                <a:gd name="T58" fmla="*/ 131 w 223"/>
                <a:gd name="T59" fmla="*/ 65 h 142"/>
                <a:gd name="T60" fmla="*/ 142 w 223"/>
                <a:gd name="T61" fmla="*/ 76 h 142"/>
                <a:gd name="T62" fmla="*/ 169 w 223"/>
                <a:gd name="T63" fmla="*/ 82 h 142"/>
                <a:gd name="T64" fmla="*/ 185 w 223"/>
                <a:gd name="T65" fmla="*/ 65 h 142"/>
                <a:gd name="T66" fmla="*/ 191 w 223"/>
                <a:gd name="T67" fmla="*/ 60 h 142"/>
                <a:gd name="T68" fmla="*/ 196 w 223"/>
                <a:gd name="T69" fmla="*/ 60 h 142"/>
                <a:gd name="T70" fmla="*/ 185 w 223"/>
                <a:gd name="T71" fmla="*/ 71 h 142"/>
                <a:gd name="T72" fmla="*/ 191 w 223"/>
                <a:gd name="T73" fmla="*/ 71 h 142"/>
                <a:gd name="T74" fmla="*/ 202 w 223"/>
                <a:gd name="T75" fmla="*/ 76 h 142"/>
                <a:gd name="T76" fmla="*/ 213 w 223"/>
                <a:gd name="T77" fmla="*/ 82 h 142"/>
                <a:gd name="T78" fmla="*/ 207 w 223"/>
                <a:gd name="T79" fmla="*/ 92 h 142"/>
                <a:gd name="T80" fmla="*/ 196 w 223"/>
                <a:gd name="T81" fmla="*/ 92 h 1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23"/>
                <a:gd name="T124" fmla="*/ 0 h 142"/>
                <a:gd name="T125" fmla="*/ 223 w 223"/>
                <a:gd name="T126" fmla="*/ 142 h 1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23" h="142">
                  <a:moveTo>
                    <a:pt x="196" y="92"/>
                  </a:moveTo>
                  <a:lnTo>
                    <a:pt x="191" y="92"/>
                  </a:lnTo>
                  <a:lnTo>
                    <a:pt x="185" y="87"/>
                  </a:lnTo>
                  <a:lnTo>
                    <a:pt x="191" y="87"/>
                  </a:lnTo>
                  <a:lnTo>
                    <a:pt x="191" y="82"/>
                  </a:lnTo>
                  <a:lnTo>
                    <a:pt x="180" y="87"/>
                  </a:lnTo>
                  <a:lnTo>
                    <a:pt x="174" y="87"/>
                  </a:lnTo>
                  <a:lnTo>
                    <a:pt x="174" y="92"/>
                  </a:lnTo>
                  <a:lnTo>
                    <a:pt x="169" y="98"/>
                  </a:lnTo>
                  <a:lnTo>
                    <a:pt x="164" y="103"/>
                  </a:lnTo>
                  <a:lnTo>
                    <a:pt x="153" y="103"/>
                  </a:lnTo>
                  <a:lnTo>
                    <a:pt x="147" y="109"/>
                  </a:lnTo>
                  <a:lnTo>
                    <a:pt x="153" y="114"/>
                  </a:lnTo>
                  <a:lnTo>
                    <a:pt x="158" y="114"/>
                  </a:lnTo>
                  <a:lnTo>
                    <a:pt x="158" y="120"/>
                  </a:lnTo>
                  <a:lnTo>
                    <a:pt x="164" y="125"/>
                  </a:lnTo>
                  <a:lnTo>
                    <a:pt x="153" y="136"/>
                  </a:lnTo>
                  <a:lnTo>
                    <a:pt x="153" y="142"/>
                  </a:lnTo>
                  <a:lnTo>
                    <a:pt x="136" y="142"/>
                  </a:lnTo>
                  <a:lnTo>
                    <a:pt x="136" y="136"/>
                  </a:lnTo>
                  <a:lnTo>
                    <a:pt x="142" y="131"/>
                  </a:lnTo>
                  <a:lnTo>
                    <a:pt x="131" y="125"/>
                  </a:lnTo>
                  <a:lnTo>
                    <a:pt x="125" y="125"/>
                  </a:lnTo>
                  <a:lnTo>
                    <a:pt x="115" y="114"/>
                  </a:lnTo>
                  <a:lnTo>
                    <a:pt x="104" y="114"/>
                  </a:lnTo>
                  <a:lnTo>
                    <a:pt x="98" y="109"/>
                  </a:lnTo>
                  <a:lnTo>
                    <a:pt x="87" y="98"/>
                  </a:lnTo>
                  <a:lnTo>
                    <a:pt x="77" y="76"/>
                  </a:lnTo>
                  <a:lnTo>
                    <a:pt x="71" y="76"/>
                  </a:lnTo>
                  <a:lnTo>
                    <a:pt x="55" y="76"/>
                  </a:lnTo>
                  <a:lnTo>
                    <a:pt x="55" y="65"/>
                  </a:lnTo>
                  <a:lnTo>
                    <a:pt x="55" y="60"/>
                  </a:lnTo>
                  <a:lnTo>
                    <a:pt x="44" y="60"/>
                  </a:lnTo>
                  <a:lnTo>
                    <a:pt x="38" y="49"/>
                  </a:lnTo>
                  <a:lnTo>
                    <a:pt x="33" y="54"/>
                  </a:lnTo>
                  <a:lnTo>
                    <a:pt x="28" y="54"/>
                  </a:lnTo>
                  <a:lnTo>
                    <a:pt x="28" y="60"/>
                  </a:lnTo>
                  <a:lnTo>
                    <a:pt x="17" y="60"/>
                  </a:lnTo>
                  <a:lnTo>
                    <a:pt x="17" y="65"/>
                  </a:lnTo>
                  <a:lnTo>
                    <a:pt x="17" y="76"/>
                  </a:lnTo>
                  <a:lnTo>
                    <a:pt x="0" y="76"/>
                  </a:lnTo>
                  <a:lnTo>
                    <a:pt x="0" y="11"/>
                  </a:lnTo>
                  <a:lnTo>
                    <a:pt x="33" y="0"/>
                  </a:lnTo>
                  <a:lnTo>
                    <a:pt x="44" y="0"/>
                  </a:lnTo>
                  <a:lnTo>
                    <a:pt x="55" y="11"/>
                  </a:lnTo>
                  <a:lnTo>
                    <a:pt x="82" y="38"/>
                  </a:lnTo>
                  <a:lnTo>
                    <a:pt x="120" y="32"/>
                  </a:lnTo>
                  <a:lnTo>
                    <a:pt x="125" y="38"/>
                  </a:lnTo>
                  <a:lnTo>
                    <a:pt x="131" y="49"/>
                  </a:lnTo>
                  <a:lnTo>
                    <a:pt x="136" y="49"/>
                  </a:lnTo>
                  <a:lnTo>
                    <a:pt x="131" y="65"/>
                  </a:lnTo>
                  <a:lnTo>
                    <a:pt x="142" y="65"/>
                  </a:lnTo>
                  <a:lnTo>
                    <a:pt x="142" y="76"/>
                  </a:lnTo>
                  <a:lnTo>
                    <a:pt x="153" y="76"/>
                  </a:lnTo>
                  <a:lnTo>
                    <a:pt x="169" y="82"/>
                  </a:lnTo>
                  <a:lnTo>
                    <a:pt x="174" y="71"/>
                  </a:lnTo>
                  <a:lnTo>
                    <a:pt x="185" y="65"/>
                  </a:lnTo>
                  <a:lnTo>
                    <a:pt x="185" y="60"/>
                  </a:lnTo>
                  <a:lnTo>
                    <a:pt x="191" y="60"/>
                  </a:lnTo>
                  <a:lnTo>
                    <a:pt x="196" y="60"/>
                  </a:lnTo>
                  <a:lnTo>
                    <a:pt x="185" y="71"/>
                  </a:lnTo>
                  <a:lnTo>
                    <a:pt x="191" y="71"/>
                  </a:lnTo>
                  <a:lnTo>
                    <a:pt x="191" y="76"/>
                  </a:lnTo>
                  <a:lnTo>
                    <a:pt x="202" y="76"/>
                  </a:lnTo>
                  <a:lnTo>
                    <a:pt x="202" y="71"/>
                  </a:lnTo>
                  <a:lnTo>
                    <a:pt x="213" y="82"/>
                  </a:lnTo>
                  <a:lnTo>
                    <a:pt x="223" y="82"/>
                  </a:lnTo>
                  <a:lnTo>
                    <a:pt x="207" y="92"/>
                  </a:lnTo>
                  <a:lnTo>
                    <a:pt x="196" y="92"/>
                  </a:lnTo>
                  <a:close/>
                </a:path>
              </a:pathLst>
            </a:custGeom>
            <a:solidFill>
              <a:schemeClr val="accent2"/>
            </a:solidFill>
            <a:ln w="12700" cmpd="sng">
              <a:solidFill>
                <a:schemeClr val="bg1"/>
              </a:solidFill>
              <a:round/>
              <a:headEnd/>
              <a:tailEnd/>
            </a:ln>
          </p:spPr>
          <p:txBody>
            <a:bodyPr/>
            <a:lstStyle/>
            <a:p>
              <a:endParaRPr lang="de-DE"/>
            </a:p>
          </p:txBody>
        </p:sp>
        <p:sp>
          <p:nvSpPr>
            <p:cNvPr id="356753" name="Freeform 775"/>
            <p:cNvSpPr>
              <a:spLocks/>
            </p:cNvSpPr>
            <p:nvPr/>
          </p:nvSpPr>
          <p:spPr bwMode="auto">
            <a:xfrm>
              <a:off x="3400" y="2331"/>
              <a:ext cx="223" cy="142"/>
            </a:xfrm>
            <a:custGeom>
              <a:avLst/>
              <a:gdLst>
                <a:gd name="T0" fmla="*/ 191 w 223"/>
                <a:gd name="T1" fmla="*/ 92 h 142"/>
                <a:gd name="T2" fmla="*/ 191 w 223"/>
                <a:gd name="T3" fmla="*/ 87 h 142"/>
                <a:gd name="T4" fmla="*/ 191 w 223"/>
                <a:gd name="T5" fmla="*/ 82 h 142"/>
                <a:gd name="T6" fmla="*/ 174 w 223"/>
                <a:gd name="T7" fmla="*/ 87 h 142"/>
                <a:gd name="T8" fmla="*/ 174 w 223"/>
                <a:gd name="T9" fmla="*/ 92 h 142"/>
                <a:gd name="T10" fmla="*/ 164 w 223"/>
                <a:gd name="T11" fmla="*/ 103 h 142"/>
                <a:gd name="T12" fmla="*/ 147 w 223"/>
                <a:gd name="T13" fmla="*/ 109 h 142"/>
                <a:gd name="T14" fmla="*/ 158 w 223"/>
                <a:gd name="T15" fmla="*/ 114 h 142"/>
                <a:gd name="T16" fmla="*/ 164 w 223"/>
                <a:gd name="T17" fmla="*/ 125 h 142"/>
                <a:gd name="T18" fmla="*/ 153 w 223"/>
                <a:gd name="T19" fmla="*/ 142 h 142"/>
                <a:gd name="T20" fmla="*/ 136 w 223"/>
                <a:gd name="T21" fmla="*/ 136 h 142"/>
                <a:gd name="T22" fmla="*/ 131 w 223"/>
                <a:gd name="T23" fmla="*/ 125 h 142"/>
                <a:gd name="T24" fmla="*/ 115 w 223"/>
                <a:gd name="T25" fmla="*/ 114 h 142"/>
                <a:gd name="T26" fmla="*/ 98 w 223"/>
                <a:gd name="T27" fmla="*/ 109 h 142"/>
                <a:gd name="T28" fmla="*/ 77 w 223"/>
                <a:gd name="T29" fmla="*/ 76 h 142"/>
                <a:gd name="T30" fmla="*/ 71 w 223"/>
                <a:gd name="T31" fmla="*/ 76 h 142"/>
                <a:gd name="T32" fmla="*/ 55 w 223"/>
                <a:gd name="T33" fmla="*/ 65 h 142"/>
                <a:gd name="T34" fmla="*/ 55 w 223"/>
                <a:gd name="T35" fmla="*/ 65 h 142"/>
                <a:gd name="T36" fmla="*/ 44 w 223"/>
                <a:gd name="T37" fmla="*/ 60 h 142"/>
                <a:gd name="T38" fmla="*/ 33 w 223"/>
                <a:gd name="T39" fmla="*/ 54 h 142"/>
                <a:gd name="T40" fmla="*/ 33 w 223"/>
                <a:gd name="T41" fmla="*/ 54 h 142"/>
                <a:gd name="T42" fmla="*/ 28 w 223"/>
                <a:gd name="T43" fmla="*/ 60 h 142"/>
                <a:gd name="T44" fmla="*/ 17 w 223"/>
                <a:gd name="T45" fmla="*/ 65 h 142"/>
                <a:gd name="T46" fmla="*/ 17 w 223"/>
                <a:gd name="T47" fmla="*/ 76 h 142"/>
                <a:gd name="T48" fmla="*/ 0 w 223"/>
                <a:gd name="T49" fmla="*/ 76 h 142"/>
                <a:gd name="T50" fmla="*/ 33 w 223"/>
                <a:gd name="T51" fmla="*/ 0 h 142"/>
                <a:gd name="T52" fmla="*/ 55 w 223"/>
                <a:gd name="T53" fmla="*/ 11 h 142"/>
                <a:gd name="T54" fmla="*/ 120 w 223"/>
                <a:gd name="T55" fmla="*/ 32 h 142"/>
                <a:gd name="T56" fmla="*/ 131 w 223"/>
                <a:gd name="T57" fmla="*/ 49 h 142"/>
                <a:gd name="T58" fmla="*/ 131 w 223"/>
                <a:gd name="T59" fmla="*/ 65 h 142"/>
                <a:gd name="T60" fmla="*/ 142 w 223"/>
                <a:gd name="T61" fmla="*/ 76 h 142"/>
                <a:gd name="T62" fmla="*/ 169 w 223"/>
                <a:gd name="T63" fmla="*/ 82 h 142"/>
                <a:gd name="T64" fmla="*/ 185 w 223"/>
                <a:gd name="T65" fmla="*/ 65 h 142"/>
                <a:gd name="T66" fmla="*/ 191 w 223"/>
                <a:gd name="T67" fmla="*/ 60 h 142"/>
                <a:gd name="T68" fmla="*/ 196 w 223"/>
                <a:gd name="T69" fmla="*/ 60 h 142"/>
                <a:gd name="T70" fmla="*/ 185 w 223"/>
                <a:gd name="T71" fmla="*/ 71 h 142"/>
                <a:gd name="T72" fmla="*/ 191 w 223"/>
                <a:gd name="T73" fmla="*/ 71 h 142"/>
                <a:gd name="T74" fmla="*/ 202 w 223"/>
                <a:gd name="T75" fmla="*/ 76 h 142"/>
                <a:gd name="T76" fmla="*/ 213 w 223"/>
                <a:gd name="T77" fmla="*/ 82 h 142"/>
                <a:gd name="T78" fmla="*/ 207 w 223"/>
                <a:gd name="T79" fmla="*/ 92 h 14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23"/>
                <a:gd name="T121" fmla="*/ 0 h 142"/>
                <a:gd name="T122" fmla="*/ 223 w 223"/>
                <a:gd name="T123" fmla="*/ 142 h 14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23" h="142">
                  <a:moveTo>
                    <a:pt x="196" y="92"/>
                  </a:moveTo>
                  <a:lnTo>
                    <a:pt x="191" y="92"/>
                  </a:lnTo>
                  <a:lnTo>
                    <a:pt x="185" y="87"/>
                  </a:lnTo>
                  <a:lnTo>
                    <a:pt x="191" y="87"/>
                  </a:lnTo>
                  <a:lnTo>
                    <a:pt x="191" y="82"/>
                  </a:lnTo>
                  <a:lnTo>
                    <a:pt x="180" y="87"/>
                  </a:lnTo>
                  <a:lnTo>
                    <a:pt x="174" y="87"/>
                  </a:lnTo>
                  <a:lnTo>
                    <a:pt x="174" y="92"/>
                  </a:lnTo>
                  <a:lnTo>
                    <a:pt x="169" y="98"/>
                  </a:lnTo>
                  <a:lnTo>
                    <a:pt x="164" y="103"/>
                  </a:lnTo>
                  <a:lnTo>
                    <a:pt x="153" y="103"/>
                  </a:lnTo>
                  <a:lnTo>
                    <a:pt x="147" y="109"/>
                  </a:lnTo>
                  <a:lnTo>
                    <a:pt x="153" y="114"/>
                  </a:lnTo>
                  <a:lnTo>
                    <a:pt x="158" y="114"/>
                  </a:lnTo>
                  <a:lnTo>
                    <a:pt x="158" y="120"/>
                  </a:lnTo>
                  <a:lnTo>
                    <a:pt x="164" y="125"/>
                  </a:lnTo>
                  <a:lnTo>
                    <a:pt x="153" y="136"/>
                  </a:lnTo>
                  <a:lnTo>
                    <a:pt x="153" y="142"/>
                  </a:lnTo>
                  <a:lnTo>
                    <a:pt x="136" y="142"/>
                  </a:lnTo>
                  <a:lnTo>
                    <a:pt x="136" y="136"/>
                  </a:lnTo>
                  <a:lnTo>
                    <a:pt x="142" y="131"/>
                  </a:lnTo>
                  <a:lnTo>
                    <a:pt x="131" y="125"/>
                  </a:lnTo>
                  <a:lnTo>
                    <a:pt x="125" y="125"/>
                  </a:lnTo>
                  <a:lnTo>
                    <a:pt x="115" y="114"/>
                  </a:lnTo>
                  <a:lnTo>
                    <a:pt x="104" y="114"/>
                  </a:lnTo>
                  <a:lnTo>
                    <a:pt x="98" y="109"/>
                  </a:lnTo>
                  <a:lnTo>
                    <a:pt x="87" y="98"/>
                  </a:lnTo>
                  <a:lnTo>
                    <a:pt x="77" y="76"/>
                  </a:lnTo>
                  <a:lnTo>
                    <a:pt x="71" y="76"/>
                  </a:lnTo>
                  <a:lnTo>
                    <a:pt x="55" y="76"/>
                  </a:lnTo>
                  <a:lnTo>
                    <a:pt x="55" y="65"/>
                  </a:lnTo>
                  <a:lnTo>
                    <a:pt x="55" y="60"/>
                  </a:lnTo>
                  <a:lnTo>
                    <a:pt x="44" y="60"/>
                  </a:lnTo>
                  <a:lnTo>
                    <a:pt x="38" y="49"/>
                  </a:lnTo>
                  <a:lnTo>
                    <a:pt x="33" y="54"/>
                  </a:lnTo>
                  <a:lnTo>
                    <a:pt x="28" y="54"/>
                  </a:lnTo>
                  <a:lnTo>
                    <a:pt x="28" y="60"/>
                  </a:lnTo>
                  <a:lnTo>
                    <a:pt x="17" y="60"/>
                  </a:lnTo>
                  <a:lnTo>
                    <a:pt x="17" y="65"/>
                  </a:lnTo>
                  <a:lnTo>
                    <a:pt x="17" y="76"/>
                  </a:lnTo>
                  <a:lnTo>
                    <a:pt x="0" y="76"/>
                  </a:lnTo>
                  <a:lnTo>
                    <a:pt x="0" y="11"/>
                  </a:lnTo>
                  <a:lnTo>
                    <a:pt x="33" y="0"/>
                  </a:lnTo>
                  <a:lnTo>
                    <a:pt x="44" y="0"/>
                  </a:lnTo>
                  <a:lnTo>
                    <a:pt x="55" y="11"/>
                  </a:lnTo>
                  <a:lnTo>
                    <a:pt x="82" y="38"/>
                  </a:lnTo>
                  <a:lnTo>
                    <a:pt x="120" y="32"/>
                  </a:lnTo>
                  <a:lnTo>
                    <a:pt x="125" y="38"/>
                  </a:lnTo>
                  <a:lnTo>
                    <a:pt x="131" y="49"/>
                  </a:lnTo>
                  <a:lnTo>
                    <a:pt x="136" y="49"/>
                  </a:lnTo>
                  <a:lnTo>
                    <a:pt x="131" y="65"/>
                  </a:lnTo>
                  <a:lnTo>
                    <a:pt x="142" y="65"/>
                  </a:lnTo>
                  <a:lnTo>
                    <a:pt x="142" y="76"/>
                  </a:lnTo>
                  <a:lnTo>
                    <a:pt x="153" y="76"/>
                  </a:lnTo>
                  <a:lnTo>
                    <a:pt x="169" y="82"/>
                  </a:lnTo>
                  <a:lnTo>
                    <a:pt x="174" y="71"/>
                  </a:lnTo>
                  <a:lnTo>
                    <a:pt x="185" y="65"/>
                  </a:lnTo>
                  <a:lnTo>
                    <a:pt x="185" y="60"/>
                  </a:lnTo>
                  <a:lnTo>
                    <a:pt x="191" y="60"/>
                  </a:lnTo>
                  <a:lnTo>
                    <a:pt x="196" y="60"/>
                  </a:lnTo>
                  <a:lnTo>
                    <a:pt x="185" y="71"/>
                  </a:lnTo>
                  <a:lnTo>
                    <a:pt x="191" y="71"/>
                  </a:lnTo>
                  <a:lnTo>
                    <a:pt x="191" y="76"/>
                  </a:lnTo>
                  <a:lnTo>
                    <a:pt x="202" y="76"/>
                  </a:lnTo>
                  <a:lnTo>
                    <a:pt x="202" y="71"/>
                  </a:lnTo>
                  <a:lnTo>
                    <a:pt x="213" y="82"/>
                  </a:lnTo>
                  <a:lnTo>
                    <a:pt x="223" y="82"/>
                  </a:lnTo>
                  <a:lnTo>
                    <a:pt x="207" y="92"/>
                  </a:lnTo>
                  <a:lnTo>
                    <a:pt x="196" y="92"/>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54" name="Freeform 776"/>
            <p:cNvSpPr>
              <a:spLocks/>
            </p:cNvSpPr>
            <p:nvPr/>
          </p:nvSpPr>
          <p:spPr bwMode="auto">
            <a:xfrm>
              <a:off x="3281" y="2129"/>
              <a:ext cx="522" cy="284"/>
            </a:xfrm>
            <a:custGeom>
              <a:avLst/>
              <a:gdLst>
                <a:gd name="T0" fmla="*/ 103 w 522"/>
                <a:gd name="T1" fmla="*/ 262 h 284"/>
                <a:gd name="T2" fmla="*/ 119 w 522"/>
                <a:gd name="T3" fmla="*/ 213 h 284"/>
                <a:gd name="T4" fmla="*/ 201 w 522"/>
                <a:gd name="T5" fmla="*/ 240 h 284"/>
                <a:gd name="T6" fmla="*/ 255 w 522"/>
                <a:gd name="T7" fmla="*/ 251 h 284"/>
                <a:gd name="T8" fmla="*/ 272 w 522"/>
                <a:gd name="T9" fmla="*/ 278 h 284"/>
                <a:gd name="T10" fmla="*/ 304 w 522"/>
                <a:gd name="T11" fmla="*/ 262 h 284"/>
                <a:gd name="T12" fmla="*/ 315 w 522"/>
                <a:gd name="T13" fmla="*/ 251 h 284"/>
                <a:gd name="T14" fmla="*/ 348 w 522"/>
                <a:gd name="T15" fmla="*/ 245 h 284"/>
                <a:gd name="T16" fmla="*/ 386 w 522"/>
                <a:gd name="T17" fmla="*/ 251 h 284"/>
                <a:gd name="T18" fmla="*/ 435 w 522"/>
                <a:gd name="T19" fmla="*/ 256 h 284"/>
                <a:gd name="T20" fmla="*/ 457 w 522"/>
                <a:gd name="T21" fmla="*/ 207 h 284"/>
                <a:gd name="T22" fmla="*/ 489 w 522"/>
                <a:gd name="T23" fmla="*/ 180 h 284"/>
                <a:gd name="T24" fmla="*/ 511 w 522"/>
                <a:gd name="T25" fmla="*/ 147 h 284"/>
                <a:gd name="T26" fmla="*/ 511 w 522"/>
                <a:gd name="T27" fmla="*/ 125 h 284"/>
                <a:gd name="T28" fmla="*/ 495 w 522"/>
                <a:gd name="T29" fmla="*/ 114 h 284"/>
                <a:gd name="T30" fmla="*/ 473 w 522"/>
                <a:gd name="T31" fmla="*/ 98 h 284"/>
                <a:gd name="T32" fmla="*/ 451 w 522"/>
                <a:gd name="T33" fmla="*/ 103 h 284"/>
                <a:gd name="T34" fmla="*/ 440 w 522"/>
                <a:gd name="T35" fmla="*/ 93 h 284"/>
                <a:gd name="T36" fmla="*/ 386 w 522"/>
                <a:gd name="T37" fmla="*/ 33 h 284"/>
                <a:gd name="T38" fmla="*/ 381 w 522"/>
                <a:gd name="T39" fmla="*/ 27 h 284"/>
                <a:gd name="T40" fmla="*/ 359 w 522"/>
                <a:gd name="T41" fmla="*/ 43 h 284"/>
                <a:gd name="T42" fmla="*/ 348 w 522"/>
                <a:gd name="T43" fmla="*/ 38 h 284"/>
                <a:gd name="T44" fmla="*/ 337 w 522"/>
                <a:gd name="T45" fmla="*/ 33 h 284"/>
                <a:gd name="T46" fmla="*/ 332 w 522"/>
                <a:gd name="T47" fmla="*/ 33 h 284"/>
                <a:gd name="T48" fmla="*/ 315 w 522"/>
                <a:gd name="T49" fmla="*/ 33 h 284"/>
                <a:gd name="T50" fmla="*/ 315 w 522"/>
                <a:gd name="T51" fmla="*/ 16 h 284"/>
                <a:gd name="T52" fmla="*/ 299 w 522"/>
                <a:gd name="T53" fmla="*/ 5 h 284"/>
                <a:gd name="T54" fmla="*/ 277 w 522"/>
                <a:gd name="T55" fmla="*/ 11 h 284"/>
                <a:gd name="T56" fmla="*/ 239 w 522"/>
                <a:gd name="T57" fmla="*/ 27 h 284"/>
                <a:gd name="T58" fmla="*/ 223 w 522"/>
                <a:gd name="T59" fmla="*/ 27 h 284"/>
                <a:gd name="T60" fmla="*/ 206 w 522"/>
                <a:gd name="T61" fmla="*/ 33 h 284"/>
                <a:gd name="T62" fmla="*/ 190 w 522"/>
                <a:gd name="T63" fmla="*/ 38 h 284"/>
                <a:gd name="T64" fmla="*/ 190 w 522"/>
                <a:gd name="T65" fmla="*/ 43 h 284"/>
                <a:gd name="T66" fmla="*/ 201 w 522"/>
                <a:gd name="T67" fmla="*/ 54 h 284"/>
                <a:gd name="T68" fmla="*/ 185 w 522"/>
                <a:gd name="T69" fmla="*/ 71 h 284"/>
                <a:gd name="T70" fmla="*/ 179 w 522"/>
                <a:gd name="T71" fmla="*/ 82 h 284"/>
                <a:gd name="T72" fmla="*/ 190 w 522"/>
                <a:gd name="T73" fmla="*/ 103 h 284"/>
                <a:gd name="T74" fmla="*/ 168 w 522"/>
                <a:gd name="T75" fmla="*/ 109 h 284"/>
                <a:gd name="T76" fmla="*/ 152 w 522"/>
                <a:gd name="T77" fmla="*/ 93 h 284"/>
                <a:gd name="T78" fmla="*/ 136 w 522"/>
                <a:gd name="T79" fmla="*/ 93 h 284"/>
                <a:gd name="T80" fmla="*/ 119 w 522"/>
                <a:gd name="T81" fmla="*/ 103 h 284"/>
                <a:gd name="T82" fmla="*/ 103 w 522"/>
                <a:gd name="T83" fmla="*/ 103 h 284"/>
                <a:gd name="T84" fmla="*/ 76 w 522"/>
                <a:gd name="T85" fmla="*/ 87 h 284"/>
                <a:gd name="T86" fmla="*/ 65 w 522"/>
                <a:gd name="T87" fmla="*/ 87 h 284"/>
                <a:gd name="T88" fmla="*/ 54 w 522"/>
                <a:gd name="T89" fmla="*/ 82 h 284"/>
                <a:gd name="T90" fmla="*/ 27 w 522"/>
                <a:gd name="T91" fmla="*/ 103 h 284"/>
                <a:gd name="T92" fmla="*/ 10 w 522"/>
                <a:gd name="T93" fmla="*/ 109 h 284"/>
                <a:gd name="T94" fmla="*/ 5 w 522"/>
                <a:gd name="T95" fmla="*/ 136 h 284"/>
                <a:gd name="T96" fmla="*/ 10 w 522"/>
                <a:gd name="T97" fmla="*/ 158 h 284"/>
                <a:gd name="T98" fmla="*/ 27 w 522"/>
                <a:gd name="T99" fmla="*/ 169 h 284"/>
                <a:gd name="T100" fmla="*/ 27 w 522"/>
                <a:gd name="T101" fmla="*/ 185 h 284"/>
                <a:gd name="T102" fmla="*/ 76 w 522"/>
                <a:gd name="T103" fmla="*/ 174 h 284"/>
                <a:gd name="T104" fmla="*/ 103 w 522"/>
                <a:gd name="T105" fmla="*/ 207 h 284"/>
                <a:gd name="T106" fmla="*/ 70 w 522"/>
                <a:gd name="T107" fmla="*/ 207 h 284"/>
                <a:gd name="T108" fmla="*/ 43 w 522"/>
                <a:gd name="T109" fmla="*/ 224 h 284"/>
                <a:gd name="T110" fmla="*/ 76 w 522"/>
                <a:gd name="T111" fmla="*/ 267 h 2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2"/>
                <a:gd name="T169" fmla="*/ 0 h 284"/>
                <a:gd name="T170" fmla="*/ 522 w 522"/>
                <a:gd name="T171" fmla="*/ 284 h 2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2" h="284">
                  <a:moveTo>
                    <a:pt x="76" y="267"/>
                  </a:moveTo>
                  <a:lnTo>
                    <a:pt x="81" y="262"/>
                  </a:lnTo>
                  <a:lnTo>
                    <a:pt x="98" y="256"/>
                  </a:lnTo>
                  <a:lnTo>
                    <a:pt x="103" y="262"/>
                  </a:lnTo>
                  <a:lnTo>
                    <a:pt x="114" y="278"/>
                  </a:lnTo>
                  <a:lnTo>
                    <a:pt x="119" y="278"/>
                  </a:lnTo>
                  <a:lnTo>
                    <a:pt x="119" y="213"/>
                  </a:lnTo>
                  <a:lnTo>
                    <a:pt x="152" y="202"/>
                  </a:lnTo>
                  <a:lnTo>
                    <a:pt x="163" y="202"/>
                  </a:lnTo>
                  <a:lnTo>
                    <a:pt x="174" y="213"/>
                  </a:lnTo>
                  <a:lnTo>
                    <a:pt x="201" y="240"/>
                  </a:lnTo>
                  <a:lnTo>
                    <a:pt x="239" y="234"/>
                  </a:lnTo>
                  <a:lnTo>
                    <a:pt x="244" y="240"/>
                  </a:lnTo>
                  <a:lnTo>
                    <a:pt x="250" y="251"/>
                  </a:lnTo>
                  <a:lnTo>
                    <a:pt x="255" y="251"/>
                  </a:lnTo>
                  <a:lnTo>
                    <a:pt x="250" y="267"/>
                  </a:lnTo>
                  <a:lnTo>
                    <a:pt x="261" y="267"/>
                  </a:lnTo>
                  <a:lnTo>
                    <a:pt x="261" y="278"/>
                  </a:lnTo>
                  <a:lnTo>
                    <a:pt x="272" y="278"/>
                  </a:lnTo>
                  <a:lnTo>
                    <a:pt x="288" y="284"/>
                  </a:lnTo>
                  <a:lnTo>
                    <a:pt x="293" y="273"/>
                  </a:lnTo>
                  <a:lnTo>
                    <a:pt x="304" y="267"/>
                  </a:lnTo>
                  <a:lnTo>
                    <a:pt x="304" y="262"/>
                  </a:lnTo>
                  <a:lnTo>
                    <a:pt x="310" y="262"/>
                  </a:lnTo>
                  <a:lnTo>
                    <a:pt x="315" y="262"/>
                  </a:lnTo>
                  <a:lnTo>
                    <a:pt x="315" y="256"/>
                  </a:lnTo>
                  <a:lnTo>
                    <a:pt x="315" y="251"/>
                  </a:lnTo>
                  <a:lnTo>
                    <a:pt x="321" y="251"/>
                  </a:lnTo>
                  <a:lnTo>
                    <a:pt x="332" y="251"/>
                  </a:lnTo>
                  <a:lnTo>
                    <a:pt x="342" y="256"/>
                  </a:lnTo>
                  <a:lnTo>
                    <a:pt x="348" y="245"/>
                  </a:lnTo>
                  <a:lnTo>
                    <a:pt x="353" y="245"/>
                  </a:lnTo>
                  <a:lnTo>
                    <a:pt x="359" y="245"/>
                  </a:lnTo>
                  <a:lnTo>
                    <a:pt x="370" y="251"/>
                  </a:lnTo>
                  <a:lnTo>
                    <a:pt x="386" y="251"/>
                  </a:lnTo>
                  <a:lnTo>
                    <a:pt x="391" y="245"/>
                  </a:lnTo>
                  <a:lnTo>
                    <a:pt x="419" y="251"/>
                  </a:lnTo>
                  <a:lnTo>
                    <a:pt x="424" y="256"/>
                  </a:lnTo>
                  <a:lnTo>
                    <a:pt x="435" y="256"/>
                  </a:lnTo>
                  <a:lnTo>
                    <a:pt x="435" y="245"/>
                  </a:lnTo>
                  <a:lnTo>
                    <a:pt x="435" y="224"/>
                  </a:lnTo>
                  <a:lnTo>
                    <a:pt x="430" y="218"/>
                  </a:lnTo>
                  <a:lnTo>
                    <a:pt x="457" y="207"/>
                  </a:lnTo>
                  <a:lnTo>
                    <a:pt x="457" y="196"/>
                  </a:lnTo>
                  <a:lnTo>
                    <a:pt x="468" y="174"/>
                  </a:lnTo>
                  <a:lnTo>
                    <a:pt x="489" y="174"/>
                  </a:lnTo>
                  <a:lnTo>
                    <a:pt x="489" y="180"/>
                  </a:lnTo>
                  <a:lnTo>
                    <a:pt x="500" y="174"/>
                  </a:lnTo>
                  <a:lnTo>
                    <a:pt x="500" y="158"/>
                  </a:lnTo>
                  <a:lnTo>
                    <a:pt x="506" y="147"/>
                  </a:lnTo>
                  <a:lnTo>
                    <a:pt x="511" y="147"/>
                  </a:lnTo>
                  <a:lnTo>
                    <a:pt x="517" y="142"/>
                  </a:lnTo>
                  <a:lnTo>
                    <a:pt x="522" y="136"/>
                  </a:lnTo>
                  <a:lnTo>
                    <a:pt x="517" y="125"/>
                  </a:lnTo>
                  <a:lnTo>
                    <a:pt x="511" y="125"/>
                  </a:lnTo>
                  <a:lnTo>
                    <a:pt x="500" y="125"/>
                  </a:lnTo>
                  <a:lnTo>
                    <a:pt x="495" y="120"/>
                  </a:lnTo>
                  <a:lnTo>
                    <a:pt x="495" y="114"/>
                  </a:lnTo>
                  <a:lnTo>
                    <a:pt x="484" y="114"/>
                  </a:lnTo>
                  <a:lnTo>
                    <a:pt x="484" y="103"/>
                  </a:lnTo>
                  <a:lnTo>
                    <a:pt x="473" y="98"/>
                  </a:lnTo>
                  <a:lnTo>
                    <a:pt x="468" y="98"/>
                  </a:lnTo>
                  <a:lnTo>
                    <a:pt x="462" y="103"/>
                  </a:lnTo>
                  <a:lnTo>
                    <a:pt x="451" y="103"/>
                  </a:lnTo>
                  <a:lnTo>
                    <a:pt x="446" y="98"/>
                  </a:lnTo>
                  <a:lnTo>
                    <a:pt x="446" y="93"/>
                  </a:lnTo>
                  <a:lnTo>
                    <a:pt x="440" y="93"/>
                  </a:lnTo>
                  <a:lnTo>
                    <a:pt x="435" y="98"/>
                  </a:lnTo>
                  <a:lnTo>
                    <a:pt x="430" y="103"/>
                  </a:lnTo>
                  <a:lnTo>
                    <a:pt x="402" y="49"/>
                  </a:lnTo>
                  <a:lnTo>
                    <a:pt x="386" y="33"/>
                  </a:lnTo>
                  <a:lnTo>
                    <a:pt x="391" y="27"/>
                  </a:lnTo>
                  <a:lnTo>
                    <a:pt x="386" y="27"/>
                  </a:lnTo>
                  <a:lnTo>
                    <a:pt x="381" y="27"/>
                  </a:lnTo>
                  <a:lnTo>
                    <a:pt x="375" y="27"/>
                  </a:lnTo>
                  <a:lnTo>
                    <a:pt x="370" y="38"/>
                  </a:lnTo>
                  <a:lnTo>
                    <a:pt x="359" y="38"/>
                  </a:lnTo>
                  <a:lnTo>
                    <a:pt x="359" y="43"/>
                  </a:lnTo>
                  <a:lnTo>
                    <a:pt x="353" y="43"/>
                  </a:lnTo>
                  <a:lnTo>
                    <a:pt x="348" y="43"/>
                  </a:lnTo>
                  <a:lnTo>
                    <a:pt x="342" y="43"/>
                  </a:lnTo>
                  <a:lnTo>
                    <a:pt x="348" y="38"/>
                  </a:lnTo>
                  <a:lnTo>
                    <a:pt x="348" y="33"/>
                  </a:lnTo>
                  <a:lnTo>
                    <a:pt x="342" y="33"/>
                  </a:lnTo>
                  <a:lnTo>
                    <a:pt x="337" y="33"/>
                  </a:lnTo>
                  <a:lnTo>
                    <a:pt x="332" y="33"/>
                  </a:lnTo>
                  <a:lnTo>
                    <a:pt x="332" y="27"/>
                  </a:lnTo>
                  <a:lnTo>
                    <a:pt x="326" y="27"/>
                  </a:lnTo>
                  <a:lnTo>
                    <a:pt x="315" y="33"/>
                  </a:lnTo>
                  <a:lnTo>
                    <a:pt x="315" y="27"/>
                  </a:lnTo>
                  <a:lnTo>
                    <a:pt x="315" y="22"/>
                  </a:lnTo>
                  <a:lnTo>
                    <a:pt x="321" y="16"/>
                  </a:lnTo>
                  <a:lnTo>
                    <a:pt x="315" y="16"/>
                  </a:lnTo>
                  <a:lnTo>
                    <a:pt x="315" y="5"/>
                  </a:lnTo>
                  <a:lnTo>
                    <a:pt x="310" y="5"/>
                  </a:lnTo>
                  <a:lnTo>
                    <a:pt x="304" y="5"/>
                  </a:lnTo>
                  <a:lnTo>
                    <a:pt x="299" y="5"/>
                  </a:lnTo>
                  <a:lnTo>
                    <a:pt x="288" y="0"/>
                  </a:lnTo>
                  <a:lnTo>
                    <a:pt x="283" y="5"/>
                  </a:lnTo>
                  <a:lnTo>
                    <a:pt x="277" y="5"/>
                  </a:lnTo>
                  <a:lnTo>
                    <a:pt x="277" y="11"/>
                  </a:lnTo>
                  <a:lnTo>
                    <a:pt x="250" y="16"/>
                  </a:lnTo>
                  <a:lnTo>
                    <a:pt x="239" y="22"/>
                  </a:lnTo>
                  <a:lnTo>
                    <a:pt x="239" y="27"/>
                  </a:lnTo>
                  <a:lnTo>
                    <a:pt x="234" y="27"/>
                  </a:lnTo>
                  <a:lnTo>
                    <a:pt x="228" y="27"/>
                  </a:lnTo>
                  <a:lnTo>
                    <a:pt x="223" y="27"/>
                  </a:lnTo>
                  <a:lnTo>
                    <a:pt x="212" y="33"/>
                  </a:lnTo>
                  <a:lnTo>
                    <a:pt x="206" y="33"/>
                  </a:lnTo>
                  <a:lnTo>
                    <a:pt x="206" y="38"/>
                  </a:lnTo>
                  <a:lnTo>
                    <a:pt x="206" y="33"/>
                  </a:lnTo>
                  <a:lnTo>
                    <a:pt x="196" y="33"/>
                  </a:lnTo>
                  <a:lnTo>
                    <a:pt x="190" y="33"/>
                  </a:lnTo>
                  <a:lnTo>
                    <a:pt x="185" y="33"/>
                  </a:lnTo>
                  <a:lnTo>
                    <a:pt x="190" y="38"/>
                  </a:lnTo>
                  <a:lnTo>
                    <a:pt x="185" y="43"/>
                  </a:lnTo>
                  <a:lnTo>
                    <a:pt x="190" y="43"/>
                  </a:lnTo>
                  <a:lnTo>
                    <a:pt x="190" y="49"/>
                  </a:lnTo>
                  <a:lnTo>
                    <a:pt x="196" y="49"/>
                  </a:lnTo>
                  <a:lnTo>
                    <a:pt x="201" y="54"/>
                  </a:lnTo>
                  <a:lnTo>
                    <a:pt x="185" y="54"/>
                  </a:lnTo>
                  <a:lnTo>
                    <a:pt x="179" y="60"/>
                  </a:lnTo>
                  <a:lnTo>
                    <a:pt x="185" y="65"/>
                  </a:lnTo>
                  <a:lnTo>
                    <a:pt x="185" y="71"/>
                  </a:lnTo>
                  <a:lnTo>
                    <a:pt x="174" y="76"/>
                  </a:lnTo>
                  <a:lnTo>
                    <a:pt x="179" y="82"/>
                  </a:lnTo>
                  <a:lnTo>
                    <a:pt x="185" y="82"/>
                  </a:lnTo>
                  <a:lnTo>
                    <a:pt x="185" y="87"/>
                  </a:lnTo>
                  <a:lnTo>
                    <a:pt x="196" y="93"/>
                  </a:lnTo>
                  <a:lnTo>
                    <a:pt x="190" y="103"/>
                  </a:lnTo>
                  <a:lnTo>
                    <a:pt x="179" y="103"/>
                  </a:lnTo>
                  <a:lnTo>
                    <a:pt x="174" y="98"/>
                  </a:lnTo>
                  <a:lnTo>
                    <a:pt x="168" y="109"/>
                  </a:lnTo>
                  <a:lnTo>
                    <a:pt x="163" y="103"/>
                  </a:lnTo>
                  <a:lnTo>
                    <a:pt x="157" y="103"/>
                  </a:lnTo>
                  <a:lnTo>
                    <a:pt x="152" y="93"/>
                  </a:lnTo>
                  <a:lnTo>
                    <a:pt x="147" y="93"/>
                  </a:lnTo>
                  <a:lnTo>
                    <a:pt x="141" y="98"/>
                  </a:lnTo>
                  <a:lnTo>
                    <a:pt x="136" y="93"/>
                  </a:lnTo>
                  <a:lnTo>
                    <a:pt x="130" y="98"/>
                  </a:lnTo>
                  <a:lnTo>
                    <a:pt x="125" y="98"/>
                  </a:lnTo>
                  <a:lnTo>
                    <a:pt x="119" y="103"/>
                  </a:lnTo>
                  <a:lnTo>
                    <a:pt x="108" y="103"/>
                  </a:lnTo>
                  <a:lnTo>
                    <a:pt x="108" y="98"/>
                  </a:lnTo>
                  <a:lnTo>
                    <a:pt x="103" y="98"/>
                  </a:lnTo>
                  <a:lnTo>
                    <a:pt x="103" y="103"/>
                  </a:lnTo>
                  <a:lnTo>
                    <a:pt x="103" y="98"/>
                  </a:lnTo>
                  <a:lnTo>
                    <a:pt x="92" y="87"/>
                  </a:lnTo>
                  <a:lnTo>
                    <a:pt x="76" y="87"/>
                  </a:lnTo>
                  <a:lnTo>
                    <a:pt x="76" y="82"/>
                  </a:lnTo>
                  <a:lnTo>
                    <a:pt x="70" y="82"/>
                  </a:lnTo>
                  <a:lnTo>
                    <a:pt x="65" y="87"/>
                  </a:lnTo>
                  <a:lnTo>
                    <a:pt x="59" y="87"/>
                  </a:lnTo>
                  <a:lnTo>
                    <a:pt x="59" y="82"/>
                  </a:lnTo>
                  <a:lnTo>
                    <a:pt x="54" y="82"/>
                  </a:lnTo>
                  <a:lnTo>
                    <a:pt x="49" y="93"/>
                  </a:lnTo>
                  <a:lnTo>
                    <a:pt x="38" y="93"/>
                  </a:lnTo>
                  <a:lnTo>
                    <a:pt x="38" y="98"/>
                  </a:lnTo>
                  <a:lnTo>
                    <a:pt x="27" y="103"/>
                  </a:lnTo>
                  <a:lnTo>
                    <a:pt x="27" y="114"/>
                  </a:lnTo>
                  <a:lnTo>
                    <a:pt x="21" y="120"/>
                  </a:lnTo>
                  <a:lnTo>
                    <a:pt x="10" y="109"/>
                  </a:lnTo>
                  <a:lnTo>
                    <a:pt x="10" y="114"/>
                  </a:lnTo>
                  <a:lnTo>
                    <a:pt x="5" y="120"/>
                  </a:lnTo>
                  <a:lnTo>
                    <a:pt x="5" y="131"/>
                  </a:lnTo>
                  <a:lnTo>
                    <a:pt x="5" y="136"/>
                  </a:lnTo>
                  <a:lnTo>
                    <a:pt x="0" y="136"/>
                  </a:lnTo>
                  <a:lnTo>
                    <a:pt x="0" y="147"/>
                  </a:lnTo>
                  <a:lnTo>
                    <a:pt x="5" y="153"/>
                  </a:lnTo>
                  <a:lnTo>
                    <a:pt x="10" y="158"/>
                  </a:lnTo>
                  <a:lnTo>
                    <a:pt x="10" y="164"/>
                  </a:lnTo>
                  <a:lnTo>
                    <a:pt x="10" y="158"/>
                  </a:lnTo>
                  <a:lnTo>
                    <a:pt x="21" y="158"/>
                  </a:lnTo>
                  <a:lnTo>
                    <a:pt x="27" y="169"/>
                  </a:lnTo>
                  <a:lnTo>
                    <a:pt x="32" y="180"/>
                  </a:lnTo>
                  <a:lnTo>
                    <a:pt x="21" y="180"/>
                  </a:lnTo>
                  <a:lnTo>
                    <a:pt x="21" y="185"/>
                  </a:lnTo>
                  <a:lnTo>
                    <a:pt x="27" y="185"/>
                  </a:lnTo>
                  <a:lnTo>
                    <a:pt x="49" y="180"/>
                  </a:lnTo>
                  <a:lnTo>
                    <a:pt x="54" y="169"/>
                  </a:lnTo>
                  <a:lnTo>
                    <a:pt x="65" y="174"/>
                  </a:lnTo>
                  <a:lnTo>
                    <a:pt x="76" y="174"/>
                  </a:lnTo>
                  <a:lnTo>
                    <a:pt x="87" y="180"/>
                  </a:lnTo>
                  <a:lnTo>
                    <a:pt x="92" y="196"/>
                  </a:lnTo>
                  <a:lnTo>
                    <a:pt x="103" y="202"/>
                  </a:lnTo>
                  <a:lnTo>
                    <a:pt x="103" y="207"/>
                  </a:lnTo>
                  <a:lnTo>
                    <a:pt x="103" y="213"/>
                  </a:lnTo>
                  <a:lnTo>
                    <a:pt x="70" y="207"/>
                  </a:lnTo>
                  <a:lnTo>
                    <a:pt x="59" y="207"/>
                  </a:lnTo>
                  <a:lnTo>
                    <a:pt x="59" y="213"/>
                  </a:lnTo>
                  <a:lnTo>
                    <a:pt x="65" y="224"/>
                  </a:lnTo>
                  <a:lnTo>
                    <a:pt x="43" y="224"/>
                  </a:lnTo>
                  <a:lnTo>
                    <a:pt x="54" y="229"/>
                  </a:lnTo>
                  <a:lnTo>
                    <a:pt x="59" y="245"/>
                  </a:lnTo>
                  <a:lnTo>
                    <a:pt x="76" y="251"/>
                  </a:lnTo>
                  <a:lnTo>
                    <a:pt x="76" y="267"/>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5" name="Freeform 777"/>
            <p:cNvSpPr>
              <a:spLocks/>
            </p:cNvSpPr>
            <p:nvPr/>
          </p:nvSpPr>
          <p:spPr bwMode="auto">
            <a:xfrm>
              <a:off x="3574" y="2374"/>
              <a:ext cx="142" cy="66"/>
            </a:xfrm>
            <a:custGeom>
              <a:avLst/>
              <a:gdLst>
                <a:gd name="T0" fmla="*/ 22 w 142"/>
                <a:gd name="T1" fmla="*/ 49 h 66"/>
                <a:gd name="T2" fmla="*/ 17 w 142"/>
                <a:gd name="T3" fmla="*/ 55 h 66"/>
                <a:gd name="T4" fmla="*/ 11 w 142"/>
                <a:gd name="T5" fmla="*/ 49 h 66"/>
                <a:gd name="T6" fmla="*/ 0 w 142"/>
                <a:gd name="T7" fmla="*/ 55 h 66"/>
                <a:gd name="T8" fmla="*/ 0 w 142"/>
                <a:gd name="T9" fmla="*/ 60 h 66"/>
                <a:gd name="T10" fmla="*/ 17 w 142"/>
                <a:gd name="T11" fmla="*/ 60 h 66"/>
                <a:gd name="T12" fmla="*/ 22 w 142"/>
                <a:gd name="T13" fmla="*/ 60 h 66"/>
                <a:gd name="T14" fmla="*/ 28 w 142"/>
                <a:gd name="T15" fmla="*/ 60 h 66"/>
                <a:gd name="T16" fmla="*/ 33 w 142"/>
                <a:gd name="T17" fmla="*/ 60 h 66"/>
                <a:gd name="T18" fmla="*/ 33 w 142"/>
                <a:gd name="T19" fmla="*/ 66 h 66"/>
                <a:gd name="T20" fmla="*/ 39 w 142"/>
                <a:gd name="T21" fmla="*/ 66 h 66"/>
                <a:gd name="T22" fmla="*/ 55 w 142"/>
                <a:gd name="T23" fmla="*/ 60 h 66"/>
                <a:gd name="T24" fmla="*/ 60 w 142"/>
                <a:gd name="T25" fmla="*/ 55 h 66"/>
                <a:gd name="T26" fmla="*/ 71 w 142"/>
                <a:gd name="T27" fmla="*/ 49 h 66"/>
                <a:gd name="T28" fmla="*/ 71 w 142"/>
                <a:gd name="T29" fmla="*/ 49 h 66"/>
                <a:gd name="T30" fmla="*/ 88 w 142"/>
                <a:gd name="T31" fmla="*/ 49 h 66"/>
                <a:gd name="T32" fmla="*/ 98 w 142"/>
                <a:gd name="T33" fmla="*/ 39 h 66"/>
                <a:gd name="T34" fmla="*/ 115 w 142"/>
                <a:gd name="T35" fmla="*/ 39 h 66"/>
                <a:gd name="T36" fmla="*/ 120 w 142"/>
                <a:gd name="T37" fmla="*/ 33 h 66"/>
                <a:gd name="T38" fmla="*/ 137 w 142"/>
                <a:gd name="T39" fmla="*/ 22 h 66"/>
                <a:gd name="T40" fmla="*/ 142 w 142"/>
                <a:gd name="T41" fmla="*/ 11 h 66"/>
                <a:gd name="T42" fmla="*/ 131 w 142"/>
                <a:gd name="T43" fmla="*/ 11 h 66"/>
                <a:gd name="T44" fmla="*/ 126 w 142"/>
                <a:gd name="T45" fmla="*/ 6 h 66"/>
                <a:gd name="T46" fmla="*/ 98 w 142"/>
                <a:gd name="T47" fmla="*/ 0 h 66"/>
                <a:gd name="T48" fmla="*/ 93 w 142"/>
                <a:gd name="T49" fmla="*/ 6 h 66"/>
                <a:gd name="T50" fmla="*/ 77 w 142"/>
                <a:gd name="T51" fmla="*/ 6 h 66"/>
                <a:gd name="T52" fmla="*/ 66 w 142"/>
                <a:gd name="T53" fmla="*/ 0 h 66"/>
                <a:gd name="T54" fmla="*/ 60 w 142"/>
                <a:gd name="T55" fmla="*/ 0 h 66"/>
                <a:gd name="T56" fmla="*/ 55 w 142"/>
                <a:gd name="T57" fmla="*/ 0 h 66"/>
                <a:gd name="T58" fmla="*/ 49 w 142"/>
                <a:gd name="T59" fmla="*/ 11 h 66"/>
                <a:gd name="T60" fmla="*/ 39 w 142"/>
                <a:gd name="T61" fmla="*/ 6 h 66"/>
                <a:gd name="T62" fmla="*/ 28 w 142"/>
                <a:gd name="T63" fmla="*/ 6 h 66"/>
                <a:gd name="T64" fmla="*/ 22 w 142"/>
                <a:gd name="T65" fmla="*/ 6 h 66"/>
                <a:gd name="T66" fmla="*/ 22 w 142"/>
                <a:gd name="T67" fmla="*/ 11 h 66"/>
                <a:gd name="T68" fmla="*/ 22 w 142"/>
                <a:gd name="T69" fmla="*/ 17 h 66"/>
                <a:gd name="T70" fmla="*/ 22 w 142"/>
                <a:gd name="T71" fmla="*/ 17 h 66"/>
                <a:gd name="T72" fmla="*/ 22 w 142"/>
                <a:gd name="T73" fmla="*/ 17 h 66"/>
                <a:gd name="T74" fmla="*/ 11 w 142"/>
                <a:gd name="T75" fmla="*/ 28 h 66"/>
                <a:gd name="T76" fmla="*/ 11 w 142"/>
                <a:gd name="T77" fmla="*/ 28 h 66"/>
                <a:gd name="T78" fmla="*/ 17 w 142"/>
                <a:gd name="T79" fmla="*/ 28 h 66"/>
                <a:gd name="T80" fmla="*/ 17 w 142"/>
                <a:gd name="T81" fmla="*/ 33 h 66"/>
                <a:gd name="T82" fmla="*/ 28 w 142"/>
                <a:gd name="T83" fmla="*/ 33 h 66"/>
                <a:gd name="T84" fmla="*/ 28 w 142"/>
                <a:gd name="T85" fmla="*/ 28 h 66"/>
                <a:gd name="T86" fmla="*/ 39 w 142"/>
                <a:gd name="T87" fmla="*/ 39 h 66"/>
                <a:gd name="T88" fmla="*/ 49 w 142"/>
                <a:gd name="T89" fmla="*/ 39 h 66"/>
                <a:gd name="T90" fmla="*/ 33 w 142"/>
                <a:gd name="T91" fmla="*/ 49 h 66"/>
                <a:gd name="T92" fmla="*/ 22 w 142"/>
                <a:gd name="T93" fmla="*/ 49 h 66"/>
                <a:gd name="T94" fmla="*/ 22 w 142"/>
                <a:gd name="T95" fmla="*/ 49 h 6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2"/>
                <a:gd name="T145" fmla="*/ 0 h 66"/>
                <a:gd name="T146" fmla="*/ 142 w 142"/>
                <a:gd name="T147" fmla="*/ 66 h 6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2" h="66">
                  <a:moveTo>
                    <a:pt x="22" y="49"/>
                  </a:moveTo>
                  <a:lnTo>
                    <a:pt x="17" y="55"/>
                  </a:lnTo>
                  <a:lnTo>
                    <a:pt x="11" y="49"/>
                  </a:lnTo>
                  <a:lnTo>
                    <a:pt x="0" y="55"/>
                  </a:lnTo>
                  <a:lnTo>
                    <a:pt x="0" y="60"/>
                  </a:lnTo>
                  <a:lnTo>
                    <a:pt x="17" y="60"/>
                  </a:lnTo>
                  <a:lnTo>
                    <a:pt x="22" y="60"/>
                  </a:lnTo>
                  <a:lnTo>
                    <a:pt x="28" y="60"/>
                  </a:lnTo>
                  <a:lnTo>
                    <a:pt x="33" y="60"/>
                  </a:lnTo>
                  <a:lnTo>
                    <a:pt x="33" y="66"/>
                  </a:lnTo>
                  <a:lnTo>
                    <a:pt x="39" y="66"/>
                  </a:lnTo>
                  <a:lnTo>
                    <a:pt x="55" y="60"/>
                  </a:lnTo>
                  <a:lnTo>
                    <a:pt x="60" y="55"/>
                  </a:lnTo>
                  <a:lnTo>
                    <a:pt x="71" y="49"/>
                  </a:lnTo>
                  <a:lnTo>
                    <a:pt x="88" y="49"/>
                  </a:lnTo>
                  <a:lnTo>
                    <a:pt x="98" y="39"/>
                  </a:lnTo>
                  <a:lnTo>
                    <a:pt x="115" y="39"/>
                  </a:lnTo>
                  <a:lnTo>
                    <a:pt x="120" y="33"/>
                  </a:lnTo>
                  <a:lnTo>
                    <a:pt x="137" y="22"/>
                  </a:lnTo>
                  <a:lnTo>
                    <a:pt x="142" y="11"/>
                  </a:lnTo>
                  <a:lnTo>
                    <a:pt x="131" y="11"/>
                  </a:lnTo>
                  <a:lnTo>
                    <a:pt x="126" y="6"/>
                  </a:lnTo>
                  <a:lnTo>
                    <a:pt x="98" y="0"/>
                  </a:lnTo>
                  <a:lnTo>
                    <a:pt x="93" y="6"/>
                  </a:lnTo>
                  <a:lnTo>
                    <a:pt x="77" y="6"/>
                  </a:lnTo>
                  <a:lnTo>
                    <a:pt x="66" y="0"/>
                  </a:lnTo>
                  <a:lnTo>
                    <a:pt x="60" y="0"/>
                  </a:lnTo>
                  <a:lnTo>
                    <a:pt x="55" y="0"/>
                  </a:lnTo>
                  <a:lnTo>
                    <a:pt x="49" y="11"/>
                  </a:lnTo>
                  <a:lnTo>
                    <a:pt x="39" y="6"/>
                  </a:lnTo>
                  <a:lnTo>
                    <a:pt x="28" y="6"/>
                  </a:lnTo>
                  <a:lnTo>
                    <a:pt x="22" y="6"/>
                  </a:lnTo>
                  <a:lnTo>
                    <a:pt x="22" y="11"/>
                  </a:lnTo>
                  <a:lnTo>
                    <a:pt x="22" y="17"/>
                  </a:lnTo>
                  <a:lnTo>
                    <a:pt x="11" y="28"/>
                  </a:lnTo>
                  <a:lnTo>
                    <a:pt x="17" y="28"/>
                  </a:lnTo>
                  <a:lnTo>
                    <a:pt x="17" y="33"/>
                  </a:lnTo>
                  <a:lnTo>
                    <a:pt x="28" y="33"/>
                  </a:lnTo>
                  <a:lnTo>
                    <a:pt x="28" y="28"/>
                  </a:lnTo>
                  <a:lnTo>
                    <a:pt x="39" y="39"/>
                  </a:lnTo>
                  <a:lnTo>
                    <a:pt x="49" y="39"/>
                  </a:lnTo>
                  <a:lnTo>
                    <a:pt x="33" y="49"/>
                  </a:lnTo>
                  <a:lnTo>
                    <a:pt x="22" y="49"/>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6" name="Freeform 778"/>
            <p:cNvSpPr>
              <a:spLocks/>
            </p:cNvSpPr>
            <p:nvPr/>
          </p:nvSpPr>
          <p:spPr bwMode="auto">
            <a:xfrm>
              <a:off x="3547" y="2413"/>
              <a:ext cx="98" cy="70"/>
            </a:xfrm>
            <a:custGeom>
              <a:avLst/>
              <a:gdLst>
                <a:gd name="T0" fmla="*/ 11 w 98"/>
                <a:gd name="T1" fmla="*/ 65 h 70"/>
                <a:gd name="T2" fmla="*/ 22 w 98"/>
                <a:gd name="T3" fmla="*/ 60 h 70"/>
                <a:gd name="T4" fmla="*/ 27 w 98"/>
                <a:gd name="T5" fmla="*/ 65 h 70"/>
                <a:gd name="T6" fmla="*/ 27 w 98"/>
                <a:gd name="T7" fmla="*/ 54 h 70"/>
                <a:gd name="T8" fmla="*/ 38 w 98"/>
                <a:gd name="T9" fmla="*/ 60 h 70"/>
                <a:gd name="T10" fmla="*/ 38 w 98"/>
                <a:gd name="T11" fmla="*/ 54 h 70"/>
                <a:gd name="T12" fmla="*/ 38 w 98"/>
                <a:gd name="T13" fmla="*/ 54 h 70"/>
                <a:gd name="T14" fmla="*/ 44 w 98"/>
                <a:gd name="T15" fmla="*/ 43 h 70"/>
                <a:gd name="T16" fmla="*/ 49 w 98"/>
                <a:gd name="T17" fmla="*/ 43 h 70"/>
                <a:gd name="T18" fmla="*/ 49 w 98"/>
                <a:gd name="T19" fmla="*/ 49 h 70"/>
                <a:gd name="T20" fmla="*/ 55 w 98"/>
                <a:gd name="T21" fmla="*/ 54 h 70"/>
                <a:gd name="T22" fmla="*/ 55 w 98"/>
                <a:gd name="T23" fmla="*/ 65 h 70"/>
                <a:gd name="T24" fmla="*/ 55 w 98"/>
                <a:gd name="T25" fmla="*/ 70 h 70"/>
                <a:gd name="T26" fmla="*/ 76 w 98"/>
                <a:gd name="T27" fmla="*/ 60 h 70"/>
                <a:gd name="T28" fmla="*/ 82 w 98"/>
                <a:gd name="T29" fmla="*/ 60 h 70"/>
                <a:gd name="T30" fmla="*/ 82 w 98"/>
                <a:gd name="T31" fmla="*/ 60 h 70"/>
                <a:gd name="T32" fmla="*/ 93 w 98"/>
                <a:gd name="T33" fmla="*/ 60 h 70"/>
                <a:gd name="T34" fmla="*/ 98 w 98"/>
                <a:gd name="T35" fmla="*/ 60 h 70"/>
                <a:gd name="T36" fmla="*/ 98 w 98"/>
                <a:gd name="T37" fmla="*/ 60 h 70"/>
                <a:gd name="T38" fmla="*/ 98 w 98"/>
                <a:gd name="T39" fmla="*/ 60 h 70"/>
                <a:gd name="T40" fmla="*/ 98 w 98"/>
                <a:gd name="T41" fmla="*/ 43 h 70"/>
                <a:gd name="T42" fmla="*/ 93 w 98"/>
                <a:gd name="T43" fmla="*/ 43 h 70"/>
                <a:gd name="T44" fmla="*/ 87 w 98"/>
                <a:gd name="T45" fmla="*/ 43 h 70"/>
                <a:gd name="T46" fmla="*/ 82 w 98"/>
                <a:gd name="T47" fmla="*/ 38 h 70"/>
                <a:gd name="T48" fmla="*/ 82 w 98"/>
                <a:gd name="T49" fmla="*/ 21 h 70"/>
                <a:gd name="T50" fmla="*/ 66 w 98"/>
                <a:gd name="T51" fmla="*/ 27 h 70"/>
                <a:gd name="T52" fmla="*/ 60 w 98"/>
                <a:gd name="T53" fmla="*/ 27 h 70"/>
                <a:gd name="T54" fmla="*/ 60 w 98"/>
                <a:gd name="T55" fmla="*/ 21 h 70"/>
                <a:gd name="T56" fmla="*/ 55 w 98"/>
                <a:gd name="T57" fmla="*/ 21 h 70"/>
                <a:gd name="T58" fmla="*/ 49 w 98"/>
                <a:gd name="T59" fmla="*/ 21 h 70"/>
                <a:gd name="T60" fmla="*/ 44 w 98"/>
                <a:gd name="T61" fmla="*/ 21 h 70"/>
                <a:gd name="T62" fmla="*/ 27 w 98"/>
                <a:gd name="T63" fmla="*/ 21 h 70"/>
                <a:gd name="T64" fmla="*/ 27 w 98"/>
                <a:gd name="T65" fmla="*/ 16 h 70"/>
                <a:gd name="T66" fmla="*/ 38 w 98"/>
                <a:gd name="T67" fmla="*/ 10 h 70"/>
                <a:gd name="T68" fmla="*/ 44 w 98"/>
                <a:gd name="T69" fmla="*/ 16 h 70"/>
                <a:gd name="T70" fmla="*/ 49 w 98"/>
                <a:gd name="T71" fmla="*/ 10 h 70"/>
                <a:gd name="T72" fmla="*/ 44 w 98"/>
                <a:gd name="T73" fmla="*/ 10 h 70"/>
                <a:gd name="T74" fmla="*/ 38 w 98"/>
                <a:gd name="T75" fmla="*/ 5 h 70"/>
                <a:gd name="T76" fmla="*/ 44 w 98"/>
                <a:gd name="T77" fmla="*/ 5 h 70"/>
                <a:gd name="T78" fmla="*/ 44 w 98"/>
                <a:gd name="T79" fmla="*/ 0 h 70"/>
                <a:gd name="T80" fmla="*/ 44 w 98"/>
                <a:gd name="T81" fmla="*/ 0 h 70"/>
                <a:gd name="T82" fmla="*/ 33 w 98"/>
                <a:gd name="T83" fmla="*/ 5 h 70"/>
                <a:gd name="T84" fmla="*/ 27 w 98"/>
                <a:gd name="T85" fmla="*/ 5 h 70"/>
                <a:gd name="T86" fmla="*/ 27 w 98"/>
                <a:gd name="T87" fmla="*/ 5 h 70"/>
                <a:gd name="T88" fmla="*/ 27 w 98"/>
                <a:gd name="T89" fmla="*/ 10 h 70"/>
                <a:gd name="T90" fmla="*/ 22 w 98"/>
                <a:gd name="T91" fmla="*/ 16 h 70"/>
                <a:gd name="T92" fmla="*/ 17 w 98"/>
                <a:gd name="T93" fmla="*/ 21 h 70"/>
                <a:gd name="T94" fmla="*/ 6 w 98"/>
                <a:gd name="T95" fmla="*/ 21 h 70"/>
                <a:gd name="T96" fmla="*/ 0 w 98"/>
                <a:gd name="T97" fmla="*/ 27 h 70"/>
                <a:gd name="T98" fmla="*/ 6 w 98"/>
                <a:gd name="T99" fmla="*/ 32 h 70"/>
                <a:gd name="T100" fmla="*/ 11 w 98"/>
                <a:gd name="T101" fmla="*/ 32 h 70"/>
                <a:gd name="T102" fmla="*/ 11 w 98"/>
                <a:gd name="T103" fmla="*/ 38 h 70"/>
                <a:gd name="T104" fmla="*/ 17 w 98"/>
                <a:gd name="T105" fmla="*/ 43 h 70"/>
                <a:gd name="T106" fmla="*/ 6 w 98"/>
                <a:gd name="T107" fmla="*/ 54 h 70"/>
                <a:gd name="T108" fmla="*/ 6 w 98"/>
                <a:gd name="T109" fmla="*/ 60 h 70"/>
                <a:gd name="T110" fmla="*/ 11 w 98"/>
                <a:gd name="T111" fmla="*/ 65 h 70"/>
                <a:gd name="T112" fmla="*/ 11 w 98"/>
                <a:gd name="T113" fmla="*/ 65 h 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8"/>
                <a:gd name="T172" fmla="*/ 0 h 70"/>
                <a:gd name="T173" fmla="*/ 98 w 98"/>
                <a:gd name="T174" fmla="*/ 70 h 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8" h="70">
                  <a:moveTo>
                    <a:pt x="11" y="65"/>
                  </a:moveTo>
                  <a:lnTo>
                    <a:pt x="22" y="60"/>
                  </a:lnTo>
                  <a:lnTo>
                    <a:pt x="27" y="65"/>
                  </a:lnTo>
                  <a:lnTo>
                    <a:pt x="27" y="54"/>
                  </a:lnTo>
                  <a:lnTo>
                    <a:pt x="38" y="60"/>
                  </a:lnTo>
                  <a:lnTo>
                    <a:pt x="38" y="54"/>
                  </a:lnTo>
                  <a:lnTo>
                    <a:pt x="44" y="43"/>
                  </a:lnTo>
                  <a:lnTo>
                    <a:pt x="49" y="43"/>
                  </a:lnTo>
                  <a:lnTo>
                    <a:pt x="49" y="49"/>
                  </a:lnTo>
                  <a:lnTo>
                    <a:pt x="55" y="54"/>
                  </a:lnTo>
                  <a:lnTo>
                    <a:pt x="55" y="65"/>
                  </a:lnTo>
                  <a:lnTo>
                    <a:pt x="55" y="70"/>
                  </a:lnTo>
                  <a:lnTo>
                    <a:pt x="76" y="60"/>
                  </a:lnTo>
                  <a:lnTo>
                    <a:pt x="82" y="60"/>
                  </a:lnTo>
                  <a:lnTo>
                    <a:pt x="93" y="60"/>
                  </a:lnTo>
                  <a:lnTo>
                    <a:pt x="98" y="60"/>
                  </a:lnTo>
                  <a:lnTo>
                    <a:pt x="98" y="43"/>
                  </a:lnTo>
                  <a:lnTo>
                    <a:pt x="93" y="43"/>
                  </a:lnTo>
                  <a:lnTo>
                    <a:pt x="87" y="43"/>
                  </a:lnTo>
                  <a:lnTo>
                    <a:pt x="82" y="38"/>
                  </a:lnTo>
                  <a:lnTo>
                    <a:pt x="82" y="21"/>
                  </a:lnTo>
                  <a:lnTo>
                    <a:pt x="66" y="27"/>
                  </a:lnTo>
                  <a:lnTo>
                    <a:pt x="60" y="27"/>
                  </a:lnTo>
                  <a:lnTo>
                    <a:pt x="60" y="21"/>
                  </a:lnTo>
                  <a:lnTo>
                    <a:pt x="55" y="21"/>
                  </a:lnTo>
                  <a:lnTo>
                    <a:pt x="49" y="21"/>
                  </a:lnTo>
                  <a:lnTo>
                    <a:pt x="44" y="21"/>
                  </a:lnTo>
                  <a:lnTo>
                    <a:pt x="27" y="21"/>
                  </a:lnTo>
                  <a:lnTo>
                    <a:pt x="27" y="16"/>
                  </a:lnTo>
                  <a:lnTo>
                    <a:pt x="38" y="10"/>
                  </a:lnTo>
                  <a:lnTo>
                    <a:pt x="44" y="16"/>
                  </a:lnTo>
                  <a:lnTo>
                    <a:pt x="49" y="10"/>
                  </a:lnTo>
                  <a:lnTo>
                    <a:pt x="44" y="10"/>
                  </a:lnTo>
                  <a:lnTo>
                    <a:pt x="38" y="5"/>
                  </a:lnTo>
                  <a:lnTo>
                    <a:pt x="44" y="5"/>
                  </a:lnTo>
                  <a:lnTo>
                    <a:pt x="44" y="0"/>
                  </a:lnTo>
                  <a:lnTo>
                    <a:pt x="33" y="5"/>
                  </a:lnTo>
                  <a:lnTo>
                    <a:pt x="27" y="5"/>
                  </a:lnTo>
                  <a:lnTo>
                    <a:pt x="27" y="10"/>
                  </a:lnTo>
                  <a:lnTo>
                    <a:pt x="22" y="16"/>
                  </a:lnTo>
                  <a:lnTo>
                    <a:pt x="17" y="21"/>
                  </a:lnTo>
                  <a:lnTo>
                    <a:pt x="6" y="21"/>
                  </a:lnTo>
                  <a:lnTo>
                    <a:pt x="0" y="27"/>
                  </a:lnTo>
                  <a:lnTo>
                    <a:pt x="6" y="32"/>
                  </a:lnTo>
                  <a:lnTo>
                    <a:pt x="11" y="32"/>
                  </a:lnTo>
                  <a:lnTo>
                    <a:pt x="11" y="38"/>
                  </a:lnTo>
                  <a:lnTo>
                    <a:pt x="17" y="43"/>
                  </a:lnTo>
                  <a:lnTo>
                    <a:pt x="6" y="54"/>
                  </a:lnTo>
                  <a:lnTo>
                    <a:pt x="6" y="60"/>
                  </a:lnTo>
                  <a:lnTo>
                    <a:pt x="11" y="65"/>
                  </a:lnTo>
                  <a:close/>
                </a:path>
              </a:pathLst>
            </a:custGeom>
            <a:solidFill>
              <a:schemeClr val="accent2"/>
            </a:solidFill>
            <a:ln w="12700" cap="rnd" cmpd="sng">
              <a:solidFill>
                <a:schemeClr val="bg1"/>
              </a:solidFill>
              <a:prstDash val="solid"/>
              <a:round/>
              <a:headEnd/>
              <a:tailEnd/>
            </a:ln>
          </p:spPr>
          <p:txBody>
            <a:bodyPr/>
            <a:lstStyle/>
            <a:p>
              <a:endParaRPr lang="de-DE"/>
            </a:p>
          </p:txBody>
        </p:sp>
        <p:sp>
          <p:nvSpPr>
            <p:cNvPr id="356757" name="Freeform 779"/>
            <p:cNvSpPr>
              <a:spLocks/>
            </p:cNvSpPr>
            <p:nvPr/>
          </p:nvSpPr>
          <p:spPr bwMode="auto">
            <a:xfrm>
              <a:off x="2927" y="2385"/>
              <a:ext cx="27" cy="49"/>
            </a:xfrm>
            <a:custGeom>
              <a:avLst/>
              <a:gdLst>
                <a:gd name="T0" fmla="*/ 22 w 27"/>
                <a:gd name="T1" fmla="*/ 28 h 49"/>
                <a:gd name="T2" fmla="*/ 27 w 27"/>
                <a:gd name="T3" fmla="*/ 33 h 49"/>
                <a:gd name="T4" fmla="*/ 11 w 27"/>
                <a:gd name="T5" fmla="*/ 49 h 49"/>
                <a:gd name="T6" fmla="*/ 0 w 27"/>
                <a:gd name="T7" fmla="*/ 38 h 49"/>
                <a:gd name="T8" fmla="*/ 5 w 27"/>
                <a:gd name="T9" fmla="*/ 38 h 49"/>
                <a:gd name="T10" fmla="*/ 5 w 27"/>
                <a:gd name="T11" fmla="*/ 22 h 49"/>
                <a:gd name="T12" fmla="*/ 5 w 27"/>
                <a:gd name="T13" fmla="*/ 11 h 49"/>
                <a:gd name="T14" fmla="*/ 0 w 27"/>
                <a:gd name="T15" fmla="*/ 11 h 49"/>
                <a:gd name="T16" fmla="*/ 5 w 27"/>
                <a:gd name="T17" fmla="*/ 0 h 49"/>
                <a:gd name="T18" fmla="*/ 5 w 27"/>
                <a:gd name="T19" fmla="*/ 0 h 49"/>
                <a:gd name="T20" fmla="*/ 11 w 27"/>
                <a:gd name="T21" fmla="*/ 0 h 49"/>
                <a:gd name="T22" fmla="*/ 11 w 27"/>
                <a:gd name="T23" fmla="*/ 0 h 49"/>
                <a:gd name="T24" fmla="*/ 22 w 27"/>
                <a:gd name="T25" fmla="*/ 6 h 49"/>
                <a:gd name="T26" fmla="*/ 16 w 27"/>
                <a:gd name="T27" fmla="*/ 22 h 49"/>
                <a:gd name="T28" fmla="*/ 22 w 27"/>
                <a:gd name="T29" fmla="*/ 28 h 49"/>
                <a:gd name="T30" fmla="*/ 22 w 27"/>
                <a:gd name="T31" fmla="*/ 28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
                <a:gd name="T49" fmla="*/ 0 h 49"/>
                <a:gd name="T50" fmla="*/ 27 w 27"/>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 h="49">
                  <a:moveTo>
                    <a:pt x="22" y="28"/>
                  </a:moveTo>
                  <a:lnTo>
                    <a:pt x="27" y="33"/>
                  </a:lnTo>
                  <a:lnTo>
                    <a:pt x="11" y="49"/>
                  </a:lnTo>
                  <a:lnTo>
                    <a:pt x="0" y="38"/>
                  </a:lnTo>
                  <a:lnTo>
                    <a:pt x="5" y="38"/>
                  </a:lnTo>
                  <a:lnTo>
                    <a:pt x="5" y="22"/>
                  </a:lnTo>
                  <a:lnTo>
                    <a:pt x="5" y="11"/>
                  </a:lnTo>
                  <a:lnTo>
                    <a:pt x="0" y="11"/>
                  </a:lnTo>
                  <a:lnTo>
                    <a:pt x="5" y="0"/>
                  </a:lnTo>
                  <a:lnTo>
                    <a:pt x="11" y="0"/>
                  </a:lnTo>
                  <a:lnTo>
                    <a:pt x="22" y="6"/>
                  </a:lnTo>
                  <a:lnTo>
                    <a:pt x="16" y="22"/>
                  </a:lnTo>
                  <a:lnTo>
                    <a:pt x="22" y="2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58" name="Freeform 780"/>
            <p:cNvSpPr>
              <a:spLocks/>
            </p:cNvSpPr>
            <p:nvPr/>
          </p:nvSpPr>
          <p:spPr bwMode="auto">
            <a:xfrm>
              <a:off x="2943" y="2385"/>
              <a:ext cx="33" cy="28"/>
            </a:xfrm>
            <a:custGeom>
              <a:avLst/>
              <a:gdLst>
                <a:gd name="T0" fmla="*/ 6 w 33"/>
                <a:gd name="T1" fmla="*/ 28 h 28"/>
                <a:gd name="T2" fmla="*/ 0 w 33"/>
                <a:gd name="T3" fmla="*/ 22 h 28"/>
                <a:gd name="T4" fmla="*/ 6 w 33"/>
                <a:gd name="T5" fmla="*/ 6 h 28"/>
                <a:gd name="T6" fmla="*/ 11 w 33"/>
                <a:gd name="T7" fmla="*/ 0 h 28"/>
                <a:gd name="T8" fmla="*/ 27 w 33"/>
                <a:gd name="T9" fmla="*/ 0 h 28"/>
                <a:gd name="T10" fmla="*/ 27 w 33"/>
                <a:gd name="T11" fmla="*/ 6 h 28"/>
                <a:gd name="T12" fmla="*/ 33 w 33"/>
                <a:gd name="T13" fmla="*/ 11 h 28"/>
                <a:gd name="T14" fmla="*/ 33 w 33"/>
                <a:gd name="T15" fmla="*/ 22 h 28"/>
                <a:gd name="T16" fmla="*/ 6 w 33"/>
                <a:gd name="T17" fmla="*/ 28 h 28"/>
                <a:gd name="T18" fmla="*/ 6 w 33"/>
                <a:gd name="T19" fmla="*/ 28 h 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8"/>
                <a:gd name="T32" fmla="*/ 33 w 33"/>
                <a:gd name="T33" fmla="*/ 28 h 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8">
                  <a:moveTo>
                    <a:pt x="6" y="28"/>
                  </a:moveTo>
                  <a:lnTo>
                    <a:pt x="0" y="22"/>
                  </a:lnTo>
                  <a:lnTo>
                    <a:pt x="6" y="6"/>
                  </a:lnTo>
                  <a:lnTo>
                    <a:pt x="11" y="0"/>
                  </a:lnTo>
                  <a:lnTo>
                    <a:pt x="27" y="0"/>
                  </a:lnTo>
                  <a:lnTo>
                    <a:pt x="27" y="6"/>
                  </a:lnTo>
                  <a:lnTo>
                    <a:pt x="33" y="11"/>
                  </a:lnTo>
                  <a:lnTo>
                    <a:pt x="33" y="22"/>
                  </a:lnTo>
                  <a:lnTo>
                    <a:pt x="6" y="2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59" name="Freeform 781"/>
            <p:cNvSpPr>
              <a:spLocks/>
            </p:cNvSpPr>
            <p:nvPr/>
          </p:nvSpPr>
          <p:spPr bwMode="auto">
            <a:xfrm>
              <a:off x="2965" y="2358"/>
              <a:ext cx="87" cy="49"/>
            </a:xfrm>
            <a:custGeom>
              <a:avLst/>
              <a:gdLst>
                <a:gd name="T0" fmla="*/ 87 w 87"/>
                <a:gd name="T1" fmla="*/ 5 h 49"/>
                <a:gd name="T2" fmla="*/ 65 w 87"/>
                <a:gd name="T3" fmla="*/ 0 h 49"/>
                <a:gd name="T4" fmla="*/ 43 w 87"/>
                <a:gd name="T5" fmla="*/ 5 h 49"/>
                <a:gd name="T6" fmla="*/ 11 w 87"/>
                <a:gd name="T7" fmla="*/ 5 h 49"/>
                <a:gd name="T8" fmla="*/ 11 w 87"/>
                <a:gd name="T9" fmla="*/ 0 h 49"/>
                <a:gd name="T10" fmla="*/ 11 w 87"/>
                <a:gd name="T11" fmla="*/ 0 h 49"/>
                <a:gd name="T12" fmla="*/ 5 w 87"/>
                <a:gd name="T13" fmla="*/ 0 h 49"/>
                <a:gd name="T14" fmla="*/ 5 w 87"/>
                <a:gd name="T15" fmla="*/ 0 h 49"/>
                <a:gd name="T16" fmla="*/ 0 w 87"/>
                <a:gd name="T17" fmla="*/ 5 h 49"/>
                <a:gd name="T18" fmla="*/ 5 w 87"/>
                <a:gd name="T19" fmla="*/ 11 h 49"/>
                <a:gd name="T20" fmla="*/ 11 w 87"/>
                <a:gd name="T21" fmla="*/ 16 h 49"/>
                <a:gd name="T22" fmla="*/ 5 w 87"/>
                <a:gd name="T23" fmla="*/ 27 h 49"/>
                <a:gd name="T24" fmla="*/ 5 w 87"/>
                <a:gd name="T25" fmla="*/ 27 h 49"/>
                <a:gd name="T26" fmla="*/ 5 w 87"/>
                <a:gd name="T27" fmla="*/ 33 h 49"/>
                <a:gd name="T28" fmla="*/ 11 w 87"/>
                <a:gd name="T29" fmla="*/ 38 h 49"/>
                <a:gd name="T30" fmla="*/ 11 w 87"/>
                <a:gd name="T31" fmla="*/ 49 h 49"/>
                <a:gd name="T32" fmla="*/ 33 w 87"/>
                <a:gd name="T33" fmla="*/ 44 h 49"/>
                <a:gd name="T34" fmla="*/ 43 w 87"/>
                <a:gd name="T35" fmla="*/ 49 h 49"/>
                <a:gd name="T36" fmla="*/ 49 w 87"/>
                <a:gd name="T37" fmla="*/ 49 h 49"/>
                <a:gd name="T38" fmla="*/ 54 w 87"/>
                <a:gd name="T39" fmla="*/ 44 h 49"/>
                <a:gd name="T40" fmla="*/ 54 w 87"/>
                <a:gd name="T41" fmla="*/ 38 h 49"/>
                <a:gd name="T42" fmla="*/ 54 w 87"/>
                <a:gd name="T43" fmla="*/ 38 h 49"/>
                <a:gd name="T44" fmla="*/ 65 w 87"/>
                <a:gd name="T45" fmla="*/ 38 h 49"/>
                <a:gd name="T46" fmla="*/ 76 w 87"/>
                <a:gd name="T47" fmla="*/ 38 h 49"/>
                <a:gd name="T48" fmla="*/ 71 w 87"/>
                <a:gd name="T49" fmla="*/ 27 h 49"/>
                <a:gd name="T50" fmla="*/ 76 w 87"/>
                <a:gd name="T51" fmla="*/ 22 h 49"/>
                <a:gd name="T52" fmla="*/ 76 w 87"/>
                <a:gd name="T53" fmla="*/ 16 h 49"/>
                <a:gd name="T54" fmla="*/ 82 w 87"/>
                <a:gd name="T55" fmla="*/ 11 h 49"/>
                <a:gd name="T56" fmla="*/ 87 w 87"/>
                <a:gd name="T57" fmla="*/ 5 h 49"/>
                <a:gd name="T58" fmla="*/ 87 w 87"/>
                <a:gd name="T59" fmla="*/ 5 h 4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7"/>
                <a:gd name="T91" fmla="*/ 0 h 49"/>
                <a:gd name="T92" fmla="*/ 87 w 87"/>
                <a:gd name="T93" fmla="*/ 49 h 4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7" h="49">
                  <a:moveTo>
                    <a:pt x="87" y="5"/>
                  </a:moveTo>
                  <a:lnTo>
                    <a:pt x="65" y="0"/>
                  </a:lnTo>
                  <a:lnTo>
                    <a:pt x="43" y="5"/>
                  </a:lnTo>
                  <a:lnTo>
                    <a:pt x="11" y="5"/>
                  </a:lnTo>
                  <a:lnTo>
                    <a:pt x="11" y="0"/>
                  </a:lnTo>
                  <a:lnTo>
                    <a:pt x="5" y="0"/>
                  </a:lnTo>
                  <a:lnTo>
                    <a:pt x="0" y="5"/>
                  </a:lnTo>
                  <a:lnTo>
                    <a:pt x="5" y="11"/>
                  </a:lnTo>
                  <a:lnTo>
                    <a:pt x="11" y="16"/>
                  </a:lnTo>
                  <a:lnTo>
                    <a:pt x="5" y="27"/>
                  </a:lnTo>
                  <a:lnTo>
                    <a:pt x="5" y="33"/>
                  </a:lnTo>
                  <a:lnTo>
                    <a:pt x="11" y="38"/>
                  </a:lnTo>
                  <a:lnTo>
                    <a:pt x="11" y="49"/>
                  </a:lnTo>
                  <a:lnTo>
                    <a:pt x="33" y="44"/>
                  </a:lnTo>
                  <a:lnTo>
                    <a:pt x="43" y="49"/>
                  </a:lnTo>
                  <a:lnTo>
                    <a:pt x="49" y="49"/>
                  </a:lnTo>
                  <a:lnTo>
                    <a:pt x="54" y="44"/>
                  </a:lnTo>
                  <a:lnTo>
                    <a:pt x="54" y="38"/>
                  </a:lnTo>
                  <a:lnTo>
                    <a:pt x="65" y="38"/>
                  </a:lnTo>
                  <a:lnTo>
                    <a:pt x="76" y="38"/>
                  </a:lnTo>
                  <a:lnTo>
                    <a:pt x="71" y="27"/>
                  </a:lnTo>
                  <a:lnTo>
                    <a:pt x="76" y="22"/>
                  </a:lnTo>
                  <a:lnTo>
                    <a:pt x="76" y="16"/>
                  </a:lnTo>
                  <a:lnTo>
                    <a:pt x="82" y="11"/>
                  </a:lnTo>
                  <a:lnTo>
                    <a:pt x="87"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0" name="Freeform 782"/>
            <p:cNvSpPr>
              <a:spLocks/>
            </p:cNvSpPr>
            <p:nvPr/>
          </p:nvSpPr>
          <p:spPr bwMode="auto">
            <a:xfrm>
              <a:off x="3030" y="1348"/>
              <a:ext cx="2101" cy="1059"/>
            </a:xfrm>
            <a:custGeom>
              <a:avLst/>
              <a:gdLst>
                <a:gd name="T0" fmla="*/ 1976 w 2101"/>
                <a:gd name="T1" fmla="*/ 497 h 1059"/>
                <a:gd name="T2" fmla="*/ 2041 w 2101"/>
                <a:gd name="T3" fmla="*/ 546 h 1059"/>
                <a:gd name="T4" fmla="*/ 2074 w 2101"/>
                <a:gd name="T5" fmla="*/ 519 h 1059"/>
                <a:gd name="T6" fmla="*/ 2041 w 2101"/>
                <a:gd name="T7" fmla="*/ 470 h 1059"/>
                <a:gd name="T8" fmla="*/ 2009 w 2101"/>
                <a:gd name="T9" fmla="*/ 432 h 1059"/>
                <a:gd name="T10" fmla="*/ 1851 w 2101"/>
                <a:gd name="T11" fmla="*/ 399 h 1059"/>
                <a:gd name="T12" fmla="*/ 1617 w 2101"/>
                <a:gd name="T13" fmla="*/ 333 h 1059"/>
                <a:gd name="T14" fmla="*/ 1448 w 2101"/>
                <a:gd name="T15" fmla="*/ 295 h 1059"/>
                <a:gd name="T16" fmla="*/ 1306 w 2101"/>
                <a:gd name="T17" fmla="*/ 290 h 1059"/>
                <a:gd name="T18" fmla="*/ 1176 w 2101"/>
                <a:gd name="T19" fmla="*/ 235 h 1059"/>
                <a:gd name="T20" fmla="*/ 1083 w 2101"/>
                <a:gd name="T21" fmla="*/ 197 h 1059"/>
                <a:gd name="T22" fmla="*/ 1013 w 2101"/>
                <a:gd name="T23" fmla="*/ 246 h 1059"/>
                <a:gd name="T24" fmla="*/ 1116 w 2101"/>
                <a:gd name="T25" fmla="*/ 110 h 1059"/>
                <a:gd name="T26" fmla="*/ 991 w 2101"/>
                <a:gd name="T27" fmla="*/ 44 h 1059"/>
                <a:gd name="T28" fmla="*/ 909 w 2101"/>
                <a:gd name="T29" fmla="*/ 99 h 1059"/>
                <a:gd name="T30" fmla="*/ 768 w 2101"/>
                <a:gd name="T31" fmla="*/ 164 h 1059"/>
                <a:gd name="T32" fmla="*/ 691 w 2101"/>
                <a:gd name="T33" fmla="*/ 257 h 1059"/>
                <a:gd name="T34" fmla="*/ 724 w 2101"/>
                <a:gd name="T35" fmla="*/ 301 h 1059"/>
                <a:gd name="T36" fmla="*/ 621 w 2101"/>
                <a:gd name="T37" fmla="*/ 306 h 1059"/>
                <a:gd name="T38" fmla="*/ 615 w 2101"/>
                <a:gd name="T39" fmla="*/ 399 h 1059"/>
                <a:gd name="T40" fmla="*/ 610 w 2101"/>
                <a:gd name="T41" fmla="*/ 437 h 1059"/>
                <a:gd name="T42" fmla="*/ 588 w 2101"/>
                <a:gd name="T43" fmla="*/ 432 h 1059"/>
                <a:gd name="T44" fmla="*/ 506 w 2101"/>
                <a:gd name="T45" fmla="*/ 322 h 1059"/>
                <a:gd name="T46" fmla="*/ 425 w 2101"/>
                <a:gd name="T47" fmla="*/ 377 h 1059"/>
                <a:gd name="T48" fmla="*/ 354 w 2101"/>
                <a:gd name="T49" fmla="*/ 404 h 1059"/>
                <a:gd name="T50" fmla="*/ 240 w 2101"/>
                <a:gd name="T51" fmla="*/ 475 h 1059"/>
                <a:gd name="T52" fmla="*/ 196 w 2101"/>
                <a:gd name="T53" fmla="*/ 486 h 1059"/>
                <a:gd name="T54" fmla="*/ 114 w 2101"/>
                <a:gd name="T55" fmla="*/ 563 h 1059"/>
                <a:gd name="T56" fmla="*/ 185 w 2101"/>
                <a:gd name="T57" fmla="*/ 464 h 1059"/>
                <a:gd name="T58" fmla="*/ 60 w 2101"/>
                <a:gd name="T59" fmla="*/ 372 h 1059"/>
                <a:gd name="T60" fmla="*/ 38 w 2101"/>
                <a:gd name="T61" fmla="*/ 535 h 1059"/>
                <a:gd name="T62" fmla="*/ 17 w 2101"/>
                <a:gd name="T63" fmla="*/ 683 h 1059"/>
                <a:gd name="T64" fmla="*/ 17 w 2101"/>
                <a:gd name="T65" fmla="*/ 770 h 1059"/>
                <a:gd name="T66" fmla="*/ 71 w 2101"/>
                <a:gd name="T67" fmla="*/ 824 h 1059"/>
                <a:gd name="T68" fmla="*/ 109 w 2101"/>
                <a:gd name="T69" fmla="*/ 884 h 1059"/>
                <a:gd name="T70" fmla="*/ 163 w 2101"/>
                <a:gd name="T71" fmla="*/ 923 h 1059"/>
                <a:gd name="T72" fmla="*/ 147 w 2101"/>
                <a:gd name="T73" fmla="*/ 972 h 1059"/>
                <a:gd name="T74" fmla="*/ 240 w 2101"/>
                <a:gd name="T75" fmla="*/ 1043 h 1059"/>
                <a:gd name="T76" fmla="*/ 261 w 2101"/>
                <a:gd name="T77" fmla="*/ 972 h 1059"/>
                <a:gd name="T78" fmla="*/ 251 w 2101"/>
                <a:gd name="T79" fmla="*/ 917 h 1059"/>
                <a:gd name="T80" fmla="*/ 316 w 2101"/>
                <a:gd name="T81" fmla="*/ 868 h 1059"/>
                <a:gd name="T82" fmla="*/ 381 w 2101"/>
                <a:gd name="T83" fmla="*/ 879 h 1059"/>
                <a:gd name="T84" fmla="*/ 436 w 2101"/>
                <a:gd name="T85" fmla="*/ 863 h 1059"/>
                <a:gd name="T86" fmla="*/ 436 w 2101"/>
                <a:gd name="T87" fmla="*/ 824 h 1059"/>
                <a:gd name="T88" fmla="*/ 501 w 2101"/>
                <a:gd name="T89" fmla="*/ 797 h 1059"/>
                <a:gd name="T90" fmla="*/ 583 w 2101"/>
                <a:gd name="T91" fmla="*/ 808 h 1059"/>
                <a:gd name="T92" fmla="*/ 626 w 2101"/>
                <a:gd name="T93" fmla="*/ 808 h 1059"/>
                <a:gd name="T94" fmla="*/ 719 w 2101"/>
                <a:gd name="T95" fmla="*/ 879 h 1059"/>
                <a:gd name="T96" fmla="*/ 817 w 2101"/>
                <a:gd name="T97" fmla="*/ 890 h 1059"/>
                <a:gd name="T98" fmla="*/ 1040 w 2101"/>
                <a:gd name="T99" fmla="*/ 901 h 1059"/>
                <a:gd name="T100" fmla="*/ 1209 w 2101"/>
                <a:gd name="T101" fmla="*/ 835 h 1059"/>
                <a:gd name="T102" fmla="*/ 1388 w 2101"/>
                <a:gd name="T103" fmla="*/ 945 h 1059"/>
                <a:gd name="T104" fmla="*/ 1350 w 2101"/>
                <a:gd name="T105" fmla="*/ 1026 h 1059"/>
                <a:gd name="T106" fmla="*/ 1470 w 2101"/>
                <a:gd name="T107" fmla="*/ 841 h 1059"/>
                <a:gd name="T108" fmla="*/ 1410 w 2101"/>
                <a:gd name="T109" fmla="*/ 803 h 1059"/>
                <a:gd name="T110" fmla="*/ 1568 w 2101"/>
                <a:gd name="T111" fmla="*/ 693 h 1059"/>
                <a:gd name="T112" fmla="*/ 1633 w 2101"/>
                <a:gd name="T113" fmla="*/ 688 h 1059"/>
                <a:gd name="T114" fmla="*/ 1742 w 2101"/>
                <a:gd name="T115" fmla="*/ 628 h 1059"/>
                <a:gd name="T116" fmla="*/ 1736 w 2101"/>
                <a:gd name="T117" fmla="*/ 661 h 1059"/>
                <a:gd name="T118" fmla="*/ 1709 w 2101"/>
                <a:gd name="T119" fmla="*/ 814 h 1059"/>
                <a:gd name="T120" fmla="*/ 1747 w 2101"/>
                <a:gd name="T121" fmla="*/ 726 h 1059"/>
                <a:gd name="T122" fmla="*/ 1813 w 2101"/>
                <a:gd name="T123" fmla="*/ 655 h 1059"/>
                <a:gd name="T124" fmla="*/ 1938 w 2101"/>
                <a:gd name="T125" fmla="*/ 601 h 10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101"/>
                <a:gd name="T190" fmla="*/ 0 h 1059"/>
                <a:gd name="T191" fmla="*/ 2101 w 2101"/>
                <a:gd name="T192" fmla="*/ 1059 h 10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101" h="1059">
                  <a:moveTo>
                    <a:pt x="1954" y="579"/>
                  </a:moveTo>
                  <a:lnTo>
                    <a:pt x="1949" y="563"/>
                  </a:lnTo>
                  <a:lnTo>
                    <a:pt x="1943" y="563"/>
                  </a:lnTo>
                  <a:lnTo>
                    <a:pt x="1949" y="563"/>
                  </a:lnTo>
                  <a:lnTo>
                    <a:pt x="1943" y="552"/>
                  </a:lnTo>
                  <a:lnTo>
                    <a:pt x="1943" y="557"/>
                  </a:lnTo>
                  <a:lnTo>
                    <a:pt x="1938" y="552"/>
                  </a:lnTo>
                  <a:lnTo>
                    <a:pt x="1932" y="541"/>
                  </a:lnTo>
                  <a:lnTo>
                    <a:pt x="1943" y="541"/>
                  </a:lnTo>
                  <a:lnTo>
                    <a:pt x="1949" y="546"/>
                  </a:lnTo>
                  <a:lnTo>
                    <a:pt x="1965" y="535"/>
                  </a:lnTo>
                  <a:lnTo>
                    <a:pt x="1971" y="530"/>
                  </a:lnTo>
                  <a:lnTo>
                    <a:pt x="1976" y="519"/>
                  </a:lnTo>
                  <a:lnTo>
                    <a:pt x="1971" y="508"/>
                  </a:lnTo>
                  <a:lnTo>
                    <a:pt x="1971" y="497"/>
                  </a:lnTo>
                  <a:lnTo>
                    <a:pt x="1976" y="497"/>
                  </a:lnTo>
                  <a:lnTo>
                    <a:pt x="1976" y="492"/>
                  </a:lnTo>
                  <a:lnTo>
                    <a:pt x="1981" y="497"/>
                  </a:lnTo>
                  <a:lnTo>
                    <a:pt x="1987" y="492"/>
                  </a:lnTo>
                  <a:lnTo>
                    <a:pt x="1987" y="497"/>
                  </a:lnTo>
                  <a:lnTo>
                    <a:pt x="1981" y="497"/>
                  </a:lnTo>
                  <a:lnTo>
                    <a:pt x="1987" y="513"/>
                  </a:lnTo>
                  <a:lnTo>
                    <a:pt x="2014" y="513"/>
                  </a:lnTo>
                  <a:lnTo>
                    <a:pt x="2020" y="519"/>
                  </a:lnTo>
                  <a:lnTo>
                    <a:pt x="2020" y="530"/>
                  </a:lnTo>
                  <a:lnTo>
                    <a:pt x="2025" y="541"/>
                  </a:lnTo>
                  <a:lnTo>
                    <a:pt x="2036" y="541"/>
                  </a:lnTo>
                  <a:lnTo>
                    <a:pt x="2030" y="541"/>
                  </a:lnTo>
                  <a:lnTo>
                    <a:pt x="2036" y="541"/>
                  </a:lnTo>
                  <a:lnTo>
                    <a:pt x="2041" y="546"/>
                  </a:lnTo>
                  <a:lnTo>
                    <a:pt x="2047" y="552"/>
                  </a:lnTo>
                  <a:lnTo>
                    <a:pt x="2047" y="546"/>
                  </a:lnTo>
                  <a:lnTo>
                    <a:pt x="2052" y="552"/>
                  </a:lnTo>
                  <a:lnTo>
                    <a:pt x="2052" y="546"/>
                  </a:lnTo>
                  <a:lnTo>
                    <a:pt x="2052" y="552"/>
                  </a:lnTo>
                  <a:lnTo>
                    <a:pt x="2058" y="557"/>
                  </a:lnTo>
                  <a:lnTo>
                    <a:pt x="2058" y="552"/>
                  </a:lnTo>
                  <a:lnTo>
                    <a:pt x="2058" y="546"/>
                  </a:lnTo>
                  <a:lnTo>
                    <a:pt x="2069" y="552"/>
                  </a:lnTo>
                  <a:lnTo>
                    <a:pt x="2058" y="541"/>
                  </a:lnTo>
                  <a:lnTo>
                    <a:pt x="2063" y="541"/>
                  </a:lnTo>
                  <a:lnTo>
                    <a:pt x="2058" y="541"/>
                  </a:lnTo>
                  <a:lnTo>
                    <a:pt x="2069" y="530"/>
                  </a:lnTo>
                  <a:lnTo>
                    <a:pt x="2063" y="524"/>
                  </a:lnTo>
                  <a:lnTo>
                    <a:pt x="2069" y="524"/>
                  </a:lnTo>
                  <a:lnTo>
                    <a:pt x="2074" y="519"/>
                  </a:lnTo>
                  <a:lnTo>
                    <a:pt x="2085" y="519"/>
                  </a:lnTo>
                  <a:lnTo>
                    <a:pt x="2079" y="513"/>
                  </a:lnTo>
                  <a:lnTo>
                    <a:pt x="2079" y="508"/>
                  </a:lnTo>
                  <a:lnTo>
                    <a:pt x="2090" y="513"/>
                  </a:lnTo>
                  <a:lnTo>
                    <a:pt x="2090" y="503"/>
                  </a:lnTo>
                  <a:lnTo>
                    <a:pt x="2101" y="497"/>
                  </a:lnTo>
                  <a:lnTo>
                    <a:pt x="2090" y="497"/>
                  </a:lnTo>
                  <a:lnTo>
                    <a:pt x="2090" y="492"/>
                  </a:lnTo>
                  <a:lnTo>
                    <a:pt x="2074" y="470"/>
                  </a:lnTo>
                  <a:lnTo>
                    <a:pt x="2058" y="470"/>
                  </a:lnTo>
                  <a:lnTo>
                    <a:pt x="2052" y="475"/>
                  </a:lnTo>
                  <a:lnTo>
                    <a:pt x="2052" y="470"/>
                  </a:lnTo>
                  <a:lnTo>
                    <a:pt x="2058" y="470"/>
                  </a:lnTo>
                  <a:lnTo>
                    <a:pt x="2047" y="464"/>
                  </a:lnTo>
                  <a:lnTo>
                    <a:pt x="2047" y="470"/>
                  </a:lnTo>
                  <a:lnTo>
                    <a:pt x="2041" y="470"/>
                  </a:lnTo>
                  <a:lnTo>
                    <a:pt x="2041" y="481"/>
                  </a:lnTo>
                  <a:lnTo>
                    <a:pt x="2047" y="486"/>
                  </a:lnTo>
                  <a:lnTo>
                    <a:pt x="2047" y="492"/>
                  </a:lnTo>
                  <a:lnTo>
                    <a:pt x="2047" y="486"/>
                  </a:lnTo>
                  <a:lnTo>
                    <a:pt x="2036" y="475"/>
                  </a:lnTo>
                  <a:lnTo>
                    <a:pt x="2030" y="459"/>
                  </a:lnTo>
                  <a:lnTo>
                    <a:pt x="2036" y="453"/>
                  </a:lnTo>
                  <a:lnTo>
                    <a:pt x="2025" y="448"/>
                  </a:lnTo>
                  <a:lnTo>
                    <a:pt x="2020" y="442"/>
                  </a:lnTo>
                  <a:lnTo>
                    <a:pt x="2025" y="453"/>
                  </a:lnTo>
                  <a:lnTo>
                    <a:pt x="2014" y="448"/>
                  </a:lnTo>
                  <a:lnTo>
                    <a:pt x="2020" y="442"/>
                  </a:lnTo>
                  <a:lnTo>
                    <a:pt x="2009" y="437"/>
                  </a:lnTo>
                  <a:lnTo>
                    <a:pt x="2009" y="432"/>
                  </a:lnTo>
                  <a:lnTo>
                    <a:pt x="2003" y="426"/>
                  </a:lnTo>
                  <a:lnTo>
                    <a:pt x="1992" y="426"/>
                  </a:lnTo>
                  <a:lnTo>
                    <a:pt x="1992" y="421"/>
                  </a:lnTo>
                  <a:lnTo>
                    <a:pt x="1981" y="415"/>
                  </a:lnTo>
                  <a:lnTo>
                    <a:pt x="1981" y="410"/>
                  </a:lnTo>
                  <a:lnTo>
                    <a:pt x="1971" y="404"/>
                  </a:lnTo>
                  <a:lnTo>
                    <a:pt x="1965" y="404"/>
                  </a:lnTo>
                  <a:lnTo>
                    <a:pt x="1949" y="388"/>
                  </a:lnTo>
                  <a:lnTo>
                    <a:pt x="1916" y="372"/>
                  </a:lnTo>
                  <a:lnTo>
                    <a:pt x="1878" y="372"/>
                  </a:lnTo>
                  <a:lnTo>
                    <a:pt x="1851" y="361"/>
                  </a:lnTo>
                  <a:lnTo>
                    <a:pt x="1845" y="366"/>
                  </a:lnTo>
                  <a:lnTo>
                    <a:pt x="1845" y="372"/>
                  </a:lnTo>
                  <a:lnTo>
                    <a:pt x="1840" y="377"/>
                  </a:lnTo>
                  <a:lnTo>
                    <a:pt x="1845" y="382"/>
                  </a:lnTo>
                  <a:lnTo>
                    <a:pt x="1851" y="399"/>
                  </a:lnTo>
                  <a:lnTo>
                    <a:pt x="1840" y="410"/>
                  </a:lnTo>
                  <a:lnTo>
                    <a:pt x="1818" y="393"/>
                  </a:lnTo>
                  <a:lnTo>
                    <a:pt x="1813" y="382"/>
                  </a:lnTo>
                  <a:lnTo>
                    <a:pt x="1813" y="372"/>
                  </a:lnTo>
                  <a:lnTo>
                    <a:pt x="1796" y="382"/>
                  </a:lnTo>
                  <a:lnTo>
                    <a:pt x="1775" y="382"/>
                  </a:lnTo>
                  <a:lnTo>
                    <a:pt x="1764" y="372"/>
                  </a:lnTo>
                  <a:lnTo>
                    <a:pt x="1742" y="377"/>
                  </a:lnTo>
                  <a:lnTo>
                    <a:pt x="1726" y="388"/>
                  </a:lnTo>
                  <a:lnTo>
                    <a:pt x="1726" y="382"/>
                  </a:lnTo>
                  <a:lnTo>
                    <a:pt x="1704" y="372"/>
                  </a:lnTo>
                  <a:lnTo>
                    <a:pt x="1709" y="355"/>
                  </a:lnTo>
                  <a:lnTo>
                    <a:pt x="1709" y="350"/>
                  </a:lnTo>
                  <a:lnTo>
                    <a:pt x="1698" y="328"/>
                  </a:lnTo>
                  <a:lnTo>
                    <a:pt x="1644" y="328"/>
                  </a:lnTo>
                  <a:lnTo>
                    <a:pt x="1617" y="333"/>
                  </a:lnTo>
                  <a:lnTo>
                    <a:pt x="1606" y="328"/>
                  </a:lnTo>
                  <a:lnTo>
                    <a:pt x="1611" y="317"/>
                  </a:lnTo>
                  <a:lnTo>
                    <a:pt x="1600" y="306"/>
                  </a:lnTo>
                  <a:lnTo>
                    <a:pt x="1590" y="312"/>
                  </a:lnTo>
                  <a:lnTo>
                    <a:pt x="1584" y="301"/>
                  </a:lnTo>
                  <a:lnTo>
                    <a:pt x="1568" y="301"/>
                  </a:lnTo>
                  <a:lnTo>
                    <a:pt x="1573" y="290"/>
                  </a:lnTo>
                  <a:lnTo>
                    <a:pt x="1584" y="290"/>
                  </a:lnTo>
                  <a:lnTo>
                    <a:pt x="1579" y="279"/>
                  </a:lnTo>
                  <a:lnTo>
                    <a:pt x="1573" y="273"/>
                  </a:lnTo>
                  <a:lnTo>
                    <a:pt x="1470" y="252"/>
                  </a:lnTo>
                  <a:lnTo>
                    <a:pt x="1464" y="252"/>
                  </a:lnTo>
                  <a:lnTo>
                    <a:pt x="1470" y="262"/>
                  </a:lnTo>
                  <a:lnTo>
                    <a:pt x="1448" y="284"/>
                  </a:lnTo>
                  <a:lnTo>
                    <a:pt x="1453" y="290"/>
                  </a:lnTo>
                  <a:lnTo>
                    <a:pt x="1448" y="295"/>
                  </a:lnTo>
                  <a:lnTo>
                    <a:pt x="1453" y="306"/>
                  </a:lnTo>
                  <a:lnTo>
                    <a:pt x="1448" y="306"/>
                  </a:lnTo>
                  <a:lnTo>
                    <a:pt x="1426" y="317"/>
                  </a:lnTo>
                  <a:lnTo>
                    <a:pt x="1394" y="301"/>
                  </a:lnTo>
                  <a:lnTo>
                    <a:pt x="1388" y="301"/>
                  </a:lnTo>
                  <a:lnTo>
                    <a:pt x="1388" y="312"/>
                  </a:lnTo>
                  <a:lnTo>
                    <a:pt x="1372" y="306"/>
                  </a:lnTo>
                  <a:lnTo>
                    <a:pt x="1361" y="284"/>
                  </a:lnTo>
                  <a:lnTo>
                    <a:pt x="1350" y="306"/>
                  </a:lnTo>
                  <a:lnTo>
                    <a:pt x="1350" y="317"/>
                  </a:lnTo>
                  <a:lnTo>
                    <a:pt x="1339" y="339"/>
                  </a:lnTo>
                  <a:lnTo>
                    <a:pt x="1339" y="328"/>
                  </a:lnTo>
                  <a:lnTo>
                    <a:pt x="1323" y="322"/>
                  </a:lnTo>
                  <a:lnTo>
                    <a:pt x="1312" y="301"/>
                  </a:lnTo>
                  <a:lnTo>
                    <a:pt x="1306" y="301"/>
                  </a:lnTo>
                  <a:lnTo>
                    <a:pt x="1306" y="290"/>
                  </a:lnTo>
                  <a:lnTo>
                    <a:pt x="1317" y="279"/>
                  </a:lnTo>
                  <a:lnTo>
                    <a:pt x="1317" y="268"/>
                  </a:lnTo>
                  <a:lnTo>
                    <a:pt x="1312" y="257"/>
                  </a:lnTo>
                  <a:lnTo>
                    <a:pt x="1317" y="241"/>
                  </a:lnTo>
                  <a:lnTo>
                    <a:pt x="1301" y="219"/>
                  </a:lnTo>
                  <a:lnTo>
                    <a:pt x="1285" y="219"/>
                  </a:lnTo>
                  <a:lnTo>
                    <a:pt x="1279" y="224"/>
                  </a:lnTo>
                  <a:lnTo>
                    <a:pt x="1247" y="202"/>
                  </a:lnTo>
                  <a:lnTo>
                    <a:pt x="1241" y="208"/>
                  </a:lnTo>
                  <a:lnTo>
                    <a:pt x="1236" y="224"/>
                  </a:lnTo>
                  <a:lnTo>
                    <a:pt x="1241" y="235"/>
                  </a:lnTo>
                  <a:lnTo>
                    <a:pt x="1236" y="241"/>
                  </a:lnTo>
                  <a:lnTo>
                    <a:pt x="1209" y="246"/>
                  </a:lnTo>
                  <a:lnTo>
                    <a:pt x="1176" y="235"/>
                  </a:lnTo>
                  <a:lnTo>
                    <a:pt x="1176" y="224"/>
                  </a:lnTo>
                  <a:lnTo>
                    <a:pt x="1181" y="219"/>
                  </a:lnTo>
                  <a:lnTo>
                    <a:pt x="1138" y="208"/>
                  </a:lnTo>
                  <a:lnTo>
                    <a:pt x="1111" y="219"/>
                  </a:lnTo>
                  <a:lnTo>
                    <a:pt x="1121" y="230"/>
                  </a:lnTo>
                  <a:lnTo>
                    <a:pt x="1111" y="235"/>
                  </a:lnTo>
                  <a:lnTo>
                    <a:pt x="1105" y="230"/>
                  </a:lnTo>
                  <a:lnTo>
                    <a:pt x="1111" y="230"/>
                  </a:lnTo>
                  <a:lnTo>
                    <a:pt x="1111" y="224"/>
                  </a:lnTo>
                  <a:lnTo>
                    <a:pt x="1111" y="213"/>
                  </a:lnTo>
                  <a:lnTo>
                    <a:pt x="1100" y="197"/>
                  </a:lnTo>
                  <a:lnTo>
                    <a:pt x="1105" y="208"/>
                  </a:lnTo>
                  <a:lnTo>
                    <a:pt x="1100" y="213"/>
                  </a:lnTo>
                  <a:lnTo>
                    <a:pt x="1083" y="208"/>
                  </a:lnTo>
                  <a:lnTo>
                    <a:pt x="1083" y="197"/>
                  </a:lnTo>
                  <a:lnTo>
                    <a:pt x="1078" y="202"/>
                  </a:lnTo>
                  <a:lnTo>
                    <a:pt x="1067" y="197"/>
                  </a:lnTo>
                  <a:lnTo>
                    <a:pt x="1062" y="208"/>
                  </a:lnTo>
                  <a:lnTo>
                    <a:pt x="1062" y="213"/>
                  </a:lnTo>
                  <a:lnTo>
                    <a:pt x="1072" y="208"/>
                  </a:lnTo>
                  <a:lnTo>
                    <a:pt x="1078" y="213"/>
                  </a:lnTo>
                  <a:lnTo>
                    <a:pt x="1062" y="224"/>
                  </a:lnTo>
                  <a:lnTo>
                    <a:pt x="1056" y="219"/>
                  </a:lnTo>
                  <a:lnTo>
                    <a:pt x="1056" y="224"/>
                  </a:lnTo>
                  <a:lnTo>
                    <a:pt x="1034" y="235"/>
                  </a:lnTo>
                  <a:lnTo>
                    <a:pt x="1018" y="235"/>
                  </a:lnTo>
                  <a:lnTo>
                    <a:pt x="1018" y="246"/>
                  </a:lnTo>
                  <a:lnTo>
                    <a:pt x="1023" y="246"/>
                  </a:lnTo>
                  <a:lnTo>
                    <a:pt x="1013" y="246"/>
                  </a:lnTo>
                  <a:lnTo>
                    <a:pt x="1007" y="246"/>
                  </a:lnTo>
                  <a:lnTo>
                    <a:pt x="1029" y="213"/>
                  </a:lnTo>
                  <a:lnTo>
                    <a:pt x="1045" y="213"/>
                  </a:lnTo>
                  <a:lnTo>
                    <a:pt x="1072" y="175"/>
                  </a:lnTo>
                  <a:lnTo>
                    <a:pt x="1089" y="164"/>
                  </a:lnTo>
                  <a:lnTo>
                    <a:pt x="1089" y="159"/>
                  </a:lnTo>
                  <a:lnTo>
                    <a:pt x="1100" y="159"/>
                  </a:lnTo>
                  <a:lnTo>
                    <a:pt x="1094" y="153"/>
                  </a:lnTo>
                  <a:lnTo>
                    <a:pt x="1105" y="148"/>
                  </a:lnTo>
                  <a:lnTo>
                    <a:pt x="1116" y="131"/>
                  </a:lnTo>
                  <a:lnTo>
                    <a:pt x="1111" y="126"/>
                  </a:lnTo>
                  <a:lnTo>
                    <a:pt x="1116" y="121"/>
                  </a:lnTo>
                  <a:lnTo>
                    <a:pt x="1105" y="121"/>
                  </a:lnTo>
                  <a:lnTo>
                    <a:pt x="1100" y="104"/>
                  </a:lnTo>
                  <a:lnTo>
                    <a:pt x="1111" y="121"/>
                  </a:lnTo>
                  <a:lnTo>
                    <a:pt x="1116" y="110"/>
                  </a:lnTo>
                  <a:lnTo>
                    <a:pt x="1116" y="99"/>
                  </a:lnTo>
                  <a:lnTo>
                    <a:pt x="1111" y="99"/>
                  </a:lnTo>
                  <a:lnTo>
                    <a:pt x="1105" y="82"/>
                  </a:lnTo>
                  <a:lnTo>
                    <a:pt x="1105" y="93"/>
                  </a:lnTo>
                  <a:lnTo>
                    <a:pt x="1100" y="88"/>
                  </a:lnTo>
                  <a:lnTo>
                    <a:pt x="1100" y="82"/>
                  </a:lnTo>
                  <a:lnTo>
                    <a:pt x="1078" y="55"/>
                  </a:lnTo>
                  <a:lnTo>
                    <a:pt x="1045" y="55"/>
                  </a:lnTo>
                  <a:lnTo>
                    <a:pt x="1034" y="71"/>
                  </a:lnTo>
                  <a:lnTo>
                    <a:pt x="1018" y="71"/>
                  </a:lnTo>
                  <a:lnTo>
                    <a:pt x="1029" y="55"/>
                  </a:lnTo>
                  <a:lnTo>
                    <a:pt x="1034" y="50"/>
                  </a:lnTo>
                  <a:lnTo>
                    <a:pt x="1029" y="44"/>
                  </a:lnTo>
                  <a:lnTo>
                    <a:pt x="1013" y="39"/>
                  </a:lnTo>
                  <a:lnTo>
                    <a:pt x="1013" y="33"/>
                  </a:lnTo>
                  <a:lnTo>
                    <a:pt x="991" y="44"/>
                  </a:lnTo>
                  <a:lnTo>
                    <a:pt x="1013" y="22"/>
                  </a:lnTo>
                  <a:lnTo>
                    <a:pt x="1013" y="11"/>
                  </a:lnTo>
                  <a:lnTo>
                    <a:pt x="991" y="0"/>
                  </a:lnTo>
                  <a:lnTo>
                    <a:pt x="974" y="6"/>
                  </a:lnTo>
                  <a:lnTo>
                    <a:pt x="953" y="39"/>
                  </a:lnTo>
                  <a:lnTo>
                    <a:pt x="947" y="50"/>
                  </a:lnTo>
                  <a:lnTo>
                    <a:pt x="953" y="61"/>
                  </a:lnTo>
                  <a:lnTo>
                    <a:pt x="953" y="66"/>
                  </a:lnTo>
                  <a:lnTo>
                    <a:pt x="920" y="71"/>
                  </a:lnTo>
                  <a:lnTo>
                    <a:pt x="936" y="82"/>
                  </a:lnTo>
                  <a:lnTo>
                    <a:pt x="931" y="93"/>
                  </a:lnTo>
                  <a:lnTo>
                    <a:pt x="925" y="88"/>
                  </a:lnTo>
                  <a:lnTo>
                    <a:pt x="920" y="82"/>
                  </a:lnTo>
                  <a:lnTo>
                    <a:pt x="909" y="93"/>
                  </a:lnTo>
                  <a:lnTo>
                    <a:pt x="909" y="99"/>
                  </a:lnTo>
                  <a:lnTo>
                    <a:pt x="893" y="104"/>
                  </a:lnTo>
                  <a:lnTo>
                    <a:pt x="893" y="99"/>
                  </a:lnTo>
                  <a:lnTo>
                    <a:pt x="882" y="104"/>
                  </a:lnTo>
                  <a:lnTo>
                    <a:pt x="887" y="93"/>
                  </a:lnTo>
                  <a:lnTo>
                    <a:pt x="882" y="88"/>
                  </a:lnTo>
                  <a:lnTo>
                    <a:pt x="844" y="93"/>
                  </a:lnTo>
                  <a:lnTo>
                    <a:pt x="844" y="99"/>
                  </a:lnTo>
                  <a:lnTo>
                    <a:pt x="855" y="99"/>
                  </a:lnTo>
                  <a:lnTo>
                    <a:pt x="849" y="104"/>
                  </a:lnTo>
                  <a:lnTo>
                    <a:pt x="800" y="126"/>
                  </a:lnTo>
                  <a:lnTo>
                    <a:pt x="784" y="142"/>
                  </a:lnTo>
                  <a:lnTo>
                    <a:pt x="768" y="142"/>
                  </a:lnTo>
                  <a:lnTo>
                    <a:pt x="779" y="148"/>
                  </a:lnTo>
                  <a:lnTo>
                    <a:pt x="773" y="153"/>
                  </a:lnTo>
                  <a:lnTo>
                    <a:pt x="768" y="164"/>
                  </a:lnTo>
                  <a:lnTo>
                    <a:pt x="757" y="159"/>
                  </a:lnTo>
                  <a:lnTo>
                    <a:pt x="751" y="164"/>
                  </a:lnTo>
                  <a:lnTo>
                    <a:pt x="768" y="170"/>
                  </a:lnTo>
                  <a:lnTo>
                    <a:pt x="757" y="181"/>
                  </a:lnTo>
                  <a:lnTo>
                    <a:pt x="768" y="186"/>
                  </a:lnTo>
                  <a:lnTo>
                    <a:pt x="768" y="191"/>
                  </a:lnTo>
                  <a:lnTo>
                    <a:pt x="768" y="197"/>
                  </a:lnTo>
                  <a:lnTo>
                    <a:pt x="768" y="202"/>
                  </a:lnTo>
                  <a:lnTo>
                    <a:pt x="691" y="213"/>
                  </a:lnTo>
                  <a:lnTo>
                    <a:pt x="686" y="219"/>
                  </a:lnTo>
                  <a:lnTo>
                    <a:pt x="691" y="219"/>
                  </a:lnTo>
                  <a:lnTo>
                    <a:pt x="686" y="230"/>
                  </a:lnTo>
                  <a:lnTo>
                    <a:pt x="686" y="235"/>
                  </a:lnTo>
                  <a:lnTo>
                    <a:pt x="691" y="246"/>
                  </a:lnTo>
                  <a:lnTo>
                    <a:pt x="691" y="257"/>
                  </a:lnTo>
                  <a:lnTo>
                    <a:pt x="691" y="268"/>
                  </a:lnTo>
                  <a:lnTo>
                    <a:pt x="708" y="273"/>
                  </a:lnTo>
                  <a:lnTo>
                    <a:pt x="713" y="279"/>
                  </a:lnTo>
                  <a:lnTo>
                    <a:pt x="708" y="284"/>
                  </a:lnTo>
                  <a:lnTo>
                    <a:pt x="724" y="290"/>
                  </a:lnTo>
                  <a:lnTo>
                    <a:pt x="730" y="301"/>
                  </a:lnTo>
                  <a:lnTo>
                    <a:pt x="724" y="317"/>
                  </a:lnTo>
                  <a:lnTo>
                    <a:pt x="730" y="339"/>
                  </a:lnTo>
                  <a:lnTo>
                    <a:pt x="730" y="350"/>
                  </a:lnTo>
                  <a:lnTo>
                    <a:pt x="719" y="355"/>
                  </a:lnTo>
                  <a:lnTo>
                    <a:pt x="719" y="361"/>
                  </a:lnTo>
                  <a:lnTo>
                    <a:pt x="708" y="355"/>
                  </a:lnTo>
                  <a:lnTo>
                    <a:pt x="713" y="339"/>
                  </a:lnTo>
                  <a:lnTo>
                    <a:pt x="708" y="317"/>
                  </a:lnTo>
                  <a:lnTo>
                    <a:pt x="719" y="312"/>
                  </a:lnTo>
                  <a:lnTo>
                    <a:pt x="724" y="301"/>
                  </a:lnTo>
                  <a:lnTo>
                    <a:pt x="702" y="295"/>
                  </a:lnTo>
                  <a:lnTo>
                    <a:pt x="691" y="284"/>
                  </a:lnTo>
                  <a:lnTo>
                    <a:pt x="670" y="268"/>
                  </a:lnTo>
                  <a:lnTo>
                    <a:pt x="648" y="279"/>
                  </a:lnTo>
                  <a:lnTo>
                    <a:pt x="648" y="284"/>
                  </a:lnTo>
                  <a:lnTo>
                    <a:pt x="653" y="284"/>
                  </a:lnTo>
                  <a:lnTo>
                    <a:pt x="642" y="295"/>
                  </a:lnTo>
                  <a:lnTo>
                    <a:pt x="637" y="295"/>
                  </a:lnTo>
                  <a:lnTo>
                    <a:pt x="632" y="284"/>
                  </a:lnTo>
                  <a:lnTo>
                    <a:pt x="626" y="290"/>
                  </a:lnTo>
                  <a:lnTo>
                    <a:pt x="632" y="301"/>
                  </a:lnTo>
                  <a:lnTo>
                    <a:pt x="648" y="317"/>
                  </a:lnTo>
                  <a:lnTo>
                    <a:pt x="653" y="312"/>
                  </a:lnTo>
                  <a:lnTo>
                    <a:pt x="659" y="328"/>
                  </a:lnTo>
                  <a:lnTo>
                    <a:pt x="621" y="312"/>
                  </a:lnTo>
                  <a:lnTo>
                    <a:pt x="621" y="306"/>
                  </a:lnTo>
                  <a:lnTo>
                    <a:pt x="621" y="301"/>
                  </a:lnTo>
                  <a:lnTo>
                    <a:pt x="621" y="284"/>
                  </a:lnTo>
                  <a:lnTo>
                    <a:pt x="621" y="273"/>
                  </a:lnTo>
                  <a:lnTo>
                    <a:pt x="621" y="262"/>
                  </a:lnTo>
                  <a:lnTo>
                    <a:pt x="615" y="246"/>
                  </a:lnTo>
                  <a:lnTo>
                    <a:pt x="610" y="252"/>
                  </a:lnTo>
                  <a:lnTo>
                    <a:pt x="615" y="273"/>
                  </a:lnTo>
                  <a:lnTo>
                    <a:pt x="593" y="290"/>
                  </a:lnTo>
                  <a:lnTo>
                    <a:pt x="588" y="306"/>
                  </a:lnTo>
                  <a:lnTo>
                    <a:pt x="604" y="339"/>
                  </a:lnTo>
                  <a:lnTo>
                    <a:pt x="599" y="372"/>
                  </a:lnTo>
                  <a:lnTo>
                    <a:pt x="604" y="382"/>
                  </a:lnTo>
                  <a:lnTo>
                    <a:pt x="599" y="393"/>
                  </a:lnTo>
                  <a:lnTo>
                    <a:pt x="615" y="399"/>
                  </a:lnTo>
                  <a:lnTo>
                    <a:pt x="632" y="393"/>
                  </a:lnTo>
                  <a:lnTo>
                    <a:pt x="648" y="404"/>
                  </a:lnTo>
                  <a:lnTo>
                    <a:pt x="653" y="426"/>
                  </a:lnTo>
                  <a:lnTo>
                    <a:pt x="648" y="432"/>
                  </a:lnTo>
                  <a:lnTo>
                    <a:pt x="648" y="442"/>
                  </a:lnTo>
                  <a:lnTo>
                    <a:pt x="664" y="448"/>
                  </a:lnTo>
                  <a:lnTo>
                    <a:pt x="653" y="453"/>
                  </a:lnTo>
                  <a:lnTo>
                    <a:pt x="642" y="448"/>
                  </a:lnTo>
                  <a:lnTo>
                    <a:pt x="648" y="432"/>
                  </a:lnTo>
                  <a:lnTo>
                    <a:pt x="642" y="426"/>
                  </a:lnTo>
                  <a:lnTo>
                    <a:pt x="648" y="421"/>
                  </a:lnTo>
                  <a:lnTo>
                    <a:pt x="637" y="410"/>
                  </a:lnTo>
                  <a:lnTo>
                    <a:pt x="637" y="404"/>
                  </a:lnTo>
                  <a:lnTo>
                    <a:pt x="610" y="410"/>
                  </a:lnTo>
                  <a:lnTo>
                    <a:pt x="604" y="421"/>
                  </a:lnTo>
                  <a:lnTo>
                    <a:pt x="610" y="437"/>
                  </a:lnTo>
                  <a:lnTo>
                    <a:pt x="610" y="448"/>
                  </a:lnTo>
                  <a:lnTo>
                    <a:pt x="604" y="459"/>
                  </a:lnTo>
                  <a:lnTo>
                    <a:pt x="593" y="475"/>
                  </a:lnTo>
                  <a:lnTo>
                    <a:pt x="583" y="481"/>
                  </a:lnTo>
                  <a:lnTo>
                    <a:pt x="583" y="492"/>
                  </a:lnTo>
                  <a:lnTo>
                    <a:pt x="577" y="497"/>
                  </a:lnTo>
                  <a:lnTo>
                    <a:pt x="555" y="492"/>
                  </a:lnTo>
                  <a:lnTo>
                    <a:pt x="550" y="481"/>
                  </a:lnTo>
                  <a:lnTo>
                    <a:pt x="550" y="475"/>
                  </a:lnTo>
                  <a:lnTo>
                    <a:pt x="555" y="481"/>
                  </a:lnTo>
                  <a:lnTo>
                    <a:pt x="577" y="470"/>
                  </a:lnTo>
                  <a:lnTo>
                    <a:pt x="572" y="464"/>
                  </a:lnTo>
                  <a:lnTo>
                    <a:pt x="577" y="464"/>
                  </a:lnTo>
                  <a:lnTo>
                    <a:pt x="588" y="448"/>
                  </a:lnTo>
                  <a:lnTo>
                    <a:pt x="588" y="432"/>
                  </a:lnTo>
                  <a:lnTo>
                    <a:pt x="593" y="421"/>
                  </a:lnTo>
                  <a:lnTo>
                    <a:pt x="593" y="415"/>
                  </a:lnTo>
                  <a:lnTo>
                    <a:pt x="583" y="399"/>
                  </a:lnTo>
                  <a:lnTo>
                    <a:pt x="588" y="372"/>
                  </a:lnTo>
                  <a:lnTo>
                    <a:pt x="583" y="355"/>
                  </a:lnTo>
                  <a:lnTo>
                    <a:pt x="588" y="350"/>
                  </a:lnTo>
                  <a:lnTo>
                    <a:pt x="588" y="333"/>
                  </a:lnTo>
                  <a:lnTo>
                    <a:pt x="583" y="317"/>
                  </a:lnTo>
                  <a:lnTo>
                    <a:pt x="572" y="306"/>
                  </a:lnTo>
                  <a:lnTo>
                    <a:pt x="588" y="273"/>
                  </a:lnTo>
                  <a:lnTo>
                    <a:pt x="583" y="252"/>
                  </a:lnTo>
                  <a:lnTo>
                    <a:pt x="544" y="246"/>
                  </a:lnTo>
                  <a:lnTo>
                    <a:pt x="539" y="257"/>
                  </a:lnTo>
                  <a:lnTo>
                    <a:pt x="528" y="295"/>
                  </a:lnTo>
                  <a:lnTo>
                    <a:pt x="512" y="317"/>
                  </a:lnTo>
                  <a:lnTo>
                    <a:pt x="506" y="322"/>
                  </a:lnTo>
                  <a:lnTo>
                    <a:pt x="512" y="322"/>
                  </a:lnTo>
                  <a:lnTo>
                    <a:pt x="506" y="333"/>
                  </a:lnTo>
                  <a:lnTo>
                    <a:pt x="517" y="339"/>
                  </a:lnTo>
                  <a:lnTo>
                    <a:pt x="517" y="355"/>
                  </a:lnTo>
                  <a:lnTo>
                    <a:pt x="517" y="361"/>
                  </a:lnTo>
                  <a:lnTo>
                    <a:pt x="512" y="361"/>
                  </a:lnTo>
                  <a:lnTo>
                    <a:pt x="512" y="377"/>
                  </a:lnTo>
                  <a:lnTo>
                    <a:pt x="528" y="382"/>
                  </a:lnTo>
                  <a:lnTo>
                    <a:pt x="528" y="388"/>
                  </a:lnTo>
                  <a:lnTo>
                    <a:pt x="534" y="399"/>
                  </a:lnTo>
                  <a:lnTo>
                    <a:pt x="539" y="404"/>
                  </a:lnTo>
                  <a:lnTo>
                    <a:pt x="528" y="432"/>
                  </a:lnTo>
                  <a:lnTo>
                    <a:pt x="512" y="410"/>
                  </a:lnTo>
                  <a:lnTo>
                    <a:pt x="474" y="382"/>
                  </a:lnTo>
                  <a:lnTo>
                    <a:pt x="436" y="372"/>
                  </a:lnTo>
                  <a:lnTo>
                    <a:pt x="425" y="377"/>
                  </a:lnTo>
                  <a:lnTo>
                    <a:pt x="436" y="399"/>
                  </a:lnTo>
                  <a:lnTo>
                    <a:pt x="436" y="404"/>
                  </a:lnTo>
                  <a:lnTo>
                    <a:pt x="419" y="410"/>
                  </a:lnTo>
                  <a:lnTo>
                    <a:pt x="425" y="421"/>
                  </a:lnTo>
                  <a:lnTo>
                    <a:pt x="419" y="426"/>
                  </a:lnTo>
                  <a:lnTo>
                    <a:pt x="414" y="421"/>
                  </a:lnTo>
                  <a:lnTo>
                    <a:pt x="414" y="410"/>
                  </a:lnTo>
                  <a:lnTo>
                    <a:pt x="408" y="399"/>
                  </a:lnTo>
                  <a:lnTo>
                    <a:pt x="387" y="415"/>
                  </a:lnTo>
                  <a:lnTo>
                    <a:pt x="365" y="415"/>
                  </a:lnTo>
                  <a:lnTo>
                    <a:pt x="354" y="432"/>
                  </a:lnTo>
                  <a:lnTo>
                    <a:pt x="343" y="426"/>
                  </a:lnTo>
                  <a:lnTo>
                    <a:pt x="343" y="415"/>
                  </a:lnTo>
                  <a:lnTo>
                    <a:pt x="349" y="410"/>
                  </a:lnTo>
                  <a:lnTo>
                    <a:pt x="343" y="404"/>
                  </a:lnTo>
                  <a:lnTo>
                    <a:pt x="354" y="404"/>
                  </a:lnTo>
                  <a:lnTo>
                    <a:pt x="338" y="404"/>
                  </a:lnTo>
                  <a:lnTo>
                    <a:pt x="338" y="410"/>
                  </a:lnTo>
                  <a:lnTo>
                    <a:pt x="338" y="415"/>
                  </a:lnTo>
                  <a:lnTo>
                    <a:pt x="332" y="415"/>
                  </a:lnTo>
                  <a:lnTo>
                    <a:pt x="327" y="410"/>
                  </a:lnTo>
                  <a:lnTo>
                    <a:pt x="327" y="415"/>
                  </a:lnTo>
                  <a:lnTo>
                    <a:pt x="327" y="426"/>
                  </a:lnTo>
                  <a:lnTo>
                    <a:pt x="321" y="421"/>
                  </a:lnTo>
                  <a:lnTo>
                    <a:pt x="316" y="421"/>
                  </a:lnTo>
                  <a:lnTo>
                    <a:pt x="267" y="448"/>
                  </a:lnTo>
                  <a:lnTo>
                    <a:pt x="261" y="464"/>
                  </a:lnTo>
                  <a:lnTo>
                    <a:pt x="261" y="470"/>
                  </a:lnTo>
                  <a:lnTo>
                    <a:pt x="251" y="481"/>
                  </a:lnTo>
                  <a:lnTo>
                    <a:pt x="251" y="475"/>
                  </a:lnTo>
                  <a:lnTo>
                    <a:pt x="240" y="475"/>
                  </a:lnTo>
                  <a:lnTo>
                    <a:pt x="229" y="453"/>
                  </a:lnTo>
                  <a:lnTo>
                    <a:pt x="234" y="448"/>
                  </a:lnTo>
                  <a:lnTo>
                    <a:pt x="251" y="442"/>
                  </a:lnTo>
                  <a:lnTo>
                    <a:pt x="245" y="432"/>
                  </a:lnTo>
                  <a:lnTo>
                    <a:pt x="240" y="421"/>
                  </a:lnTo>
                  <a:lnTo>
                    <a:pt x="207" y="415"/>
                  </a:lnTo>
                  <a:lnTo>
                    <a:pt x="218" y="426"/>
                  </a:lnTo>
                  <a:lnTo>
                    <a:pt x="218" y="442"/>
                  </a:lnTo>
                  <a:lnTo>
                    <a:pt x="212" y="459"/>
                  </a:lnTo>
                  <a:lnTo>
                    <a:pt x="223" y="470"/>
                  </a:lnTo>
                  <a:lnTo>
                    <a:pt x="218" y="492"/>
                  </a:lnTo>
                  <a:lnTo>
                    <a:pt x="218" y="508"/>
                  </a:lnTo>
                  <a:lnTo>
                    <a:pt x="212" y="497"/>
                  </a:lnTo>
                  <a:lnTo>
                    <a:pt x="207" y="503"/>
                  </a:lnTo>
                  <a:lnTo>
                    <a:pt x="212" y="492"/>
                  </a:lnTo>
                  <a:lnTo>
                    <a:pt x="196" y="486"/>
                  </a:lnTo>
                  <a:lnTo>
                    <a:pt x="185" y="503"/>
                  </a:lnTo>
                  <a:lnTo>
                    <a:pt x="163" y="513"/>
                  </a:lnTo>
                  <a:lnTo>
                    <a:pt x="163" y="524"/>
                  </a:lnTo>
                  <a:lnTo>
                    <a:pt x="174" y="552"/>
                  </a:lnTo>
                  <a:lnTo>
                    <a:pt x="147" y="541"/>
                  </a:lnTo>
                  <a:lnTo>
                    <a:pt x="142" y="546"/>
                  </a:lnTo>
                  <a:lnTo>
                    <a:pt x="142" y="541"/>
                  </a:lnTo>
                  <a:lnTo>
                    <a:pt x="125" y="530"/>
                  </a:lnTo>
                  <a:lnTo>
                    <a:pt x="120" y="535"/>
                  </a:lnTo>
                  <a:lnTo>
                    <a:pt x="120" y="541"/>
                  </a:lnTo>
                  <a:lnTo>
                    <a:pt x="131" y="552"/>
                  </a:lnTo>
                  <a:lnTo>
                    <a:pt x="136" y="552"/>
                  </a:lnTo>
                  <a:lnTo>
                    <a:pt x="142" y="568"/>
                  </a:lnTo>
                  <a:lnTo>
                    <a:pt x="131" y="568"/>
                  </a:lnTo>
                  <a:lnTo>
                    <a:pt x="114" y="563"/>
                  </a:lnTo>
                  <a:lnTo>
                    <a:pt x="109" y="552"/>
                  </a:lnTo>
                  <a:lnTo>
                    <a:pt x="98" y="552"/>
                  </a:lnTo>
                  <a:lnTo>
                    <a:pt x="98" y="546"/>
                  </a:lnTo>
                  <a:lnTo>
                    <a:pt x="98" y="535"/>
                  </a:lnTo>
                  <a:lnTo>
                    <a:pt x="93" y="524"/>
                  </a:lnTo>
                  <a:lnTo>
                    <a:pt x="98" y="519"/>
                  </a:lnTo>
                  <a:lnTo>
                    <a:pt x="98" y="508"/>
                  </a:lnTo>
                  <a:lnTo>
                    <a:pt x="60" y="470"/>
                  </a:lnTo>
                  <a:lnTo>
                    <a:pt x="66" y="464"/>
                  </a:lnTo>
                  <a:lnTo>
                    <a:pt x="82" y="481"/>
                  </a:lnTo>
                  <a:lnTo>
                    <a:pt x="93" y="481"/>
                  </a:lnTo>
                  <a:lnTo>
                    <a:pt x="93" y="486"/>
                  </a:lnTo>
                  <a:lnTo>
                    <a:pt x="153" y="497"/>
                  </a:lnTo>
                  <a:lnTo>
                    <a:pt x="163" y="492"/>
                  </a:lnTo>
                  <a:lnTo>
                    <a:pt x="180" y="475"/>
                  </a:lnTo>
                  <a:lnTo>
                    <a:pt x="185" y="464"/>
                  </a:lnTo>
                  <a:lnTo>
                    <a:pt x="180" y="464"/>
                  </a:lnTo>
                  <a:lnTo>
                    <a:pt x="180" y="448"/>
                  </a:lnTo>
                  <a:lnTo>
                    <a:pt x="163" y="432"/>
                  </a:lnTo>
                  <a:lnTo>
                    <a:pt x="147" y="426"/>
                  </a:lnTo>
                  <a:lnTo>
                    <a:pt x="114" y="393"/>
                  </a:lnTo>
                  <a:lnTo>
                    <a:pt x="82" y="393"/>
                  </a:lnTo>
                  <a:lnTo>
                    <a:pt x="76" y="388"/>
                  </a:lnTo>
                  <a:lnTo>
                    <a:pt x="71" y="388"/>
                  </a:lnTo>
                  <a:lnTo>
                    <a:pt x="76" y="388"/>
                  </a:lnTo>
                  <a:lnTo>
                    <a:pt x="60" y="382"/>
                  </a:lnTo>
                  <a:lnTo>
                    <a:pt x="66" y="372"/>
                  </a:lnTo>
                  <a:lnTo>
                    <a:pt x="71" y="382"/>
                  </a:lnTo>
                  <a:lnTo>
                    <a:pt x="76" y="372"/>
                  </a:lnTo>
                  <a:lnTo>
                    <a:pt x="60" y="366"/>
                  </a:lnTo>
                  <a:lnTo>
                    <a:pt x="60" y="372"/>
                  </a:lnTo>
                  <a:lnTo>
                    <a:pt x="55" y="377"/>
                  </a:lnTo>
                  <a:lnTo>
                    <a:pt x="49" y="372"/>
                  </a:lnTo>
                  <a:lnTo>
                    <a:pt x="49" y="382"/>
                  </a:lnTo>
                  <a:lnTo>
                    <a:pt x="38" y="377"/>
                  </a:lnTo>
                  <a:lnTo>
                    <a:pt x="38" y="382"/>
                  </a:lnTo>
                  <a:lnTo>
                    <a:pt x="22" y="399"/>
                  </a:lnTo>
                  <a:lnTo>
                    <a:pt x="17" y="404"/>
                  </a:lnTo>
                  <a:lnTo>
                    <a:pt x="22" y="404"/>
                  </a:lnTo>
                  <a:lnTo>
                    <a:pt x="17" y="421"/>
                  </a:lnTo>
                  <a:lnTo>
                    <a:pt x="27" y="432"/>
                  </a:lnTo>
                  <a:lnTo>
                    <a:pt x="38" y="448"/>
                  </a:lnTo>
                  <a:lnTo>
                    <a:pt x="27" y="470"/>
                  </a:lnTo>
                  <a:lnTo>
                    <a:pt x="38" y="508"/>
                  </a:lnTo>
                  <a:lnTo>
                    <a:pt x="33" y="524"/>
                  </a:lnTo>
                  <a:lnTo>
                    <a:pt x="33" y="535"/>
                  </a:lnTo>
                  <a:lnTo>
                    <a:pt x="38" y="535"/>
                  </a:lnTo>
                  <a:lnTo>
                    <a:pt x="38" y="546"/>
                  </a:lnTo>
                  <a:lnTo>
                    <a:pt x="44" y="552"/>
                  </a:lnTo>
                  <a:lnTo>
                    <a:pt x="38" y="568"/>
                  </a:lnTo>
                  <a:lnTo>
                    <a:pt x="49" y="579"/>
                  </a:lnTo>
                  <a:lnTo>
                    <a:pt x="55" y="590"/>
                  </a:lnTo>
                  <a:lnTo>
                    <a:pt x="55" y="601"/>
                  </a:lnTo>
                  <a:lnTo>
                    <a:pt x="33" y="628"/>
                  </a:lnTo>
                  <a:lnTo>
                    <a:pt x="6" y="655"/>
                  </a:lnTo>
                  <a:lnTo>
                    <a:pt x="17" y="655"/>
                  </a:lnTo>
                  <a:lnTo>
                    <a:pt x="17" y="661"/>
                  </a:lnTo>
                  <a:lnTo>
                    <a:pt x="17" y="666"/>
                  </a:lnTo>
                  <a:lnTo>
                    <a:pt x="33" y="666"/>
                  </a:lnTo>
                  <a:lnTo>
                    <a:pt x="38" y="672"/>
                  </a:lnTo>
                  <a:lnTo>
                    <a:pt x="22" y="672"/>
                  </a:lnTo>
                  <a:lnTo>
                    <a:pt x="17" y="683"/>
                  </a:lnTo>
                  <a:lnTo>
                    <a:pt x="17" y="688"/>
                  </a:lnTo>
                  <a:lnTo>
                    <a:pt x="11" y="699"/>
                  </a:lnTo>
                  <a:lnTo>
                    <a:pt x="0" y="699"/>
                  </a:lnTo>
                  <a:lnTo>
                    <a:pt x="0" y="715"/>
                  </a:lnTo>
                  <a:lnTo>
                    <a:pt x="6" y="715"/>
                  </a:lnTo>
                  <a:lnTo>
                    <a:pt x="6" y="721"/>
                  </a:lnTo>
                  <a:lnTo>
                    <a:pt x="11" y="726"/>
                  </a:lnTo>
                  <a:lnTo>
                    <a:pt x="6" y="732"/>
                  </a:lnTo>
                  <a:lnTo>
                    <a:pt x="11" y="737"/>
                  </a:lnTo>
                  <a:lnTo>
                    <a:pt x="6" y="748"/>
                  </a:lnTo>
                  <a:lnTo>
                    <a:pt x="11" y="748"/>
                  </a:lnTo>
                  <a:lnTo>
                    <a:pt x="17" y="759"/>
                  </a:lnTo>
                  <a:lnTo>
                    <a:pt x="17" y="764"/>
                  </a:lnTo>
                  <a:lnTo>
                    <a:pt x="17" y="770"/>
                  </a:lnTo>
                  <a:lnTo>
                    <a:pt x="27" y="770"/>
                  </a:lnTo>
                  <a:lnTo>
                    <a:pt x="33" y="770"/>
                  </a:lnTo>
                  <a:lnTo>
                    <a:pt x="33" y="775"/>
                  </a:lnTo>
                  <a:lnTo>
                    <a:pt x="38" y="775"/>
                  </a:lnTo>
                  <a:lnTo>
                    <a:pt x="49" y="781"/>
                  </a:lnTo>
                  <a:lnTo>
                    <a:pt x="49" y="786"/>
                  </a:lnTo>
                  <a:lnTo>
                    <a:pt x="49" y="797"/>
                  </a:lnTo>
                  <a:lnTo>
                    <a:pt x="55" y="808"/>
                  </a:lnTo>
                  <a:lnTo>
                    <a:pt x="60" y="814"/>
                  </a:lnTo>
                  <a:lnTo>
                    <a:pt x="60" y="819"/>
                  </a:lnTo>
                  <a:lnTo>
                    <a:pt x="66" y="819"/>
                  </a:lnTo>
                  <a:lnTo>
                    <a:pt x="71" y="819"/>
                  </a:lnTo>
                  <a:lnTo>
                    <a:pt x="71" y="824"/>
                  </a:lnTo>
                  <a:lnTo>
                    <a:pt x="66" y="830"/>
                  </a:lnTo>
                  <a:lnTo>
                    <a:pt x="60" y="830"/>
                  </a:lnTo>
                  <a:lnTo>
                    <a:pt x="55" y="835"/>
                  </a:lnTo>
                  <a:lnTo>
                    <a:pt x="60" y="852"/>
                  </a:lnTo>
                  <a:lnTo>
                    <a:pt x="66" y="857"/>
                  </a:lnTo>
                  <a:lnTo>
                    <a:pt x="71" y="852"/>
                  </a:lnTo>
                  <a:lnTo>
                    <a:pt x="87" y="852"/>
                  </a:lnTo>
                  <a:lnTo>
                    <a:pt x="93" y="857"/>
                  </a:lnTo>
                  <a:lnTo>
                    <a:pt x="93" y="863"/>
                  </a:lnTo>
                  <a:lnTo>
                    <a:pt x="93" y="868"/>
                  </a:lnTo>
                  <a:lnTo>
                    <a:pt x="98" y="874"/>
                  </a:lnTo>
                  <a:lnTo>
                    <a:pt x="104" y="874"/>
                  </a:lnTo>
                  <a:lnTo>
                    <a:pt x="109" y="879"/>
                  </a:lnTo>
                  <a:lnTo>
                    <a:pt x="109" y="884"/>
                  </a:lnTo>
                  <a:lnTo>
                    <a:pt x="109" y="890"/>
                  </a:lnTo>
                  <a:lnTo>
                    <a:pt x="114" y="890"/>
                  </a:lnTo>
                  <a:lnTo>
                    <a:pt x="120" y="890"/>
                  </a:lnTo>
                  <a:lnTo>
                    <a:pt x="125" y="890"/>
                  </a:lnTo>
                  <a:lnTo>
                    <a:pt x="131" y="890"/>
                  </a:lnTo>
                  <a:lnTo>
                    <a:pt x="142" y="895"/>
                  </a:lnTo>
                  <a:lnTo>
                    <a:pt x="147" y="895"/>
                  </a:lnTo>
                  <a:lnTo>
                    <a:pt x="153" y="901"/>
                  </a:lnTo>
                  <a:lnTo>
                    <a:pt x="169" y="906"/>
                  </a:lnTo>
                  <a:lnTo>
                    <a:pt x="169" y="912"/>
                  </a:lnTo>
                  <a:lnTo>
                    <a:pt x="169" y="917"/>
                  </a:lnTo>
                  <a:lnTo>
                    <a:pt x="163" y="917"/>
                  </a:lnTo>
                  <a:lnTo>
                    <a:pt x="169" y="923"/>
                  </a:lnTo>
                  <a:lnTo>
                    <a:pt x="163" y="923"/>
                  </a:lnTo>
                  <a:lnTo>
                    <a:pt x="163" y="928"/>
                  </a:lnTo>
                  <a:lnTo>
                    <a:pt x="163" y="939"/>
                  </a:lnTo>
                  <a:lnTo>
                    <a:pt x="158" y="939"/>
                  </a:lnTo>
                  <a:lnTo>
                    <a:pt x="153" y="939"/>
                  </a:lnTo>
                  <a:lnTo>
                    <a:pt x="147" y="945"/>
                  </a:lnTo>
                  <a:lnTo>
                    <a:pt x="142" y="950"/>
                  </a:lnTo>
                  <a:lnTo>
                    <a:pt x="142" y="955"/>
                  </a:lnTo>
                  <a:lnTo>
                    <a:pt x="153" y="950"/>
                  </a:lnTo>
                  <a:lnTo>
                    <a:pt x="158" y="955"/>
                  </a:lnTo>
                  <a:lnTo>
                    <a:pt x="147" y="961"/>
                  </a:lnTo>
                  <a:lnTo>
                    <a:pt x="136" y="961"/>
                  </a:lnTo>
                  <a:lnTo>
                    <a:pt x="136" y="966"/>
                  </a:lnTo>
                  <a:lnTo>
                    <a:pt x="147" y="972"/>
                  </a:lnTo>
                  <a:lnTo>
                    <a:pt x="136" y="977"/>
                  </a:lnTo>
                  <a:lnTo>
                    <a:pt x="131" y="988"/>
                  </a:lnTo>
                  <a:lnTo>
                    <a:pt x="125" y="988"/>
                  </a:lnTo>
                  <a:lnTo>
                    <a:pt x="120" y="988"/>
                  </a:lnTo>
                  <a:lnTo>
                    <a:pt x="131" y="999"/>
                  </a:lnTo>
                  <a:lnTo>
                    <a:pt x="136" y="999"/>
                  </a:lnTo>
                  <a:lnTo>
                    <a:pt x="147" y="1010"/>
                  </a:lnTo>
                  <a:lnTo>
                    <a:pt x="163" y="1021"/>
                  </a:lnTo>
                  <a:lnTo>
                    <a:pt x="174" y="1021"/>
                  </a:lnTo>
                  <a:lnTo>
                    <a:pt x="191" y="1026"/>
                  </a:lnTo>
                  <a:lnTo>
                    <a:pt x="202" y="1026"/>
                  </a:lnTo>
                  <a:lnTo>
                    <a:pt x="218" y="1037"/>
                  </a:lnTo>
                  <a:lnTo>
                    <a:pt x="229" y="1032"/>
                  </a:lnTo>
                  <a:lnTo>
                    <a:pt x="234" y="1032"/>
                  </a:lnTo>
                  <a:lnTo>
                    <a:pt x="240" y="1037"/>
                  </a:lnTo>
                  <a:lnTo>
                    <a:pt x="240" y="1043"/>
                  </a:lnTo>
                  <a:lnTo>
                    <a:pt x="251" y="1048"/>
                  </a:lnTo>
                  <a:lnTo>
                    <a:pt x="256" y="1054"/>
                  </a:lnTo>
                  <a:lnTo>
                    <a:pt x="261" y="1059"/>
                  </a:lnTo>
                  <a:lnTo>
                    <a:pt x="267" y="1059"/>
                  </a:lnTo>
                  <a:lnTo>
                    <a:pt x="272" y="1048"/>
                  </a:lnTo>
                  <a:lnTo>
                    <a:pt x="261" y="1026"/>
                  </a:lnTo>
                  <a:lnTo>
                    <a:pt x="261" y="1015"/>
                  </a:lnTo>
                  <a:lnTo>
                    <a:pt x="261" y="1021"/>
                  </a:lnTo>
                  <a:lnTo>
                    <a:pt x="256" y="1010"/>
                  </a:lnTo>
                  <a:lnTo>
                    <a:pt x="251" y="999"/>
                  </a:lnTo>
                  <a:lnTo>
                    <a:pt x="261" y="988"/>
                  </a:lnTo>
                  <a:lnTo>
                    <a:pt x="261" y="977"/>
                  </a:lnTo>
                  <a:lnTo>
                    <a:pt x="261" y="983"/>
                  </a:lnTo>
                  <a:lnTo>
                    <a:pt x="261" y="972"/>
                  </a:lnTo>
                  <a:lnTo>
                    <a:pt x="267" y="972"/>
                  </a:lnTo>
                  <a:lnTo>
                    <a:pt x="272" y="977"/>
                  </a:lnTo>
                  <a:lnTo>
                    <a:pt x="278" y="972"/>
                  </a:lnTo>
                  <a:lnTo>
                    <a:pt x="283" y="966"/>
                  </a:lnTo>
                  <a:lnTo>
                    <a:pt x="278" y="966"/>
                  </a:lnTo>
                  <a:lnTo>
                    <a:pt x="272" y="966"/>
                  </a:lnTo>
                  <a:lnTo>
                    <a:pt x="272" y="961"/>
                  </a:lnTo>
                  <a:lnTo>
                    <a:pt x="283" y="961"/>
                  </a:lnTo>
                  <a:lnTo>
                    <a:pt x="278" y="950"/>
                  </a:lnTo>
                  <a:lnTo>
                    <a:pt x="272" y="939"/>
                  </a:lnTo>
                  <a:lnTo>
                    <a:pt x="261" y="939"/>
                  </a:lnTo>
                  <a:lnTo>
                    <a:pt x="261" y="945"/>
                  </a:lnTo>
                  <a:lnTo>
                    <a:pt x="261" y="939"/>
                  </a:lnTo>
                  <a:lnTo>
                    <a:pt x="256" y="934"/>
                  </a:lnTo>
                  <a:lnTo>
                    <a:pt x="251" y="928"/>
                  </a:lnTo>
                  <a:lnTo>
                    <a:pt x="251" y="917"/>
                  </a:lnTo>
                  <a:lnTo>
                    <a:pt x="256" y="917"/>
                  </a:lnTo>
                  <a:lnTo>
                    <a:pt x="256" y="912"/>
                  </a:lnTo>
                  <a:lnTo>
                    <a:pt x="256" y="901"/>
                  </a:lnTo>
                  <a:lnTo>
                    <a:pt x="261" y="895"/>
                  </a:lnTo>
                  <a:lnTo>
                    <a:pt x="261" y="890"/>
                  </a:lnTo>
                  <a:lnTo>
                    <a:pt x="272" y="901"/>
                  </a:lnTo>
                  <a:lnTo>
                    <a:pt x="278" y="895"/>
                  </a:lnTo>
                  <a:lnTo>
                    <a:pt x="278" y="884"/>
                  </a:lnTo>
                  <a:lnTo>
                    <a:pt x="289" y="879"/>
                  </a:lnTo>
                  <a:lnTo>
                    <a:pt x="289" y="874"/>
                  </a:lnTo>
                  <a:lnTo>
                    <a:pt x="300" y="874"/>
                  </a:lnTo>
                  <a:lnTo>
                    <a:pt x="305" y="863"/>
                  </a:lnTo>
                  <a:lnTo>
                    <a:pt x="310" y="863"/>
                  </a:lnTo>
                  <a:lnTo>
                    <a:pt x="310" y="868"/>
                  </a:lnTo>
                  <a:lnTo>
                    <a:pt x="316" y="868"/>
                  </a:lnTo>
                  <a:lnTo>
                    <a:pt x="321" y="863"/>
                  </a:lnTo>
                  <a:lnTo>
                    <a:pt x="327" y="863"/>
                  </a:lnTo>
                  <a:lnTo>
                    <a:pt x="327" y="868"/>
                  </a:lnTo>
                  <a:lnTo>
                    <a:pt x="343" y="868"/>
                  </a:lnTo>
                  <a:lnTo>
                    <a:pt x="354" y="879"/>
                  </a:lnTo>
                  <a:lnTo>
                    <a:pt x="354" y="884"/>
                  </a:lnTo>
                  <a:lnTo>
                    <a:pt x="354" y="879"/>
                  </a:lnTo>
                  <a:lnTo>
                    <a:pt x="359" y="879"/>
                  </a:lnTo>
                  <a:lnTo>
                    <a:pt x="359" y="884"/>
                  </a:lnTo>
                  <a:lnTo>
                    <a:pt x="370" y="884"/>
                  </a:lnTo>
                  <a:lnTo>
                    <a:pt x="376" y="879"/>
                  </a:lnTo>
                  <a:lnTo>
                    <a:pt x="381" y="879"/>
                  </a:lnTo>
                  <a:lnTo>
                    <a:pt x="387" y="874"/>
                  </a:lnTo>
                  <a:lnTo>
                    <a:pt x="392" y="879"/>
                  </a:lnTo>
                  <a:lnTo>
                    <a:pt x="398" y="874"/>
                  </a:lnTo>
                  <a:lnTo>
                    <a:pt x="403" y="874"/>
                  </a:lnTo>
                  <a:lnTo>
                    <a:pt x="408" y="884"/>
                  </a:lnTo>
                  <a:lnTo>
                    <a:pt x="414" y="884"/>
                  </a:lnTo>
                  <a:lnTo>
                    <a:pt x="419" y="890"/>
                  </a:lnTo>
                  <a:lnTo>
                    <a:pt x="425" y="879"/>
                  </a:lnTo>
                  <a:lnTo>
                    <a:pt x="430" y="884"/>
                  </a:lnTo>
                  <a:lnTo>
                    <a:pt x="441" y="884"/>
                  </a:lnTo>
                  <a:lnTo>
                    <a:pt x="447" y="874"/>
                  </a:lnTo>
                  <a:lnTo>
                    <a:pt x="436" y="868"/>
                  </a:lnTo>
                  <a:lnTo>
                    <a:pt x="436" y="863"/>
                  </a:lnTo>
                  <a:lnTo>
                    <a:pt x="430" y="863"/>
                  </a:lnTo>
                  <a:lnTo>
                    <a:pt x="425" y="857"/>
                  </a:lnTo>
                  <a:lnTo>
                    <a:pt x="436" y="852"/>
                  </a:lnTo>
                  <a:lnTo>
                    <a:pt x="436" y="846"/>
                  </a:lnTo>
                  <a:lnTo>
                    <a:pt x="430" y="841"/>
                  </a:lnTo>
                  <a:lnTo>
                    <a:pt x="436" y="835"/>
                  </a:lnTo>
                  <a:lnTo>
                    <a:pt x="452" y="835"/>
                  </a:lnTo>
                  <a:lnTo>
                    <a:pt x="447" y="830"/>
                  </a:lnTo>
                  <a:lnTo>
                    <a:pt x="441" y="830"/>
                  </a:lnTo>
                  <a:lnTo>
                    <a:pt x="441" y="824"/>
                  </a:lnTo>
                  <a:lnTo>
                    <a:pt x="436" y="824"/>
                  </a:lnTo>
                  <a:lnTo>
                    <a:pt x="441" y="819"/>
                  </a:lnTo>
                  <a:lnTo>
                    <a:pt x="436" y="814"/>
                  </a:lnTo>
                  <a:lnTo>
                    <a:pt x="441" y="814"/>
                  </a:lnTo>
                  <a:lnTo>
                    <a:pt x="447" y="814"/>
                  </a:lnTo>
                  <a:lnTo>
                    <a:pt x="457" y="814"/>
                  </a:lnTo>
                  <a:lnTo>
                    <a:pt x="457" y="819"/>
                  </a:lnTo>
                  <a:lnTo>
                    <a:pt x="457" y="814"/>
                  </a:lnTo>
                  <a:lnTo>
                    <a:pt x="463" y="814"/>
                  </a:lnTo>
                  <a:lnTo>
                    <a:pt x="474" y="808"/>
                  </a:lnTo>
                  <a:lnTo>
                    <a:pt x="479" y="808"/>
                  </a:lnTo>
                  <a:lnTo>
                    <a:pt x="485" y="808"/>
                  </a:lnTo>
                  <a:lnTo>
                    <a:pt x="490" y="808"/>
                  </a:lnTo>
                  <a:lnTo>
                    <a:pt x="490" y="803"/>
                  </a:lnTo>
                  <a:lnTo>
                    <a:pt x="501" y="797"/>
                  </a:lnTo>
                  <a:lnTo>
                    <a:pt x="528" y="792"/>
                  </a:lnTo>
                  <a:lnTo>
                    <a:pt x="528" y="786"/>
                  </a:lnTo>
                  <a:lnTo>
                    <a:pt x="534" y="786"/>
                  </a:lnTo>
                  <a:lnTo>
                    <a:pt x="539" y="781"/>
                  </a:lnTo>
                  <a:lnTo>
                    <a:pt x="550" y="786"/>
                  </a:lnTo>
                  <a:lnTo>
                    <a:pt x="555" y="786"/>
                  </a:lnTo>
                  <a:lnTo>
                    <a:pt x="561" y="786"/>
                  </a:lnTo>
                  <a:lnTo>
                    <a:pt x="566" y="786"/>
                  </a:lnTo>
                  <a:lnTo>
                    <a:pt x="566" y="797"/>
                  </a:lnTo>
                  <a:lnTo>
                    <a:pt x="572" y="797"/>
                  </a:lnTo>
                  <a:lnTo>
                    <a:pt x="566" y="803"/>
                  </a:lnTo>
                  <a:lnTo>
                    <a:pt x="566" y="808"/>
                  </a:lnTo>
                  <a:lnTo>
                    <a:pt x="566" y="814"/>
                  </a:lnTo>
                  <a:lnTo>
                    <a:pt x="577" y="808"/>
                  </a:lnTo>
                  <a:lnTo>
                    <a:pt x="583" y="808"/>
                  </a:lnTo>
                  <a:lnTo>
                    <a:pt x="583" y="814"/>
                  </a:lnTo>
                  <a:lnTo>
                    <a:pt x="588" y="814"/>
                  </a:lnTo>
                  <a:lnTo>
                    <a:pt x="593" y="814"/>
                  </a:lnTo>
                  <a:lnTo>
                    <a:pt x="599" y="814"/>
                  </a:lnTo>
                  <a:lnTo>
                    <a:pt x="599" y="819"/>
                  </a:lnTo>
                  <a:lnTo>
                    <a:pt x="593" y="824"/>
                  </a:lnTo>
                  <a:lnTo>
                    <a:pt x="599" y="824"/>
                  </a:lnTo>
                  <a:lnTo>
                    <a:pt x="604" y="824"/>
                  </a:lnTo>
                  <a:lnTo>
                    <a:pt x="610" y="824"/>
                  </a:lnTo>
                  <a:lnTo>
                    <a:pt x="610" y="819"/>
                  </a:lnTo>
                  <a:lnTo>
                    <a:pt x="621" y="819"/>
                  </a:lnTo>
                  <a:lnTo>
                    <a:pt x="626" y="808"/>
                  </a:lnTo>
                  <a:lnTo>
                    <a:pt x="632" y="808"/>
                  </a:lnTo>
                  <a:lnTo>
                    <a:pt x="637" y="808"/>
                  </a:lnTo>
                  <a:lnTo>
                    <a:pt x="642" y="808"/>
                  </a:lnTo>
                  <a:lnTo>
                    <a:pt x="637" y="814"/>
                  </a:lnTo>
                  <a:lnTo>
                    <a:pt x="653" y="830"/>
                  </a:lnTo>
                  <a:lnTo>
                    <a:pt x="681" y="884"/>
                  </a:lnTo>
                  <a:lnTo>
                    <a:pt x="686" y="879"/>
                  </a:lnTo>
                  <a:lnTo>
                    <a:pt x="691" y="874"/>
                  </a:lnTo>
                  <a:lnTo>
                    <a:pt x="697" y="874"/>
                  </a:lnTo>
                  <a:lnTo>
                    <a:pt x="697" y="879"/>
                  </a:lnTo>
                  <a:lnTo>
                    <a:pt x="702" y="884"/>
                  </a:lnTo>
                  <a:lnTo>
                    <a:pt x="713" y="884"/>
                  </a:lnTo>
                  <a:lnTo>
                    <a:pt x="719" y="879"/>
                  </a:lnTo>
                  <a:lnTo>
                    <a:pt x="724" y="879"/>
                  </a:lnTo>
                  <a:lnTo>
                    <a:pt x="735" y="884"/>
                  </a:lnTo>
                  <a:lnTo>
                    <a:pt x="735" y="895"/>
                  </a:lnTo>
                  <a:lnTo>
                    <a:pt x="746" y="895"/>
                  </a:lnTo>
                  <a:lnTo>
                    <a:pt x="746" y="901"/>
                  </a:lnTo>
                  <a:lnTo>
                    <a:pt x="751" y="906"/>
                  </a:lnTo>
                  <a:lnTo>
                    <a:pt x="762" y="906"/>
                  </a:lnTo>
                  <a:lnTo>
                    <a:pt x="768" y="906"/>
                  </a:lnTo>
                  <a:lnTo>
                    <a:pt x="773" y="917"/>
                  </a:lnTo>
                  <a:lnTo>
                    <a:pt x="768" y="923"/>
                  </a:lnTo>
                  <a:lnTo>
                    <a:pt x="773" y="923"/>
                  </a:lnTo>
                  <a:lnTo>
                    <a:pt x="779" y="917"/>
                  </a:lnTo>
                  <a:lnTo>
                    <a:pt x="784" y="912"/>
                  </a:lnTo>
                  <a:lnTo>
                    <a:pt x="817" y="890"/>
                  </a:lnTo>
                  <a:lnTo>
                    <a:pt x="833" y="884"/>
                  </a:lnTo>
                  <a:lnTo>
                    <a:pt x="866" y="890"/>
                  </a:lnTo>
                  <a:lnTo>
                    <a:pt x="871" y="901"/>
                  </a:lnTo>
                  <a:lnTo>
                    <a:pt x="909" y="901"/>
                  </a:lnTo>
                  <a:lnTo>
                    <a:pt x="915" y="895"/>
                  </a:lnTo>
                  <a:lnTo>
                    <a:pt x="909" y="890"/>
                  </a:lnTo>
                  <a:lnTo>
                    <a:pt x="915" y="884"/>
                  </a:lnTo>
                  <a:lnTo>
                    <a:pt x="909" y="868"/>
                  </a:lnTo>
                  <a:lnTo>
                    <a:pt x="925" y="857"/>
                  </a:lnTo>
                  <a:lnTo>
                    <a:pt x="964" y="868"/>
                  </a:lnTo>
                  <a:lnTo>
                    <a:pt x="964" y="884"/>
                  </a:lnTo>
                  <a:lnTo>
                    <a:pt x="974" y="890"/>
                  </a:lnTo>
                  <a:lnTo>
                    <a:pt x="985" y="895"/>
                  </a:lnTo>
                  <a:lnTo>
                    <a:pt x="1002" y="884"/>
                  </a:lnTo>
                  <a:lnTo>
                    <a:pt x="1013" y="890"/>
                  </a:lnTo>
                  <a:lnTo>
                    <a:pt x="1040" y="901"/>
                  </a:lnTo>
                  <a:lnTo>
                    <a:pt x="1051" y="912"/>
                  </a:lnTo>
                  <a:lnTo>
                    <a:pt x="1067" y="912"/>
                  </a:lnTo>
                  <a:lnTo>
                    <a:pt x="1078" y="917"/>
                  </a:lnTo>
                  <a:lnTo>
                    <a:pt x="1105" y="906"/>
                  </a:lnTo>
                  <a:lnTo>
                    <a:pt x="1127" y="895"/>
                  </a:lnTo>
                  <a:lnTo>
                    <a:pt x="1138" y="901"/>
                  </a:lnTo>
                  <a:lnTo>
                    <a:pt x="1149" y="901"/>
                  </a:lnTo>
                  <a:lnTo>
                    <a:pt x="1165" y="906"/>
                  </a:lnTo>
                  <a:lnTo>
                    <a:pt x="1187" y="895"/>
                  </a:lnTo>
                  <a:lnTo>
                    <a:pt x="1187" y="890"/>
                  </a:lnTo>
                  <a:lnTo>
                    <a:pt x="1192" y="868"/>
                  </a:lnTo>
                  <a:lnTo>
                    <a:pt x="1203" y="857"/>
                  </a:lnTo>
                  <a:lnTo>
                    <a:pt x="1203" y="846"/>
                  </a:lnTo>
                  <a:lnTo>
                    <a:pt x="1192" y="846"/>
                  </a:lnTo>
                  <a:lnTo>
                    <a:pt x="1198" y="846"/>
                  </a:lnTo>
                  <a:lnTo>
                    <a:pt x="1209" y="835"/>
                  </a:lnTo>
                  <a:lnTo>
                    <a:pt x="1241" y="830"/>
                  </a:lnTo>
                  <a:lnTo>
                    <a:pt x="1252" y="835"/>
                  </a:lnTo>
                  <a:lnTo>
                    <a:pt x="1268" y="841"/>
                  </a:lnTo>
                  <a:lnTo>
                    <a:pt x="1279" y="852"/>
                  </a:lnTo>
                  <a:lnTo>
                    <a:pt x="1279" y="863"/>
                  </a:lnTo>
                  <a:lnTo>
                    <a:pt x="1290" y="879"/>
                  </a:lnTo>
                  <a:lnTo>
                    <a:pt x="1290" y="906"/>
                  </a:lnTo>
                  <a:lnTo>
                    <a:pt x="1312" y="912"/>
                  </a:lnTo>
                  <a:lnTo>
                    <a:pt x="1334" y="923"/>
                  </a:lnTo>
                  <a:lnTo>
                    <a:pt x="1334" y="928"/>
                  </a:lnTo>
                  <a:lnTo>
                    <a:pt x="1334" y="939"/>
                  </a:lnTo>
                  <a:lnTo>
                    <a:pt x="1339" y="945"/>
                  </a:lnTo>
                  <a:lnTo>
                    <a:pt x="1350" y="945"/>
                  </a:lnTo>
                  <a:lnTo>
                    <a:pt x="1388" y="928"/>
                  </a:lnTo>
                  <a:lnTo>
                    <a:pt x="1383" y="934"/>
                  </a:lnTo>
                  <a:lnTo>
                    <a:pt x="1388" y="945"/>
                  </a:lnTo>
                  <a:lnTo>
                    <a:pt x="1377" y="950"/>
                  </a:lnTo>
                  <a:lnTo>
                    <a:pt x="1372" y="972"/>
                  </a:lnTo>
                  <a:lnTo>
                    <a:pt x="1366" y="994"/>
                  </a:lnTo>
                  <a:lnTo>
                    <a:pt x="1361" y="994"/>
                  </a:lnTo>
                  <a:lnTo>
                    <a:pt x="1350" y="988"/>
                  </a:lnTo>
                  <a:lnTo>
                    <a:pt x="1339" y="999"/>
                  </a:lnTo>
                  <a:lnTo>
                    <a:pt x="1339" y="1010"/>
                  </a:lnTo>
                  <a:lnTo>
                    <a:pt x="1339" y="1026"/>
                  </a:lnTo>
                  <a:lnTo>
                    <a:pt x="1334" y="1032"/>
                  </a:lnTo>
                  <a:lnTo>
                    <a:pt x="1334" y="1037"/>
                  </a:lnTo>
                  <a:lnTo>
                    <a:pt x="1334" y="1043"/>
                  </a:lnTo>
                  <a:lnTo>
                    <a:pt x="1334" y="1037"/>
                  </a:lnTo>
                  <a:lnTo>
                    <a:pt x="1339" y="1037"/>
                  </a:lnTo>
                  <a:lnTo>
                    <a:pt x="1350" y="1021"/>
                  </a:lnTo>
                  <a:lnTo>
                    <a:pt x="1350" y="1026"/>
                  </a:lnTo>
                  <a:lnTo>
                    <a:pt x="1355" y="1026"/>
                  </a:lnTo>
                  <a:lnTo>
                    <a:pt x="1355" y="1032"/>
                  </a:lnTo>
                  <a:lnTo>
                    <a:pt x="1366" y="1037"/>
                  </a:lnTo>
                  <a:lnTo>
                    <a:pt x="1377" y="1032"/>
                  </a:lnTo>
                  <a:lnTo>
                    <a:pt x="1388" y="1021"/>
                  </a:lnTo>
                  <a:lnTo>
                    <a:pt x="1426" y="972"/>
                  </a:lnTo>
                  <a:lnTo>
                    <a:pt x="1437" y="961"/>
                  </a:lnTo>
                  <a:lnTo>
                    <a:pt x="1448" y="945"/>
                  </a:lnTo>
                  <a:lnTo>
                    <a:pt x="1459" y="928"/>
                  </a:lnTo>
                  <a:lnTo>
                    <a:pt x="1464" y="901"/>
                  </a:lnTo>
                  <a:lnTo>
                    <a:pt x="1459" y="884"/>
                  </a:lnTo>
                  <a:lnTo>
                    <a:pt x="1464" y="868"/>
                  </a:lnTo>
                  <a:lnTo>
                    <a:pt x="1470" y="857"/>
                  </a:lnTo>
                  <a:lnTo>
                    <a:pt x="1470" y="852"/>
                  </a:lnTo>
                  <a:lnTo>
                    <a:pt x="1470" y="846"/>
                  </a:lnTo>
                  <a:lnTo>
                    <a:pt x="1470" y="841"/>
                  </a:lnTo>
                  <a:lnTo>
                    <a:pt x="1470" y="830"/>
                  </a:lnTo>
                  <a:lnTo>
                    <a:pt x="1459" y="819"/>
                  </a:lnTo>
                  <a:lnTo>
                    <a:pt x="1453" y="808"/>
                  </a:lnTo>
                  <a:lnTo>
                    <a:pt x="1437" y="808"/>
                  </a:lnTo>
                  <a:lnTo>
                    <a:pt x="1437" y="819"/>
                  </a:lnTo>
                  <a:lnTo>
                    <a:pt x="1432" y="824"/>
                  </a:lnTo>
                  <a:lnTo>
                    <a:pt x="1432" y="819"/>
                  </a:lnTo>
                  <a:lnTo>
                    <a:pt x="1432" y="824"/>
                  </a:lnTo>
                  <a:lnTo>
                    <a:pt x="1421" y="824"/>
                  </a:lnTo>
                  <a:lnTo>
                    <a:pt x="1421" y="819"/>
                  </a:lnTo>
                  <a:lnTo>
                    <a:pt x="1421" y="814"/>
                  </a:lnTo>
                  <a:lnTo>
                    <a:pt x="1421" y="808"/>
                  </a:lnTo>
                  <a:lnTo>
                    <a:pt x="1415" y="814"/>
                  </a:lnTo>
                  <a:lnTo>
                    <a:pt x="1415" y="819"/>
                  </a:lnTo>
                  <a:lnTo>
                    <a:pt x="1410" y="819"/>
                  </a:lnTo>
                  <a:lnTo>
                    <a:pt x="1410" y="803"/>
                  </a:lnTo>
                  <a:lnTo>
                    <a:pt x="1399" y="803"/>
                  </a:lnTo>
                  <a:lnTo>
                    <a:pt x="1394" y="797"/>
                  </a:lnTo>
                  <a:lnTo>
                    <a:pt x="1421" y="764"/>
                  </a:lnTo>
                  <a:lnTo>
                    <a:pt x="1443" y="743"/>
                  </a:lnTo>
                  <a:lnTo>
                    <a:pt x="1459" y="726"/>
                  </a:lnTo>
                  <a:lnTo>
                    <a:pt x="1464" y="715"/>
                  </a:lnTo>
                  <a:lnTo>
                    <a:pt x="1481" y="699"/>
                  </a:lnTo>
                  <a:lnTo>
                    <a:pt x="1492" y="688"/>
                  </a:lnTo>
                  <a:lnTo>
                    <a:pt x="1524" y="688"/>
                  </a:lnTo>
                  <a:lnTo>
                    <a:pt x="1530" y="693"/>
                  </a:lnTo>
                  <a:lnTo>
                    <a:pt x="1535" y="688"/>
                  </a:lnTo>
                  <a:lnTo>
                    <a:pt x="1551" y="693"/>
                  </a:lnTo>
                  <a:lnTo>
                    <a:pt x="1562" y="688"/>
                  </a:lnTo>
                  <a:lnTo>
                    <a:pt x="1562" y="693"/>
                  </a:lnTo>
                  <a:lnTo>
                    <a:pt x="1568" y="693"/>
                  </a:lnTo>
                  <a:lnTo>
                    <a:pt x="1568" y="688"/>
                  </a:lnTo>
                  <a:lnTo>
                    <a:pt x="1568" y="683"/>
                  </a:lnTo>
                  <a:lnTo>
                    <a:pt x="1573" y="683"/>
                  </a:lnTo>
                  <a:lnTo>
                    <a:pt x="1595" y="688"/>
                  </a:lnTo>
                  <a:lnTo>
                    <a:pt x="1600" y="683"/>
                  </a:lnTo>
                  <a:lnTo>
                    <a:pt x="1611" y="693"/>
                  </a:lnTo>
                  <a:lnTo>
                    <a:pt x="1595" y="699"/>
                  </a:lnTo>
                  <a:lnTo>
                    <a:pt x="1600" y="704"/>
                  </a:lnTo>
                  <a:lnTo>
                    <a:pt x="1617" y="699"/>
                  </a:lnTo>
                  <a:lnTo>
                    <a:pt x="1628" y="693"/>
                  </a:lnTo>
                  <a:lnTo>
                    <a:pt x="1644" y="693"/>
                  </a:lnTo>
                  <a:lnTo>
                    <a:pt x="1649" y="693"/>
                  </a:lnTo>
                  <a:lnTo>
                    <a:pt x="1649" y="688"/>
                  </a:lnTo>
                  <a:lnTo>
                    <a:pt x="1633" y="688"/>
                  </a:lnTo>
                  <a:lnTo>
                    <a:pt x="1639" y="683"/>
                  </a:lnTo>
                  <a:lnTo>
                    <a:pt x="1633" y="677"/>
                  </a:lnTo>
                  <a:lnTo>
                    <a:pt x="1639" y="677"/>
                  </a:lnTo>
                  <a:lnTo>
                    <a:pt x="1644" y="666"/>
                  </a:lnTo>
                  <a:lnTo>
                    <a:pt x="1660" y="655"/>
                  </a:lnTo>
                  <a:lnTo>
                    <a:pt x="1677" y="628"/>
                  </a:lnTo>
                  <a:lnTo>
                    <a:pt x="1698" y="623"/>
                  </a:lnTo>
                  <a:lnTo>
                    <a:pt x="1709" y="628"/>
                  </a:lnTo>
                  <a:lnTo>
                    <a:pt x="1715" y="623"/>
                  </a:lnTo>
                  <a:lnTo>
                    <a:pt x="1715" y="633"/>
                  </a:lnTo>
                  <a:lnTo>
                    <a:pt x="1709" y="639"/>
                  </a:lnTo>
                  <a:lnTo>
                    <a:pt x="1709" y="644"/>
                  </a:lnTo>
                  <a:lnTo>
                    <a:pt x="1709" y="650"/>
                  </a:lnTo>
                  <a:lnTo>
                    <a:pt x="1715" y="644"/>
                  </a:lnTo>
                  <a:lnTo>
                    <a:pt x="1715" y="661"/>
                  </a:lnTo>
                  <a:lnTo>
                    <a:pt x="1742" y="628"/>
                  </a:lnTo>
                  <a:lnTo>
                    <a:pt x="1747" y="628"/>
                  </a:lnTo>
                  <a:lnTo>
                    <a:pt x="1747" y="633"/>
                  </a:lnTo>
                  <a:lnTo>
                    <a:pt x="1753" y="628"/>
                  </a:lnTo>
                  <a:lnTo>
                    <a:pt x="1747" y="628"/>
                  </a:lnTo>
                  <a:lnTo>
                    <a:pt x="1747" y="617"/>
                  </a:lnTo>
                  <a:lnTo>
                    <a:pt x="1758" y="606"/>
                  </a:lnTo>
                  <a:lnTo>
                    <a:pt x="1769" y="601"/>
                  </a:lnTo>
                  <a:lnTo>
                    <a:pt x="1775" y="606"/>
                  </a:lnTo>
                  <a:lnTo>
                    <a:pt x="1764" y="612"/>
                  </a:lnTo>
                  <a:lnTo>
                    <a:pt x="1764" y="628"/>
                  </a:lnTo>
                  <a:lnTo>
                    <a:pt x="1758" y="633"/>
                  </a:lnTo>
                  <a:lnTo>
                    <a:pt x="1758" y="639"/>
                  </a:lnTo>
                  <a:lnTo>
                    <a:pt x="1758" y="644"/>
                  </a:lnTo>
                  <a:lnTo>
                    <a:pt x="1758" y="650"/>
                  </a:lnTo>
                  <a:lnTo>
                    <a:pt x="1736" y="661"/>
                  </a:lnTo>
                  <a:lnTo>
                    <a:pt x="1731" y="666"/>
                  </a:lnTo>
                  <a:lnTo>
                    <a:pt x="1715" y="683"/>
                  </a:lnTo>
                  <a:lnTo>
                    <a:pt x="1688" y="721"/>
                  </a:lnTo>
                  <a:lnTo>
                    <a:pt x="1677" y="726"/>
                  </a:lnTo>
                  <a:lnTo>
                    <a:pt x="1671" y="726"/>
                  </a:lnTo>
                  <a:lnTo>
                    <a:pt x="1671" y="737"/>
                  </a:lnTo>
                  <a:lnTo>
                    <a:pt x="1671" y="743"/>
                  </a:lnTo>
                  <a:lnTo>
                    <a:pt x="1660" y="754"/>
                  </a:lnTo>
                  <a:lnTo>
                    <a:pt x="1655" y="781"/>
                  </a:lnTo>
                  <a:lnTo>
                    <a:pt x="1655" y="803"/>
                  </a:lnTo>
                  <a:lnTo>
                    <a:pt x="1671" y="879"/>
                  </a:lnTo>
                  <a:lnTo>
                    <a:pt x="1688" y="863"/>
                  </a:lnTo>
                  <a:lnTo>
                    <a:pt x="1693" y="841"/>
                  </a:lnTo>
                  <a:lnTo>
                    <a:pt x="1709" y="830"/>
                  </a:lnTo>
                  <a:lnTo>
                    <a:pt x="1709" y="835"/>
                  </a:lnTo>
                  <a:lnTo>
                    <a:pt x="1709" y="814"/>
                  </a:lnTo>
                  <a:lnTo>
                    <a:pt x="1720" y="803"/>
                  </a:lnTo>
                  <a:lnTo>
                    <a:pt x="1731" y="803"/>
                  </a:lnTo>
                  <a:lnTo>
                    <a:pt x="1736" y="797"/>
                  </a:lnTo>
                  <a:lnTo>
                    <a:pt x="1731" y="781"/>
                  </a:lnTo>
                  <a:lnTo>
                    <a:pt x="1736" y="770"/>
                  </a:lnTo>
                  <a:lnTo>
                    <a:pt x="1742" y="764"/>
                  </a:lnTo>
                  <a:lnTo>
                    <a:pt x="1747" y="759"/>
                  </a:lnTo>
                  <a:lnTo>
                    <a:pt x="1747" y="764"/>
                  </a:lnTo>
                  <a:lnTo>
                    <a:pt x="1747" y="770"/>
                  </a:lnTo>
                  <a:lnTo>
                    <a:pt x="1753" y="764"/>
                  </a:lnTo>
                  <a:lnTo>
                    <a:pt x="1753" y="759"/>
                  </a:lnTo>
                  <a:lnTo>
                    <a:pt x="1747" y="754"/>
                  </a:lnTo>
                  <a:lnTo>
                    <a:pt x="1747" y="743"/>
                  </a:lnTo>
                  <a:lnTo>
                    <a:pt x="1753" y="726"/>
                  </a:lnTo>
                  <a:lnTo>
                    <a:pt x="1747" y="726"/>
                  </a:lnTo>
                  <a:lnTo>
                    <a:pt x="1736" y="732"/>
                  </a:lnTo>
                  <a:lnTo>
                    <a:pt x="1736" y="726"/>
                  </a:lnTo>
                  <a:lnTo>
                    <a:pt x="1736" y="715"/>
                  </a:lnTo>
                  <a:lnTo>
                    <a:pt x="1747" y="699"/>
                  </a:lnTo>
                  <a:lnTo>
                    <a:pt x="1753" y="699"/>
                  </a:lnTo>
                  <a:lnTo>
                    <a:pt x="1758" y="677"/>
                  </a:lnTo>
                  <a:lnTo>
                    <a:pt x="1764" y="672"/>
                  </a:lnTo>
                  <a:lnTo>
                    <a:pt x="1764" y="677"/>
                  </a:lnTo>
                  <a:lnTo>
                    <a:pt x="1769" y="672"/>
                  </a:lnTo>
                  <a:lnTo>
                    <a:pt x="1775" y="677"/>
                  </a:lnTo>
                  <a:lnTo>
                    <a:pt x="1780" y="666"/>
                  </a:lnTo>
                  <a:lnTo>
                    <a:pt x="1791" y="661"/>
                  </a:lnTo>
                  <a:lnTo>
                    <a:pt x="1791" y="677"/>
                  </a:lnTo>
                  <a:lnTo>
                    <a:pt x="1802" y="661"/>
                  </a:lnTo>
                  <a:lnTo>
                    <a:pt x="1813" y="655"/>
                  </a:lnTo>
                  <a:lnTo>
                    <a:pt x="1829" y="661"/>
                  </a:lnTo>
                  <a:lnTo>
                    <a:pt x="1845" y="677"/>
                  </a:lnTo>
                  <a:lnTo>
                    <a:pt x="1845" y="661"/>
                  </a:lnTo>
                  <a:lnTo>
                    <a:pt x="1867" y="650"/>
                  </a:lnTo>
                  <a:lnTo>
                    <a:pt x="1867" y="644"/>
                  </a:lnTo>
                  <a:lnTo>
                    <a:pt x="1873" y="644"/>
                  </a:lnTo>
                  <a:lnTo>
                    <a:pt x="1867" y="644"/>
                  </a:lnTo>
                  <a:lnTo>
                    <a:pt x="1878" y="633"/>
                  </a:lnTo>
                  <a:lnTo>
                    <a:pt x="1883" y="628"/>
                  </a:lnTo>
                  <a:lnTo>
                    <a:pt x="1889" y="628"/>
                  </a:lnTo>
                  <a:lnTo>
                    <a:pt x="1905" y="623"/>
                  </a:lnTo>
                  <a:lnTo>
                    <a:pt x="1905" y="617"/>
                  </a:lnTo>
                  <a:lnTo>
                    <a:pt x="1932" y="606"/>
                  </a:lnTo>
                  <a:lnTo>
                    <a:pt x="1927" y="595"/>
                  </a:lnTo>
                  <a:lnTo>
                    <a:pt x="1932" y="606"/>
                  </a:lnTo>
                  <a:lnTo>
                    <a:pt x="1938" y="601"/>
                  </a:lnTo>
                  <a:lnTo>
                    <a:pt x="1954" y="612"/>
                  </a:lnTo>
                  <a:lnTo>
                    <a:pt x="1960" y="601"/>
                  </a:lnTo>
                  <a:lnTo>
                    <a:pt x="1954" y="590"/>
                  </a:lnTo>
                  <a:lnTo>
                    <a:pt x="1960" y="590"/>
                  </a:lnTo>
                  <a:lnTo>
                    <a:pt x="1954" y="57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1" name="Freeform 783"/>
            <p:cNvSpPr>
              <a:spLocks/>
            </p:cNvSpPr>
            <p:nvPr/>
          </p:nvSpPr>
          <p:spPr bwMode="auto">
            <a:xfrm>
              <a:off x="1893" y="2685"/>
              <a:ext cx="16" cy="11"/>
            </a:xfrm>
            <a:custGeom>
              <a:avLst/>
              <a:gdLst>
                <a:gd name="T0" fmla="*/ 16 w 16"/>
                <a:gd name="T1" fmla="*/ 0 h 11"/>
                <a:gd name="T2" fmla="*/ 16 w 16"/>
                <a:gd name="T3" fmla="*/ 6 h 11"/>
                <a:gd name="T4" fmla="*/ 10 w 16"/>
                <a:gd name="T5" fmla="*/ 11 h 11"/>
                <a:gd name="T6" fmla="*/ 0 w 16"/>
                <a:gd name="T7" fmla="*/ 11 h 11"/>
                <a:gd name="T8" fmla="*/ 0 w 16"/>
                <a:gd name="T9" fmla="*/ 6 h 11"/>
                <a:gd name="T10" fmla="*/ 0 w 16"/>
                <a:gd name="T11" fmla="*/ 0 h 11"/>
                <a:gd name="T12" fmla="*/ 16 w 16"/>
                <a:gd name="T13" fmla="*/ 0 h 11"/>
                <a:gd name="T14" fmla="*/ 0 60000 65536"/>
                <a:gd name="T15" fmla="*/ 0 60000 65536"/>
                <a:gd name="T16" fmla="*/ 0 60000 65536"/>
                <a:gd name="T17" fmla="*/ 0 60000 65536"/>
                <a:gd name="T18" fmla="*/ 0 60000 65536"/>
                <a:gd name="T19" fmla="*/ 0 60000 65536"/>
                <a:gd name="T20" fmla="*/ 0 60000 65536"/>
                <a:gd name="T21" fmla="*/ 0 w 16"/>
                <a:gd name="T22" fmla="*/ 0 h 11"/>
                <a:gd name="T23" fmla="*/ 16 w 16"/>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11">
                  <a:moveTo>
                    <a:pt x="16" y="0"/>
                  </a:moveTo>
                  <a:lnTo>
                    <a:pt x="16" y="6"/>
                  </a:lnTo>
                  <a:lnTo>
                    <a:pt x="10" y="11"/>
                  </a:lnTo>
                  <a:lnTo>
                    <a:pt x="0" y="11"/>
                  </a:lnTo>
                  <a:lnTo>
                    <a:pt x="0" y="6"/>
                  </a:lnTo>
                  <a:lnTo>
                    <a:pt x="0" y="0"/>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2" name="Freeform 784"/>
            <p:cNvSpPr>
              <a:spLocks/>
            </p:cNvSpPr>
            <p:nvPr/>
          </p:nvSpPr>
          <p:spPr bwMode="auto">
            <a:xfrm>
              <a:off x="690" y="1916"/>
              <a:ext cx="11" cy="5"/>
            </a:xfrm>
            <a:custGeom>
              <a:avLst/>
              <a:gdLst>
                <a:gd name="T0" fmla="*/ 5 w 11"/>
                <a:gd name="T1" fmla="*/ 0 h 5"/>
                <a:gd name="T2" fmla="*/ 11 w 11"/>
                <a:gd name="T3" fmla="*/ 0 h 5"/>
                <a:gd name="T4" fmla="*/ 11 w 11"/>
                <a:gd name="T5" fmla="*/ 5 h 5"/>
                <a:gd name="T6" fmla="*/ 5 w 11"/>
                <a:gd name="T7" fmla="*/ 5 h 5"/>
                <a:gd name="T8" fmla="*/ 0 w 11"/>
                <a:gd name="T9" fmla="*/ 5 h 5"/>
                <a:gd name="T10" fmla="*/ 5 w 11"/>
                <a:gd name="T11" fmla="*/ 0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5" y="0"/>
                  </a:moveTo>
                  <a:lnTo>
                    <a:pt x="11" y="0"/>
                  </a:lnTo>
                  <a:lnTo>
                    <a:pt x="11" y="5"/>
                  </a:lnTo>
                  <a:lnTo>
                    <a:pt x="5" y="5"/>
                  </a:ln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3" name="Freeform 785"/>
            <p:cNvSpPr>
              <a:spLocks/>
            </p:cNvSpPr>
            <p:nvPr/>
          </p:nvSpPr>
          <p:spPr bwMode="auto">
            <a:xfrm>
              <a:off x="1190" y="2222"/>
              <a:ext cx="703" cy="376"/>
            </a:xfrm>
            <a:custGeom>
              <a:avLst/>
              <a:gdLst>
                <a:gd name="T0" fmla="*/ 463 w 703"/>
                <a:gd name="T1" fmla="*/ 54 h 376"/>
                <a:gd name="T2" fmla="*/ 447 w 703"/>
                <a:gd name="T3" fmla="*/ 32 h 376"/>
                <a:gd name="T4" fmla="*/ 409 w 703"/>
                <a:gd name="T5" fmla="*/ 38 h 376"/>
                <a:gd name="T6" fmla="*/ 365 w 703"/>
                <a:gd name="T7" fmla="*/ 10 h 376"/>
                <a:gd name="T8" fmla="*/ 22 w 703"/>
                <a:gd name="T9" fmla="*/ 16 h 376"/>
                <a:gd name="T10" fmla="*/ 22 w 703"/>
                <a:gd name="T11" fmla="*/ 27 h 376"/>
                <a:gd name="T12" fmla="*/ 6 w 703"/>
                <a:gd name="T13" fmla="*/ 43 h 376"/>
                <a:gd name="T14" fmla="*/ 6 w 703"/>
                <a:gd name="T15" fmla="*/ 54 h 376"/>
                <a:gd name="T16" fmla="*/ 6 w 703"/>
                <a:gd name="T17" fmla="*/ 131 h 376"/>
                <a:gd name="T18" fmla="*/ 22 w 703"/>
                <a:gd name="T19" fmla="*/ 191 h 376"/>
                <a:gd name="T20" fmla="*/ 28 w 703"/>
                <a:gd name="T21" fmla="*/ 201 h 376"/>
                <a:gd name="T22" fmla="*/ 33 w 703"/>
                <a:gd name="T23" fmla="*/ 218 h 376"/>
                <a:gd name="T24" fmla="*/ 82 w 703"/>
                <a:gd name="T25" fmla="*/ 256 h 376"/>
                <a:gd name="T26" fmla="*/ 196 w 703"/>
                <a:gd name="T27" fmla="*/ 294 h 376"/>
                <a:gd name="T28" fmla="*/ 245 w 703"/>
                <a:gd name="T29" fmla="*/ 316 h 376"/>
                <a:gd name="T30" fmla="*/ 294 w 703"/>
                <a:gd name="T31" fmla="*/ 332 h 376"/>
                <a:gd name="T32" fmla="*/ 332 w 703"/>
                <a:gd name="T33" fmla="*/ 349 h 376"/>
                <a:gd name="T34" fmla="*/ 343 w 703"/>
                <a:gd name="T35" fmla="*/ 327 h 376"/>
                <a:gd name="T36" fmla="*/ 365 w 703"/>
                <a:gd name="T37" fmla="*/ 316 h 376"/>
                <a:gd name="T38" fmla="*/ 420 w 703"/>
                <a:gd name="T39" fmla="*/ 322 h 376"/>
                <a:gd name="T40" fmla="*/ 430 w 703"/>
                <a:gd name="T41" fmla="*/ 311 h 376"/>
                <a:gd name="T42" fmla="*/ 447 w 703"/>
                <a:gd name="T43" fmla="*/ 305 h 376"/>
                <a:gd name="T44" fmla="*/ 496 w 703"/>
                <a:gd name="T45" fmla="*/ 311 h 376"/>
                <a:gd name="T46" fmla="*/ 518 w 703"/>
                <a:gd name="T47" fmla="*/ 354 h 376"/>
                <a:gd name="T48" fmla="*/ 539 w 703"/>
                <a:gd name="T49" fmla="*/ 376 h 376"/>
                <a:gd name="T50" fmla="*/ 539 w 703"/>
                <a:gd name="T51" fmla="*/ 278 h 376"/>
                <a:gd name="T52" fmla="*/ 572 w 703"/>
                <a:gd name="T53" fmla="*/ 251 h 376"/>
                <a:gd name="T54" fmla="*/ 588 w 703"/>
                <a:gd name="T55" fmla="*/ 234 h 376"/>
                <a:gd name="T56" fmla="*/ 594 w 703"/>
                <a:gd name="T57" fmla="*/ 223 h 376"/>
                <a:gd name="T58" fmla="*/ 588 w 703"/>
                <a:gd name="T59" fmla="*/ 223 h 376"/>
                <a:gd name="T60" fmla="*/ 594 w 703"/>
                <a:gd name="T61" fmla="*/ 207 h 376"/>
                <a:gd name="T62" fmla="*/ 588 w 703"/>
                <a:gd name="T63" fmla="*/ 191 h 376"/>
                <a:gd name="T64" fmla="*/ 594 w 703"/>
                <a:gd name="T65" fmla="*/ 180 h 376"/>
                <a:gd name="T66" fmla="*/ 605 w 703"/>
                <a:gd name="T67" fmla="*/ 185 h 376"/>
                <a:gd name="T68" fmla="*/ 621 w 703"/>
                <a:gd name="T69" fmla="*/ 158 h 376"/>
                <a:gd name="T70" fmla="*/ 654 w 703"/>
                <a:gd name="T71" fmla="*/ 136 h 376"/>
                <a:gd name="T72" fmla="*/ 665 w 703"/>
                <a:gd name="T73" fmla="*/ 136 h 376"/>
                <a:gd name="T74" fmla="*/ 686 w 703"/>
                <a:gd name="T75" fmla="*/ 92 h 376"/>
                <a:gd name="T76" fmla="*/ 697 w 703"/>
                <a:gd name="T77" fmla="*/ 76 h 376"/>
                <a:gd name="T78" fmla="*/ 681 w 703"/>
                <a:gd name="T79" fmla="*/ 38 h 376"/>
                <a:gd name="T80" fmla="*/ 648 w 703"/>
                <a:gd name="T81" fmla="*/ 76 h 376"/>
                <a:gd name="T82" fmla="*/ 588 w 703"/>
                <a:gd name="T83" fmla="*/ 98 h 376"/>
                <a:gd name="T84" fmla="*/ 561 w 703"/>
                <a:gd name="T85" fmla="*/ 114 h 376"/>
                <a:gd name="T86" fmla="*/ 507 w 703"/>
                <a:gd name="T87" fmla="*/ 131 h 376"/>
                <a:gd name="T88" fmla="*/ 507 w 703"/>
                <a:gd name="T89" fmla="*/ 92 h 376"/>
                <a:gd name="T90" fmla="*/ 501 w 703"/>
                <a:gd name="T91" fmla="*/ 71 h 376"/>
                <a:gd name="T92" fmla="*/ 479 w 703"/>
                <a:gd name="T93" fmla="*/ 81 h 376"/>
                <a:gd name="T94" fmla="*/ 469 w 703"/>
                <a:gd name="T95" fmla="*/ 109 h 376"/>
                <a:gd name="T96" fmla="*/ 447 w 703"/>
                <a:gd name="T97" fmla="*/ 125 h 376"/>
                <a:gd name="T98" fmla="*/ 452 w 703"/>
                <a:gd name="T99" fmla="*/ 81 h 376"/>
                <a:gd name="T100" fmla="*/ 463 w 703"/>
                <a:gd name="T101" fmla="*/ 65 h 376"/>
                <a:gd name="T102" fmla="*/ 490 w 703"/>
                <a:gd name="T103" fmla="*/ 54 h 37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03"/>
                <a:gd name="T157" fmla="*/ 0 h 376"/>
                <a:gd name="T158" fmla="*/ 703 w 703"/>
                <a:gd name="T159" fmla="*/ 376 h 37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03" h="376">
                  <a:moveTo>
                    <a:pt x="490" y="54"/>
                  </a:moveTo>
                  <a:lnTo>
                    <a:pt x="485" y="49"/>
                  </a:lnTo>
                  <a:lnTo>
                    <a:pt x="479" y="49"/>
                  </a:lnTo>
                  <a:lnTo>
                    <a:pt x="469" y="49"/>
                  </a:lnTo>
                  <a:lnTo>
                    <a:pt x="463" y="54"/>
                  </a:lnTo>
                  <a:lnTo>
                    <a:pt x="452" y="54"/>
                  </a:lnTo>
                  <a:lnTo>
                    <a:pt x="447" y="43"/>
                  </a:lnTo>
                  <a:lnTo>
                    <a:pt x="441" y="49"/>
                  </a:lnTo>
                  <a:lnTo>
                    <a:pt x="441" y="43"/>
                  </a:lnTo>
                  <a:lnTo>
                    <a:pt x="447" y="32"/>
                  </a:lnTo>
                  <a:lnTo>
                    <a:pt x="420" y="49"/>
                  </a:lnTo>
                  <a:lnTo>
                    <a:pt x="409" y="49"/>
                  </a:lnTo>
                  <a:lnTo>
                    <a:pt x="409" y="43"/>
                  </a:lnTo>
                  <a:lnTo>
                    <a:pt x="398" y="49"/>
                  </a:lnTo>
                  <a:lnTo>
                    <a:pt x="409" y="38"/>
                  </a:lnTo>
                  <a:lnTo>
                    <a:pt x="425" y="27"/>
                  </a:lnTo>
                  <a:lnTo>
                    <a:pt x="414" y="21"/>
                  </a:lnTo>
                  <a:lnTo>
                    <a:pt x="403" y="21"/>
                  </a:lnTo>
                  <a:lnTo>
                    <a:pt x="387" y="10"/>
                  </a:lnTo>
                  <a:lnTo>
                    <a:pt x="365" y="10"/>
                  </a:lnTo>
                  <a:lnTo>
                    <a:pt x="360" y="0"/>
                  </a:lnTo>
                  <a:lnTo>
                    <a:pt x="360" y="5"/>
                  </a:lnTo>
                  <a:lnTo>
                    <a:pt x="22" y="5"/>
                  </a:lnTo>
                  <a:lnTo>
                    <a:pt x="28" y="10"/>
                  </a:lnTo>
                  <a:lnTo>
                    <a:pt x="22" y="16"/>
                  </a:lnTo>
                  <a:lnTo>
                    <a:pt x="28" y="16"/>
                  </a:lnTo>
                  <a:lnTo>
                    <a:pt x="28" y="27"/>
                  </a:lnTo>
                  <a:lnTo>
                    <a:pt x="22" y="32"/>
                  </a:lnTo>
                  <a:lnTo>
                    <a:pt x="17" y="32"/>
                  </a:lnTo>
                  <a:lnTo>
                    <a:pt x="22" y="27"/>
                  </a:lnTo>
                  <a:lnTo>
                    <a:pt x="22" y="21"/>
                  </a:lnTo>
                  <a:lnTo>
                    <a:pt x="0" y="16"/>
                  </a:lnTo>
                  <a:lnTo>
                    <a:pt x="0" y="21"/>
                  </a:lnTo>
                  <a:lnTo>
                    <a:pt x="6" y="43"/>
                  </a:lnTo>
                  <a:lnTo>
                    <a:pt x="6" y="49"/>
                  </a:lnTo>
                  <a:lnTo>
                    <a:pt x="6" y="54"/>
                  </a:lnTo>
                  <a:lnTo>
                    <a:pt x="17" y="54"/>
                  </a:lnTo>
                  <a:lnTo>
                    <a:pt x="6" y="60"/>
                  </a:lnTo>
                  <a:lnTo>
                    <a:pt x="6" y="103"/>
                  </a:lnTo>
                  <a:lnTo>
                    <a:pt x="0" y="114"/>
                  </a:lnTo>
                  <a:lnTo>
                    <a:pt x="6" y="131"/>
                  </a:lnTo>
                  <a:lnTo>
                    <a:pt x="6" y="136"/>
                  </a:lnTo>
                  <a:lnTo>
                    <a:pt x="0" y="158"/>
                  </a:lnTo>
                  <a:lnTo>
                    <a:pt x="11" y="163"/>
                  </a:lnTo>
                  <a:lnTo>
                    <a:pt x="11" y="180"/>
                  </a:lnTo>
                  <a:lnTo>
                    <a:pt x="22" y="191"/>
                  </a:lnTo>
                  <a:lnTo>
                    <a:pt x="22" y="196"/>
                  </a:lnTo>
                  <a:lnTo>
                    <a:pt x="22" y="191"/>
                  </a:lnTo>
                  <a:lnTo>
                    <a:pt x="33" y="191"/>
                  </a:lnTo>
                  <a:lnTo>
                    <a:pt x="28" y="196"/>
                  </a:lnTo>
                  <a:lnTo>
                    <a:pt x="28" y="201"/>
                  </a:lnTo>
                  <a:lnTo>
                    <a:pt x="28" y="196"/>
                  </a:lnTo>
                  <a:lnTo>
                    <a:pt x="22" y="196"/>
                  </a:lnTo>
                  <a:lnTo>
                    <a:pt x="28" y="207"/>
                  </a:lnTo>
                  <a:lnTo>
                    <a:pt x="33" y="212"/>
                  </a:lnTo>
                  <a:lnTo>
                    <a:pt x="33" y="218"/>
                  </a:lnTo>
                  <a:lnTo>
                    <a:pt x="49" y="234"/>
                  </a:lnTo>
                  <a:lnTo>
                    <a:pt x="49" y="245"/>
                  </a:lnTo>
                  <a:lnTo>
                    <a:pt x="71" y="251"/>
                  </a:lnTo>
                  <a:lnTo>
                    <a:pt x="77" y="256"/>
                  </a:lnTo>
                  <a:lnTo>
                    <a:pt x="82" y="256"/>
                  </a:lnTo>
                  <a:lnTo>
                    <a:pt x="88" y="267"/>
                  </a:lnTo>
                  <a:lnTo>
                    <a:pt x="88" y="272"/>
                  </a:lnTo>
                  <a:lnTo>
                    <a:pt x="120" y="272"/>
                  </a:lnTo>
                  <a:lnTo>
                    <a:pt x="164" y="294"/>
                  </a:lnTo>
                  <a:lnTo>
                    <a:pt x="196" y="294"/>
                  </a:lnTo>
                  <a:lnTo>
                    <a:pt x="196" y="283"/>
                  </a:lnTo>
                  <a:lnTo>
                    <a:pt x="218" y="283"/>
                  </a:lnTo>
                  <a:lnTo>
                    <a:pt x="240" y="300"/>
                  </a:lnTo>
                  <a:lnTo>
                    <a:pt x="240" y="311"/>
                  </a:lnTo>
                  <a:lnTo>
                    <a:pt x="245" y="316"/>
                  </a:lnTo>
                  <a:lnTo>
                    <a:pt x="256" y="327"/>
                  </a:lnTo>
                  <a:lnTo>
                    <a:pt x="267" y="316"/>
                  </a:lnTo>
                  <a:lnTo>
                    <a:pt x="278" y="311"/>
                  </a:lnTo>
                  <a:lnTo>
                    <a:pt x="289" y="322"/>
                  </a:lnTo>
                  <a:lnTo>
                    <a:pt x="294" y="332"/>
                  </a:lnTo>
                  <a:lnTo>
                    <a:pt x="305" y="343"/>
                  </a:lnTo>
                  <a:lnTo>
                    <a:pt x="311" y="360"/>
                  </a:lnTo>
                  <a:lnTo>
                    <a:pt x="338" y="371"/>
                  </a:lnTo>
                  <a:lnTo>
                    <a:pt x="332" y="354"/>
                  </a:lnTo>
                  <a:lnTo>
                    <a:pt x="332" y="349"/>
                  </a:lnTo>
                  <a:lnTo>
                    <a:pt x="332" y="343"/>
                  </a:lnTo>
                  <a:lnTo>
                    <a:pt x="343" y="332"/>
                  </a:lnTo>
                  <a:lnTo>
                    <a:pt x="343" y="327"/>
                  </a:lnTo>
                  <a:lnTo>
                    <a:pt x="354" y="327"/>
                  </a:lnTo>
                  <a:lnTo>
                    <a:pt x="360" y="327"/>
                  </a:lnTo>
                  <a:lnTo>
                    <a:pt x="360" y="316"/>
                  </a:lnTo>
                  <a:lnTo>
                    <a:pt x="365" y="316"/>
                  </a:lnTo>
                  <a:lnTo>
                    <a:pt x="376" y="316"/>
                  </a:lnTo>
                  <a:lnTo>
                    <a:pt x="392" y="316"/>
                  </a:lnTo>
                  <a:lnTo>
                    <a:pt x="398" y="316"/>
                  </a:lnTo>
                  <a:lnTo>
                    <a:pt x="414" y="322"/>
                  </a:lnTo>
                  <a:lnTo>
                    <a:pt x="420" y="322"/>
                  </a:lnTo>
                  <a:lnTo>
                    <a:pt x="420" y="316"/>
                  </a:lnTo>
                  <a:lnTo>
                    <a:pt x="430" y="327"/>
                  </a:lnTo>
                  <a:lnTo>
                    <a:pt x="430" y="322"/>
                  </a:lnTo>
                  <a:lnTo>
                    <a:pt x="425" y="316"/>
                  </a:lnTo>
                  <a:lnTo>
                    <a:pt x="430" y="311"/>
                  </a:lnTo>
                  <a:lnTo>
                    <a:pt x="420" y="311"/>
                  </a:lnTo>
                  <a:lnTo>
                    <a:pt x="420" y="305"/>
                  </a:lnTo>
                  <a:lnTo>
                    <a:pt x="441" y="305"/>
                  </a:lnTo>
                  <a:lnTo>
                    <a:pt x="447" y="300"/>
                  </a:lnTo>
                  <a:lnTo>
                    <a:pt x="447" y="305"/>
                  </a:lnTo>
                  <a:lnTo>
                    <a:pt x="458" y="305"/>
                  </a:lnTo>
                  <a:lnTo>
                    <a:pt x="469" y="305"/>
                  </a:lnTo>
                  <a:lnTo>
                    <a:pt x="479" y="316"/>
                  </a:lnTo>
                  <a:lnTo>
                    <a:pt x="496" y="311"/>
                  </a:lnTo>
                  <a:lnTo>
                    <a:pt x="512" y="322"/>
                  </a:lnTo>
                  <a:lnTo>
                    <a:pt x="512" y="343"/>
                  </a:lnTo>
                  <a:lnTo>
                    <a:pt x="512" y="338"/>
                  </a:lnTo>
                  <a:lnTo>
                    <a:pt x="512" y="349"/>
                  </a:lnTo>
                  <a:lnTo>
                    <a:pt x="518" y="354"/>
                  </a:lnTo>
                  <a:lnTo>
                    <a:pt x="523" y="365"/>
                  </a:lnTo>
                  <a:lnTo>
                    <a:pt x="528" y="371"/>
                  </a:lnTo>
                  <a:lnTo>
                    <a:pt x="528" y="376"/>
                  </a:lnTo>
                  <a:lnTo>
                    <a:pt x="539" y="376"/>
                  </a:lnTo>
                  <a:lnTo>
                    <a:pt x="545" y="365"/>
                  </a:lnTo>
                  <a:lnTo>
                    <a:pt x="545" y="354"/>
                  </a:lnTo>
                  <a:lnTo>
                    <a:pt x="523" y="300"/>
                  </a:lnTo>
                  <a:lnTo>
                    <a:pt x="534" y="278"/>
                  </a:lnTo>
                  <a:lnTo>
                    <a:pt x="539" y="278"/>
                  </a:lnTo>
                  <a:lnTo>
                    <a:pt x="534" y="272"/>
                  </a:lnTo>
                  <a:lnTo>
                    <a:pt x="545" y="272"/>
                  </a:lnTo>
                  <a:lnTo>
                    <a:pt x="556" y="267"/>
                  </a:lnTo>
                  <a:lnTo>
                    <a:pt x="561" y="256"/>
                  </a:lnTo>
                  <a:lnTo>
                    <a:pt x="572" y="251"/>
                  </a:lnTo>
                  <a:lnTo>
                    <a:pt x="577" y="245"/>
                  </a:lnTo>
                  <a:lnTo>
                    <a:pt x="588" y="240"/>
                  </a:lnTo>
                  <a:lnTo>
                    <a:pt x="588" y="234"/>
                  </a:lnTo>
                  <a:lnTo>
                    <a:pt x="583" y="234"/>
                  </a:lnTo>
                  <a:lnTo>
                    <a:pt x="588" y="229"/>
                  </a:lnTo>
                  <a:lnTo>
                    <a:pt x="594" y="234"/>
                  </a:lnTo>
                  <a:lnTo>
                    <a:pt x="599" y="229"/>
                  </a:lnTo>
                  <a:lnTo>
                    <a:pt x="594" y="223"/>
                  </a:lnTo>
                  <a:lnTo>
                    <a:pt x="594" y="229"/>
                  </a:lnTo>
                  <a:lnTo>
                    <a:pt x="594" y="223"/>
                  </a:lnTo>
                  <a:lnTo>
                    <a:pt x="588" y="223"/>
                  </a:lnTo>
                  <a:lnTo>
                    <a:pt x="588" y="218"/>
                  </a:lnTo>
                  <a:lnTo>
                    <a:pt x="588" y="223"/>
                  </a:lnTo>
                  <a:lnTo>
                    <a:pt x="594" y="218"/>
                  </a:lnTo>
                  <a:lnTo>
                    <a:pt x="599" y="223"/>
                  </a:lnTo>
                  <a:lnTo>
                    <a:pt x="594" y="207"/>
                  </a:lnTo>
                  <a:lnTo>
                    <a:pt x="588" y="207"/>
                  </a:lnTo>
                  <a:lnTo>
                    <a:pt x="594" y="207"/>
                  </a:lnTo>
                  <a:lnTo>
                    <a:pt x="588" y="196"/>
                  </a:lnTo>
                  <a:lnTo>
                    <a:pt x="577" y="185"/>
                  </a:lnTo>
                  <a:lnTo>
                    <a:pt x="588" y="191"/>
                  </a:lnTo>
                  <a:lnTo>
                    <a:pt x="588" y="185"/>
                  </a:lnTo>
                  <a:lnTo>
                    <a:pt x="588" y="174"/>
                  </a:lnTo>
                  <a:lnTo>
                    <a:pt x="594" y="169"/>
                  </a:lnTo>
                  <a:lnTo>
                    <a:pt x="588" y="180"/>
                  </a:lnTo>
                  <a:lnTo>
                    <a:pt x="594" y="180"/>
                  </a:lnTo>
                  <a:lnTo>
                    <a:pt x="594" y="185"/>
                  </a:lnTo>
                  <a:lnTo>
                    <a:pt x="599" y="191"/>
                  </a:lnTo>
                  <a:lnTo>
                    <a:pt x="594" y="201"/>
                  </a:lnTo>
                  <a:lnTo>
                    <a:pt x="594" y="207"/>
                  </a:lnTo>
                  <a:lnTo>
                    <a:pt x="605" y="185"/>
                  </a:lnTo>
                  <a:lnTo>
                    <a:pt x="599" y="169"/>
                  </a:lnTo>
                  <a:lnTo>
                    <a:pt x="610" y="174"/>
                  </a:lnTo>
                  <a:lnTo>
                    <a:pt x="610" y="180"/>
                  </a:lnTo>
                  <a:lnTo>
                    <a:pt x="616" y="169"/>
                  </a:lnTo>
                  <a:lnTo>
                    <a:pt x="621" y="158"/>
                  </a:lnTo>
                  <a:lnTo>
                    <a:pt x="616" y="152"/>
                  </a:lnTo>
                  <a:lnTo>
                    <a:pt x="632" y="141"/>
                  </a:lnTo>
                  <a:lnTo>
                    <a:pt x="648" y="136"/>
                  </a:lnTo>
                  <a:lnTo>
                    <a:pt x="654" y="136"/>
                  </a:lnTo>
                  <a:lnTo>
                    <a:pt x="670" y="136"/>
                  </a:lnTo>
                  <a:lnTo>
                    <a:pt x="670" y="131"/>
                  </a:lnTo>
                  <a:lnTo>
                    <a:pt x="670" y="136"/>
                  </a:lnTo>
                  <a:lnTo>
                    <a:pt x="665" y="136"/>
                  </a:lnTo>
                  <a:lnTo>
                    <a:pt x="654" y="125"/>
                  </a:lnTo>
                  <a:lnTo>
                    <a:pt x="665" y="98"/>
                  </a:lnTo>
                  <a:lnTo>
                    <a:pt x="681" y="92"/>
                  </a:lnTo>
                  <a:lnTo>
                    <a:pt x="681" y="87"/>
                  </a:lnTo>
                  <a:lnTo>
                    <a:pt x="686" y="92"/>
                  </a:lnTo>
                  <a:lnTo>
                    <a:pt x="703" y="81"/>
                  </a:lnTo>
                  <a:lnTo>
                    <a:pt x="703" y="76"/>
                  </a:lnTo>
                  <a:lnTo>
                    <a:pt x="697" y="76"/>
                  </a:lnTo>
                  <a:lnTo>
                    <a:pt x="697" y="65"/>
                  </a:lnTo>
                  <a:lnTo>
                    <a:pt x="697" y="43"/>
                  </a:lnTo>
                  <a:lnTo>
                    <a:pt x="686" y="38"/>
                  </a:lnTo>
                  <a:lnTo>
                    <a:pt x="681" y="38"/>
                  </a:lnTo>
                  <a:lnTo>
                    <a:pt x="675" y="32"/>
                  </a:lnTo>
                  <a:lnTo>
                    <a:pt x="670" y="49"/>
                  </a:lnTo>
                  <a:lnTo>
                    <a:pt x="659" y="71"/>
                  </a:lnTo>
                  <a:lnTo>
                    <a:pt x="648" y="76"/>
                  </a:lnTo>
                  <a:lnTo>
                    <a:pt x="605" y="76"/>
                  </a:lnTo>
                  <a:lnTo>
                    <a:pt x="599" y="87"/>
                  </a:lnTo>
                  <a:lnTo>
                    <a:pt x="588" y="92"/>
                  </a:lnTo>
                  <a:lnTo>
                    <a:pt x="594" y="92"/>
                  </a:lnTo>
                  <a:lnTo>
                    <a:pt x="588" y="98"/>
                  </a:lnTo>
                  <a:lnTo>
                    <a:pt x="594" y="103"/>
                  </a:lnTo>
                  <a:lnTo>
                    <a:pt x="583" y="109"/>
                  </a:lnTo>
                  <a:lnTo>
                    <a:pt x="567" y="103"/>
                  </a:lnTo>
                  <a:lnTo>
                    <a:pt x="556" y="109"/>
                  </a:lnTo>
                  <a:lnTo>
                    <a:pt x="561" y="114"/>
                  </a:lnTo>
                  <a:lnTo>
                    <a:pt x="545" y="125"/>
                  </a:lnTo>
                  <a:lnTo>
                    <a:pt x="523" y="136"/>
                  </a:lnTo>
                  <a:lnTo>
                    <a:pt x="507" y="136"/>
                  </a:lnTo>
                  <a:lnTo>
                    <a:pt x="501" y="136"/>
                  </a:lnTo>
                  <a:lnTo>
                    <a:pt x="507" y="131"/>
                  </a:lnTo>
                  <a:lnTo>
                    <a:pt x="507" y="120"/>
                  </a:lnTo>
                  <a:lnTo>
                    <a:pt x="512" y="120"/>
                  </a:lnTo>
                  <a:lnTo>
                    <a:pt x="512" y="109"/>
                  </a:lnTo>
                  <a:lnTo>
                    <a:pt x="507" y="92"/>
                  </a:lnTo>
                  <a:lnTo>
                    <a:pt x="501" y="98"/>
                  </a:lnTo>
                  <a:lnTo>
                    <a:pt x="496" y="98"/>
                  </a:lnTo>
                  <a:lnTo>
                    <a:pt x="501" y="87"/>
                  </a:lnTo>
                  <a:lnTo>
                    <a:pt x="501" y="71"/>
                  </a:lnTo>
                  <a:lnTo>
                    <a:pt x="490" y="65"/>
                  </a:lnTo>
                  <a:lnTo>
                    <a:pt x="485" y="65"/>
                  </a:lnTo>
                  <a:lnTo>
                    <a:pt x="485" y="71"/>
                  </a:lnTo>
                  <a:lnTo>
                    <a:pt x="479" y="71"/>
                  </a:lnTo>
                  <a:lnTo>
                    <a:pt x="479" y="81"/>
                  </a:lnTo>
                  <a:lnTo>
                    <a:pt x="474" y="81"/>
                  </a:lnTo>
                  <a:lnTo>
                    <a:pt x="474" y="76"/>
                  </a:lnTo>
                  <a:lnTo>
                    <a:pt x="469" y="81"/>
                  </a:lnTo>
                  <a:lnTo>
                    <a:pt x="463" y="103"/>
                  </a:lnTo>
                  <a:lnTo>
                    <a:pt x="469" y="109"/>
                  </a:lnTo>
                  <a:lnTo>
                    <a:pt x="469" y="120"/>
                  </a:lnTo>
                  <a:lnTo>
                    <a:pt x="463" y="131"/>
                  </a:lnTo>
                  <a:lnTo>
                    <a:pt x="458" y="136"/>
                  </a:lnTo>
                  <a:lnTo>
                    <a:pt x="452" y="131"/>
                  </a:lnTo>
                  <a:lnTo>
                    <a:pt x="447" y="125"/>
                  </a:lnTo>
                  <a:lnTo>
                    <a:pt x="447" y="109"/>
                  </a:lnTo>
                  <a:lnTo>
                    <a:pt x="452" y="87"/>
                  </a:lnTo>
                  <a:lnTo>
                    <a:pt x="458" y="76"/>
                  </a:lnTo>
                  <a:lnTo>
                    <a:pt x="458" y="71"/>
                  </a:lnTo>
                  <a:lnTo>
                    <a:pt x="452" y="81"/>
                  </a:lnTo>
                  <a:lnTo>
                    <a:pt x="447" y="87"/>
                  </a:lnTo>
                  <a:lnTo>
                    <a:pt x="447" y="81"/>
                  </a:lnTo>
                  <a:lnTo>
                    <a:pt x="458" y="65"/>
                  </a:lnTo>
                  <a:lnTo>
                    <a:pt x="463" y="65"/>
                  </a:lnTo>
                  <a:lnTo>
                    <a:pt x="479" y="60"/>
                  </a:lnTo>
                  <a:lnTo>
                    <a:pt x="485" y="65"/>
                  </a:lnTo>
                  <a:lnTo>
                    <a:pt x="490" y="60"/>
                  </a:lnTo>
                  <a:lnTo>
                    <a:pt x="496" y="60"/>
                  </a:lnTo>
                  <a:lnTo>
                    <a:pt x="490" y="54"/>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4" name="Freeform 786"/>
            <p:cNvSpPr>
              <a:spLocks/>
            </p:cNvSpPr>
            <p:nvPr/>
          </p:nvSpPr>
          <p:spPr bwMode="auto">
            <a:xfrm>
              <a:off x="657" y="1649"/>
              <a:ext cx="463" cy="463"/>
            </a:xfrm>
            <a:custGeom>
              <a:avLst/>
              <a:gdLst>
                <a:gd name="T0" fmla="*/ 65 w 463"/>
                <a:gd name="T1" fmla="*/ 453 h 463"/>
                <a:gd name="T2" fmla="*/ 98 w 463"/>
                <a:gd name="T3" fmla="*/ 442 h 463"/>
                <a:gd name="T4" fmla="*/ 120 w 463"/>
                <a:gd name="T5" fmla="*/ 425 h 463"/>
                <a:gd name="T6" fmla="*/ 136 w 463"/>
                <a:gd name="T7" fmla="*/ 409 h 463"/>
                <a:gd name="T8" fmla="*/ 169 w 463"/>
                <a:gd name="T9" fmla="*/ 382 h 463"/>
                <a:gd name="T10" fmla="*/ 185 w 463"/>
                <a:gd name="T11" fmla="*/ 343 h 463"/>
                <a:gd name="T12" fmla="*/ 218 w 463"/>
                <a:gd name="T13" fmla="*/ 300 h 463"/>
                <a:gd name="T14" fmla="*/ 212 w 463"/>
                <a:gd name="T15" fmla="*/ 322 h 463"/>
                <a:gd name="T16" fmla="*/ 201 w 463"/>
                <a:gd name="T17" fmla="*/ 360 h 463"/>
                <a:gd name="T18" fmla="*/ 212 w 463"/>
                <a:gd name="T19" fmla="*/ 360 h 463"/>
                <a:gd name="T20" fmla="*/ 234 w 463"/>
                <a:gd name="T21" fmla="*/ 343 h 463"/>
                <a:gd name="T22" fmla="*/ 245 w 463"/>
                <a:gd name="T23" fmla="*/ 322 h 463"/>
                <a:gd name="T24" fmla="*/ 267 w 463"/>
                <a:gd name="T25" fmla="*/ 322 h 463"/>
                <a:gd name="T26" fmla="*/ 278 w 463"/>
                <a:gd name="T27" fmla="*/ 338 h 463"/>
                <a:gd name="T28" fmla="*/ 343 w 463"/>
                <a:gd name="T29" fmla="*/ 349 h 463"/>
                <a:gd name="T30" fmla="*/ 348 w 463"/>
                <a:gd name="T31" fmla="*/ 354 h 463"/>
                <a:gd name="T32" fmla="*/ 365 w 463"/>
                <a:gd name="T33" fmla="*/ 360 h 463"/>
                <a:gd name="T34" fmla="*/ 387 w 463"/>
                <a:gd name="T35" fmla="*/ 382 h 463"/>
                <a:gd name="T36" fmla="*/ 392 w 463"/>
                <a:gd name="T37" fmla="*/ 382 h 463"/>
                <a:gd name="T38" fmla="*/ 397 w 463"/>
                <a:gd name="T39" fmla="*/ 360 h 463"/>
                <a:gd name="T40" fmla="*/ 419 w 463"/>
                <a:gd name="T41" fmla="*/ 392 h 463"/>
                <a:gd name="T42" fmla="*/ 425 w 463"/>
                <a:gd name="T43" fmla="*/ 403 h 463"/>
                <a:gd name="T44" fmla="*/ 430 w 463"/>
                <a:gd name="T45" fmla="*/ 414 h 463"/>
                <a:gd name="T46" fmla="*/ 435 w 463"/>
                <a:gd name="T47" fmla="*/ 442 h 463"/>
                <a:gd name="T48" fmla="*/ 457 w 463"/>
                <a:gd name="T49" fmla="*/ 458 h 463"/>
                <a:gd name="T50" fmla="*/ 419 w 463"/>
                <a:gd name="T51" fmla="*/ 376 h 463"/>
                <a:gd name="T52" fmla="*/ 370 w 463"/>
                <a:gd name="T53" fmla="*/ 365 h 463"/>
                <a:gd name="T54" fmla="*/ 327 w 463"/>
                <a:gd name="T55" fmla="*/ 65 h 463"/>
                <a:gd name="T56" fmla="*/ 196 w 463"/>
                <a:gd name="T57" fmla="*/ 27 h 463"/>
                <a:gd name="T58" fmla="*/ 158 w 463"/>
                <a:gd name="T59" fmla="*/ 11 h 463"/>
                <a:gd name="T60" fmla="*/ 136 w 463"/>
                <a:gd name="T61" fmla="*/ 0 h 463"/>
                <a:gd name="T62" fmla="*/ 98 w 463"/>
                <a:gd name="T63" fmla="*/ 21 h 463"/>
                <a:gd name="T64" fmla="*/ 98 w 463"/>
                <a:gd name="T65" fmla="*/ 32 h 463"/>
                <a:gd name="T66" fmla="*/ 76 w 463"/>
                <a:gd name="T67" fmla="*/ 54 h 463"/>
                <a:gd name="T68" fmla="*/ 60 w 463"/>
                <a:gd name="T69" fmla="*/ 65 h 463"/>
                <a:gd name="T70" fmla="*/ 11 w 463"/>
                <a:gd name="T71" fmla="*/ 109 h 463"/>
                <a:gd name="T72" fmla="*/ 65 w 463"/>
                <a:gd name="T73" fmla="*/ 152 h 463"/>
                <a:gd name="T74" fmla="*/ 103 w 463"/>
                <a:gd name="T75" fmla="*/ 163 h 463"/>
                <a:gd name="T76" fmla="*/ 87 w 463"/>
                <a:gd name="T77" fmla="*/ 174 h 463"/>
                <a:gd name="T78" fmla="*/ 49 w 463"/>
                <a:gd name="T79" fmla="*/ 174 h 463"/>
                <a:gd name="T80" fmla="*/ 22 w 463"/>
                <a:gd name="T81" fmla="*/ 180 h 463"/>
                <a:gd name="T82" fmla="*/ 38 w 463"/>
                <a:gd name="T83" fmla="*/ 229 h 463"/>
                <a:gd name="T84" fmla="*/ 65 w 463"/>
                <a:gd name="T85" fmla="*/ 234 h 463"/>
                <a:gd name="T86" fmla="*/ 82 w 463"/>
                <a:gd name="T87" fmla="*/ 251 h 463"/>
                <a:gd name="T88" fmla="*/ 38 w 463"/>
                <a:gd name="T89" fmla="*/ 272 h 463"/>
                <a:gd name="T90" fmla="*/ 33 w 463"/>
                <a:gd name="T91" fmla="*/ 305 h 463"/>
                <a:gd name="T92" fmla="*/ 38 w 463"/>
                <a:gd name="T93" fmla="*/ 316 h 463"/>
                <a:gd name="T94" fmla="*/ 49 w 463"/>
                <a:gd name="T95" fmla="*/ 343 h 463"/>
                <a:gd name="T96" fmla="*/ 71 w 463"/>
                <a:gd name="T97" fmla="*/ 332 h 463"/>
                <a:gd name="T98" fmla="*/ 76 w 463"/>
                <a:gd name="T99" fmla="*/ 371 h 463"/>
                <a:gd name="T100" fmla="*/ 98 w 463"/>
                <a:gd name="T101" fmla="*/ 371 h 463"/>
                <a:gd name="T102" fmla="*/ 120 w 463"/>
                <a:gd name="T103" fmla="*/ 376 h 463"/>
                <a:gd name="T104" fmla="*/ 114 w 463"/>
                <a:gd name="T105" fmla="*/ 414 h 463"/>
                <a:gd name="T106" fmla="*/ 54 w 463"/>
                <a:gd name="T107" fmla="*/ 453 h 46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63"/>
                <a:gd name="T163" fmla="*/ 0 h 463"/>
                <a:gd name="T164" fmla="*/ 463 w 463"/>
                <a:gd name="T165" fmla="*/ 463 h 46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63" h="463">
                  <a:moveTo>
                    <a:pt x="54" y="453"/>
                  </a:moveTo>
                  <a:lnTo>
                    <a:pt x="54" y="458"/>
                  </a:lnTo>
                  <a:lnTo>
                    <a:pt x="54" y="463"/>
                  </a:lnTo>
                  <a:lnTo>
                    <a:pt x="54" y="458"/>
                  </a:lnTo>
                  <a:lnTo>
                    <a:pt x="65" y="458"/>
                  </a:lnTo>
                  <a:lnTo>
                    <a:pt x="65" y="453"/>
                  </a:lnTo>
                  <a:lnTo>
                    <a:pt x="65" y="458"/>
                  </a:lnTo>
                  <a:lnTo>
                    <a:pt x="71" y="458"/>
                  </a:lnTo>
                  <a:lnTo>
                    <a:pt x="76" y="447"/>
                  </a:lnTo>
                  <a:lnTo>
                    <a:pt x="76" y="453"/>
                  </a:lnTo>
                  <a:lnTo>
                    <a:pt x="98" y="442"/>
                  </a:lnTo>
                  <a:lnTo>
                    <a:pt x="98" y="447"/>
                  </a:lnTo>
                  <a:lnTo>
                    <a:pt x="103" y="442"/>
                  </a:lnTo>
                  <a:lnTo>
                    <a:pt x="114" y="436"/>
                  </a:lnTo>
                  <a:lnTo>
                    <a:pt x="103" y="425"/>
                  </a:lnTo>
                  <a:lnTo>
                    <a:pt x="114" y="431"/>
                  </a:lnTo>
                  <a:lnTo>
                    <a:pt x="120" y="425"/>
                  </a:lnTo>
                  <a:lnTo>
                    <a:pt x="125" y="425"/>
                  </a:lnTo>
                  <a:lnTo>
                    <a:pt x="125" y="420"/>
                  </a:lnTo>
                  <a:lnTo>
                    <a:pt x="142" y="414"/>
                  </a:lnTo>
                  <a:lnTo>
                    <a:pt x="142" y="409"/>
                  </a:lnTo>
                  <a:lnTo>
                    <a:pt x="136" y="409"/>
                  </a:lnTo>
                  <a:lnTo>
                    <a:pt x="147" y="403"/>
                  </a:lnTo>
                  <a:lnTo>
                    <a:pt x="147" y="398"/>
                  </a:lnTo>
                  <a:lnTo>
                    <a:pt x="152" y="398"/>
                  </a:lnTo>
                  <a:lnTo>
                    <a:pt x="158" y="392"/>
                  </a:lnTo>
                  <a:lnTo>
                    <a:pt x="169" y="387"/>
                  </a:lnTo>
                  <a:lnTo>
                    <a:pt x="169" y="382"/>
                  </a:lnTo>
                  <a:lnTo>
                    <a:pt x="180" y="371"/>
                  </a:lnTo>
                  <a:lnTo>
                    <a:pt x="174" y="365"/>
                  </a:lnTo>
                  <a:lnTo>
                    <a:pt x="169" y="365"/>
                  </a:lnTo>
                  <a:lnTo>
                    <a:pt x="169" y="360"/>
                  </a:lnTo>
                  <a:lnTo>
                    <a:pt x="185" y="343"/>
                  </a:lnTo>
                  <a:lnTo>
                    <a:pt x="180" y="338"/>
                  </a:lnTo>
                  <a:lnTo>
                    <a:pt x="185" y="338"/>
                  </a:lnTo>
                  <a:lnTo>
                    <a:pt x="196" y="322"/>
                  </a:lnTo>
                  <a:lnTo>
                    <a:pt x="212" y="311"/>
                  </a:lnTo>
                  <a:lnTo>
                    <a:pt x="218" y="289"/>
                  </a:lnTo>
                  <a:lnTo>
                    <a:pt x="218" y="300"/>
                  </a:lnTo>
                  <a:lnTo>
                    <a:pt x="212" y="311"/>
                  </a:lnTo>
                  <a:lnTo>
                    <a:pt x="218" y="316"/>
                  </a:lnTo>
                  <a:lnTo>
                    <a:pt x="229" y="305"/>
                  </a:lnTo>
                  <a:lnTo>
                    <a:pt x="218" y="316"/>
                  </a:lnTo>
                  <a:lnTo>
                    <a:pt x="229" y="322"/>
                  </a:lnTo>
                  <a:lnTo>
                    <a:pt x="212" y="322"/>
                  </a:lnTo>
                  <a:lnTo>
                    <a:pt x="201" y="327"/>
                  </a:lnTo>
                  <a:lnTo>
                    <a:pt x="201" y="338"/>
                  </a:lnTo>
                  <a:lnTo>
                    <a:pt x="196" y="349"/>
                  </a:lnTo>
                  <a:lnTo>
                    <a:pt x="201" y="354"/>
                  </a:lnTo>
                  <a:lnTo>
                    <a:pt x="207" y="349"/>
                  </a:lnTo>
                  <a:lnTo>
                    <a:pt x="201" y="360"/>
                  </a:lnTo>
                  <a:lnTo>
                    <a:pt x="196" y="360"/>
                  </a:lnTo>
                  <a:lnTo>
                    <a:pt x="196" y="365"/>
                  </a:lnTo>
                  <a:lnTo>
                    <a:pt x="207" y="360"/>
                  </a:lnTo>
                  <a:lnTo>
                    <a:pt x="212" y="354"/>
                  </a:lnTo>
                  <a:lnTo>
                    <a:pt x="212" y="360"/>
                  </a:lnTo>
                  <a:lnTo>
                    <a:pt x="218" y="354"/>
                  </a:lnTo>
                  <a:lnTo>
                    <a:pt x="223" y="354"/>
                  </a:lnTo>
                  <a:lnTo>
                    <a:pt x="223" y="343"/>
                  </a:lnTo>
                  <a:lnTo>
                    <a:pt x="223" y="354"/>
                  </a:lnTo>
                  <a:lnTo>
                    <a:pt x="223" y="343"/>
                  </a:lnTo>
                  <a:lnTo>
                    <a:pt x="234" y="343"/>
                  </a:lnTo>
                  <a:lnTo>
                    <a:pt x="245" y="332"/>
                  </a:lnTo>
                  <a:lnTo>
                    <a:pt x="234" y="332"/>
                  </a:lnTo>
                  <a:lnTo>
                    <a:pt x="240" y="327"/>
                  </a:lnTo>
                  <a:lnTo>
                    <a:pt x="234" y="327"/>
                  </a:lnTo>
                  <a:lnTo>
                    <a:pt x="245" y="316"/>
                  </a:lnTo>
                  <a:lnTo>
                    <a:pt x="245" y="322"/>
                  </a:lnTo>
                  <a:lnTo>
                    <a:pt x="245" y="316"/>
                  </a:lnTo>
                  <a:lnTo>
                    <a:pt x="250" y="322"/>
                  </a:lnTo>
                  <a:lnTo>
                    <a:pt x="261" y="316"/>
                  </a:lnTo>
                  <a:lnTo>
                    <a:pt x="256" y="322"/>
                  </a:lnTo>
                  <a:lnTo>
                    <a:pt x="267" y="322"/>
                  </a:lnTo>
                  <a:lnTo>
                    <a:pt x="256" y="327"/>
                  </a:lnTo>
                  <a:lnTo>
                    <a:pt x="267" y="322"/>
                  </a:lnTo>
                  <a:lnTo>
                    <a:pt x="261" y="327"/>
                  </a:lnTo>
                  <a:lnTo>
                    <a:pt x="272" y="327"/>
                  </a:lnTo>
                  <a:lnTo>
                    <a:pt x="272" y="332"/>
                  </a:lnTo>
                  <a:lnTo>
                    <a:pt x="278" y="338"/>
                  </a:lnTo>
                  <a:lnTo>
                    <a:pt x="278" y="332"/>
                  </a:lnTo>
                  <a:lnTo>
                    <a:pt x="294" y="343"/>
                  </a:lnTo>
                  <a:lnTo>
                    <a:pt x="321" y="343"/>
                  </a:lnTo>
                  <a:lnTo>
                    <a:pt x="327" y="349"/>
                  </a:lnTo>
                  <a:lnTo>
                    <a:pt x="332" y="349"/>
                  </a:lnTo>
                  <a:lnTo>
                    <a:pt x="343" y="349"/>
                  </a:lnTo>
                  <a:lnTo>
                    <a:pt x="348" y="343"/>
                  </a:lnTo>
                  <a:lnTo>
                    <a:pt x="354" y="349"/>
                  </a:lnTo>
                  <a:lnTo>
                    <a:pt x="348" y="349"/>
                  </a:lnTo>
                  <a:lnTo>
                    <a:pt x="348" y="354"/>
                  </a:lnTo>
                  <a:lnTo>
                    <a:pt x="348" y="343"/>
                  </a:lnTo>
                  <a:lnTo>
                    <a:pt x="348" y="354"/>
                  </a:lnTo>
                  <a:lnTo>
                    <a:pt x="343" y="354"/>
                  </a:lnTo>
                  <a:lnTo>
                    <a:pt x="359" y="365"/>
                  </a:lnTo>
                  <a:lnTo>
                    <a:pt x="365" y="354"/>
                  </a:lnTo>
                  <a:lnTo>
                    <a:pt x="370" y="354"/>
                  </a:lnTo>
                  <a:lnTo>
                    <a:pt x="365" y="360"/>
                  </a:lnTo>
                  <a:lnTo>
                    <a:pt x="365" y="371"/>
                  </a:lnTo>
                  <a:lnTo>
                    <a:pt x="370" y="376"/>
                  </a:lnTo>
                  <a:lnTo>
                    <a:pt x="381" y="387"/>
                  </a:lnTo>
                  <a:lnTo>
                    <a:pt x="387" y="382"/>
                  </a:lnTo>
                  <a:lnTo>
                    <a:pt x="376" y="371"/>
                  </a:lnTo>
                  <a:lnTo>
                    <a:pt x="381" y="371"/>
                  </a:lnTo>
                  <a:lnTo>
                    <a:pt x="387" y="376"/>
                  </a:lnTo>
                  <a:lnTo>
                    <a:pt x="387" y="371"/>
                  </a:lnTo>
                  <a:lnTo>
                    <a:pt x="392" y="376"/>
                  </a:lnTo>
                  <a:lnTo>
                    <a:pt x="392" y="382"/>
                  </a:lnTo>
                  <a:lnTo>
                    <a:pt x="397" y="382"/>
                  </a:lnTo>
                  <a:lnTo>
                    <a:pt x="397" y="387"/>
                  </a:lnTo>
                  <a:lnTo>
                    <a:pt x="403" y="387"/>
                  </a:lnTo>
                  <a:lnTo>
                    <a:pt x="403" y="382"/>
                  </a:lnTo>
                  <a:lnTo>
                    <a:pt x="397" y="365"/>
                  </a:lnTo>
                  <a:lnTo>
                    <a:pt x="397" y="360"/>
                  </a:lnTo>
                  <a:lnTo>
                    <a:pt x="408" y="382"/>
                  </a:lnTo>
                  <a:lnTo>
                    <a:pt x="414" y="387"/>
                  </a:lnTo>
                  <a:lnTo>
                    <a:pt x="414" y="392"/>
                  </a:lnTo>
                  <a:lnTo>
                    <a:pt x="419" y="387"/>
                  </a:lnTo>
                  <a:lnTo>
                    <a:pt x="419" y="392"/>
                  </a:lnTo>
                  <a:lnTo>
                    <a:pt x="419" y="398"/>
                  </a:lnTo>
                  <a:lnTo>
                    <a:pt x="430" y="403"/>
                  </a:lnTo>
                  <a:lnTo>
                    <a:pt x="419" y="398"/>
                  </a:lnTo>
                  <a:lnTo>
                    <a:pt x="419" y="403"/>
                  </a:lnTo>
                  <a:lnTo>
                    <a:pt x="425" y="403"/>
                  </a:lnTo>
                  <a:lnTo>
                    <a:pt x="425" y="409"/>
                  </a:lnTo>
                  <a:lnTo>
                    <a:pt x="430" y="414"/>
                  </a:lnTo>
                  <a:lnTo>
                    <a:pt x="430" y="420"/>
                  </a:lnTo>
                  <a:lnTo>
                    <a:pt x="430" y="414"/>
                  </a:lnTo>
                  <a:lnTo>
                    <a:pt x="430" y="420"/>
                  </a:lnTo>
                  <a:lnTo>
                    <a:pt x="435" y="420"/>
                  </a:lnTo>
                  <a:lnTo>
                    <a:pt x="435" y="431"/>
                  </a:lnTo>
                  <a:lnTo>
                    <a:pt x="446" y="431"/>
                  </a:lnTo>
                  <a:lnTo>
                    <a:pt x="441" y="436"/>
                  </a:lnTo>
                  <a:lnTo>
                    <a:pt x="435" y="442"/>
                  </a:lnTo>
                  <a:lnTo>
                    <a:pt x="435" y="447"/>
                  </a:lnTo>
                  <a:lnTo>
                    <a:pt x="441" y="442"/>
                  </a:lnTo>
                  <a:lnTo>
                    <a:pt x="452" y="436"/>
                  </a:lnTo>
                  <a:lnTo>
                    <a:pt x="452" y="453"/>
                  </a:lnTo>
                  <a:lnTo>
                    <a:pt x="457" y="453"/>
                  </a:lnTo>
                  <a:lnTo>
                    <a:pt x="457" y="458"/>
                  </a:lnTo>
                  <a:lnTo>
                    <a:pt x="452" y="458"/>
                  </a:lnTo>
                  <a:lnTo>
                    <a:pt x="452" y="463"/>
                  </a:lnTo>
                  <a:lnTo>
                    <a:pt x="463" y="458"/>
                  </a:lnTo>
                  <a:lnTo>
                    <a:pt x="463" y="436"/>
                  </a:lnTo>
                  <a:lnTo>
                    <a:pt x="441" y="425"/>
                  </a:lnTo>
                  <a:lnTo>
                    <a:pt x="419" y="376"/>
                  </a:lnTo>
                  <a:lnTo>
                    <a:pt x="408" y="371"/>
                  </a:lnTo>
                  <a:lnTo>
                    <a:pt x="397" y="349"/>
                  </a:lnTo>
                  <a:lnTo>
                    <a:pt x="387" y="354"/>
                  </a:lnTo>
                  <a:lnTo>
                    <a:pt x="381" y="365"/>
                  </a:lnTo>
                  <a:lnTo>
                    <a:pt x="370" y="371"/>
                  </a:lnTo>
                  <a:lnTo>
                    <a:pt x="370" y="365"/>
                  </a:lnTo>
                  <a:lnTo>
                    <a:pt x="348" y="343"/>
                  </a:lnTo>
                  <a:lnTo>
                    <a:pt x="354" y="338"/>
                  </a:lnTo>
                  <a:lnTo>
                    <a:pt x="343" y="338"/>
                  </a:lnTo>
                  <a:lnTo>
                    <a:pt x="327" y="338"/>
                  </a:lnTo>
                  <a:lnTo>
                    <a:pt x="327" y="60"/>
                  </a:lnTo>
                  <a:lnTo>
                    <a:pt x="327" y="65"/>
                  </a:lnTo>
                  <a:lnTo>
                    <a:pt x="299" y="49"/>
                  </a:lnTo>
                  <a:lnTo>
                    <a:pt x="278" y="49"/>
                  </a:lnTo>
                  <a:lnTo>
                    <a:pt x="229" y="32"/>
                  </a:lnTo>
                  <a:lnTo>
                    <a:pt x="196" y="32"/>
                  </a:lnTo>
                  <a:lnTo>
                    <a:pt x="201" y="32"/>
                  </a:lnTo>
                  <a:lnTo>
                    <a:pt x="196" y="27"/>
                  </a:lnTo>
                  <a:lnTo>
                    <a:pt x="191" y="27"/>
                  </a:lnTo>
                  <a:lnTo>
                    <a:pt x="191" y="21"/>
                  </a:lnTo>
                  <a:lnTo>
                    <a:pt x="185" y="21"/>
                  </a:lnTo>
                  <a:lnTo>
                    <a:pt x="180" y="16"/>
                  </a:lnTo>
                  <a:lnTo>
                    <a:pt x="169" y="21"/>
                  </a:lnTo>
                  <a:lnTo>
                    <a:pt x="158" y="11"/>
                  </a:lnTo>
                  <a:lnTo>
                    <a:pt x="152" y="11"/>
                  </a:lnTo>
                  <a:lnTo>
                    <a:pt x="152" y="27"/>
                  </a:lnTo>
                  <a:lnTo>
                    <a:pt x="152" y="21"/>
                  </a:lnTo>
                  <a:lnTo>
                    <a:pt x="142" y="21"/>
                  </a:lnTo>
                  <a:lnTo>
                    <a:pt x="152" y="11"/>
                  </a:lnTo>
                  <a:lnTo>
                    <a:pt x="136" y="0"/>
                  </a:lnTo>
                  <a:lnTo>
                    <a:pt x="120" y="21"/>
                  </a:lnTo>
                  <a:lnTo>
                    <a:pt x="109" y="21"/>
                  </a:lnTo>
                  <a:lnTo>
                    <a:pt x="103" y="27"/>
                  </a:lnTo>
                  <a:lnTo>
                    <a:pt x="103" y="21"/>
                  </a:lnTo>
                  <a:lnTo>
                    <a:pt x="109" y="16"/>
                  </a:lnTo>
                  <a:lnTo>
                    <a:pt x="98" y="21"/>
                  </a:lnTo>
                  <a:lnTo>
                    <a:pt x="98" y="27"/>
                  </a:lnTo>
                  <a:lnTo>
                    <a:pt x="103" y="32"/>
                  </a:lnTo>
                  <a:lnTo>
                    <a:pt x="98" y="32"/>
                  </a:lnTo>
                  <a:lnTo>
                    <a:pt x="98" y="43"/>
                  </a:lnTo>
                  <a:lnTo>
                    <a:pt x="93" y="38"/>
                  </a:lnTo>
                  <a:lnTo>
                    <a:pt x="98" y="32"/>
                  </a:lnTo>
                  <a:lnTo>
                    <a:pt x="93" y="27"/>
                  </a:lnTo>
                  <a:lnTo>
                    <a:pt x="71" y="43"/>
                  </a:lnTo>
                  <a:lnTo>
                    <a:pt x="76" y="43"/>
                  </a:lnTo>
                  <a:lnTo>
                    <a:pt x="71" y="38"/>
                  </a:lnTo>
                  <a:lnTo>
                    <a:pt x="71" y="49"/>
                  </a:lnTo>
                  <a:lnTo>
                    <a:pt x="76" y="54"/>
                  </a:lnTo>
                  <a:lnTo>
                    <a:pt x="65" y="49"/>
                  </a:lnTo>
                  <a:lnTo>
                    <a:pt x="60" y="60"/>
                  </a:lnTo>
                  <a:lnTo>
                    <a:pt x="71" y="60"/>
                  </a:lnTo>
                  <a:lnTo>
                    <a:pt x="60" y="60"/>
                  </a:lnTo>
                  <a:lnTo>
                    <a:pt x="65" y="65"/>
                  </a:lnTo>
                  <a:lnTo>
                    <a:pt x="60" y="65"/>
                  </a:lnTo>
                  <a:lnTo>
                    <a:pt x="60" y="71"/>
                  </a:lnTo>
                  <a:lnTo>
                    <a:pt x="49" y="87"/>
                  </a:lnTo>
                  <a:lnTo>
                    <a:pt x="22" y="92"/>
                  </a:lnTo>
                  <a:lnTo>
                    <a:pt x="22" y="103"/>
                  </a:lnTo>
                  <a:lnTo>
                    <a:pt x="11" y="109"/>
                  </a:lnTo>
                  <a:lnTo>
                    <a:pt x="44" y="131"/>
                  </a:lnTo>
                  <a:lnTo>
                    <a:pt x="49" y="136"/>
                  </a:lnTo>
                  <a:lnTo>
                    <a:pt x="54" y="147"/>
                  </a:lnTo>
                  <a:lnTo>
                    <a:pt x="60" y="152"/>
                  </a:lnTo>
                  <a:lnTo>
                    <a:pt x="65" y="147"/>
                  </a:lnTo>
                  <a:lnTo>
                    <a:pt x="65" y="152"/>
                  </a:lnTo>
                  <a:lnTo>
                    <a:pt x="76" y="152"/>
                  </a:lnTo>
                  <a:lnTo>
                    <a:pt x="76" y="158"/>
                  </a:lnTo>
                  <a:lnTo>
                    <a:pt x="82" y="163"/>
                  </a:lnTo>
                  <a:lnTo>
                    <a:pt x="82" y="158"/>
                  </a:lnTo>
                  <a:lnTo>
                    <a:pt x="103" y="163"/>
                  </a:lnTo>
                  <a:lnTo>
                    <a:pt x="87" y="169"/>
                  </a:lnTo>
                  <a:lnTo>
                    <a:pt x="76" y="169"/>
                  </a:lnTo>
                  <a:lnTo>
                    <a:pt x="71" y="163"/>
                  </a:lnTo>
                  <a:lnTo>
                    <a:pt x="76" y="169"/>
                  </a:lnTo>
                  <a:lnTo>
                    <a:pt x="71" y="174"/>
                  </a:lnTo>
                  <a:lnTo>
                    <a:pt x="87" y="174"/>
                  </a:lnTo>
                  <a:lnTo>
                    <a:pt x="82" y="180"/>
                  </a:lnTo>
                  <a:lnTo>
                    <a:pt x="76" y="174"/>
                  </a:lnTo>
                  <a:lnTo>
                    <a:pt x="76" y="185"/>
                  </a:lnTo>
                  <a:lnTo>
                    <a:pt x="54" y="180"/>
                  </a:lnTo>
                  <a:lnTo>
                    <a:pt x="49" y="174"/>
                  </a:lnTo>
                  <a:lnTo>
                    <a:pt x="49" y="163"/>
                  </a:lnTo>
                  <a:lnTo>
                    <a:pt x="38" y="163"/>
                  </a:lnTo>
                  <a:lnTo>
                    <a:pt x="27" y="174"/>
                  </a:lnTo>
                  <a:lnTo>
                    <a:pt x="27" y="180"/>
                  </a:lnTo>
                  <a:lnTo>
                    <a:pt x="22" y="180"/>
                  </a:lnTo>
                  <a:lnTo>
                    <a:pt x="0" y="191"/>
                  </a:lnTo>
                  <a:lnTo>
                    <a:pt x="6" y="202"/>
                  </a:lnTo>
                  <a:lnTo>
                    <a:pt x="22" y="202"/>
                  </a:lnTo>
                  <a:lnTo>
                    <a:pt x="11" y="207"/>
                  </a:lnTo>
                  <a:lnTo>
                    <a:pt x="22" y="223"/>
                  </a:lnTo>
                  <a:lnTo>
                    <a:pt x="38" y="229"/>
                  </a:lnTo>
                  <a:lnTo>
                    <a:pt x="54" y="223"/>
                  </a:lnTo>
                  <a:lnTo>
                    <a:pt x="60" y="229"/>
                  </a:lnTo>
                  <a:lnTo>
                    <a:pt x="60" y="223"/>
                  </a:lnTo>
                  <a:lnTo>
                    <a:pt x="54" y="223"/>
                  </a:lnTo>
                  <a:lnTo>
                    <a:pt x="60" y="223"/>
                  </a:lnTo>
                  <a:lnTo>
                    <a:pt x="65" y="234"/>
                  </a:lnTo>
                  <a:lnTo>
                    <a:pt x="76" y="218"/>
                  </a:lnTo>
                  <a:lnTo>
                    <a:pt x="87" y="218"/>
                  </a:lnTo>
                  <a:lnTo>
                    <a:pt x="87" y="223"/>
                  </a:lnTo>
                  <a:lnTo>
                    <a:pt x="76" y="223"/>
                  </a:lnTo>
                  <a:lnTo>
                    <a:pt x="87" y="245"/>
                  </a:lnTo>
                  <a:lnTo>
                    <a:pt x="82" y="251"/>
                  </a:lnTo>
                  <a:lnTo>
                    <a:pt x="71" y="256"/>
                  </a:lnTo>
                  <a:lnTo>
                    <a:pt x="60" y="267"/>
                  </a:lnTo>
                  <a:lnTo>
                    <a:pt x="49" y="267"/>
                  </a:lnTo>
                  <a:lnTo>
                    <a:pt x="49" y="272"/>
                  </a:lnTo>
                  <a:lnTo>
                    <a:pt x="38" y="272"/>
                  </a:lnTo>
                  <a:lnTo>
                    <a:pt x="27" y="283"/>
                  </a:lnTo>
                  <a:lnTo>
                    <a:pt x="27" y="294"/>
                  </a:lnTo>
                  <a:lnTo>
                    <a:pt x="22" y="300"/>
                  </a:lnTo>
                  <a:lnTo>
                    <a:pt x="22" y="305"/>
                  </a:lnTo>
                  <a:lnTo>
                    <a:pt x="33" y="305"/>
                  </a:lnTo>
                  <a:lnTo>
                    <a:pt x="22" y="311"/>
                  </a:lnTo>
                  <a:lnTo>
                    <a:pt x="33" y="311"/>
                  </a:lnTo>
                  <a:lnTo>
                    <a:pt x="27" y="316"/>
                  </a:lnTo>
                  <a:lnTo>
                    <a:pt x="33" y="322"/>
                  </a:lnTo>
                  <a:lnTo>
                    <a:pt x="38" y="316"/>
                  </a:lnTo>
                  <a:lnTo>
                    <a:pt x="38" y="322"/>
                  </a:lnTo>
                  <a:lnTo>
                    <a:pt x="49" y="322"/>
                  </a:lnTo>
                  <a:lnTo>
                    <a:pt x="38" y="338"/>
                  </a:lnTo>
                  <a:lnTo>
                    <a:pt x="44" y="343"/>
                  </a:lnTo>
                  <a:lnTo>
                    <a:pt x="49" y="343"/>
                  </a:lnTo>
                  <a:lnTo>
                    <a:pt x="44" y="349"/>
                  </a:lnTo>
                  <a:lnTo>
                    <a:pt x="49" y="354"/>
                  </a:lnTo>
                  <a:lnTo>
                    <a:pt x="60" y="354"/>
                  </a:lnTo>
                  <a:lnTo>
                    <a:pt x="65" y="338"/>
                  </a:lnTo>
                  <a:lnTo>
                    <a:pt x="71" y="332"/>
                  </a:lnTo>
                  <a:lnTo>
                    <a:pt x="76" y="322"/>
                  </a:lnTo>
                  <a:lnTo>
                    <a:pt x="65" y="338"/>
                  </a:lnTo>
                  <a:lnTo>
                    <a:pt x="76" y="354"/>
                  </a:lnTo>
                  <a:lnTo>
                    <a:pt x="71" y="365"/>
                  </a:lnTo>
                  <a:lnTo>
                    <a:pt x="76" y="365"/>
                  </a:lnTo>
                  <a:lnTo>
                    <a:pt x="76" y="371"/>
                  </a:lnTo>
                  <a:lnTo>
                    <a:pt x="76" y="376"/>
                  </a:lnTo>
                  <a:lnTo>
                    <a:pt x="71" y="376"/>
                  </a:lnTo>
                  <a:lnTo>
                    <a:pt x="87" y="371"/>
                  </a:lnTo>
                  <a:lnTo>
                    <a:pt x="93" y="360"/>
                  </a:lnTo>
                  <a:lnTo>
                    <a:pt x="93" y="371"/>
                  </a:lnTo>
                  <a:lnTo>
                    <a:pt x="98" y="371"/>
                  </a:lnTo>
                  <a:lnTo>
                    <a:pt x="109" y="382"/>
                  </a:lnTo>
                  <a:lnTo>
                    <a:pt x="109" y="376"/>
                  </a:lnTo>
                  <a:lnTo>
                    <a:pt x="114" y="371"/>
                  </a:lnTo>
                  <a:lnTo>
                    <a:pt x="120" y="376"/>
                  </a:lnTo>
                  <a:lnTo>
                    <a:pt x="136" y="365"/>
                  </a:lnTo>
                  <a:lnTo>
                    <a:pt x="125" y="376"/>
                  </a:lnTo>
                  <a:lnTo>
                    <a:pt x="125" y="387"/>
                  </a:lnTo>
                  <a:lnTo>
                    <a:pt x="131" y="387"/>
                  </a:lnTo>
                  <a:lnTo>
                    <a:pt x="120" y="409"/>
                  </a:lnTo>
                  <a:lnTo>
                    <a:pt x="114" y="414"/>
                  </a:lnTo>
                  <a:lnTo>
                    <a:pt x="114" y="420"/>
                  </a:lnTo>
                  <a:lnTo>
                    <a:pt x="93" y="431"/>
                  </a:lnTo>
                  <a:lnTo>
                    <a:pt x="87" y="442"/>
                  </a:lnTo>
                  <a:lnTo>
                    <a:pt x="93" y="442"/>
                  </a:lnTo>
                  <a:lnTo>
                    <a:pt x="82" y="436"/>
                  </a:lnTo>
                  <a:lnTo>
                    <a:pt x="54" y="45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5" name="Freeform 787"/>
            <p:cNvSpPr>
              <a:spLocks/>
            </p:cNvSpPr>
            <p:nvPr/>
          </p:nvSpPr>
          <p:spPr bwMode="auto">
            <a:xfrm>
              <a:off x="1811" y="2363"/>
              <a:ext cx="22" cy="11"/>
            </a:xfrm>
            <a:custGeom>
              <a:avLst/>
              <a:gdLst>
                <a:gd name="T0" fmla="*/ 22 w 22"/>
                <a:gd name="T1" fmla="*/ 0 h 11"/>
                <a:gd name="T2" fmla="*/ 16 w 22"/>
                <a:gd name="T3" fmla="*/ 6 h 11"/>
                <a:gd name="T4" fmla="*/ 0 w 22"/>
                <a:gd name="T5" fmla="*/ 11 h 11"/>
                <a:gd name="T6" fmla="*/ 0 w 22"/>
                <a:gd name="T7" fmla="*/ 6 h 11"/>
                <a:gd name="T8" fmla="*/ 22 w 22"/>
                <a:gd name="T9" fmla="*/ 0 h 11"/>
                <a:gd name="T10" fmla="*/ 0 60000 65536"/>
                <a:gd name="T11" fmla="*/ 0 60000 65536"/>
                <a:gd name="T12" fmla="*/ 0 60000 65536"/>
                <a:gd name="T13" fmla="*/ 0 60000 65536"/>
                <a:gd name="T14" fmla="*/ 0 60000 65536"/>
                <a:gd name="T15" fmla="*/ 0 w 22"/>
                <a:gd name="T16" fmla="*/ 0 h 11"/>
                <a:gd name="T17" fmla="*/ 22 w 22"/>
                <a:gd name="T18" fmla="*/ 11 h 11"/>
              </a:gdLst>
              <a:ahLst/>
              <a:cxnLst>
                <a:cxn ang="T10">
                  <a:pos x="T0" y="T1"/>
                </a:cxn>
                <a:cxn ang="T11">
                  <a:pos x="T2" y="T3"/>
                </a:cxn>
                <a:cxn ang="T12">
                  <a:pos x="T4" y="T5"/>
                </a:cxn>
                <a:cxn ang="T13">
                  <a:pos x="T6" y="T7"/>
                </a:cxn>
                <a:cxn ang="T14">
                  <a:pos x="T8" y="T9"/>
                </a:cxn>
              </a:cxnLst>
              <a:rect l="T15" t="T16" r="T17" b="T18"/>
              <a:pathLst>
                <a:path w="22" h="11">
                  <a:moveTo>
                    <a:pt x="22" y="0"/>
                  </a:moveTo>
                  <a:lnTo>
                    <a:pt x="16" y="6"/>
                  </a:lnTo>
                  <a:lnTo>
                    <a:pt x="0" y="11"/>
                  </a:lnTo>
                  <a:lnTo>
                    <a:pt x="0" y="6"/>
                  </a:lnTo>
                  <a:lnTo>
                    <a:pt x="22"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6" name="Freeform 788"/>
            <p:cNvSpPr>
              <a:spLocks/>
            </p:cNvSpPr>
            <p:nvPr/>
          </p:nvSpPr>
          <p:spPr bwMode="auto">
            <a:xfrm>
              <a:off x="837" y="2031"/>
              <a:ext cx="11" cy="10"/>
            </a:xfrm>
            <a:custGeom>
              <a:avLst/>
              <a:gdLst>
                <a:gd name="T0" fmla="*/ 5 w 11"/>
                <a:gd name="T1" fmla="*/ 5 h 10"/>
                <a:gd name="T2" fmla="*/ 5 w 11"/>
                <a:gd name="T3" fmla="*/ 0 h 10"/>
                <a:gd name="T4" fmla="*/ 5 w 11"/>
                <a:gd name="T5" fmla="*/ 0 h 10"/>
                <a:gd name="T6" fmla="*/ 11 w 11"/>
                <a:gd name="T7" fmla="*/ 0 h 10"/>
                <a:gd name="T8" fmla="*/ 11 w 11"/>
                <a:gd name="T9" fmla="*/ 0 h 10"/>
                <a:gd name="T10" fmla="*/ 11 w 11"/>
                <a:gd name="T11" fmla="*/ 0 h 10"/>
                <a:gd name="T12" fmla="*/ 11 w 11"/>
                <a:gd name="T13" fmla="*/ 5 h 10"/>
                <a:gd name="T14" fmla="*/ 5 w 11"/>
                <a:gd name="T15" fmla="*/ 10 h 10"/>
                <a:gd name="T16" fmla="*/ 0 w 11"/>
                <a:gd name="T17" fmla="*/ 5 h 10"/>
                <a:gd name="T18" fmla="*/ 5 w 11"/>
                <a:gd name="T19" fmla="*/ 5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0"/>
                <a:gd name="T32" fmla="*/ 11 w 11"/>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0">
                  <a:moveTo>
                    <a:pt x="5" y="5"/>
                  </a:moveTo>
                  <a:lnTo>
                    <a:pt x="5" y="0"/>
                  </a:lnTo>
                  <a:lnTo>
                    <a:pt x="11" y="0"/>
                  </a:lnTo>
                  <a:lnTo>
                    <a:pt x="11" y="5"/>
                  </a:lnTo>
                  <a:lnTo>
                    <a:pt x="5" y="10"/>
                  </a:lnTo>
                  <a:lnTo>
                    <a:pt x="0" y="5"/>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7" name="Freeform 789"/>
            <p:cNvSpPr>
              <a:spLocks/>
            </p:cNvSpPr>
            <p:nvPr/>
          </p:nvSpPr>
          <p:spPr bwMode="auto">
            <a:xfrm>
              <a:off x="815" y="2041"/>
              <a:ext cx="33" cy="28"/>
            </a:xfrm>
            <a:custGeom>
              <a:avLst/>
              <a:gdLst>
                <a:gd name="T0" fmla="*/ 0 w 33"/>
                <a:gd name="T1" fmla="*/ 17 h 28"/>
                <a:gd name="T2" fmla="*/ 11 w 33"/>
                <a:gd name="T3" fmla="*/ 6 h 28"/>
                <a:gd name="T4" fmla="*/ 16 w 33"/>
                <a:gd name="T5" fmla="*/ 11 h 28"/>
                <a:gd name="T6" fmla="*/ 16 w 33"/>
                <a:gd name="T7" fmla="*/ 11 h 28"/>
                <a:gd name="T8" fmla="*/ 11 w 33"/>
                <a:gd name="T9" fmla="*/ 6 h 28"/>
                <a:gd name="T10" fmla="*/ 16 w 33"/>
                <a:gd name="T11" fmla="*/ 6 h 28"/>
                <a:gd name="T12" fmla="*/ 22 w 33"/>
                <a:gd name="T13" fmla="*/ 6 h 28"/>
                <a:gd name="T14" fmla="*/ 22 w 33"/>
                <a:gd name="T15" fmla="*/ 0 h 28"/>
                <a:gd name="T16" fmla="*/ 27 w 33"/>
                <a:gd name="T17" fmla="*/ 6 h 28"/>
                <a:gd name="T18" fmla="*/ 27 w 33"/>
                <a:gd name="T19" fmla="*/ 0 h 28"/>
                <a:gd name="T20" fmla="*/ 27 w 33"/>
                <a:gd name="T21" fmla="*/ 11 h 28"/>
                <a:gd name="T22" fmla="*/ 33 w 33"/>
                <a:gd name="T23" fmla="*/ 11 h 28"/>
                <a:gd name="T24" fmla="*/ 33 w 33"/>
                <a:gd name="T25" fmla="*/ 11 h 28"/>
                <a:gd name="T26" fmla="*/ 27 w 33"/>
                <a:gd name="T27" fmla="*/ 11 h 28"/>
                <a:gd name="T28" fmla="*/ 27 w 33"/>
                <a:gd name="T29" fmla="*/ 17 h 28"/>
                <a:gd name="T30" fmla="*/ 22 w 33"/>
                <a:gd name="T31" fmla="*/ 17 h 28"/>
                <a:gd name="T32" fmla="*/ 11 w 33"/>
                <a:gd name="T33" fmla="*/ 28 h 28"/>
                <a:gd name="T34" fmla="*/ 11 w 33"/>
                <a:gd name="T35" fmla="*/ 22 h 28"/>
                <a:gd name="T36" fmla="*/ 11 w 33"/>
                <a:gd name="T37" fmla="*/ 22 h 28"/>
                <a:gd name="T38" fmla="*/ 5 w 33"/>
                <a:gd name="T39" fmla="*/ 17 h 28"/>
                <a:gd name="T40" fmla="*/ 11 w 33"/>
                <a:gd name="T41" fmla="*/ 22 h 28"/>
                <a:gd name="T42" fmla="*/ 11 w 33"/>
                <a:gd name="T43" fmla="*/ 28 h 28"/>
                <a:gd name="T44" fmla="*/ 0 w 33"/>
                <a:gd name="T45" fmla="*/ 17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
                <a:gd name="T70" fmla="*/ 0 h 28"/>
                <a:gd name="T71" fmla="*/ 33 w 33"/>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 h="28">
                  <a:moveTo>
                    <a:pt x="0" y="17"/>
                  </a:moveTo>
                  <a:lnTo>
                    <a:pt x="11" y="6"/>
                  </a:lnTo>
                  <a:lnTo>
                    <a:pt x="16" y="11"/>
                  </a:lnTo>
                  <a:lnTo>
                    <a:pt x="11" y="6"/>
                  </a:lnTo>
                  <a:lnTo>
                    <a:pt x="16" y="6"/>
                  </a:lnTo>
                  <a:lnTo>
                    <a:pt x="22" y="6"/>
                  </a:lnTo>
                  <a:lnTo>
                    <a:pt x="22" y="0"/>
                  </a:lnTo>
                  <a:lnTo>
                    <a:pt x="27" y="6"/>
                  </a:lnTo>
                  <a:lnTo>
                    <a:pt x="27" y="0"/>
                  </a:lnTo>
                  <a:lnTo>
                    <a:pt x="27" y="11"/>
                  </a:lnTo>
                  <a:lnTo>
                    <a:pt x="33" y="11"/>
                  </a:lnTo>
                  <a:lnTo>
                    <a:pt x="27" y="11"/>
                  </a:lnTo>
                  <a:lnTo>
                    <a:pt x="27" y="17"/>
                  </a:lnTo>
                  <a:lnTo>
                    <a:pt x="22" y="17"/>
                  </a:lnTo>
                  <a:lnTo>
                    <a:pt x="11" y="28"/>
                  </a:lnTo>
                  <a:lnTo>
                    <a:pt x="11" y="22"/>
                  </a:lnTo>
                  <a:lnTo>
                    <a:pt x="5" y="17"/>
                  </a:lnTo>
                  <a:lnTo>
                    <a:pt x="11" y="22"/>
                  </a:lnTo>
                  <a:lnTo>
                    <a:pt x="11" y="28"/>
                  </a:lnTo>
                  <a:lnTo>
                    <a:pt x="0" y="1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8" name="Freeform 790"/>
            <p:cNvSpPr>
              <a:spLocks/>
            </p:cNvSpPr>
            <p:nvPr/>
          </p:nvSpPr>
          <p:spPr bwMode="auto">
            <a:xfrm>
              <a:off x="820" y="2074"/>
              <a:ext cx="0" cy="6"/>
            </a:xfrm>
            <a:custGeom>
              <a:avLst/>
              <a:gdLst>
                <a:gd name="T0" fmla="*/ 0 h 6"/>
                <a:gd name="T1" fmla="*/ 0 h 6"/>
                <a:gd name="T2" fmla="*/ 6 h 6"/>
                <a:gd name="T3" fmla="*/ 0 h 6"/>
                <a:gd name="T4" fmla="*/ 0 60000 65536"/>
                <a:gd name="T5" fmla="*/ 0 60000 65536"/>
                <a:gd name="T6" fmla="*/ 0 60000 65536"/>
                <a:gd name="T7" fmla="*/ 0 60000 65536"/>
                <a:gd name="T8" fmla="*/ 0 h 6"/>
                <a:gd name="T9" fmla="*/ 6 h 6"/>
              </a:gdLst>
              <a:ahLst/>
              <a:cxnLst>
                <a:cxn ang="T4">
                  <a:pos x="0" y="T0"/>
                </a:cxn>
                <a:cxn ang="T5">
                  <a:pos x="0" y="T1"/>
                </a:cxn>
                <a:cxn ang="T6">
                  <a:pos x="0" y="T2"/>
                </a:cxn>
                <a:cxn ang="T7">
                  <a:pos x="0" y="T3"/>
                </a:cxn>
              </a:cxnLst>
              <a:rect l="0" t="T8" r="0" b="T9"/>
              <a:pathLst>
                <a:path h="6">
                  <a:moveTo>
                    <a:pt x="0" y="0"/>
                  </a:moveTo>
                  <a:lnTo>
                    <a:pt x="0" y="0"/>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69" name="Freeform 791"/>
            <p:cNvSpPr>
              <a:spLocks/>
            </p:cNvSpPr>
            <p:nvPr/>
          </p:nvSpPr>
          <p:spPr bwMode="auto">
            <a:xfrm>
              <a:off x="771" y="2080"/>
              <a:ext cx="0" cy="5"/>
            </a:xfrm>
            <a:custGeom>
              <a:avLst/>
              <a:gdLst>
                <a:gd name="T0" fmla="*/ 0 h 5"/>
                <a:gd name="T1" fmla="*/ 0 h 5"/>
                <a:gd name="T2" fmla="*/ 5 h 5"/>
                <a:gd name="T3" fmla="*/ 0 h 5"/>
                <a:gd name="T4" fmla="*/ 0 60000 65536"/>
                <a:gd name="T5" fmla="*/ 0 60000 65536"/>
                <a:gd name="T6" fmla="*/ 0 60000 65536"/>
                <a:gd name="T7" fmla="*/ 0 60000 65536"/>
                <a:gd name="T8" fmla="*/ 0 h 5"/>
                <a:gd name="T9" fmla="*/ 5 h 5"/>
              </a:gdLst>
              <a:ahLst/>
              <a:cxnLst>
                <a:cxn ang="T4">
                  <a:pos x="0" y="T0"/>
                </a:cxn>
                <a:cxn ang="T5">
                  <a:pos x="0" y="T1"/>
                </a:cxn>
                <a:cxn ang="T6">
                  <a:pos x="0" y="T2"/>
                </a:cxn>
                <a:cxn ang="T7">
                  <a:pos x="0" y="T3"/>
                </a:cxn>
              </a:cxnLst>
              <a:rect l="0" t="T8" r="0" b="T9"/>
              <a:pathLst>
                <a:path h="5">
                  <a:moveTo>
                    <a:pt x="0" y="0"/>
                  </a:moveTo>
                  <a:lnTo>
                    <a:pt x="0"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0" name="Rectangle 792"/>
            <p:cNvSpPr>
              <a:spLocks noChangeArrowheads="1"/>
            </p:cNvSpPr>
            <p:nvPr/>
          </p:nvSpPr>
          <p:spPr bwMode="auto">
            <a:xfrm>
              <a:off x="744" y="2102"/>
              <a:ext cx="1"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771" name="Freeform 793"/>
            <p:cNvSpPr>
              <a:spLocks/>
            </p:cNvSpPr>
            <p:nvPr/>
          </p:nvSpPr>
          <p:spPr bwMode="auto">
            <a:xfrm>
              <a:off x="690" y="2107"/>
              <a:ext cx="21" cy="16"/>
            </a:xfrm>
            <a:custGeom>
              <a:avLst/>
              <a:gdLst>
                <a:gd name="T0" fmla="*/ 0 w 21"/>
                <a:gd name="T1" fmla="*/ 11 h 16"/>
                <a:gd name="T2" fmla="*/ 5 w 21"/>
                <a:gd name="T3" fmla="*/ 0 h 16"/>
                <a:gd name="T4" fmla="*/ 16 w 21"/>
                <a:gd name="T5" fmla="*/ 0 h 16"/>
                <a:gd name="T6" fmla="*/ 21 w 21"/>
                <a:gd name="T7" fmla="*/ 5 h 16"/>
                <a:gd name="T8" fmla="*/ 11 w 21"/>
                <a:gd name="T9" fmla="*/ 5 h 16"/>
                <a:gd name="T10" fmla="*/ 5 w 21"/>
                <a:gd name="T11" fmla="*/ 16 h 16"/>
                <a:gd name="T12" fmla="*/ 0 w 21"/>
                <a:gd name="T13" fmla="*/ 11 h 16"/>
                <a:gd name="T14" fmla="*/ 0 60000 65536"/>
                <a:gd name="T15" fmla="*/ 0 60000 65536"/>
                <a:gd name="T16" fmla="*/ 0 60000 65536"/>
                <a:gd name="T17" fmla="*/ 0 60000 65536"/>
                <a:gd name="T18" fmla="*/ 0 60000 65536"/>
                <a:gd name="T19" fmla="*/ 0 60000 65536"/>
                <a:gd name="T20" fmla="*/ 0 60000 65536"/>
                <a:gd name="T21" fmla="*/ 0 w 21"/>
                <a:gd name="T22" fmla="*/ 0 h 16"/>
                <a:gd name="T23" fmla="*/ 21 w 21"/>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6">
                  <a:moveTo>
                    <a:pt x="0" y="11"/>
                  </a:moveTo>
                  <a:lnTo>
                    <a:pt x="5" y="0"/>
                  </a:lnTo>
                  <a:lnTo>
                    <a:pt x="16" y="0"/>
                  </a:lnTo>
                  <a:lnTo>
                    <a:pt x="21" y="5"/>
                  </a:lnTo>
                  <a:lnTo>
                    <a:pt x="11" y="5"/>
                  </a:lnTo>
                  <a:lnTo>
                    <a:pt x="5" y="16"/>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2" name="Freeform 794"/>
            <p:cNvSpPr>
              <a:spLocks/>
            </p:cNvSpPr>
            <p:nvPr/>
          </p:nvSpPr>
          <p:spPr bwMode="auto">
            <a:xfrm>
              <a:off x="679" y="2123"/>
              <a:ext cx="5" cy="6"/>
            </a:xfrm>
            <a:custGeom>
              <a:avLst/>
              <a:gdLst>
                <a:gd name="T0" fmla="*/ 0 w 5"/>
                <a:gd name="T1" fmla="*/ 0 h 6"/>
                <a:gd name="T2" fmla="*/ 5 w 5"/>
                <a:gd name="T3" fmla="*/ 6 h 6"/>
                <a:gd name="T4" fmla="*/ 0 w 5"/>
                <a:gd name="T5" fmla="*/ 6 h 6"/>
                <a:gd name="T6" fmla="*/ 0 w 5"/>
                <a:gd name="T7" fmla="*/ 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0" y="0"/>
                  </a:moveTo>
                  <a:lnTo>
                    <a:pt x="5"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3" name="Freeform 795"/>
            <p:cNvSpPr>
              <a:spLocks/>
            </p:cNvSpPr>
            <p:nvPr/>
          </p:nvSpPr>
          <p:spPr bwMode="auto">
            <a:xfrm>
              <a:off x="657" y="2129"/>
              <a:ext cx="16" cy="16"/>
            </a:xfrm>
            <a:custGeom>
              <a:avLst/>
              <a:gdLst>
                <a:gd name="T0" fmla="*/ 0 w 16"/>
                <a:gd name="T1" fmla="*/ 16 h 16"/>
                <a:gd name="T2" fmla="*/ 11 w 16"/>
                <a:gd name="T3" fmla="*/ 5 h 16"/>
                <a:gd name="T4" fmla="*/ 6 w 16"/>
                <a:gd name="T5" fmla="*/ 0 h 16"/>
                <a:gd name="T6" fmla="*/ 16 w 16"/>
                <a:gd name="T7" fmla="*/ 0 h 16"/>
                <a:gd name="T8" fmla="*/ 16 w 16"/>
                <a:gd name="T9" fmla="*/ 5 h 16"/>
                <a:gd name="T10" fmla="*/ 16 w 16"/>
                <a:gd name="T11" fmla="*/ 5 h 16"/>
                <a:gd name="T12" fmla="*/ 11 w 16"/>
                <a:gd name="T13" fmla="*/ 11 h 16"/>
                <a:gd name="T14" fmla="*/ 0 w 16"/>
                <a:gd name="T15" fmla="*/ 16 h 16"/>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6"/>
                <a:gd name="T26" fmla="*/ 16 w 16"/>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6">
                  <a:moveTo>
                    <a:pt x="0" y="16"/>
                  </a:moveTo>
                  <a:lnTo>
                    <a:pt x="11" y="5"/>
                  </a:lnTo>
                  <a:lnTo>
                    <a:pt x="6" y="0"/>
                  </a:lnTo>
                  <a:lnTo>
                    <a:pt x="16" y="0"/>
                  </a:lnTo>
                  <a:lnTo>
                    <a:pt x="16" y="5"/>
                  </a:lnTo>
                  <a:lnTo>
                    <a:pt x="11" y="11"/>
                  </a:lnTo>
                  <a:lnTo>
                    <a:pt x="0"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4" name="Freeform 796"/>
            <p:cNvSpPr>
              <a:spLocks/>
            </p:cNvSpPr>
            <p:nvPr/>
          </p:nvSpPr>
          <p:spPr bwMode="auto">
            <a:xfrm>
              <a:off x="1528" y="2560"/>
              <a:ext cx="5" cy="5"/>
            </a:xfrm>
            <a:custGeom>
              <a:avLst/>
              <a:gdLst>
                <a:gd name="T0" fmla="*/ 0 w 5"/>
                <a:gd name="T1" fmla="*/ 0 h 5"/>
                <a:gd name="T2" fmla="*/ 5 w 5"/>
                <a:gd name="T3" fmla="*/ 0 h 5"/>
                <a:gd name="T4" fmla="*/ 0 w 5"/>
                <a:gd name="T5" fmla="*/ 5 h 5"/>
                <a:gd name="T6" fmla="*/ 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0"/>
                  </a:moveTo>
                  <a:lnTo>
                    <a:pt x="5" y="0"/>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5" name="Freeform 797"/>
            <p:cNvSpPr>
              <a:spLocks/>
            </p:cNvSpPr>
            <p:nvPr/>
          </p:nvSpPr>
          <p:spPr bwMode="auto">
            <a:xfrm>
              <a:off x="1245" y="2473"/>
              <a:ext cx="5" cy="5"/>
            </a:xfrm>
            <a:custGeom>
              <a:avLst/>
              <a:gdLst>
                <a:gd name="T0" fmla="*/ 0 w 5"/>
                <a:gd name="T1" fmla="*/ 0 h 5"/>
                <a:gd name="T2" fmla="*/ 5 w 5"/>
                <a:gd name="T3" fmla="*/ 5 h 5"/>
                <a:gd name="T4" fmla="*/ 5 w 5"/>
                <a:gd name="T5" fmla="*/ 5 h 5"/>
                <a:gd name="T6" fmla="*/ 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0"/>
                  </a:moveTo>
                  <a:lnTo>
                    <a:pt x="5"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6" name="Freeform 798"/>
            <p:cNvSpPr>
              <a:spLocks/>
            </p:cNvSpPr>
            <p:nvPr/>
          </p:nvSpPr>
          <p:spPr bwMode="auto">
            <a:xfrm>
              <a:off x="902" y="1981"/>
              <a:ext cx="11" cy="17"/>
            </a:xfrm>
            <a:custGeom>
              <a:avLst/>
              <a:gdLst>
                <a:gd name="T0" fmla="*/ 0 w 11"/>
                <a:gd name="T1" fmla="*/ 11 h 17"/>
                <a:gd name="T2" fmla="*/ 11 w 11"/>
                <a:gd name="T3" fmla="*/ 0 h 17"/>
                <a:gd name="T4" fmla="*/ 11 w 11"/>
                <a:gd name="T5" fmla="*/ 6 h 17"/>
                <a:gd name="T6" fmla="*/ 5 w 11"/>
                <a:gd name="T7" fmla="*/ 17 h 17"/>
                <a:gd name="T8" fmla="*/ 0 w 11"/>
                <a:gd name="T9" fmla="*/ 17 h 17"/>
                <a:gd name="T10" fmla="*/ 0 w 11"/>
                <a:gd name="T11" fmla="*/ 11 h 17"/>
                <a:gd name="T12" fmla="*/ 0 60000 65536"/>
                <a:gd name="T13" fmla="*/ 0 60000 65536"/>
                <a:gd name="T14" fmla="*/ 0 60000 65536"/>
                <a:gd name="T15" fmla="*/ 0 60000 65536"/>
                <a:gd name="T16" fmla="*/ 0 60000 65536"/>
                <a:gd name="T17" fmla="*/ 0 60000 65536"/>
                <a:gd name="T18" fmla="*/ 0 w 11"/>
                <a:gd name="T19" fmla="*/ 0 h 17"/>
                <a:gd name="T20" fmla="*/ 11 w 11"/>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1" h="17">
                  <a:moveTo>
                    <a:pt x="0" y="11"/>
                  </a:moveTo>
                  <a:lnTo>
                    <a:pt x="11" y="0"/>
                  </a:lnTo>
                  <a:lnTo>
                    <a:pt x="11" y="6"/>
                  </a:lnTo>
                  <a:lnTo>
                    <a:pt x="5" y="17"/>
                  </a:lnTo>
                  <a:lnTo>
                    <a:pt x="0" y="17"/>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7" name="Freeform 799"/>
            <p:cNvSpPr>
              <a:spLocks/>
            </p:cNvSpPr>
            <p:nvPr/>
          </p:nvSpPr>
          <p:spPr bwMode="auto">
            <a:xfrm>
              <a:off x="1082" y="2102"/>
              <a:ext cx="5" cy="10"/>
            </a:xfrm>
            <a:custGeom>
              <a:avLst/>
              <a:gdLst>
                <a:gd name="T0" fmla="*/ 5 w 5"/>
                <a:gd name="T1" fmla="*/ 5 h 10"/>
                <a:gd name="T2" fmla="*/ 5 w 5"/>
                <a:gd name="T3" fmla="*/ 10 h 10"/>
                <a:gd name="T4" fmla="*/ 0 w 5"/>
                <a:gd name="T5" fmla="*/ 5 h 10"/>
                <a:gd name="T6" fmla="*/ 0 w 5"/>
                <a:gd name="T7" fmla="*/ 0 h 10"/>
                <a:gd name="T8" fmla="*/ 5 w 5"/>
                <a:gd name="T9" fmla="*/ 5 h 10"/>
                <a:gd name="T10" fmla="*/ 0 60000 65536"/>
                <a:gd name="T11" fmla="*/ 0 60000 65536"/>
                <a:gd name="T12" fmla="*/ 0 60000 65536"/>
                <a:gd name="T13" fmla="*/ 0 60000 65536"/>
                <a:gd name="T14" fmla="*/ 0 60000 65536"/>
                <a:gd name="T15" fmla="*/ 0 w 5"/>
                <a:gd name="T16" fmla="*/ 0 h 10"/>
                <a:gd name="T17" fmla="*/ 5 w 5"/>
                <a:gd name="T18" fmla="*/ 10 h 10"/>
              </a:gdLst>
              <a:ahLst/>
              <a:cxnLst>
                <a:cxn ang="T10">
                  <a:pos x="T0" y="T1"/>
                </a:cxn>
                <a:cxn ang="T11">
                  <a:pos x="T2" y="T3"/>
                </a:cxn>
                <a:cxn ang="T12">
                  <a:pos x="T4" y="T5"/>
                </a:cxn>
                <a:cxn ang="T13">
                  <a:pos x="T6" y="T7"/>
                </a:cxn>
                <a:cxn ang="T14">
                  <a:pos x="T8" y="T9"/>
                </a:cxn>
              </a:cxnLst>
              <a:rect l="T15" t="T16" r="T17" b="T18"/>
              <a:pathLst>
                <a:path w="5" h="10">
                  <a:moveTo>
                    <a:pt x="5" y="5"/>
                  </a:moveTo>
                  <a:lnTo>
                    <a:pt x="5" y="10"/>
                  </a:lnTo>
                  <a:lnTo>
                    <a:pt x="0" y="5"/>
                  </a:lnTo>
                  <a:lnTo>
                    <a:pt x="0" y="0"/>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8" name="Freeform 800"/>
            <p:cNvSpPr>
              <a:spLocks/>
            </p:cNvSpPr>
            <p:nvPr/>
          </p:nvSpPr>
          <p:spPr bwMode="auto">
            <a:xfrm>
              <a:off x="1098" y="2091"/>
              <a:ext cx="11" cy="11"/>
            </a:xfrm>
            <a:custGeom>
              <a:avLst/>
              <a:gdLst>
                <a:gd name="T0" fmla="*/ 5 w 11"/>
                <a:gd name="T1" fmla="*/ 11 h 11"/>
                <a:gd name="T2" fmla="*/ 11 w 11"/>
                <a:gd name="T3" fmla="*/ 11 h 11"/>
                <a:gd name="T4" fmla="*/ 11 w 11"/>
                <a:gd name="T5" fmla="*/ 0 h 11"/>
                <a:gd name="T6" fmla="*/ 5 w 11"/>
                <a:gd name="T7" fmla="*/ 0 h 11"/>
                <a:gd name="T8" fmla="*/ 0 w 11"/>
                <a:gd name="T9" fmla="*/ 5 h 11"/>
                <a:gd name="T10" fmla="*/ 5 w 11"/>
                <a:gd name="T11" fmla="*/ 11 h 11"/>
                <a:gd name="T12" fmla="*/ 5 w 11"/>
                <a:gd name="T13" fmla="*/ 5 h 11"/>
                <a:gd name="T14" fmla="*/ 5 w 11"/>
                <a:gd name="T15" fmla="*/ 11 h 11"/>
                <a:gd name="T16" fmla="*/ 0 60000 65536"/>
                <a:gd name="T17" fmla="*/ 0 60000 65536"/>
                <a:gd name="T18" fmla="*/ 0 60000 65536"/>
                <a:gd name="T19" fmla="*/ 0 60000 65536"/>
                <a:gd name="T20" fmla="*/ 0 60000 65536"/>
                <a:gd name="T21" fmla="*/ 0 60000 65536"/>
                <a:gd name="T22" fmla="*/ 0 60000 65536"/>
                <a:gd name="T23" fmla="*/ 0 60000 65536"/>
                <a:gd name="T24" fmla="*/ 0 w 11"/>
                <a:gd name="T25" fmla="*/ 0 h 11"/>
                <a:gd name="T26" fmla="*/ 11 w 11"/>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 h="11">
                  <a:moveTo>
                    <a:pt x="5" y="11"/>
                  </a:moveTo>
                  <a:lnTo>
                    <a:pt x="11" y="11"/>
                  </a:lnTo>
                  <a:lnTo>
                    <a:pt x="11" y="0"/>
                  </a:lnTo>
                  <a:lnTo>
                    <a:pt x="5" y="0"/>
                  </a:lnTo>
                  <a:lnTo>
                    <a:pt x="0" y="5"/>
                  </a:lnTo>
                  <a:lnTo>
                    <a:pt x="5" y="11"/>
                  </a:lnTo>
                  <a:lnTo>
                    <a:pt x="5" y="5"/>
                  </a:lnTo>
                  <a:lnTo>
                    <a:pt x="5"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79" name="Freeform 801"/>
            <p:cNvSpPr>
              <a:spLocks/>
            </p:cNvSpPr>
            <p:nvPr/>
          </p:nvSpPr>
          <p:spPr bwMode="auto">
            <a:xfrm>
              <a:off x="1076" y="2080"/>
              <a:ext cx="22" cy="32"/>
            </a:xfrm>
            <a:custGeom>
              <a:avLst/>
              <a:gdLst>
                <a:gd name="T0" fmla="*/ 11 w 22"/>
                <a:gd name="T1" fmla="*/ 5 h 32"/>
                <a:gd name="T2" fmla="*/ 16 w 22"/>
                <a:gd name="T3" fmla="*/ 16 h 32"/>
                <a:gd name="T4" fmla="*/ 16 w 22"/>
                <a:gd name="T5" fmla="*/ 16 h 32"/>
                <a:gd name="T6" fmla="*/ 16 w 22"/>
                <a:gd name="T7" fmla="*/ 22 h 32"/>
                <a:gd name="T8" fmla="*/ 22 w 22"/>
                <a:gd name="T9" fmla="*/ 22 h 32"/>
                <a:gd name="T10" fmla="*/ 16 w 22"/>
                <a:gd name="T11" fmla="*/ 27 h 32"/>
                <a:gd name="T12" fmla="*/ 22 w 22"/>
                <a:gd name="T13" fmla="*/ 27 h 32"/>
                <a:gd name="T14" fmla="*/ 22 w 22"/>
                <a:gd name="T15" fmla="*/ 32 h 32"/>
                <a:gd name="T16" fmla="*/ 16 w 22"/>
                <a:gd name="T17" fmla="*/ 32 h 32"/>
                <a:gd name="T18" fmla="*/ 11 w 22"/>
                <a:gd name="T19" fmla="*/ 22 h 32"/>
                <a:gd name="T20" fmla="*/ 6 w 22"/>
                <a:gd name="T21" fmla="*/ 22 h 32"/>
                <a:gd name="T22" fmla="*/ 11 w 22"/>
                <a:gd name="T23" fmla="*/ 22 h 32"/>
                <a:gd name="T24" fmla="*/ 11 w 22"/>
                <a:gd name="T25" fmla="*/ 16 h 32"/>
                <a:gd name="T26" fmla="*/ 6 w 22"/>
                <a:gd name="T27" fmla="*/ 16 h 32"/>
                <a:gd name="T28" fmla="*/ 6 w 22"/>
                <a:gd name="T29" fmla="*/ 5 h 32"/>
                <a:gd name="T30" fmla="*/ 0 w 22"/>
                <a:gd name="T31" fmla="*/ 11 h 32"/>
                <a:gd name="T32" fmla="*/ 0 w 22"/>
                <a:gd name="T33" fmla="*/ 0 h 32"/>
                <a:gd name="T34" fmla="*/ 0 w 22"/>
                <a:gd name="T35" fmla="*/ 0 h 32"/>
                <a:gd name="T36" fmla="*/ 6 w 22"/>
                <a:gd name="T37" fmla="*/ 0 h 32"/>
                <a:gd name="T38" fmla="*/ 6 w 22"/>
                <a:gd name="T39" fmla="*/ 5 h 32"/>
                <a:gd name="T40" fmla="*/ 11 w 22"/>
                <a:gd name="T41" fmla="*/ 5 h 3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
                <a:gd name="T64" fmla="*/ 0 h 32"/>
                <a:gd name="T65" fmla="*/ 22 w 22"/>
                <a:gd name="T66" fmla="*/ 32 h 3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 h="32">
                  <a:moveTo>
                    <a:pt x="11" y="5"/>
                  </a:moveTo>
                  <a:lnTo>
                    <a:pt x="16" y="16"/>
                  </a:lnTo>
                  <a:lnTo>
                    <a:pt x="16" y="22"/>
                  </a:lnTo>
                  <a:lnTo>
                    <a:pt x="22" y="22"/>
                  </a:lnTo>
                  <a:lnTo>
                    <a:pt x="16" y="27"/>
                  </a:lnTo>
                  <a:lnTo>
                    <a:pt x="22" y="27"/>
                  </a:lnTo>
                  <a:lnTo>
                    <a:pt x="22" y="32"/>
                  </a:lnTo>
                  <a:lnTo>
                    <a:pt x="16" y="32"/>
                  </a:lnTo>
                  <a:lnTo>
                    <a:pt x="11" y="22"/>
                  </a:lnTo>
                  <a:lnTo>
                    <a:pt x="6" y="22"/>
                  </a:lnTo>
                  <a:lnTo>
                    <a:pt x="11" y="22"/>
                  </a:lnTo>
                  <a:lnTo>
                    <a:pt x="11" y="16"/>
                  </a:lnTo>
                  <a:lnTo>
                    <a:pt x="6" y="16"/>
                  </a:lnTo>
                  <a:lnTo>
                    <a:pt x="6" y="5"/>
                  </a:lnTo>
                  <a:lnTo>
                    <a:pt x="0" y="11"/>
                  </a:lnTo>
                  <a:lnTo>
                    <a:pt x="0" y="0"/>
                  </a:lnTo>
                  <a:lnTo>
                    <a:pt x="6" y="0"/>
                  </a:lnTo>
                  <a:lnTo>
                    <a:pt x="6" y="5"/>
                  </a:lnTo>
                  <a:lnTo>
                    <a:pt x="11"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0" name="Freeform 802"/>
            <p:cNvSpPr>
              <a:spLocks/>
            </p:cNvSpPr>
            <p:nvPr/>
          </p:nvSpPr>
          <p:spPr bwMode="auto">
            <a:xfrm>
              <a:off x="1044" y="2036"/>
              <a:ext cx="16" cy="16"/>
            </a:xfrm>
            <a:custGeom>
              <a:avLst/>
              <a:gdLst>
                <a:gd name="T0" fmla="*/ 16 w 16"/>
                <a:gd name="T1" fmla="*/ 5 h 16"/>
                <a:gd name="T2" fmla="*/ 16 w 16"/>
                <a:gd name="T3" fmla="*/ 5 h 16"/>
                <a:gd name="T4" fmla="*/ 16 w 16"/>
                <a:gd name="T5" fmla="*/ 5 h 16"/>
                <a:gd name="T6" fmla="*/ 16 w 16"/>
                <a:gd name="T7" fmla="*/ 11 h 16"/>
                <a:gd name="T8" fmla="*/ 5 w 16"/>
                <a:gd name="T9" fmla="*/ 11 h 16"/>
                <a:gd name="T10" fmla="*/ 16 w 16"/>
                <a:gd name="T11" fmla="*/ 11 h 16"/>
                <a:gd name="T12" fmla="*/ 16 w 16"/>
                <a:gd name="T13" fmla="*/ 16 h 16"/>
                <a:gd name="T14" fmla="*/ 5 w 16"/>
                <a:gd name="T15" fmla="*/ 11 h 16"/>
                <a:gd name="T16" fmla="*/ 5 w 16"/>
                <a:gd name="T17" fmla="*/ 16 h 16"/>
                <a:gd name="T18" fmla="*/ 5 w 16"/>
                <a:gd name="T19" fmla="*/ 16 h 16"/>
                <a:gd name="T20" fmla="*/ 0 w 16"/>
                <a:gd name="T21" fmla="*/ 11 h 16"/>
                <a:gd name="T22" fmla="*/ 0 w 16"/>
                <a:gd name="T23" fmla="*/ 5 h 16"/>
                <a:gd name="T24" fmla="*/ 0 w 16"/>
                <a:gd name="T25" fmla="*/ 0 h 16"/>
                <a:gd name="T26" fmla="*/ 5 w 16"/>
                <a:gd name="T27" fmla="*/ 0 h 16"/>
                <a:gd name="T28" fmla="*/ 16 w 16"/>
                <a:gd name="T29" fmla="*/ 5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16"/>
                <a:gd name="T47" fmla="*/ 16 w 16"/>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16">
                  <a:moveTo>
                    <a:pt x="16" y="5"/>
                  </a:moveTo>
                  <a:lnTo>
                    <a:pt x="16" y="5"/>
                  </a:lnTo>
                  <a:lnTo>
                    <a:pt x="16" y="11"/>
                  </a:lnTo>
                  <a:lnTo>
                    <a:pt x="5" y="11"/>
                  </a:lnTo>
                  <a:lnTo>
                    <a:pt x="16" y="11"/>
                  </a:lnTo>
                  <a:lnTo>
                    <a:pt x="16" y="16"/>
                  </a:lnTo>
                  <a:lnTo>
                    <a:pt x="5" y="11"/>
                  </a:lnTo>
                  <a:lnTo>
                    <a:pt x="5" y="16"/>
                  </a:lnTo>
                  <a:lnTo>
                    <a:pt x="0" y="11"/>
                  </a:lnTo>
                  <a:lnTo>
                    <a:pt x="0" y="5"/>
                  </a:lnTo>
                  <a:lnTo>
                    <a:pt x="0" y="0"/>
                  </a:lnTo>
                  <a:lnTo>
                    <a:pt x="5" y="0"/>
                  </a:lnTo>
                  <a:lnTo>
                    <a:pt x="1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1" name="Freeform 803"/>
            <p:cNvSpPr>
              <a:spLocks/>
            </p:cNvSpPr>
            <p:nvPr/>
          </p:nvSpPr>
          <p:spPr bwMode="auto">
            <a:xfrm>
              <a:off x="1092" y="2074"/>
              <a:ext cx="6" cy="6"/>
            </a:xfrm>
            <a:custGeom>
              <a:avLst/>
              <a:gdLst>
                <a:gd name="T0" fmla="*/ 6 w 6"/>
                <a:gd name="T1" fmla="*/ 6 h 6"/>
                <a:gd name="T2" fmla="*/ 6 w 6"/>
                <a:gd name="T3" fmla="*/ 6 h 6"/>
                <a:gd name="T4" fmla="*/ 0 w 6"/>
                <a:gd name="T5" fmla="*/ 0 h 6"/>
                <a:gd name="T6" fmla="*/ 6 w 6"/>
                <a:gd name="T7" fmla="*/ 6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6"/>
                  </a:moveTo>
                  <a:lnTo>
                    <a:pt x="6" y="6"/>
                  </a:ln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2" name="Rectangle 804"/>
            <p:cNvSpPr>
              <a:spLocks noChangeArrowheads="1"/>
            </p:cNvSpPr>
            <p:nvPr/>
          </p:nvSpPr>
          <p:spPr bwMode="auto">
            <a:xfrm>
              <a:off x="1087" y="2074"/>
              <a:ext cx="1" cy="6"/>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783" name="Rectangle 805"/>
            <p:cNvSpPr>
              <a:spLocks noChangeArrowheads="1"/>
            </p:cNvSpPr>
            <p:nvPr/>
          </p:nvSpPr>
          <p:spPr bwMode="auto">
            <a:xfrm>
              <a:off x="1087" y="2069"/>
              <a:ext cx="1"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784" name="Freeform 806"/>
            <p:cNvSpPr>
              <a:spLocks/>
            </p:cNvSpPr>
            <p:nvPr/>
          </p:nvSpPr>
          <p:spPr bwMode="auto">
            <a:xfrm>
              <a:off x="1071" y="2063"/>
              <a:ext cx="16" cy="11"/>
            </a:xfrm>
            <a:custGeom>
              <a:avLst/>
              <a:gdLst>
                <a:gd name="T0" fmla="*/ 5 w 16"/>
                <a:gd name="T1" fmla="*/ 6 h 11"/>
                <a:gd name="T2" fmla="*/ 0 w 16"/>
                <a:gd name="T3" fmla="*/ 0 h 11"/>
                <a:gd name="T4" fmla="*/ 11 w 16"/>
                <a:gd name="T5" fmla="*/ 0 h 11"/>
                <a:gd name="T6" fmla="*/ 16 w 16"/>
                <a:gd name="T7" fmla="*/ 6 h 11"/>
                <a:gd name="T8" fmla="*/ 11 w 16"/>
                <a:gd name="T9" fmla="*/ 6 h 11"/>
                <a:gd name="T10" fmla="*/ 11 w 16"/>
                <a:gd name="T11" fmla="*/ 11 h 11"/>
                <a:gd name="T12" fmla="*/ 5 w 16"/>
                <a:gd name="T13" fmla="*/ 11 h 11"/>
                <a:gd name="T14" fmla="*/ 5 w 16"/>
                <a:gd name="T15" fmla="*/ 6 h 11"/>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1"/>
                <a:gd name="T26" fmla="*/ 16 w 16"/>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1">
                  <a:moveTo>
                    <a:pt x="5" y="6"/>
                  </a:moveTo>
                  <a:lnTo>
                    <a:pt x="0" y="0"/>
                  </a:lnTo>
                  <a:lnTo>
                    <a:pt x="11" y="0"/>
                  </a:lnTo>
                  <a:lnTo>
                    <a:pt x="16" y="6"/>
                  </a:lnTo>
                  <a:lnTo>
                    <a:pt x="11" y="6"/>
                  </a:lnTo>
                  <a:lnTo>
                    <a:pt x="11" y="11"/>
                  </a:lnTo>
                  <a:lnTo>
                    <a:pt x="5" y="11"/>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5" name="Freeform 807"/>
            <p:cNvSpPr>
              <a:spLocks/>
            </p:cNvSpPr>
            <p:nvPr/>
          </p:nvSpPr>
          <p:spPr bwMode="auto">
            <a:xfrm>
              <a:off x="1065" y="2069"/>
              <a:ext cx="11" cy="16"/>
            </a:xfrm>
            <a:custGeom>
              <a:avLst/>
              <a:gdLst>
                <a:gd name="T0" fmla="*/ 6 w 11"/>
                <a:gd name="T1" fmla="*/ 5 h 16"/>
                <a:gd name="T2" fmla="*/ 0 w 11"/>
                <a:gd name="T3" fmla="*/ 0 h 16"/>
                <a:gd name="T4" fmla="*/ 11 w 11"/>
                <a:gd name="T5" fmla="*/ 0 h 16"/>
                <a:gd name="T6" fmla="*/ 11 w 11"/>
                <a:gd name="T7" fmla="*/ 5 h 16"/>
                <a:gd name="T8" fmla="*/ 6 w 11"/>
                <a:gd name="T9" fmla="*/ 5 h 16"/>
                <a:gd name="T10" fmla="*/ 6 w 11"/>
                <a:gd name="T11" fmla="*/ 16 h 16"/>
                <a:gd name="T12" fmla="*/ 6 w 11"/>
                <a:gd name="T13" fmla="*/ 11 h 16"/>
                <a:gd name="T14" fmla="*/ 6 w 11"/>
                <a:gd name="T15" fmla="*/ 5 h 16"/>
                <a:gd name="T16" fmla="*/ 6 w 11"/>
                <a:gd name="T17" fmla="*/ 5 h 16"/>
                <a:gd name="T18" fmla="*/ 6 w 11"/>
                <a:gd name="T19" fmla="*/ 5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6"/>
                <a:gd name="T32" fmla="*/ 11 w 11"/>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6">
                  <a:moveTo>
                    <a:pt x="6" y="5"/>
                  </a:moveTo>
                  <a:lnTo>
                    <a:pt x="0" y="0"/>
                  </a:lnTo>
                  <a:lnTo>
                    <a:pt x="11" y="0"/>
                  </a:lnTo>
                  <a:lnTo>
                    <a:pt x="11" y="5"/>
                  </a:lnTo>
                  <a:lnTo>
                    <a:pt x="6" y="5"/>
                  </a:lnTo>
                  <a:lnTo>
                    <a:pt x="6" y="16"/>
                  </a:lnTo>
                  <a:lnTo>
                    <a:pt x="6" y="11"/>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6" name="Freeform 808"/>
            <p:cNvSpPr>
              <a:spLocks/>
            </p:cNvSpPr>
            <p:nvPr/>
          </p:nvSpPr>
          <p:spPr bwMode="auto">
            <a:xfrm>
              <a:off x="1065" y="2036"/>
              <a:ext cx="6" cy="27"/>
            </a:xfrm>
            <a:custGeom>
              <a:avLst/>
              <a:gdLst>
                <a:gd name="T0" fmla="*/ 0 w 6"/>
                <a:gd name="T1" fmla="*/ 16 h 27"/>
                <a:gd name="T2" fmla="*/ 0 w 6"/>
                <a:gd name="T3" fmla="*/ 16 h 27"/>
                <a:gd name="T4" fmla="*/ 0 w 6"/>
                <a:gd name="T5" fmla="*/ 16 h 27"/>
                <a:gd name="T6" fmla="*/ 0 w 6"/>
                <a:gd name="T7" fmla="*/ 16 h 27"/>
                <a:gd name="T8" fmla="*/ 0 w 6"/>
                <a:gd name="T9" fmla="*/ 22 h 27"/>
                <a:gd name="T10" fmla="*/ 0 w 6"/>
                <a:gd name="T11" fmla="*/ 27 h 27"/>
                <a:gd name="T12" fmla="*/ 6 w 6"/>
                <a:gd name="T13" fmla="*/ 22 h 27"/>
                <a:gd name="T14" fmla="*/ 6 w 6"/>
                <a:gd name="T15" fmla="*/ 16 h 27"/>
                <a:gd name="T16" fmla="*/ 6 w 6"/>
                <a:gd name="T17" fmla="*/ 22 h 27"/>
                <a:gd name="T18" fmla="*/ 6 w 6"/>
                <a:gd name="T19" fmla="*/ 5 h 27"/>
                <a:gd name="T20" fmla="*/ 0 w 6"/>
                <a:gd name="T21" fmla="*/ 0 h 27"/>
                <a:gd name="T22" fmla="*/ 0 w 6"/>
                <a:gd name="T23" fmla="*/ 5 h 27"/>
                <a:gd name="T24" fmla="*/ 0 w 6"/>
                <a:gd name="T25" fmla="*/ 16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27"/>
                <a:gd name="T41" fmla="*/ 6 w 6"/>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27">
                  <a:moveTo>
                    <a:pt x="0" y="16"/>
                  </a:moveTo>
                  <a:lnTo>
                    <a:pt x="0" y="16"/>
                  </a:lnTo>
                  <a:lnTo>
                    <a:pt x="0" y="22"/>
                  </a:lnTo>
                  <a:lnTo>
                    <a:pt x="0" y="27"/>
                  </a:lnTo>
                  <a:lnTo>
                    <a:pt x="6" y="22"/>
                  </a:lnTo>
                  <a:lnTo>
                    <a:pt x="6" y="16"/>
                  </a:lnTo>
                  <a:lnTo>
                    <a:pt x="6" y="22"/>
                  </a:lnTo>
                  <a:lnTo>
                    <a:pt x="6" y="5"/>
                  </a:lnTo>
                  <a:lnTo>
                    <a:pt x="0" y="0"/>
                  </a:lnTo>
                  <a:lnTo>
                    <a:pt x="0" y="5"/>
                  </a:lnTo>
                  <a:lnTo>
                    <a:pt x="0"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7" name="Freeform 809"/>
            <p:cNvSpPr>
              <a:spLocks/>
            </p:cNvSpPr>
            <p:nvPr/>
          </p:nvSpPr>
          <p:spPr bwMode="auto">
            <a:xfrm>
              <a:off x="1054" y="2052"/>
              <a:ext cx="11" cy="28"/>
            </a:xfrm>
            <a:custGeom>
              <a:avLst/>
              <a:gdLst>
                <a:gd name="T0" fmla="*/ 6 w 11"/>
                <a:gd name="T1" fmla="*/ 6 h 28"/>
                <a:gd name="T2" fmla="*/ 11 w 11"/>
                <a:gd name="T3" fmla="*/ 22 h 28"/>
                <a:gd name="T4" fmla="*/ 11 w 11"/>
                <a:gd name="T5" fmla="*/ 28 h 28"/>
                <a:gd name="T6" fmla="*/ 6 w 11"/>
                <a:gd name="T7" fmla="*/ 22 h 28"/>
                <a:gd name="T8" fmla="*/ 6 w 11"/>
                <a:gd name="T9" fmla="*/ 17 h 28"/>
                <a:gd name="T10" fmla="*/ 6 w 11"/>
                <a:gd name="T11" fmla="*/ 17 h 28"/>
                <a:gd name="T12" fmla="*/ 0 w 11"/>
                <a:gd name="T13" fmla="*/ 17 h 28"/>
                <a:gd name="T14" fmla="*/ 6 w 11"/>
                <a:gd name="T15" fmla="*/ 11 h 28"/>
                <a:gd name="T16" fmla="*/ 0 w 11"/>
                <a:gd name="T17" fmla="*/ 6 h 28"/>
                <a:gd name="T18" fmla="*/ 0 w 11"/>
                <a:gd name="T19" fmla="*/ 0 h 28"/>
                <a:gd name="T20" fmla="*/ 6 w 11"/>
                <a:gd name="T21" fmla="*/ 6 h 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
                <a:gd name="T34" fmla="*/ 0 h 28"/>
                <a:gd name="T35" fmla="*/ 11 w 11"/>
                <a:gd name="T36" fmla="*/ 28 h 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 h="28">
                  <a:moveTo>
                    <a:pt x="6" y="6"/>
                  </a:moveTo>
                  <a:lnTo>
                    <a:pt x="11" y="22"/>
                  </a:lnTo>
                  <a:lnTo>
                    <a:pt x="11" y="28"/>
                  </a:lnTo>
                  <a:lnTo>
                    <a:pt x="6" y="22"/>
                  </a:lnTo>
                  <a:lnTo>
                    <a:pt x="6" y="17"/>
                  </a:lnTo>
                  <a:lnTo>
                    <a:pt x="0" y="17"/>
                  </a:lnTo>
                  <a:lnTo>
                    <a:pt x="6" y="11"/>
                  </a:lnTo>
                  <a:lnTo>
                    <a:pt x="0" y="6"/>
                  </a:ln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8" name="Freeform 810"/>
            <p:cNvSpPr>
              <a:spLocks/>
            </p:cNvSpPr>
            <p:nvPr/>
          </p:nvSpPr>
          <p:spPr bwMode="auto">
            <a:xfrm>
              <a:off x="913" y="1981"/>
              <a:ext cx="11" cy="0"/>
            </a:xfrm>
            <a:custGeom>
              <a:avLst/>
              <a:gdLst>
                <a:gd name="T0" fmla="*/ 0 w 11"/>
                <a:gd name="T1" fmla="*/ 5 w 11"/>
                <a:gd name="T2" fmla="*/ 11 w 11"/>
                <a:gd name="T3" fmla="*/ 0 w 11"/>
                <a:gd name="T4" fmla="*/ 0 60000 65536"/>
                <a:gd name="T5" fmla="*/ 0 60000 65536"/>
                <a:gd name="T6" fmla="*/ 0 60000 65536"/>
                <a:gd name="T7" fmla="*/ 0 60000 65536"/>
                <a:gd name="T8" fmla="*/ 0 w 11"/>
                <a:gd name="T9" fmla="*/ 11 w 11"/>
              </a:gdLst>
              <a:ahLst/>
              <a:cxnLst>
                <a:cxn ang="T4">
                  <a:pos x="T0" y="0"/>
                </a:cxn>
                <a:cxn ang="T5">
                  <a:pos x="T1" y="0"/>
                </a:cxn>
                <a:cxn ang="T6">
                  <a:pos x="T2" y="0"/>
                </a:cxn>
                <a:cxn ang="T7">
                  <a:pos x="T3" y="0"/>
                </a:cxn>
              </a:cxnLst>
              <a:rect l="T8" t="0" r="T9" b="0"/>
              <a:pathLst>
                <a:path w="11">
                  <a:moveTo>
                    <a:pt x="0" y="0"/>
                  </a:moveTo>
                  <a:lnTo>
                    <a:pt x="5" y="0"/>
                  </a:lnTo>
                  <a:lnTo>
                    <a:pt x="11"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89" name="Freeform 811"/>
            <p:cNvSpPr>
              <a:spLocks/>
            </p:cNvSpPr>
            <p:nvPr/>
          </p:nvSpPr>
          <p:spPr bwMode="auto">
            <a:xfrm>
              <a:off x="722" y="1801"/>
              <a:ext cx="6" cy="6"/>
            </a:xfrm>
            <a:custGeom>
              <a:avLst/>
              <a:gdLst>
                <a:gd name="T0" fmla="*/ 0 w 6"/>
                <a:gd name="T1" fmla="*/ 0 h 6"/>
                <a:gd name="T2" fmla="*/ 6 w 6"/>
                <a:gd name="T3" fmla="*/ 6 h 6"/>
                <a:gd name="T4" fmla="*/ 6 w 6"/>
                <a:gd name="T5" fmla="*/ 6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0" name="Freeform 812"/>
            <p:cNvSpPr>
              <a:spLocks/>
            </p:cNvSpPr>
            <p:nvPr/>
          </p:nvSpPr>
          <p:spPr bwMode="auto">
            <a:xfrm>
              <a:off x="663" y="1981"/>
              <a:ext cx="21" cy="17"/>
            </a:xfrm>
            <a:custGeom>
              <a:avLst/>
              <a:gdLst>
                <a:gd name="T0" fmla="*/ 0 w 21"/>
                <a:gd name="T1" fmla="*/ 6 h 17"/>
                <a:gd name="T2" fmla="*/ 16 w 21"/>
                <a:gd name="T3" fmla="*/ 0 h 17"/>
                <a:gd name="T4" fmla="*/ 21 w 21"/>
                <a:gd name="T5" fmla="*/ 6 h 17"/>
                <a:gd name="T6" fmla="*/ 21 w 21"/>
                <a:gd name="T7" fmla="*/ 11 h 17"/>
                <a:gd name="T8" fmla="*/ 16 w 21"/>
                <a:gd name="T9" fmla="*/ 17 h 17"/>
                <a:gd name="T10" fmla="*/ 5 w 21"/>
                <a:gd name="T11" fmla="*/ 11 h 17"/>
                <a:gd name="T12" fmla="*/ 0 w 21"/>
                <a:gd name="T13" fmla="*/ 6 h 17"/>
                <a:gd name="T14" fmla="*/ 0 60000 65536"/>
                <a:gd name="T15" fmla="*/ 0 60000 65536"/>
                <a:gd name="T16" fmla="*/ 0 60000 65536"/>
                <a:gd name="T17" fmla="*/ 0 60000 65536"/>
                <a:gd name="T18" fmla="*/ 0 60000 65536"/>
                <a:gd name="T19" fmla="*/ 0 60000 65536"/>
                <a:gd name="T20" fmla="*/ 0 60000 65536"/>
                <a:gd name="T21" fmla="*/ 0 w 21"/>
                <a:gd name="T22" fmla="*/ 0 h 17"/>
                <a:gd name="T23" fmla="*/ 21 w 2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7">
                  <a:moveTo>
                    <a:pt x="0" y="6"/>
                  </a:moveTo>
                  <a:lnTo>
                    <a:pt x="16" y="0"/>
                  </a:lnTo>
                  <a:lnTo>
                    <a:pt x="21" y="6"/>
                  </a:lnTo>
                  <a:lnTo>
                    <a:pt x="21" y="11"/>
                  </a:lnTo>
                  <a:lnTo>
                    <a:pt x="16" y="17"/>
                  </a:lnTo>
                  <a:lnTo>
                    <a:pt x="5" y="11"/>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1" name="Freeform 813"/>
            <p:cNvSpPr>
              <a:spLocks/>
            </p:cNvSpPr>
            <p:nvPr/>
          </p:nvSpPr>
          <p:spPr bwMode="auto">
            <a:xfrm>
              <a:off x="690" y="1971"/>
              <a:ext cx="11" cy="10"/>
            </a:xfrm>
            <a:custGeom>
              <a:avLst/>
              <a:gdLst>
                <a:gd name="T0" fmla="*/ 0 w 11"/>
                <a:gd name="T1" fmla="*/ 5 h 10"/>
                <a:gd name="T2" fmla="*/ 0 w 11"/>
                <a:gd name="T3" fmla="*/ 0 h 10"/>
                <a:gd name="T4" fmla="*/ 11 w 11"/>
                <a:gd name="T5" fmla="*/ 10 h 10"/>
                <a:gd name="T6" fmla="*/ 5 w 11"/>
                <a:gd name="T7" fmla="*/ 10 h 10"/>
                <a:gd name="T8" fmla="*/ 0 w 11"/>
                <a:gd name="T9" fmla="*/ 5 h 10"/>
                <a:gd name="T10" fmla="*/ 0 60000 65536"/>
                <a:gd name="T11" fmla="*/ 0 60000 65536"/>
                <a:gd name="T12" fmla="*/ 0 60000 65536"/>
                <a:gd name="T13" fmla="*/ 0 60000 65536"/>
                <a:gd name="T14" fmla="*/ 0 60000 65536"/>
                <a:gd name="T15" fmla="*/ 0 w 11"/>
                <a:gd name="T16" fmla="*/ 0 h 10"/>
                <a:gd name="T17" fmla="*/ 11 w 11"/>
                <a:gd name="T18" fmla="*/ 10 h 10"/>
              </a:gdLst>
              <a:ahLst/>
              <a:cxnLst>
                <a:cxn ang="T10">
                  <a:pos x="T0" y="T1"/>
                </a:cxn>
                <a:cxn ang="T11">
                  <a:pos x="T2" y="T3"/>
                </a:cxn>
                <a:cxn ang="T12">
                  <a:pos x="T4" y="T5"/>
                </a:cxn>
                <a:cxn ang="T13">
                  <a:pos x="T6" y="T7"/>
                </a:cxn>
                <a:cxn ang="T14">
                  <a:pos x="T8" y="T9"/>
                </a:cxn>
              </a:cxnLst>
              <a:rect l="T15" t="T16" r="T17" b="T18"/>
              <a:pathLst>
                <a:path w="11" h="10">
                  <a:moveTo>
                    <a:pt x="0" y="5"/>
                  </a:moveTo>
                  <a:lnTo>
                    <a:pt x="0" y="0"/>
                  </a:lnTo>
                  <a:lnTo>
                    <a:pt x="11" y="10"/>
                  </a:lnTo>
                  <a:lnTo>
                    <a:pt x="5" y="1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2" name="Freeform 814"/>
            <p:cNvSpPr>
              <a:spLocks/>
            </p:cNvSpPr>
            <p:nvPr/>
          </p:nvSpPr>
          <p:spPr bwMode="auto">
            <a:xfrm>
              <a:off x="1620" y="2685"/>
              <a:ext cx="17" cy="33"/>
            </a:xfrm>
            <a:custGeom>
              <a:avLst/>
              <a:gdLst>
                <a:gd name="T0" fmla="*/ 6 w 17"/>
                <a:gd name="T1" fmla="*/ 33 h 33"/>
                <a:gd name="T2" fmla="*/ 11 w 17"/>
                <a:gd name="T3" fmla="*/ 22 h 33"/>
                <a:gd name="T4" fmla="*/ 17 w 17"/>
                <a:gd name="T5" fmla="*/ 6 h 33"/>
                <a:gd name="T6" fmla="*/ 11 w 17"/>
                <a:gd name="T7" fmla="*/ 0 h 33"/>
                <a:gd name="T8" fmla="*/ 11 w 17"/>
                <a:gd name="T9" fmla="*/ 0 h 33"/>
                <a:gd name="T10" fmla="*/ 6 w 17"/>
                <a:gd name="T11" fmla="*/ 11 h 33"/>
                <a:gd name="T12" fmla="*/ 0 w 17"/>
                <a:gd name="T13" fmla="*/ 11 h 33"/>
                <a:gd name="T14" fmla="*/ 0 w 17"/>
                <a:gd name="T15" fmla="*/ 33 h 33"/>
                <a:gd name="T16" fmla="*/ 6 w 17"/>
                <a:gd name="T17" fmla="*/ 33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33"/>
                <a:gd name="T29" fmla="*/ 17 w 1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33">
                  <a:moveTo>
                    <a:pt x="6" y="33"/>
                  </a:moveTo>
                  <a:lnTo>
                    <a:pt x="11" y="22"/>
                  </a:lnTo>
                  <a:lnTo>
                    <a:pt x="17" y="6"/>
                  </a:lnTo>
                  <a:lnTo>
                    <a:pt x="11" y="0"/>
                  </a:lnTo>
                  <a:lnTo>
                    <a:pt x="6" y="11"/>
                  </a:lnTo>
                  <a:lnTo>
                    <a:pt x="0" y="11"/>
                  </a:lnTo>
                  <a:lnTo>
                    <a:pt x="0" y="33"/>
                  </a:lnTo>
                  <a:lnTo>
                    <a:pt x="6"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3" name="Freeform 815"/>
            <p:cNvSpPr>
              <a:spLocks/>
            </p:cNvSpPr>
            <p:nvPr/>
          </p:nvSpPr>
          <p:spPr bwMode="auto">
            <a:xfrm>
              <a:off x="1610" y="1550"/>
              <a:ext cx="353" cy="399"/>
            </a:xfrm>
            <a:custGeom>
              <a:avLst/>
              <a:gdLst>
                <a:gd name="T0" fmla="*/ 272 w 353"/>
                <a:gd name="T1" fmla="*/ 355 h 399"/>
                <a:gd name="T2" fmla="*/ 310 w 353"/>
                <a:gd name="T3" fmla="*/ 377 h 399"/>
                <a:gd name="T4" fmla="*/ 310 w 353"/>
                <a:gd name="T5" fmla="*/ 355 h 399"/>
                <a:gd name="T6" fmla="*/ 310 w 353"/>
                <a:gd name="T7" fmla="*/ 322 h 399"/>
                <a:gd name="T8" fmla="*/ 293 w 353"/>
                <a:gd name="T9" fmla="*/ 311 h 399"/>
                <a:gd name="T10" fmla="*/ 283 w 353"/>
                <a:gd name="T11" fmla="*/ 295 h 399"/>
                <a:gd name="T12" fmla="*/ 277 w 353"/>
                <a:gd name="T13" fmla="*/ 268 h 399"/>
                <a:gd name="T14" fmla="*/ 299 w 353"/>
                <a:gd name="T15" fmla="*/ 279 h 399"/>
                <a:gd name="T16" fmla="*/ 315 w 353"/>
                <a:gd name="T17" fmla="*/ 295 h 399"/>
                <a:gd name="T18" fmla="*/ 332 w 353"/>
                <a:gd name="T19" fmla="*/ 301 h 399"/>
                <a:gd name="T20" fmla="*/ 337 w 353"/>
                <a:gd name="T21" fmla="*/ 279 h 399"/>
                <a:gd name="T22" fmla="*/ 348 w 353"/>
                <a:gd name="T23" fmla="*/ 268 h 399"/>
                <a:gd name="T24" fmla="*/ 321 w 353"/>
                <a:gd name="T25" fmla="*/ 246 h 399"/>
                <a:gd name="T26" fmla="*/ 299 w 353"/>
                <a:gd name="T27" fmla="*/ 224 h 399"/>
                <a:gd name="T28" fmla="*/ 288 w 353"/>
                <a:gd name="T29" fmla="*/ 208 h 399"/>
                <a:gd name="T30" fmla="*/ 266 w 353"/>
                <a:gd name="T31" fmla="*/ 180 h 399"/>
                <a:gd name="T32" fmla="*/ 283 w 353"/>
                <a:gd name="T33" fmla="*/ 153 h 399"/>
                <a:gd name="T34" fmla="*/ 250 w 353"/>
                <a:gd name="T35" fmla="*/ 142 h 399"/>
                <a:gd name="T36" fmla="*/ 250 w 353"/>
                <a:gd name="T37" fmla="*/ 120 h 399"/>
                <a:gd name="T38" fmla="*/ 234 w 353"/>
                <a:gd name="T39" fmla="*/ 110 h 399"/>
                <a:gd name="T40" fmla="*/ 206 w 353"/>
                <a:gd name="T41" fmla="*/ 93 h 399"/>
                <a:gd name="T42" fmla="*/ 201 w 353"/>
                <a:gd name="T43" fmla="*/ 82 h 399"/>
                <a:gd name="T44" fmla="*/ 185 w 353"/>
                <a:gd name="T45" fmla="*/ 60 h 399"/>
                <a:gd name="T46" fmla="*/ 136 w 353"/>
                <a:gd name="T47" fmla="*/ 66 h 399"/>
                <a:gd name="T48" fmla="*/ 114 w 353"/>
                <a:gd name="T49" fmla="*/ 71 h 399"/>
                <a:gd name="T50" fmla="*/ 114 w 353"/>
                <a:gd name="T51" fmla="*/ 33 h 399"/>
                <a:gd name="T52" fmla="*/ 76 w 353"/>
                <a:gd name="T53" fmla="*/ 11 h 399"/>
                <a:gd name="T54" fmla="*/ 59 w 353"/>
                <a:gd name="T55" fmla="*/ 22 h 399"/>
                <a:gd name="T56" fmla="*/ 76 w 353"/>
                <a:gd name="T57" fmla="*/ 44 h 399"/>
                <a:gd name="T58" fmla="*/ 59 w 353"/>
                <a:gd name="T59" fmla="*/ 88 h 399"/>
                <a:gd name="T60" fmla="*/ 43 w 353"/>
                <a:gd name="T61" fmla="*/ 110 h 399"/>
                <a:gd name="T62" fmla="*/ 43 w 353"/>
                <a:gd name="T63" fmla="*/ 50 h 399"/>
                <a:gd name="T64" fmla="*/ 10 w 353"/>
                <a:gd name="T65" fmla="*/ 44 h 399"/>
                <a:gd name="T66" fmla="*/ 5 w 353"/>
                <a:gd name="T67" fmla="*/ 66 h 399"/>
                <a:gd name="T68" fmla="*/ 10 w 353"/>
                <a:gd name="T69" fmla="*/ 110 h 399"/>
                <a:gd name="T70" fmla="*/ 43 w 353"/>
                <a:gd name="T71" fmla="*/ 131 h 399"/>
                <a:gd name="T72" fmla="*/ 103 w 353"/>
                <a:gd name="T73" fmla="*/ 153 h 399"/>
                <a:gd name="T74" fmla="*/ 125 w 353"/>
                <a:gd name="T75" fmla="*/ 153 h 399"/>
                <a:gd name="T76" fmla="*/ 130 w 353"/>
                <a:gd name="T77" fmla="*/ 137 h 399"/>
                <a:gd name="T78" fmla="*/ 163 w 353"/>
                <a:gd name="T79" fmla="*/ 153 h 399"/>
                <a:gd name="T80" fmla="*/ 174 w 353"/>
                <a:gd name="T81" fmla="*/ 186 h 399"/>
                <a:gd name="T82" fmla="*/ 185 w 353"/>
                <a:gd name="T83" fmla="*/ 191 h 399"/>
                <a:gd name="T84" fmla="*/ 212 w 353"/>
                <a:gd name="T85" fmla="*/ 213 h 399"/>
                <a:gd name="T86" fmla="*/ 201 w 353"/>
                <a:gd name="T87" fmla="*/ 295 h 399"/>
                <a:gd name="T88" fmla="*/ 157 w 353"/>
                <a:gd name="T89" fmla="*/ 301 h 399"/>
                <a:gd name="T90" fmla="*/ 152 w 353"/>
                <a:gd name="T91" fmla="*/ 328 h 399"/>
                <a:gd name="T92" fmla="*/ 190 w 353"/>
                <a:gd name="T93" fmla="*/ 328 h 399"/>
                <a:gd name="T94" fmla="*/ 206 w 353"/>
                <a:gd name="T95" fmla="*/ 322 h 399"/>
                <a:gd name="T96" fmla="*/ 234 w 353"/>
                <a:gd name="T97" fmla="*/ 366 h 399"/>
                <a:gd name="T98" fmla="*/ 261 w 353"/>
                <a:gd name="T99" fmla="*/ 382 h 399"/>
                <a:gd name="T100" fmla="*/ 293 w 353"/>
                <a:gd name="T101" fmla="*/ 399 h 39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3"/>
                <a:gd name="T154" fmla="*/ 0 h 399"/>
                <a:gd name="T155" fmla="*/ 353 w 353"/>
                <a:gd name="T156" fmla="*/ 399 h 39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3" h="399">
                  <a:moveTo>
                    <a:pt x="277" y="366"/>
                  </a:moveTo>
                  <a:lnTo>
                    <a:pt x="266" y="350"/>
                  </a:lnTo>
                  <a:lnTo>
                    <a:pt x="261" y="344"/>
                  </a:lnTo>
                  <a:lnTo>
                    <a:pt x="266" y="344"/>
                  </a:lnTo>
                  <a:lnTo>
                    <a:pt x="272" y="355"/>
                  </a:lnTo>
                  <a:lnTo>
                    <a:pt x="277" y="350"/>
                  </a:lnTo>
                  <a:lnTo>
                    <a:pt x="288" y="366"/>
                  </a:lnTo>
                  <a:lnTo>
                    <a:pt x="304" y="366"/>
                  </a:lnTo>
                  <a:lnTo>
                    <a:pt x="310" y="377"/>
                  </a:lnTo>
                  <a:lnTo>
                    <a:pt x="310" y="371"/>
                  </a:lnTo>
                  <a:lnTo>
                    <a:pt x="315" y="371"/>
                  </a:lnTo>
                  <a:lnTo>
                    <a:pt x="315" y="366"/>
                  </a:lnTo>
                  <a:lnTo>
                    <a:pt x="310" y="361"/>
                  </a:lnTo>
                  <a:lnTo>
                    <a:pt x="310" y="355"/>
                  </a:lnTo>
                  <a:lnTo>
                    <a:pt x="315" y="361"/>
                  </a:lnTo>
                  <a:lnTo>
                    <a:pt x="315" y="344"/>
                  </a:lnTo>
                  <a:lnTo>
                    <a:pt x="315" y="339"/>
                  </a:lnTo>
                  <a:lnTo>
                    <a:pt x="304" y="333"/>
                  </a:lnTo>
                  <a:lnTo>
                    <a:pt x="310" y="322"/>
                  </a:lnTo>
                  <a:lnTo>
                    <a:pt x="304" y="317"/>
                  </a:lnTo>
                  <a:lnTo>
                    <a:pt x="299" y="322"/>
                  </a:lnTo>
                  <a:lnTo>
                    <a:pt x="299" y="317"/>
                  </a:lnTo>
                  <a:lnTo>
                    <a:pt x="293" y="317"/>
                  </a:lnTo>
                  <a:lnTo>
                    <a:pt x="293" y="311"/>
                  </a:lnTo>
                  <a:lnTo>
                    <a:pt x="288" y="311"/>
                  </a:lnTo>
                  <a:lnTo>
                    <a:pt x="288" y="317"/>
                  </a:lnTo>
                  <a:lnTo>
                    <a:pt x="283" y="306"/>
                  </a:lnTo>
                  <a:lnTo>
                    <a:pt x="283" y="295"/>
                  </a:lnTo>
                  <a:lnTo>
                    <a:pt x="272" y="295"/>
                  </a:lnTo>
                  <a:lnTo>
                    <a:pt x="272" y="284"/>
                  </a:lnTo>
                  <a:lnTo>
                    <a:pt x="283" y="284"/>
                  </a:lnTo>
                  <a:lnTo>
                    <a:pt x="272" y="268"/>
                  </a:lnTo>
                  <a:lnTo>
                    <a:pt x="277" y="268"/>
                  </a:lnTo>
                  <a:lnTo>
                    <a:pt x="283" y="273"/>
                  </a:lnTo>
                  <a:lnTo>
                    <a:pt x="277" y="262"/>
                  </a:lnTo>
                  <a:lnTo>
                    <a:pt x="288" y="262"/>
                  </a:lnTo>
                  <a:lnTo>
                    <a:pt x="283" y="273"/>
                  </a:lnTo>
                  <a:lnTo>
                    <a:pt x="299" y="279"/>
                  </a:lnTo>
                  <a:lnTo>
                    <a:pt x="299" y="284"/>
                  </a:lnTo>
                  <a:lnTo>
                    <a:pt x="304" y="284"/>
                  </a:lnTo>
                  <a:lnTo>
                    <a:pt x="304" y="290"/>
                  </a:lnTo>
                  <a:lnTo>
                    <a:pt x="310" y="301"/>
                  </a:lnTo>
                  <a:lnTo>
                    <a:pt x="315" y="295"/>
                  </a:lnTo>
                  <a:lnTo>
                    <a:pt x="310" y="301"/>
                  </a:lnTo>
                  <a:lnTo>
                    <a:pt x="315" y="306"/>
                  </a:lnTo>
                  <a:lnTo>
                    <a:pt x="321" y="306"/>
                  </a:lnTo>
                  <a:lnTo>
                    <a:pt x="326" y="311"/>
                  </a:lnTo>
                  <a:lnTo>
                    <a:pt x="332" y="301"/>
                  </a:lnTo>
                  <a:lnTo>
                    <a:pt x="326" y="290"/>
                  </a:lnTo>
                  <a:lnTo>
                    <a:pt x="337" y="295"/>
                  </a:lnTo>
                  <a:lnTo>
                    <a:pt x="342" y="284"/>
                  </a:lnTo>
                  <a:lnTo>
                    <a:pt x="342" y="279"/>
                  </a:lnTo>
                  <a:lnTo>
                    <a:pt x="337" y="279"/>
                  </a:lnTo>
                  <a:lnTo>
                    <a:pt x="342" y="273"/>
                  </a:lnTo>
                  <a:lnTo>
                    <a:pt x="337" y="273"/>
                  </a:lnTo>
                  <a:lnTo>
                    <a:pt x="348" y="273"/>
                  </a:lnTo>
                  <a:lnTo>
                    <a:pt x="353" y="273"/>
                  </a:lnTo>
                  <a:lnTo>
                    <a:pt x="348" y="268"/>
                  </a:lnTo>
                  <a:lnTo>
                    <a:pt x="353" y="262"/>
                  </a:lnTo>
                  <a:lnTo>
                    <a:pt x="342" y="251"/>
                  </a:lnTo>
                  <a:lnTo>
                    <a:pt x="332" y="257"/>
                  </a:lnTo>
                  <a:lnTo>
                    <a:pt x="332" y="240"/>
                  </a:lnTo>
                  <a:lnTo>
                    <a:pt x="321" y="246"/>
                  </a:lnTo>
                  <a:lnTo>
                    <a:pt x="321" y="240"/>
                  </a:lnTo>
                  <a:lnTo>
                    <a:pt x="315" y="224"/>
                  </a:lnTo>
                  <a:lnTo>
                    <a:pt x="310" y="224"/>
                  </a:lnTo>
                  <a:lnTo>
                    <a:pt x="310" y="219"/>
                  </a:lnTo>
                  <a:lnTo>
                    <a:pt x="299" y="224"/>
                  </a:lnTo>
                  <a:lnTo>
                    <a:pt x="293" y="219"/>
                  </a:lnTo>
                  <a:lnTo>
                    <a:pt x="293" y="213"/>
                  </a:lnTo>
                  <a:lnTo>
                    <a:pt x="288" y="213"/>
                  </a:lnTo>
                  <a:lnTo>
                    <a:pt x="288" y="208"/>
                  </a:lnTo>
                  <a:lnTo>
                    <a:pt x="266" y="197"/>
                  </a:lnTo>
                  <a:lnTo>
                    <a:pt x="277" y="197"/>
                  </a:lnTo>
                  <a:lnTo>
                    <a:pt x="272" y="191"/>
                  </a:lnTo>
                  <a:lnTo>
                    <a:pt x="277" y="186"/>
                  </a:lnTo>
                  <a:lnTo>
                    <a:pt x="266" y="180"/>
                  </a:lnTo>
                  <a:lnTo>
                    <a:pt x="288" y="175"/>
                  </a:lnTo>
                  <a:lnTo>
                    <a:pt x="261" y="164"/>
                  </a:lnTo>
                  <a:lnTo>
                    <a:pt x="283" y="159"/>
                  </a:lnTo>
                  <a:lnTo>
                    <a:pt x="283" y="153"/>
                  </a:lnTo>
                  <a:lnTo>
                    <a:pt x="272" y="142"/>
                  </a:lnTo>
                  <a:lnTo>
                    <a:pt x="266" y="148"/>
                  </a:lnTo>
                  <a:lnTo>
                    <a:pt x="261" y="153"/>
                  </a:lnTo>
                  <a:lnTo>
                    <a:pt x="266" y="142"/>
                  </a:lnTo>
                  <a:lnTo>
                    <a:pt x="250" y="142"/>
                  </a:lnTo>
                  <a:lnTo>
                    <a:pt x="266" y="137"/>
                  </a:lnTo>
                  <a:lnTo>
                    <a:pt x="266" y="126"/>
                  </a:lnTo>
                  <a:lnTo>
                    <a:pt x="255" y="120"/>
                  </a:lnTo>
                  <a:lnTo>
                    <a:pt x="245" y="131"/>
                  </a:lnTo>
                  <a:lnTo>
                    <a:pt x="250" y="120"/>
                  </a:lnTo>
                  <a:lnTo>
                    <a:pt x="239" y="126"/>
                  </a:lnTo>
                  <a:lnTo>
                    <a:pt x="239" y="115"/>
                  </a:lnTo>
                  <a:lnTo>
                    <a:pt x="239" y="110"/>
                  </a:lnTo>
                  <a:lnTo>
                    <a:pt x="223" y="110"/>
                  </a:lnTo>
                  <a:lnTo>
                    <a:pt x="234" y="110"/>
                  </a:lnTo>
                  <a:lnTo>
                    <a:pt x="234" y="104"/>
                  </a:lnTo>
                  <a:lnTo>
                    <a:pt x="228" y="93"/>
                  </a:lnTo>
                  <a:lnTo>
                    <a:pt x="217" y="88"/>
                  </a:lnTo>
                  <a:lnTo>
                    <a:pt x="212" y="93"/>
                  </a:lnTo>
                  <a:lnTo>
                    <a:pt x="206" y="93"/>
                  </a:lnTo>
                  <a:lnTo>
                    <a:pt x="206" y="104"/>
                  </a:lnTo>
                  <a:lnTo>
                    <a:pt x="201" y="99"/>
                  </a:lnTo>
                  <a:lnTo>
                    <a:pt x="201" y="93"/>
                  </a:lnTo>
                  <a:lnTo>
                    <a:pt x="196" y="99"/>
                  </a:lnTo>
                  <a:lnTo>
                    <a:pt x="201" y="82"/>
                  </a:lnTo>
                  <a:lnTo>
                    <a:pt x="185" y="88"/>
                  </a:lnTo>
                  <a:lnTo>
                    <a:pt x="196" y="82"/>
                  </a:lnTo>
                  <a:lnTo>
                    <a:pt x="196" y="71"/>
                  </a:lnTo>
                  <a:lnTo>
                    <a:pt x="185" y="71"/>
                  </a:lnTo>
                  <a:lnTo>
                    <a:pt x="185" y="60"/>
                  </a:lnTo>
                  <a:lnTo>
                    <a:pt x="179" y="50"/>
                  </a:lnTo>
                  <a:lnTo>
                    <a:pt x="152" y="44"/>
                  </a:lnTo>
                  <a:lnTo>
                    <a:pt x="141" y="55"/>
                  </a:lnTo>
                  <a:lnTo>
                    <a:pt x="147" y="60"/>
                  </a:lnTo>
                  <a:lnTo>
                    <a:pt x="136" y="66"/>
                  </a:lnTo>
                  <a:lnTo>
                    <a:pt x="125" y="60"/>
                  </a:lnTo>
                  <a:lnTo>
                    <a:pt x="125" y="55"/>
                  </a:lnTo>
                  <a:lnTo>
                    <a:pt x="125" y="66"/>
                  </a:lnTo>
                  <a:lnTo>
                    <a:pt x="114" y="77"/>
                  </a:lnTo>
                  <a:lnTo>
                    <a:pt x="114" y="71"/>
                  </a:lnTo>
                  <a:lnTo>
                    <a:pt x="114" y="66"/>
                  </a:lnTo>
                  <a:lnTo>
                    <a:pt x="119" y="44"/>
                  </a:lnTo>
                  <a:lnTo>
                    <a:pt x="114" y="39"/>
                  </a:lnTo>
                  <a:lnTo>
                    <a:pt x="114" y="33"/>
                  </a:lnTo>
                  <a:lnTo>
                    <a:pt x="108" y="22"/>
                  </a:lnTo>
                  <a:lnTo>
                    <a:pt x="103" y="0"/>
                  </a:lnTo>
                  <a:lnTo>
                    <a:pt x="81" y="11"/>
                  </a:lnTo>
                  <a:lnTo>
                    <a:pt x="76" y="11"/>
                  </a:lnTo>
                  <a:lnTo>
                    <a:pt x="81" y="17"/>
                  </a:lnTo>
                  <a:lnTo>
                    <a:pt x="81" y="22"/>
                  </a:lnTo>
                  <a:lnTo>
                    <a:pt x="70" y="17"/>
                  </a:lnTo>
                  <a:lnTo>
                    <a:pt x="70" y="22"/>
                  </a:lnTo>
                  <a:lnTo>
                    <a:pt x="59" y="22"/>
                  </a:lnTo>
                  <a:lnTo>
                    <a:pt x="65" y="28"/>
                  </a:lnTo>
                  <a:lnTo>
                    <a:pt x="76" y="33"/>
                  </a:lnTo>
                  <a:lnTo>
                    <a:pt x="54" y="33"/>
                  </a:lnTo>
                  <a:lnTo>
                    <a:pt x="76" y="44"/>
                  </a:lnTo>
                  <a:lnTo>
                    <a:pt x="54" y="39"/>
                  </a:lnTo>
                  <a:lnTo>
                    <a:pt x="54" y="55"/>
                  </a:lnTo>
                  <a:lnTo>
                    <a:pt x="65" y="60"/>
                  </a:lnTo>
                  <a:lnTo>
                    <a:pt x="49" y="77"/>
                  </a:lnTo>
                  <a:lnTo>
                    <a:pt x="59" y="88"/>
                  </a:lnTo>
                  <a:lnTo>
                    <a:pt x="65" y="88"/>
                  </a:lnTo>
                  <a:lnTo>
                    <a:pt x="65" y="110"/>
                  </a:lnTo>
                  <a:lnTo>
                    <a:pt x="65" y="115"/>
                  </a:lnTo>
                  <a:lnTo>
                    <a:pt x="59" y="110"/>
                  </a:lnTo>
                  <a:lnTo>
                    <a:pt x="43" y="110"/>
                  </a:lnTo>
                  <a:lnTo>
                    <a:pt x="65" y="104"/>
                  </a:lnTo>
                  <a:lnTo>
                    <a:pt x="49" y="77"/>
                  </a:lnTo>
                  <a:lnTo>
                    <a:pt x="43" y="71"/>
                  </a:lnTo>
                  <a:lnTo>
                    <a:pt x="49" y="60"/>
                  </a:lnTo>
                  <a:lnTo>
                    <a:pt x="43" y="50"/>
                  </a:lnTo>
                  <a:lnTo>
                    <a:pt x="49" y="28"/>
                  </a:lnTo>
                  <a:lnTo>
                    <a:pt x="65" y="0"/>
                  </a:lnTo>
                  <a:lnTo>
                    <a:pt x="32" y="0"/>
                  </a:lnTo>
                  <a:lnTo>
                    <a:pt x="10" y="28"/>
                  </a:lnTo>
                  <a:lnTo>
                    <a:pt x="10" y="44"/>
                  </a:lnTo>
                  <a:lnTo>
                    <a:pt x="5" y="44"/>
                  </a:lnTo>
                  <a:lnTo>
                    <a:pt x="0" y="60"/>
                  </a:lnTo>
                  <a:lnTo>
                    <a:pt x="5" y="66"/>
                  </a:lnTo>
                  <a:lnTo>
                    <a:pt x="0" y="77"/>
                  </a:lnTo>
                  <a:lnTo>
                    <a:pt x="5" y="82"/>
                  </a:lnTo>
                  <a:lnTo>
                    <a:pt x="0" y="99"/>
                  </a:lnTo>
                  <a:lnTo>
                    <a:pt x="38" y="115"/>
                  </a:lnTo>
                  <a:lnTo>
                    <a:pt x="10" y="110"/>
                  </a:lnTo>
                  <a:lnTo>
                    <a:pt x="10" y="115"/>
                  </a:lnTo>
                  <a:lnTo>
                    <a:pt x="21" y="137"/>
                  </a:lnTo>
                  <a:lnTo>
                    <a:pt x="38" y="142"/>
                  </a:lnTo>
                  <a:lnTo>
                    <a:pt x="43" y="131"/>
                  </a:lnTo>
                  <a:lnTo>
                    <a:pt x="43" y="142"/>
                  </a:lnTo>
                  <a:lnTo>
                    <a:pt x="49" y="148"/>
                  </a:lnTo>
                  <a:lnTo>
                    <a:pt x="87" y="148"/>
                  </a:lnTo>
                  <a:lnTo>
                    <a:pt x="98" y="159"/>
                  </a:lnTo>
                  <a:lnTo>
                    <a:pt x="103" y="153"/>
                  </a:lnTo>
                  <a:lnTo>
                    <a:pt x="108" y="159"/>
                  </a:lnTo>
                  <a:lnTo>
                    <a:pt x="114" y="159"/>
                  </a:lnTo>
                  <a:lnTo>
                    <a:pt x="114" y="153"/>
                  </a:lnTo>
                  <a:lnTo>
                    <a:pt x="103" y="148"/>
                  </a:lnTo>
                  <a:lnTo>
                    <a:pt x="125" y="153"/>
                  </a:lnTo>
                  <a:lnTo>
                    <a:pt x="136" y="153"/>
                  </a:lnTo>
                  <a:lnTo>
                    <a:pt x="141" y="153"/>
                  </a:lnTo>
                  <a:lnTo>
                    <a:pt x="136" y="137"/>
                  </a:lnTo>
                  <a:lnTo>
                    <a:pt x="130" y="137"/>
                  </a:lnTo>
                  <a:lnTo>
                    <a:pt x="141" y="137"/>
                  </a:lnTo>
                  <a:lnTo>
                    <a:pt x="147" y="142"/>
                  </a:lnTo>
                  <a:lnTo>
                    <a:pt x="152" y="142"/>
                  </a:lnTo>
                  <a:lnTo>
                    <a:pt x="152" y="153"/>
                  </a:lnTo>
                  <a:lnTo>
                    <a:pt x="163" y="153"/>
                  </a:lnTo>
                  <a:lnTo>
                    <a:pt x="163" y="159"/>
                  </a:lnTo>
                  <a:lnTo>
                    <a:pt x="157" y="164"/>
                  </a:lnTo>
                  <a:lnTo>
                    <a:pt x="174" y="175"/>
                  </a:lnTo>
                  <a:lnTo>
                    <a:pt x="179" y="180"/>
                  </a:lnTo>
                  <a:lnTo>
                    <a:pt x="174" y="186"/>
                  </a:lnTo>
                  <a:lnTo>
                    <a:pt x="163" y="186"/>
                  </a:lnTo>
                  <a:lnTo>
                    <a:pt x="168" y="197"/>
                  </a:lnTo>
                  <a:lnTo>
                    <a:pt x="179" y="186"/>
                  </a:lnTo>
                  <a:lnTo>
                    <a:pt x="185" y="186"/>
                  </a:lnTo>
                  <a:lnTo>
                    <a:pt x="185" y="191"/>
                  </a:lnTo>
                  <a:lnTo>
                    <a:pt x="196" y="202"/>
                  </a:lnTo>
                  <a:lnTo>
                    <a:pt x="196" y="197"/>
                  </a:lnTo>
                  <a:lnTo>
                    <a:pt x="201" y="197"/>
                  </a:lnTo>
                  <a:lnTo>
                    <a:pt x="201" y="208"/>
                  </a:lnTo>
                  <a:lnTo>
                    <a:pt x="212" y="213"/>
                  </a:lnTo>
                  <a:lnTo>
                    <a:pt x="217" y="240"/>
                  </a:lnTo>
                  <a:lnTo>
                    <a:pt x="212" y="251"/>
                  </a:lnTo>
                  <a:lnTo>
                    <a:pt x="212" y="257"/>
                  </a:lnTo>
                  <a:lnTo>
                    <a:pt x="190" y="279"/>
                  </a:lnTo>
                  <a:lnTo>
                    <a:pt x="201" y="295"/>
                  </a:lnTo>
                  <a:lnTo>
                    <a:pt x="201" y="301"/>
                  </a:lnTo>
                  <a:lnTo>
                    <a:pt x="196" y="295"/>
                  </a:lnTo>
                  <a:lnTo>
                    <a:pt x="179" y="301"/>
                  </a:lnTo>
                  <a:lnTo>
                    <a:pt x="157" y="301"/>
                  </a:lnTo>
                  <a:lnTo>
                    <a:pt x="157" y="306"/>
                  </a:lnTo>
                  <a:lnTo>
                    <a:pt x="152" y="311"/>
                  </a:lnTo>
                  <a:lnTo>
                    <a:pt x="147" y="322"/>
                  </a:lnTo>
                  <a:lnTo>
                    <a:pt x="152" y="328"/>
                  </a:lnTo>
                  <a:lnTo>
                    <a:pt x="163" y="333"/>
                  </a:lnTo>
                  <a:lnTo>
                    <a:pt x="174" y="328"/>
                  </a:lnTo>
                  <a:lnTo>
                    <a:pt x="174" y="322"/>
                  </a:lnTo>
                  <a:lnTo>
                    <a:pt x="179" y="322"/>
                  </a:lnTo>
                  <a:lnTo>
                    <a:pt x="190" y="328"/>
                  </a:lnTo>
                  <a:lnTo>
                    <a:pt x="185" y="317"/>
                  </a:lnTo>
                  <a:lnTo>
                    <a:pt x="190" y="311"/>
                  </a:lnTo>
                  <a:lnTo>
                    <a:pt x="190" y="322"/>
                  </a:lnTo>
                  <a:lnTo>
                    <a:pt x="206" y="322"/>
                  </a:lnTo>
                  <a:lnTo>
                    <a:pt x="212" y="339"/>
                  </a:lnTo>
                  <a:lnTo>
                    <a:pt x="234" y="350"/>
                  </a:lnTo>
                  <a:lnTo>
                    <a:pt x="223" y="355"/>
                  </a:lnTo>
                  <a:lnTo>
                    <a:pt x="223" y="350"/>
                  </a:lnTo>
                  <a:lnTo>
                    <a:pt x="234" y="366"/>
                  </a:lnTo>
                  <a:lnTo>
                    <a:pt x="245" y="371"/>
                  </a:lnTo>
                  <a:lnTo>
                    <a:pt x="250" y="371"/>
                  </a:lnTo>
                  <a:lnTo>
                    <a:pt x="255" y="371"/>
                  </a:lnTo>
                  <a:lnTo>
                    <a:pt x="261" y="382"/>
                  </a:lnTo>
                  <a:lnTo>
                    <a:pt x="266" y="388"/>
                  </a:lnTo>
                  <a:lnTo>
                    <a:pt x="283" y="393"/>
                  </a:lnTo>
                  <a:lnTo>
                    <a:pt x="288" y="388"/>
                  </a:lnTo>
                  <a:lnTo>
                    <a:pt x="293" y="399"/>
                  </a:lnTo>
                  <a:lnTo>
                    <a:pt x="299" y="393"/>
                  </a:lnTo>
                  <a:lnTo>
                    <a:pt x="293" y="382"/>
                  </a:lnTo>
                  <a:lnTo>
                    <a:pt x="277" y="36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4" name="Freeform 816"/>
            <p:cNvSpPr>
              <a:spLocks/>
            </p:cNvSpPr>
            <p:nvPr/>
          </p:nvSpPr>
          <p:spPr bwMode="auto">
            <a:xfrm>
              <a:off x="1991" y="2178"/>
              <a:ext cx="81" cy="93"/>
            </a:xfrm>
            <a:custGeom>
              <a:avLst/>
              <a:gdLst>
                <a:gd name="T0" fmla="*/ 38 w 81"/>
                <a:gd name="T1" fmla="*/ 0 h 93"/>
                <a:gd name="T2" fmla="*/ 32 w 81"/>
                <a:gd name="T3" fmla="*/ 5 h 93"/>
                <a:gd name="T4" fmla="*/ 21 w 81"/>
                <a:gd name="T5" fmla="*/ 16 h 93"/>
                <a:gd name="T6" fmla="*/ 21 w 81"/>
                <a:gd name="T7" fmla="*/ 16 h 93"/>
                <a:gd name="T8" fmla="*/ 21 w 81"/>
                <a:gd name="T9" fmla="*/ 27 h 93"/>
                <a:gd name="T10" fmla="*/ 21 w 81"/>
                <a:gd name="T11" fmla="*/ 27 h 93"/>
                <a:gd name="T12" fmla="*/ 16 w 81"/>
                <a:gd name="T13" fmla="*/ 27 h 93"/>
                <a:gd name="T14" fmla="*/ 16 w 81"/>
                <a:gd name="T15" fmla="*/ 38 h 93"/>
                <a:gd name="T16" fmla="*/ 10 w 81"/>
                <a:gd name="T17" fmla="*/ 44 h 93"/>
                <a:gd name="T18" fmla="*/ 16 w 81"/>
                <a:gd name="T19" fmla="*/ 49 h 93"/>
                <a:gd name="T20" fmla="*/ 10 w 81"/>
                <a:gd name="T21" fmla="*/ 49 h 93"/>
                <a:gd name="T22" fmla="*/ 5 w 81"/>
                <a:gd name="T23" fmla="*/ 54 h 93"/>
                <a:gd name="T24" fmla="*/ 0 w 81"/>
                <a:gd name="T25" fmla="*/ 60 h 93"/>
                <a:gd name="T26" fmla="*/ 10 w 81"/>
                <a:gd name="T27" fmla="*/ 60 h 93"/>
                <a:gd name="T28" fmla="*/ 0 w 81"/>
                <a:gd name="T29" fmla="*/ 71 h 93"/>
                <a:gd name="T30" fmla="*/ 0 w 81"/>
                <a:gd name="T31" fmla="*/ 71 h 93"/>
                <a:gd name="T32" fmla="*/ 0 w 81"/>
                <a:gd name="T33" fmla="*/ 76 h 93"/>
                <a:gd name="T34" fmla="*/ 27 w 81"/>
                <a:gd name="T35" fmla="*/ 76 h 93"/>
                <a:gd name="T36" fmla="*/ 43 w 81"/>
                <a:gd name="T37" fmla="*/ 71 h 93"/>
                <a:gd name="T38" fmla="*/ 38 w 81"/>
                <a:gd name="T39" fmla="*/ 76 h 93"/>
                <a:gd name="T40" fmla="*/ 38 w 81"/>
                <a:gd name="T41" fmla="*/ 76 h 93"/>
                <a:gd name="T42" fmla="*/ 43 w 81"/>
                <a:gd name="T43" fmla="*/ 76 h 93"/>
                <a:gd name="T44" fmla="*/ 49 w 81"/>
                <a:gd name="T45" fmla="*/ 76 h 93"/>
                <a:gd name="T46" fmla="*/ 54 w 81"/>
                <a:gd name="T47" fmla="*/ 76 h 93"/>
                <a:gd name="T48" fmla="*/ 38 w 81"/>
                <a:gd name="T49" fmla="*/ 87 h 93"/>
                <a:gd name="T50" fmla="*/ 43 w 81"/>
                <a:gd name="T51" fmla="*/ 87 h 93"/>
                <a:gd name="T52" fmla="*/ 59 w 81"/>
                <a:gd name="T53" fmla="*/ 76 h 93"/>
                <a:gd name="T54" fmla="*/ 59 w 81"/>
                <a:gd name="T55" fmla="*/ 71 h 93"/>
                <a:gd name="T56" fmla="*/ 59 w 81"/>
                <a:gd name="T57" fmla="*/ 71 h 93"/>
                <a:gd name="T58" fmla="*/ 65 w 81"/>
                <a:gd name="T59" fmla="*/ 82 h 93"/>
                <a:gd name="T60" fmla="*/ 59 w 81"/>
                <a:gd name="T61" fmla="*/ 87 h 93"/>
                <a:gd name="T62" fmla="*/ 70 w 81"/>
                <a:gd name="T63" fmla="*/ 82 h 93"/>
                <a:gd name="T64" fmla="*/ 70 w 81"/>
                <a:gd name="T65" fmla="*/ 93 h 93"/>
                <a:gd name="T66" fmla="*/ 76 w 81"/>
                <a:gd name="T67" fmla="*/ 93 h 93"/>
                <a:gd name="T68" fmla="*/ 81 w 81"/>
                <a:gd name="T69" fmla="*/ 76 h 93"/>
                <a:gd name="T70" fmla="*/ 76 w 81"/>
                <a:gd name="T71" fmla="*/ 71 h 93"/>
                <a:gd name="T72" fmla="*/ 76 w 81"/>
                <a:gd name="T73" fmla="*/ 76 h 93"/>
                <a:gd name="T74" fmla="*/ 76 w 81"/>
                <a:gd name="T75" fmla="*/ 65 h 93"/>
                <a:gd name="T76" fmla="*/ 70 w 81"/>
                <a:gd name="T77" fmla="*/ 76 h 93"/>
                <a:gd name="T78" fmla="*/ 65 w 81"/>
                <a:gd name="T79" fmla="*/ 71 h 93"/>
                <a:gd name="T80" fmla="*/ 65 w 81"/>
                <a:gd name="T81" fmla="*/ 65 h 93"/>
                <a:gd name="T82" fmla="*/ 65 w 81"/>
                <a:gd name="T83" fmla="*/ 65 h 93"/>
                <a:gd name="T84" fmla="*/ 70 w 81"/>
                <a:gd name="T85" fmla="*/ 60 h 93"/>
                <a:gd name="T86" fmla="*/ 76 w 81"/>
                <a:gd name="T87" fmla="*/ 54 h 93"/>
                <a:gd name="T88" fmla="*/ 59 w 81"/>
                <a:gd name="T89" fmla="*/ 60 h 93"/>
                <a:gd name="T90" fmla="*/ 70 w 81"/>
                <a:gd name="T91" fmla="*/ 44 h 93"/>
                <a:gd name="T92" fmla="*/ 59 w 81"/>
                <a:gd name="T93" fmla="*/ 38 h 93"/>
                <a:gd name="T94" fmla="*/ 49 w 81"/>
                <a:gd name="T95" fmla="*/ 44 h 93"/>
                <a:gd name="T96" fmla="*/ 49 w 81"/>
                <a:gd name="T97" fmla="*/ 38 h 93"/>
                <a:gd name="T98" fmla="*/ 38 w 81"/>
                <a:gd name="T99" fmla="*/ 38 h 93"/>
                <a:gd name="T100" fmla="*/ 38 w 81"/>
                <a:gd name="T101" fmla="*/ 38 h 93"/>
                <a:gd name="T102" fmla="*/ 43 w 81"/>
                <a:gd name="T103" fmla="*/ 33 h 93"/>
                <a:gd name="T104" fmla="*/ 38 w 81"/>
                <a:gd name="T105" fmla="*/ 33 h 93"/>
                <a:gd name="T106" fmla="*/ 38 w 81"/>
                <a:gd name="T107" fmla="*/ 27 h 93"/>
                <a:gd name="T108" fmla="*/ 27 w 81"/>
                <a:gd name="T109" fmla="*/ 38 h 93"/>
                <a:gd name="T110" fmla="*/ 27 w 81"/>
                <a:gd name="T111" fmla="*/ 27 h 93"/>
                <a:gd name="T112" fmla="*/ 38 w 81"/>
                <a:gd name="T113" fmla="*/ 22 h 93"/>
                <a:gd name="T114" fmla="*/ 38 w 81"/>
                <a:gd name="T115" fmla="*/ 11 h 93"/>
                <a:gd name="T116" fmla="*/ 38 w 81"/>
                <a:gd name="T117" fmla="*/ 11 h 93"/>
                <a:gd name="T118" fmla="*/ 38 w 81"/>
                <a:gd name="T119" fmla="*/ 11 h 93"/>
                <a:gd name="T120" fmla="*/ 38 w 81"/>
                <a:gd name="T121" fmla="*/ 5 h 93"/>
                <a:gd name="T122" fmla="*/ 43 w 81"/>
                <a:gd name="T123" fmla="*/ 0 h 93"/>
                <a:gd name="T124" fmla="*/ 38 w 81"/>
                <a:gd name="T125" fmla="*/ 0 h 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1"/>
                <a:gd name="T190" fmla="*/ 0 h 93"/>
                <a:gd name="T191" fmla="*/ 81 w 81"/>
                <a:gd name="T192" fmla="*/ 93 h 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1" h="93">
                  <a:moveTo>
                    <a:pt x="38" y="0"/>
                  </a:moveTo>
                  <a:lnTo>
                    <a:pt x="32" y="5"/>
                  </a:lnTo>
                  <a:lnTo>
                    <a:pt x="21" y="16"/>
                  </a:lnTo>
                  <a:lnTo>
                    <a:pt x="21" y="27"/>
                  </a:lnTo>
                  <a:lnTo>
                    <a:pt x="16" y="27"/>
                  </a:lnTo>
                  <a:lnTo>
                    <a:pt x="16" y="38"/>
                  </a:lnTo>
                  <a:lnTo>
                    <a:pt x="10" y="44"/>
                  </a:lnTo>
                  <a:lnTo>
                    <a:pt x="16" y="49"/>
                  </a:lnTo>
                  <a:lnTo>
                    <a:pt x="10" y="49"/>
                  </a:lnTo>
                  <a:lnTo>
                    <a:pt x="5" y="54"/>
                  </a:lnTo>
                  <a:lnTo>
                    <a:pt x="0" y="60"/>
                  </a:lnTo>
                  <a:lnTo>
                    <a:pt x="10" y="60"/>
                  </a:lnTo>
                  <a:lnTo>
                    <a:pt x="0" y="71"/>
                  </a:lnTo>
                  <a:lnTo>
                    <a:pt x="0" y="76"/>
                  </a:lnTo>
                  <a:lnTo>
                    <a:pt x="27" y="76"/>
                  </a:lnTo>
                  <a:lnTo>
                    <a:pt x="43" y="71"/>
                  </a:lnTo>
                  <a:lnTo>
                    <a:pt x="38" y="76"/>
                  </a:lnTo>
                  <a:lnTo>
                    <a:pt x="43" y="76"/>
                  </a:lnTo>
                  <a:lnTo>
                    <a:pt x="49" y="76"/>
                  </a:lnTo>
                  <a:lnTo>
                    <a:pt x="54" y="76"/>
                  </a:lnTo>
                  <a:lnTo>
                    <a:pt x="38" y="87"/>
                  </a:lnTo>
                  <a:lnTo>
                    <a:pt x="43" y="87"/>
                  </a:lnTo>
                  <a:lnTo>
                    <a:pt x="59" y="76"/>
                  </a:lnTo>
                  <a:lnTo>
                    <a:pt x="59" y="71"/>
                  </a:lnTo>
                  <a:lnTo>
                    <a:pt x="65" y="82"/>
                  </a:lnTo>
                  <a:lnTo>
                    <a:pt x="59" y="87"/>
                  </a:lnTo>
                  <a:lnTo>
                    <a:pt x="70" y="82"/>
                  </a:lnTo>
                  <a:lnTo>
                    <a:pt x="70" y="93"/>
                  </a:lnTo>
                  <a:lnTo>
                    <a:pt x="76" y="93"/>
                  </a:lnTo>
                  <a:lnTo>
                    <a:pt x="81" y="76"/>
                  </a:lnTo>
                  <a:lnTo>
                    <a:pt x="76" y="71"/>
                  </a:lnTo>
                  <a:lnTo>
                    <a:pt x="76" y="76"/>
                  </a:lnTo>
                  <a:lnTo>
                    <a:pt x="76" y="65"/>
                  </a:lnTo>
                  <a:lnTo>
                    <a:pt x="70" y="76"/>
                  </a:lnTo>
                  <a:lnTo>
                    <a:pt x="65" y="71"/>
                  </a:lnTo>
                  <a:lnTo>
                    <a:pt x="65" y="65"/>
                  </a:lnTo>
                  <a:lnTo>
                    <a:pt x="70" y="60"/>
                  </a:lnTo>
                  <a:lnTo>
                    <a:pt x="76" y="54"/>
                  </a:lnTo>
                  <a:lnTo>
                    <a:pt x="59" y="60"/>
                  </a:lnTo>
                  <a:lnTo>
                    <a:pt x="70" y="44"/>
                  </a:lnTo>
                  <a:lnTo>
                    <a:pt x="59" y="38"/>
                  </a:lnTo>
                  <a:lnTo>
                    <a:pt x="49" y="44"/>
                  </a:lnTo>
                  <a:lnTo>
                    <a:pt x="49" y="38"/>
                  </a:lnTo>
                  <a:lnTo>
                    <a:pt x="38" y="38"/>
                  </a:lnTo>
                  <a:lnTo>
                    <a:pt x="43" y="33"/>
                  </a:lnTo>
                  <a:lnTo>
                    <a:pt x="38" y="33"/>
                  </a:lnTo>
                  <a:lnTo>
                    <a:pt x="38" y="27"/>
                  </a:lnTo>
                  <a:lnTo>
                    <a:pt x="27" y="38"/>
                  </a:lnTo>
                  <a:lnTo>
                    <a:pt x="27" y="27"/>
                  </a:lnTo>
                  <a:lnTo>
                    <a:pt x="38" y="22"/>
                  </a:lnTo>
                  <a:lnTo>
                    <a:pt x="38" y="11"/>
                  </a:lnTo>
                  <a:lnTo>
                    <a:pt x="38" y="5"/>
                  </a:lnTo>
                  <a:lnTo>
                    <a:pt x="43" y="0"/>
                  </a:lnTo>
                  <a:lnTo>
                    <a:pt x="38"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5" name="Freeform 817"/>
            <p:cNvSpPr>
              <a:spLocks/>
            </p:cNvSpPr>
            <p:nvPr/>
          </p:nvSpPr>
          <p:spPr bwMode="auto">
            <a:xfrm>
              <a:off x="1664" y="2784"/>
              <a:ext cx="38" cy="32"/>
            </a:xfrm>
            <a:custGeom>
              <a:avLst/>
              <a:gdLst>
                <a:gd name="T0" fmla="*/ 38 w 38"/>
                <a:gd name="T1" fmla="*/ 16 h 32"/>
                <a:gd name="T2" fmla="*/ 33 w 38"/>
                <a:gd name="T3" fmla="*/ 11 h 32"/>
                <a:gd name="T4" fmla="*/ 27 w 38"/>
                <a:gd name="T5" fmla="*/ 0 h 32"/>
                <a:gd name="T6" fmla="*/ 22 w 38"/>
                <a:gd name="T7" fmla="*/ 0 h 32"/>
                <a:gd name="T8" fmla="*/ 16 w 38"/>
                <a:gd name="T9" fmla="*/ 0 h 32"/>
                <a:gd name="T10" fmla="*/ 0 w 38"/>
                <a:gd name="T11" fmla="*/ 0 h 32"/>
                <a:gd name="T12" fmla="*/ 0 w 38"/>
                <a:gd name="T13" fmla="*/ 5 h 32"/>
                <a:gd name="T14" fmla="*/ 0 w 38"/>
                <a:gd name="T15" fmla="*/ 11 h 32"/>
                <a:gd name="T16" fmla="*/ 11 w 38"/>
                <a:gd name="T17" fmla="*/ 16 h 32"/>
                <a:gd name="T18" fmla="*/ 11 w 38"/>
                <a:gd name="T19" fmla="*/ 11 h 32"/>
                <a:gd name="T20" fmla="*/ 5 w 38"/>
                <a:gd name="T21" fmla="*/ 11 h 32"/>
                <a:gd name="T22" fmla="*/ 11 w 38"/>
                <a:gd name="T23" fmla="*/ 11 h 32"/>
                <a:gd name="T24" fmla="*/ 16 w 38"/>
                <a:gd name="T25" fmla="*/ 16 h 32"/>
                <a:gd name="T26" fmla="*/ 27 w 38"/>
                <a:gd name="T27" fmla="*/ 21 h 32"/>
                <a:gd name="T28" fmla="*/ 27 w 38"/>
                <a:gd name="T29" fmla="*/ 27 h 32"/>
                <a:gd name="T30" fmla="*/ 27 w 38"/>
                <a:gd name="T31" fmla="*/ 32 h 32"/>
                <a:gd name="T32" fmla="*/ 33 w 38"/>
                <a:gd name="T33" fmla="*/ 27 h 32"/>
                <a:gd name="T34" fmla="*/ 33 w 38"/>
                <a:gd name="T35" fmla="*/ 32 h 32"/>
                <a:gd name="T36" fmla="*/ 38 w 38"/>
                <a:gd name="T37" fmla="*/ 21 h 32"/>
                <a:gd name="T38" fmla="*/ 33 w 38"/>
                <a:gd name="T39" fmla="*/ 21 h 32"/>
                <a:gd name="T40" fmla="*/ 33 w 38"/>
                <a:gd name="T41" fmla="*/ 16 h 32"/>
                <a:gd name="T42" fmla="*/ 38 w 38"/>
                <a:gd name="T43" fmla="*/ 16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8"/>
                <a:gd name="T67" fmla="*/ 0 h 32"/>
                <a:gd name="T68" fmla="*/ 38 w 38"/>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8" h="32">
                  <a:moveTo>
                    <a:pt x="38" y="16"/>
                  </a:moveTo>
                  <a:lnTo>
                    <a:pt x="33" y="11"/>
                  </a:lnTo>
                  <a:lnTo>
                    <a:pt x="27" y="0"/>
                  </a:lnTo>
                  <a:lnTo>
                    <a:pt x="22" y="0"/>
                  </a:lnTo>
                  <a:lnTo>
                    <a:pt x="16" y="0"/>
                  </a:lnTo>
                  <a:lnTo>
                    <a:pt x="0" y="0"/>
                  </a:lnTo>
                  <a:lnTo>
                    <a:pt x="0" y="5"/>
                  </a:lnTo>
                  <a:lnTo>
                    <a:pt x="0" y="11"/>
                  </a:lnTo>
                  <a:lnTo>
                    <a:pt x="11" y="16"/>
                  </a:lnTo>
                  <a:lnTo>
                    <a:pt x="11" y="11"/>
                  </a:lnTo>
                  <a:lnTo>
                    <a:pt x="5" y="11"/>
                  </a:lnTo>
                  <a:lnTo>
                    <a:pt x="11" y="11"/>
                  </a:lnTo>
                  <a:lnTo>
                    <a:pt x="16" y="16"/>
                  </a:lnTo>
                  <a:lnTo>
                    <a:pt x="27" y="21"/>
                  </a:lnTo>
                  <a:lnTo>
                    <a:pt x="27" y="27"/>
                  </a:lnTo>
                  <a:lnTo>
                    <a:pt x="27" y="32"/>
                  </a:lnTo>
                  <a:lnTo>
                    <a:pt x="33" y="27"/>
                  </a:lnTo>
                  <a:lnTo>
                    <a:pt x="33" y="32"/>
                  </a:lnTo>
                  <a:lnTo>
                    <a:pt x="38" y="21"/>
                  </a:lnTo>
                  <a:lnTo>
                    <a:pt x="33" y="21"/>
                  </a:lnTo>
                  <a:lnTo>
                    <a:pt x="33" y="16"/>
                  </a:lnTo>
                  <a:lnTo>
                    <a:pt x="38"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6" name="Freeform 818"/>
            <p:cNvSpPr>
              <a:spLocks/>
            </p:cNvSpPr>
            <p:nvPr/>
          </p:nvSpPr>
          <p:spPr bwMode="auto">
            <a:xfrm>
              <a:off x="1675" y="2625"/>
              <a:ext cx="131" cy="44"/>
            </a:xfrm>
            <a:custGeom>
              <a:avLst/>
              <a:gdLst>
                <a:gd name="T0" fmla="*/ 92 w 131"/>
                <a:gd name="T1" fmla="*/ 22 h 44"/>
                <a:gd name="T2" fmla="*/ 98 w 131"/>
                <a:gd name="T3" fmla="*/ 28 h 44"/>
                <a:gd name="T4" fmla="*/ 114 w 131"/>
                <a:gd name="T5" fmla="*/ 28 h 44"/>
                <a:gd name="T6" fmla="*/ 114 w 131"/>
                <a:gd name="T7" fmla="*/ 33 h 44"/>
                <a:gd name="T8" fmla="*/ 120 w 131"/>
                <a:gd name="T9" fmla="*/ 33 h 44"/>
                <a:gd name="T10" fmla="*/ 131 w 131"/>
                <a:gd name="T11" fmla="*/ 39 h 44"/>
                <a:gd name="T12" fmla="*/ 114 w 131"/>
                <a:gd name="T13" fmla="*/ 44 h 44"/>
                <a:gd name="T14" fmla="*/ 87 w 131"/>
                <a:gd name="T15" fmla="*/ 44 h 44"/>
                <a:gd name="T16" fmla="*/ 87 w 131"/>
                <a:gd name="T17" fmla="*/ 44 h 44"/>
                <a:gd name="T18" fmla="*/ 98 w 131"/>
                <a:gd name="T19" fmla="*/ 39 h 44"/>
                <a:gd name="T20" fmla="*/ 82 w 131"/>
                <a:gd name="T21" fmla="*/ 33 h 44"/>
                <a:gd name="T22" fmla="*/ 76 w 131"/>
                <a:gd name="T23" fmla="*/ 22 h 44"/>
                <a:gd name="T24" fmla="*/ 60 w 131"/>
                <a:gd name="T25" fmla="*/ 22 h 44"/>
                <a:gd name="T26" fmla="*/ 54 w 131"/>
                <a:gd name="T27" fmla="*/ 17 h 44"/>
                <a:gd name="T28" fmla="*/ 33 w 131"/>
                <a:gd name="T29" fmla="*/ 17 h 44"/>
                <a:gd name="T30" fmla="*/ 33 w 131"/>
                <a:gd name="T31" fmla="*/ 11 h 44"/>
                <a:gd name="T32" fmla="*/ 38 w 131"/>
                <a:gd name="T33" fmla="*/ 11 h 44"/>
                <a:gd name="T34" fmla="*/ 38 w 131"/>
                <a:gd name="T35" fmla="*/ 6 h 44"/>
                <a:gd name="T36" fmla="*/ 27 w 131"/>
                <a:gd name="T37" fmla="*/ 6 h 44"/>
                <a:gd name="T38" fmla="*/ 22 w 131"/>
                <a:gd name="T39" fmla="*/ 11 h 44"/>
                <a:gd name="T40" fmla="*/ 11 w 131"/>
                <a:gd name="T41" fmla="*/ 17 h 44"/>
                <a:gd name="T42" fmla="*/ 5 w 131"/>
                <a:gd name="T43" fmla="*/ 22 h 44"/>
                <a:gd name="T44" fmla="*/ 0 w 131"/>
                <a:gd name="T45" fmla="*/ 17 h 44"/>
                <a:gd name="T46" fmla="*/ 5 w 131"/>
                <a:gd name="T47" fmla="*/ 17 h 44"/>
                <a:gd name="T48" fmla="*/ 5 w 131"/>
                <a:gd name="T49" fmla="*/ 11 h 44"/>
                <a:gd name="T50" fmla="*/ 11 w 131"/>
                <a:gd name="T51" fmla="*/ 6 h 44"/>
                <a:gd name="T52" fmla="*/ 27 w 131"/>
                <a:gd name="T53" fmla="*/ 0 h 44"/>
                <a:gd name="T54" fmla="*/ 38 w 131"/>
                <a:gd name="T55" fmla="*/ 0 h 44"/>
                <a:gd name="T56" fmla="*/ 60 w 131"/>
                <a:gd name="T57" fmla="*/ 6 h 44"/>
                <a:gd name="T58" fmla="*/ 65 w 131"/>
                <a:gd name="T59" fmla="*/ 11 h 44"/>
                <a:gd name="T60" fmla="*/ 76 w 131"/>
                <a:gd name="T61" fmla="*/ 11 h 44"/>
                <a:gd name="T62" fmla="*/ 82 w 131"/>
                <a:gd name="T63" fmla="*/ 17 h 44"/>
                <a:gd name="T64" fmla="*/ 92 w 131"/>
                <a:gd name="T65" fmla="*/ 22 h 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1"/>
                <a:gd name="T100" fmla="*/ 0 h 44"/>
                <a:gd name="T101" fmla="*/ 131 w 131"/>
                <a:gd name="T102" fmla="*/ 44 h 4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1" h="44">
                  <a:moveTo>
                    <a:pt x="92" y="22"/>
                  </a:moveTo>
                  <a:lnTo>
                    <a:pt x="98" y="28"/>
                  </a:lnTo>
                  <a:lnTo>
                    <a:pt x="114" y="28"/>
                  </a:lnTo>
                  <a:lnTo>
                    <a:pt x="114" y="33"/>
                  </a:lnTo>
                  <a:lnTo>
                    <a:pt x="120" y="33"/>
                  </a:lnTo>
                  <a:lnTo>
                    <a:pt x="131" y="39"/>
                  </a:lnTo>
                  <a:lnTo>
                    <a:pt x="114" y="44"/>
                  </a:lnTo>
                  <a:lnTo>
                    <a:pt x="87" y="44"/>
                  </a:lnTo>
                  <a:lnTo>
                    <a:pt x="98" y="39"/>
                  </a:lnTo>
                  <a:lnTo>
                    <a:pt x="82" y="33"/>
                  </a:lnTo>
                  <a:lnTo>
                    <a:pt x="76" y="22"/>
                  </a:lnTo>
                  <a:lnTo>
                    <a:pt x="60" y="22"/>
                  </a:lnTo>
                  <a:lnTo>
                    <a:pt x="54" y="17"/>
                  </a:lnTo>
                  <a:lnTo>
                    <a:pt x="33" y="17"/>
                  </a:lnTo>
                  <a:lnTo>
                    <a:pt x="33" y="11"/>
                  </a:lnTo>
                  <a:lnTo>
                    <a:pt x="38" y="11"/>
                  </a:lnTo>
                  <a:lnTo>
                    <a:pt x="38" y="6"/>
                  </a:lnTo>
                  <a:lnTo>
                    <a:pt x="27" y="6"/>
                  </a:lnTo>
                  <a:lnTo>
                    <a:pt x="22" y="11"/>
                  </a:lnTo>
                  <a:lnTo>
                    <a:pt x="11" y="17"/>
                  </a:lnTo>
                  <a:lnTo>
                    <a:pt x="5" y="22"/>
                  </a:lnTo>
                  <a:lnTo>
                    <a:pt x="0" y="17"/>
                  </a:lnTo>
                  <a:lnTo>
                    <a:pt x="5" y="17"/>
                  </a:lnTo>
                  <a:lnTo>
                    <a:pt x="5" y="11"/>
                  </a:lnTo>
                  <a:lnTo>
                    <a:pt x="11" y="6"/>
                  </a:lnTo>
                  <a:lnTo>
                    <a:pt x="27" y="0"/>
                  </a:lnTo>
                  <a:lnTo>
                    <a:pt x="38" y="0"/>
                  </a:lnTo>
                  <a:lnTo>
                    <a:pt x="60" y="6"/>
                  </a:lnTo>
                  <a:lnTo>
                    <a:pt x="65" y="11"/>
                  </a:lnTo>
                  <a:lnTo>
                    <a:pt x="76" y="11"/>
                  </a:lnTo>
                  <a:lnTo>
                    <a:pt x="82" y="17"/>
                  </a:lnTo>
                  <a:lnTo>
                    <a:pt x="92" y="2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7" name="Freeform 819"/>
            <p:cNvSpPr>
              <a:spLocks/>
            </p:cNvSpPr>
            <p:nvPr/>
          </p:nvSpPr>
          <p:spPr bwMode="auto">
            <a:xfrm>
              <a:off x="1751" y="2636"/>
              <a:ext cx="11" cy="6"/>
            </a:xfrm>
            <a:custGeom>
              <a:avLst/>
              <a:gdLst>
                <a:gd name="T0" fmla="*/ 6 w 11"/>
                <a:gd name="T1" fmla="*/ 0 h 6"/>
                <a:gd name="T2" fmla="*/ 11 w 11"/>
                <a:gd name="T3" fmla="*/ 6 h 6"/>
                <a:gd name="T4" fmla="*/ 11 w 11"/>
                <a:gd name="T5" fmla="*/ 6 h 6"/>
                <a:gd name="T6" fmla="*/ 11 w 11"/>
                <a:gd name="T7" fmla="*/ 6 h 6"/>
                <a:gd name="T8" fmla="*/ 0 w 11"/>
                <a:gd name="T9" fmla="*/ 0 h 6"/>
                <a:gd name="T10" fmla="*/ 6 w 11"/>
                <a:gd name="T11" fmla="*/ 0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6" y="0"/>
                  </a:moveTo>
                  <a:lnTo>
                    <a:pt x="11" y="6"/>
                  </a:lnTo>
                  <a:lnTo>
                    <a:pt x="0"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798" name="Rectangle 820"/>
            <p:cNvSpPr>
              <a:spLocks noChangeArrowheads="1"/>
            </p:cNvSpPr>
            <p:nvPr/>
          </p:nvSpPr>
          <p:spPr bwMode="auto">
            <a:xfrm>
              <a:off x="1697" y="2642"/>
              <a:ext cx="5"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799" name="Freeform 821"/>
            <p:cNvSpPr>
              <a:spLocks/>
            </p:cNvSpPr>
            <p:nvPr/>
          </p:nvSpPr>
          <p:spPr bwMode="auto">
            <a:xfrm>
              <a:off x="1833" y="2669"/>
              <a:ext cx="43" cy="27"/>
            </a:xfrm>
            <a:custGeom>
              <a:avLst/>
              <a:gdLst>
                <a:gd name="T0" fmla="*/ 0 w 43"/>
                <a:gd name="T1" fmla="*/ 0 h 27"/>
                <a:gd name="T2" fmla="*/ 5 w 43"/>
                <a:gd name="T3" fmla="*/ 11 h 27"/>
                <a:gd name="T4" fmla="*/ 0 w 43"/>
                <a:gd name="T5" fmla="*/ 16 h 27"/>
                <a:gd name="T6" fmla="*/ 5 w 43"/>
                <a:gd name="T7" fmla="*/ 22 h 27"/>
                <a:gd name="T8" fmla="*/ 5 w 43"/>
                <a:gd name="T9" fmla="*/ 27 h 27"/>
                <a:gd name="T10" fmla="*/ 16 w 43"/>
                <a:gd name="T11" fmla="*/ 16 h 27"/>
                <a:gd name="T12" fmla="*/ 16 w 43"/>
                <a:gd name="T13" fmla="*/ 22 h 27"/>
                <a:gd name="T14" fmla="*/ 27 w 43"/>
                <a:gd name="T15" fmla="*/ 16 h 27"/>
                <a:gd name="T16" fmla="*/ 43 w 43"/>
                <a:gd name="T17" fmla="*/ 22 h 27"/>
                <a:gd name="T18" fmla="*/ 43 w 43"/>
                <a:gd name="T19" fmla="*/ 16 h 27"/>
                <a:gd name="T20" fmla="*/ 38 w 43"/>
                <a:gd name="T21" fmla="*/ 11 h 27"/>
                <a:gd name="T22" fmla="*/ 32 w 43"/>
                <a:gd name="T23" fmla="*/ 11 h 27"/>
                <a:gd name="T24" fmla="*/ 32 w 43"/>
                <a:gd name="T25" fmla="*/ 5 h 27"/>
                <a:gd name="T26" fmla="*/ 27 w 43"/>
                <a:gd name="T27" fmla="*/ 5 h 27"/>
                <a:gd name="T28" fmla="*/ 27 w 43"/>
                <a:gd name="T29" fmla="*/ 5 h 27"/>
                <a:gd name="T30" fmla="*/ 16 w 43"/>
                <a:gd name="T31" fmla="*/ 0 h 27"/>
                <a:gd name="T32" fmla="*/ 0 w 43"/>
                <a:gd name="T33" fmla="*/ 0 h 2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3"/>
                <a:gd name="T52" fmla="*/ 0 h 27"/>
                <a:gd name="T53" fmla="*/ 43 w 43"/>
                <a:gd name="T54" fmla="*/ 27 h 2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3" h="27">
                  <a:moveTo>
                    <a:pt x="0" y="0"/>
                  </a:moveTo>
                  <a:lnTo>
                    <a:pt x="5" y="11"/>
                  </a:lnTo>
                  <a:lnTo>
                    <a:pt x="0" y="16"/>
                  </a:lnTo>
                  <a:lnTo>
                    <a:pt x="5" y="22"/>
                  </a:lnTo>
                  <a:lnTo>
                    <a:pt x="5" y="27"/>
                  </a:lnTo>
                  <a:lnTo>
                    <a:pt x="16" y="16"/>
                  </a:lnTo>
                  <a:lnTo>
                    <a:pt x="16" y="22"/>
                  </a:lnTo>
                  <a:lnTo>
                    <a:pt x="27" y="16"/>
                  </a:lnTo>
                  <a:lnTo>
                    <a:pt x="43" y="22"/>
                  </a:lnTo>
                  <a:lnTo>
                    <a:pt x="43" y="16"/>
                  </a:lnTo>
                  <a:lnTo>
                    <a:pt x="38" y="11"/>
                  </a:lnTo>
                  <a:lnTo>
                    <a:pt x="32" y="11"/>
                  </a:lnTo>
                  <a:lnTo>
                    <a:pt x="32" y="5"/>
                  </a:lnTo>
                  <a:lnTo>
                    <a:pt x="27" y="5"/>
                  </a:lnTo>
                  <a:lnTo>
                    <a:pt x="1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0" name="Freeform 822"/>
            <p:cNvSpPr>
              <a:spLocks/>
            </p:cNvSpPr>
            <p:nvPr/>
          </p:nvSpPr>
          <p:spPr bwMode="auto">
            <a:xfrm>
              <a:off x="1610" y="2740"/>
              <a:ext cx="27" cy="16"/>
            </a:xfrm>
            <a:custGeom>
              <a:avLst/>
              <a:gdLst>
                <a:gd name="T0" fmla="*/ 0 w 27"/>
                <a:gd name="T1" fmla="*/ 5 h 16"/>
                <a:gd name="T2" fmla="*/ 16 w 27"/>
                <a:gd name="T3" fmla="*/ 16 h 16"/>
                <a:gd name="T4" fmla="*/ 27 w 27"/>
                <a:gd name="T5" fmla="*/ 16 h 16"/>
                <a:gd name="T6" fmla="*/ 27 w 27"/>
                <a:gd name="T7" fmla="*/ 11 h 16"/>
                <a:gd name="T8" fmla="*/ 27 w 27"/>
                <a:gd name="T9" fmla="*/ 5 h 16"/>
                <a:gd name="T10" fmla="*/ 21 w 27"/>
                <a:gd name="T11" fmla="*/ 5 h 16"/>
                <a:gd name="T12" fmla="*/ 10 w 27"/>
                <a:gd name="T13" fmla="*/ 0 h 16"/>
                <a:gd name="T14" fmla="*/ 0 w 27"/>
                <a:gd name="T15" fmla="*/ 5 h 16"/>
                <a:gd name="T16" fmla="*/ 0 60000 65536"/>
                <a:gd name="T17" fmla="*/ 0 60000 65536"/>
                <a:gd name="T18" fmla="*/ 0 60000 65536"/>
                <a:gd name="T19" fmla="*/ 0 60000 65536"/>
                <a:gd name="T20" fmla="*/ 0 60000 65536"/>
                <a:gd name="T21" fmla="*/ 0 60000 65536"/>
                <a:gd name="T22" fmla="*/ 0 60000 65536"/>
                <a:gd name="T23" fmla="*/ 0 60000 65536"/>
                <a:gd name="T24" fmla="*/ 0 w 27"/>
                <a:gd name="T25" fmla="*/ 0 h 16"/>
                <a:gd name="T26" fmla="*/ 27 w 27"/>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 h="16">
                  <a:moveTo>
                    <a:pt x="0" y="5"/>
                  </a:moveTo>
                  <a:lnTo>
                    <a:pt x="16" y="16"/>
                  </a:lnTo>
                  <a:lnTo>
                    <a:pt x="27" y="16"/>
                  </a:lnTo>
                  <a:lnTo>
                    <a:pt x="27" y="11"/>
                  </a:lnTo>
                  <a:lnTo>
                    <a:pt x="27" y="5"/>
                  </a:lnTo>
                  <a:lnTo>
                    <a:pt x="21" y="5"/>
                  </a:lnTo>
                  <a:lnTo>
                    <a:pt x="1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1" name="Freeform 823"/>
            <p:cNvSpPr>
              <a:spLocks/>
            </p:cNvSpPr>
            <p:nvPr/>
          </p:nvSpPr>
          <p:spPr bwMode="auto">
            <a:xfrm>
              <a:off x="1582" y="2696"/>
              <a:ext cx="49" cy="49"/>
            </a:xfrm>
            <a:custGeom>
              <a:avLst/>
              <a:gdLst>
                <a:gd name="T0" fmla="*/ 49 w 49"/>
                <a:gd name="T1" fmla="*/ 28 h 49"/>
                <a:gd name="T2" fmla="*/ 44 w 49"/>
                <a:gd name="T3" fmla="*/ 22 h 49"/>
                <a:gd name="T4" fmla="*/ 38 w 49"/>
                <a:gd name="T5" fmla="*/ 22 h 49"/>
                <a:gd name="T6" fmla="*/ 38 w 49"/>
                <a:gd name="T7" fmla="*/ 0 h 49"/>
                <a:gd name="T8" fmla="*/ 17 w 49"/>
                <a:gd name="T9" fmla="*/ 0 h 49"/>
                <a:gd name="T10" fmla="*/ 17 w 49"/>
                <a:gd name="T11" fmla="*/ 6 h 49"/>
                <a:gd name="T12" fmla="*/ 11 w 49"/>
                <a:gd name="T13" fmla="*/ 6 h 49"/>
                <a:gd name="T14" fmla="*/ 22 w 49"/>
                <a:gd name="T15" fmla="*/ 11 h 49"/>
                <a:gd name="T16" fmla="*/ 22 w 49"/>
                <a:gd name="T17" fmla="*/ 22 h 49"/>
                <a:gd name="T18" fmla="*/ 11 w 49"/>
                <a:gd name="T19" fmla="*/ 22 h 49"/>
                <a:gd name="T20" fmla="*/ 6 w 49"/>
                <a:gd name="T21" fmla="*/ 33 h 49"/>
                <a:gd name="T22" fmla="*/ 0 w 49"/>
                <a:gd name="T23" fmla="*/ 38 h 49"/>
                <a:gd name="T24" fmla="*/ 11 w 49"/>
                <a:gd name="T25" fmla="*/ 49 h 49"/>
                <a:gd name="T26" fmla="*/ 28 w 49"/>
                <a:gd name="T27" fmla="*/ 49 h 49"/>
                <a:gd name="T28" fmla="*/ 38 w 49"/>
                <a:gd name="T29" fmla="*/ 44 h 49"/>
                <a:gd name="T30" fmla="*/ 38 w 49"/>
                <a:gd name="T31" fmla="*/ 38 h 49"/>
                <a:gd name="T32" fmla="*/ 38 w 49"/>
                <a:gd name="T33" fmla="*/ 38 h 49"/>
                <a:gd name="T34" fmla="*/ 49 w 49"/>
                <a:gd name="T35" fmla="*/ 28 h 49"/>
                <a:gd name="T36" fmla="*/ 49 w 49"/>
                <a:gd name="T37" fmla="*/ 28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49"/>
                <a:gd name="T59" fmla="*/ 49 w 49"/>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49">
                  <a:moveTo>
                    <a:pt x="49" y="28"/>
                  </a:moveTo>
                  <a:lnTo>
                    <a:pt x="44" y="22"/>
                  </a:lnTo>
                  <a:lnTo>
                    <a:pt x="38" y="22"/>
                  </a:lnTo>
                  <a:lnTo>
                    <a:pt x="38" y="0"/>
                  </a:lnTo>
                  <a:lnTo>
                    <a:pt x="17" y="0"/>
                  </a:lnTo>
                  <a:lnTo>
                    <a:pt x="17" y="6"/>
                  </a:lnTo>
                  <a:lnTo>
                    <a:pt x="11" y="6"/>
                  </a:lnTo>
                  <a:lnTo>
                    <a:pt x="22" y="11"/>
                  </a:lnTo>
                  <a:lnTo>
                    <a:pt x="22" y="22"/>
                  </a:lnTo>
                  <a:lnTo>
                    <a:pt x="11" y="22"/>
                  </a:lnTo>
                  <a:lnTo>
                    <a:pt x="6" y="33"/>
                  </a:lnTo>
                  <a:lnTo>
                    <a:pt x="0" y="38"/>
                  </a:lnTo>
                  <a:lnTo>
                    <a:pt x="11" y="49"/>
                  </a:lnTo>
                  <a:lnTo>
                    <a:pt x="28" y="49"/>
                  </a:lnTo>
                  <a:lnTo>
                    <a:pt x="38" y="44"/>
                  </a:lnTo>
                  <a:lnTo>
                    <a:pt x="38" y="38"/>
                  </a:lnTo>
                  <a:lnTo>
                    <a:pt x="49" y="2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2" name="Rectangle 824"/>
            <p:cNvSpPr>
              <a:spLocks noChangeArrowheads="1"/>
            </p:cNvSpPr>
            <p:nvPr/>
          </p:nvSpPr>
          <p:spPr bwMode="auto">
            <a:xfrm>
              <a:off x="1816" y="2680"/>
              <a:ext cx="6"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803" name="Rectangle 825"/>
            <p:cNvSpPr>
              <a:spLocks noChangeArrowheads="1"/>
            </p:cNvSpPr>
            <p:nvPr/>
          </p:nvSpPr>
          <p:spPr bwMode="auto">
            <a:xfrm>
              <a:off x="1822" y="2669"/>
              <a:ext cx="1" cy="1"/>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804" name="Freeform 826"/>
            <p:cNvSpPr>
              <a:spLocks/>
            </p:cNvSpPr>
            <p:nvPr/>
          </p:nvSpPr>
          <p:spPr bwMode="auto">
            <a:xfrm>
              <a:off x="1806" y="2669"/>
              <a:ext cx="32" cy="22"/>
            </a:xfrm>
            <a:custGeom>
              <a:avLst/>
              <a:gdLst>
                <a:gd name="T0" fmla="*/ 27 w 32"/>
                <a:gd name="T1" fmla="*/ 0 h 22"/>
                <a:gd name="T2" fmla="*/ 32 w 32"/>
                <a:gd name="T3" fmla="*/ 11 h 22"/>
                <a:gd name="T4" fmla="*/ 27 w 32"/>
                <a:gd name="T5" fmla="*/ 16 h 22"/>
                <a:gd name="T6" fmla="*/ 32 w 32"/>
                <a:gd name="T7" fmla="*/ 22 h 22"/>
                <a:gd name="T8" fmla="*/ 27 w 32"/>
                <a:gd name="T9" fmla="*/ 22 h 22"/>
                <a:gd name="T10" fmla="*/ 16 w 32"/>
                <a:gd name="T11" fmla="*/ 22 h 22"/>
                <a:gd name="T12" fmla="*/ 5 w 32"/>
                <a:gd name="T13" fmla="*/ 22 h 22"/>
                <a:gd name="T14" fmla="*/ 5 w 32"/>
                <a:gd name="T15" fmla="*/ 22 h 22"/>
                <a:gd name="T16" fmla="*/ 0 w 32"/>
                <a:gd name="T17" fmla="*/ 16 h 22"/>
                <a:gd name="T18" fmla="*/ 0 w 32"/>
                <a:gd name="T19" fmla="*/ 16 h 22"/>
                <a:gd name="T20" fmla="*/ 21 w 32"/>
                <a:gd name="T21" fmla="*/ 16 h 22"/>
                <a:gd name="T22" fmla="*/ 21 w 32"/>
                <a:gd name="T23" fmla="*/ 16 h 22"/>
                <a:gd name="T24" fmla="*/ 16 w 32"/>
                <a:gd name="T25" fmla="*/ 11 h 22"/>
                <a:gd name="T26" fmla="*/ 16 w 32"/>
                <a:gd name="T27" fmla="*/ 5 h 22"/>
                <a:gd name="T28" fmla="*/ 10 w 32"/>
                <a:gd name="T29" fmla="*/ 0 h 22"/>
                <a:gd name="T30" fmla="*/ 16 w 32"/>
                <a:gd name="T31" fmla="*/ 0 h 22"/>
                <a:gd name="T32" fmla="*/ 21 w 32"/>
                <a:gd name="T33" fmla="*/ 0 h 22"/>
                <a:gd name="T34" fmla="*/ 27 w 32"/>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2"/>
                <a:gd name="T56" fmla="*/ 32 w 32"/>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2">
                  <a:moveTo>
                    <a:pt x="27" y="0"/>
                  </a:moveTo>
                  <a:lnTo>
                    <a:pt x="32" y="11"/>
                  </a:lnTo>
                  <a:lnTo>
                    <a:pt x="27" y="16"/>
                  </a:lnTo>
                  <a:lnTo>
                    <a:pt x="32" y="22"/>
                  </a:lnTo>
                  <a:lnTo>
                    <a:pt x="27" y="22"/>
                  </a:lnTo>
                  <a:lnTo>
                    <a:pt x="16" y="22"/>
                  </a:lnTo>
                  <a:lnTo>
                    <a:pt x="5" y="22"/>
                  </a:lnTo>
                  <a:lnTo>
                    <a:pt x="0" y="16"/>
                  </a:lnTo>
                  <a:lnTo>
                    <a:pt x="21" y="16"/>
                  </a:lnTo>
                  <a:lnTo>
                    <a:pt x="16" y="11"/>
                  </a:lnTo>
                  <a:lnTo>
                    <a:pt x="16" y="5"/>
                  </a:lnTo>
                  <a:lnTo>
                    <a:pt x="10" y="0"/>
                  </a:lnTo>
                  <a:lnTo>
                    <a:pt x="16" y="0"/>
                  </a:lnTo>
                  <a:lnTo>
                    <a:pt x="21" y="0"/>
                  </a:lnTo>
                  <a:lnTo>
                    <a:pt x="2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5" name="Freeform 827"/>
            <p:cNvSpPr>
              <a:spLocks/>
            </p:cNvSpPr>
            <p:nvPr/>
          </p:nvSpPr>
          <p:spPr bwMode="auto">
            <a:xfrm>
              <a:off x="1620" y="2718"/>
              <a:ext cx="77" cy="38"/>
            </a:xfrm>
            <a:custGeom>
              <a:avLst/>
              <a:gdLst>
                <a:gd name="T0" fmla="*/ 77 w 77"/>
                <a:gd name="T1" fmla="*/ 16 h 38"/>
                <a:gd name="T2" fmla="*/ 66 w 77"/>
                <a:gd name="T3" fmla="*/ 6 h 38"/>
                <a:gd name="T4" fmla="*/ 55 w 77"/>
                <a:gd name="T5" fmla="*/ 0 h 38"/>
                <a:gd name="T6" fmla="*/ 11 w 77"/>
                <a:gd name="T7" fmla="*/ 6 h 38"/>
                <a:gd name="T8" fmla="*/ 11 w 77"/>
                <a:gd name="T9" fmla="*/ 6 h 38"/>
                <a:gd name="T10" fmla="*/ 0 w 77"/>
                <a:gd name="T11" fmla="*/ 16 h 38"/>
                <a:gd name="T12" fmla="*/ 0 w 77"/>
                <a:gd name="T13" fmla="*/ 16 h 38"/>
                <a:gd name="T14" fmla="*/ 0 w 77"/>
                <a:gd name="T15" fmla="*/ 22 h 38"/>
                <a:gd name="T16" fmla="*/ 11 w 77"/>
                <a:gd name="T17" fmla="*/ 27 h 38"/>
                <a:gd name="T18" fmla="*/ 17 w 77"/>
                <a:gd name="T19" fmla="*/ 27 h 38"/>
                <a:gd name="T20" fmla="*/ 17 w 77"/>
                <a:gd name="T21" fmla="*/ 33 h 38"/>
                <a:gd name="T22" fmla="*/ 22 w 77"/>
                <a:gd name="T23" fmla="*/ 33 h 38"/>
                <a:gd name="T24" fmla="*/ 22 w 77"/>
                <a:gd name="T25" fmla="*/ 38 h 38"/>
                <a:gd name="T26" fmla="*/ 28 w 77"/>
                <a:gd name="T27" fmla="*/ 38 h 38"/>
                <a:gd name="T28" fmla="*/ 33 w 77"/>
                <a:gd name="T29" fmla="*/ 33 h 38"/>
                <a:gd name="T30" fmla="*/ 33 w 77"/>
                <a:gd name="T31" fmla="*/ 27 h 38"/>
                <a:gd name="T32" fmla="*/ 39 w 77"/>
                <a:gd name="T33" fmla="*/ 27 h 38"/>
                <a:gd name="T34" fmla="*/ 39 w 77"/>
                <a:gd name="T35" fmla="*/ 27 h 38"/>
                <a:gd name="T36" fmla="*/ 44 w 77"/>
                <a:gd name="T37" fmla="*/ 27 h 38"/>
                <a:gd name="T38" fmla="*/ 49 w 77"/>
                <a:gd name="T39" fmla="*/ 22 h 38"/>
                <a:gd name="T40" fmla="*/ 55 w 77"/>
                <a:gd name="T41" fmla="*/ 16 h 38"/>
                <a:gd name="T42" fmla="*/ 60 w 77"/>
                <a:gd name="T43" fmla="*/ 16 h 38"/>
                <a:gd name="T44" fmla="*/ 77 w 77"/>
                <a:gd name="T45" fmla="*/ 16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7"/>
                <a:gd name="T70" fmla="*/ 0 h 38"/>
                <a:gd name="T71" fmla="*/ 77 w 77"/>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7" h="38">
                  <a:moveTo>
                    <a:pt x="77" y="16"/>
                  </a:moveTo>
                  <a:lnTo>
                    <a:pt x="66" y="6"/>
                  </a:lnTo>
                  <a:lnTo>
                    <a:pt x="55" y="0"/>
                  </a:lnTo>
                  <a:lnTo>
                    <a:pt x="11" y="6"/>
                  </a:lnTo>
                  <a:lnTo>
                    <a:pt x="0" y="16"/>
                  </a:lnTo>
                  <a:lnTo>
                    <a:pt x="0" y="22"/>
                  </a:lnTo>
                  <a:lnTo>
                    <a:pt x="11" y="27"/>
                  </a:lnTo>
                  <a:lnTo>
                    <a:pt x="17" y="27"/>
                  </a:lnTo>
                  <a:lnTo>
                    <a:pt x="17" y="33"/>
                  </a:lnTo>
                  <a:lnTo>
                    <a:pt x="22" y="33"/>
                  </a:lnTo>
                  <a:lnTo>
                    <a:pt x="22" y="38"/>
                  </a:lnTo>
                  <a:lnTo>
                    <a:pt x="28" y="38"/>
                  </a:lnTo>
                  <a:lnTo>
                    <a:pt x="33" y="33"/>
                  </a:lnTo>
                  <a:lnTo>
                    <a:pt x="33" y="27"/>
                  </a:lnTo>
                  <a:lnTo>
                    <a:pt x="39" y="27"/>
                  </a:lnTo>
                  <a:lnTo>
                    <a:pt x="44" y="27"/>
                  </a:lnTo>
                  <a:lnTo>
                    <a:pt x="49" y="22"/>
                  </a:lnTo>
                  <a:lnTo>
                    <a:pt x="55" y="16"/>
                  </a:lnTo>
                  <a:lnTo>
                    <a:pt x="60" y="16"/>
                  </a:lnTo>
                  <a:lnTo>
                    <a:pt x="77"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6" name="Freeform 828"/>
            <p:cNvSpPr>
              <a:spLocks/>
            </p:cNvSpPr>
            <p:nvPr/>
          </p:nvSpPr>
          <p:spPr bwMode="auto">
            <a:xfrm>
              <a:off x="1757" y="2685"/>
              <a:ext cx="21" cy="11"/>
            </a:xfrm>
            <a:custGeom>
              <a:avLst/>
              <a:gdLst>
                <a:gd name="T0" fmla="*/ 10 w 21"/>
                <a:gd name="T1" fmla="*/ 0 h 11"/>
                <a:gd name="T2" fmla="*/ 21 w 21"/>
                <a:gd name="T3" fmla="*/ 6 h 11"/>
                <a:gd name="T4" fmla="*/ 21 w 21"/>
                <a:gd name="T5" fmla="*/ 11 h 11"/>
                <a:gd name="T6" fmla="*/ 16 w 21"/>
                <a:gd name="T7" fmla="*/ 11 h 11"/>
                <a:gd name="T8" fmla="*/ 10 w 21"/>
                <a:gd name="T9" fmla="*/ 11 h 11"/>
                <a:gd name="T10" fmla="*/ 5 w 21"/>
                <a:gd name="T11" fmla="*/ 11 h 11"/>
                <a:gd name="T12" fmla="*/ 0 w 21"/>
                <a:gd name="T13" fmla="*/ 6 h 11"/>
                <a:gd name="T14" fmla="*/ 5 w 21"/>
                <a:gd name="T15" fmla="*/ 0 h 11"/>
                <a:gd name="T16" fmla="*/ 10 w 21"/>
                <a:gd name="T17" fmla="*/ 0 h 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
                <a:gd name="T28" fmla="*/ 0 h 11"/>
                <a:gd name="T29" fmla="*/ 21 w 21"/>
                <a:gd name="T30" fmla="*/ 11 h 1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 h="11">
                  <a:moveTo>
                    <a:pt x="10" y="0"/>
                  </a:moveTo>
                  <a:lnTo>
                    <a:pt x="21" y="6"/>
                  </a:lnTo>
                  <a:lnTo>
                    <a:pt x="21" y="11"/>
                  </a:lnTo>
                  <a:lnTo>
                    <a:pt x="16" y="11"/>
                  </a:lnTo>
                  <a:lnTo>
                    <a:pt x="10" y="11"/>
                  </a:lnTo>
                  <a:lnTo>
                    <a:pt x="5" y="11"/>
                  </a:lnTo>
                  <a:lnTo>
                    <a:pt x="0" y="6"/>
                  </a:lnTo>
                  <a:lnTo>
                    <a:pt x="5" y="0"/>
                  </a:lnTo>
                  <a:lnTo>
                    <a:pt x="1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7" name="Freeform 829"/>
            <p:cNvSpPr>
              <a:spLocks/>
            </p:cNvSpPr>
            <p:nvPr/>
          </p:nvSpPr>
          <p:spPr bwMode="auto">
            <a:xfrm>
              <a:off x="1278" y="2494"/>
              <a:ext cx="375" cy="240"/>
            </a:xfrm>
            <a:custGeom>
              <a:avLst/>
              <a:gdLst>
                <a:gd name="T0" fmla="*/ 217 w 375"/>
                <a:gd name="T1" fmla="*/ 71 h 240"/>
                <a:gd name="T2" fmla="*/ 190 w 375"/>
                <a:gd name="T3" fmla="*/ 39 h 240"/>
                <a:gd name="T4" fmla="*/ 157 w 375"/>
                <a:gd name="T5" fmla="*/ 44 h 240"/>
                <a:gd name="T6" fmla="*/ 130 w 375"/>
                <a:gd name="T7" fmla="*/ 11 h 240"/>
                <a:gd name="T8" fmla="*/ 76 w 375"/>
                <a:gd name="T9" fmla="*/ 22 h 240"/>
                <a:gd name="T10" fmla="*/ 10 w 375"/>
                <a:gd name="T11" fmla="*/ 11 h 240"/>
                <a:gd name="T12" fmla="*/ 21 w 375"/>
                <a:gd name="T13" fmla="*/ 44 h 240"/>
                <a:gd name="T14" fmla="*/ 38 w 375"/>
                <a:gd name="T15" fmla="*/ 71 h 240"/>
                <a:gd name="T16" fmla="*/ 49 w 375"/>
                <a:gd name="T17" fmla="*/ 82 h 240"/>
                <a:gd name="T18" fmla="*/ 54 w 375"/>
                <a:gd name="T19" fmla="*/ 88 h 240"/>
                <a:gd name="T20" fmla="*/ 65 w 375"/>
                <a:gd name="T21" fmla="*/ 110 h 240"/>
                <a:gd name="T22" fmla="*/ 92 w 375"/>
                <a:gd name="T23" fmla="*/ 137 h 240"/>
                <a:gd name="T24" fmla="*/ 87 w 375"/>
                <a:gd name="T25" fmla="*/ 120 h 240"/>
                <a:gd name="T26" fmla="*/ 70 w 375"/>
                <a:gd name="T27" fmla="*/ 88 h 240"/>
                <a:gd name="T28" fmla="*/ 70 w 375"/>
                <a:gd name="T29" fmla="*/ 88 h 240"/>
                <a:gd name="T30" fmla="*/ 43 w 375"/>
                <a:gd name="T31" fmla="*/ 50 h 240"/>
                <a:gd name="T32" fmla="*/ 27 w 375"/>
                <a:gd name="T33" fmla="*/ 11 h 240"/>
                <a:gd name="T34" fmla="*/ 49 w 375"/>
                <a:gd name="T35" fmla="*/ 22 h 240"/>
                <a:gd name="T36" fmla="*/ 76 w 375"/>
                <a:gd name="T37" fmla="*/ 66 h 240"/>
                <a:gd name="T38" fmla="*/ 103 w 375"/>
                <a:gd name="T39" fmla="*/ 88 h 240"/>
                <a:gd name="T40" fmla="*/ 103 w 375"/>
                <a:gd name="T41" fmla="*/ 99 h 240"/>
                <a:gd name="T42" fmla="*/ 114 w 375"/>
                <a:gd name="T43" fmla="*/ 110 h 240"/>
                <a:gd name="T44" fmla="*/ 136 w 375"/>
                <a:gd name="T45" fmla="*/ 131 h 240"/>
                <a:gd name="T46" fmla="*/ 147 w 375"/>
                <a:gd name="T47" fmla="*/ 164 h 240"/>
                <a:gd name="T48" fmla="*/ 147 w 375"/>
                <a:gd name="T49" fmla="*/ 175 h 240"/>
                <a:gd name="T50" fmla="*/ 174 w 375"/>
                <a:gd name="T51" fmla="*/ 197 h 240"/>
                <a:gd name="T52" fmla="*/ 228 w 375"/>
                <a:gd name="T53" fmla="*/ 219 h 240"/>
                <a:gd name="T54" fmla="*/ 272 w 375"/>
                <a:gd name="T55" fmla="*/ 224 h 240"/>
                <a:gd name="T56" fmla="*/ 304 w 375"/>
                <a:gd name="T57" fmla="*/ 240 h 240"/>
                <a:gd name="T58" fmla="*/ 326 w 375"/>
                <a:gd name="T59" fmla="*/ 224 h 240"/>
                <a:gd name="T60" fmla="*/ 321 w 375"/>
                <a:gd name="T61" fmla="*/ 208 h 240"/>
                <a:gd name="T62" fmla="*/ 348 w 375"/>
                <a:gd name="T63" fmla="*/ 202 h 240"/>
                <a:gd name="T64" fmla="*/ 359 w 375"/>
                <a:gd name="T65" fmla="*/ 191 h 240"/>
                <a:gd name="T66" fmla="*/ 359 w 375"/>
                <a:gd name="T67" fmla="*/ 197 h 240"/>
                <a:gd name="T68" fmla="*/ 364 w 375"/>
                <a:gd name="T69" fmla="*/ 180 h 240"/>
                <a:gd name="T70" fmla="*/ 370 w 375"/>
                <a:gd name="T71" fmla="*/ 153 h 240"/>
                <a:gd name="T72" fmla="*/ 359 w 375"/>
                <a:gd name="T73" fmla="*/ 153 h 240"/>
                <a:gd name="T74" fmla="*/ 326 w 375"/>
                <a:gd name="T75" fmla="*/ 180 h 240"/>
                <a:gd name="T76" fmla="*/ 315 w 375"/>
                <a:gd name="T77" fmla="*/ 191 h 240"/>
                <a:gd name="T78" fmla="*/ 272 w 375"/>
                <a:gd name="T79" fmla="*/ 191 h 240"/>
                <a:gd name="T80" fmla="*/ 255 w 375"/>
                <a:gd name="T81" fmla="*/ 175 h 240"/>
                <a:gd name="T82" fmla="*/ 239 w 375"/>
                <a:gd name="T83" fmla="*/ 148 h 240"/>
                <a:gd name="T84" fmla="*/ 239 w 375"/>
                <a:gd name="T85" fmla="*/ 104 h 2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75"/>
                <a:gd name="T130" fmla="*/ 0 h 240"/>
                <a:gd name="T131" fmla="*/ 375 w 375"/>
                <a:gd name="T132" fmla="*/ 240 h 2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75" h="240">
                  <a:moveTo>
                    <a:pt x="250" y="99"/>
                  </a:moveTo>
                  <a:lnTo>
                    <a:pt x="223" y="88"/>
                  </a:lnTo>
                  <a:lnTo>
                    <a:pt x="217" y="71"/>
                  </a:lnTo>
                  <a:lnTo>
                    <a:pt x="206" y="60"/>
                  </a:lnTo>
                  <a:lnTo>
                    <a:pt x="201" y="50"/>
                  </a:lnTo>
                  <a:lnTo>
                    <a:pt x="190" y="39"/>
                  </a:lnTo>
                  <a:lnTo>
                    <a:pt x="179" y="44"/>
                  </a:lnTo>
                  <a:lnTo>
                    <a:pt x="168" y="55"/>
                  </a:lnTo>
                  <a:lnTo>
                    <a:pt x="157" y="44"/>
                  </a:lnTo>
                  <a:lnTo>
                    <a:pt x="152" y="39"/>
                  </a:lnTo>
                  <a:lnTo>
                    <a:pt x="152" y="28"/>
                  </a:lnTo>
                  <a:lnTo>
                    <a:pt x="130" y="11"/>
                  </a:lnTo>
                  <a:lnTo>
                    <a:pt x="108" y="11"/>
                  </a:lnTo>
                  <a:lnTo>
                    <a:pt x="108" y="22"/>
                  </a:lnTo>
                  <a:lnTo>
                    <a:pt x="76" y="22"/>
                  </a:lnTo>
                  <a:lnTo>
                    <a:pt x="32" y="0"/>
                  </a:lnTo>
                  <a:lnTo>
                    <a:pt x="0" y="0"/>
                  </a:lnTo>
                  <a:lnTo>
                    <a:pt x="10" y="11"/>
                  </a:lnTo>
                  <a:lnTo>
                    <a:pt x="16" y="33"/>
                  </a:lnTo>
                  <a:lnTo>
                    <a:pt x="21" y="44"/>
                  </a:lnTo>
                  <a:lnTo>
                    <a:pt x="27" y="50"/>
                  </a:lnTo>
                  <a:lnTo>
                    <a:pt x="38" y="60"/>
                  </a:lnTo>
                  <a:lnTo>
                    <a:pt x="38" y="71"/>
                  </a:lnTo>
                  <a:lnTo>
                    <a:pt x="27" y="71"/>
                  </a:lnTo>
                  <a:lnTo>
                    <a:pt x="49" y="82"/>
                  </a:lnTo>
                  <a:lnTo>
                    <a:pt x="54" y="82"/>
                  </a:lnTo>
                  <a:lnTo>
                    <a:pt x="54" y="88"/>
                  </a:lnTo>
                  <a:lnTo>
                    <a:pt x="59" y="93"/>
                  </a:lnTo>
                  <a:lnTo>
                    <a:pt x="65" y="99"/>
                  </a:lnTo>
                  <a:lnTo>
                    <a:pt x="65" y="110"/>
                  </a:lnTo>
                  <a:lnTo>
                    <a:pt x="70" y="110"/>
                  </a:lnTo>
                  <a:lnTo>
                    <a:pt x="87" y="126"/>
                  </a:lnTo>
                  <a:lnTo>
                    <a:pt x="92" y="137"/>
                  </a:lnTo>
                  <a:lnTo>
                    <a:pt x="98" y="131"/>
                  </a:lnTo>
                  <a:lnTo>
                    <a:pt x="98" y="126"/>
                  </a:lnTo>
                  <a:lnTo>
                    <a:pt x="87" y="120"/>
                  </a:lnTo>
                  <a:lnTo>
                    <a:pt x="81" y="120"/>
                  </a:lnTo>
                  <a:lnTo>
                    <a:pt x="70" y="88"/>
                  </a:lnTo>
                  <a:lnTo>
                    <a:pt x="70" y="82"/>
                  </a:lnTo>
                  <a:lnTo>
                    <a:pt x="70" y="88"/>
                  </a:lnTo>
                  <a:lnTo>
                    <a:pt x="49" y="55"/>
                  </a:lnTo>
                  <a:lnTo>
                    <a:pt x="43" y="50"/>
                  </a:lnTo>
                  <a:lnTo>
                    <a:pt x="38" y="44"/>
                  </a:lnTo>
                  <a:lnTo>
                    <a:pt x="32" y="39"/>
                  </a:lnTo>
                  <a:lnTo>
                    <a:pt x="27" y="11"/>
                  </a:lnTo>
                  <a:lnTo>
                    <a:pt x="38" y="17"/>
                  </a:lnTo>
                  <a:lnTo>
                    <a:pt x="43" y="17"/>
                  </a:lnTo>
                  <a:lnTo>
                    <a:pt x="49" y="22"/>
                  </a:lnTo>
                  <a:lnTo>
                    <a:pt x="54" y="39"/>
                  </a:lnTo>
                  <a:lnTo>
                    <a:pt x="70" y="60"/>
                  </a:lnTo>
                  <a:lnTo>
                    <a:pt x="76" y="66"/>
                  </a:lnTo>
                  <a:lnTo>
                    <a:pt x="81" y="71"/>
                  </a:lnTo>
                  <a:lnTo>
                    <a:pt x="87" y="77"/>
                  </a:lnTo>
                  <a:lnTo>
                    <a:pt x="103" y="88"/>
                  </a:lnTo>
                  <a:lnTo>
                    <a:pt x="98" y="99"/>
                  </a:lnTo>
                  <a:lnTo>
                    <a:pt x="103" y="99"/>
                  </a:lnTo>
                  <a:lnTo>
                    <a:pt x="103" y="104"/>
                  </a:lnTo>
                  <a:lnTo>
                    <a:pt x="114" y="104"/>
                  </a:lnTo>
                  <a:lnTo>
                    <a:pt x="114" y="110"/>
                  </a:lnTo>
                  <a:lnTo>
                    <a:pt x="114" y="115"/>
                  </a:lnTo>
                  <a:lnTo>
                    <a:pt x="130" y="126"/>
                  </a:lnTo>
                  <a:lnTo>
                    <a:pt x="136" y="131"/>
                  </a:lnTo>
                  <a:lnTo>
                    <a:pt x="141" y="142"/>
                  </a:lnTo>
                  <a:lnTo>
                    <a:pt x="152" y="159"/>
                  </a:lnTo>
                  <a:lnTo>
                    <a:pt x="147" y="164"/>
                  </a:lnTo>
                  <a:lnTo>
                    <a:pt x="147" y="170"/>
                  </a:lnTo>
                  <a:lnTo>
                    <a:pt x="147" y="175"/>
                  </a:lnTo>
                  <a:lnTo>
                    <a:pt x="152" y="180"/>
                  </a:lnTo>
                  <a:lnTo>
                    <a:pt x="163" y="191"/>
                  </a:lnTo>
                  <a:lnTo>
                    <a:pt x="174" y="197"/>
                  </a:lnTo>
                  <a:lnTo>
                    <a:pt x="190" y="202"/>
                  </a:lnTo>
                  <a:lnTo>
                    <a:pt x="201" y="208"/>
                  </a:lnTo>
                  <a:lnTo>
                    <a:pt x="228" y="219"/>
                  </a:lnTo>
                  <a:lnTo>
                    <a:pt x="239" y="224"/>
                  </a:lnTo>
                  <a:lnTo>
                    <a:pt x="261" y="230"/>
                  </a:lnTo>
                  <a:lnTo>
                    <a:pt x="272" y="224"/>
                  </a:lnTo>
                  <a:lnTo>
                    <a:pt x="277" y="224"/>
                  </a:lnTo>
                  <a:lnTo>
                    <a:pt x="293" y="230"/>
                  </a:lnTo>
                  <a:lnTo>
                    <a:pt x="304" y="240"/>
                  </a:lnTo>
                  <a:lnTo>
                    <a:pt x="310" y="235"/>
                  </a:lnTo>
                  <a:lnTo>
                    <a:pt x="315" y="224"/>
                  </a:lnTo>
                  <a:lnTo>
                    <a:pt x="326" y="224"/>
                  </a:lnTo>
                  <a:lnTo>
                    <a:pt x="326" y="213"/>
                  </a:lnTo>
                  <a:lnTo>
                    <a:pt x="315" y="208"/>
                  </a:lnTo>
                  <a:lnTo>
                    <a:pt x="321" y="208"/>
                  </a:lnTo>
                  <a:lnTo>
                    <a:pt x="321" y="202"/>
                  </a:lnTo>
                  <a:lnTo>
                    <a:pt x="342" y="202"/>
                  </a:lnTo>
                  <a:lnTo>
                    <a:pt x="348" y="202"/>
                  </a:lnTo>
                  <a:lnTo>
                    <a:pt x="353" y="191"/>
                  </a:lnTo>
                  <a:lnTo>
                    <a:pt x="359" y="191"/>
                  </a:lnTo>
                  <a:lnTo>
                    <a:pt x="359" y="197"/>
                  </a:lnTo>
                  <a:lnTo>
                    <a:pt x="364" y="180"/>
                  </a:lnTo>
                  <a:lnTo>
                    <a:pt x="375" y="159"/>
                  </a:lnTo>
                  <a:lnTo>
                    <a:pt x="370" y="153"/>
                  </a:lnTo>
                  <a:lnTo>
                    <a:pt x="364" y="153"/>
                  </a:lnTo>
                  <a:lnTo>
                    <a:pt x="359" y="153"/>
                  </a:lnTo>
                  <a:lnTo>
                    <a:pt x="332" y="159"/>
                  </a:lnTo>
                  <a:lnTo>
                    <a:pt x="326" y="180"/>
                  </a:lnTo>
                  <a:lnTo>
                    <a:pt x="315" y="186"/>
                  </a:lnTo>
                  <a:lnTo>
                    <a:pt x="321" y="191"/>
                  </a:lnTo>
                  <a:lnTo>
                    <a:pt x="315" y="191"/>
                  </a:lnTo>
                  <a:lnTo>
                    <a:pt x="304" y="191"/>
                  </a:lnTo>
                  <a:lnTo>
                    <a:pt x="277" y="197"/>
                  </a:lnTo>
                  <a:lnTo>
                    <a:pt x="272" y="191"/>
                  </a:lnTo>
                  <a:lnTo>
                    <a:pt x="266" y="191"/>
                  </a:lnTo>
                  <a:lnTo>
                    <a:pt x="261" y="186"/>
                  </a:lnTo>
                  <a:lnTo>
                    <a:pt x="255" y="175"/>
                  </a:lnTo>
                  <a:lnTo>
                    <a:pt x="244" y="159"/>
                  </a:lnTo>
                  <a:lnTo>
                    <a:pt x="244" y="153"/>
                  </a:lnTo>
                  <a:lnTo>
                    <a:pt x="239" y="148"/>
                  </a:lnTo>
                  <a:lnTo>
                    <a:pt x="239" y="131"/>
                  </a:lnTo>
                  <a:lnTo>
                    <a:pt x="239" y="110"/>
                  </a:lnTo>
                  <a:lnTo>
                    <a:pt x="239" y="104"/>
                  </a:lnTo>
                  <a:lnTo>
                    <a:pt x="250" y="9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8" name="Freeform 830"/>
            <p:cNvSpPr>
              <a:spLocks/>
            </p:cNvSpPr>
            <p:nvPr/>
          </p:nvSpPr>
          <p:spPr bwMode="auto">
            <a:xfrm>
              <a:off x="1305" y="2554"/>
              <a:ext cx="0" cy="6"/>
            </a:xfrm>
            <a:custGeom>
              <a:avLst/>
              <a:gdLst>
                <a:gd name="T0" fmla="*/ 6 h 6"/>
                <a:gd name="T1" fmla="*/ 6 h 6"/>
                <a:gd name="T2" fmla="*/ 0 h 6"/>
                <a:gd name="T3" fmla="*/ 6 h 6"/>
                <a:gd name="T4" fmla="*/ 0 60000 65536"/>
                <a:gd name="T5" fmla="*/ 0 60000 65536"/>
                <a:gd name="T6" fmla="*/ 0 60000 65536"/>
                <a:gd name="T7" fmla="*/ 0 60000 65536"/>
                <a:gd name="T8" fmla="*/ 0 h 6"/>
                <a:gd name="T9" fmla="*/ 6 h 6"/>
              </a:gdLst>
              <a:ahLst/>
              <a:cxnLst>
                <a:cxn ang="T4">
                  <a:pos x="0" y="T0"/>
                </a:cxn>
                <a:cxn ang="T5">
                  <a:pos x="0" y="T1"/>
                </a:cxn>
                <a:cxn ang="T6">
                  <a:pos x="0" y="T2"/>
                </a:cxn>
                <a:cxn ang="T7">
                  <a:pos x="0" y="T3"/>
                </a:cxn>
              </a:cxnLst>
              <a:rect l="0" t="T8" r="0" b="T9"/>
              <a:pathLst>
                <a:path h="6">
                  <a:moveTo>
                    <a:pt x="0" y="6"/>
                  </a:moveTo>
                  <a:lnTo>
                    <a:pt x="0" y="6"/>
                  </a:lnTo>
                  <a:lnTo>
                    <a:pt x="0" y="0"/>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09" name="Freeform 831"/>
            <p:cNvSpPr>
              <a:spLocks/>
            </p:cNvSpPr>
            <p:nvPr/>
          </p:nvSpPr>
          <p:spPr bwMode="auto">
            <a:xfrm>
              <a:off x="1337" y="2544"/>
              <a:ext cx="6" cy="5"/>
            </a:xfrm>
            <a:custGeom>
              <a:avLst/>
              <a:gdLst>
                <a:gd name="T0" fmla="*/ 0 w 6"/>
                <a:gd name="T1" fmla="*/ 5 h 5"/>
                <a:gd name="T2" fmla="*/ 0 w 6"/>
                <a:gd name="T3" fmla="*/ 0 h 5"/>
                <a:gd name="T4" fmla="*/ 6 w 6"/>
                <a:gd name="T5" fmla="*/ 5 h 5"/>
                <a:gd name="T6" fmla="*/ 0 w 6"/>
                <a:gd name="T7" fmla="*/ 5 h 5"/>
                <a:gd name="T8" fmla="*/ 0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0" y="5"/>
                  </a:moveTo>
                  <a:lnTo>
                    <a:pt x="0" y="0"/>
                  </a:lnTo>
                  <a:lnTo>
                    <a:pt x="6" y="5"/>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0" name="Freeform 832"/>
            <p:cNvSpPr>
              <a:spLocks/>
            </p:cNvSpPr>
            <p:nvPr/>
          </p:nvSpPr>
          <p:spPr bwMode="auto">
            <a:xfrm>
              <a:off x="1642" y="2734"/>
              <a:ext cx="55" cy="50"/>
            </a:xfrm>
            <a:custGeom>
              <a:avLst/>
              <a:gdLst>
                <a:gd name="T0" fmla="*/ 49 w 55"/>
                <a:gd name="T1" fmla="*/ 50 h 50"/>
                <a:gd name="T2" fmla="*/ 44 w 55"/>
                <a:gd name="T3" fmla="*/ 44 h 50"/>
                <a:gd name="T4" fmla="*/ 55 w 55"/>
                <a:gd name="T5" fmla="*/ 0 h 50"/>
                <a:gd name="T6" fmla="*/ 38 w 55"/>
                <a:gd name="T7" fmla="*/ 0 h 50"/>
                <a:gd name="T8" fmla="*/ 33 w 55"/>
                <a:gd name="T9" fmla="*/ 0 h 50"/>
                <a:gd name="T10" fmla="*/ 27 w 55"/>
                <a:gd name="T11" fmla="*/ 6 h 50"/>
                <a:gd name="T12" fmla="*/ 22 w 55"/>
                <a:gd name="T13" fmla="*/ 11 h 50"/>
                <a:gd name="T14" fmla="*/ 17 w 55"/>
                <a:gd name="T15" fmla="*/ 11 h 50"/>
                <a:gd name="T16" fmla="*/ 17 w 55"/>
                <a:gd name="T17" fmla="*/ 11 h 50"/>
                <a:gd name="T18" fmla="*/ 11 w 55"/>
                <a:gd name="T19" fmla="*/ 11 h 50"/>
                <a:gd name="T20" fmla="*/ 11 w 55"/>
                <a:gd name="T21" fmla="*/ 17 h 50"/>
                <a:gd name="T22" fmla="*/ 6 w 55"/>
                <a:gd name="T23" fmla="*/ 22 h 50"/>
                <a:gd name="T24" fmla="*/ 0 w 55"/>
                <a:gd name="T25" fmla="*/ 22 h 50"/>
                <a:gd name="T26" fmla="*/ 0 w 55"/>
                <a:gd name="T27" fmla="*/ 22 h 50"/>
                <a:gd name="T28" fmla="*/ 0 w 55"/>
                <a:gd name="T29" fmla="*/ 22 h 50"/>
                <a:gd name="T30" fmla="*/ 22 w 55"/>
                <a:gd name="T31" fmla="*/ 50 h 50"/>
                <a:gd name="T32" fmla="*/ 38 w 55"/>
                <a:gd name="T33" fmla="*/ 50 h 50"/>
                <a:gd name="T34" fmla="*/ 44 w 55"/>
                <a:gd name="T35" fmla="*/ 50 h 50"/>
                <a:gd name="T36" fmla="*/ 49 w 55"/>
                <a:gd name="T37" fmla="*/ 50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
                <a:gd name="T58" fmla="*/ 0 h 50"/>
                <a:gd name="T59" fmla="*/ 55 w 55"/>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 h="50">
                  <a:moveTo>
                    <a:pt x="49" y="50"/>
                  </a:moveTo>
                  <a:lnTo>
                    <a:pt x="44" y="44"/>
                  </a:lnTo>
                  <a:lnTo>
                    <a:pt x="55" y="0"/>
                  </a:lnTo>
                  <a:lnTo>
                    <a:pt x="38" y="0"/>
                  </a:lnTo>
                  <a:lnTo>
                    <a:pt x="33" y="0"/>
                  </a:lnTo>
                  <a:lnTo>
                    <a:pt x="27" y="6"/>
                  </a:lnTo>
                  <a:lnTo>
                    <a:pt x="22" y="11"/>
                  </a:lnTo>
                  <a:lnTo>
                    <a:pt x="17" y="11"/>
                  </a:lnTo>
                  <a:lnTo>
                    <a:pt x="11" y="11"/>
                  </a:lnTo>
                  <a:lnTo>
                    <a:pt x="11" y="17"/>
                  </a:lnTo>
                  <a:lnTo>
                    <a:pt x="6" y="22"/>
                  </a:lnTo>
                  <a:lnTo>
                    <a:pt x="0" y="22"/>
                  </a:lnTo>
                  <a:lnTo>
                    <a:pt x="22" y="50"/>
                  </a:lnTo>
                  <a:lnTo>
                    <a:pt x="38" y="50"/>
                  </a:lnTo>
                  <a:lnTo>
                    <a:pt x="44" y="50"/>
                  </a:lnTo>
                  <a:lnTo>
                    <a:pt x="49" y="5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1" name="Rectangle 833"/>
            <p:cNvSpPr>
              <a:spLocks noChangeArrowheads="1"/>
            </p:cNvSpPr>
            <p:nvPr/>
          </p:nvSpPr>
          <p:spPr bwMode="auto">
            <a:xfrm>
              <a:off x="1713" y="2822"/>
              <a:ext cx="1"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812" name="Freeform 834"/>
            <p:cNvSpPr>
              <a:spLocks/>
            </p:cNvSpPr>
            <p:nvPr/>
          </p:nvSpPr>
          <p:spPr bwMode="auto">
            <a:xfrm>
              <a:off x="1697" y="2800"/>
              <a:ext cx="70" cy="27"/>
            </a:xfrm>
            <a:custGeom>
              <a:avLst/>
              <a:gdLst>
                <a:gd name="T0" fmla="*/ 70 w 70"/>
                <a:gd name="T1" fmla="*/ 11 h 27"/>
                <a:gd name="T2" fmla="*/ 70 w 70"/>
                <a:gd name="T3" fmla="*/ 16 h 27"/>
                <a:gd name="T4" fmla="*/ 70 w 70"/>
                <a:gd name="T5" fmla="*/ 22 h 27"/>
                <a:gd name="T6" fmla="*/ 65 w 70"/>
                <a:gd name="T7" fmla="*/ 22 h 27"/>
                <a:gd name="T8" fmla="*/ 65 w 70"/>
                <a:gd name="T9" fmla="*/ 22 h 27"/>
                <a:gd name="T10" fmla="*/ 65 w 70"/>
                <a:gd name="T11" fmla="*/ 27 h 27"/>
                <a:gd name="T12" fmla="*/ 60 w 70"/>
                <a:gd name="T13" fmla="*/ 22 h 27"/>
                <a:gd name="T14" fmla="*/ 60 w 70"/>
                <a:gd name="T15" fmla="*/ 16 h 27"/>
                <a:gd name="T16" fmla="*/ 60 w 70"/>
                <a:gd name="T17" fmla="*/ 16 h 27"/>
                <a:gd name="T18" fmla="*/ 49 w 70"/>
                <a:gd name="T19" fmla="*/ 5 h 27"/>
                <a:gd name="T20" fmla="*/ 32 w 70"/>
                <a:gd name="T21" fmla="*/ 16 h 27"/>
                <a:gd name="T22" fmla="*/ 32 w 70"/>
                <a:gd name="T23" fmla="*/ 22 h 27"/>
                <a:gd name="T24" fmla="*/ 38 w 70"/>
                <a:gd name="T25" fmla="*/ 27 h 27"/>
                <a:gd name="T26" fmla="*/ 32 w 70"/>
                <a:gd name="T27" fmla="*/ 27 h 27"/>
                <a:gd name="T28" fmla="*/ 27 w 70"/>
                <a:gd name="T29" fmla="*/ 27 h 27"/>
                <a:gd name="T30" fmla="*/ 27 w 70"/>
                <a:gd name="T31" fmla="*/ 22 h 27"/>
                <a:gd name="T32" fmla="*/ 21 w 70"/>
                <a:gd name="T33" fmla="*/ 22 h 27"/>
                <a:gd name="T34" fmla="*/ 16 w 70"/>
                <a:gd name="T35" fmla="*/ 16 h 27"/>
                <a:gd name="T36" fmla="*/ 5 w 70"/>
                <a:gd name="T37" fmla="*/ 16 h 27"/>
                <a:gd name="T38" fmla="*/ 0 w 70"/>
                <a:gd name="T39" fmla="*/ 16 h 27"/>
                <a:gd name="T40" fmla="*/ 0 w 70"/>
                <a:gd name="T41" fmla="*/ 16 h 27"/>
                <a:gd name="T42" fmla="*/ 5 w 70"/>
                <a:gd name="T43" fmla="*/ 5 h 27"/>
                <a:gd name="T44" fmla="*/ 0 w 70"/>
                <a:gd name="T45" fmla="*/ 5 h 27"/>
                <a:gd name="T46" fmla="*/ 0 w 70"/>
                <a:gd name="T47" fmla="*/ 0 h 27"/>
                <a:gd name="T48" fmla="*/ 5 w 70"/>
                <a:gd name="T49" fmla="*/ 0 h 27"/>
                <a:gd name="T50" fmla="*/ 11 w 70"/>
                <a:gd name="T51" fmla="*/ 0 h 27"/>
                <a:gd name="T52" fmla="*/ 11 w 70"/>
                <a:gd name="T53" fmla="*/ 5 h 27"/>
                <a:gd name="T54" fmla="*/ 21 w 70"/>
                <a:gd name="T55" fmla="*/ 11 h 27"/>
                <a:gd name="T56" fmla="*/ 38 w 70"/>
                <a:gd name="T57" fmla="*/ 5 h 27"/>
                <a:gd name="T58" fmla="*/ 38 w 70"/>
                <a:gd name="T59" fmla="*/ 5 h 27"/>
                <a:gd name="T60" fmla="*/ 43 w 70"/>
                <a:gd name="T61" fmla="*/ 0 h 27"/>
                <a:gd name="T62" fmla="*/ 49 w 70"/>
                <a:gd name="T63" fmla="*/ 0 h 27"/>
                <a:gd name="T64" fmla="*/ 60 w 70"/>
                <a:gd name="T65" fmla="*/ 5 h 27"/>
                <a:gd name="T66" fmla="*/ 70 w 70"/>
                <a:gd name="T67" fmla="*/ 11 h 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0"/>
                <a:gd name="T103" fmla="*/ 0 h 27"/>
                <a:gd name="T104" fmla="*/ 70 w 70"/>
                <a:gd name="T105" fmla="*/ 27 h 2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0" h="27">
                  <a:moveTo>
                    <a:pt x="70" y="11"/>
                  </a:moveTo>
                  <a:lnTo>
                    <a:pt x="70" y="16"/>
                  </a:lnTo>
                  <a:lnTo>
                    <a:pt x="70" y="22"/>
                  </a:lnTo>
                  <a:lnTo>
                    <a:pt x="65" y="22"/>
                  </a:lnTo>
                  <a:lnTo>
                    <a:pt x="65" y="27"/>
                  </a:lnTo>
                  <a:lnTo>
                    <a:pt x="60" y="22"/>
                  </a:lnTo>
                  <a:lnTo>
                    <a:pt x="60" y="16"/>
                  </a:lnTo>
                  <a:lnTo>
                    <a:pt x="49" y="5"/>
                  </a:lnTo>
                  <a:lnTo>
                    <a:pt x="32" y="16"/>
                  </a:lnTo>
                  <a:lnTo>
                    <a:pt x="32" y="22"/>
                  </a:lnTo>
                  <a:lnTo>
                    <a:pt x="38" y="27"/>
                  </a:lnTo>
                  <a:lnTo>
                    <a:pt x="32" y="27"/>
                  </a:lnTo>
                  <a:lnTo>
                    <a:pt x="27" y="27"/>
                  </a:lnTo>
                  <a:lnTo>
                    <a:pt x="27" y="22"/>
                  </a:lnTo>
                  <a:lnTo>
                    <a:pt x="21" y="22"/>
                  </a:lnTo>
                  <a:lnTo>
                    <a:pt x="16" y="16"/>
                  </a:lnTo>
                  <a:lnTo>
                    <a:pt x="5" y="16"/>
                  </a:lnTo>
                  <a:lnTo>
                    <a:pt x="0" y="16"/>
                  </a:lnTo>
                  <a:lnTo>
                    <a:pt x="5" y="5"/>
                  </a:lnTo>
                  <a:lnTo>
                    <a:pt x="0" y="5"/>
                  </a:lnTo>
                  <a:lnTo>
                    <a:pt x="0" y="0"/>
                  </a:lnTo>
                  <a:lnTo>
                    <a:pt x="5" y="0"/>
                  </a:lnTo>
                  <a:lnTo>
                    <a:pt x="11" y="0"/>
                  </a:lnTo>
                  <a:lnTo>
                    <a:pt x="11" y="5"/>
                  </a:lnTo>
                  <a:lnTo>
                    <a:pt x="21" y="11"/>
                  </a:lnTo>
                  <a:lnTo>
                    <a:pt x="38" y="5"/>
                  </a:lnTo>
                  <a:lnTo>
                    <a:pt x="43" y="0"/>
                  </a:lnTo>
                  <a:lnTo>
                    <a:pt x="49" y="0"/>
                  </a:lnTo>
                  <a:lnTo>
                    <a:pt x="60" y="5"/>
                  </a:lnTo>
                  <a:lnTo>
                    <a:pt x="7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3" name="Freeform 835"/>
            <p:cNvSpPr>
              <a:spLocks/>
            </p:cNvSpPr>
            <p:nvPr/>
          </p:nvSpPr>
          <p:spPr bwMode="auto">
            <a:xfrm>
              <a:off x="1746" y="2576"/>
              <a:ext cx="16" cy="6"/>
            </a:xfrm>
            <a:custGeom>
              <a:avLst/>
              <a:gdLst>
                <a:gd name="T0" fmla="*/ 11 w 16"/>
                <a:gd name="T1" fmla="*/ 0 h 6"/>
                <a:gd name="T2" fmla="*/ 16 w 16"/>
                <a:gd name="T3" fmla="*/ 6 h 6"/>
                <a:gd name="T4" fmla="*/ 0 w 16"/>
                <a:gd name="T5" fmla="*/ 0 h 6"/>
                <a:gd name="T6" fmla="*/ 11 w 16"/>
                <a:gd name="T7" fmla="*/ 0 h 6"/>
                <a:gd name="T8" fmla="*/ 0 60000 65536"/>
                <a:gd name="T9" fmla="*/ 0 60000 65536"/>
                <a:gd name="T10" fmla="*/ 0 60000 65536"/>
                <a:gd name="T11" fmla="*/ 0 60000 65536"/>
                <a:gd name="T12" fmla="*/ 0 w 16"/>
                <a:gd name="T13" fmla="*/ 0 h 6"/>
                <a:gd name="T14" fmla="*/ 16 w 16"/>
                <a:gd name="T15" fmla="*/ 6 h 6"/>
              </a:gdLst>
              <a:ahLst/>
              <a:cxnLst>
                <a:cxn ang="T8">
                  <a:pos x="T0" y="T1"/>
                </a:cxn>
                <a:cxn ang="T9">
                  <a:pos x="T2" y="T3"/>
                </a:cxn>
                <a:cxn ang="T10">
                  <a:pos x="T4" y="T5"/>
                </a:cxn>
                <a:cxn ang="T11">
                  <a:pos x="T6" y="T7"/>
                </a:cxn>
              </a:cxnLst>
              <a:rect l="T12" t="T13" r="T14" b="T15"/>
              <a:pathLst>
                <a:path w="16" h="6">
                  <a:moveTo>
                    <a:pt x="11" y="0"/>
                  </a:moveTo>
                  <a:lnTo>
                    <a:pt x="16" y="6"/>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4" name="Freeform 836"/>
            <p:cNvSpPr>
              <a:spLocks/>
            </p:cNvSpPr>
            <p:nvPr/>
          </p:nvSpPr>
          <p:spPr bwMode="auto">
            <a:xfrm>
              <a:off x="1811" y="2647"/>
              <a:ext cx="11" cy="6"/>
            </a:xfrm>
            <a:custGeom>
              <a:avLst/>
              <a:gdLst>
                <a:gd name="T0" fmla="*/ 11 w 11"/>
                <a:gd name="T1" fmla="*/ 0 h 6"/>
                <a:gd name="T2" fmla="*/ 11 w 11"/>
                <a:gd name="T3" fmla="*/ 6 h 6"/>
                <a:gd name="T4" fmla="*/ 0 w 11"/>
                <a:gd name="T5" fmla="*/ 6 h 6"/>
                <a:gd name="T6" fmla="*/ 0 w 11"/>
                <a:gd name="T7" fmla="*/ 6 h 6"/>
                <a:gd name="T8" fmla="*/ 11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11" y="0"/>
                  </a:moveTo>
                  <a:lnTo>
                    <a:pt x="11" y="6"/>
                  </a:lnTo>
                  <a:lnTo>
                    <a:pt x="0" y="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5" name="Freeform 837"/>
            <p:cNvSpPr>
              <a:spLocks/>
            </p:cNvSpPr>
            <p:nvPr/>
          </p:nvSpPr>
          <p:spPr bwMode="auto">
            <a:xfrm>
              <a:off x="1784" y="2604"/>
              <a:ext cx="11" cy="10"/>
            </a:xfrm>
            <a:custGeom>
              <a:avLst/>
              <a:gdLst>
                <a:gd name="T0" fmla="*/ 5 w 11"/>
                <a:gd name="T1" fmla="*/ 5 h 10"/>
                <a:gd name="T2" fmla="*/ 11 w 11"/>
                <a:gd name="T3" fmla="*/ 10 h 10"/>
                <a:gd name="T4" fmla="*/ 5 w 11"/>
                <a:gd name="T5" fmla="*/ 10 h 10"/>
                <a:gd name="T6" fmla="*/ 0 w 11"/>
                <a:gd name="T7" fmla="*/ 0 h 10"/>
                <a:gd name="T8" fmla="*/ 5 w 11"/>
                <a:gd name="T9" fmla="*/ 5 h 10"/>
                <a:gd name="T10" fmla="*/ 0 60000 65536"/>
                <a:gd name="T11" fmla="*/ 0 60000 65536"/>
                <a:gd name="T12" fmla="*/ 0 60000 65536"/>
                <a:gd name="T13" fmla="*/ 0 60000 65536"/>
                <a:gd name="T14" fmla="*/ 0 60000 65536"/>
                <a:gd name="T15" fmla="*/ 0 w 11"/>
                <a:gd name="T16" fmla="*/ 0 h 10"/>
                <a:gd name="T17" fmla="*/ 11 w 11"/>
                <a:gd name="T18" fmla="*/ 10 h 10"/>
              </a:gdLst>
              <a:ahLst/>
              <a:cxnLst>
                <a:cxn ang="T10">
                  <a:pos x="T0" y="T1"/>
                </a:cxn>
                <a:cxn ang="T11">
                  <a:pos x="T2" y="T3"/>
                </a:cxn>
                <a:cxn ang="T12">
                  <a:pos x="T4" y="T5"/>
                </a:cxn>
                <a:cxn ang="T13">
                  <a:pos x="T6" y="T7"/>
                </a:cxn>
                <a:cxn ang="T14">
                  <a:pos x="T8" y="T9"/>
                </a:cxn>
              </a:cxnLst>
              <a:rect l="T15" t="T16" r="T17" b="T18"/>
              <a:pathLst>
                <a:path w="11" h="10">
                  <a:moveTo>
                    <a:pt x="5" y="5"/>
                  </a:moveTo>
                  <a:lnTo>
                    <a:pt x="11" y="10"/>
                  </a:lnTo>
                  <a:lnTo>
                    <a:pt x="5" y="10"/>
                  </a:lnTo>
                  <a:lnTo>
                    <a:pt x="0" y="0"/>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6" name="Freeform 838"/>
            <p:cNvSpPr>
              <a:spLocks/>
            </p:cNvSpPr>
            <p:nvPr/>
          </p:nvSpPr>
          <p:spPr bwMode="auto">
            <a:xfrm>
              <a:off x="1778" y="2598"/>
              <a:ext cx="6" cy="6"/>
            </a:xfrm>
            <a:custGeom>
              <a:avLst/>
              <a:gdLst>
                <a:gd name="T0" fmla="*/ 0 w 6"/>
                <a:gd name="T1" fmla="*/ 0 h 6"/>
                <a:gd name="T2" fmla="*/ 6 w 6"/>
                <a:gd name="T3" fmla="*/ 6 h 6"/>
                <a:gd name="T4" fmla="*/ 0 w 6"/>
                <a:gd name="T5" fmla="*/ 6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6"/>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7" name="Freeform 839"/>
            <p:cNvSpPr>
              <a:spLocks/>
            </p:cNvSpPr>
            <p:nvPr/>
          </p:nvSpPr>
          <p:spPr bwMode="auto">
            <a:xfrm>
              <a:off x="1762" y="2614"/>
              <a:ext cx="0" cy="6"/>
            </a:xfrm>
            <a:custGeom>
              <a:avLst/>
              <a:gdLst>
                <a:gd name="T0" fmla="*/ 0 h 6"/>
                <a:gd name="T1" fmla="*/ 0 h 6"/>
                <a:gd name="T2" fmla="*/ 6 h 6"/>
                <a:gd name="T3" fmla="*/ 0 h 6"/>
                <a:gd name="T4" fmla="*/ 0 60000 65536"/>
                <a:gd name="T5" fmla="*/ 0 60000 65536"/>
                <a:gd name="T6" fmla="*/ 0 60000 65536"/>
                <a:gd name="T7" fmla="*/ 0 60000 65536"/>
                <a:gd name="T8" fmla="*/ 0 h 6"/>
                <a:gd name="T9" fmla="*/ 6 h 6"/>
              </a:gdLst>
              <a:ahLst/>
              <a:cxnLst>
                <a:cxn ang="T4">
                  <a:pos x="0" y="T0"/>
                </a:cxn>
                <a:cxn ang="T5">
                  <a:pos x="0" y="T1"/>
                </a:cxn>
                <a:cxn ang="T6">
                  <a:pos x="0" y="T2"/>
                </a:cxn>
                <a:cxn ang="T7">
                  <a:pos x="0" y="T3"/>
                </a:cxn>
              </a:cxnLst>
              <a:rect l="0" t="T8" r="0" b="T9"/>
              <a:pathLst>
                <a:path h="6">
                  <a:moveTo>
                    <a:pt x="0" y="0"/>
                  </a:moveTo>
                  <a:lnTo>
                    <a:pt x="0" y="0"/>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8" name="Freeform 840"/>
            <p:cNvSpPr>
              <a:spLocks/>
            </p:cNvSpPr>
            <p:nvPr/>
          </p:nvSpPr>
          <p:spPr bwMode="auto">
            <a:xfrm>
              <a:off x="1757" y="2598"/>
              <a:ext cx="5" cy="11"/>
            </a:xfrm>
            <a:custGeom>
              <a:avLst/>
              <a:gdLst>
                <a:gd name="T0" fmla="*/ 0 w 5"/>
                <a:gd name="T1" fmla="*/ 0 h 11"/>
                <a:gd name="T2" fmla="*/ 5 w 5"/>
                <a:gd name="T3" fmla="*/ 6 h 11"/>
                <a:gd name="T4" fmla="*/ 5 w 5"/>
                <a:gd name="T5" fmla="*/ 11 h 11"/>
                <a:gd name="T6" fmla="*/ 0 w 5"/>
                <a:gd name="T7" fmla="*/ 6 h 11"/>
                <a:gd name="T8" fmla="*/ 0 w 5"/>
                <a:gd name="T9" fmla="*/ 0 h 11"/>
                <a:gd name="T10" fmla="*/ 0 w 5"/>
                <a:gd name="T11" fmla="*/ 0 h 11"/>
                <a:gd name="T12" fmla="*/ 0 60000 65536"/>
                <a:gd name="T13" fmla="*/ 0 60000 65536"/>
                <a:gd name="T14" fmla="*/ 0 60000 65536"/>
                <a:gd name="T15" fmla="*/ 0 60000 65536"/>
                <a:gd name="T16" fmla="*/ 0 60000 65536"/>
                <a:gd name="T17" fmla="*/ 0 60000 65536"/>
                <a:gd name="T18" fmla="*/ 0 w 5"/>
                <a:gd name="T19" fmla="*/ 0 h 11"/>
                <a:gd name="T20" fmla="*/ 5 w 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5" h="11">
                  <a:moveTo>
                    <a:pt x="0" y="0"/>
                  </a:moveTo>
                  <a:lnTo>
                    <a:pt x="5" y="6"/>
                  </a:lnTo>
                  <a:lnTo>
                    <a:pt x="5" y="11"/>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19" name="Freeform 841"/>
            <p:cNvSpPr>
              <a:spLocks/>
            </p:cNvSpPr>
            <p:nvPr/>
          </p:nvSpPr>
          <p:spPr bwMode="auto">
            <a:xfrm>
              <a:off x="1767" y="2582"/>
              <a:ext cx="0" cy="5"/>
            </a:xfrm>
            <a:custGeom>
              <a:avLst/>
              <a:gdLst>
                <a:gd name="T0" fmla="*/ 0 h 5"/>
                <a:gd name="T1" fmla="*/ 5 h 5"/>
                <a:gd name="T2" fmla="*/ 0 h 5"/>
                <a:gd name="T3" fmla="*/ 0 h 5"/>
                <a:gd name="T4" fmla="*/ 0 h 5"/>
                <a:gd name="T5" fmla="*/ 0 60000 65536"/>
                <a:gd name="T6" fmla="*/ 0 60000 65536"/>
                <a:gd name="T7" fmla="*/ 0 60000 65536"/>
                <a:gd name="T8" fmla="*/ 0 60000 65536"/>
                <a:gd name="T9" fmla="*/ 0 60000 65536"/>
                <a:gd name="T10" fmla="*/ 0 h 5"/>
                <a:gd name="T11" fmla="*/ 5 h 5"/>
              </a:gdLst>
              <a:ahLst/>
              <a:cxnLst>
                <a:cxn ang="T5">
                  <a:pos x="0" y="T0"/>
                </a:cxn>
                <a:cxn ang="T6">
                  <a:pos x="0" y="T1"/>
                </a:cxn>
                <a:cxn ang="T7">
                  <a:pos x="0" y="T2"/>
                </a:cxn>
                <a:cxn ang="T8">
                  <a:pos x="0" y="T3"/>
                </a:cxn>
                <a:cxn ang="T9">
                  <a:pos x="0" y="T4"/>
                </a:cxn>
              </a:cxnLst>
              <a:rect l="0" t="T10" r="0" b="T11"/>
              <a:pathLst>
                <a:path h="5">
                  <a:moveTo>
                    <a:pt x="0" y="0"/>
                  </a:move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0" name="Freeform 842"/>
            <p:cNvSpPr>
              <a:spLocks/>
            </p:cNvSpPr>
            <p:nvPr/>
          </p:nvSpPr>
          <p:spPr bwMode="auto">
            <a:xfrm>
              <a:off x="1806" y="2631"/>
              <a:ext cx="5" cy="5"/>
            </a:xfrm>
            <a:custGeom>
              <a:avLst/>
              <a:gdLst>
                <a:gd name="T0" fmla="*/ 0 w 5"/>
                <a:gd name="T1" fmla="*/ 5 h 5"/>
                <a:gd name="T2" fmla="*/ 0 w 5"/>
                <a:gd name="T3" fmla="*/ 5 h 5"/>
                <a:gd name="T4" fmla="*/ 5 w 5"/>
                <a:gd name="T5" fmla="*/ 0 h 5"/>
                <a:gd name="T6" fmla="*/ 0 w 5"/>
                <a:gd name="T7" fmla="*/ 0 h 5"/>
                <a:gd name="T8" fmla="*/ 0 w 5"/>
                <a:gd name="T9" fmla="*/ 5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5"/>
                  </a:moveTo>
                  <a:lnTo>
                    <a:pt x="0" y="5"/>
                  </a:lnTo>
                  <a:lnTo>
                    <a:pt x="5" y="0"/>
                  </a:ln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1" name="Freeform 843"/>
            <p:cNvSpPr>
              <a:spLocks/>
            </p:cNvSpPr>
            <p:nvPr/>
          </p:nvSpPr>
          <p:spPr bwMode="auto">
            <a:xfrm>
              <a:off x="1816" y="3193"/>
              <a:ext cx="240" cy="480"/>
            </a:xfrm>
            <a:custGeom>
              <a:avLst/>
              <a:gdLst>
                <a:gd name="T0" fmla="*/ 240 w 240"/>
                <a:gd name="T1" fmla="*/ 60 h 480"/>
                <a:gd name="T2" fmla="*/ 191 w 240"/>
                <a:gd name="T3" fmla="*/ 114 h 480"/>
                <a:gd name="T4" fmla="*/ 185 w 240"/>
                <a:gd name="T5" fmla="*/ 169 h 480"/>
                <a:gd name="T6" fmla="*/ 196 w 240"/>
                <a:gd name="T7" fmla="*/ 196 h 480"/>
                <a:gd name="T8" fmla="*/ 202 w 240"/>
                <a:gd name="T9" fmla="*/ 213 h 480"/>
                <a:gd name="T10" fmla="*/ 185 w 240"/>
                <a:gd name="T11" fmla="*/ 234 h 480"/>
                <a:gd name="T12" fmla="*/ 136 w 240"/>
                <a:gd name="T13" fmla="*/ 240 h 480"/>
                <a:gd name="T14" fmla="*/ 136 w 240"/>
                <a:gd name="T15" fmla="*/ 262 h 480"/>
                <a:gd name="T16" fmla="*/ 126 w 240"/>
                <a:gd name="T17" fmla="*/ 278 h 480"/>
                <a:gd name="T18" fmla="*/ 98 w 240"/>
                <a:gd name="T19" fmla="*/ 273 h 480"/>
                <a:gd name="T20" fmla="*/ 115 w 240"/>
                <a:gd name="T21" fmla="*/ 300 h 480"/>
                <a:gd name="T22" fmla="*/ 120 w 240"/>
                <a:gd name="T23" fmla="*/ 295 h 480"/>
                <a:gd name="T24" fmla="*/ 115 w 240"/>
                <a:gd name="T25" fmla="*/ 305 h 480"/>
                <a:gd name="T26" fmla="*/ 109 w 240"/>
                <a:gd name="T27" fmla="*/ 311 h 480"/>
                <a:gd name="T28" fmla="*/ 98 w 240"/>
                <a:gd name="T29" fmla="*/ 333 h 480"/>
                <a:gd name="T30" fmla="*/ 87 w 240"/>
                <a:gd name="T31" fmla="*/ 344 h 480"/>
                <a:gd name="T32" fmla="*/ 71 w 240"/>
                <a:gd name="T33" fmla="*/ 365 h 480"/>
                <a:gd name="T34" fmla="*/ 93 w 240"/>
                <a:gd name="T35" fmla="*/ 382 h 480"/>
                <a:gd name="T36" fmla="*/ 71 w 240"/>
                <a:gd name="T37" fmla="*/ 415 h 480"/>
                <a:gd name="T38" fmla="*/ 60 w 240"/>
                <a:gd name="T39" fmla="*/ 431 h 480"/>
                <a:gd name="T40" fmla="*/ 49 w 240"/>
                <a:gd name="T41" fmla="*/ 453 h 480"/>
                <a:gd name="T42" fmla="*/ 49 w 240"/>
                <a:gd name="T43" fmla="*/ 464 h 480"/>
                <a:gd name="T44" fmla="*/ 44 w 240"/>
                <a:gd name="T45" fmla="*/ 475 h 480"/>
                <a:gd name="T46" fmla="*/ 11 w 240"/>
                <a:gd name="T47" fmla="*/ 447 h 480"/>
                <a:gd name="T48" fmla="*/ 0 w 240"/>
                <a:gd name="T49" fmla="*/ 425 h 480"/>
                <a:gd name="T50" fmla="*/ 11 w 240"/>
                <a:gd name="T51" fmla="*/ 393 h 480"/>
                <a:gd name="T52" fmla="*/ 22 w 240"/>
                <a:gd name="T53" fmla="*/ 344 h 480"/>
                <a:gd name="T54" fmla="*/ 22 w 240"/>
                <a:gd name="T55" fmla="*/ 333 h 480"/>
                <a:gd name="T56" fmla="*/ 17 w 240"/>
                <a:gd name="T57" fmla="*/ 300 h 480"/>
                <a:gd name="T58" fmla="*/ 22 w 240"/>
                <a:gd name="T59" fmla="*/ 262 h 480"/>
                <a:gd name="T60" fmla="*/ 28 w 240"/>
                <a:gd name="T61" fmla="*/ 224 h 480"/>
                <a:gd name="T62" fmla="*/ 33 w 240"/>
                <a:gd name="T63" fmla="*/ 185 h 480"/>
                <a:gd name="T64" fmla="*/ 33 w 240"/>
                <a:gd name="T65" fmla="*/ 131 h 480"/>
                <a:gd name="T66" fmla="*/ 44 w 240"/>
                <a:gd name="T67" fmla="*/ 98 h 480"/>
                <a:gd name="T68" fmla="*/ 55 w 240"/>
                <a:gd name="T69" fmla="*/ 71 h 480"/>
                <a:gd name="T70" fmla="*/ 60 w 240"/>
                <a:gd name="T71" fmla="*/ 33 h 480"/>
                <a:gd name="T72" fmla="*/ 77 w 240"/>
                <a:gd name="T73" fmla="*/ 11 h 480"/>
                <a:gd name="T74" fmla="*/ 104 w 240"/>
                <a:gd name="T75" fmla="*/ 5 h 480"/>
                <a:gd name="T76" fmla="*/ 126 w 240"/>
                <a:gd name="T77" fmla="*/ 0 h 480"/>
                <a:gd name="T78" fmla="*/ 153 w 240"/>
                <a:gd name="T79" fmla="*/ 27 h 480"/>
                <a:gd name="T80" fmla="*/ 191 w 240"/>
                <a:gd name="T81" fmla="*/ 49 h 480"/>
                <a:gd name="T82" fmla="*/ 196 w 240"/>
                <a:gd name="T83" fmla="*/ 71 h 480"/>
                <a:gd name="T84" fmla="*/ 229 w 240"/>
                <a:gd name="T85" fmla="*/ 60 h 48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40"/>
                <a:gd name="T130" fmla="*/ 0 h 480"/>
                <a:gd name="T131" fmla="*/ 240 w 240"/>
                <a:gd name="T132" fmla="*/ 480 h 48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40" h="480">
                  <a:moveTo>
                    <a:pt x="229" y="49"/>
                  </a:moveTo>
                  <a:lnTo>
                    <a:pt x="240" y="49"/>
                  </a:lnTo>
                  <a:lnTo>
                    <a:pt x="240" y="60"/>
                  </a:lnTo>
                  <a:lnTo>
                    <a:pt x="240" y="71"/>
                  </a:lnTo>
                  <a:lnTo>
                    <a:pt x="229" y="76"/>
                  </a:lnTo>
                  <a:lnTo>
                    <a:pt x="191" y="114"/>
                  </a:lnTo>
                  <a:lnTo>
                    <a:pt x="185" y="153"/>
                  </a:lnTo>
                  <a:lnTo>
                    <a:pt x="185" y="169"/>
                  </a:lnTo>
                  <a:lnTo>
                    <a:pt x="185" y="174"/>
                  </a:lnTo>
                  <a:lnTo>
                    <a:pt x="196" y="185"/>
                  </a:lnTo>
                  <a:lnTo>
                    <a:pt x="196" y="196"/>
                  </a:lnTo>
                  <a:lnTo>
                    <a:pt x="202" y="202"/>
                  </a:lnTo>
                  <a:lnTo>
                    <a:pt x="202" y="213"/>
                  </a:lnTo>
                  <a:lnTo>
                    <a:pt x="196" y="224"/>
                  </a:lnTo>
                  <a:lnTo>
                    <a:pt x="191" y="229"/>
                  </a:lnTo>
                  <a:lnTo>
                    <a:pt x="185" y="234"/>
                  </a:lnTo>
                  <a:lnTo>
                    <a:pt x="153" y="240"/>
                  </a:lnTo>
                  <a:lnTo>
                    <a:pt x="136" y="240"/>
                  </a:lnTo>
                  <a:lnTo>
                    <a:pt x="136" y="245"/>
                  </a:lnTo>
                  <a:lnTo>
                    <a:pt x="136" y="251"/>
                  </a:lnTo>
                  <a:lnTo>
                    <a:pt x="136" y="262"/>
                  </a:lnTo>
                  <a:lnTo>
                    <a:pt x="136" y="273"/>
                  </a:lnTo>
                  <a:lnTo>
                    <a:pt x="131" y="273"/>
                  </a:lnTo>
                  <a:lnTo>
                    <a:pt x="126" y="278"/>
                  </a:lnTo>
                  <a:lnTo>
                    <a:pt x="120" y="278"/>
                  </a:lnTo>
                  <a:lnTo>
                    <a:pt x="104" y="267"/>
                  </a:lnTo>
                  <a:lnTo>
                    <a:pt x="98" y="273"/>
                  </a:lnTo>
                  <a:lnTo>
                    <a:pt x="104" y="295"/>
                  </a:lnTo>
                  <a:lnTo>
                    <a:pt x="109" y="300"/>
                  </a:lnTo>
                  <a:lnTo>
                    <a:pt x="115" y="300"/>
                  </a:lnTo>
                  <a:lnTo>
                    <a:pt x="109" y="295"/>
                  </a:lnTo>
                  <a:lnTo>
                    <a:pt x="120" y="295"/>
                  </a:lnTo>
                  <a:lnTo>
                    <a:pt x="120" y="300"/>
                  </a:lnTo>
                  <a:lnTo>
                    <a:pt x="120" y="305"/>
                  </a:lnTo>
                  <a:lnTo>
                    <a:pt x="115" y="305"/>
                  </a:lnTo>
                  <a:lnTo>
                    <a:pt x="109" y="300"/>
                  </a:lnTo>
                  <a:lnTo>
                    <a:pt x="104" y="305"/>
                  </a:lnTo>
                  <a:lnTo>
                    <a:pt x="109" y="311"/>
                  </a:lnTo>
                  <a:lnTo>
                    <a:pt x="104" y="311"/>
                  </a:lnTo>
                  <a:lnTo>
                    <a:pt x="98" y="316"/>
                  </a:lnTo>
                  <a:lnTo>
                    <a:pt x="98" y="333"/>
                  </a:lnTo>
                  <a:lnTo>
                    <a:pt x="93" y="338"/>
                  </a:lnTo>
                  <a:lnTo>
                    <a:pt x="98" y="344"/>
                  </a:lnTo>
                  <a:lnTo>
                    <a:pt x="87" y="344"/>
                  </a:lnTo>
                  <a:lnTo>
                    <a:pt x="82" y="349"/>
                  </a:lnTo>
                  <a:lnTo>
                    <a:pt x="71" y="360"/>
                  </a:lnTo>
                  <a:lnTo>
                    <a:pt x="71" y="365"/>
                  </a:lnTo>
                  <a:lnTo>
                    <a:pt x="77" y="371"/>
                  </a:lnTo>
                  <a:lnTo>
                    <a:pt x="82" y="376"/>
                  </a:lnTo>
                  <a:lnTo>
                    <a:pt x="93" y="382"/>
                  </a:lnTo>
                  <a:lnTo>
                    <a:pt x="93" y="387"/>
                  </a:lnTo>
                  <a:lnTo>
                    <a:pt x="93" y="398"/>
                  </a:lnTo>
                  <a:lnTo>
                    <a:pt x="71" y="415"/>
                  </a:lnTo>
                  <a:lnTo>
                    <a:pt x="66" y="431"/>
                  </a:lnTo>
                  <a:lnTo>
                    <a:pt x="60" y="436"/>
                  </a:lnTo>
                  <a:lnTo>
                    <a:pt x="60" y="431"/>
                  </a:lnTo>
                  <a:lnTo>
                    <a:pt x="60" y="436"/>
                  </a:lnTo>
                  <a:lnTo>
                    <a:pt x="55" y="442"/>
                  </a:lnTo>
                  <a:lnTo>
                    <a:pt x="49" y="453"/>
                  </a:lnTo>
                  <a:lnTo>
                    <a:pt x="55" y="464"/>
                  </a:lnTo>
                  <a:lnTo>
                    <a:pt x="49" y="464"/>
                  </a:lnTo>
                  <a:lnTo>
                    <a:pt x="55" y="464"/>
                  </a:lnTo>
                  <a:lnTo>
                    <a:pt x="60" y="480"/>
                  </a:lnTo>
                  <a:lnTo>
                    <a:pt x="44" y="475"/>
                  </a:lnTo>
                  <a:lnTo>
                    <a:pt x="17" y="469"/>
                  </a:lnTo>
                  <a:lnTo>
                    <a:pt x="11" y="469"/>
                  </a:lnTo>
                  <a:lnTo>
                    <a:pt x="11" y="447"/>
                  </a:lnTo>
                  <a:lnTo>
                    <a:pt x="0" y="447"/>
                  </a:lnTo>
                  <a:lnTo>
                    <a:pt x="0" y="436"/>
                  </a:lnTo>
                  <a:lnTo>
                    <a:pt x="0" y="425"/>
                  </a:lnTo>
                  <a:lnTo>
                    <a:pt x="11" y="409"/>
                  </a:lnTo>
                  <a:lnTo>
                    <a:pt x="11" y="404"/>
                  </a:lnTo>
                  <a:lnTo>
                    <a:pt x="11" y="393"/>
                  </a:lnTo>
                  <a:lnTo>
                    <a:pt x="22" y="371"/>
                  </a:lnTo>
                  <a:lnTo>
                    <a:pt x="22" y="349"/>
                  </a:lnTo>
                  <a:lnTo>
                    <a:pt x="22" y="344"/>
                  </a:lnTo>
                  <a:lnTo>
                    <a:pt x="17" y="338"/>
                  </a:lnTo>
                  <a:lnTo>
                    <a:pt x="28" y="338"/>
                  </a:lnTo>
                  <a:lnTo>
                    <a:pt x="22" y="333"/>
                  </a:lnTo>
                  <a:lnTo>
                    <a:pt x="17" y="333"/>
                  </a:lnTo>
                  <a:lnTo>
                    <a:pt x="17" y="322"/>
                  </a:lnTo>
                  <a:lnTo>
                    <a:pt x="17" y="300"/>
                  </a:lnTo>
                  <a:lnTo>
                    <a:pt x="22" y="289"/>
                  </a:lnTo>
                  <a:lnTo>
                    <a:pt x="17" y="278"/>
                  </a:lnTo>
                  <a:lnTo>
                    <a:pt x="22" y="262"/>
                  </a:lnTo>
                  <a:lnTo>
                    <a:pt x="22" y="245"/>
                  </a:lnTo>
                  <a:lnTo>
                    <a:pt x="28" y="234"/>
                  </a:lnTo>
                  <a:lnTo>
                    <a:pt x="28" y="224"/>
                  </a:lnTo>
                  <a:lnTo>
                    <a:pt x="28" y="207"/>
                  </a:lnTo>
                  <a:lnTo>
                    <a:pt x="33" y="196"/>
                  </a:lnTo>
                  <a:lnTo>
                    <a:pt x="33" y="185"/>
                  </a:lnTo>
                  <a:lnTo>
                    <a:pt x="44" y="169"/>
                  </a:lnTo>
                  <a:lnTo>
                    <a:pt x="44" y="158"/>
                  </a:lnTo>
                  <a:lnTo>
                    <a:pt x="33" y="131"/>
                  </a:lnTo>
                  <a:lnTo>
                    <a:pt x="33" y="125"/>
                  </a:lnTo>
                  <a:lnTo>
                    <a:pt x="44" y="114"/>
                  </a:lnTo>
                  <a:lnTo>
                    <a:pt x="44" y="98"/>
                  </a:lnTo>
                  <a:lnTo>
                    <a:pt x="49" y="82"/>
                  </a:lnTo>
                  <a:lnTo>
                    <a:pt x="55" y="76"/>
                  </a:lnTo>
                  <a:lnTo>
                    <a:pt x="55" y="71"/>
                  </a:lnTo>
                  <a:lnTo>
                    <a:pt x="60" y="65"/>
                  </a:lnTo>
                  <a:lnTo>
                    <a:pt x="60" y="49"/>
                  </a:lnTo>
                  <a:lnTo>
                    <a:pt x="60" y="33"/>
                  </a:lnTo>
                  <a:lnTo>
                    <a:pt x="77" y="27"/>
                  </a:lnTo>
                  <a:lnTo>
                    <a:pt x="77" y="16"/>
                  </a:lnTo>
                  <a:lnTo>
                    <a:pt x="77" y="11"/>
                  </a:lnTo>
                  <a:lnTo>
                    <a:pt x="87" y="0"/>
                  </a:lnTo>
                  <a:lnTo>
                    <a:pt x="93" y="0"/>
                  </a:lnTo>
                  <a:lnTo>
                    <a:pt x="104" y="5"/>
                  </a:lnTo>
                  <a:lnTo>
                    <a:pt x="109" y="11"/>
                  </a:lnTo>
                  <a:lnTo>
                    <a:pt x="115" y="0"/>
                  </a:lnTo>
                  <a:lnTo>
                    <a:pt x="126" y="0"/>
                  </a:lnTo>
                  <a:lnTo>
                    <a:pt x="131" y="5"/>
                  </a:lnTo>
                  <a:lnTo>
                    <a:pt x="136" y="5"/>
                  </a:lnTo>
                  <a:lnTo>
                    <a:pt x="153" y="27"/>
                  </a:lnTo>
                  <a:lnTo>
                    <a:pt x="169" y="27"/>
                  </a:lnTo>
                  <a:lnTo>
                    <a:pt x="191" y="44"/>
                  </a:lnTo>
                  <a:lnTo>
                    <a:pt x="191" y="49"/>
                  </a:lnTo>
                  <a:lnTo>
                    <a:pt x="185" y="65"/>
                  </a:lnTo>
                  <a:lnTo>
                    <a:pt x="185" y="71"/>
                  </a:lnTo>
                  <a:lnTo>
                    <a:pt x="196" y="71"/>
                  </a:lnTo>
                  <a:lnTo>
                    <a:pt x="202" y="76"/>
                  </a:lnTo>
                  <a:lnTo>
                    <a:pt x="218" y="71"/>
                  </a:lnTo>
                  <a:lnTo>
                    <a:pt x="229" y="60"/>
                  </a:lnTo>
                  <a:lnTo>
                    <a:pt x="229"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2" name="Freeform 844"/>
            <p:cNvSpPr>
              <a:spLocks/>
            </p:cNvSpPr>
            <p:nvPr/>
          </p:nvSpPr>
          <p:spPr bwMode="auto">
            <a:xfrm>
              <a:off x="1925" y="3722"/>
              <a:ext cx="11" cy="0"/>
            </a:xfrm>
            <a:custGeom>
              <a:avLst/>
              <a:gdLst>
                <a:gd name="T0" fmla="*/ 0 w 11"/>
                <a:gd name="T1" fmla="*/ 11 w 11"/>
                <a:gd name="T2" fmla="*/ 0 w 11"/>
                <a:gd name="T3" fmla="*/ 0 w 11"/>
                <a:gd name="T4" fmla="*/ 0 w 11"/>
                <a:gd name="T5" fmla="*/ 0 60000 65536"/>
                <a:gd name="T6" fmla="*/ 0 60000 65536"/>
                <a:gd name="T7" fmla="*/ 0 60000 65536"/>
                <a:gd name="T8" fmla="*/ 0 60000 65536"/>
                <a:gd name="T9" fmla="*/ 0 60000 65536"/>
                <a:gd name="T10" fmla="*/ 0 w 11"/>
                <a:gd name="T11" fmla="*/ 11 w 11"/>
              </a:gdLst>
              <a:ahLst/>
              <a:cxnLst>
                <a:cxn ang="T5">
                  <a:pos x="T0" y="0"/>
                </a:cxn>
                <a:cxn ang="T6">
                  <a:pos x="T1" y="0"/>
                </a:cxn>
                <a:cxn ang="T7">
                  <a:pos x="T2" y="0"/>
                </a:cxn>
                <a:cxn ang="T8">
                  <a:pos x="T3" y="0"/>
                </a:cxn>
                <a:cxn ang="T9">
                  <a:pos x="T4" y="0"/>
                </a:cxn>
              </a:cxnLst>
              <a:rect l="T10" t="0" r="T11" b="0"/>
              <a:pathLst>
                <a:path w="11">
                  <a:moveTo>
                    <a:pt x="0" y="0"/>
                  </a:moveTo>
                  <a:lnTo>
                    <a:pt x="11"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3" name="Freeform 845"/>
            <p:cNvSpPr>
              <a:spLocks/>
            </p:cNvSpPr>
            <p:nvPr/>
          </p:nvSpPr>
          <p:spPr bwMode="auto">
            <a:xfrm>
              <a:off x="1876" y="3679"/>
              <a:ext cx="44" cy="49"/>
            </a:xfrm>
            <a:custGeom>
              <a:avLst/>
              <a:gdLst>
                <a:gd name="T0" fmla="*/ 0 w 44"/>
                <a:gd name="T1" fmla="*/ 0 h 49"/>
                <a:gd name="T2" fmla="*/ 0 w 44"/>
                <a:gd name="T3" fmla="*/ 43 h 49"/>
                <a:gd name="T4" fmla="*/ 6 w 44"/>
                <a:gd name="T5" fmla="*/ 43 h 49"/>
                <a:gd name="T6" fmla="*/ 27 w 44"/>
                <a:gd name="T7" fmla="*/ 49 h 49"/>
                <a:gd name="T8" fmla="*/ 38 w 44"/>
                <a:gd name="T9" fmla="*/ 49 h 49"/>
                <a:gd name="T10" fmla="*/ 44 w 44"/>
                <a:gd name="T11" fmla="*/ 43 h 49"/>
                <a:gd name="T12" fmla="*/ 27 w 44"/>
                <a:gd name="T13" fmla="*/ 38 h 49"/>
                <a:gd name="T14" fmla="*/ 6 w 44"/>
                <a:gd name="T15" fmla="*/ 21 h 49"/>
                <a:gd name="T16" fmla="*/ 0 w 44"/>
                <a:gd name="T17" fmla="*/ 10 h 49"/>
                <a:gd name="T18" fmla="*/ 6 w 44"/>
                <a:gd name="T19" fmla="*/ 10 h 49"/>
                <a:gd name="T20" fmla="*/ 0 w 44"/>
                <a:gd name="T21" fmla="*/ 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9"/>
                <a:gd name="T35" fmla="*/ 44 w 44"/>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9">
                  <a:moveTo>
                    <a:pt x="0" y="0"/>
                  </a:moveTo>
                  <a:lnTo>
                    <a:pt x="0" y="43"/>
                  </a:lnTo>
                  <a:lnTo>
                    <a:pt x="6" y="43"/>
                  </a:lnTo>
                  <a:lnTo>
                    <a:pt x="27" y="49"/>
                  </a:lnTo>
                  <a:lnTo>
                    <a:pt x="38" y="49"/>
                  </a:lnTo>
                  <a:lnTo>
                    <a:pt x="44" y="43"/>
                  </a:lnTo>
                  <a:lnTo>
                    <a:pt x="27" y="38"/>
                  </a:lnTo>
                  <a:lnTo>
                    <a:pt x="6" y="21"/>
                  </a:lnTo>
                  <a:lnTo>
                    <a:pt x="0" y="10"/>
                  </a:lnTo>
                  <a:lnTo>
                    <a:pt x="6" y="1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4" name="Freeform 846"/>
            <p:cNvSpPr>
              <a:spLocks/>
            </p:cNvSpPr>
            <p:nvPr/>
          </p:nvSpPr>
          <p:spPr bwMode="auto">
            <a:xfrm>
              <a:off x="1860" y="3035"/>
              <a:ext cx="147" cy="169"/>
            </a:xfrm>
            <a:custGeom>
              <a:avLst/>
              <a:gdLst>
                <a:gd name="T0" fmla="*/ 0 w 147"/>
                <a:gd name="T1" fmla="*/ 103 h 169"/>
                <a:gd name="T2" fmla="*/ 5 w 147"/>
                <a:gd name="T3" fmla="*/ 109 h 169"/>
                <a:gd name="T4" fmla="*/ 11 w 147"/>
                <a:gd name="T5" fmla="*/ 120 h 169"/>
                <a:gd name="T6" fmla="*/ 16 w 147"/>
                <a:gd name="T7" fmla="*/ 125 h 169"/>
                <a:gd name="T8" fmla="*/ 16 w 147"/>
                <a:gd name="T9" fmla="*/ 131 h 169"/>
                <a:gd name="T10" fmla="*/ 11 w 147"/>
                <a:gd name="T11" fmla="*/ 131 h 169"/>
                <a:gd name="T12" fmla="*/ 11 w 147"/>
                <a:gd name="T13" fmla="*/ 136 h 169"/>
                <a:gd name="T14" fmla="*/ 16 w 147"/>
                <a:gd name="T15" fmla="*/ 141 h 169"/>
                <a:gd name="T16" fmla="*/ 22 w 147"/>
                <a:gd name="T17" fmla="*/ 169 h 169"/>
                <a:gd name="T18" fmla="*/ 33 w 147"/>
                <a:gd name="T19" fmla="*/ 169 h 169"/>
                <a:gd name="T20" fmla="*/ 43 w 147"/>
                <a:gd name="T21" fmla="*/ 158 h 169"/>
                <a:gd name="T22" fmla="*/ 49 w 147"/>
                <a:gd name="T23" fmla="*/ 158 h 169"/>
                <a:gd name="T24" fmla="*/ 60 w 147"/>
                <a:gd name="T25" fmla="*/ 163 h 169"/>
                <a:gd name="T26" fmla="*/ 65 w 147"/>
                <a:gd name="T27" fmla="*/ 169 h 169"/>
                <a:gd name="T28" fmla="*/ 71 w 147"/>
                <a:gd name="T29" fmla="*/ 158 h 169"/>
                <a:gd name="T30" fmla="*/ 82 w 147"/>
                <a:gd name="T31" fmla="*/ 158 h 169"/>
                <a:gd name="T32" fmla="*/ 87 w 147"/>
                <a:gd name="T33" fmla="*/ 163 h 169"/>
                <a:gd name="T34" fmla="*/ 92 w 147"/>
                <a:gd name="T35" fmla="*/ 152 h 169"/>
                <a:gd name="T36" fmla="*/ 92 w 147"/>
                <a:gd name="T37" fmla="*/ 141 h 169"/>
                <a:gd name="T38" fmla="*/ 98 w 147"/>
                <a:gd name="T39" fmla="*/ 131 h 169"/>
                <a:gd name="T40" fmla="*/ 120 w 147"/>
                <a:gd name="T41" fmla="*/ 125 h 169"/>
                <a:gd name="T42" fmla="*/ 131 w 147"/>
                <a:gd name="T43" fmla="*/ 125 h 169"/>
                <a:gd name="T44" fmla="*/ 136 w 147"/>
                <a:gd name="T45" fmla="*/ 125 h 169"/>
                <a:gd name="T46" fmla="*/ 141 w 147"/>
                <a:gd name="T47" fmla="*/ 136 h 169"/>
                <a:gd name="T48" fmla="*/ 147 w 147"/>
                <a:gd name="T49" fmla="*/ 131 h 169"/>
                <a:gd name="T50" fmla="*/ 147 w 147"/>
                <a:gd name="T51" fmla="*/ 109 h 169"/>
                <a:gd name="T52" fmla="*/ 147 w 147"/>
                <a:gd name="T53" fmla="*/ 98 h 169"/>
                <a:gd name="T54" fmla="*/ 141 w 147"/>
                <a:gd name="T55" fmla="*/ 98 h 169"/>
                <a:gd name="T56" fmla="*/ 141 w 147"/>
                <a:gd name="T57" fmla="*/ 87 h 169"/>
                <a:gd name="T58" fmla="*/ 120 w 147"/>
                <a:gd name="T59" fmla="*/ 81 h 169"/>
                <a:gd name="T60" fmla="*/ 114 w 147"/>
                <a:gd name="T61" fmla="*/ 71 h 169"/>
                <a:gd name="T62" fmla="*/ 114 w 147"/>
                <a:gd name="T63" fmla="*/ 65 h 169"/>
                <a:gd name="T64" fmla="*/ 109 w 147"/>
                <a:gd name="T65" fmla="*/ 49 h 169"/>
                <a:gd name="T66" fmla="*/ 103 w 147"/>
                <a:gd name="T67" fmla="*/ 49 h 169"/>
                <a:gd name="T68" fmla="*/ 98 w 147"/>
                <a:gd name="T69" fmla="*/ 49 h 169"/>
                <a:gd name="T70" fmla="*/ 92 w 147"/>
                <a:gd name="T71" fmla="*/ 43 h 169"/>
                <a:gd name="T72" fmla="*/ 82 w 147"/>
                <a:gd name="T73" fmla="*/ 43 h 169"/>
                <a:gd name="T74" fmla="*/ 82 w 147"/>
                <a:gd name="T75" fmla="*/ 38 h 169"/>
                <a:gd name="T76" fmla="*/ 65 w 147"/>
                <a:gd name="T77" fmla="*/ 32 h 169"/>
                <a:gd name="T78" fmla="*/ 54 w 147"/>
                <a:gd name="T79" fmla="*/ 27 h 169"/>
                <a:gd name="T80" fmla="*/ 54 w 147"/>
                <a:gd name="T81" fmla="*/ 21 h 169"/>
                <a:gd name="T82" fmla="*/ 54 w 147"/>
                <a:gd name="T83" fmla="*/ 5 h 169"/>
                <a:gd name="T84" fmla="*/ 54 w 147"/>
                <a:gd name="T85" fmla="*/ 0 h 169"/>
                <a:gd name="T86" fmla="*/ 38 w 147"/>
                <a:gd name="T87" fmla="*/ 5 h 169"/>
                <a:gd name="T88" fmla="*/ 27 w 147"/>
                <a:gd name="T89" fmla="*/ 16 h 169"/>
                <a:gd name="T90" fmla="*/ 16 w 147"/>
                <a:gd name="T91" fmla="*/ 16 h 169"/>
                <a:gd name="T92" fmla="*/ 0 w 147"/>
                <a:gd name="T93" fmla="*/ 16 h 169"/>
                <a:gd name="T94" fmla="*/ 11 w 147"/>
                <a:gd name="T95" fmla="*/ 38 h 169"/>
                <a:gd name="T96" fmla="*/ 11 w 147"/>
                <a:gd name="T97" fmla="*/ 43 h 169"/>
                <a:gd name="T98" fmla="*/ 11 w 147"/>
                <a:gd name="T99" fmla="*/ 60 h 169"/>
                <a:gd name="T100" fmla="*/ 5 w 147"/>
                <a:gd name="T101" fmla="*/ 65 h 169"/>
                <a:gd name="T102" fmla="*/ 5 w 147"/>
                <a:gd name="T103" fmla="*/ 71 h 169"/>
                <a:gd name="T104" fmla="*/ 5 w 147"/>
                <a:gd name="T105" fmla="*/ 76 h 169"/>
                <a:gd name="T106" fmla="*/ 5 w 147"/>
                <a:gd name="T107" fmla="*/ 81 h 169"/>
                <a:gd name="T108" fmla="*/ 11 w 147"/>
                <a:gd name="T109" fmla="*/ 87 h 169"/>
                <a:gd name="T110" fmla="*/ 0 w 147"/>
                <a:gd name="T111" fmla="*/ 98 h 169"/>
                <a:gd name="T112" fmla="*/ 0 w 147"/>
                <a:gd name="T113" fmla="*/ 103 h 16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7"/>
                <a:gd name="T172" fmla="*/ 0 h 169"/>
                <a:gd name="T173" fmla="*/ 147 w 147"/>
                <a:gd name="T174" fmla="*/ 169 h 16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7" h="169">
                  <a:moveTo>
                    <a:pt x="0" y="103"/>
                  </a:moveTo>
                  <a:lnTo>
                    <a:pt x="5" y="109"/>
                  </a:lnTo>
                  <a:lnTo>
                    <a:pt x="11" y="120"/>
                  </a:lnTo>
                  <a:lnTo>
                    <a:pt x="16" y="125"/>
                  </a:lnTo>
                  <a:lnTo>
                    <a:pt x="16" y="131"/>
                  </a:lnTo>
                  <a:lnTo>
                    <a:pt x="11" y="131"/>
                  </a:lnTo>
                  <a:lnTo>
                    <a:pt x="11" y="136"/>
                  </a:lnTo>
                  <a:lnTo>
                    <a:pt x="16" y="141"/>
                  </a:lnTo>
                  <a:lnTo>
                    <a:pt x="22" y="169"/>
                  </a:lnTo>
                  <a:lnTo>
                    <a:pt x="33" y="169"/>
                  </a:lnTo>
                  <a:lnTo>
                    <a:pt x="43" y="158"/>
                  </a:lnTo>
                  <a:lnTo>
                    <a:pt x="49" y="158"/>
                  </a:lnTo>
                  <a:lnTo>
                    <a:pt x="60" y="163"/>
                  </a:lnTo>
                  <a:lnTo>
                    <a:pt x="65" y="169"/>
                  </a:lnTo>
                  <a:lnTo>
                    <a:pt x="71" y="158"/>
                  </a:lnTo>
                  <a:lnTo>
                    <a:pt x="82" y="158"/>
                  </a:lnTo>
                  <a:lnTo>
                    <a:pt x="87" y="163"/>
                  </a:lnTo>
                  <a:lnTo>
                    <a:pt x="92" y="152"/>
                  </a:lnTo>
                  <a:lnTo>
                    <a:pt x="92" y="141"/>
                  </a:lnTo>
                  <a:lnTo>
                    <a:pt x="98" y="131"/>
                  </a:lnTo>
                  <a:lnTo>
                    <a:pt x="120" y="125"/>
                  </a:lnTo>
                  <a:lnTo>
                    <a:pt x="131" y="125"/>
                  </a:lnTo>
                  <a:lnTo>
                    <a:pt x="136" y="125"/>
                  </a:lnTo>
                  <a:lnTo>
                    <a:pt x="141" y="136"/>
                  </a:lnTo>
                  <a:lnTo>
                    <a:pt x="147" y="131"/>
                  </a:lnTo>
                  <a:lnTo>
                    <a:pt x="147" y="109"/>
                  </a:lnTo>
                  <a:lnTo>
                    <a:pt x="147" y="98"/>
                  </a:lnTo>
                  <a:lnTo>
                    <a:pt x="141" y="98"/>
                  </a:lnTo>
                  <a:lnTo>
                    <a:pt x="141" y="87"/>
                  </a:lnTo>
                  <a:lnTo>
                    <a:pt x="120" y="81"/>
                  </a:lnTo>
                  <a:lnTo>
                    <a:pt x="114" y="71"/>
                  </a:lnTo>
                  <a:lnTo>
                    <a:pt x="114" y="65"/>
                  </a:lnTo>
                  <a:lnTo>
                    <a:pt x="109" y="49"/>
                  </a:lnTo>
                  <a:lnTo>
                    <a:pt x="103" y="49"/>
                  </a:lnTo>
                  <a:lnTo>
                    <a:pt x="98" y="49"/>
                  </a:lnTo>
                  <a:lnTo>
                    <a:pt x="92" y="43"/>
                  </a:lnTo>
                  <a:lnTo>
                    <a:pt x="82" y="43"/>
                  </a:lnTo>
                  <a:lnTo>
                    <a:pt x="82" y="38"/>
                  </a:lnTo>
                  <a:lnTo>
                    <a:pt x="65" y="32"/>
                  </a:lnTo>
                  <a:lnTo>
                    <a:pt x="54" y="27"/>
                  </a:lnTo>
                  <a:lnTo>
                    <a:pt x="54" y="21"/>
                  </a:lnTo>
                  <a:lnTo>
                    <a:pt x="54" y="5"/>
                  </a:lnTo>
                  <a:lnTo>
                    <a:pt x="54" y="0"/>
                  </a:lnTo>
                  <a:lnTo>
                    <a:pt x="38" y="5"/>
                  </a:lnTo>
                  <a:lnTo>
                    <a:pt x="27" y="16"/>
                  </a:lnTo>
                  <a:lnTo>
                    <a:pt x="16" y="16"/>
                  </a:lnTo>
                  <a:lnTo>
                    <a:pt x="0" y="16"/>
                  </a:lnTo>
                  <a:lnTo>
                    <a:pt x="11" y="38"/>
                  </a:lnTo>
                  <a:lnTo>
                    <a:pt x="11" y="43"/>
                  </a:lnTo>
                  <a:lnTo>
                    <a:pt x="11" y="60"/>
                  </a:lnTo>
                  <a:lnTo>
                    <a:pt x="5" y="65"/>
                  </a:lnTo>
                  <a:lnTo>
                    <a:pt x="5" y="71"/>
                  </a:lnTo>
                  <a:lnTo>
                    <a:pt x="5" y="76"/>
                  </a:lnTo>
                  <a:lnTo>
                    <a:pt x="5" y="81"/>
                  </a:lnTo>
                  <a:lnTo>
                    <a:pt x="11" y="87"/>
                  </a:lnTo>
                  <a:lnTo>
                    <a:pt x="0" y="98"/>
                  </a:lnTo>
                  <a:lnTo>
                    <a:pt x="0" y="10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5" name="Freeform 847"/>
            <p:cNvSpPr>
              <a:spLocks/>
            </p:cNvSpPr>
            <p:nvPr/>
          </p:nvSpPr>
          <p:spPr bwMode="auto">
            <a:xfrm>
              <a:off x="2094" y="2920"/>
              <a:ext cx="27" cy="22"/>
            </a:xfrm>
            <a:custGeom>
              <a:avLst/>
              <a:gdLst>
                <a:gd name="T0" fmla="*/ 27 w 27"/>
                <a:gd name="T1" fmla="*/ 0 h 22"/>
                <a:gd name="T2" fmla="*/ 27 w 27"/>
                <a:gd name="T3" fmla="*/ 5 h 22"/>
                <a:gd name="T4" fmla="*/ 22 w 27"/>
                <a:gd name="T5" fmla="*/ 16 h 22"/>
                <a:gd name="T6" fmla="*/ 11 w 27"/>
                <a:gd name="T7" fmla="*/ 22 h 22"/>
                <a:gd name="T8" fmla="*/ 0 w 27"/>
                <a:gd name="T9" fmla="*/ 16 h 22"/>
                <a:gd name="T10" fmla="*/ 0 w 27"/>
                <a:gd name="T11" fmla="*/ 5 h 22"/>
                <a:gd name="T12" fmla="*/ 5 w 27"/>
                <a:gd name="T13" fmla="*/ 0 h 22"/>
                <a:gd name="T14" fmla="*/ 22 w 27"/>
                <a:gd name="T15" fmla="*/ 0 h 22"/>
                <a:gd name="T16" fmla="*/ 27 w 27"/>
                <a:gd name="T17" fmla="*/ 0 h 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
                <a:gd name="T28" fmla="*/ 0 h 22"/>
                <a:gd name="T29" fmla="*/ 27 w 27"/>
                <a:gd name="T30" fmla="*/ 22 h 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 h="22">
                  <a:moveTo>
                    <a:pt x="27" y="0"/>
                  </a:moveTo>
                  <a:lnTo>
                    <a:pt x="27" y="5"/>
                  </a:lnTo>
                  <a:lnTo>
                    <a:pt x="22" y="16"/>
                  </a:lnTo>
                  <a:lnTo>
                    <a:pt x="11" y="22"/>
                  </a:lnTo>
                  <a:lnTo>
                    <a:pt x="0" y="16"/>
                  </a:lnTo>
                  <a:lnTo>
                    <a:pt x="0" y="5"/>
                  </a:lnTo>
                  <a:lnTo>
                    <a:pt x="5" y="0"/>
                  </a:lnTo>
                  <a:lnTo>
                    <a:pt x="22" y="0"/>
                  </a:lnTo>
                  <a:lnTo>
                    <a:pt x="2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6" name="Freeform 848"/>
            <p:cNvSpPr>
              <a:spLocks/>
            </p:cNvSpPr>
            <p:nvPr/>
          </p:nvSpPr>
          <p:spPr bwMode="auto">
            <a:xfrm>
              <a:off x="1811" y="2855"/>
              <a:ext cx="479" cy="502"/>
            </a:xfrm>
            <a:custGeom>
              <a:avLst/>
              <a:gdLst>
                <a:gd name="T0" fmla="*/ 245 w 479"/>
                <a:gd name="T1" fmla="*/ 398 h 502"/>
                <a:gd name="T2" fmla="*/ 196 w 479"/>
                <a:gd name="T3" fmla="*/ 452 h 502"/>
                <a:gd name="T4" fmla="*/ 218 w 479"/>
                <a:gd name="T5" fmla="*/ 463 h 502"/>
                <a:gd name="T6" fmla="*/ 245 w 479"/>
                <a:gd name="T7" fmla="*/ 474 h 502"/>
                <a:gd name="T8" fmla="*/ 250 w 479"/>
                <a:gd name="T9" fmla="*/ 491 h 502"/>
                <a:gd name="T10" fmla="*/ 261 w 479"/>
                <a:gd name="T11" fmla="*/ 480 h 502"/>
                <a:gd name="T12" fmla="*/ 294 w 479"/>
                <a:gd name="T13" fmla="*/ 442 h 502"/>
                <a:gd name="T14" fmla="*/ 310 w 479"/>
                <a:gd name="T15" fmla="*/ 409 h 502"/>
                <a:gd name="T16" fmla="*/ 310 w 479"/>
                <a:gd name="T17" fmla="*/ 382 h 502"/>
                <a:gd name="T18" fmla="*/ 359 w 479"/>
                <a:gd name="T19" fmla="*/ 349 h 502"/>
                <a:gd name="T20" fmla="*/ 397 w 479"/>
                <a:gd name="T21" fmla="*/ 338 h 502"/>
                <a:gd name="T22" fmla="*/ 419 w 479"/>
                <a:gd name="T23" fmla="*/ 289 h 502"/>
                <a:gd name="T24" fmla="*/ 425 w 479"/>
                <a:gd name="T25" fmla="*/ 240 h 502"/>
                <a:gd name="T26" fmla="*/ 446 w 479"/>
                <a:gd name="T27" fmla="*/ 201 h 502"/>
                <a:gd name="T28" fmla="*/ 479 w 479"/>
                <a:gd name="T29" fmla="*/ 152 h 502"/>
                <a:gd name="T30" fmla="*/ 452 w 479"/>
                <a:gd name="T31" fmla="*/ 125 h 502"/>
                <a:gd name="T32" fmla="*/ 392 w 479"/>
                <a:gd name="T33" fmla="*/ 98 h 502"/>
                <a:gd name="T34" fmla="*/ 365 w 479"/>
                <a:gd name="T35" fmla="*/ 92 h 502"/>
                <a:gd name="T36" fmla="*/ 354 w 479"/>
                <a:gd name="T37" fmla="*/ 81 h 502"/>
                <a:gd name="T38" fmla="*/ 327 w 479"/>
                <a:gd name="T39" fmla="*/ 70 h 502"/>
                <a:gd name="T40" fmla="*/ 305 w 479"/>
                <a:gd name="T41" fmla="*/ 81 h 502"/>
                <a:gd name="T42" fmla="*/ 278 w 479"/>
                <a:gd name="T43" fmla="*/ 87 h 502"/>
                <a:gd name="T44" fmla="*/ 283 w 479"/>
                <a:gd name="T45" fmla="*/ 87 h 502"/>
                <a:gd name="T46" fmla="*/ 283 w 479"/>
                <a:gd name="T47" fmla="*/ 70 h 502"/>
                <a:gd name="T48" fmla="*/ 294 w 479"/>
                <a:gd name="T49" fmla="*/ 49 h 502"/>
                <a:gd name="T50" fmla="*/ 278 w 479"/>
                <a:gd name="T51" fmla="*/ 16 h 502"/>
                <a:gd name="T52" fmla="*/ 261 w 479"/>
                <a:gd name="T53" fmla="*/ 32 h 502"/>
                <a:gd name="T54" fmla="*/ 239 w 479"/>
                <a:gd name="T55" fmla="*/ 32 h 502"/>
                <a:gd name="T56" fmla="*/ 218 w 479"/>
                <a:gd name="T57" fmla="*/ 38 h 502"/>
                <a:gd name="T58" fmla="*/ 185 w 479"/>
                <a:gd name="T59" fmla="*/ 49 h 502"/>
                <a:gd name="T60" fmla="*/ 174 w 479"/>
                <a:gd name="T61" fmla="*/ 32 h 502"/>
                <a:gd name="T62" fmla="*/ 174 w 479"/>
                <a:gd name="T63" fmla="*/ 16 h 502"/>
                <a:gd name="T64" fmla="*/ 169 w 479"/>
                <a:gd name="T65" fmla="*/ 0 h 502"/>
                <a:gd name="T66" fmla="*/ 131 w 479"/>
                <a:gd name="T67" fmla="*/ 16 h 502"/>
                <a:gd name="T68" fmla="*/ 120 w 479"/>
                <a:gd name="T69" fmla="*/ 16 h 502"/>
                <a:gd name="T70" fmla="*/ 131 w 479"/>
                <a:gd name="T71" fmla="*/ 32 h 502"/>
                <a:gd name="T72" fmla="*/ 114 w 479"/>
                <a:gd name="T73" fmla="*/ 43 h 502"/>
                <a:gd name="T74" fmla="*/ 87 w 479"/>
                <a:gd name="T75" fmla="*/ 49 h 502"/>
                <a:gd name="T76" fmla="*/ 71 w 479"/>
                <a:gd name="T77" fmla="*/ 43 h 502"/>
                <a:gd name="T78" fmla="*/ 49 w 479"/>
                <a:gd name="T79" fmla="*/ 43 h 502"/>
                <a:gd name="T80" fmla="*/ 54 w 479"/>
                <a:gd name="T81" fmla="*/ 54 h 502"/>
                <a:gd name="T82" fmla="*/ 49 w 479"/>
                <a:gd name="T83" fmla="*/ 70 h 502"/>
                <a:gd name="T84" fmla="*/ 27 w 479"/>
                <a:gd name="T85" fmla="*/ 120 h 502"/>
                <a:gd name="T86" fmla="*/ 11 w 479"/>
                <a:gd name="T87" fmla="*/ 141 h 502"/>
                <a:gd name="T88" fmla="*/ 5 w 479"/>
                <a:gd name="T89" fmla="*/ 163 h 502"/>
                <a:gd name="T90" fmla="*/ 16 w 479"/>
                <a:gd name="T91" fmla="*/ 180 h 502"/>
                <a:gd name="T92" fmla="*/ 38 w 479"/>
                <a:gd name="T93" fmla="*/ 174 h 502"/>
                <a:gd name="T94" fmla="*/ 49 w 479"/>
                <a:gd name="T95" fmla="*/ 196 h 502"/>
                <a:gd name="T96" fmla="*/ 87 w 479"/>
                <a:gd name="T97" fmla="*/ 185 h 502"/>
                <a:gd name="T98" fmla="*/ 103 w 479"/>
                <a:gd name="T99" fmla="*/ 201 h 502"/>
                <a:gd name="T100" fmla="*/ 131 w 479"/>
                <a:gd name="T101" fmla="*/ 218 h 502"/>
                <a:gd name="T102" fmla="*/ 147 w 479"/>
                <a:gd name="T103" fmla="*/ 229 h 502"/>
                <a:gd name="T104" fmla="*/ 163 w 479"/>
                <a:gd name="T105" fmla="*/ 245 h 502"/>
                <a:gd name="T106" fmla="*/ 190 w 479"/>
                <a:gd name="T107" fmla="*/ 267 h 502"/>
                <a:gd name="T108" fmla="*/ 196 w 479"/>
                <a:gd name="T109" fmla="*/ 289 h 502"/>
                <a:gd name="T110" fmla="*/ 196 w 479"/>
                <a:gd name="T111" fmla="*/ 338 h 502"/>
                <a:gd name="T112" fmla="*/ 218 w 479"/>
                <a:gd name="T113" fmla="*/ 343 h 502"/>
                <a:gd name="T114" fmla="*/ 239 w 479"/>
                <a:gd name="T115" fmla="*/ 371 h 50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79"/>
                <a:gd name="T175" fmla="*/ 0 h 502"/>
                <a:gd name="T176" fmla="*/ 479 w 479"/>
                <a:gd name="T177" fmla="*/ 502 h 50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79" h="502">
                  <a:moveTo>
                    <a:pt x="234" y="387"/>
                  </a:moveTo>
                  <a:lnTo>
                    <a:pt x="245" y="387"/>
                  </a:lnTo>
                  <a:lnTo>
                    <a:pt x="245" y="398"/>
                  </a:lnTo>
                  <a:lnTo>
                    <a:pt x="245" y="409"/>
                  </a:lnTo>
                  <a:lnTo>
                    <a:pt x="234" y="414"/>
                  </a:lnTo>
                  <a:lnTo>
                    <a:pt x="196" y="452"/>
                  </a:lnTo>
                  <a:lnTo>
                    <a:pt x="207" y="447"/>
                  </a:lnTo>
                  <a:lnTo>
                    <a:pt x="218" y="458"/>
                  </a:lnTo>
                  <a:lnTo>
                    <a:pt x="218" y="463"/>
                  </a:lnTo>
                  <a:lnTo>
                    <a:pt x="223" y="458"/>
                  </a:lnTo>
                  <a:lnTo>
                    <a:pt x="229" y="463"/>
                  </a:lnTo>
                  <a:lnTo>
                    <a:pt x="245" y="474"/>
                  </a:lnTo>
                  <a:lnTo>
                    <a:pt x="245" y="480"/>
                  </a:lnTo>
                  <a:lnTo>
                    <a:pt x="256" y="485"/>
                  </a:lnTo>
                  <a:lnTo>
                    <a:pt x="250" y="491"/>
                  </a:lnTo>
                  <a:lnTo>
                    <a:pt x="250" y="502"/>
                  </a:lnTo>
                  <a:lnTo>
                    <a:pt x="261" y="491"/>
                  </a:lnTo>
                  <a:lnTo>
                    <a:pt x="261" y="480"/>
                  </a:lnTo>
                  <a:lnTo>
                    <a:pt x="278" y="469"/>
                  </a:lnTo>
                  <a:lnTo>
                    <a:pt x="288" y="452"/>
                  </a:lnTo>
                  <a:lnTo>
                    <a:pt x="294" y="442"/>
                  </a:lnTo>
                  <a:lnTo>
                    <a:pt x="305" y="425"/>
                  </a:lnTo>
                  <a:lnTo>
                    <a:pt x="310" y="409"/>
                  </a:lnTo>
                  <a:lnTo>
                    <a:pt x="310" y="403"/>
                  </a:lnTo>
                  <a:lnTo>
                    <a:pt x="305" y="392"/>
                  </a:lnTo>
                  <a:lnTo>
                    <a:pt x="310" y="382"/>
                  </a:lnTo>
                  <a:lnTo>
                    <a:pt x="332" y="365"/>
                  </a:lnTo>
                  <a:lnTo>
                    <a:pt x="359" y="354"/>
                  </a:lnTo>
                  <a:lnTo>
                    <a:pt x="359" y="349"/>
                  </a:lnTo>
                  <a:lnTo>
                    <a:pt x="386" y="349"/>
                  </a:lnTo>
                  <a:lnTo>
                    <a:pt x="392" y="343"/>
                  </a:lnTo>
                  <a:lnTo>
                    <a:pt x="397" y="338"/>
                  </a:lnTo>
                  <a:lnTo>
                    <a:pt x="403" y="327"/>
                  </a:lnTo>
                  <a:lnTo>
                    <a:pt x="414" y="305"/>
                  </a:lnTo>
                  <a:lnTo>
                    <a:pt x="419" y="289"/>
                  </a:lnTo>
                  <a:lnTo>
                    <a:pt x="425" y="283"/>
                  </a:lnTo>
                  <a:lnTo>
                    <a:pt x="425" y="256"/>
                  </a:lnTo>
                  <a:lnTo>
                    <a:pt x="425" y="240"/>
                  </a:lnTo>
                  <a:lnTo>
                    <a:pt x="430" y="223"/>
                  </a:lnTo>
                  <a:lnTo>
                    <a:pt x="435" y="218"/>
                  </a:lnTo>
                  <a:lnTo>
                    <a:pt x="446" y="201"/>
                  </a:lnTo>
                  <a:lnTo>
                    <a:pt x="457" y="191"/>
                  </a:lnTo>
                  <a:lnTo>
                    <a:pt x="474" y="174"/>
                  </a:lnTo>
                  <a:lnTo>
                    <a:pt x="479" y="152"/>
                  </a:lnTo>
                  <a:lnTo>
                    <a:pt x="474" y="131"/>
                  </a:lnTo>
                  <a:lnTo>
                    <a:pt x="468" y="125"/>
                  </a:lnTo>
                  <a:lnTo>
                    <a:pt x="452" y="125"/>
                  </a:lnTo>
                  <a:lnTo>
                    <a:pt x="419" y="98"/>
                  </a:lnTo>
                  <a:lnTo>
                    <a:pt x="414" y="98"/>
                  </a:lnTo>
                  <a:lnTo>
                    <a:pt x="392" y="98"/>
                  </a:lnTo>
                  <a:lnTo>
                    <a:pt x="370" y="92"/>
                  </a:lnTo>
                  <a:lnTo>
                    <a:pt x="359" y="98"/>
                  </a:lnTo>
                  <a:lnTo>
                    <a:pt x="365" y="92"/>
                  </a:lnTo>
                  <a:lnTo>
                    <a:pt x="359" y="87"/>
                  </a:lnTo>
                  <a:lnTo>
                    <a:pt x="354" y="81"/>
                  </a:lnTo>
                  <a:lnTo>
                    <a:pt x="348" y="81"/>
                  </a:lnTo>
                  <a:lnTo>
                    <a:pt x="348" y="76"/>
                  </a:lnTo>
                  <a:lnTo>
                    <a:pt x="327" y="70"/>
                  </a:lnTo>
                  <a:lnTo>
                    <a:pt x="316" y="70"/>
                  </a:lnTo>
                  <a:lnTo>
                    <a:pt x="310" y="81"/>
                  </a:lnTo>
                  <a:lnTo>
                    <a:pt x="305" y="81"/>
                  </a:lnTo>
                  <a:lnTo>
                    <a:pt x="299" y="92"/>
                  </a:lnTo>
                  <a:lnTo>
                    <a:pt x="299" y="87"/>
                  </a:lnTo>
                  <a:lnTo>
                    <a:pt x="278" y="87"/>
                  </a:lnTo>
                  <a:lnTo>
                    <a:pt x="272" y="87"/>
                  </a:lnTo>
                  <a:lnTo>
                    <a:pt x="278" y="87"/>
                  </a:lnTo>
                  <a:lnTo>
                    <a:pt x="283" y="87"/>
                  </a:lnTo>
                  <a:lnTo>
                    <a:pt x="283" y="76"/>
                  </a:lnTo>
                  <a:lnTo>
                    <a:pt x="283" y="70"/>
                  </a:lnTo>
                  <a:lnTo>
                    <a:pt x="278" y="76"/>
                  </a:lnTo>
                  <a:lnTo>
                    <a:pt x="278" y="70"/>
                  </a:lnTo>
                  <a:lnTo>
                    <a:pt x="294" y="49"/>
                  </a:lnTo>
                  <a:lnTo>
                    <a:pt x="294" y="43"/>
                  </a:lnTo>
                  <a:lnTo>
                    <a:pt x="288" y="43"/>
                  </a:lnTo>
                  <a:lnTo>
                    <a:pt x="278" y="16"/>
                  </a:lnTo>
                  <a:lnTo>
                    <a:pt x="278" y="10"/>
                  </a:lnTo>
                  <a:lnTo>
                    <a:pt x="272" y="16"/>
                  </a:lnTo>
                  <a:lnTo>
                    <a:pt x="261" y="32"/>
                  </a:lnTo>
                  <a:lnTo>
                    <a:pt x="256" y="38"/>
                  </a:lnTo>
                  <a:lnTo>
                    <a:pt x="245" y="38"/>
                  </a:lnTo>
                  <a:lnTo>
                    <a:pt x="239" y="32"/>
                  </a:lnTo>
                  <a:lnTo>
                    <a:pt x="234" y="32"/>
                  </a:lnTo>
                  <a:lnTo>
                    <a:pt x="223" y="32"/>
                  </a:lnTo>
                  <a:lnTo>
                    <a:pt x="218" y="38"/>
                  </a:lnTo>
                  <a:lnTo>
                    <a:pt x="212" y="38"/>
                  </a:lnTo>
                  <a:lnTo>
                    <a:pt x="207" y="38"/>
                  </a:lnTo>
                  <a:lnTo>
                    <a:pt x="185" y="49"/>
                  </a:lnTo>
                  <a:lnTo>
                    <a:pt x="180" y="43"/>
                  </a:lnTo>
                  <a:lnTo>
                    <a:pt x="174" y="43"/>
                  </a:lnTo>
                  <a:lnTo>
                    <a:pt x="174" y="32"/>
                  </a:lnTo>
                  <a:lnTo>
                    <a:pt x="169" y="32"/>
                  </a:lnTo>
                  <a:lnTo>
                    <a:pt x="174" y="16"/>
                  </a:lnTo>
                  <a:lnTo>
                    <a:pt x="174" y="10"/>
                  </a:lnTo>
                  <a:lnTo>
                    <a:pt x="169" y="5"/>
                  </a:lnTo>
                  <a:lnTo>
                    <a:pt x="169" y="0"/>
                  </a:lnTo>
                  <a:lnTo>
                    <a:pt x="163" y="0"/>
                  </a:lnTo>
                  <a:lnTo>
                    <a:pt x="158" y="5"/>
                  </a:lnTo>
                  <a:lnTo>
                    <a:pt x="131" y="16"/>
                  </a:lnTo>
                  <a:lnTo>
                    <a:pt x="109" y="10"/>
                  </a:lnTo>
                  <a:lnTo>
                    <a:pt x="114" y="16"/>
                  </a:lnTo>
                  <a:lnTo>
                    <a:pt x="120" y="16"/>
                  </a:lnTo>
                  <a:lnTo>
                    <a:pt x="114" y="27"/>
                  </a:lnTo>
                  <a:lnTo>
                    <a:pt x="120" y="32"/>
                  </a:lnTo>
                  <a:lnTo>
                    <a:pt x="131" y="32"/>
                  </a:lnTo>
                  <a:lnTo>
                    <a:pt x="131" y="38"/>
                  </a:lnTo>
                  <a:lnTo>
                    <a:pt x="120" y="38"/>
                  </a:lnTo>
                  <a:lnTo>
                    <a:pt x="114" y="43"/>
                  </a:lnTo>
                  <a:lnTo>
                    <a:pt x="98" y="54"/>
                  </a:lnTo>
                  <a:lnTo>
                    <a:pt x="92" y="54"/>
                  </a:lnTo>
                  <a:lnTo>
                    <a:pt x="87" y="49"/>
                  </a:lnTo>
                  <a:lnTo>
                    <a:pt x="82" y="49"/>
                  </a:lnTo>
                  <a:lnTo>
                    <a:pt x="76" y="38"/>
                  </a:lnTo>
                  <a:lnTo>
                    <a:pt x="71" y="43"/>
                  </a:lnTo>
                  <a:lnTo>
                    <a:pt x="71" y="38"/>
                  </a:lnTo>
                  <a:lnTo>
                    <a:pt x="65" y="43"/>
                  </a:lnTo>
                  <a:lnTo>
                    <a:pt x="49" y="43"/>
                  </a:lnTo>
                  <a:lnTo>
                    <a:pt x="49" y="49"/>
                  </a:lnTo>
                  <a:lnTo>
                    <a:pt x="54" y="49"/>
                  </a:lnTo>
                  <a:lnTo>
                    <a:pt x="54" y="54"/>
                  </a:lnTo>
                  <a:lnTo>
                    <a:pt x="44" y="54"/>
                  </a:lnTo>
                  <a:lnTo>
                    <a:pt x="44" y="65"/>
                  </a:lnTo>
                  <a:lnTo>
                    <a:pt x="49" y="70"/>
                  </a:lnTo>
                  <a:lnTo>
                    <a:pt x="54" y="76"/>
                  </a:lnTo>
                  <a:lnTo>
                    <a:pt x="49" y="114"/>
                  </a:lnTo>
                  <a:lnTo>
                    <a:pt x="27" y="120"/>
                  </a:lnTo>
                  <a:lnTo>
                    <a:pt x="16" y="125"/>
                  </a:lnTo>
                  <a:lnTo>
                    <a:pt x="11" y="136"/>
                  </a:lnTo>
                  <a:lnTo>
                    <a:pt x="11" y="141"/>
                  </a:lnTo>
                  <a:lnTo>
                    <a:pt x="5" y="147"/>
                  </a:lnTo>
                  <a:lnTo>
                    <a:pt x="0" y="158"/>
                  </a:lnTo>
                  <a:lnTo>
                    <a:pt x="5" y="163"/>
                  </a:lnTo>
                  <a:lnTo>
                    <a:pt x="11" y="174"/>
                  </a:lnTo>
                  <a:lnTo>
                    <a:pt x="11" y="180"/>
                  </a:lnTo>
                  <a:lnTo>
                    <a:pt x="16" y="180"/>
                  </a:lnTo>
                  <a:lnTo>
                    <a:pt x="22" y="185"/>
                  </a:lnTo>
                  <a:lnTo>
                    <a:pt x="27" y="185"/>
                  </a:lnTo>
                  <a:lnTo>
                    <a:pt x="38" y="174"/>
                  </a:lnTo>
                  <a:lnTo>
                    <a:pt x="38" y="196"/>
                  </a:lnTo>
                  <a:lnTo>
                    <a:pt x="44" y="196"/>
                  </a:lnTo>
                  <a:lnTo>
                    <a:pt x="49" y="196"/>
                  </a:lnTo>
                  <a:lnTo>
                    <a:pt x="65" y="196"/>
                  </a:lnTo>
                  <a:lnTo>
                    <a:pt x="76" y="196"/>
                  </a:lnTo>
                  <a:lnTo>
                    <a:pt x="87" y="185"/>
                  </a:lnTo>
                  <a:lnTo>
                    <a:pt x="103" y="180"/>
                  </a:lnTo>
                  <a:lnTo>
                    <a:pt x="103" y="185"/>
                  </a:lnTo>
                  <a:lnTo>
                    <a:pt x="103" y="201"/>
                  </a:lnTo>
                  <a:lnTo>
                    <a:pt x="103" y="207"/>
                  </a:lnTo>
                  <a:lnTo>
                    <a:pt x="114" y="212"/>
                  </a:lnTo>
                  <a:lnTo>
                    <a:pt x="131" y="218"/>
                  </a:lnTo>
                  <a:lnTo>
                    <a:pt x="131" y="223"/>
                  </a:lnTo>
                  <a:lnTo>
                    <a:pt x="141" y="223"/>
                  </a:lnTo>
                  <a:lnTo>
                    <a:pt x="147" y="229"/>
                  </a:lnTo>
                  <a:lnTo>
                    <a:pt x="152" y="229"/>
                  </a:lnTo>
                  <a:lnTo>
                    <a:pt x="158" y="229"/>
                  </a:lnTo>
                  <a:lnTo>
                    <a:pt x="163" y="245"/>
                  </a:lnTo>
                  <a:lnTo>
                    <a:pt x="163" y="251"/>
                  </a:lnTo>
                  <a:lnTo>
                    <a:pt x="169" y="261"/>
                  </a:lnTo>
                  <a:lnTo>
                    <a:pt x="190" y="267"/>
                  </a:lnTo>
                  <a:lnTo>
                    <a:pt x="190" y="278"/>
                  </a:lnTo>
                  <a:lnTo>
                    <a:pt x="196" y="278"/>
                  </a:lnTo>
                  <a:lnTo>
                    <a:pt x="196" y="289"/>
                  </a:lnTo>
                  <a:lnTo>
                    <a:pt x="196" y="311"/>
                  </a:lnTo>
                  <a:lnTo>
                    <a:pt x="190" y="316"/>
                  </a:lnTo>
                  <a:lnTo>
                    <a:pt x="196" y="338"/>
                  </a:lnTo>
                  <a:lnTo>
                    <a:pt x="207" y="343"/>
                  </a:lnTo>
                  <a:lnTo>
                    <a:pt x="212" y="338"/>
                  </a:lnTo>
                  <a:lnTo>
                    <a:pt x="218" y="343"/>
                  </a:lnTo>
                  <a:lnTo>
                    <a:pt x="223" y="360"/>
                  </a:lnTo>
                  <a:lnTo>
                    <a:pt x="239" y="365"/>
                  </a:lnTo>
                  <a:lnTo>
                    <a:pt x="239" y="371"/>
                  </a:lnTo>
                  <a:lnTo>
                    <a:pt x="234" y="38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7" name="Freeform 849"/>
            <p:cNvSpPr>
              <a:spLocks/>
            </p:cNvSpPr>
            <p:nvPr/>
          </p:nvSpPr>
          <p:spPr bwMode="auto">
            <a:xfrm>
              <a:off x="2089" y="2920"/>
              <a:ext cx="5" cy="5"/>
            </a:xfrm>
            <a:custGeom>
              <a:avLst/>
              <a:gdLst>
                <a:gd name="T0" fmla="*/ 5 w 5"/>
                <a:gd name="T1" fmla="*/ 0 h 5"/>
                <a:gd name="T2" fmla="*/ 0 w 5"/>
                <a:gd name="T3" fmla="*/ 5 h 5"/>
                <a:gd name="T4" fmla="*/ 0 w 5"/>
                <a:gd name="T5" fmla="*/ 5 h 5"/>
                <a:gd name="T6" fmla="*/ 5 w 5"/>
                <a:gd name="T7" fmla="*/ 0 h 5"/>
                <a:gd name="T8" fmla="*/ 5 w 5"/>
                <a:gd name="T9" fmla="*/ 0 h 5"/>
                <a:gd name="T10" fmla="*/ 5 w 5"/>
                <a:gd name="T11" fmla="*/ 0 h 5"/>
                <a:gd name="T12" fmla="*/ 5 w 5"/>
                <a:gd name="T13" fmla="*/ 0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5" y="0"/>
                  </a:move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8" name="Freeform 850"/>
            <p:cNvSpPr>
              <a:spLocks/>
            </p:cNvSpPr>
            <p:nvPr/>
          </p:nvSpPr>
          <p:spPr bwMode="auto">
            <a:xfrm>
              <a:off x="2105" y="2915"/>
              <a:ext cx="5" cy="5"/>
            </a:xfrm>
            <a:custGeom>
              <a:avLst/>
              <a:gdLst>
                <a:gd name="T0" fmla="*/ 5 w 5"/>
                <a:gd name="T1" fmla="*/ 5 h 5"/>
                <a:gd name="T2" fmla="*/ 0 w 5"/>
                <a:gd name="T3" fmla="*/ 5 h 5"/>
                <a:gd name="T4" fmla="*/ 5 w 5"/>
                <a:gd name="T5" fmla="*/ 0 h 5"/>
                <a:gd name="T6" fmla="*/ 5 w 5"/>
                <a:gd name="T7" fmla="*/ 5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lnTo>
                    <a:pt x="0" y="5"/>
                  </a:lnTo>
                  <a:lnTo>
                    <a:pt x="5" y="0"/>
                  </a:lnTo>
                  <a:lnTo>
                    <a:pt x="5"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29" name="Freeform 851"/>
            <p:cNvSpPr>
              <a:spLocks/>
            </p:cNvSpPr>
            <p:nvPr/>
          </p:nvSpPr>
          <p:spPr bwMode="auto">
            <a:xfrm>
              <a:off x="2099" y="2909"/>
              <a:ext cx="6" cy="11"/>
            </a:xfrm>
            <a:custGeom>
              <a:avLst/>
              <a:gdLst>
                <a:gd name="T0" fmla="*/ 0 w 6"/>
                <a:gd name="T1" fmla="*/ 0 h 11"/>
                <a:gd name="T2" fmla="*/ 0 w 6"/>
                <a:gd name="T3" fmla="*/ 6 h 11"/>
                <a:gd name="T4" fmla="*/ 0 w 6"/>
                <a:gd name="T5" fmla="*/ 6 h 11"/>
                <a:gd name="T6" fmla="*/ 6 w 6"/>
                <a:gd name="T7" fmla="*/ 11 h 11"/>
                <a:gd name="T8" fmla="*/ 0 w 6"/>
                <a:gd name="T9" fmla="*/ 0 h 11"/>
                <a:gd name="T10" fmla="*/ 0 60000 65536"/>
                <a:gd name="T11" fmla="*/ 0 60000 65536"/>
                <a:gd name="T12" fmla="*/ 0 60000 65536"/>
                <a:gd name="T13" fmla="*/ 0 60000 65536"/>
                <a:gd name="T14" fmla="*/ 0 60000 65536"/>
                <a:gd name="T15" fmla="*/ 0 w 6"/>
                <a:gd name="T16" fmla="*/ 0 h 11"/>
                <a:gd name="T17" fmla="*/ 6 w 6"/>
                <a:gd name="T18" fmla="*/ 11 h 11"/>
              </a:gdLst>
              <a:ahLst/>
              <a:cxnLst>
                <a:cxn ang="T10">
                  <a:pos x="T0" y="T1"/>
                </a:cxn>
                <a:cxn ang="T11">
                  <a:pos x="T2" y="T3"/>
                </a:cxn>
                <a:cxn ang="T12">
                  <a:pos x="T4" y="T5"/>
                </a:cxn>
                <a:cxn ang="T13">
                  <a:pos x="T6" y="T7"/>
                </a:cxn>
                <a:cxn ang="T14">
                  <a:pos x="T8" y="T9"/>
                </a:cxn>
              </a:cxnLst>
              <a:rect l="T15" t="T16" r="T17" b="T18"/>
              <a:pathLst>
                <a:path w="6" h="11">
                  <a:moveTo>
                    <a:pt x="0" y="0"/>
                  </a:moveTo>
                  <a:lnTo>
                    <a:pt x="0" y="6"/>
                  </a:lnTo>
                  <a:lnTo>
                    <a:pt x="6"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0" name="Freeform 852"/>
            <p:cNvSpPr>
              <a:spLocks/>
            </p:cNvSpPr>
            <p:nvPr/>
          </p:nvSpPr>
          <p:spPr bwMode="auto">
            <a:xfrm>
              <a:off x="1789" y="3138"/>
              <a:ext cx="104" cy="562"/>
            </a:xfrm>
            <a:custGeom>
              <a:avLst/>
              <a:gdLst>
                <a:gd name="T0" fmla="*/ 66 w 104"/>
                <a:gd name="T1" fmla="*/ 49 h 562"/>
                <a:gd name="T2" fmla="*/ 60 w 104"/>
                <a:gd name="T3" fmla="*/ 99 h 562"/>
                <a:gd name="T4" fmla="*/ 49 w 104"/>
                <a:gd name="T5" fmla="*/ 148 h 562"/>
                <a:gd name="T6" fmla="*/ 49 w 104"/>
                <a:gd name="T7" fmla="*/ 175 h 562"/>
                <a:gd name="T8" fmla="*/ 33 w 104"/>
                <a:gd name="T9" fmla="*/ 262 h 562"/>
                <a:gd name="T10" fmla="*/ 22 w 104"/>
                <a:gd name="T11" fmla="*/ 273 h 562"/>
                <a:gd name="T12" fmla="*/ 22 w 104"/>
                <a:gd name="T13" fmla="*/ 311 h 562"/>
                <a:gd name="T14" fmla="*/ 33 w 104"/>
                <a:gd name="T15" fmla="*/ 339 h 562"/>
                <a:gd name="T16" fmla="*/ 38 w 104"/>
                <a:gd name="T17" fmla="*/ 344 h 562"/>
                <a:gd name="T18" fmla="*/ 33 w 104"/>
                <a:gd name="T19" fmla="*/ 355 h 562"/>
                <a:gd name="T20" fmla="*/ 33 w 104"/>
                <a:gd name="T21" fmla="*/ 360 h 562"/>
                <a:gd name="T22" fmla="*/ 27 w 104"/>
                <a:gd name="T23" fmla="*/ 382 h 562"/>
                <a:gd name="T24" fmla="*/ 27 w 104"/>
                <a:gd name="T25" fmla="*/ 399 h 562"/>
                <a:gd name="T26" fmla="*/ 27 w 104"/>
                <a:gd name="T27" fmla="*/ 404 h 562"/>
                <a:gd name="T28" fmla="*/ 27 w 104"/>
                <a:gd name="T29" fmla="*/ 410 h 562"/>
                <a:gd name="T30" fmla="*/ 22 w 104"/>
                <a:gd name="T31" fmla="*/ 420 h 562"/>
                <a:gd name="T32" fmla="*/ 22 w 104"/>
                <a:gd name="T33" fmla="*/ 426 h 562"/>
                <a:gd name="T34" fmla="*/ 17 w 104"/>
                <a:gd name="T35" fmla="*/ 420 h 562"/>
                <a:gd name="T36" fmla="*/ 6 w 104"/>
                <a:gd name="T37" fmla="*/ 415 h 562"/>
                <a:gd name="T38" fmla="*/ 0 w 104"/>
                <a:gd name="T39" fmla="*/ 431 h 562"/>
                <a:gd name="T40" fmla="*/ 6 w 104"/>
                <a:gd name="T41" fmla="*/ 426 h 562"/>
                <a:gd name="T42" fmla="*/ 22 w 104"/>
                <a:gd name="T43" fmla="*/ 431 h 562"/>
                <a:gd name="T44" fmla="*/ 17 w 104"/>
                <a:gd name="T45" fmla="*/ 442 h 562"/>
                <a:gd name="T46" fmla="*/ 22 w 104"/>
                <a:gd name="T47" fmla="*/ 448 h 562"/>
                <a:gd name="T48" fmla="*/ 17 w 104"/>
                <a:gd name="T49" fmla="*/ 453 h 562"/>
                <a:gd name="T50" fmla="*/ 22 w 104"/>
                <a:gd name="T51" fmla="*/ 459 h 562"/>
                <a:gd name="T52" fmla="*/ 17 w 104"/>
                <a:gd name="T53" fmla="*/ 475 h 562"/>
                <a:gd name="T54" fmla="*/ 22 w 104"/>
                <a:gd name="T55" fmla="*/ 480 h 562"/>
                <a:gd name="T56" fmla="*/ 22 w 104"/>
                <a:gd name="T57" fmla="*/ 497 h 562"/>
                <a:gd name="T58" fmla="*/ 22 w 104"/>
                <a:gd name="T59" fmla="*/ 502 h 562"/>
                <a:gd name="T60" fmla="*/ 17 w 104"/>
                <a:gd name="T61" fmla="*/ 508 h 562"/>
                <a:gd name="T62" fmla="*/ 27 w 104"/>
                <a:gd name="T63" fmla="*/ 530 h 562"/>
                <a:gd name="T64" fmla="*/ 33 w 104"/>
                <a:gd name="T65" fmla="*/ 524 h 562"/>
                <a:gd name="T66" fmla="*/ 33 w 104"/>
                <a:gd name="T67" fmla="*/ 519 h 562"/>
                <a:gd name="T68" fmla="*/ 38 w 104"/>
                <a:gd name="T69" fmla="*/ 535 h 562"/>
                <a:gd name="T70" fmla="*/ 55 w 104"/>
                <a:gd name="T71" fmla="*/ 546 h 562"/>
                <a:gd name="T72" fmla="*/ 44 w 104"/>
                <a:gd name="T73" fmla="*/ 551 h 562"/>
                <a:gd name="T74" fmla="*/ 49 w 104"/>
                <a:gd name="T75" fmla="*/ 562 h 562"/>
                <a:gd name="T76" fmla="*/ 76 w 104"/>
                <a:gd name="T77" fmla="*/ 530 h 562"/>
                <a:gd name="T78" fmla="*/ 44 w 104"/>
                <a:gd name="T79" fmla="*/ 524 h 562"/>
                <a:gd name="T80" fmla="*/ 27 w 104"/>
                <a:gd name="T81" fmla="*/ 502 h 562"/>
                <a:gd name="T82" fmla="*/ 38 w 104"/>
                <a:gd name="T83" fmla="*/ 464 h 562"/>
                <a:gd name="T84" fmla="*/ 49 w 104"/>
                <a:gd name="T85" fmla="*/ 426 h 562"/>
                <a:gd name="T86" fmla="*/ 44 w 104"/>
                <a:gd name="T87" fmla="*/ 393 h 562"/>
                <a:gd name="T88" fmla="*/ 44 w 104"/>
                <a:gd name="T89" fmla="*/ 388 h 562"/>
                <a:gd name="T90" fmla="*/ 49 w 104"/>
                <a:gd name="T91" fmla="*/ 344 h 562"/>
                <a:gd name="T92" fmla="*/ 49 w 104"/>
                <a:gd name="T93" fmla="*/ 300 h 562"/>
                <a:gd name="T94" fmla="*/ 55 w 104"/>
                <a:gd name="T95" fmla="*/ 262 h 562"/>
                <a:gd name="T96" fmla="*/ 71 w 104"/>
                <a:gd name="T97" fmla="*/ 224 h 562"/>
                <a:gd name="T98" fmla="*/ 60 w 104"/>
                <a:gd name="T99" fmla="*/ 180 h 562"/>
                <a:gd name="T100" fmla="*/ 76 w 104"/>
                <a:gd name="T101" fmla="*/ 137 h 562"/>
                <a:gd name="T102" fmla="*/ 87 w 104"/>
                <a:gd name="T103" fmla="*/ 120 h 562"/>
                <a:gd name="T104" fmla="*/ 104 w 104"/>
                <a:gd name="T105" fmla="*/ 82 h 562"/>
                <a:gd name="T106" fmla="*/ 93 w 104"/>
                <a:gd name="T107" fmla="*/ 66 h 562"/>
                <a:gd name="T108" fmla="*/ 82 w 104"/>
                <a:gd name="T109" fmla="*/ 28 h 562"/>
                <a:gd name="T110" fmla="*/ 82 w 104"/>
                <a:gd name="T111" fmla="*/ 17 h 562"/>
                <a:gd name="T112" fmla="*/ 71 w 104"/>
                <a:gd name="T113" fmla="*/ 6 h 56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4"/>
                <a:gd name="T172" fmla="*/ 0 h 562"/>
                <a:gd name="T173" fmla="*/ 104 w 104"/>
                <a:gd name="T174" fmla="*/ 562 h 56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4" h="562">
                  <a:moveTo>
                    <a:pt x="60" y="6"/>
                  </a:moveTo>
                  <a:lnTo>
                    <a:pt x="66" y="28"/>
                  </a:lnTo>
                  <a:lnTo>
                    <a:pt x="66" y="49"/>
                  </a:lnTo>
                  <a:lnTo>
                    <a:pt x="66" y="66"/>
                  </a:lnTo>
                  <a:lnTo>
                    <a:pt x="60" y="71"/>
                  </a:lnTo>
                  <a:lnTo>
                    <a:pt x="60" y="99"/>
                  </a:lnTo>
                  <a:lnTo>
                    <a:pt x="60" y="104"/>
                  </a:lnTo>
                  <a:lnTo>
                    <a:pt x="60" y="120"/>
                  </a:lnTo>
                  <a:lnTo>
                    <a:pt x="49" y="148"/>
                  </a:lnTo>
                  <a:lnTo>
                    <a:pt x="49" y="164"/>
                  </a:lnTo>
                  <a:lnTo>
                    <a:pt x="49" y="169"/>
                  </a:lnTo>
                  <a:lnTo>
                    <a:pt x="49" y="175"/>
                  </a:lnTo>
                  <a:lnTo>
                    <a:pt x="49" y="202"/>
                  </a:lnTo>
                  <a:lnTo>
                    <a:pt x="49" y="219"/>
                  </a:lnTo>
                  <a:lnTo>
                    <a:pt x="33" y="262"/>
                  </a:lnTo>
                  <a:lnTo>
                    <a:pt x="27" y="262"/>
                  </a:lnTo>
                  <a:lnTo>
                    <a:pt x="27" y="268"/>
                  </a:lnTo>
                  <a:lnTo>
                    <a:pt x="22" y="273"/>
                  </a:lnTo>
                  <a:lnTo>
                    <a:pt x="22" y="289"/>
                  </a:lnTo>
                  <a:lnTo>
                    <a:pt x="27" y="306"/>
                  </a:lnTo>
                  <a:lnTo>
                    <a:pt x="22" y="311"/>
                  </a:lnTo>
                  <a:lnTo>
                    <a:pt x="22" y="339"/>
                  </a:lnTo>
                  <a:lnTo>
                    <a:pt x="27" y="344"/>
                  </a:lnTo>
                  <a:lnTo>
                    <a:pt x="33" y="339"/>
                  </a:lnTo>
                  <a:lnTo>
                    <a:pt x="38" y="339"/>
                  </a:lnTo>
                  <a:lnTo>
                    <a:pt x="33" y="344"/>
                  </a:lnTo>
                  <a:lnTo>
                    <a:pt x="38" y="344"/>
                  </a:lnTo>
                  <a:lnTo>
                    <a:pt x="38" y="355"/>
                  </a:lnTo>
                  <a:lnTo>
                    <a:pt x="38" y="350"/>
                  </a:lnTo>
                  <a:lnTo>
                    <a:pt x="33" y="355"/>
                  </a:lnTo>
                  <a:lnTo>
                    <a:pt x="38" y="355"/>
                  </a:lnTo>
                  <a:lnTo>
                    <a:pt x="33" y="360"/>
                  </a:lnTo>
                  <a:lnTo>
                    <a:pt x="33" y="371"/>
                  </a:lnTo>
                  <a:lnTo>
                    <a:pt x="33" y="377"/>
                  </a:lnTo>
                  <a:lnTo>
                    <a:pt x="27" y="382"/>
                  </a:lnTo>
                  <a:lnTo>
                    <a:pt x="33" y="388"/>
                  </a:lnTo>
                  <a:lnTo>
                    <a:pt x="38" y="393"/>
                  </a:lnTo>
                  <a:lnTo>
                    <a:pt x="27" y="399"/>
                  </a:lnTo>
                  <a:lnTo>
                    <a:pt x="27" y="404"/>
                  </a:lnTo>
                  <a:lnTo>
                    <a:pt x="33" y="404"/>
                  </a:lnTo>
                  <a:lnTo>
                    <a:pt x="27" y="404"/>
                  </a:lnTo>
                  <a:lnTo>
                    <a:pt x="27" y="410"/>
                  </a:lnTo>
                  <a:lnTo>
                    <a:pt x="27" y="404"/>
                  </a:lnTo>
                  <a:lnTo>
                    <a:pt x="27" y="410"/>
                  </a:lnTo>
                  <a:lnTo>
                    <a:pt x="27" y="415"/>
                  </a:lnTo>
                  <a:lnTo>
                    <a:pt x="22" y="420"/>
                  </a:lnTo>
                  <a:lnTo>
                    <a:pt x="27" y="415"/>
                  </a:lnTo>
                  <a:lnTo>
                    <a:pt x="27" y="420"/>
                  </a:lnTo>
                  <a:lnTo>
                    <a:pt x="22" y="426"/>
                  </a:lnTo>
                  <a:lnTo>
                    <a:pt x="22" y="420"/>
                  </a:lnTo>
                  <a:lnTo>
                    <a:pt x="17" y="420"/>
                  </a:lnTo>
                  <a:lnTo>
                    <a:pt x="17" y="415"/>
                  </a:lnTo>
                  <a:lnTo>
                    <a:pt x="6" y="415"/>
                  </a:lnTo>
                  <a:lnTo>
                    <a:pt x="11" y="420"/>
                  </a:lnTo>
                  <a:lnTo>
                    <a:pt x="0" y="426"/>
                  </a:lnTo>
                  <a:lnTo>
                    <a:pt x="0" y="431"/>
                  </a:lnTo>
                  <a:lnTo>
                    <a:pt x="6" y="431"/>
                  </a:lnTo>
                  <a:lnTo>
                    <a:pt x="0" y="426"/>
                  </a:lnTo>
                  <a:lnTo>
                    <a:pt x="6" y="426"/>
                  </a:lnTo>
                  <a:lnTo>
                    <a:pt x="11" y="431"/>
                  </a:lnTo>
                  <a:lnTo>
                    <a:pt x="17" y="426"/>
                  </a:lnTo>
                  <a:lnTo>
                    <a:pt x="22" y="431"/>
                  </a:lnTo>
                  <a:lnTo>
                    <a:pt x="17" y="437"/>
                  </a:lnTo>
                  <a:lnTo>
                    <a:pt x="22" y="437"/>
                  </a:lnTo>
                  <a:lnTo>
                    <a:pt x="17" y="442"/>
                  </a:lnTo>
                  <a:lnTo>
                    <a:pt x="22" y="442"/>
                  </a:lnTo>
                  <a:lnTo>
                    <a:pt x="17" y="448"/>
                  </a:lnTo>
                  <a:lnTo>
                    <a:pt x="22" y="448"/>
                  </a:lnTo>
                  <a:lnTo>
                    <a:pt x="27" y="453"/>
                  </a:lnTo>
                  <a:lnTo>
                    <a:pt x="17" y="453"/>
                  </a:lnTo>
                  <a:lnTo>
                    <a:pt x="11" y="448"/>
                  </a:lnTo>
                  <a:lnTo>
                    <a:pt x="17" y="459"/>
                  </a:lnTo>
                  <a:lnTo>
                    <a:pt x="22" y="459"/>
                  </a:lnTo>
                  <a:lnTo>
                    <a:pt x="17" y="459"/>
                  </a:lnTo>
                  <a:lnTo>
                    <a:pt x="17" y="475"/>
                  </a:lnTo>
                  <a:lnTo>
                    <a:pt x="22" y="470"/>
                  </a:lnTo>
                  <a:lnTo>
                    <a:pt x="22" y="475"/>
                  </a:lnTo>
                  <a:lnTo>
                    <a:pt x="22" y="480"/>
                  </a:lnTo>
                  <a:lnTo>
                    <a:pt x="17" y="480"/>
                  </a:lnTo>
                  <a:lnTo>
                    <a:pt x="11" y="491"/>
                  </a:lnTo>
                  <a:lnTo>
                    <a:pt x="22" y="497"/>
                  </a:lnTo>
                  <a:lnTo>
                    <a:pt x="17" y="497"/>
                  </a:lnTo>
                  <a:lnTo>
                    <a:pt x="17" y="502"/>
                  </a:lnTo>
                  <a:lnTo>
                    <a:pt x="22" y="502"/>
                  </a:lnTo>
                  <a:lnTo>
                    <a:pt x="17" y="502"/>
                  </a:lnTo>
                  <a:lnTo>
                    <a:pt x="17" y="508"/>
                  </a:lnTo>
                  <a:lnTo>
                    <a:pt x="22" y="513"/>
                  </a:lnTo>
                  <a:lnTo>
                    <a:pt x="27" y="530"/>
                  </a:lnTo>
                  <a:lnTo>
                    <a:pt x="27" y="519"/>
                  </a:lnTo>
                  <a:lnTo>
                    <a:pt x="33" y="530"/>
                  </a:lnTo>
                  <a:lnTo>
                    <a:pt x="33" y="524"/>
                  </a:lnTo>
                  <a:lnTo>
                    <a:pt x="33" y="519"/>
                  </a:lnTo>
                  <a:lnTo>
                    <a:pt x="38" y="524"/>
                  </a:lnTo>
                  <a:lnTo>
                    <a:pt x="33" y="519"/>
                  </a:lnTo>
                  <a:lnTo>
                    <a:pt x="38" y="524"/>
                  </a:lnTo>
                  <a:lnTo>
                    <a:pt x="38" y="535"/>
                  </a:lnTo>
                  <a:lnTo>
                    <a:pt x="33" y="541"/>
                  </a:lnTo>
                  <a:lnTo>
                    <a:pt x="49" y="541"/>
                  </a:lnTo>
                  <a:lnTo>
                    <a:pt x="55" y="546"/>
                  </a:lnTo>
                  <a:lnTo>
                    <a:pt x="55" y="551"/>
                  </a:lnTo>
                  <a:lnTo>
                    <a:pt x="44" y="557"/>
                  </a:lnTo>
                  <a:lnTo>
                    <a:pt x="44" y="551"/>
                  </a:lnTo>
                  <a:lnTo>
                    <a:pt x="38" y="551"/>
                  </a:lnTo>
                  <a:lnTo>
                    <a:pt x="44" y="557"/>
                  </a:lnTo>
                  <a:lnTo>
                    <a:pt x="49" y="562"/>
                  </a:lnTo>
                  <a:lnTo>
                    <a:pt x="55" y="562"/>
                  </a:lnTo>
                  <a:lnTo>
                    <a:pt x="60" y="541"/>
                  </a:lnTo>
                  <a:lnTo>
                    <a:pt x="76" y="530"/>
                  </a:lnTo>
                  <a:lnTo>
                    <a:pt x="87" y="535"/>
                  </a:lnTo>
                  <a:lnTo>
                    <a:pt x="71" y="530"/>
                  </a:lnTo>
                  <a:lnTo>
                    <a:pt x="44" y="524"/>
                  </a:lnTo>
                  <a:lnTo>
                    <a:pt x="38" y="524"/>
                  </a:lnTo>
                  <a:lnTo>
                    <a:pt x="38" y="502"/>
                  </a:lnTo>
                  <a:lnTo>
                    <a:pt x="27" y="502"/>
                  </a:lnTo>
                  <a:lnTo>
                    <a:pt x="27" y="491"/>
                  </a:lnTo>
                  <a:lnTo>
                    <a:pt x="27" y="480"/>
                  </a:lnTo>
                  <a:lnTo>
                    <a:pt x="38" y="464"/>
                  </a:lnTo>
                  <a:lnTo>
                    <a:pt x="38" y="459"/>
                  </a:lnTo>
                  <a:lnTo>
                    <a:pt x="38" y="448"/>
                  </a:lnTo>
                  <a:lnTo>
                    <a:pt x="49" y="426"/>
                  </a:lnTo>
                  <a:lnTo>
                    <a:pt x="49" y="404"/>
                  </a:lnTo>
                  <a:lnTo>
                    <a:pt x="49" y="399"/>
                  </a:lnTo>
                  <a:lnTo>
                    <a:pt x="44" y="393"/>
                  </a:lnTo>
                  <a:lnTo>
                    <a:pt x="55" y="393"/>
                  </a:lnTo>
                  <a:lnTo>
                    <a:pt x="49" y="388"/>
                  </a:lnTo>
                  <a:lnTo>
                    <a:pt x="44" y="388"/>
                  </a:lnTo>
                  <a:lnTo>
                    <a:pt x="44" y="377"/>
                  </a:lnTo>
                  <a:lnTo>
                    <a:pt x="44" y="355"/>
                  </a:lnTo>
                  <a:lnTo>
                    <a:pt x="49" y="344"/>
                  </a:lnTo>
                  <a:lnTo>
                    <a:pt x="44" y="333"/>
                  </a:lnTo>
                  <a:lnTo>
                    <a:pt x="49" y="317"/>
                  </a:lnTo>
                  <a:lnTo>
                    <a:pt x="49" y="300"/>
                  </a:lnTo>
                  <a:lnTo>
                    <a:pt x="55" y="289"/>
                  </a:lnTo>
                  <a:lnTo>
                    <a:pt x="55" y="279"/>
                  </a:lnTo>
                  <a:lnTo>
                    <a:pt x="55" y="262"/>
                  </a:lnTo>
                  <a:lnTo>
                    <a:pt x="60" y="251"/>
                  </a:lnTo>
                  <a:lnTo>
                    <a:pt x="60" y="240"/>
                  </a:lnTo>
                  <a:lnTo>
                    <a:pt x="71" y="224"/>
                  </a:lnTo>
                  <a:lnTo>
                    <a:pt x="71" y="213"/>
                  </a:lnTo>
                  <a:lnTo>
                    <a:pt x="60" y="186"/>
                  </a:lnTo>
                  <a:lnTo>
                    <a:pt x="60" y="180"/>
                  </a:lnTo>
                  <a:lnTo>
                    <a:pt x="71" y="169"/>
                  </a:lnTo>
                  <a:lnTo>
                    <a:pt x="71" y="153"/>
                  </a:lnTo>
                  <a:lnTo>
                    <a:pt x="76" y="137"/>
                  </a:lnTo>
                  <a:lnTo>
                    <a:pt x="82" y="131"/>
                  </a:lnTo>
                  <a:lnTo>
                    <a:pt x="82" y="126"/>
                  </a:lnTo>
                  <a:lnTo>
                    <a:pt x="87" y="120"/>
                  </a:lnTo>
                  <a:lnTo>
                    <a:pt x="87" y="104"/>
                  </a:lnTo>
                  <a:lnTo>
                    <a:pt x="87" y="88"/>
                  </a:lnTo>
                  <a:lnTo>
                    <a:pt x="104" y="82"/>
                  </a:lnTo>
                  <a:lnTo>
                    <a:pt x="104" y="71"/>
                  </a:lnTo>
                  <a:lnTo>
                    <a:pt x="104" y="66"/>
                  </a:lnTo>
                  <a:lnTo>
                    <a:pt x="93" y="66"/>
                  </a:lnTo>
                  <a:lnTo>
                    <a:pt x="87" y="38"/>
                  </a:lnTo>
                  <a:lnTo>
                    <a:pt x="82" y="33"/>
                  </a:lnTo>
                  <a:lnTo>
                    <a:pt x="82" y="28"/>
                  </a:lnTo>
                  <a:lnTo>
                    <a:pt x="87" y="28"/>
                  </a:lnTo>
                  <a:lnTo>
                    <a:pt x="87" y="22"/>
                  </a:lnTo>
                  <a:lnTo>
                    <a:pt x="82" y="17"/>
                  </a:lnTo>
                  <a:lnTo>
                    <a:pt x="76" y="6"/>
                  </a:lnTo>
                  <a:lnTo>
                    <a:pt x="71" y="0"/>
                  </a:lnTo>
                  <a:lnTo>
                    <a:pt x="71" y="6"/>
                  </a:lnTo>
                  <a:lnTo>
                    <a:pt x="6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1" name="Freeform 853"/>
            <p:cNvSpPr>
              <a:spLocks/>
            </p:cNvSpPr>
            <p:nvPr/>
          </p:nvSpPr>
          <p:spPr bwMode="auto">
            <a:xfrm>
              <a:off x="1838" y="3673"/>
              <a:ext cx="38" cy="55"/>
            </a:xfrm>
            <a:custGeom>
              <a:avLst/>
              <a:gdLst>
                <a:gd name="T0" fmla="*/ 38 w 38"/>
                <a:gd name="T1" fmla="*/ 6 h 55"/>
                <a:gd name="T2" fmla="*/ 27 w 38"/>
                <a:gd name="T3" fmla="*/ 6 h 55"/>
                <a:gd name="T4" fmla="*/ 27 w 38"/>
                <a:gd name="T5" fmla="*/ 0 h 55"/>
                <a:gd name="T6" fmla="*/ 22 w 38"/>
                <a:gd name="T7" fmla="*/ 6 h 55"/>
                <a:gd name="T8" fmla="*/ 17 w 38"/>
                <a:gd name="T9" fmla="*/ 6 h 55"/>
                <a:gd name="T10" fmla="*/ 17 w 38"/>
                <a:gd name="T11" fmla="*/ 11 h 55"/>
                <a:gd name="T12" fmla="*/ 17 w 38"/>
                <a:gd name="T13" fmla="*/ 11 h 55"/>
                <a:gd name="T14" fmla="*/ 17 w 38"/>
                <a:gd name="T15" fmla="*/ 16 h 55"/>
                <a:gd name="T16" fmla="*/ 27 w 38"/>
                <a:gd name="T17" fmla="*/ 22 h 55"/>
                <a:gd name="T18" fmla="*/ 17 w 38"/>
                <a:gd name="T19" fmla="*/ 27 h 55"/>
                <a:gd name="T20" fmla="*/ 22 w 38"/>
                <a:gd name="T21" fmla="*/ 38 h 55"/>
                <a:gd name="T22" fmla="*/ 27 w 38"/>
                <a:gd name="T23" fmla="*/ 38 h 55"/>
                <a:gd name="T24" fmla="*/ 17 w 38"/>
                <a:gd name="T25" fmla="*/ 38 h 55"/>
                <a:gd name="T26" fmla="*/ 17 w 38"/>
                <a:gd name="T27" fmla="*/ 38 h 55"/>
                <a:gd name="T28" fmla="*/ 22 w 38"/>
                <a:gd name="T29" fmla="*/ 38 h 55"/>
                <a:gd name="T30" fmla="*/ 17 w 38"/>
                <a:gd name="T31" fmla="*/ 44 h 55"/>
                <a:gd name="T32" fmla="*/ 6 w 38"/>
                <a:gd name="T33" fmla="*/ 33 h 55"/>
                <a:gd name="T34" fmla="*/ 11 w 38"/>
                <a:gd name="T35" fmla="*/ 38 h 55"/>
                <a:gd name="T36" fmla="*/ 0 w 38"/>
                <a:gd name="T37" fmla="*/ 44 h 55"/>
                <a:gd name="T38" fmla="*/ 6 w 38"/>
                <a:gd name="T39" fmla="*/ 49 h 55"/>
                <a:gd name="T40" fmla="*/ 11 w 38"/>
                <a:gd name="T41" fmla="*/ 49 h 55"/>
                <a:gd name="T42" fmla="*/ 11 w 38"/>
                <a:gd name="T43" fmla="*/ 49 h 55"/>
                <a:gd name="T44" fmla="*/ 33 w 38"/>
                <a:gd name="T45" fmla="*/ 55 h 55"/>
                <a:gd name="T46" fmla="*/ 38 w 38"/>
                <a:gd name="T47" fmla="*/ 49 h 55"/>
                <a:gd name="T48" fmla="*/ 38 w 38"/>
                <a:gd name="T49" fmla="*/ 6 h 5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8"/>
                <a:gd name="T76" fmla="*/ 0 h 55"/>
                <a:gd name="T77" fmla="*/ 38 w 38"/>
                <a:gd name="T78" fmla="*/ 55 h 5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8" h="55">
                  <a:moveTo>
                    <a:pt x="38" y="6"/>
                  </a:moveTo>
                  <a:lnTo>
                    <a:pt x="27" y="6"/>
                  </a:lnTo>
                  <a:lnTo>
                    <a:pt x="27" y="0"/>
                  </a:lnTo>
                  <a:lnTo>
                    <a:pt x="22" y="6"/>
                  </a:lnTo>
                  <a:lnTo>
                    <a:pt x="17" y="6"/>
                  </a:lnTo>
                  <a:lnTo>
                    <a:pt x="17" y="11"/>
                  </a:lnTo>
                  <a:lnTo>
                    <a:pt x="17" y="16"/>
                  </a:lnTo>
                  <a:lnTo>
                    <a:pt x="27" y="22"/>
                  </a:lnTo>
                  <a:lnTo>
                    <a:pt x="17" y="27"/>
                  </a:lnTo>
                  <a:lnTo>
                    <a:pt x="22" y="38"/>
                  </a:lnTo>
                  <a:lnTo>
                    <a:pt x="27" y="38"/>
                  </a:lnTo>
                  <a:lnTo>
                    <a:pt x="17" y="38"/>
                  </a:lnTo>
                  <a:lnTo>
                    <a:pt x="22" y="38"/>
                  </a:lnTo>
                  <a:lnTo>
                    <a:pt x="17" y="44"/>
                  </a:lnTo>
                  <a:lnTo>
                    <a:pt x="6" y="33"/>
                  </a:lnTo>
                  <a:lnTo>
                    <a:pt x="11" y="38"/>
                  </a:lnTo>
                  <a:lnTo>
                    <a:pt x="0" y="44"/>
                  </a:lnTo>
                  <a:lnTo>
                    <a:pt x="6" y="49"/>
                  </a:lnTo>
                  <a:lnTo>
                    <a:pt x="11" y="49"/>
                  </a:lnTo>
                  <a:lnTo>
                    <a:pt x="33" y="55"/>
                  </a:lnTo>
                  <a:lnTo>
                    <a:pt x="38" y="49"/>
                  </a:lnTo>
                  <a:lnTo>
                    <a:pt x="38"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2" name="Freeform 854"/>
            <p:cNvSpPr>
              <a:spLocks/>
            </p:cNvSpPr>
            <p:nvPr/>
          </p:nvSpPr>
          <p:spPr bwMode="auto">
            <a:xfrm>
              <a:off x="1849" y="3728"/>
              <a:ext cx="6" cy="5"/>
            </a:xfrm>
            <a:custGeom>
              <a:avLst/>
              <a:gdLst>
                <a:gd name="T0" fmla="*/ 6 w 6"/>
                <a:gd name="T1" fmla="*/ 5 h 5"/>
                <a:gd name="T2" fmla="*/ 0 w 6"/>
                <a:gd name="T3" fmla="*/ 0 h 5"/>
                <a:gd name="T4" fmla="*/ 6 w 6"/>
                <a:gd name="T5" fmla="*/ 0 h 5"/>
                <a:gd name="T6" fmla="*/ 6 w 6"/>
                <a:gd name="T7" fmla="*/ 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6" y="5"/>
                  </a:moveTo>
                  <a:lnTo>
                    <a:pt x="0" y="0"/>
                  </a:lnTo>
                  <a:lnTo>
                    <a:pt x="6"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3" name="Freeform 855"/>
            <p:cNvSpPr>
              <a:spLocks/>
            </p:cNvSpPr>
            <p:nvPr/>
          </p:nvSpPr>
          <p:spPr bwMode="auto">
            <a:xfrm>
              <a:off x="1849" y="3695"/>
              <a:ext cx="6" cy="16"/>
            </a:xfrm>
            <a:custGeom>
              <a:avLst/>
              <a:gdLst>
                <a:gd name="T0" fmla="*/ 0 w 6"/>
                <a:gd name="T1" fmla="*/ 0 h 16"/>
                <a:gd name="T2" fmla="*/ 6 w 6"/>
                <a:gd name="T3" fmla="*/ 11 h 16"/>
                <a:gd name="T4" fmla="*/ 0 w 6"/>
                <a:gd name="T5" fmla="*/ 11 h 16"/>
                <a:gd name="T6" fmla="*/ 6 w 6"/>
                <a:gd name="T7" fmla="*/ 16 h 16"/>
                <a:gd name="T8" fmla="*/ 0 w 6"/>
                <a:gd name="T9" fmla="*/ 11 h 16"/>
                <a:gd name="T10" fmla="*/ 0 w 6"/>
                <a:gd name="T11" fmla="*/ 0 h 16"/>
                <a:gd name="T12" fmla="*/ 0 60000 65536"/>
                <a:gd name="T13" fmla="*/ 0 60000 65536"/>
                <a:gd name="T14" fmla="*/ 0 60000 65536"/>
                <a:gd name="T15" fmla="*/ 0 60000 65536"/>
                <a:gd name="T16" fmla="*/ 0 60000 65536"/>
                <a:gd name="T17" fmla="*/ 0 60000 65536"/>
                <a:gd name="T18" fmla="*/ 0 w 6"/>
                <a:gd name="T19" fmla="*/ 0 h 16"/>
                <a:gd name="T20" fmla="*/ 6 w 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6" h="16">
                  <a:moveTo>
                    <a:pt x="0" y="0"/>
                  </a:moveTo>
                  <a:lnTo>
                    <a:pt x="6" y="11"/>
                  </a:lnTo>
                  <a:lnTo>
                    <a:pt x="0" y="11"/>
                  </a:lnTo>
                  <a:lnTo>
                    <a:pt x="6" y="16"/>
                  </a:lnTo>
                  <a:lnTo>
                    <a:pt x="0"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4" name="Freeform 856"/>
            <p:cNvSpPr>
              <a:spLocks/>
            </p:cNvSpPr>
            <p:nvPr/>
          </p:nvSpPr>
          <p:spPr bwMode="auto">
            <a:xfrm>
              <a:off x="1833" y="3700"/>
              <a:ext cx="11" cy="11"/>
            </a:xfrm>
            <a:custGeom>
              <a:avLst/>
              <a:gdLst>
                <a:gd name="T0" fmla="*/ 0 w 11"/>
                <a:gd name="T1" fmla="*/ 0 h 11"/>
                <a:gd name="T2" fmla="*/ 11 w 11"/>
                <a:gd name="T3" fmla="*/ 11 h 11"/>
                <a:gd name="T4" fmla="*/ 0 w 11"/>
                <a:gd name="T5" fmla="*/ 11 h 11"/>
                <a:gd name="T6" fmla="*/ 0 w 11"/>
                <a:gd name="T7" fmla="*/ 6 h 11"/>
                <a:gd name="T8" fmla="*/ 0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0"/>
                  </a:moveTo>
                  <a:lnTo>
                    <a:pt x="11" y="11"/>
                  </a:lnTo>
                  <a:lnTo>
                    <a:pt x="0" y="11"/>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5" name="Freeform 857"/>
            <p:cNvSpPr>
              <a:spLocks/>
            </p:cNvSpPr>
            <p:nvPr/>
          </p:nvSpPr>
          <p:spPr bwMode="auto">
            <a:xfrm>
              <a:off x="1811" y="3695"/>
              <a:ext cx="22" cy="11"/>
            </a:xfrm>
            <a:custGeom>
              <a:avLst/>
              <a:gdLst>
                <a:gd name="T0" fmla="*/ 0 w 22"/>
                <a:gd name="T1" fmla="*/ 0 h 11"/>
                <a:gd name="T2" fmla="*/ 11 w 22"/>
                <a:gd name="T3" fmla="*/ 0 h 11"/>
                <a:gd name="T4" fmla="*/ 22 w 22"/>
                <a:gd name="T5" fmla="*/ 5 h 11"/>
                <a:gd name="T6" fmla="*/ 16 w 22"/>
                <a:gd name="T7" fmla="*/ 11 h 11"/>
                <a:gd name="T8" fmla="*/ 11 w 22"/>
                <a:gd name="T9" fmla="*/ 11 h 11"/>
                <a:gd name="T10" fmla="*/ 5 w 22"/>
                <a:gd name="T11" fmla="*/ 11 h 11"/>
                <a:gd name="T12" fmla="*/ 0 w 22"/>
                <a:gd name="T13" fmla="*/ 0 h 11"/>
                <a:gd name="T14" fmla="*/ 0 60000 65536"/>
                <a:gd name="T15" fmla="*/ 0 60000 65536"/>
                <a:gd name="T16" fmla="*/ 0 60000 65536"/>
                <a:gd name="T17" fmla="*/ 0 60000 65536"/>
                <a:gd name="T18" fmla="*/ 0 60000 65536"/>
                <a:gd name="T19" fmla="*/ 0 60000 65536"/>
                <a:gd name="T20" fmla="*/ 0 60000 65536"/>
                <a:gd name="T21" fmla="*/ 0 w 22"/>
                <a:gd name="T22" fmla="*/ 0 h 11"/>
                <a:gd name="T23" fmla="*/ 22 w 22"/>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1">
                  <a:moveTo>
                    <a:pt x="0" y="0"/>
                  </a:moveTo>
                  <a:lnTo>
                    <a:pt x="11" y="0"/>
                  </a:lnTo>
                  <a:lnTo>
                    <a:pt x="22" y="5"/>
                  </a:lnTo>
                  <a:lnTo>
                    <a:pt x="16" y="11"/>
                  </a:lnTo>
                  <a:lnTo>
                    <a:pt x="11" y="11"/>
                  </a:lnTo>
                  <a:lnTo>
                    <a:pt x="5"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6" name="Freeform 858"/>
            <p:cNvSpPr>
              <a:spLocks/>
            </p:cNvSpPr>
            <p:nvPr/>
          </p:nvSpPr>
          <p:spPr bwMode="auto">
            <a:xfrm>
              <a:off x="1800" y="3679"/>
              <a:ext cx="22" cy="16"/>
            </a:xfrm>
            <a:custGeom>
              <a:avLst/>
              <a:gdLst>
                <a:gd name="T0" fmla="*/ 0 w 22"/>
                <a:gd name="T1" fmla="*/ 0 h 16"/>
                <a:gd name="T2" fmla="*/ 22 w 22"/>
                <a:gd name="T3" fmla="*/ 16 h 16"/>
                <a:gd name="T4" fmla="*/ 0 w 22"/>
                <a:gd name="T5" fmla="*/ 5 h 16"/>
                <a:gd name="T6" fmla="*/ 0 w 22"/>
                <a:gd name="T7" fmla="*/ 0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0" y="0"/>
                  </a:moveTo>
                  <a:lnTo>
                    <a:pt x="22" y="16"/>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7" name="Freeform 859"/>
            <p:cNvSpPr>
              <a:spLocks/>
            </p:cNvSpPr>
            <p:nvPr/>
          </p:nvSpPr>
          <p:spPr bwMode="auto">
            <a:xfrm>
              <a:off x="1811" y="3673"/>
              <a:ext cx="0" cy="6"/>
            </a:xfrm>
            <a:custGeom>
              <a:avLst/>
              <a:gdLst>
                <a:gd name="T0" fmla="*/ 0 h 6"/>
                <a:gd name="T1" fmla="*/ 6 h 6"/>
                <a:gd name="T2" fmla="*/ 0 h 6"/>
                <a:gd name="T3" fmla="*/ 0 h 6"/>
                <a:gd name="T4" fmla="*/ 0 60000 65536"/>
                <a:gd name="T5" fmla="*/ 0 60000 65536"/>
                <a:gd name="T6" fmla="*/ 0 60000 65536"/>
                <a:gd name="T7" fmla="*/ 0 60000 65536"/>
                <a:gd name="T8" fmla="*/ 0 h 6"/>
                <a:gd name="T9" fmla="*/ 6 h 6"/>
              </a:gdLst>
              <a:ahLst/>
              <a:cxnLst>
                <a:cxn ang="T4">
                  <a:pos x="0" y="T0"/>
                </a:cxn>
                <a:cxn ang="T5">
                  <a:pos x="0" y="T1"/>
                </a:cxn>
                <a:cxn ang="T6">
                  <a:pos x="0" y="T2"/>
                </a:cxn>
                <a:cxn ang="T7">
                  <a:pos x="0" y="T3"/>
                </a:cxn>
              </a:cxnLst>
              <a:rect l="0" t="T8" r="0" b="T9"/>
              <a:pathLst>
                <a:path h="6">
                  <a:moveTo>
                    <a:pt x="0" y="0"/>
                  </a:move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8" name="Freeform 860"/>
            <p:cNvSpPr>
              <a:spLocks/>
            </p:cNvSpPr>
            <p:nvPr/>
          </p:nvSpPr>
          <p:spPr bwMode="auto">
            <a:xfrm>
              <a:off x="1811" y="3668"/>
              <a:ext cx="27" cy="27"/>
            </a:xfrm>
            <a:custGeom>
              <a:avLst/>
              <a:gdLst>
                <a:gd name="T0" fmla="*/ 5 w 27"/>
                <a:gd name="T1" fmla="*/ 0 h 27"/>
                <a:gd name="T2" fmla="*/ 11 w 27"/>
                <a:gd name="T3" fmla="*/ 0 h 27"/>
                <a:gd name="T4" fmla="*/ 11 w 27"/>
                <a:gd name="T5" fmla="*/ 5 h 27"/>
                <a:gd name="T6" fmla="*/ 11 w 27"/>
                <a:gd name="T7" fmla="*/ 0 h 27"/>
                <a:gd name="T8" fmla="*/ 16 w 27"/>
                <a:gd name="T9" fmla="*/ 5 h 27"/>
                <a:gd name="T10" fmla="*/ 11 w 27"/>
                <a:gd name="T11" fmla="*/ 11 h 27"/>
                <a:gd name="T12" fmla="*/ 16 w 27"/>
                <a:gd name="T13" fmla="*/ 16 h 27"/>
                <a:gd name="T14" fmla="*/ 22 w 27"/>
                <a:gd name="T15" fmla="*/ 11 h 27"/>
                <a:gd name="T16" fmla="*/ 27 w 27"/>
                <a:gd name="T17" fmla="*/ 11 h 27"/>
                <a:gd name="T18" fmla="*/ 27 w 27"/>
                <a:gd name="T19" fmla="*/ 16 h 27"/>
                <a:gd name="T20" fmla="*/ 16 w 27"/>
                <a:gd name="T21" fmla="*/ 21 h 27"/>
                <a:gd name="T22" fmla="*/ 16 w 27"/>
                <a:gd name="T23" fmla="*/ 27 h 27"/>
                <a:gd name="T24" fmla="*/ 16 w 27"/>
                <a:gd name="T25" fmla="*/ 27 h 27"/>
                <a:gd name="T26" fmla="*/ 11 w 27"/>
                <a:gd name="T27" fmla="*/ 21 h 27"/>
                <a:gd name="T28" fmla="*/ 11 w 27"/>
                <a:gd name="T29" fmla="*/ 21 h 27"/>
                <a:gd name="T30" fmla="*/ 11 w 27"/>
                <a:gd name="T31" fmla="*/ 16 h 27"/>
                <a:gd name="T32" fmla="*/ 5 w 27"/>
                <a:gd name="T33" fmla="*/ 16 h 27"/>
                <a:gd name="T34" fmla="*/ 0 w 27"/>
                <a:gd name="T35" fmla="*/ 11 h 27"/>
                <a:gd name="T36" fmla="*/ 5 w 27"/>
                <a:gd name="T37" fmla="*/ 0 h 2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
                <a:gd name="T58" fmla="*/ 0 h 27"/>
                <a:gd name="T59" fmla="*/ 27 w 27"/>
                <a:gd name="T60" fmla="*/ 27 h 2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 h="27">
                  <a:moveTo>
                    <a:pt x="5" y="0"/>
                  </a:moveTo>
                  <a:lnTo>
                    <a:pt x="11" y="0"/>
                  </a:lnTo>
                  <a:lnTo>
                    <a:pt x="11" y="5"/>
                  </a:lnTo>
                  <a:lnTo>
                    <a:pt x="11" y="0"/>
                  </a:lnTo>
                  <a:lnTo>
                    <a:pt x="16" y="5"/>
                  </a:lnTo>
                  <a:lnTo>
                    <a:pt x="11" y="11"/>
                  </a:lnTo>
                  <a:lnTo>
                    <a:pt x="16" y="16"/>
                  </a:lnTo>
                  <a:lnTo>
                    <a:pt x="22" y="11"/>
                  </a:lnTo>
                  <a:lnTo>
                    <a:pt x="27" y="11"/>
                  </a:lnTo>
                  <a:lnTo>
                    <a:pt x="27" y="16"/>
                  </a:lnTo>
                  <a:lnTo>
                    <a:pt x="16" y="21"/>
                  </a:lnTo>
                  <a:lnTo>
                    <a:pt x="16" y="27"/>
                  </a:lnTo>
                  <a:lnTo>
                    <a:pt x="11" y="21"/>
                  </a:lnTo>
                  <a:lnTo>
                    <a:pt x="11" y="16"/>
                  </a:lnTo>
                  <a:lnTo>
                    <a:pt x="5" y="16"/>
                  </a:lnTo>
                  <a:lnTo>
                    <a:pt x="0" y="11"/>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39" name="Freeform 861"/>
            <p:cNvSpPr>
              <a:spLocks/>
            </p:cNvSpPr>
            <p:nvPr/>
          </p:nvSpPr>
          <p:spPr bwMode="auto">
            <a:xfrm>
              <a:off x="1811" y="3651"/>
              <a:ext cx="0" cy="6"/>
            </a:xfrm>
            <a:custGeom>
              <a:avLst/>
              <a:gdLst>
                <a:gd name="T0" fmla="*/ 6 h 6"/>
                <a:gd name="T1" fmla="*/ 6 h 6"/>
                <a:gd name="T2" fmla="*/ 0 h 6"/>
                <a:gd name="T3" fmla="*/ 6 h 6"/>
                <a:gd name="T4" fmla="*/ 0 60000 65536"/>
                <a:gd name="T5" fmla="*/ 0 60000 65536"/>
                <a:gd name="T6" fmla="*/ 0 60000 65536"/>
                <a:gd name="T7" fmla="*/ 0 60000 65536"/>
                <a:gd name="T8" fmla="*/ 0 h 6"/>
                <a:gd name="T9" fmla="*/ 6 h 6"/>
              </a:gdLst>
              <a:ahLst/>
              <a:cxnLst>
                <a:cxn ang="T4">
                  <a:pos x="0" y="T0"/>
                </a:cxn>
                <a:cxn ang="T5">
                  <a:pos x="0" y="T1"/>
                </a:cxn>
                <a:cxn ang="T6">
                  <a:pos x="0" y="T2"/>
                </a:cxn>
                <a:cxn ang="T7">
                  <a:pos x="0" y="T3"/>
                </a:cxn>
              </a:cxnLst>
              <a:rect l="0" t="T8" r="0" b="T9"/>
              <a:pathLst>
                <a:path h="6">
                  <a:moveTo>
                    <a:pt x="0" y="6"/>
                  </a:moveTo>
                  <a:lnTo>
                    <a:pt x="0" y="6"/>
                  </a:lnTo>
                  <a:lnTo>
                    <a:pt x="0" y="0"/>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0" name="Freeform 862"/>
            <p:cNvSpPr>
              <a:spLocks/>
            </p:cNvSpPr>
            <p:nvPr/>
          </p:nvSpPr>
          <p:spPr bwMode="auto">
            <a:xfrm>
              <a:off x="1806" y="3657"/>
              <a:ext cx="5" cy="5"/>
            </a:xfrm>
            <a:custGeom>
              <a:avLst/>
              <a:gdLst>
                <a:gd name="T0" fmla="*/ 0 w 5"/>
                <a:gd name="T1" fmla="*/ 0 h 5"/>
                <a:gd name="T2" fmla="*/ 5 w 5"/>
                <a:gd name="T3" fmla="*/ 5 h 5"/>
                <a:gd name="T4" fmla="*/ 0 w 5"/>
                <a:gd name="T5" fmla="*/ 5 h 5"/>
                <a:gd name="T6" fmla="*/ 0 w 5"/>
                <a:gd name="T7" fmla="*/ 0 h 5"/>
                <a:gd name="T8" fmla="*/ 0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0" y="0"/>
                  </a:moveTo>
                  <a:lnTo>
                    <a:pt x="5"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1" name="Freeform 863"/>
            <p:cNvSpPr>
              <a:spLocks/>
            </p:cNvSpPr>
            <p:nvPr/>
          </p:nvSpPr>
          <p:spPr bwMode="auto">
            <a:xfrm>
              <a:off x="1800" y="3646"/>
              <a:ext cx="0" cy="5"/>
            </a:xfrm>
            <a:custGeom>
              <a:avLst/>
              <a:gdLst>
                <a:gd name="T0" fmla="*/ 5 h 5"/>
                <a:gd name="T1" fmla="*/ 0 h 5"/>
                <a:gd name="T2" fmla="*/ 5 h 5"/>
                <a:gd name="T3" fmla="*/ 5 h 5"/>
                <a:gd name="T4" fmla="*/ 0 60000 65536"/>
                <a:gd name="T5" fmla="*/ 0 60000 65536"/>
                <a:gd name="T6" fmla="*/ 0 60000 65536"/>
                <a:gd name="T7" fmla="*/ 0 60000 65536"/>
                <a:gd name="T8" fmla="*/ 0 h 5"/>
                <a:gd name="T9" fmla="*/ 5 h 5"/>
              </a:gdLst>
              <a:ahLst/>
              <a:cxnLst>
                <a:cxn ang="T4">
                  <a:pos x="0" y="T0"/>
                </a:cxn>
                <a:cxn ang="T5">
                  <a:pos x="0" y="T1"/>
                </a:cxn>
                <a:cxn ang="T6">
                  <a:pos x="0" y="T2"/>
                </a:cxn>
                <a:cxn ang="T7">
                  <a:pos x="0" y="T3"/>
                </a:cxn>
              </a:cxnLst>
              <a:rect l="0" t="T8" r="0" b="T9"/>
              <a:pathLst>
                <a:path h="5">
                  <a:moveTo>
                    <a:pt x="0" y="5"/>
                  </a:moveTo>
                  <a:lnTo>
                    <a:pt x="0"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2" name="Freeform 864"/>
            <p:cNvSpPr>
              <a:spLocks/>
            </p:cNvSpPr>
            <p:nvPr/>
          </p:nvSpPr>
          <p:spPr bwMode="auto">
            <a:xfrm>
              <a:off x="1800" y="3640"/>
              <a:ext cx="6" cy="6"/>
            </a:xfrm>
            <a:custGeom>
              <a:avLst/>
              <a:gdLst>
                <a:gd name="T0" fmla="*/ 6 w 6"/>
                <a:gd name="T1" fmla="*/ 6 h 6"/>
                <a:gd name="T2" fmla="*/ 0 w 6"/>
                <a:gd name="T3" fmla="*/ 6 h 6"/>
                <a:gd name="T4" fmla="*/ 0 w 6"/>
                <a:gd name="T5" fmla="*/ 6 h 6"/>
                <a:gd name="T6" fmla="*/ 0 w 6"/>
                <a:gd name="T7" fmla="*/ 0 h 6"/>
                <a:gd name="T8" fmla="*/ 6 w 6"/>
                <a:gd name="T9" fmla="*/ 6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6"/>
                  </a:moveTo>
                  <a:lnTo>
                    <a:pt x="0" y="6"/>
                  </a:ln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3" name="Freeform 865"/>
            <p:cNvSpPr>
              <a:spLocks/>
            </p:cNvSpPr>
            <p:nvPr/>
          </p:nvSpPr>
          <p:spPr bwMode="auto">
            <a:xfrm>
              <a:off x="1800" y="3635"/>
              <a:ext cx="6" cy="5"/>
            </a:xfrm>
            <a:custGeom>
              <a:avLst/>
              <a:gdLst>
                <a:gd name="T0" fmla="*/ 6 w 6"/>
                <a:gd name="T1" fmla="*/ 5 h 5"/>
                <a:gd name="T2" fmla="*/ 0 w 6"/>
                <a:gd name="T3" fmla="*/ 0 h 5"/>
                <a:gd name="T4" fmla="*/ 6 w 6"/>
                <a:gd name="T5" fmla="*/ 5 h 5"/>
                <a:gd name="T6" fmla="*/ 6 w 6"/>
                <a:gd name="T7" fmla="*/ 5 h 5"/>
                <a:gd name="T8" fmla="*/ 6 w 6"/>
                <a:gd name="T9" fmla="*/ 5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6" y="5"/>
                  </a:moveTo>
                  <a:lnTo>
                    <a:pt x="0"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4" name="Freeform 866"/>
            <p:cNvSpPr>
              <a:spLocks/>
            </p:cNvSpPr>
            <p:nvPr/>
          </p:nvSpPr>
          <p:spPr bwMode="auto">
            <a:xfrm>
              <a:off x="1789" y="3629"/>
              <a:ext cx="11" cy="6"/>
            </a:xfrm>
            <a:custGeom>
              <a:avLst/>
              <a:gdLst>
                <a:gd name="T0" fmla="*/ 0 w 11"/>
                <a:gd name="T1" fmla="*/ 0 h 6"/>
                <a:gd name="T2" fmla="*/ 11 w 11"/>
                <a:gd name="T3" fmla="*/ 0 h 6"/>
                <a:gd name="T4" fmla="*/ 6 w 11"/>
                <a:gd name="T5" fmla="*/ 6 h 6"/>
                <a:gd name="T6" fmla="*/ 0 w 11"/>
                <a:gd name="T7" fmla="*/ 0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0" y="0"/>
                  </a:moveTo>
                  <a:lnTo>
                    <a:pt x="11"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5" name="Freeform 867"/>
            <p:cNvSpPr>
              <a:spLocks/>
            </p:cNvSpPr>
            <p:nvPr/>
          </p:nvSpPr>
          <p:spPr bwMode="auto">
            <a:xfrm>
              <a:off x="1789" y="3618"/>
              <a:ext cx="6" cy="6"/>
            </a:xfrm>
            <a:custGeom>
              <a:avLst/>
              <a:gdLst>
                <a:gd name="T0" fmla="*/ 0 w 6"/>
                <a:gd name="T1" fmla="*/ 0 h 6"/>
                <a:gd name="T2" fmla="*/ 0 w 6"/>
                <a:gd name="T3" fmla="*/ 0 h 6"/>
                <a:gd name="T4" fmla="*/ 6 w 6"/>
                <a:gd name="T5" fmla="*/ 6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0"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6" name="Freeform 868"/>
            <p:cNvSpPr>
              <a:spLocks/>
            </p:cNvSpPr>
            <p:nvPr/>
          </p:nvSpPr>
          <p:spPr bwMode="auto">
            <a:xfrm>
              <a:off x="1795" y="3602"/>
              <a:ext cx="5" cy="27"/>
            </a:xfrm>
            <a:custGeom>
              <a:avLst/>
              <a:gdLst>
                <a:gd name="T0" fmla="*/ 0 w 5"/>
                <a:gd name="T1" fmla="*/ 6 h 27"/>
                <a:gd name="T2" fmla="*/ 5 w 5"/>
                <a:gd name="T3" fmla="*/ 0 h 27"/>
                <a:gd name="T4" fmla="*/ 5 w 5"/>
                <a:gd name="T5" fmla="*/ 6 h 27"/>
                <a:gd name="T6" fmla="*/ 5 w 5"/>
                <a:gd name="T7" fmla="*/ 27 h 27"/>
                <a:gd name="T8" fmla="*/ 5 w 5"/>
                <a:gd name="T9" fmla="*/ 22 h 27"/>
                <a:gd name="T10" fmla="*/ 5 w 5"/>
                <a:gd name="T11" fmla="*/ 16 h 27"/>
                <a:gd name="T12" fmla="*/ 0 w 5"/>
                <a:gd name="T13" fmla="*/ 11 h 27"/>
                <a:gd name="T14" fmla="*/ 0 w 5"/>
                <a:gd name="T15" fmla="*/ 11 h 27"/>
                <a:gd name="T16" fmla="*/ 0 w 5"/>
                <a:gd name="T17" fmla="*/ 6 h 27"/>
                <a:gd name="T18" fmla="*/ 0 w 5"/>
                <a:gd name="T19" fmla="*/ 6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27"/>
                <a:gd name="T32" fmla="*/ 5 w 5"/>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27">
                  <a:moveTo>
                    <a:pt x="0" y="6"/>
                  </a:moveTo>
                  <a:lnTo>
                    <a:pt x="5" y="0"/>
                  </a:lnTo>
                  <a:lnTo>
                    <a:pt x="5" y="6"/>
                  </a:lnTo>
                  <a:lnTo>
                    <a:pt x="5" y="27"/>
                  </a:lnTo>
                  <a:lnTo>
                    <a:pt x="5" y="22"/>
                  </a:lnTo>
                  <a:lnTo>
                    <a:pt x="5" y="16"/>
                  </a:lnTo>
                  <a:lnTo>
                    <a:pt x="0" y="11"/>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7" name="Freeform 869"/>
            <p:cNvSpPr>
              <a:spLocks/>
            </p:cNvSpPr>
            <p:nvPr/>
          </p:nvSpPr>
          <p:spPr bwMode="auto">
            <a:xfrm>
              <a:off x="1789" y="3597"/>
              <a:ext cx="6" cy="5"/>
            </a:xfrm>
            <a:custGeom>
              <a:avLst/>
              <a:gdLst>
                <a:gd name="T0" fmla="*/ 0 w 6"/>
                <a:gd name="T1" fmla="*/ 0 h 5"/>
                <a:gd name="T2" fmla="*/ 0 w 6"/>
                <a:gd name="T3" fmla="*/ 0 h 5"/>
                <a:gd name="T4" fmla="*/ 6 w 6"/>
                <a:gd name="T5" fmla="*/ 5 h 5"/>
                <a:gd name="T6" fmla="*/ 0 w 6"/>
                <a:gd name="T7" fmla="*/ 5 h 5"/>
                <a:gd name="T8" fmla="*/ 0 w 6"/>
                <a:gd name="T9" fmla="*/ 0 h 5"/>
                <a:gd name="T10" fmla="*/ 0 60000 65536"/>
                <a:gd name="T11" fmla="*/ 0 60000 65536"/>
                <a:gd name="T12" fmla="*/ 0 60000 65536"/>
                <a:gd name="T13" fmla="*/ 0 60000 65536"/>
                <a:gd name="T14" fmla="*/ 0 60000 65536"/>
                <a:gd name="T15" fmla="*/ 0 w 6"/>
                <a:gd name="T16" fmla="*/ 0 h 5"/>
                <a:gd name="T17" fmla="*/ 6 w 6"/>
                <a:gd name="T18" fmla="*/ 5 h 5"/>
              </a:gdLst>
              <a:ahLst/>
              <a:cxnLst>
                <a:cxn ang="T10">
                  <a:pos x="T0" y="T1"/>
                </a:cxn>
                <a:cxn ang="T11">
                  <a:pos x="T2" y="T3"/>
                </a:cxn>
                <a:cxn ang="T12">
                  <a:pos x="T4" y="T5"/>
                </a:cxn>
                <a:cxn ang="T13">
                  <a:pos x="T6" y="T7"/>
                </a:cxn>
                <a:cxn ang="T14">
                  <a:pos x="T8" y="T9"/>
                </a:cxn>
              </a:cxnLst>
              <a:rect l="T15" t="T16" r="T17" b="T18"/>
              <a:pathLst>
                <a:path w="6" h="5">
                  <a:moveTo>
                    <a:pt x="0" y="0"/>
                  </a:moveTo>
                  <a:lnTo>
                    <a:pt x="0" y="0"/>
                  </a:lnTo>
                  <a:lnTo>
                    <a:pt x="6"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8" name="Freeform 870"/>
            <p:cNvSpPr>
              <a:spLocks/>
            </p:cNvSpPr>
            <p:nvPr/>
          </p:nvSpPr>
          <p:spPr bwMode="auto">
            <a:xfrm>
              <a:off x="1789" y="3591"/>
              <a:ext cx="6" cy="6"/>
            </a:xfrm>
            <a:custGeom>
              <a:avLst/>
              <a:gdLst>
                <a:gd name="T0" fmla="*/ 0 w 6"/>
                <a:gd name="T1" fmla="*/ 0 h 6"/>
                <a:gd name="T2" fmla="*/ 6 w 6"/>
                <a:gd name="T3" fmla="*/ 0 h 6"/>
                <a:gd name="T4" fmla="*/ 6 w 6"/>
                <a:gd name="T5" fmla="*/ 6 h 6"/>
                <a:gd name="T6" fmla="*/ 0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0"/>
                  </a:moveTo>
                  <a:lnTo>
                    <a:pt x="6" y="0"/>
                  </a:lnTo>
                  <a:lnTo>
                    <a:pt x="6"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49" name="Freeform 871"/>
            <p:cNvSpPr>
              <a:spLocks/>
            </p:cNvSpPr>
            <p:nvPr/>
          </p:nvSpPr>
          <p:spPr bwMode="auto">
            <a:xfrm>
              <a:off x="1800" y="3580"/>
              <a:ext cx="6" cy="6"/>
            </a:xfrm>
            <a:custGeom>
              <a:avLst/>
              <a:gdLst>
                <a:gd name="T0" fmla="*/ 6 w 6"/>
                <a:gd name="T1" fmla="*/ 6 h 6"/>
                <a:gd name="T2" fmla="*/ 0 w 6"/>
                <a:gd name="T3" fmla="*/ 0 h 6"/>
                <a:gd name="T4" fmla="*/ 0 w 6"/>
                <a:gd name="T5" fmla="*/ 0 h 6"/>
                <a:gd name="T6" fmla="*/ 6 w 6"/>
                <a:gd name="T7" fmla="*/ 6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6" y="6"/>
                  </a:moveTo>
                  <a:lnTo>
                    <a:pt x="0" y="0"/>
                  </a:lnTo>
                  <a:lnTo>
                    <a:pt x="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0" name="Freeform 872"/>
            <p:cNvSpPr>
              <a:spLocks/>
            </p:cNvSpPr>
            <p:nvPr/>
          </p:nvSpPr>
          <p:spPr bwMode="auto">
            <a:xfrm>
              <a:off x="1806" y="3537"/>
              <a:ext cx="5" cy="5"/>
            </a:xfrm>
            <a:custGeom>
              <a:avLst/>
              <a:gdLst>
                <a:gd name="T0" fmla="*/ 0 w 5"/>
                <a:gd name="T1" fmla="*/ 0 h 5"/>
                <a:gd name="T2" fmla="*/ 5 w 5"/>
                <a:gd name="T3" fmla="*/ 0 h 5"/>
                <a:gd name="T4" fmla="*/ 5 w 5"/>
                <a:gd name="T5" fmla="*/ 5 h 5"/>
                <a:gd name="T6" fmla="*/ 0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0" y="0"/>
                  </a:moveTo>
                  <a:lnTo>
                    <a:pt x="5" y="0"/>
                  </a:lnTo>
                  <a:lnTo>
                    <a:pt x="5"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1" name="Freeform 873"/>
            <p:cNvSpPr>
              <a:spLocks/>
            </p:cNvSpPr>
            <p:nvPr/>
          </p:nvSpPr>
          <p:spPr bwMode="auto">
            <a:xfrm>
              <a:off x="1816" y="3526"/>
              <a:ext cx="6" cy="5"/>
            </a:xfrm>
            <a:custGeom>
              <a:avLst/>
              <a:gdLst>
                <a:gd name="T0" fmla="*/ 6 w 6"/>
                <a:gd name="T1" fmla="*/ 0 h 5"/>
                <a:gd name="T2" fmla="*/ 6 w 6"/>
                <a:gd name="T3" fmla="*/ 0 h 5"/>
                <a:gd name="T4" fmla="*/ 6 w 6"/>
                <a:gd name="T5" fmla="*/ 5 h 5"/>
                <a:gd name="T6" fmla="*/ 0 w 6"/>
                <a:gd name="T7" fmla="*/ 5 h 5"/>
                <a:gd name="T8" fmla="*/ 0 w 6"/>
                <a:gd name="T9" fmla="*/ 0 h 5"/>
                <a:gd name="T10" fmla="*/ 6 w 6"/>
                <a:gd name="T11" fmla="*/ 0 h 5"/>
                <a:gd name="T12" fmla="*/ 0 60000 65536"/>
                <a:gd name="T13" fmla="*/ 0 60000 65536"/>
                <a:gd name="T14" fmla="*/ 0 60000 65536"/>
                <a:gd name="T15" fmla="*/ 0 60000 65536"/>
                <a:gd name="T16" fmla="*/ 0 60000 65536"/>
                <a:gd name="T17" fmla="*/ 0 60000 65536"/>
                <a:gd name="T18" fmla="*/ 0 w 6"/>
                <a:gd name="T19" fmla="*/ 0 h 5"/>
                <a:gd name="T20" fmla="*/ 6 w 6"/>
                <a:gd name="T21" fmla="*/ 5 h 5"/>
              </a:gdLst>
              <a:ahLst/>
              <a:cxnLst>
                <a:cxn ang="T12">
                  <a:pos x="T0" y="T1"/>
                </a:cxn>
                <a:cxn ang="T13">
                  <a:pos x="T2" y="T3"/>
                </a:cxn>
                <a:cxn ang="T14">
                  <a:pos x="T4" y="T5"/>
                </a:cxn>
                <a:cxn ang="T15">
                  <a:pos x="T6" y="T7"/>
                </a:cxn>
                <a:cxn ang="T16">
                  <a:pos x="T8" y="T9"/>
                </a:cxn>
                <a:cxn ang="T17">
                  <a:pos x="T10" y="T11"/>
                </a:cxn>
              </a:cxnLst>
              <a:rect l="T18" t="T19" r="T20" b="T21"/>
              <a:pathLst>
                <a:path w="6" h="5">
                  <a:moveTo>
                    <a:pt x="6" y="0"/>
                  </a:moveTo>
                  <a:lnTo>
                    <a:pt x="6" y="0"/>
                  </a:lnTo>
                  <a:lnTo>
                    <a:pt x="6" y="5"/>
                  </a:lnTo>
                  <a:lnTo>
                    <a:pt x="0" y="5"/>
                  </a:lnTo>
                  <a:lnTo>
                    <a:pt x="0"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2" name="Freeform 874"/>
            <p:cNvSpPr>
              <a:spLocks/>
            </p:cNvSpPr>
            <p:nvPr/>
          </p:nvSpPr>
          <p:spPr bwMode="auto">
            <a:xfrm>
              <a:off x="1806" y="3482"/>
              <a:ext cx="10" cy="27"/>
            </a:xfrm>
            <a:custGeom>
              <a:avLst/>
              <a:gdLst>
                <a:gd name="T0" fmla="*/ 5 w 10"/>
                <a:gd name="T1" fmla="*/ 0 h 27"/>
                <a:gd name="T2" fmla="*/ 5 w 10"/>
                <a:gd name="T3" fmla="*/ 0 h 27"/>
                <a:gd name="T4" fmla="*/ 10 w 10"/>
                <a:gd name="T5" fmla="*/ 11 h 27"/>
                <a:gd name="T6" fmla="*/ 5 w 10"/>
                <a:gd name="T7" fmla="*/ 11 h 27"/>
                <a:gd name="T8" fmla="*/ 10 w 10"/>
                <a:gd name="T9" fmla="*/ 16 h 27"/>
                <a:gd name="T10" fmla="*/ 5 w 10"/>
                <a:gd name="T11" fmla="*/ 16 h 27"/>
                <a:gd name="T12" fmla="*/ 10 w 10"/>
                <a:gd name="T13" fmla="*/ 22 h 27"/>
                <a:gd name="T14" fmla="*/ 5 w 10"/>
                <a:gd name="T15" fmla="*/ 22 h 27"/>
                <a:gd name="T16" fmla="*/ 5 w 10"/>
                <a:gd name="T17" fmla="*/ 27 h 27"/>
                <a:gd name="T18" fmla="*/ 0 w 10"/>
                <a:gd name="T19" fmla="*/ 27 h 27"/>
                <a:gd name="T20" fmla="*/ 0 w 10"/>
                <a:gd name="T21" fmla="*/ 22 h 27"/>
                <a:gd name="T22" fmla="*/ 0 w 10"/>
                <a:gd name="T23" fmla="*/ 0 h 27"/>
                <a:gd name="T24" fmla="*/ 5 w 10"/>
                <a:gd name="T25" fmla="*/ 0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27"/>
                <a:gd name="T41" fmla="*/ 10 w 10"/>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27">
                  <a:moveTo>
                    <a:pt x="5" y="0"/>
                  </a:moveTo>
                  <a:lnTo>
                    <a:pt x="5" y="0"/>
                  </a:lnTo>
                  <a:lnTo>
                    <a:pt x="10" y="11"/>
                  </a:lnTo>
                  <a:lnTo>
                    <a:pt x="5" y="11"/>
                  </a:lnTo>
                  <a:lnTo>
                    <a:pt x="10" y="16"/>
                  </a:lnTo>
                  <a:lnTo>
                    <a:pt x="5" y="16"/>
                  </a:lnTo>
                  <a:lnTo>
                    <a:pt x="10" y="22"/>
                  </a:lnTo>
                  <a:lnTo>
                    <a:pt x="5" y="22"/>
                  </a:lnTo>
                  <a:lnTo>
                    <a:pt x="5" y="27"/>
                  </a:lnTo>
                  <a:lnTo>
                    <a:pt x="0" y="27"/>
                  </a:lnTo>
                  <a:lnTo>
                    <a:pt x="0" y="22"/>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3" name="Freeform 875"/>
            <p:cNvSpPr>
              <a:spLocks/>
            </p:cNvSpPr>
            <p:nvPr/>
          </p:nvSpPr>
          <p:spPr bwMode="auto">
            <a:xfrm>
              <a:off x="1860" y="3728"/>
              <a:ext cx="5" cy="0"/>
            </a:xfrm>
            <a:custGeom>
              <a:avLst/>
              <a:gdLst>
                <a:gd name="T0" fmla="*/ 0 w 5"/>
                <a:gd name="T1" fmla="*/ 0 w 5"/>
                <a:gd name="T2" fmla="*/ 5 w 5"/>
                <a:gd name="T3" fmla="*/ 0 w 5"/>
                <a:gd name="T4" fmla="*/ 0 60000 65536"/>
                <a:gd name="T5" fmla="*/ 0 60000 65536"/>
                <a:gd name="T6" fmla="*/ 0 60000 65536"/>
                <a:gd name="T7" fmla="*/ 0 60000 65536"/>
                <a:gd name="T8" fmla="*/ 0 w 5"/>
                <a:gd name="T9" fmla="*/ 5 w 5"/>
              </a:gdLst>
              <a:ahLst/>
              <a:cxnLst>
                <a:cxn ang="T4">
                  <a:pos x="T0" y="0"/>
                </a:cxn>
                <a:cxn ang="T5">
                  <a:pos x="T1" y="0"/>
                </a:cxn>
                <a:cxn ang="T6">
                  <a:pos x="T2" y="0"/>
                </a:cxn>
                <a:cxn ang="T7">
                  <a:pos x="T3" y="0"/>
                </a:cxn>
              </a:cxnLst>
              <a:rect l="T8" t="0" r="T9" b="0"/>
              <a:pathLst>
                <a:path w="5">
                  <a:moveTo>
                    <a:pt x="0" y="0"/>
                  </a:moveTo>
                  <a:lnTo>
                    <a:pt x="0" y="0"/>
                  </a:lnTo>
                  <a:lnTo>
                    <a:pt x="5"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4" name="Freeform 876"/>
            <p:cNvSpPr>
              <a:spLocks/>
            </p:cNvSpPr>
            <p:nvPr/>
          </p:nvSpPr>
          <p:spPr bwMode="auto">
            <a:xfrm>
              <a:off x="1860" y="3728"/>
              <a:ext cx="22" cy="16"/>
            </a:xfrm>
            <a:custGeom>
              <a:avLst/>
              <a:gdLst>
                <a:gd name="T0" fmla="*/ 0 w 22"/>
                <a:gd name="T1" fmla="*/ 0 h 16"/>
                <a:gd name="T2" fmla="*/ 16 w 22"/>
                <a:gd name="T3" fmla="*/ 0 h 16"/>
                <a:gd name="T4" fmla="*/ 22 w 22"/>
                <a:gd name="T5" fmla="*/ 0 h 16"/>
                <a:gd name="T6" fmla="*/ 11 w 22"/>
                <a:gd name="T7" fmla="*/ 0 h 16"/>
                <a:gd name="T8" fmla="*/ 22 w 22"/>
                <a:gd name="T9" fmla="*/ 5 h 16"/>
                <a:gd name="T10" fmla="*/ 16 w 22"/>
                <a:gd name="T11" fmla="*/ 5 h 16"/>
                <a:gd name="T12" fmla="*/ 22 w 22"/>
                <a:gd name="T13" fmla="*/ 5 h 16"/>
                <a:gd name="T14" fmla="*/ 22 w 22"/>
                <a:gd name="T15" fmla="*/ 16 h 16"/>
                <a:gd name="T16" fmla="*/ 11 w 22"/>
                <a:gd name="T17" fmla="*/ 5 h 16"/>
                <a:gd name="T18" fmla="*/ 5 w 22"/>
                <a:gd name="T19" fmla="*/ 5 h 16"/>
                <a:gd name="T20" fmla="*/ 11 w 22"/>
                <a:gd name="T21" fmla="*/ 11 h 16"/>
                <a:gd name="T22" fmla="*/ 5 w 22"/>
                <a:gd name="T23" fmla="*/ 11 h 16"/>
                <a:gd name="T24" fmla="*/ 0 w 22"/>
                <a:gd name="T25" fmla="*/ 5 h 16"/>
                <a:gd name="T26" fmla="*/ 5 w 22"/>
                <a:gd name="T27" fmla="*/ 5 h 16"/>
                <a:gd name="T28" fmla="*/ 0 w 22"/>
                <a:gd name="T29" fmla="*/ 0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16"/>
                <a:gd name="T47" fmla="*/ 22 w 22"/>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16">
                  <a:moveTo>
                    <a:pt x="0" y="0"/>
                  </a:moveTo>
                  <a:lnTo>
                    <a:pt x="16" y="0"/>
                  </a:lnTo>
                  <a:lnTo>
                    <a:pt x="22" y="0"/>
                  </a:lnTo>
                  <a:lnTo>
                    <a:pt x="11" y="0"/>
                  </a:lnTo>
                  <a:lnTo>
                    <a:pt x="22" y="5"/>
                  </a:lnTo>
                  <a:lnTo>
                    <a:pt x="16" y="5"/>
                  </a:lnTo>
                  <a:lnTo>
                    <a:pt x="22" y="5"/>
                  </a:lnTo>
                  <a:lnTo>
                    <a:pt x="22" y="16"/>
                  </a:lnTo>
                  <a:lnTo>
                    <a:pt x="11" y="5"/>
                  </a:lnTo>
                  <a:lnTo>
                    <a:pt x="5" y="5"/>
                  </a:lnTo>
                  <a:lnTo>
                    <a:pt x="11" y="11"/>
                  </a:lnTo>
                  <a:lnTo>
                    <a:pt x="5" y="11"/>
                  </a:lnTo>
                  <a:lnTo>
                    <a:pt x="0" y="5"/>
                  </a:lnTo>
                  <a:lnTo>
                    <a:pt x="5"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5" name="Freeform 877"/>
            <p:cNvSpPr>
              <a:spLocks/>
            </p:cNvSpPr>
            <p:nvPr/>
          </p:nvSpPr>
          <p:spPr bwMode="auto">
            <a:xfrm>
              <a:off x="1882" y="3728"/>
              <a:ext cx="11" cy="5"/>
            </a:xfrm>
            <a:custGeom>
              <a:avLst/>
              <a:gdLst>
                <a:gd name="T0" fmla="*/ 0 w 11"/>
                <a:gd name="T1" fmla="*/ 0 h 5"/>
                <a:gd name="T2" fmla="*/ 11 w 11"/>
                <a:gd name="T3" fmla="*/ 0 h 5"/>
                <a:gd name="T4" fmla="*/ 11 w 11"/>
                <a:gd name="T5" fmla="*/ 5 h 5"/>
                <a:gd name="T6" fmla="*/ 5 w 11"/>
                <a:gd name="T7" fmla="*/ 5 h 5"/>
                <a:gd name="T8" fmla="*/ 0 w 11"/>
                <a:gd name="T9" fmla="*/ 5 h 5"/>
                <a:gd name="T10" fmla="*/ 0 w 11"/>
                <a:gd name="T11" fmla="*/ 0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0" y="0"/>
                  </a:moveTo>
                  <a:lnTo>
                    <a:pt x="11" y="0"/>
                  </a:lnTo>
                  <a:lnTo>
                    <a:pt x="11" y="5"/>
                  </a:lnTo>
                  <a:lnTo>
                    <a:pt x="5" y="5"/>
                  </a:lnTo>
                  <a:lnTo>
                    <a:pt x="0" y="5"/>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6" name="Freeform 878"/>
            <p:cNvSpPr>
              <a:spLocks/>
            </p:cNvSpPr>
            <p:nvPr/>
          </p:nvSpPr>
          <p:spPr bwMode="auto">
            <a:xfrm>
              <a:off x="1724" y="2904"/>
              <a:ext cx="71" cy="76"/>
            </a:xfrm>
            <a:custGeom>
              <a:avLst/>
              <a:gdLst>
                <a:gd name="T0" fmla="*/ 71 w 71"/>
                <a:gd name="T1" fmla="*/ 16 h 76"/>
                <a:gd name="T2" fmla="*/ 60 w 71"/>
                <a:gd name="T3" fmla="*/ 11 h 76"/>
                <a:gd name="T4" fmla="*/ 54 w 71"/>
                <a:gd name="T5" fmla="*/ 11 h 76"/>
                <a:gd name="T6" fmla="*/ 43 w 71"/>
                <a:gd name="T7" fmla="*/ 11 h 76"/>
                <a:gd name="T8" fmla="*/ 38 w 71"/>
                <a:gd name="T9" fmla="*/ 5 h 76"/>
                <a:gd name="T10" fmla="*/ 27 w 71"/>
                <a:gd name="T11" fmla="*/ 0 h 76"/>
                <a:gd name="T12" fmla="*/ 11 w 71"/>
                <a:gd name="T13" fmla="*/ 5 h 76"/>
                <a:gd name="T14" fmla="*/ 11 w 71"/>
                <a:gd name="T15" fmla="*/ 11 h 76"/>
                <a:gd name="T16" fmla="*/ 5 w 71"/>
                <a:gd name="T17" fmla="*/ 21 h 76"/>
                <a:gd name="T18" fmla="*/ 0 w 71"/>
                <a:gd name="T19" fmla="*/ 27 h 76"/>
                <a:gd name="T20" fmla="*/ 0 w 71"/>
                <a:gd name="T21" fmla="*/ 43 h 76"/>
                <a:gd name="T22" fmla="*/ 5 w 71"/>
                <a:gd name="T23" fmla="*/ 49 h 76"/>
                <a:gd name="T24" fmla="*/ 11 w 71"/>
                <a:gd name="T25" fmla="*/ 43 h 76"/>
                <a:gd name="T26" fmla="*/ 11 w 71"/>
                <a:gd name="T27" fmla="*/ 43 h 76"/>
                <a:gd name="T28" fmla="*/ 11 w 71"/>
                <a:gd name="T29" fmla="*/ 49 h 76"/>
                <a:gd name="T30" fmla="*/ 5 w 71"/>
                <a:gd name="T31" fmla="*/ 54 h 76"/>
                <a:gd name="T32" fmla="*/ 5 w 71"/>
                <a:gd name="T33" fmla="*/ 60 h 76"/>
                <a:gd name="T34" fmla="*/ 5 w 71"/>
                <a:gd name="T35" fmla="*/ 65 h 76"/>
                <a:gd name="T36" fmla="*/ 5 w 71"/>
                <a:gd name="T37" fmla="*/ 71 h 76"/>
                <a:gd name="T38" fmla="*/ 11 w 71"/>
                <a:gd name="T39" fmla="*/ 71 h 76"/>
                <a:gd name="T40" fmla="*/ 16 w 71"/>
                <a:gd name="T41" fmla="*/ 71 h 76"/>
                <a:gd name="T42" fmla="*/ 16 w 71"/>
                <a:gd name="T43" fmla="*/ 76 h 76"/>
                <a:gd name="T44" fmla="*/ 22 w 71"/>
                <a:gd name="T45" fmla="*/ 76 h 76"/>
                <a:gd name="T46" fmla="*/ 27 w 71"/>
                <a:gd name="T47" fmla="*/ 71 h 76"/>
                <a:gd name="T48" fmla="*/ 27 w 71"/>
                <a:gd name="T49" fmla="*/ 60 h 76"/>
                <a:gd name="T50" fmla="*/ 33 w 71"/>
                <a:gd name="T51" fmla="*/ 60 h 76"/>
                <a:gd name="T52" fmla="*/ 33 w 71"/>
                <a:gd name="T53" fmla="*/ 60 h 76"/>
                <a:gd name="T54" fmla="*/ 33 w 71"/>
                <a:gd name="T55" fmla="*/ 54 h 76"/>
                <a:gd name="T56" fmla="*/ 54 w 71"/>
                <a:gd name="T57" fmla="*/ 43 h 76"/>
                <a:gd name="T58" fmla="*/ 65 w 71"/>
                <a:gd name="T59" fmla="*/ 32 h 76"/>
                <a:gd name="T60" fmla="*/ 71 w 71"/>
                <a:gd name="T61" fmla="*/ 27 h 76"/>
                <a:gd name="T62" fmla="*/ 71 w 71"/>
                <a:gd name="T63" fmla="*/ 27 h 76"/>
                <a:gd name="T64" fmla="*/ 65 w 71"/>
                <a:gd name="T65" fmla="*/ 16 h 76"/>
                <a:gd name="T66" fmla="*/ 71 w 71"/>
                <a:gd name="T67" fmla="*/ 16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1"/>
                <a:gd name="T103" fmla="*/ 0 h 76"/>
                <a:gd name="T104" fmla="*/ 71 w 71"/>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1" h="76">
                  <a:moveTo>
                    <a:pt x="71" y="16"/>
                  </a:moveTo>
                  <a:lnTo>
                    <a:pt x="60" y="11"/>
                  </a:lnTo>
                  <a:lnTo>
                    <a:pt x="54" y="11"/>
                  </a:lnTo>
                  <a:lnTo>
                    <a:pt x="43" y="11"/>
                  </a:lnTo>
                  <a:lnTo>
                    <a:pt x="38" y="5"/>
                  </a:lnTo>
                  <a:lnTo>
                    <a:pt x="27" y="0"/>
                  </a:lnTo>
                  <a:lnTo>
                    <a:pt x="11" y="5"/>
                  </a:lnTo>
                  <a:lnTo>
                    <a:pt x="11" y="11"/>
                  </a:lnTo>
                  <a:lnTo>
                    <a:pt x="5" y="21"/>
                  </a:lnTo>
                  <a:lnTo>
                    <a:pt x="0" y="27"/>
                  </a:lnTo>
                  <a:lnTo>
                    <a:pt x="0" y="43"/>
                  </a:lnTo>
                  <a:lnTo>
                    <a:pt x="5" y="49"/>
                  </a:lnTo>
                  <a:lnTo>
                    <a:pt x="11" y="43"/>
                  </a:lnTo>
                  <a:lnTo>
                    <a:pt x="11" y="49"/>
                  </a:lnTo>
                  <a:lnTo>
                    <a:pt x="5" y="54"/>
                  </a:lnTo>
                  <a:lnTo>
                    <a:pt x="5" y="60"/>
                  </a:lnTo>
                  <a:lnTo>
                    <a:pt x="5" y="65"/>
                  </a:lnTo>
                  <a:lnTo>
                    <a:pt x="5" y="71"/>
                  </a:lnTo>
                  <a:lnTo>
                    <a:pt x="11" y="71"/>
                  </a:lnTo>
                  <a:lnTo>
                    <a:pt x="16" y="71"/>
                  </a:lnTo>
                  <a:lnTo>
                    <a:pt x="16" y="76"/>
                  </a:lnTo>
                  <a:lnTo>
                    <a:pt x="22" y="76"/>
                  </a:lnTo>
                  <a:lnTo>
                    <a:pt x="27" y="71"/>
                  </a:lnTo>
                  <a:lnTo>
                    <a:pt x="27" y="60"/>
                  </a:lnTo>
                  <a:lnTo>
                    <a:pt x="33" y="60"/>
                  </a:lnTo>
                  <a:lnTo>
                    <a:pt x="33" y="54"/>
                  </a:lnTo>
                  <a:lnTo>
                    <a:pt x="54" y="43"/>
                  </a:lnTo>
                  <a:lnTo>
                    <a:pt x="65" y="32"/>
                  </a:lnTo>
                  <a:lnTo>
                    <a:pt x="71" y="27"/>
                  </a:lnTo>
                  <a:lnTo>
                    <a:pt x="65" y="16"/>
                  </a:lnTo>
                  <a:lnTo>
                    <a:pt x="71"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7" name="Freeform 879"/>
            <p:cNvSpPr>
              <a:spLocks/>
            </p:cNvSpPr>
            <p:nvPr/>
          </p:nvSpPr>
          <p:spPr bwMode="auto">
            <a:xfrm>
              <a:off x="2050" y="2849"/>
              <a:ext cx="33" cy="44"/>
            </a:xfrm>
            <a:custGeom>
              <a:avLst/>
              <a:gdLst>
                <a:gd name="T0" fmla="*/ 0 w 33"/>
                <a:gd name="T1" fmla="*/ 38 h 44"/>
                <a:gd name="T2" fmla="*/ 0 w 33"/>
                <a:gd name="T3" fmla="*/ 38 h 44"/>
                <a:gd name="T4" fmla="*/ 6 w 33"/>
                <a:gd name="T5" fmla="*/ 22 h 44"/>
                <a:gd name="T6" fmla="*/ 0 w 33"/>
                <a:gd name="T7" fmla="*/ 16 h 44"/>
                <a:gd name="T8" fmla="*/ 0 w 33"/>
                <a:gd name="T9" fmla="*/ 6 h 44"/>
                <a:gd name="T10" fmla="*/ 6 w 33"/>
                <a:gd name="T11" fmla="*/ 0 h 44"/>
                <a:gd name="T12" fmla="*/ 6 w 33"/>
                <a:gd name="T13" fmla="*/ 0 h 44"/>
                <a:gd name="T14" fmla="*/ 22 w 33"/>
                <a:gd name="T15" fmla="*/ 6 h 44"/>
                <a:gd name="T16" fmla="*/ 33 w 33"/>
                <a:gd name="T17" fmla="*/ 16 h 44"/>
                <a:gd name="T18" fmla="*/ 33 w 33"/>
                <a:gd name="T19" fmla="*/ 22 h 44"/>
                <a:gd name="T20" fmla="*/ 22 w 33"/>
                <a:gd name="T21" fmla="*/ 38 h 44"/>
                <a:gd name="T22" fmla="*/ 17 w 33"/>
                <a:gd name="T23" fmla="*/ 44 h 44"/>
                <a:gd name="T24" fmla="*/ 6 w 33"/>
                <a:gd name="T25" fmla="*/ 44 h 44"/>
                <a:gd name="T26" fmla="*/ 0 w 33"/>
                <a:gd name="T27" fmla="*/ 38 h 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44"/>
                <a:gd name="T44" fmla="*/ 33 w 33"/>
                <a:gd name="T45" fmla="*/ 44 h 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44">
                  <a:moveTo>
                    <a:pt x="0" y="38"/>
                  </a:moveTo>
                  <a:lnTo>
                    <a:pt x="0" y="38"/>
                  </a:lnTo>
                  <a:lnTo>
                    <a:pt x="6" y="22"/>
                  </a:lnTo>
                  <a:lnTo>
                    <a:pt x="0" y="16"/>
                  </a:lnTo>
                  <a:lnTo>
                    <a:pt x="0" y="6"/>
                  </a:lnTo>
                  <a:lnTo>
                    <a:pt x="6" y="0"/>
                  </a:lnTo>
                  <a:lnTo>
                    <a:pt x="22" y="6"/>
                  </a:lnTo>
                  <a:lnTo>
                    <a:pt x="33" y="16"/>
                  </a:lnTo>
                  <a:lnTo>
                    <a:pt x="33" y="22"/>
                  </a:lnTo>
                  <a:lnTo>
                    <a:pt x="22" y="38"/>
                  </a:lnTo>
                  <a:lnTo>
                    <a:pt x="17" y="44"/>
                  </a:lnTo>
                  <a:lnTo>
                    <a:pt x="6" y="44"/>
                  </a:lnTo>
                  <a:lnTo>
                    <a:pt x="0"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8" name="Freeform 880"/>
            <p:cNvSpPr>
              <a:spLocks/>
            </p:cNvSpPr>
            <p:nvPr/>
          </p:nvSpPr>
          <p:spPr bwMode="auto">
            <a:xfrm>
              <a:off x="1963" y="2816"/>
              <a:ext cx="60" cy="88"/>
            </a:xfrm>
            <a:custGeom>
              <a:avLst/>
              <a:gdLst>
                <a:gd name="T0" fmla="*/ 11 w 60"/>
                <a:gd name="T1" fmla="*/ 39 h 88"/>
                <a:gd name="T2" fmla="*/ 0 w 60"/>
                <a:gd name="T3" fmla="*/ 28 h 88"/>
                <a:gd name="T4" fmla="*/ 6 w 60"/>
                <a:gd name="T5" fmla="*/ 22 h 88"/>
                <a:gd name="T6" fmla="*/ 11 w 60"/>
                <a:gd name="T7" fmla="*/ 17 h 88"/>
                <a:gd name="T8" fmla="*/ 6 w 60"/>
                <a:gd name="T9" fmla="*/ 17 h 88"/>
                <a:gd name="T10" fmla="*/ 6 w 60"/>
                <a:gd name="T11" fmla="*/ 6 h 88"/>
                <a:gd name="T12" fmla="*/ 17 w 60"/>
                <a:gd name="T13" fmla="*/ 0 h 88"/>
                <a:gd name="T14" fmla="*/ 22 w 60"/>
                <a:gd name="T15" fmla="*/ 0 h 88"/>
                <a:gd name="T16" fmla="*/ 22 w 60"/>
                <a:gd name="T17" fmla="*/ 0 h 88"/>
                <a:gd name="T18" fmla="*/ 33 w 60"/>
                <a:gd name="T19" fmla="*/ 11 h 88"/>
                <a:gd name="T20" fmla="*/ 38 w 60"/>
                <a:gd name="T21" fmla="*/ 17 h 88"/>
                <a:gd name="T22" fmla="*/ 44 w 60"/>
                <a:gd name="T23" fmla="*/ 22 h 88"/>
                <a:gd name="T24" fmla="*/ 55 w 60"/>
                <a:gd name="T25" fmla="*/ 33 h 88"/>
                <a:gd name="T26" fmla="*/ 49 w 60"/>
                <a:gd name="T27" fmla="*/ 39 h 88"/>
                <a:gd name="T28" fmla="*/ 44 w 60"/>
                <a:gd name="T29" fmla="*/ 44 h 88"/>
                <a:gd name="T30" fmla="*/ 38 w 60"/>
                <a:gd name="T31" fmla="*/ 49 h 88"/>
                <a:gd name="T32" fmla="*/ 44 w 60"/>
                <a:gd name="T33" fmla="*/ 60 h 88"/>
                <a:gd name="T34" fmla="*/ 49 w 60"/>
                <a:gd name="T35" fmla="*/ 60 h 88"/>
                <a:gd name="T36" fmla="*/ 55 w 60"/>
                <a:gd name="T37" fmla="*/ 71 h 88"/>
                <a:gd name="T38" fmla="*/ 60 w 60"/>
                <a:gd name="T39" fmla="*/ 77 h 88"/>
                <a:gd name="T40" fmla="*/ 55 w 60"/>
                <a:gd name="T41" fmla="*/ 77 h 88"/>
                <a:gd name="T42" fmla="*/ 33 w 60"/>
                <a:gd name="T43" fmla="*/ 88 h 88"/>
                <a:gd name="T44" fmla="*/ 28 w 60"/>
                <a:gd name="T45" fmla="*/ 82 h 88"/>
                <a:gd name="T46" fmla="*/ 22 w 60"/>
                <a:gd name="T47" fmla="*/ 82 h 88"/>
                <a:gd name="T48" fmla="*/ 22 w 60"/>
                <a:gd name="T49" fmla="*/ 71 h 88"/>
                <a:gd name="T50" fmla="*/ 17 w 60"/>
                <a:gd name="T51" fmla="*/ 71 h 88"/>
                <a:gd name="T52" fmla="*/ 22 w 60"/>
                <a:gd name="T53" fmla="*/ 55 h 88"/>
                <a:gd name="T54" fmla="*/ 22 w 60"/>
                <a:gd name="T55" fmla="*/ 55 h 88"/>
                <a:gd name="T56" fmla="*/ 22 w 60"/>
                <a:gd name="T57" fmla="*/ 49 h 88"/>
                <a:gd name="T58" fmla="*/ 17 w 60"/>
                <a:gd name="T59" fmla="*/ 44 h 88"/>
                <a:gd name="T60" fmla="*/ 17 w 60"/>
                <a:gd name="T61" fmla="*/ 39 h 88"/>
                <a:gd name="T62" fmla="*/ 11 w 60"/>
                <a:gd name="T63" fmla="*/ 39 h 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0"/>
                <a:gd name="T97" fmla="*/ 0 h 88"/>
                <a:gd name="T98" fmla="*/ 60 w 60"/>
                <a:gd name="T99" fmla="*/ 88 h 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0" h="88">
                  <a:moveTo>
                    <a:pt x="11" y="39"/>
                  </a:moveTo>
                  <a:lnTo>
                    <a:pt x="0" y="28"/>
                  </a:lnTo>
                  <a:lnTo>
                    <a:pt x="6" y="22"/>
                  </a:lnTo>
                  <a:lnTo>
                    <a:pt x="11" y="17"/>
                  </a:lnTo>
                  <a:lnTo>
                    <a:pt x="6" y="17"/>
                  </a:lnTo>
                  <a:lnTo>
                    <a:pt x="6" y="6"/>
                  </a:lnTo>
                  <a:lnTo>
                    <a:pt x="17" y="0"/>
                  </a:lnTo>
                  <a:lnTo>
                    <a:pt x="22" y="0"/>
                  </a:lnTo>
                  <a:lnTo>
                    <a:pt x="33" y="11"/>
                  </a:lnTo>
                  <a:lnTo>
                    <a:pt x="38" y="17"/>
                  </a:lnTo>
                  <a:lnTo>
                    <a:pt x="44" y="22"/>
                  </a:lnTo>
                  <a:lnTo>
                    <a:pt x="55" y="33"/>
                  </a:lnTo>
                  <a:lnTo>
                    <a:pt x="49" y="39"/>
                  </a:lnTo>
                  <a:lnTo>
                    <a:pt x="44" y="44"/>
                  </a:lnTo>
                  <a:lnTo>
                    <a:pt x="38" y="49"/>
                  </a:lnTo>
                  <a:lnTo>
                    <a:pt x="44" y="60"/>
                  </a:lnTo>
                  <a:lnTo>
                    <a:pt x="49" y="60"/>
                  </a:lnTo>
                  <a:lnTo>
                    <a:pt x="55" y="71"/>
                  </a:lnTo>
                  <a:lnTo>
                    <a:pt x="60" y="77"/>
                  </a:lnTo>
                  <a:lnTo>
                    <a:pt x="55" y="77"/>
                  </a:lnTo>
                  <a:lnTo>
                    <a:pt x="33" y="88"/>
                  </a:lnTo>
                  <a:lnTo>
                    <a:pt x="28" y="82"/>
                  </a:lnTo>
                  <a:lnTo>
                    <a:pt x="22" y="82"/>
                  </a:lnTo>
                  <a:lnTo>
                    <a:pt x="22" y="71"/>
                  </a:lnTo>
                  <a:lnTo>
                    <a:pt x="17" y="71"/>
                  </a:lnTo>
                  <a:lnTo>
                    <a:pt x="22" y="55"/>
                  </a:lnTo>
                  <a:lnTo>
                    <a:pt x="22" y="49"/>
                  </a:lnTo>
                  <a:lnTo>
                    <a:pt x="17" y="44"/>
                  </a:lnTo>
                  <a:lnTo>
                    <a:pt x="17" y="39"/>
                  </a:lnTo>
                  <a:lnTo>
                    <a:pt x="11" y="3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59" name="Freeform 881"/>
            <p:cNvSpPr>
              <a:spLocks/>
            </p:cNvSpPr>
            <p:nvPr/>
          </p:nvSpPr>
          <p:spPr bwMode="auto">
            <a:xfrm>
              <a:off x="1947" y="3160"/>
              <a:ext cx="103" cy="109"/>
            </a:xfrm>
            <a:custGeom>
              <a:avLst/>
              <a:gdLst>
                <a:gd name="T0" fmla="*/ 54 w 103"/>
                <a:gd name="T1" fmla="*/ 11 h 109"/>
                <a:gd name="T2" fmla="*/ 49 w 103"/>
                <a:gd name="T3" fmla="*/ 0 h 109"/>
                <a:gd name="T4" fmla="*/ 44 w 103"/>
                <a:gd name="T5" fmla="*/ 0 h 109"/>
                <a:gd name="T6" fmla="*/ 33 w 103"/>
                <a:gd name="T7" fmla="*/ 0 h 109"/>
                <a:gd name="T8" fmla="*/ 11 w 103"/>
                <a:gd name="T9" fmla="*/ 6 h 109"/>
                <a:gd name="T10" fmla="*/ 5 w 103"/>
                <a:gd name="T11" fmla="*/ 16 h 109"/>
                <a:gd name="T12" fmla="*/ 5 w 103"/>
                <a:gd name="T13" fmla="*/ 27 h 109"/>
                <a:gd name="T14" fmla="*/ 0 w 103"/>
                <a:gd name="T15" fmla="*/ 38 h 109"/>
                <a:gd name="T16" fmla="*/ 5 w 103"/>
                <a:gd name="T17" fmla="*/ 38 h 109"/>
                <a:gd name="T18" fmla="*/ 22 w 103"/>
                <a:gd name="T19" fmla="*/ 60 h 109"/>
                <a:gd name="T20" fmla="*/ 38 w 103"/>
                <a:gd name="T21" fmla="*/ 60 h 109"/>
                <a:gd name="T22" fmla="*/ 60 w 103"/>
                <a:gd name="T23" fmla="*/ 77 h 109"/>
                <a:gd name="T24" fmla="*/ 60 w 103"/>
                <a:gd name="T25" fmla="*/ 82 h 109"/>
                <a:gd name="T26" fmla="*/ 54 w 103"/>
                <a:gd name="T27" fmla="*/ 98 h 109"/>
                <a:gd name="T28" fmla="*/ 54 w 103"/>
                <a:gd name="T29" fmla="*/ 104 h 109"/>
                <a:gd name="T30" fmla="*/ 65 w 103"/>
                <a:gd name="T31" fmla="*/ 104 h 109"/>
                <a:gd name="T32" fmla="*/ 71 w 103"/>
                <a:gd name="T33" fmla="*/ 109 h 109"/>
                <a:gd name="T34" fmla="*/ 87 w 103"/>
                <a:gd name="T35" fmla="*/ 104 h 109"/>
                <a:gd name="T36" fmla="*/ 98 w 103"/>
                <a:gd name="T37" fmla="*/ 93 h 109"/>
                <a:gd name="T38" fmla="*/ 98 w 103"/>
                <a:gd name="T39" fmla="*/ 82 h 109"/>
                <a:gd name="T40" fmla="*/ 103 w 103"/>
                <a:gd name="T41" fmla="*/ 66 h 109"/>
                <a:gd name="T42" fmla="*/ 103 w 103"/>
                <a:gd name="T43" fmla="*/ 60 h 109"/>
                <a:gd name="T44" fmla="*/ 87 w 103"/>
                <a:gd name="T45" fmla="*/ 55 h 109"/>
                <a:gd name="T46" fmla="*/ 82 w 103"/>
                <a:gd name="T47" fmla="*/ 38 h 109"/>
                <a:gd name="T48" fmla="*/ 76 w 103"/>
                <a:gd name="T49" fmla="*/ 33 h 109"/>
                <a:gd name="T50" fmla="*/ 71 w 103"/>
                <a:gd name="T51" fmla="*/ 38 h 109"/>
                <a:gd name="T52" fmla="*/ 60 w 103"/>
                <a:gd name="T53" fmla="*/ 33 h 109"/>
                <a:gd name="T54" fmla="*/ 54 w 103"/>
                <a:gd name="T55" fmla="*/ 11 h 10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3"/>
                <a:gd name="T85" fmla="*/ 0 h 109"/>
                <a:gd name="T86" fmla="*/ 103 w 103"/>
                <a:gd name="T87" fmla="*/ 109 h 10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3" h="109">
                  <a:moveTo>
                    <a:pt x="54" y="11"/>
                  </a:moveTo>
                  <a:lnTo>
                    <a:pt x="49" y="0"/>
                  </a:lnTo>
                  <a:lnTo>
                    <a:pt x="44" y="0"/>
                  </a:lnTo>
                  <a:lnTo>
                    <a:pt x="33" y="0"/>
                  </a:lnTo>
                  <a:lnTo>
                    <a:pt x="11" y="6"/>
                  </a:lnTo>
                  <a:lnTo>
                    <a:pt x="5" y="16"/>
                  </a:lnTo>
                  <a:lnTo>
                    <a:pt x="5" y="27"/>
                  </a:lnTo>
                  <a:lnTo>
                    <a:pt x="0" y="38"/>
                  </a:lnTo>
                  <a:lnTo>
                    <a:pt x="5" y="38"/>
                  </a:lnTo>
                  <a:lnTo>
                    <a:pt x="22" y="60"/>
                  </a:lnTo>
                  <a:lnTo>
                    <a:pt x="38" y="60"/>
                  </a:lnTo>
                  <a:lnTo>
                    <a:pt x="60" y="77"/>
                  </a:lnTo>
                  <a:lnTo>
                    <a:pt x="60" y="82"/>
                  </a:lnTo>
                  <a:lnTo>
                    <a:pt x="54" y="98"/>
                  </a:lnTo>
                  <a:lnTo>
                    <a:pt x="54" y="104"/>
                  </a:lnTo>
                  <a:lnTo>
                    <a:pt x="65" y="104"/>
                  </a:lnTo>
                  <a:lnTo>
                    <a:pt x="71" y="109"/>
                  </a:lnTo>
                  <a:lnTo>
                    <a:pt x="87" y="104"/>
                  </a:lnTo>
                  <a:lnTo>
                    <a:pt x="98" y="93"/>
                  </a:lnTo>
                  <a:lnTo>
                    <a:pt x="98" y="82"/>
                  </a:lnTo>
                  <a:lnTo>
                    <a:pt x="103" y="66"/>
                  </a:lnTo>
                  <a:lnTo>
                    <a:pt x="103" y="60"/>
                  </a:lnTo>
                  <a:lnTo>
                    <a:pt x="87" y="55"/>
                  </a:lnTo>
                  <a:lnTo>
                    <a:pt x="82" y="38"/>
                  </a:lnTo>
                  <a:lnTo>
                    <a:pt x="76" y="33"/>
                  </a:lnTo>
                  <a:lnTo>
                    <a:pt x="71" y="38"/>
                  </a:lnTo>
                  <a:lnTo>
                    <a:pt x="60" y="33"/>
                  </a:lnTo>
                  <a:lnTo>
                    <a:pt x="54"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0" name="Freeform 882"/>
            <p:cNvSpPr>
              <a:spLocks/>
            </p:cNvSpPr>
            <p:nvPr/>
          </p:nvSpPr>
          <p:spPr bwMode="auto">
            <a:xfrm>
              <a:off x="1718" y="2920"/>
              <a:ext cx="153" cy="224"/>
            </a:xfrm>
            <a:custGeom>
              <a:avLst/>
              <a:gdLst>
                <a:gd name="T0" fmla="*/ 142 w 153"/>
                <a:gd name="T1" fmla="*/ 224 h 224"/>
                <a:gd name="T2" fmla="*/ 109 w 153"/>
                <a:gd name="T3" fmla="*/ 207 h 224"/>
                <a:gd name="T4" fmla="*/ 77 w 153"/>
                <a:gd name="T5" fmla="*/ 186 h 224"/>
                <a:gd name="T6" fmla="*/ 60 w 153"/>
                <a:gd name="T7" fmla="*/ 164 h 224"/>
                <a:gd name="T8" fmla="*/ 33 w 153"/>
                <a:gd name="T9" fmla="*/ 98 h 224"/>
                <a:gd name="T10" fmla="*/ 17 w 153"/>
                <a:gd name="T11" fmla="*/ 82 h 224"/>
                <a:gd name="T12" fmla="*/ 6 w 153"/>
                <a:gd name="T13" fmla="*/ 66 h 224"/>
                <a:gd name="T14" fmla="*/ 0 w 153"/>
                <a:gd name="T15" fmla="*/ 49 h 224"/>
                <a:gd name="T16" fmla="*/ 11 w 153"/>
                <a:gd name="T17" fmla="*/ 44 h 224"/>
                <a:gd name="T18" fmla="*/ 11 w 153"/>
                <a:gd name="T19" fmla="*/ 55 h 224"/>
                <a:gd name="T20" fmla="*/ 22 w 153"/>
                <a:gd name="T21" fmla="*/ 55 h 224"/>
                <a:gd name="T22" fmla="*/ 28 w 153"/>
                <a:gd name="T23" fmla="*/ 60 h 224"/>
                <a:gd name="T24" fmla="*/ 33 w 153"/>
                <a:gd name="T25" fmla="*/ 44 h 224"/>
                <a:gd name="T26" fmla="*/ 39 w 153"/>
                <a:gd name="T27" fmla="*/ 44 h 224"/>
                <a:gd name="T28" fmla="*/ 60 w 153"/>
                <a:gd name="T29" fmla="*/ 27 h 224"/>
                <a:gd name="T30" fmla="*/ 77 w 153"/>
                <a:gd name="T31" fmla="*/ 11 h 224"/>
                <a:gd name="T32" fmla="*/ 71 w 153"/>
                <a:gd name="T33" fmla="*/ 0 h 224"/>
                <a:gd name="T34" fmla="*/ 82 w 153"/>
                <a:gd name="T35" fmla="*/ 0 h 224"/>
                <a:gd name="T36" fmla="*/ 93 w 153"/>
                <a:gd name="T37" fmla="*/ 11 h 224"/>
                <a:gd name="T38" fmla="*/ 98 w 153"/>
                <a:gd name="T39" fmla="*/ 22 h 224"/>
                <a:gd name="T40" fmla="*/ 109 w 153"/>
                <a:gd name="T41" fmla="*/ 27 h 224"/>
                <a:gd name="T42" fmla="*/ 126 w 153"/>
                <a:gd name="T43" fmla="*/ 27 h 224"/>
                <a:gd name="T44" fmla="*/ 137 w 153"/>
                <a:gd name="T45" fmla="*/ 27 h 224"/>
                <a:gd name="T46" fmla="*/ 131 w 153"/>
                <a:gd name="T47" fmla="*/ 44 h 224"/>
                <a:gd name="T48" fmla="*/ 120 w 153"/>
                <a:gd name="T49" fmla="*/ 55 h 224"/>
                <a:gd name="T50" fmla="*/ 104 w 153"/>
                <a:gd name="T51" fmla="*/ 71 h 224"/>
                <a:gd name="T52" fmla="*/ 98 w 153"/>
                <a:gd name="T53" fmla="*/ 82 h 224"/>
                <a:gd name="T54" fmla="*/ 98 w 153"/>
                <a:gd name="T55" fmla="*/ 98 h 224"/>
                <a:gd name="T56" fmla="*/ 104 w 153"/>
                <a:gd name="T57" fmla="*/ 115 h 224"/>
                <a:gd name="T58" fmla="*/ 115 w 153"/>
                <a:gd name="T59" fmla="*/ 120 h 224"/>
                <a:gd name="T60" fmla="*/ 131 w 153"/>
                <a:gd name="T61" fmla="*/ 109 h 224"/>
                <a:gd name="T62" fmla="*/ 137 w 153"/>
                <a:gd name="T63" fmla="*/ 131 h 224"/>
                <a:gd name="T64" fmla="*/ 153 w 153"/>
                <a:gd name="T65" fmla="*/ 153 h 224"/>
                <a:gd name="T66" fmla="*/ 153 w 153"/>
                <a:gd name="T67" fmla="*/ 175 h 224"/>
                <a:gd name="T68" fmla="*/ 147 w 153"/>
                <a:gd name="T69" fmla="*/ 186 h 224"/>
                <a:gd name="T70" fmla="*/ 147 w 153"/>
                <a:gd name="T71" fmla="*/ 196 h 224"/>
                <a:gd name="T72" fmla="*/ 142 w 153"/>
                <a:gd name="T73" fmla="*/ 213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3"/>
                <a:gd name="T112" fmla="*/ 0 h 224"/>
                <a:gd name="T113" fmla="*/ 153 w 153"/>
                <a:gd name="T114" fmla="*/ 224 h 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3" h="224">
                  <a:moveTo>
                    <a:pt x="142" y="218"/>
                  </a:moveTo>
                  <a:lnTo>
                    <a:pt x="142" y="224"/>
                  </a:lnTo>
                  <a:lnTo>
                    <a:pt x="131" y="224"/>
                  </a:lnTo>
                  <a:lnTo>
                    <a:pt x="109" y="207"/>
                  </a:lnTo>
                  <a:lnTo>
                    <a:pt x="93" y="196"/>
                  </a:lnTo>
                  <a:lnTo>
                    <a:pt x="77" y="186"/>
                  </a:lnTo>
                  <a:lnTo>
                    <a:pt x="60" y="175"/>
                  </a:lnTo>
                  <a:lnTo>
                    <a:pt x="60" y="164"/>
                  </a:lnTo>
                  <a:lnTo>
                    <a:pt x="44" y="136"/>
                  </a:lnTo>
                  <a:lnTo>
                    <a:pt x="33" y="98"/>
                  </a:lnTo>
                  <a:lnTo>
                    <a:pt x="22" y="93"/>
                  </a:lnTo>
                  <a:lnTo>
                    <a:pt x="17" y="82"/>
                  </a:lnTo>
                  <a:lnTo>
                    <a:pt x="6" y="71"/>
                  </a:lnTo>
                  <a:lnTo>
                    <a:pt x="6" y="66"/>
                  </a:lnTo>
                  <a:lnTo>
                    <a:pt x="6" y="60"/>
                  </a:lnTo>
                  <a:lnTo>
                    <a:pt x="0" y="49"/>
                  </a:lnTo>
                  <a:lnTo>
                    <a:pt x="11" y="38"/>
                  </a:lnTo>
                  <a:lnTo>
                    <a:pt x="11" y="44"/>
                  </a:lnTo>
                  <a:lnTo>
                    <a:pt x="11" y="49"/>
                  </a:lnTo>
                  <a:lnTo>
                    <a:pt x="11" y="55"/>
                  </a:lnTo>
                  <a:lnTo>
                    <a:pt x="17" y="55"/>
                  </a:lnTo>
                  <a:lnTo>
                    <a:pt x="22" y="55"/>
                  </a:lnTo>
                  <a:lnTo>
                    <a:pt x="22" y="60"/>
                  </a:lnTo>
                  <a:lnTo>
                    <a:pt x="28" y="60"/>
                  </a:lnTo>
                  <a:lnTo>
                    <a:pt x="33" y="55"/>
                  </a:lnTo>
                  <a:lnTo>
                    <a:pt x="33" y="44"/>
                  </a:lnTo>
                  <a:lnTo>
                    <a:pt x="39" y="44"/>
                  </a:lnTo>
                  <a:lnTo>
                    <a:pt x="39" y="38"/>
                  </a:lnTo>
                  <a:lnTo>
                    <a:pt x="60" y="27"/>
                  </a:lnTo>
                  <a:lnTo>
                    <a:pt x="71" y="16"/>
                  </a:lnTo>
                  <a:lnTo>
                    <a:pt x="77" y="11"/>
                  </a:lnTo>
                  <a:lnTo>
                    <a:pt x="71" y="0"/>
                  </a:lnTo>
                  <a:lnTo>
                    <a:pt x="77" y="0"/>
                  </a:lnTo>
                  <a:lnTo>
                    <a:pt x="82" y="0"/>
                  </a:lnTo>
                  <a:lnTo>
                    <a:pt x="88" y="11"/>
                  </a:lnTo>
                  <a:lnTo>
                    <a:pt x="93" y="11"/>
                  </a:lnTo>
                  <a:lnTo>
                    <a:pt x="98" y="22"/>
                  </a:lnTo>
                  <a:lnTo>
                    <a:pt x="104" y="27"/>
                  </a:lnTo>
                  <a:lnTo>
                    <a:pt x="109" y="27"/>
                  </a:lnTo>
                  <a:lnTo>
                    <a:pt x="115" y="27"/>
                  </a:lnTo>
                  <a:lnTo>
                    <a:pt x="126" y="27"/>
                  </a:lnTo>
                  <a:lnTo>
                    <a:pt x="137" y="27"/>
                  </a:lnTo>
                  <a:lnTo>
                    <a:pt x="137" y="33"/>
                  </a:lnTo>
                  <a:lnTo>
                    <a:pt x="131" y="44"/>
                  </a:lnTo>
                  <a:lnTo>
                    <a:pt x="142" y="49"/>
                  </a:lnTo>
                  <a:lnTo>
                    <a:pt x="120" y="55"/>
                  </a:lnTo>
                  <a:lnTo>
                    <a:pt x="109" y="60"/>
                  </a:lnTo>
                  <a:lnTo>
                    <a:pt x="104" y="71"/>
                  </a:lnTo>
                  <a:lnTo>
                    <a:pt x="104" y="76"/>
                  </a:lnTo>
                  <a:lnTo>
                    <a:pt x="98" y="82"/>
                  </a:lnTo>
                  <a:lnTo>
                    <a:pt x="93" y="93"/>
                  </a:lnTo>
                  <a:lnTo>
                    <a:pt x="98" y="98"/>
                  </a:lnTo>
                  <a:lnTo>
                    <a:pt x="104" y="109"/>
                  </a:lnTo>
                  <a:lnTo>
                    <a:pt x="104" y="115"/>
                  </a:lnTo>
                  <a:lnTo>
                    <a:pt x="109" y="115"/>
                  </a:lnTo>
                  <a:lnTo>
                    <a:pt x="115" y="120"/>
                  </a:lnTo>
                  <a:lnTo>
                    <a:pt x="120" y="120"/>
                  </a:lnTo>
                  <a:lnTo>
                    <a:pt x="131" y="109"/>
                  </a:lnTo>
                  <a:lnTo>
                    <a:pt x="131" y="131"/>
                  </a:lnTo>
                  <a:lnTo>
                    <a:pt x="137" y="131"/>
                  </a:lnTo>
                  <a:lnTo>
                    <a:pt x="142" y="131"/>
                  </a:lnTo>
                  <a:lnTo>
                    <a:pt x="153" y="153"/>
                  </a:lnTo>
                  <a:lnTo>
                    <a:pt x="153" y="158"/>
                  </a:lnTo>
                  <a:lnTo>
                    <a:pt x="153" y="175"/>
                  </a:lnTo>
                  <a:lnTo>
                    <a:pt x="147" y="180"/>
                  </a:lnTo>
                  <a:lnTo>
                    <a:pt x="147" y="186"/>
                  </a:lnTo>
                  <a:lnTo>
                    <a:pt x="147" y="191"/>
                  </a:lnTo>
                  <a:lnTo>
                    <a:pt x="147" y="196"/>
                  </a:lnTo>
                  <a:lnTo>
                    <a:pt x="153" y="202"/>
                  </a:lnTo>
                  <a:lnTo>
                    <a:pt x="142" y="213"/>
                  </a:lnTo>
                  <a:lnTo>
                    <a:pt x="142" y="21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1" name="Freeform 883"/>
            <p:cNvSpPr>
              <a:spLocks/>
            </p:cNvSpPr>
            <p:nvPr/>
          </p:nvSpPr>
          <p:spPr bwMode="auto">
            <a:xfrm>
              <a:off x="2001" y="2844"/>
              <a:ext cx="55" cy="49"/>
            </a:xfrm>
            <a:custGeom>
              <a:avLst/>
              <a:gdLst>
                <a:gd name="T0" fmla="*/ 22 w 55"/>
                <a:gd name="T1" fmla="*/ 49 h 49"/>
                <a:gd name="T2" fmla="*/ 17 w 55"/>
                <a:gd name="T3" fmla="*/ 43 h 49"/>
                <a:gd name="T4" fmla="*/ 11 w 55"/>
                <a:gd name="T5" fmla="*/ 32 h 49"/>
                <a:gd name="T6" fmla="*/ 6 w 55"/>
                <a:gd name="T7" fmla="*/ 32 h 49"/>
                <a:gd name="T8" fmla="*/ 0 w 55"/>
                <a:gd name="T9" fmla="*/ 21 h 49"/>
                <a:gd name="T10" fmla="*/ 6 w 55"/>
                <a:gd name="T11" fmla="*/ 16 h 49"/>
                <a:gd name="T12" fmla="*/ 11 w 55"/>
                <a:gd name="T13" fmla="*/ 11 h 49"/>
                <a:gd name="T14" fmla="*/ 17 w 55"/>
                <a:gd name="T15" fmla="*/ 5 h 49"/>
                <a:gd name="T16" fmla="*/ 44 w 55"/>
                <a:gd name="T17" fmla="*/ 0 h 49"/>
                <a:gd name="T18" fmla="*/ 55 w 55"/>
                <a:gd name="T19" fmla="*/ 5 h 49"/>
                <a:gd name="T20" fmla="*/ 55 w 55"/>
                <a:gd name="T21" fmla="*/ 5 h 49"/>
                <a:gd name="T22" fmla="*/ 49 w 55"/>
                <a:gd name="T23" fmla="*/ 11 h 49"/>
                <a:gd name="T24" fmla="*/ 49 w 55"/>
                <a:gd name="T25" fmla="*/ 21 h 49"/>
                <a:gd name="T26" fmla="*/ 55 w 55"/>
                <a:gd name="T27" fmla="*/ 27 h 49"/>
                <a:gd name="T28" fmla="*/ 49 w 55"/>
                <a:gd name="T29" fmla="*/ 43 h 49"/>
                <a:gd name="T30" fmla="*/ 49 w 55"/>
                <a:gd name="T31" fmla="*/ 43 h 49"/>
                <a:gd name="T32" fmla="*/ 44 w 55"/>
                <a:gd name="T33" fmla="*/ 43 h 49"/>
                <a:gd name="T34" fmla="*/ 33 w 55"/>
                <a:gd name="T35" fmla="*/ 43 h 49"/>
                <a:gd name="T36" fmla="*/ 28 w 55"/>
                <a:gd name="T37" fmla="*/ 49 h 49"/>
                <a:gd name="T38" fmla="*/ 22 w 55"/>
                <a:gd name="T39" fmla="*/ 49 h 4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5"/>
                <a:gd name="T61" fmla="*/ 0 h 49"/>
                <a:gd name="T62" fmla="*/ 55 w 55"/>
                <a:gd name="T63" fmla="*/ 49 h 4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5" h="49">
                  <a:moveTo>
                    <a:pt x="22" y="49"/>
                  </a:moveTo>
                  <a:lnTo>
                    <a:pt x="17" y="43"/>
                  </a:lnTo>
                  <a:lnTo>
                    <a:pt x="11" y="32"/>
                  </a:lnTo>
                  <a:lnTo>
                    <a:pt x="6" y="32"/>
                  </a:lnTo>
                  <a:lnTo>
                    <a:pt x="0" y="21"/>
                  </a:lnTo>
                  <a:lnTo>
                    <a:pt x="6" y="16"/>
                  </a:lnTo>
                  <a:lnTo>
                    <a:pt x="11" y="11"/>
                  </a:lnTo>
                  <a:lnTo>
                    <a:pt x="17" y="5"/>
                  </a:lnTo>
                  <a:lnTo>
                    <a:pt x="44" y="0"/>
                  </a:lnTo>
                  <a:lnTo>
                    <a:pt x="55" y="5"/>
                  </a:lnTo>
                  <a:lnTo>
                    <a:pt x="49" y="11"/>
                  </a:lnTo>
                  <a:lnTo>
                    <a:pt x="49" y="21"/>
                  </a:lnTo>
                  <a:lnTo>
                    <a:pt x="55" y="27"/>
                  </a:lnTo>
                  <a:lnTo>
                    <a:pt x="49" y="43"/>
                  </a:lnTo>
                  <a:lnTo>
                    <a:pt x="44" y="43"/>
                  </a:lnTo>
                  <a:lnTo>
                    <a:pt x="33" y="43"/>
                  </a:lnTo>
                  <a:lnTo>
                    <a:pt x="28" y="49"/>
                  </a:lnTo>
                  <a:lnTo>
                    <a:pt x="22" y="4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2" name="Freeform 884"/>
            <p:cNvSpPr>
              <a:spLocks/>
            </p:cNvSpPr>
            <p:nvPr/>
          </p:nvSpPr>
          <p:spPr bwMode="auto">
            <a:xfrm>
              <a:off x="1958" y="2784"/>
              <a:ext cx="11" cy="11"/>
            </a:xfrm>
            <a:custGeom>
              <a:avLst/>
              <a:gdLst>
                <a:gd name="T0" fmla="*/ 11 w 11"/>
                <a:gd name="T1" fmla="*/ 0 h 11"/>
                <a:gd name="T2" fmla="*/ 11 w 11"/>
                <a:gd name="T3" fmla="*/ 11 h 11"/>
                <a:gd name="T4" fmla="*/ 0 w 11"/>
                <a:gd name="T5" fmla="*/ 11 h 11"/>
                <a:gd name="T6" fmla="*/ 5 w 11"/>
                <a:gd name="T7" fmla="*/ 5 h 11"/>
                <a:gd name="T8" fmla="*/ 0 w 11"/>
                <a:gd name="T9" fmla="*/ 0 h 11"/>
                <a:gd name="T10" fmla="*/ 11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11" y="11"/>
                  </a:lnTo>
                  <a:lnTo>
                    <a:pt x="0" y="11"/>
                  </a:lnTo>
                  <a:lnTo>
                    <a:pt x="5" y="5"/>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3" name="Freeform 885"/>
            <p:cNvSpPr>
              <a:spLocks/>
            </p:cNvSpPr>
            <p:nvPr/>
          </p:nvSpPr>
          <p:spPr bwMode="auto">
            <a:xfrm>
              <a:off x="2001" y="3302"/>
              <a:ext cx="66" cy="71"/>
            </a:xfrm>
            <a:custGeom>
              <a:avLst/>
              <a:gdLst>
                <a:gd name="T0" fmla="*/ 6 w 66"/>
                <a:gd name="T1" fmla="*/ 5 h 71"/>
                <a:gd name="T2" fmla="*/ 17 w 66"/>
                <a:gd name="T3" fmla="*/ 0 h 71"/>
                <a:gd name="T4" fmla="*/ 28 w 66"/>
                <a:gd name="T5" fmla="*/ 11 h 71"/>
                <a:gd name="T6" fmla="*/ 28 w 66"/>
                <a:gd name="T7" fmla="*/ 16 h 71"/>
                <a:gd name="T8" fmla="*/ 33 w 66"/>
                <a:gd name="T9" fmla="*/ 11 h 71"/>
                <a:gd name="T10" fmla="*/ 39 w 66"/>
                <a:gd name="T11" fmla="*/ 16 h 71"/>
                <a:gd name="T12" fmla="*/ 55 w 66"/>
                <a:gd name="T13" fmla="*/ 27 h 71"/>
                <a:gd name="T14" fmla="*/ 55 w 66"/>
                <a:gd name="T15" fmla="*/ 33 h 71"/>
                <a:gd name="T16" fmla="*/ 66 w 66"/>
                <a:gd name="T17" fmla="*/ 38 h 71"/>
                <a:gd name="T18" fmla="*/ 60 w 66"/>
                <a:gd name="T19" fmla="*/ 44 h 71"/>
                <a:gd name="T20" fmla="*/ 60 w 66"/>
                <a:gd name="T21" fmla="*/ 55 h 71"/>
                <a:gd name="T22" fmla="*/ 49 w 66"/>
                <a:gd name="T23" fmla="*/ 65 h 71"/>
                <a:gd name="T24" fmla="*/ 44 w 66"/>
                <a:gd name="T25" fmla="*/ 71 h 71"/>
                <a:gd name="T26" fmla="*/ 28 w 66"/>
                <a:gd name="T27" fmla="*/ 71 h 71"/>
                <a:gd name="T28" fmla="*/ 11 w 66"/>
                <a:gd name="T29" fmla="*/ 65 h 71"/>
                <a:gd name="T30" fmla="*/ 6 w 66"/>
                <a:gd name="T31" fmla="*/ 65 h 71"/>
                <a:gd name="T32" fmla="*/ 0 w 66"/>
                <a:gd name="T33" fmla="*/ 60 h 71"/>
                <a:gd name="T34" fmla="*/ 0 w 66"/>
                <a:gd name="T35" fmla="*/ 44 h 71"/>
                <a:gd name="T36" fmla="*/ 6 w 66"/>
                <a:gd name="T37" fmla="*/ 5 h 71"/>
                <a:gd name="T38" fmla="*/ 6 w 66"/>
                <a:gd name="T39" fmla="*/ 5 h 7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6"/>
                <a:gd name="T61" fmla="*/ 0 h 71"/>
                <a:gd name="T62" fmla="*/ 66 w 66"/>
                <a:gd name="T63" fmla="*/ 71 h 7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6" h="71">
                  <a:moveTo>
                    <a:pt x="6" y="5"/>
                  </a:moveTo>
                  <a:lnTo>
                    <a:pt x="17" y="0"/>
                  </a:lnTo>
                  <a:lnTo>
                    <a:pt x="28" y="11"/>
                  </a:lnTo>
                  <a:lnTo>
                    <a:pt x="28" y="16"/>
                  </a:lnTo>
                  <a:lnTo>
                    <a:pt x="33" y="11"/>
                  </a:lnTo>
                  <a:lnTo>
                    <a:pt x="39" y="16"/>
                  </a:lnTo>
                  <a:lnTo>
                    <a:pt x="55" y="27"/>
                  </a:lnTo>
                  <a:lnTo>
                    <a:pt x="55" y="33"/>
                  </a:lnTo>
                  <a:lnTo>
                    <a:pt x="66" y="38"/>
                  </a:lnTo>
                  <a:lnTo>
                    <a:pt x="60" y="44"/>
                  </a:lnTo>
                  <a:lnTo>
                    <a:pt x="60" y="55"/>
                  </a:lnTo>
                  <a:lnTo>
                    <a:pt x="49" y="65"/>
                  </a:lnTo>
                  <a:lnTo>
                    <a:pt x="44" y="71"/>
                  </a:lnTo>
                  <a:lnTo>
                    <a:pt x="28" y="71"/>
                  </a:lnTo>
                  <a:lnTo>
                    <a:pt x="11" y="65"/>
                  </a:lnTo>
                  <a:lnTo>
                    <a:pt x="6" y="65"/>
                  </a:lnTo>
                  <a:lnTo>
                    <a:pt x="0" y="60"/>
                  </a:lnTo>
                  <a:lnTo>
                    <a:pt x="0" y="44"/>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4" name="Freeform 886"/>
            <p:cNvSpPr>
              <a:spLocks/>
            </p:cNvSpPr>
            <p:nvPr/>
          </p:nvSpPr>
          <p:spPr bwMode="auto">
            <a:xfrm>
              <a:off x="1816" y="2767"/>
              <a:ext cx="169" cy="142"/>
            </a:xfrm>
            <a:custGeom>
              <a:avLst/>
              <a:gdLst>
                <a:gd name="T0" fmla="*/ 17 w 169"/>
                <a:gd name="T1" fmla="*/ 6 h 142"/>
                <a:gd name="T2" fmla="*/ 0 w 169"/>
                <a:gd name="T3" fmla="*/ 38 h 142"/>
                <a:gd name="T4" fmla="*/ 11 w 169"/>
                <a:gd name="T5" fmla="*/ 49 h 142"/>
                <a:gd name="T6" fmla="*/ 17 w 169"/>
                <a:gd name="T7" fmla="*/ 66 h 142"/>
                <a:gd name="T8" fmla="*/ 33 w 169"/>
                <a:gd name="T9" fmla="*/ 66 h 142"/>
                <a:gd name="T10" fmla="*/ 49 w 169"/>
                <a:gd name="T11" fmla="*/ 77 h 142"/>
                <a:gd name="T12" fmla="*/ 66 w 169"/>
                <a:gd name="T13" fmla="*/ 93 h 142"/>
                <a:gd name="T14" fmla="*/ 77 w 169"/>
                <a:gd name="T15" fmla="*/ 109 h 142"/>
                <a:gd name="T16" fmla="*/ 77 w 169"/>
                <a:gd name="T17" fmla="*/ 120 h 142"/>
                <a:gd name="T18" fmla="*/ 87 w 169"/>
                <a:gd name="T19" fmla="*/ 142 h 142"/>
                <a:gd name="T20" fmla="*/ 109 w 169"/>
                <a:gd name="T21" fmla="*/ 131 h 142"/>
                <a:gd name="T22" fmla="*/ 126 w 169"/>
                <a:gd name="T23" fmla="*/ 126 h 142"/>
                <a:gd name="T24" fmla="*/ 115 w 169"/>
                <a:gd name="T25" fmla="*/ 120 h 142"/>
                <a:gd name="T26" fmla="*/ 115 w 169"/>
                <a:gd name="T27" fmla="*/ 104 h 142"/>
                <a:gd name="T28" fmla="*/ 104 w 169"/>
                <a:gd name="T29" fmla="*/ 98 h 142"/>
                <a:gd name="T30" fmla="*/ 153 w 169"/>
                <a:gd name="T31" fmla="*/ 93 h 142"/>
                <a:gd name="T32" fmla="*/ 147 w 169"/>
                <a:gd name="T33" fmla="*/ 77 h 142"/>
                <a:gd name="T34" fmla="*/ 158 w 169"/>
                <a:gd name="T35" fmla="*/ 66 h 142"/>
                <a:gd name="T36" fmla="*/ 153 w 169"/>
                <a:gd name="T37" fmla="*/ 55 h 142"/>
                <a:gd name="T38" fmla="*/ 169 w 169"/>
                <a:gd name="T39" fmla="*/ 49 h 142"/>
                <a:gd name="T40" fmla="*/ 158 w 169"/>
                <a:gd name="T41" fmla="*/ 49 h 142"/>
                <a:gd name="T42" fmla="*/ 153 w 169"/>
                <a:gd name="T43" fmla="*/ 44 h 142"/>
                <a:gd name="T44" fmla="*/ 142 w 169"/>
                <a:gd name="T45" fmla="*/ 33 h 142"/>
                <a:gd name="T46" fmla="*/ 131 w 169"/>
                <a:gd name="T47" fmla="*/ 28 h 142"/>
                <a:gd name="T48" fmla="*/ 142 w 169"/>
                <a:gd name="T49" fmla="*/ 22 h 142"/>
                <a:gd name="T50" fmla="*/ 115 w 169"/>
                <a:gd name="T51" fmla="*/ 22 h 142"/>
                <a:gd name="T52" fmla="*/ 104 w 169"/>
                <a:gd name="T53" fmla="*/ 28 h 142"/>
                <a:gd name="T54" fmla="*/ 87 w 169"/>
                <a:gd name="T55" fmla="*/ 22 h 142"/>
                <a:gd name="T56" fmla="*/ 60 w 169"/>
                <a:gd name="T57" fmla="*/ 11 h 142"/>
                <a:gd name="T58" fmla="*/ 44 w 169"/>
                <a:gd name="T59" fmla="*/ 0 h 142"/>
                <a:gd name="T60" fmla="*/ 44 w 169"/>
                <a:gd name="T61" fmla="*/ 6 h 142"/>
                <a:gd name="T62" fmla="*/ 33 w 169"/>
                <a:gd name="T63" fmla="*/ 11 h 142"/>
                <a:gd name="T64" fmla="*/ 22 w 169"/>
                <a:gd name="T65" fmla="*/ 22 h 142"/>
                <a:gd name="T66" fmla="*/ 28 w 169"/>
                <a:gd name="T67" fmla="*/ 38 h 142"/>
                <a:gd name="T68" fmla="*/ 17 w 169"/>
                <a:gd name="T69" fmla="*/ 33 h 142"/>
                <a:gd name="T70" fmla="*/ 22 w 169"/>
                <a:gd name="T71" fmla="*/ 17 h 142"/>
                <a:gd name="T72" fmla="*/ 28 w 169"/>
                <a:gd name="T73" fmla="*/ 6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9"/>
                <a:gd name="T112" fmla="*/ 0 h 142"/>
                <a:gd name="T113" fmla="*/ 169 w 169"/>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9" h="142">
                  <a:moveTo>
                    <a:pt x="28" y="6"/>
                  </a:moveTo>
                  <a:lnTo>
                    <a:pt x="17" y="6"/>
                  </a:lnTo>
                  <a:lnTo>
                    <a:pt x="11" y="17"/>
                  </a:lnTo>
                  <a:lnTo>
                    <a:pt x="0" y="38"/>
                  </a:lnTo>
                  <a:lnTo>
                    <a:pt x="6" y="38"/>
                  </a:lnTo>
                  <a:lnTo>
                    <a:pt x="11" y="49"/>
                  </a:lnTo>
                  <a:lnTo>
                    <a:pt x="11" y="60"/>
                  </a:lnTo>
                  <a:lnTo>
                    <a:pt x="17" y="66"/>
                  </a:lnTo>
                  <a:lnTo>
                    <a:pt x="22" y="66"/>
                  </a:lnTo>
                  <a:lnTo>
                    <a:pt x="33" y="66"/>
                  </a:lnTo>
                  <a:lnTo>
                    <a:pt x="39" y="66"/>
                  </a:lnTo>
                  <a:lnTo>
                    <a:pt x="49" y="77"/>
                  </a:lnTo>
                  <a:lnTo>
                    <a:pt x="71" y="77"/>
                  </a:lnTo>
                  <a:lnTo>
                    <a:pt x="66" y="93"/>
                  </a:lnTo>
                  <a:lnTo>
                    <a:pt x="71" y="104"/>
                  </a:lnTo>
                  <a:lnTo>
                    <a:pt x="77" y="109"/>
                  </a:lnTo>
                  <a:lnTo>
                    <a:pt x="71" y="115"/>
                  </a:lnTo>
                  <a:lnTo>
                    <a:pt x="77" y="120"/>
                  </a:lnTo>
                  <a:lnTo>
                    <a:pt x="82" y="137"/>
                  </a:lnTo>
                  <a:lnTo>
                    <a:pt x="87" y="142"/>
                  </a:lnTo>
                  <a:lnTo>
                    <a:pt x="93" y="142"/>
                  </a:lnTo>
                  <a:lnTo>
                    <a:pt x="109" y="131"/>
                  </a:lnTo>
                  <a:lnTo>
                    <a:pt x="115" y="126"/>
                  </a:lnTo>
                  <a:lnTo>
                    <a:pt x="126" y="126"/>
                  </a:lnTo>
                  <a:lnTo>
                    <a:pt x="126" y="120"/>
                  </a:lnTo>
                  <a:lnTo>
                    <a:pt x="115" y="120"/>
                  </a:lnTo>
                  <a:lnTo>
                    <a:pt x="109" y="115"/>
                  </a:lnTo>
                  <a:lnTo>
                    <a:pt x="115" y="104"/>
                  </a:lnTo>
                  <a:lnTo>
                    <a:pt x="109" y="104"/>
                  </a:lnTo>
                  <a:lnTo>
                    <a:pt x="104" y="98"/>
                  </a:lnTo>
                  <a:lnTo>
                    <a:pt x="126" y="104"/>
                  </a:lnTo>
                  <a:lnTo>
                    <a:pt x="153" y="93"/>
                  </a:lnTo>
                  <a:lnTo>
                    <a:pt x="158" y="88"/>
                  </a:lnTo>
                  <a:lnTo>
                    <a:pt x="147" y="77"/>
                  </a:lnTo>
                  <a:lnTo>
                    <a:pt x="153" y="71"/>
                  </a:lnTo>
                  <a:lnTo>
                    <a:pt x="158" y="66"/>
                  </a:lnTo>
                  <a:lnTo>
                    <a:pt x="153" y="66"/>
                  </a:lnTo>
                  <a:lnTo>
                    <a:pt x="153" y="55"/>
                  </a:lnTo>
                  <a:lnTo>
                    <a:pt x="164" y="49"/>
                  </a:lnTo>
                  <a:lnTo>
                    <a:pt x="169" y="49"/>
                  </a:lnTo>
                  <a:lnTo>
                    <a:pt x="164" y="44"/>
                  </a:lnTo>
                  <a:lnTo>
                    <a:pt x="158" y="49"/>
                  </a:lnTo>
                  <a:lnTo>
                    <a:pt x="153" y="49"/>
                  </a:lnTo>
                  <a:lnTo>
                    <a:pt x="153" y="44"/>
                  </a:lnTo>
                  <a:lnTo>
                    <a:pt x="153" y="38"/>
                  </a:lnTo>
                  <a:lnTo>
                    <a:pt x="142" y="33"/>
                  </a:lnTo>
                  <a:lnTo>
                    <a:pt x="136" y="33"/>
                  </a:lnTo>
                  <a:lnTo>
                    <a:pt x="131" y="28"/>
                  </a:lnTo>
                  <a:lnTo>
                    <a:pt x="131" y="22"/>
                  </a:lnTo>
                  <a:lnTo>
                    <a:pt x="142" y="22"/>
                  </a:lnTo>
                  <a:lnTo>
                    <a:pt x="115" y="22"/>
                  </a:lnTo>
                  <a:lnTo>
                    <a:pt x="120" y="22"/>
                  </a:lnTo>
                  <a:lnTo>
                    <a:pt x="104" y="28"/>
                  </a:lnTo>
                  <a:lnTo>
                    <a:pt x="93" y="28"/>
                  </a:lnTo>
                  <a:lnTo>
                    <a:pt x="87" y="22"/>
                  </a:lnTo>
                  <a:lnTo>
                    <a:pt x="66" y="22"/>
                  </a:lnTo>
                  <a:lnTo>
                    <a:pt x="60" y="11"/>
                  </a:lnTo>
                  <a:lnTo>
                    <a:pt x="49" y="11"/>
                  </a:lnTo>
                  <a:lnTo>
                    <a:pt x="44" y="0"/>
                  </a:lnTo>
                  <a:lnTo>
                    <a:pt x="39" y="6"/>
                  </a:lnTo>
                  <a:lnTo>
                    <a:pt x="44" y="6"/>
                  </a:lnTo>
                  <a:lnTo>
                    <a:pt x="44" y="11"/>
                  </a:lnTo>
                  <a:lnTo>
                    <a:pt x="33" y="11"/>
                  </a:lnTo>
                  <a:lnTo>
                    <a:pt x="22" y="17"/>
                  </a:lnTo>
                  <a:lnTo>
                    <a:pt x="22" y="22"/>
                  </a:lnTo>
                  <a:lnTo>
                    <a:pt x="28" y="33"/>
                  </a:lnTo>
                  <a:lnTo>
                    <a:pt x="28" y="38"/>
                  </a:lnTo>
                  <a:lnTo>
                    <a:pt x="22" y="38"/>
                  </a:lnTo>
                  <a:lnTo>
                    <a:pt x="17" y="33"/>
                  </a:lnTo>
                  <a:lnTo>
                    <a:pt x="17" y="28"/>
                  </a:lnTo>
                  <a:lnTo>
                    <a:pt x="22" y="17"/>
                  </a:lnTo>
                  <a:lnTo>
                    <a:pt x="17" y="6"/>
                  </a:lnTo>
                  <a:lnTo>
                    <a:pt x="28"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5" name="Freeform 887"/>
            <p:cNvSpPr>
              <a:spLocks/>
            </p:cNvSpPr>
            <p:nvPr/>
          </p:nvSpPr>
          <p:spPr bwMode="auto">
            <a:xfrm>
              <a:off x="1925" y="2778"/>
              <a:ext cx="11" cy="6"/>
            </a:xfrm>
            <a:custGeom>
              <a:avLst/>
              <a:gdLst>
                <a:gd name="T0" fmla="*/ 6 w 11"/>
                <a:gd name="T1" fmla="*/ 0 h 6"/>
                <a:gd name="T2" fmla="*/ 11 w 11"/>
                <a:gd name="T3" fmla="*/ 6 h 6"/>
                <a:gd name="T4" fmla="*/ 6 w 11"/>
                <a:gd name="T5" fmla="*/ 6 h 6"/>
                <a:gd name="T6" fmla="*/ 0 w 11"/>
                <a:gd name="T7" fmla="*/ 6 h 6"/>
                <a:gd name="T8" fmla="*/ 6 w 11"/>
                <a:gd name="T9" fmla="*/ 0 h 6"/>
                <a:gd name="T10" fmla="*/ 0 60000 65536"/>
                <a:gd name="T11" fmla="*/ 0 60000 65536"/>
                <a:gd name="T12" fmla="*/ 0 60000 65536"/>
                <a:gd name="T13" fmla="*/ 0 60000 65536"/>
                <a:gd name="T14" fmla="*/ 0 60000 65536"/>
                <a:gd name="T15" fmla="*/ 0 w 11"/>
                <a:gd name="T16" fmla="*/ 0 h 6"/>
                <a:gd name="T17" fmla="*/ 11 w 11"/>
                <a:gd name="T18" fmla="*/ 6 h 6"/>
              </a:gdLst>
              <a:ahLst/>
              <a:cxnLst>
                <a:cxn ang="T10">
                  <a:pos x="T0" y="T1"/>
                </a:cxn>
                <a:cxn ang="T11">
                  <a:pos x="T2" y="T3"/>
                </a:cxn>
                <a:cxn ang="T12">
                  <a:pos x="T4" y="T5"/>
                </a:cxn>
                <a:cxn ang="T13">
                  <a:pos x="T6" y="T7"/>
                </a:cxn>
                <a:cxn ang="T14">
                  <a:pos x="T8" y="T9"/>
                </a:cxn>
              </a:cxnLst>
              <a:rect l="T15" t="T16" r="T17" b="T18"/>
              <a:pathLst>
                <a:path w="11" h="6">
                  <a:moveTo>
                    <a:pt x="6" y="0"/>
                  </a:moveTo>
                  <a:lnTo>
                    <a:pt x="11" y="6"/>
                  </a:lnTo>
                  <a:lnTo>
                    <a:pt x="6" y="6"/>
                  </a:lnTo>
                  <a:lnTo>
                    <a:pt x="0" y="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6" name="Freeform 888"/>
            <p:cNvSpPr>
              <a:spLocks/>
            </p:cNvSpPr>
            <p:nvPr/>
          </p:nvSpPr>
          <p:spPr bwMode="auto">
            <a:xfrm>
              <a:off x="1746" y="2767"/>
              <a:ext cx="152" cy="202"/>
            </a:xfrm>
            <a:custGeom>
              <a:avLst/>
              <a:gdLst>
                <a:gd name="T0" fmla="*/ 16 w 152"/>
                <a:gd name="T1" fmla="*/ 55 h 202"/>
                <a:gd name="T2" fmla="*/ 21 w 152"/>
                <a:gd name="T3" fmla="*/ 55 h 202"/>
                <a:gd name="T4" fmla="*/ 21 w 152"/>
                <a:gd name="T5" fmla="*/ 44 h 202"/>
                <a:gd name="T6" fmla="*/ 27 w 152"/>
                <a:gd name="T7" fmla="*/ 44 h 202"/>
                <a:gd name="T8" fmla="*/ 43 w 152"/>
                <a:gd name="T9" fmla="*/ 22 h 202"/>
                <a:gd name="T10" fmla="*/ 54 w 152"/>
                <a:gd name="T11" fmla="*/ 17 h 202"/>
                <a:gd name="T12" fmla="*/ 60 w 152"/>
                <a:gd name="T13" fmla="*/ 11 h 202"/>
                <a:gd name="T14" fmla="*/ 81 w 152"/>
                <a:gd name="T15" fmla="*/ 6 h 202"/>
                <a:gd name="T16" fmla="*/ 92 w 152"/>
                <a:gd name="T17" fmla="*/ 0 h 202"/>
                <a:gd name="T18" fmla="*/ 98 w 152"/>
                <a:gd name="T19" fmla="*/ 6 h 202"/>
                <a:gd name="T20" fmla="*/ 81 w 152"/>
                <a:gd name="T21" fmla="*/ 17 h 202"/>
                <a:gd name="T22" fmla="*/ 76 w 152"/>
                <a:gd name="T23" fmla="*/ 38 h 202"/>
                <a:gd name="T24" fmla="*/ 81 w 152"/>
                <a:gd name="T25" fmla="*/ 60 h 202"/>
                <a:gd name="T26" fmla="*/ 92 w 152"/>
                <a:gd name="T27" fmla="*/ 66 h 202"/>
                <a:gd name="T28" fmla="*/ 109 w 152"/>
                <a:gd name="T29" fmla="*/ 66 h 202"/>
                <a:gd name="T30" fmla="*/ 141 w 152"/>
                <a:gd name="T31" fmla="*/ 77 h 202"/>
                <a:gd name="T32" fmla="*/ 141 w 152"/>
                <a:gd name="T33" fmla="*/ 104 h 202"/>
                <a:gd name="T34" fmla="*/ 141 w 152"/>
                <a:gd name="T35" fmla="*/ 115 h 202"/>
                <a:gd name="T36" fmla="*/ 152 w 152"/>
                <a:gd name="T37" fmla="*/ 137 h 202"/>
                <a:gd name="T38" fmla="*/ 141 w 152"/>
                <a:gd name="T39" fmla="*/ 126 h 202"/>
                <a:gd name="T40" fmla="*/ 136 w 152"/>
                <a:gd name="T41" fmla="*/ 126 h 202"/>
                <a:gd name="T42" fmla="*/ 114 w 152"/>
                <a:gd name="T43" fmla="*/ 131 h 202"/>
                <a:gd name="T44" fmla="*/ 119 w 152"/>
                <a:gd name="T45" fmla="*/ 137 h 202"/>
                <a:gd name="T46" fmla="*/ 109 w 152"/>
                <a:gd name="T47" fmla="*/ 142 h 202"/>
                <a:gd name="T48" fmla="*/ 114 w 152"/>
                <a:gd name="T49" fmla="*/ 158 h 202"/>
                <a:gd name="T50" fmla="*/ 114 w 152"/>
                <a:gd name="T51" fmla="*/ 202 h 202"/>
                <a:gd name="T52" fmla="*/ 109 w 152"/>
                <a:gd name="T53" fmla="*/ 186 h 202"/>
                <a:gd name="T54" fmla="*/ 98 w 152"/>
                <a:gd name="T55" fmla="*/ 180 h 202"/>
                <a:gd name="T56" fmla="*/ 87 w 152"/>
                <a:gd name="T57" fmla="*/ 180 h 202"/>
                <a:gd name="T58" fmla="*/ 76 w 152"/>
                <a:gd name="T59" fmla="*/ 180 h 202"/>
                <a:gd name="T60" fmla="*/ 70 w 152"/>
                <a:gd name="T61" fmla="*/ 175 h 202"/>
                <a:gd name="T62" fmla="*/ 60 w 152"/>
                <a:gd name="T63" fmla="*/ 164 h 202"/>
                <a:gd name="T64" fmla="*/ 49 w 152"/>
                <a:gd name="T65" fmla="*/ 153 h 202"/>
                <a:gd name="T66" fmla="*/ 32 w 152"/>
                <a:gd name="T67" fmla="*/ 148 h 202"/>
                <a:gd name="T68" fmla="*/ 16 w 152"/>
                <a:gd name="T69" fmla="*/ 142 h 202"/>
                <a:gd name="T70" fmla="*/ 0 w 152"/>
                <a:gd name="T71" fmla="*/ 131 h 202"/>
                <a:gd name="T72" fmla="*/ 5 w 152"/>
                <a:gd name="T73" fmla="*/ 120 h 202"/>
                <a:gd name="T74" fmla="*/ 16 w 152"/>
                <a:gd name="T75" fmla="*/ 109 h 202"/>
                <a:gd name="T76" fmla="*/ 21 w 152"/>
                <a:gd name="T77" fmla="*/ 104 h 202"/>
                <a:gd name="T78" fmla="*/ 16 w 152"/>
                <a:gd name="T79" fmla="*/ 60 h 2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2"/>
                <a:gd name="T121" fmla="*/ 0 h 202"/>
                <a:gd name="T122" fmla="*/ 152 w 152"/>
                <a:gd name="T123" fmla="*/ 202 h 2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2" h="202">
                  <a:moveTo>
                    <a:pt x="16" y="60"/>
                  </a:moveTo>
                  <a:lnTo>
                    <a:pt x="16" y="55"/>
                  </a:lnTo>
                  <a:lnTo>
                    <a:pt x="21" y="55"/>
                  </a:lnTo>
                  <a:lnTo>
                    <a:pt x="21" y="49"/>
                  </a:lnTo>
                  <a:lnTo>
                    <a:pt x="21" y="44"/>
                  </a:lnTo>
                  <a:lnTo>
                    <a:pt x="27" y="55"/>
                  </a:lnTo>
                  <a:lnTo>
                    <a:pt x="27" y="44"/>
                  </a:lnTo>
                  <a:lnTo>
                    <a:pt x="43" y="33"/>
                  </a:lnTo>
                  <a:lnTo>
                    <a:pt x="43" y="22"/>
                  </a:lnTo>
                  <a:lnTo>
                    <a:pt x="49" y="17"/>
                  </a:lnTo>
                  <a:lnTo>
                    <a:pt x="54" y="17"/>
                  </a:lnTo>
                  <a:lnTo>
                    <a:pt x="60" y="11"/>
                  </a:lnTo>
                  <a:lnTo>
                    <a:pt x="70" y="11"/>
                  </a:lnTo>
                  <a:lnTo>
                    <a:pt x="81" y="6"/>
                  </a:lnTo>
                  <a:lnTo>
                    <a:pt x="87" y="0"/>
                  </a:lnTo>
                  <a:lnTo>
                    <a:pt x="92" y="0"/>
                  </a:lnTo>
                  <a:lnTo>
                    <a:pt x="98" y="0"/>
                  </a:lnTo>
                  <a:lnTo>
                    <a:pt x="98" y="6"/>
                  </a:lnTo>
                  <a:lnTo>
                    <a:pt x="87" y="6"/>
                  </a:lnTo>
                  <a:lnTo>
                    <a:pt x="81" y="17"/>
                  </a:lnTo>
                  <a:lnTo>
                    <a:pt x="70" y="38"/>
                  </a:lnTo>
                  <a:lnTo>
                    <a:pt x="76" y="38"/>
                  </a:lnTo>
                  <a:lnTo>
                    <a:pt x="81" y="49"/>
                  </a:lnTo>
                  <a:lnTo>
                    <a:pt x="81" y="60"/>
                  </a:lnTo>
                  <a:lnTo>
                    <a:pt x="87" y="66"/>
                  </a:lnTo>
                  <a:lnTo>
                    <a:pt x="92" y="66"/>
                  </a:lnTo>
                  <a:lnTo>
                    <a:pt x="103" y="66"/>
                  </a:lnTo>
                  <a:lnTo>
                    <a:pt x="109" y="66"/>
                  </a:lnTo>
                  <a:lnTo>
                    <a:pt x="119" y="77"/>
                  </a:lnTo>
                  <a:lnTo>
                    <a:pt x="141" y="77"/>
                  </a:lnTo>
                  <a:lnTo>
                    <a:pt x="136" y="93"/>
                  </a:lnTo>
                  <a:lnTo>
                    <a:pt x="141" y="104"/>
                  </a:lnTo>
                  <a:lnTo>
                    <a:pt x="147" y="109"/>
                  </a:lnTo>
                  <a:lnTo>
                    <a:pt x="141" y="115"/>
                  </a:lnTo>
                  <a:lnTo>
                    <a:pt x="147" y="120"/>
                  </a:lnTo>
                  <a:lnTo>
                    <a:pt x="152" y="137"/>
                  </a:lnTo>
                  <a:lnTo>
                    <a:pt x="147" y="137"/>
                  </a:lnTo>
                  <a:lnTo>
                    <a:pt x="141" y="126"/>
                  </a:lnTo>
                  <a:lnTo>
                    <a:pt x="136" y="131"/>
                  </a:lnTo>
                  <a:lnTo>
                    <a:pt x="136" y="126"/>
                  </a:lnTo>
                  <a:lnTo>
                    <a:pt x="130" y="131"/>
                  </a:lnTo>
                  <a:lnTo>
                    <a:pt x="114" y="131"/>
                  </a:lnTo>
                  <a:lnTo>
                    <a:pt x="114" y="137"/>
                  </a:lnTo>
                  <a:lnTo>
                    <a:pt x="119" y="137"/>
                  </a:lnTo>
                  <a:lnTo>
                    <a:pt x="119" y="142"/>
                  </a:lnTo>
                  <a:lnTo>
                    <a:pt x="109" y="142"/>
                  </a:lnTo>
                  <a:lnTo>
                    <a:pt x="109" y="153"/>
                  </a:lnTo>
                  <a:lnTo>
                    <a:pt x="114" y="158"/>
                  </a:lnTo>
                  <a:lnTo>
                    <a:pt x="119" y="164"/>
                  </a:lnTo>
                  <a:lnTo>
                    <a:pt x="114" y="202"/>
                  </a:lnTo>
                  <a:lnTo>
                    <a:pt x="103" y="197"/>
                  </a:lnTo>
                  <a:lnTo>
                    <a:pt x="109" y="186"/>
                  </a:lnTo>
                  <a:lnTo>
                    <a:pt x="109" y="180"/>
                  </a:lnTo>
                  <a:lnTo>
                    <a:pt x="98" y="180"/>
                  </a:lnTo>
                  <a:lnTo>
                    <a:pt x="87" y="180"/>
                  </a:lnTo>
                  <a:lnTo>
                    <a:pt x="81" y="180"/>
                  </a:lnTo>
                  <a:lnTo>
                    <a:pt x="76" y="180"/>
                  </a:lnTo>
                  <a:lnTo>
                    <a:pt x="70" y="175"/>
                  </a:lnTo>
                  <a:lnTo>
                    <a:pt x="65" y="164"/>
                  </a:lnTo>
                  <a:lnTo>
                    <a:pt x="60" y="164"/>
                  </a:lnTo>
                  <a:lnTo>
                    <a:pt x="54" y="153"/>
                  </a:lnTo>
                  <a:lnTo>
                    <a:pt x="49" y="153"/>
                  </a:lnTo>
                  <a:lnTo>
                    <a:pt x="38" y="148"/>
                  </a:lnTo>
                  <a:lnTo>
                    <a:pt x="32" y="148"/>
                  </a:lnTo>
                  <a:lnTo>
                    <a:pt x="21" y="148"/>
                  </a:lnTo>
                  <a:lnTo>
                    <a:pt x="16" y="142"/>
                  </a:lnTo>
                  <a:lnTo>
                    <a:pt x="5" y="137"/>
                  </a:lnTo>
                  <a:lnTo>
                    <a:pt x="0" y="131"/>
                  </a:lnTo>
                  <a:lnTo>
                    <a:pt x="5" y="131"/>
                  </a:lnTo>
                  <a:lnTo>
                    <a:pt x="5" y="120"/>
                  </a:lnTo>
                  <a:lnTo>
                    <a:pt x="16" y="115"/>
                  </a:lnTo>
                  <a:lnTo>
                    <a:pt x="16" y="109"/>
                  </a:lnTo>
                  <a:lnTo>
                    <a:pt x="27" y="104"/>
                  </a:lnTo>
                  <a:lnTo>
                    <a:pt x="21" y="104"/>
                  </a:lnTo>
                  <a:lnTo>
                    <a:pt x="21" y="71"/>
                  </a:lnTo>
                  <a:lnTo>
                    <a:pt x="16"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7" name="Freeform 889"/>
            <p:cNvSpPr>
              <a:spLocks/>
            </p:cNvSpPr>
            <p:nvPr/>
          </p:nvSpPr>
          <p:spPr bwMode="auto">
            <a:xfrm>
              <a:off x="1141" y="2194"/>
              <a:ext cx="60" cy="44"/>
            </a:xfrm>
            <a:custGeom>
              <a:avLst/>
              <a:gdLst>
                <a:gd name="T0" fmla="*/ 11 w 60"/>
                <a:gd name="T1" fmla="*/ 6 h 44"/>
                <a:gd name="T2" fmla="*/ 11 w 60"/>
                <a:gd name="T3" fmla="*/ 0 h 44"/>
                <a:gd name="T4" fmla="*/ 0 w 60"/>
                <a:gd name="T5" fmla="*/ 0 h 44"/>
                <a:gd name="T6" fmla="*/ 6 w 60"/>
                <a:gd name="T7" fmla="*/ 0 h 44"/>
                <a:gd name="T8" fmla="*/ 33 w 60"/>
                <a:gd name="T9" fmla="*/ 6 h 44"/>
                <a:gd name="T10" fmla="*/ 44 w 60"/>
                <a:gd name="T11" fmla="*/ 22 h 44"/>
                <a:gd name="T12" fmla="*/ 55 w 60"/>
                <a:gd name="T13" fmla="*/ 33 h 44"/>
                <a:gd name="T14" fmla="*/ 60 w 60"/>
                <a:gd name="T15" fmla="*/ 44 h 44"/>
                <a:gd name="T16" fmla="*/ 60 w 60"/>
                <a:gd name="T17" fmla="*/ 44 h 44"/>
                <a:gd name="T18" fmla="*/ 44 w 60"/>
                <a:gd name="T19" fmla="*/ 38 h 44"/>
                <a:gd name="T20" fmla="*/ 44 w 60"/>
                <a:gd name="T21" fmla="*/ 38 h 44"/>
                <a:gd name="T22" fmla="*/ 44 w 60"/>
                <a:gd name="T23" fmla="*/ 38 h 44"/>
                <a:gd name="T24" fmla="*/ 39 w 60"/>
                <a:gd name="T25" fmla="*/ 38 h 44"/>
                <a:gd name="T26" fmla="*/ 44 w 60"/>
                <a:gd name="T27" fmla="*/ 33 h 44"/>
                <a:gd name="T28" fmla="*/ 33 w 60"/>
                <a:gd name="T29" fmla="*/ 33 h 44"/>
                <a:gd name="T30" fmla="*/ 33 w 60"/>
                <a:gd name="T31" fmla="*/ 33 h 44"/>
                <a:gd name="T32" fmla="*/ 33 w 60"/>
                <a:gd name="T33" fmla="*/ 33 h 44"/>
                <a:gd name="T34" fmla="*/ 33 w 60"/>
                <a:gd name="T35" fmla="*/ 28 h 44"/>
                <a:gd name="T36" fmla="*/ 22 w 60"/>
                <a:gd name="T37" fmla="*/ 28 h 44"/>
                <a:gd name="T38" fmla="*/ 22 w 60"/>
                <a:gd name="T39" fmla="*/ 22 h 44"/>
                <a:gd name="T40" fmla="*/ 28 w 60"/>
                <a:gd name="T41" fmla="*/ 22 h 44"/>
                <a:gd name="T42" fmla="*/ 17 w 60"/>
                <a:gd name="T43" fmla="*/ 17 h 44"/>
                <a:gd name="T44" fmla="*/ 11 w 60"/>
                <a:gd name="T45" fmla="*/ 11 h 44"/>
                <a:gd name="T46" fmla="*/ 11 w 60"/>
                <a:gd name="T47" fmla="*/ 11 h 44"/>
                <a:gd name="T48" fmla="*/ 6 w 60"/>
                <a:gd name="T49" fmla="*/ 11 h 44"/>
                <a:gd name="T50" fmla="*/ 6 w 60"/>
                <a:gd name="T51" fmla="*/ 6 h 44"/>
                <a:gd name="T52" fmla="*/ 11 w 60"/>
                <a:gd name="T53" fmla="*/ 6 h 4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0"/>
                <a:gd name="T82" fmla="*/ 0 h 44"/>
                <a:gd name="T83" fmla="*/ 60 w 60"/>
                <a:gd name="T84" fmla="*/ 44 h 4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0" h="44">
                  <a:moveTo>
                    <a:pt x="11" y="6"/>
                  </a:moveTo>
                  <a:lnTo>
                    <a:pt x="11" y="0"/>
                  </a:lnTo>
                  <a:lnTo>
                    <a:pt x="0" y="0"/>
                  </a:lnTo>
                  <a:lnTo>
                    <a:pt x="6" y="0"/>
                  </a:lnTo>
                  <a:lnTo>
                    <a:pt x="33" y="6"/>
                  </a:lnTo>
                  <a:lnTo>
                    <a:pt x="44" y="22"/>
                  </a:lnTo>
                  <a:lnTo>
                    <a:pt x="55" y="33"/>
                  </a:lnTo>
                  <a:lnTo>
                    <a:pt x="60" y="44"/>
                  </a:lnTo>
                  <a:lnTo>
                    <a:pt x="44" y="38"/>
                  </a:lnTo>
                  <a:lnTo>
                    <a:pt x="39" y="38"/>
                  </a:lnTo>
                  <a:lnTo>
                    <a:pt x="44" y="33"/>
                  </a:lnTo>
                  <a:lnTo>
                    <a:pt x="33" y="33"/>
                  </a:lnTo>
                  <a:lnTo>
                    <a:pt x="33" y="28"/>
                  </a:lnTo>
                  <a:lnTo>
                    <a:pt x="22" y="28"/>
                  </a:lnTo>
                  <a:lnTo>
                    <a:pt x="22" y="22"/>
                  </a:lnTo>
                  <a:lnTo>
                    <a:pt x="28" y="22"/>
                  </a:lnTo>
                  <a:lnTo>
                    <a:pt x="17" y="17"/>
                  </a:lnTo>
                  <a:lnTo>
                    <a:pt x="11" y="11"/>
                  </a:lnTo>
                  <a:lnTo>
                    <a:pt x="6" y="11"/>
                  </a:lnTo>
                  <a:lnTo>
                    <a:pt x="6" y="6"/>
                  </a:lnTo>
                  <a:lnTo>
                    <a:pt x="11"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8" name="Freeform 890"/>
            <p:cNvSpPr>
              <a:spLocks/>
            </p:cNvSpPr>
            <p:nvPr/>
          </p:nvSpPr>
          <p:spPr bwMode="auto">
            <a:xfrm>
              <a:off x="1120" y="2134"/>
              <a:ext cx="11" cy="11"/>
            </a:xfrm>
            <a:custGeom>
              <a:avLst/>
              <a:gdLst>
                <a:gd name="T0" fmla="*/ 5 w 11"/>
                <a:gd name="T1" fmla="*/ 0 h 11"/>
                <a:gd name="T2" fmla="*/ 11 w 11"/>
                <a:gd name="T3" fmla="*/ 6 h 11"/>
                <a:gd name="T4" fmla="*/ 5 w 11"/>
                <a:gd name="T5" fmla="*/ 11 h 11"/>
                <a:gd name="T6" fmla="*/ 0 w 11"/>
                <a:gd name="T7" fmla="*/ 0 h 11"/>
                <a:gd name="T8" fmla="*/ 5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5" y="0"/>
                  </a:moveTo>
                  <a:lnTo>
                    <a:pt x="11" y="6"/>
                  </a:lnTo>
                  <a:lnTo>
                    <a:pt x="5" y="11"/>
                  </a:lnTo>
                  <a:lnTo>
                    <a:pt x="0" y="0"/>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69" name="Freeform 891"/>
            <p:cNvSpPr>
              <a:spLocks/>
            </p:cNvSpPr>
            <p:nvPr/>
          </p:nvSpPr>
          <p:spPr bwMode="auto">
            <a:xfrm>
              <a:off x="1114" y="2134"/>
              <a:ext cx="11" cy="11"/>
            </a:xfrm>
            <a:custGeom>
              <a:avLst/>
              <a:gdLst>
                <a:gd name="T0" fmla="*/ 0 w 11"/>
                <a:gd name="T1" fmla="*/ 0 h 11"/>
                <a:gd name="T2" fmla="*/ 6 w 11"/>
                <a:gd name="T3" fmla="*/ 6 h 11"/>
                <a:gd name="T4" fmla="*/ 11 w 11"/>
                <a:gd name="T5" fmla="*/ 11 h 11"/>
                <a:gd name="T6" fmla="*/ 0 w 11"/>
                <a:gd name="T7" fmla="*/ 0 h 11"/>
                <a:gd name="T8" fmla="*/ 0 60000 65536"/>
                <a:gd name="T9" fmla="*/ 0 60000 65536"/>
                <a:gd name="T10" fmla="*/ 0 60000 65536"/>
                <a:gd name="T11" fmla="*/ 0 60000 65536"/>
                <a:gd name="T12" fmla="*/ 0 w 11"/>
                <a:gd name="T13" fmla="*/ 0 h 11"/>
                <a:gd name="T14" fmla="*/ 11 w 11"/>
                <a:gd name="T15" fmla="*/ 11 h 11"/>
              </a:gdLst>
              <a:ahLst/>
              <a:cxnLst>
                <a:cxn ang="T8">
                  <a:pos x="T0" y="T1"/>
                </a:cxn>
                <a:cxn ang="T9">
                  <a:pos x="T2" y="T3"/>
                </a:cxn>
                <a:cxn ang="T10">
                  <a:pos x="T4" y="T5"/>
                </a:cxn>
                <a:cxn ang="T11">
                  <a:pos x="T6" y="T7"/>
                </a:cxn>
              </a:cxnLst>
              <a:rect l="T12" t="T13" r="T14" b="T15"/>
              <a:pathLst>
                <a:path w="11" h="11">
                  <a:moveTo>
                    <a:pt x="0" y="0"/>
                  </a:moveTo>
                  <a:lnTo>
                    <a:pt x="6" y="6"/>
                  </a:lnTo>
                  <a:lnTo>
                    <a:pt x="11"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0" name="Freeform 892"/>
            <p:cNvSpPr>
              <a:spLocks/>
            </p:cNvSpPr>
            <p:nvPr/>
          </p:nvSpPr>
          <p:spPr bwMode="auto">
            <a:xfrm>
              <a:off x="1114" y="2129"/>
              <a:ext cx="6" cy="0"/>
            </a:xfrm>
            <a:custGeom>
              <a:avLst/>
              <a:gdLst>
                <a:gd name="T0" fmla="*/ 0 w 6"/>
                <a:gd name="T1" fmla="*/ 0 w 6"/>
                <a:gd name="T2" fmla="*/ 6 w 6"/>
                <a:gd name="T3" fmla="*/ 0 w 6"/>
                <a:gd name="T4" fmla="*/ 0 60000 65536"/>
                <a:gd name="T5" fmla="*/ 0 60000 65536"/>
                <a:gd name="T6" fmla="*/ 0 60000 65536"/>
                <a:gd name="T7" fmla="*/ 0 60000 65536"/>
                <a:gd name="T8" fmla="*/ 0 w 6"/>
                <a:gd name="T9" fmla="*/ 6 w 6"/>
              </a:gdLst>
              <a:ahLst/>
              <a:cxnLst>
                <a:cxn ang="T4">
                  <a:pos x="T0" y="0"/>
                </a:cxn>
                <a:cxn ang="T5">
                  <a:pos x="T1" y="0"/>
                </a:cxn>
                <a:cxn ang="T6">
                  <a:pos x="T2" y="0"/>
                </a:cxn>
                <a:cxn ang="T7">
                  <a:pos x="T3" y="0"/>
                </a:cxn>
              </a:cxnLst>
              <a:rect l="T8" t="0" r="T9" b="0"/>
              <a:pathLst>
                <a:path w="6">
                  <a:moveTo>
                    <a:pt x="0" y="0"/>
                  </a:moveTo>
                  <a:lnTo>
                    <a:pt x="0" y="0"/>
                  </a:lnTo>
                  <a:lnTo>
                    <a:pt x="6" y="0"/>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1" name="Freeform 893"/>
            <p:cNvSpPr>
              <a:spLocks/>
            </p:cNvSpPr>
            <p:nvPr/>
          </p:nvSpPr>
          <p:spPr bwMode="auto">
            <a:xfrm>
              <a:off x="1092" y="2145"/>
              <a:ext cx="11" cy="22"/>
            </a:xfrm>
            <a:custGeom>
              <a:avLst/>
              <a:gdLst>
                <a:gd name="T0" fmla="*/ 0 w 11"/>
                <a:gd name="T1" fmla="*/ 11 h 22"/>
                <a:gd name="T2" fmla="*/ 0 w 11"/>
                <a:gd name="T3" fmla="*/ 6 h 22"/>
                <a:gd name="T4" fmla="*/ 0 w 11"/>
                <a:gd name="T5" fmla="*/ 6 h 22"/>
                <a:gd name="T6" fmla="*/ 0 w 11"/>
                <a:gd name="T7" fmla="*/ 6 h 22"/>
                <a:gd name="T8" fmla="*/ 0 w 11"/>
                <a:gd name="T9" fmla="*/ 6 h 22"/>
                <a:gd name="T10" fmla="*/ 6 w 11"/>
                <a:gd name="T11" fmla="*/ 0 h 22"/>
                <a:gd name="T12" fmla="*/ 11 w 11"/>
                <a:gd name="T13" fmla="*/ 0 h 22"/>
                <a:gd name="T14" fmla="*/ 6 w 11"/>
                <a:gd name="T15" fmla="*/ 6 h 22"/>
                <a:gd name="T16" fmla="*/ 11 w 11"/>
                <a:gd name="T17" fmla="*/ 6 h 22"/>
                <a:gd name="T18" fmla="*/ 6 w 11"/>
                <a:gd name="T19" fmla="*/ 6 h 22"/>
                <a:gd name="T20" fmla="*/ 6 w 11"/>
                <a:gd name="T21" fmla="*/ 11 h 22"/>
                <a:gd name="T22" fmla="*/ 11 w 11"/>
                <a:gd name="T23" fmla="*/ 22 h 22"/>
                <a:gd name="T24" fmla="*/ 0 w 11"/>
                <a:gd name="T25" fmla="*/ 11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2"/>
                <a:gd name="T41" fmla="*/ 11 w 11"/>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2">
                  <a:moveTo>
                    <a:pt x="0" y="11"/>
                  </a:moveTo>
                  <a:lnTo>
                    <a:pt x="0" y="6"/>
                  </a:lnTo>
                  <a:lnTo>
                    <a:pt x="6" y="0"/>
                  </a:lnTo>
                  <a:lnTo>
                    <a:pt x="11" y="0"/>
                  </a:lnTo>
                  <a:lnTo>
                    <a:pt x="6" y="6"/>
                  </a:lnTo>
                  <a:lnTo>
                    <a:pt x="11" y="6"/>
                  </a:lnTo>
                  <a:lnTo>
                    <a:pt x="6" y="6"/>
                  </a:lnTo>
                  <a:lnTo>
                    <a:pt x="6" y="11"/>
                  </a:lnTo>
                  <a:lnTo>
                    <a:pt x="11" y="22"/>
                  </a:lnTo>
                  <a:lnTo>
                    <a:pt x="0"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2" name="Freeform 894"/>
            <p:cNvSpPr>
              <a:spLocks/>
            </p:cNvSpPr>
            <p:nvPr/>
          </p:nvSpPr>
          <p:spPr bwMode="auto">
            <a:xfrm>
              <a:off x="1082" y="2123"/>
              <a:ext cx="21" cy="22"/>
            </a:xfrm>
            <a:custGeom>
              <a:avLst/>
              <a:gdLst>
                <a:gd name="T0" fmla="*/ 16 w 21"/>
                <a:gd name="T1" fmla="*/ 6 h 22"/>
                <a:gd name="T2" fmla="*/ 16 w 21"/>
                <a:gd name="T3" fmla="*/ 0 h 22"/>
                <a:gd name="T4" fmla="*/ 21 w 21"/>
                <a:gd name="T5" fmla="*/ 6 h 22"/>
                <a:gd name="T6" fmla="*/ 16 w 21"/>
                <a:gd name="T7" fmla="*/ 17 h 22"/>
                <a:gd name="T8" fmla="*/ 10 w 21"/>
                <a:gd name="T9" fmla="*/ 22 h 22"/>
                <a:gd name="T10" fmla="*/ 10 w 21"/>
                <a:gd name="T11" fmla="*/ 17 h 22"/>
                <a:gd name="T12" fmla="*/ 10 w 21"/>
                <a:gd name="T13" fmla="*/ 17 h 22"/>
                <a:gd name="T14" fmla="*/ 5 w 21"/>
                <a:gd name="T15" fmla="*/ 17 h 22"/>
                <a:gd name="T16" fmla="*/ 0 w 21"/>
                <a:gd name="T17" fmla="*/ 6 h 22"/>
                <a:gd name="T18" fmla="*/ 0 w 21"/>
                <a:gd name="T19" fmla="*/ 0 h 22"/>
                <a:gd name="T20" fmla="*/ 5 w 21"/>
                <a:gd name="T21" fmla="*/ 0 h 22"/>
                <a:gd name="T22" fmla="*/ 5 w 21"/>
                <a:gd name="T23" fmla="*/ 6 h 22"/>
                <a:gd name="T24" fmla="*/ 10 w 21"/>
                <a:gd name="T25" fmla="*/ 6 h 22"/>
                <a:gd name="T26" fmla="*/ 10 w 21"/>
                <a:gd name="T27" fmla="*/ 11 h 22"/>
                <a:gd name="T28" fmla="*/ 5 w 21"/>
                <a:gd name="T29" fmla="*/ 11 h 22"/>
                <a:gd name="T30" fmla="*/ 10 w 21"/>
                <a:gd name="T31" fmla="*/ 17 h 22"/>
                <a:gd name="T32" fmla="*/ 16 w 21"/>
                <a:gd name="T33" fmla="*/ 6 h 2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
                <a:gd name="T52" fmla="*/ 0 h 22"/>
                <a:gd name="T53" fmla="*/ 21 w 21"/>
                <a:gd name="T54" fmla="*/ 22 h 2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 h="22">
                  <a:moveTo>
                    <a:pt x="16" y="6"/>
                  </a:moveTo>
                  <a:lnTo>
                    <a:pt x="16" y="0"/>
                  </a:lnTo>
                  <a:lnTo>
                    <a:pt x="21" y="6"/>
                  </a:lnTo>
                  <a:lnTo>
                    <a:pt x="16" y="17"/>
                  </a:lnTo>
                  <a:lnTo>
                    <a:pt x="10" y="22"/>
                  </a:lnTo>
                  <a:lnTo>
                    <a:pt x="10" y="17"/>
                  </a:lnTo>
                  <a:lnTo>
                    <a:pt x="5" y="17"/>
                  </a:lnTo>
                  <a:lnTo>
                    <a:pt x="0" y="6"/>
                  </a:lnTo>
                  <a:lnTo>
                    <a:pt x="0" y="0"/>
                  </a:lnTo>
                  <a:lnTo>
                    <a:pt x="5" y="0"/>
                  </a:lnTo>
                  <a:lnTo>
                    <a:pt x="5" y="6"/>
                  </a:lnTo>
                  <a:lnTo>
                    <a:pt x="10" y="6"/>
                  </a:lnTo>
                  <a:lnTo>
                    <a:pt x="10" y="11"/>
                  </a:lnTo>
                  <a:lnTo>
                    <a:pt x="5" y="11"/>
                  </a:lnTo>
                  <a:lnTo>
                    <a:pt x="10" y="17"/>
                  </a:lnTo>
                  <a:lnTo>
                    <a:pt x="1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3" name="Freeform 895"/>
            <p:cNvSpPr>
              <a:spLocks/>
            </p:cNvSpPr>
            <p:nvPr/>
          </p:nvSpPr>
          <p:spPr bwMode="auto">
            <a:xfrm>
              <a:off x="1272" y="1398"/>
              <a:ext cx="153" cy="120"/>
            </a:xfrm>
            <a:custGeom>
              <a:avLst/>
              <a:gdLst>
                <a:gd name="T0" fmla="*/ 104 w 153"/>
                <a:gd name="T1" fmla="*/ 5 h 120"/>
                <a:gd name="T2" fmla="*/ 114 w 153"/>
                <a:gd name="T3" fmla="*/ 11 h 120"/>
                <a:gd name="T4" fmla="*/ 114 w 153"/>
                <a:gd name="T5" fmla="*/ 21 h 120"/>
                <a:gd name="T6" fmla="*/ 114 w 153"/>
                <a:gd name="T7" fmla="*/ 43 h 120"/>
                <a:gd name="T8" fmla="*/ 120 w 153"/>
                <a:gd name="T9" fmla="*/ 54 h 120"/>
                <a:gd name="T10" fmla="*/ 131 w 153"/>
                <a:gd name="T11" fmla="*/ 60 h 120"/>
                <a:gd name="T12" fmla="*/ 147 w 153"/>
                <a:gd name="T13" fmla="*/ 49 h 120"/>
                <a:gd name="T14" fmla="*/ 142 w 153"/>
                <a:gd name="T15" fmla="*/ 92 h 120"/>
                <a:gd name="T16" fmla="*/ 109 w 153"/>
                <a:gd name="T17" fmla="*/ 98 h 120"/>
                <a:gd name="T18" fmla="*/ 109 w 153"/>
                <a:gd name="T19" fmla="*/ 87 h 120"/>
                <a:gd name="T20" fmla="*/ 44 w 153"/>
                <a:gd name="T21" fmla="*/ 120 h 120"/>
                <a:gd name="T22" fmla="*/ 38 w 153"/>
                <a:gd name="T23" fmla="*/ 103 h 120"/>
                <a:gd name="T24" fmla="*/ 76 w 153"/>
                <a:gd name="T25" fmla="*/ 98 h 120"/>
                <a:gd name="T26" fmla="*/ 65 w 153"/>
                <a:gd name="T27" fmla="*/ 87 h 120"/>
                <a:gd name="T28" fmla="*/ 60 w 153"/>
                <a:gd name="T29" fmla="*/ 87 h 120"/>
                <a:gd name="T30" fmla="*/ 44 w 153"/>
                <a:gd name="T31" fmla="*/ 92 h 120"/>
                <a:gd name="T32" fmla="*/ 49 w 153"/>
                <a:gd name="T33" fmla="*/ 76 h 120"/>
                <a:gd name="T34" fmla="*/ 44 w 153"/>
                <a:gd name="T35" fmla="*/ 76 h 120"/>
                <a:gd name="T36" fmla="*/ 38 w 153"/>
                <a:gd name="T37" fmla="*/ 81 h 120"/>
                <a:gd name="T38" fmla="*/ 33 w 153"/>
                <a:gd name="T39" fmla="*/ 98 h 120"/>
                <a:gd name="T40" fmla="*/ 27 w 153"/>
                <a:gd name="T41" fmla="*/ 98 h 120"/>
                <a:gd name="T42" fmla="*/ 16 w 153"/>
                <a:gd name="T43" fmla="*/ 87 h 120"/>
                <a:gd name="T44" fmla="*/ 6 w 153"/>
                <a:gd name="T45" fmla="*/ 71 h 120"/>
                <a:gd name="T46" fmla="*/ 33 w 153"/>
                <a:gd name="T47" fmla="*/ 60 h 120"/>
                <a:gd name="T48" fmla="*/ 6 w 153"/>
                <a:gd name="T49" fmla="*/ 60 h 120"/>
                <a:gd name="T50" fmla="*/ 11 w 153"/>
                <a:gd name="T51" fmla="*/ 54 h 120"/>
                <a:gd name="T52" fmla="*/ 38 w 153"/>
                <a:gd name="T53" fmla="*/ 38 h 120"/>
                <a:gd name="T54" fmla="*/ 33 w 153"/>
                <a:gd name="T55" fmla="*/ 21 h 120"/>
                <a:gd name="T56" fmla="*/ 44 w 153"/>
                <a:gd name="T57" fmla="*/ 38 h 120"/>
                <a:gd name="T58" fmla="*/ 71 w 153"/>
                <a:gd name="T59" fmla="*/ 49 h 120"/>
                <a:gd name="T60" fmla="*/ 76 w 153"/>
                <a:gd name="T61" fmla="*/ 54 h 120"/>
                <a:gd name="T62" fmla="*/ 109 w 153"/>
                <a:gd name="T63" fmla="*/ 71 h 120"/>
                <a:gd name="T64" fmla="*/ 93 w 153"/>
                <a:gd name="T65" fmla="*/ 49 h 120"/>
                <a:gd name="T66" fmla="*/ 93 w 153"/>
                <a:gd name="T67" fmla="*/ 27 h 120"/>
                <a:gd name="T68" fmla="*/ 93 w 153"/>
                <a:gd name="T69" fmla="*/ 21 h 12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3"/>
                <a:gd name="T106" fmla="*/ 0 h 120"/>
                <a:gd name="T107" fmla="*/ 153 w 153"/>
                <a:gd name="T108" fmla="*/ 120 h 12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3" h="120">
                  <a:moveTo>
                    <a:pt x="93" y="21"/>
                  </a:moveTo>
                  <a:lnTo>
                    <a:pt x="104" y="5"/>
                  </a:lnTo>
                  <a:lnTo>
                    <a:pt x="109" y="0"/>
                  </a:lnTo>
                  <a:lnTo>
                    <a:pt x="114" y="11"/>
                  </a:lnTo>
                  <a:lnTo>
                    <a:pt x="109" y="11"/>
                  </a:lnTo>
                  <a:lnTo>
                    <a:pt x="114" y="21"/>
                  </a:lnTo>
                  <a:lnTo>
                    <a:pt x="120" y="32"/>
                  </a:lnTo>
                  <a:lnTo>
                    <a:pt x="114" y="43"/>
                  </a:lnTo>
                  <a:lnTo>
                    <a:pt x="125" y="49"/>
                  </a:lnTo>
                  <a:lnTo>
                    <a:pt x="120" y="54"/>
                  </a:lnTo>
                  <a:lnTo>
                    <a:pt x="131" y="49"/>
                  </a:lnTo>
                  <a:lnTo>
                    <a:pt x="131" y="60"/>
                  </a:lnTo>
                  <a:lnTo>
                    <a:pt x="136" y="43"/>
                  </a:lnTo>
                  <a:lnTo>
                    <a:pt x="147" y="49"/>
                  </a:lnTo>
                  <a:lnTo>
                    <a:pt x="153" y="65"/>
                  </a:lnTo>
                  <a:lnTo>
                    <a:pt x="142" y="92"/>
                  </a:lnTo>
                  <a:lnTo>
                    <a:pt x="114" y="98"/>
                  </a:lnTo>
                  <a:lnTo>
                    <a:pt x="109" y="98"/>
                  </a:lnTo>
                  <a:lnTo>
                    <a:pt x="114" y="92"/>
                  </a:lnTo>
                  <a:lnTo>
                    <a:pt x="109" y="87"/>
                  </a:lnTo>
                  <a:lnTo>
                    <a:pt x="60" y="120"/>
                  </a:lnTo>
                  <a:lnTo>
                    <a:pt x="44" y="120"/>
                  </a:lnTo>
                  <a:lnTo>
                    <a:pt x="38" y="109"/>
                  </a:lnTo>
                  <a:lnTo>
                    <a:pt x="38" y="103"/>
                  </a:lnTo>
                  <a:lnTo>
                    <a:pt x="55" y="92"/>
                  </a:lnTo>
                  <a:lnTo>
                    <a:pt x="76" y="98"/>
                  </a:lnTo>
                  <a:lnTo>
                    <a:pt x="82" y="81"/>
                  </a:lnTo>
                  <a:lnTo>
                    <a:pt x="65" y="87"/>
                  </a:lnTo>
                  <a:lnTo>
                    <a:pt x="60" y="81"/>
                  </a:lnTo>
                  <a:lnTo>
                    <a:pt x="60" y="87"/>
                  </a:lnTo>
                  <a:lnTo>
                    <a:pt x="49" y="92"/>
                  </a:lnTo>
                  <a:lnTo>
                    <a:pt x="44" y="92"/>
                  </a:lnTo>
                  <a:lnTo>
                    <a:pt x="49" y="87"/>
                  </a:lnTo>
                  <a:lnTo>
                    <a:pt x="49" y="76"/>
                  </a:lnTo>
                  <a:lnTo>
                    <a:pt x="55" y="76"/>
                  </a:lnTo>
                  <a:lnTo>
                    <a:pt x="44" y="76"/>
                  </a:lnTo>
                  <a:lnTo>
                    <a:pt x="44" y="81"/>
                  </a:lnTo>
                  <a:lnTo>
                    <a:pt x="38" y="81"/>
                  </a:lnTo>
                  <a:lnTo>
                    <a:pt x="38" y="92"/>
                  </a:lnTo>
                  <a:lnTo>
                    <a:pt x="33" y="98"/>
                  </a:lnTo>
                  <a:lnTo>
                    <a:pt x="27" y="87"/>
                  </a:lnTo>
                  <a:lnTo>
                    <a:pt x="27" y="98"/>
                  </a:lnTo>
                  <a:lnTo>
                    <a:pt x="16" y="92"/>
                  </a:lnTo>
                  <a:lnTo>
                    <a:pt x="16" y="87"/>
                  </a:lnTo>
                  <a:lnTo>
                    <a:pt x="0" y="81"/>
                  </a:lnTo>
                  <a:lnTo>
                    <a:pt x="6" y="71"/>
                  </a:lnTo>
                  <a:lnTo>
                    <a:pt x="22" y="71"/>
                  </a:lnTo>
                  <a:lnTo>
                    <a:pt x="33" y="60"/>
                  </a:lnTo>
                  <a:lnTo>
                    <a:pt x="16" y="71"/>
                  </a:lnTo>
                  <a:lnTo>
                    <a:pt x="6" y="60"/>
                  </a:lnTo>
                  <a:lnTo>
                    <a:pt x="38" y="49"/>
                  </a:lnTo>
                  <a:lnTo>
                    <a:pt x="11" y="54"/>
                  </a:lnTo>
                  <a:lnTo>
                    <a:pt x="16" y="38"/>
                  </a:lnTo>
                  <a:lnTo>
                    <a:pt x="38" y="38"/>
                  </a:lnTo>
                  <a:lnTo>
                    <a:pt x="22" y="32"/>
                  </a:lnTo>
                  <a:lnTo>
                    <a:pt x="33" y="21"/>
                  </a:lnTo>
                  <a:lnTo>
                    <a:pt x="44" y="21"/>
                  </a:lnTo>
                  <a:lnTo>
                    <a:pt x="44" y="38"/>
                  </a:lnTo>
                  <a:lnTo>
                    <a:pt x="65" y="38"/>
                  </a:lnTo>
                  <a:lnTo>
                    <a:pt x="71" y="49"/>
                  </a:lnTo>
                  <a:lnTo>
                    <a:pt x="65" y="54"/>
                  </a:lnTo>
                  <a:lnTo>
                    <a:pt x="76" y="54"/>
                  </a:lnTo>
                  <a:lnTo>
                    <a:pt x="76" y="71"/>
                  </a:lnTo>
                  <a:lnTo>
                    <a:pt x="109" y="71"/>
                  </a:lnTo>
                  <a:lnTo>
                    <a:pt x="109" y="60"/>
                  </a:lnTo>
                  <a:lnTo>
                    <a:pt x="93" y="49"/>
                  </a:lnTo>
                  <a:lnTo>
                    <a:pt x="104" y="43"/>
                  </a:lnTo>
                  <a:lnTo>
                    <a:pt x="93" y="27"/>
                  </a:lnTo>
                  <a:lnTo>
                    <a:pt x="87" y="21"/>
                  </a:lnTo>
                  <a:lnTo>
                    <a:pt x="93" y="2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4" name="Freeform 896"/>
            <p:cNvSpPr>
              <a:spLocks/>
            </p:cNvSpPr>
            <p:nvPr/>
          </p:nvSpPr>
          <p:spPr bwMode="auto">
            <a:xfrm>
              <a:off x="1528" y="1392"/>
              <a:ext cx="212" cy="126"/>
            </a:xfrm>
            <a:custGeom>
              <a:avLst/>
              <a:gdLst>
                <a:gd name="T0" fmla="*/ 5 w 212"/>
                <a:gd name="T1" fmla="*/ 0 h 126"/>
                <a:gd name="T2" fmla="*/ 5 w 212"/>
                <a:gd name="T3" fmla="*/ 11 h 126"/>
                <a:gd name="T4" fmla="*/ 22 w 212"/>
                <a:gd name="T5" fmla="*/ 44 h 126"/>
                <a:gd name="T6" fmla="*/ 60 w 212"/>
                <a:gd name="T7" fmla="*/ 77 h 126"/>
                <a:gd name="T8" fmla="*/ 49 w 212"/>
                <a:gd name="T9" fmla="*/ 93 h 126"/>
                <a:gd name="T10" fmla="*/ 54 w 212"/>
                <a:gd name="T11" fmla="*/ 104 h 126"/>
                <a:gd name="T12" fmla="*/ 65 w 212"/>
                <a:gd name="T13" fmla="*/ 120 h 126"/>
                <a:gd name="T14" fmla="*/ 71 w 212"/>
                <a:gd name="T15" fmla="*/ 115 h 126"/>
                <a:gd name="T16" fmla="*/ 71 w 212"/>
                <a:gd name="T17" fmla="*/ 115 h 126"/>
                <a:gd name="T18" fmla="*/ 92 w 212"/>
                <a:gd name="T19" fmla="*/ 120 h 126"/>
                <a:gd name="T20" fmla="*/ 92 w 212"/>
                <a:gd name="T21" fmla="*/ 120 h 126"/>
                <a:gd name="T22" fmla="*/ 98 w 212"/>
                <a:gd name="T23" fmla="*/ 109 h 126"/>
                <a:gd name="T24" fmla="*/ 98 w 212"/>
                <a:gd name="T25" fmla="*/ 126 h 126"/>
                <a:gd name="T26" fmla="*/ 136 w 212"/>
                <a:gd name="T27" fmla="*/ 126 h 126"/>
                <a:gd name="T28" fmla="*/ 141 w 212"/>
                <a:gd name="T29" fmla="*/ 126 h 126"/>
                <a:gd name="T30" fmla="*/ 147 w 212"/>
                <a:gd name="T31" fmla="*/ 126 h 126"/>
                <a:gd name="T32" fmla="*/ 163 w 212"/>
                <a:gd name="T33" fmla="*/ 115 h 126"/>
                <a:gd name="T34" fmla="*/ 169 w 212"/>
                <a:gd name="T35" fmla="*/ 109 h 126"/>
                <a:gd name="T36" fmla="*/ 174 w 212"/>
                <a:gd name="T37" fmla="*/ 126 h 126"/>
                <a:gd name="T38" fmla="*/ 201 w 212"/>
                <a:gd name="T39" fmla="*/ 120 h 126"/>
                <a:gd name="T40" fmla="*/ 212 w 212"/>
                <a:gd name="T41" fmla="*/ 87 h 126"/>
                <a:gd name="T42" fmla="*/ 174 w 212"/>
                <a:gd name="T43" fmla="*/ 60 h 126"/>
                <a:gd name="T44" fmla="*/ 136 w 212"/>
                <a:gd name="T45" fmla="*/ 82 h 126"/>
                <a:gd name="T46" fmla="*/ 125 w 212"/>
                <a:gd name="T47" fmla="*/ 82 h 126"/>
                <a:gd name="T48" fmla="*/ 109 w 212"/>
                <a:gd name="T49" fmla="*/ 82 h 126"/>
                <a:gd name="T50" fmla="*/ 103 w 212"/>
                <a:gd name="T51" fmla="*/ 82 h 126"/>
                <a:gd name="T52" fmla="*/ 92 w 212"/>
                <a:gd name="T53" fmla="*/ 82 h 126"/>
                <a:gd name="T54" fmla="*/ 92 w 212"/>
                <a:gd name="T55" fmla="*/ 71 h 126"/>
                <a:gd name="T56" fmla="*/ 87 w 212"/>
                <a:gd name="T57" fmla="*/ 66 h 126"/>
                <a:gd name="T58" fmla="*/ 65 w 212"/>
                <a:gd name="T59" fmla="*/ 66 h 126"/>
                <a:gd name="T60" fmla="*/ 71 w 212"/>
                <a:gd name="T61" fmla="*/ 55 h 126"/>
                <a:gd name="T62" fmla="*/ 65 w 212"/>
                <a:gd name="T63" fmla="*/ 49 h 126"/>
                <a:gd name="T64" fmla="*/ 92 w 212"/>
                <a:gd name="T65" fmla="*/ 38 h 126"/>
                <a:gd name="T66" fmla="*/ 76 w 212"/>
                <a:gd name="T67" fmla="*/ 27 h 126"/>
                <a:gd name="T68" fmla="*/ 38 w 212"/>
                <a:gd name="T69" fmla="*/ 33 h 126"/>
                <a:gd name="T70" fmla="*/ 22 w 212"/>
                <a:gd name="T71" fmla="*/ 0 h 12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2"/>
                <a:gd name="T109" fmla="*/ 0 h 126"/>
                <a:gd name="T110" fmla="*/ 212 w 212"/>
                <a:gd name="T111" fmla="*/ 126 h 12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2" h="126">
                  <a:moveTo>
                    <a:pt x="22" y="0"/>
                  </a:moveTo>
                  <a:lnTo>
                    <a:pt x="5" y="0"/>
                  </a:lnTo>
                  <a:lnTo>
                    <a:pt x="0" y="6"/>
                  </a:lnTo>
                  <a:lnTo>
                    <a:pt x="5" y="11"/>
                  </a:lnTo>
                  <a:lnTo>
                    <a:pt x="0" y="17"/>
                  </a:lnTo>
                  <a:lnTo>
                    <a:pt x="22" y="44"/>
                  </a:lnTo>
                  <a:lnTo>
                    <a:pt x="43" y="38"/>
                  </a:lnTo>
                  <a:lnTo>
                    <a:pt x="60" y="77"/>
                  </a:lnTo>
                  <a:lnTo>
                    <a:pt x="54" y="82"/>
                  </a:lnTo>
                  <a:lnTo>
                    <a:pt x="49" y="93"/>
                  </a:lnTo>
                  <a:lnTo>
                    <a:pt x="60" y="98"/>
                  </a:lnTo>
                  <a:lnTo>
                    <a:pt x="54" y="104"/>
                  </a:lnTo>
                  <a:lnTo>
                    <a:pt x="54" y="109"/>
                  </a:lnTo>
                  <a:lnTo>
                    <a:pt x="65" y="120"/>
                  </a:lnTo>
                  <a:lnTo>
                    <a:pt x="71" y="109"/>
                  </a:lnTo>
                  <a:lnTo>
                    <a:pt x="71" y="115"/>
                  </a:lnTo>
                  <a:lnTo>
                    <a:pt x="71" y="120"/>
                  </a:lnTo>
                  <a:lnTo>
                    <a:pt x="71" y="115"/>
                  </a:lnTo>
                  <a:lnTo>
                    <a:pt x="87" y="126"/>
                  </a:lnTo>
                  <a:lnTo>
                    <a:pt x="92" y="120"/>
                  </a:lnTo>
                  <a:lnTo>
                    <a:pt x="87" y="115"/>
                  </a:lnTo>
                  <a:lnTo>
                    <a:pt x="92" y="120"/>
                  </a:lnTo>
                  <a:lnTo>
                    <a:pt x="98" y="109"/>
                  </a:lnTo>
                  <a:lnTo>
                    <a:pt x="98" y="115"/>
                  </a:lnTo>
                  <a:lnTo>
                    <a:pt x="98" y="126"/>
                  </a:lnTo>
                  <a:lnTo>
                    <a:pt x="103" y="126"/>
                  </a:lnTo>
                  <a:lnTo>
                    <a:pt x="136" y="126"/>
                  </a:lnTo>
                  <a:lnTo>
                    <a:pt x="136" y="120"/>
                  </a:lnTo>
                  <a:lnTo>
                    <a:pt x="141" y="126"/>
                  </a:lnTo>
                  <a:lnTo>
                    <a:pt x="141" y="115"/>
                  </a:lnTo>
                  <a:lnTo>
                    <a:pt x="147" y="126"/>
                  </a:lnTo>
                  <a:lnTo>
                    <a:pt x="163" y="120"/>
                  </a:lnTo>
                  <a:lnTo>
                    <a:pt x="163" y="115"/>
                  </a:lnTo>
                  <a:lnTo>
                    <a:pt x="163" y="109"/>
                  </a:lnTo>
                  <a:lnTo>
                    <a:pt x="169" y="109"/>
                  </a:lnTo>
                  <a:lnTo>
                    <a:pt x="169" y="120"/>
                  </a:lnTo>
                  <a:lnTo>
                    <a:pt x="174" y="126"/>
                  </a:lnTo>
                  <a:lnTo>
                    <a:pt x="185" y="126"/>
                  </a:lnTo>
                  <a:lnTo>
                    <a:pt x="201" y="120"/>
                  </a:lnTo>
                  <a:lnTo>
                    <a:pt x="201" y="98"/>
                  </a:lnTo>
                  <a:lnTo>
                    <a:pt x="212" y="87"/>
                  </a:lnTo>
                  <a:lnTo>
                    <a:pt x="207" y="77"/>
                  </a:lnTo>
                  <a:lnTo>
                    <a:pt x="174" y="60"/>
                  </a:lnTo>
                  <a:lnTo>
                    <a:pt x="131" y="77"/>
                  </a:lnTo>
                  <a:lnTo>
                    <a:pt x="136" y="82"/>
                  </a:lnTo>
                  <a:lnTo>
                    <a:pt x="120" y="87"/>
                  </a:lnTo>
                  <a:lnTo>
                    <a:pt x="125" y="82"/>
                  </a:lnTo>
                  <a:lnTo>
                    <a:pt x="114" y="77"/>
                  </a:lnTo>
                  <a:lnTo>
                    <a:pt x="109" y="82"/>
                  </a:lnTo>
                  <a:lnTo>
                    <a:pt x="109" y="77"/>
                  </a:lnTo>
                  <a:lnTo>
                    <a:pt x="103" y="82"/>
                  </a:lnTo>
                  <a:lnTo>
                    <a:pt x="98" y="71"/>
                  </a:lnTo>
                  <a:lnTo>
                    <a:pt x="92" y="82"/>
                  </a:lnTo>
                  <a:lnTo>
                    <a:pt x="87" y="77"/>
                  </a:lnTo>
                  <a:lnTo>
                    <a:pt x="92" y="71"/>
                  </a:lnTo>
                  <a:lnTo>
                    <a:pt x="92" y="66"/>
                  </a:lnTo>
                  <a:lnTo>
                    <a:pt x="87" y="66"/>
                  </a:lnTo>
                  <a:lnTo>
                    <a:pt x="71" y="55"/>
                  </a:lnTo>
                  <a:lnTo>
                    <a:pt x="65" y="66"/>
                  </a:lnTo>
                  <a:lnTo>
                    <a:pt x="71" y="60"/>
                  </a:lnTo>
                  <a:lnTo>
                    <a:pt x="71" y="55"/>
                  </a:lnTo>
                  <a:lnTo>
                    <a:pt x="76" y="55"/>
                  </a:lnTo>
                  <a:lnTo>
                    <a:pt x="65" y="49"/>
                  </a:lnTo>
                  <a:lnTo>
                    <a:pt x="87" y="49"/>
                  </a:lnTo>
                  <a:lnTo>
                    <a:pt x="92" y="38"/>
                  </a:lnTo>
                  <a:lnTo>
                    <a:pt x="65" y="33"/>
                  </a:lnTo>
                  <a:lnTo>
                    <a:pt x="76" y="27"/>
                  </a:lnTo>
                  <a:lnTo>
                    <a:pt x="65" y="17"/>
                  </a:lnTo>
                  <a:lnTo>
                    <a:pt x="38" y="33"/>
                  </a:lnTo>
                  <a:lnTo>
                    <a:pt x="43" y="11"/>
                  </a:lnTo>
                  <a:lnTo>
                    <a:pt x="22"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5" name="Freeform 897"/>
            <p:cNvSpPr>
              <a:spLocks/>
            </p:cNvSpPr>
            <p:nvPr/>
          </p:nvSpPr>
          <p:spPr bwMode="auto">
            <a:xfrm>
              <a:off x="1207" y="1359"/>
              <a:ext cx="92" cy="93"/>
            </a:xfrm>
            <a:custGeom>
              <a:avLst/>
              <a:gdLst>
                <a:gd name="T0" fmla="*/ 38 w 92"/>
                <a:gd name="T1" fmla="*/ 33 h 93"/>
                <a:gd name="T2" fmla="*/ 49 w 92"/>
                <a:gd name="T3" fmla="*/ 11 h 93"/>
                <a:gd name="T4" fmla="*/ 71 w 92"/>
                <a:gd name="T5" fmla="*/ 17 h 93"/>
                <a:gd name="T6" fmla="*/ 76 w 92"/>
                <a:gd name="T7" fmla="*/ 11 h 93"/>
                <a:gd name="T8" fmla="*/ 71 w 92"/>
                <a:gd name="T9" fmla="*/ 6 h 93"/>
                <a:gd name="T10" fmla="*/ 76 w 92"/>
                <a:gd name="T11" fmla="*/ 0 h 93"/>
                <a:gd name="T12" fmla="*/ 92 w 92"/>
                <a:gd name="T13" fmla="*/ 17 h 93"/>
                <a:gd name="T14" fmla="*/ 81 w 92"/>
                <a:gd name="T15" fmla="*/ 22 h 93"/>
                <a:gd name="T16" fmla="*/ 87 w 92"/>
                <a:gd name="T17" fmla="*/ 33 h 93"/>
                <a:gd name="T18" fmla="*/ 81 w 92"/>
                <a:gd name="T19" fmla="*/ 39 h 93"/>
                <a:gd name="T20" fmla="*/ 87 w 92"/>
                <a:gd name="T21" fmla="*/ 50 h 93"/>
                <a:gd name="T22" fmla="*/ 71 w 92"/>
                <a:gd name="T23" fmla="*/ 55 h 93"/>
                <a:gd name="T24" fmla="*/ 71 w 92"/>
                <a:gd name="T25" fmla="*/ 71 h 93"/>
                <a:gd name="T26" fmla="*/ 60 w 92"/>
                <a:gd name="T27" fmla="*/ 60 h 93"/>
                <a:gd name="T28" fmla="*/ 65 w 92"/>
                <a:gd name="T29" fmla="*/ 44 h 93"/>
                <a:gd name="T30" fmla="*/ 54 w 92"/>
                <a:gd name="T31" fmla="*/ 44 h 93"/>
                <a:gd name="T32" fmla="*/ 54 w 92"/>
                <a:gd name="T33" fmla="*/ 50 h 93"/>
                <a:gd name="T34" fmla="*/ 54 w 92"/>
                <a:gd name="T35" fmla="*/ 55 h 93"/>
                <a:gd name="T36" fmla="*/ 49 w 92"/>
                <a:gd name="T37" fmla="*/ 60 h 93"/>
                <a:gd name="T38" fmla="*/ 54 w 92"/>
                <a:gd name="T39" fmla="*/ 66 h 93"/>
                <a:gd name="T40" fmla="*/ 49 w 92"/>
                <a:gd name="T41" fmla="*/ 77 h 93"/>
                <a:gd name="T42" fmla="*/ 38 w 92"/>
                <a:gd name="T43" fmla="*/ 66 h 93"/>
                <a:gd name="T44" fmla="*/ 43 w 92"/>
                <a:gd name="T45" fmla="*/ 77 h 93"/>
                <a:gd name="T46" fmla="*/ 38 w 92"/>
                <a:gd name="T47" fmla="*/ 82 h 93"/>
                <a:gd name="T48" fmla="*/ 43 w 92"/>
                <a:gd name="T49" fmla="*/ 88 h 93"/>
                <a:gd name="T50" fmla="*/ 32 w 92"/>
                <a:gd name="T51" fmla="*/ 93 h 93"/>
                <a:gd name="T52" fmla="*/ 27 w 92"/>
                <a:gd name="T53" fmla="*/ 77 h 93"/>
                <a:gd name="T54" fmla="*/ 22 w 92"/>
                <a:gd name="T55" fmla="*/ 88 h 93"/>
                <a:gd name="T56" fmla="*/ 16 w 92"/>
                <a:gd name="T57" fmla="*/ 77 h 93"/>
                <a:gd name="T58" fmla="*/ 5 w 92"/>
                <a:gd name="T59" fmla="*/ 88 h 93"/>
                <a:gd name="T60" fmla="*/ 5 w 92"/>
                <a:gd name="T61" fmla="*/ 88 h 93"/>
                <a:gd name="T62" fmla="*/ 5 w 92"/>
                <a:gd name="T63" fmla="*/ 77 h 93"/>
                <a:gd name="T64" fmla="*/ 0 w 92"/>
                <a:gd name="T65" fmla="*/ 77 h 93"/>
                <a:gd name="T66" fmla="*/ 5 w 92"/>
                <a:gd name="T67" fmla="*/ 66 h 93"/>
                <a:gd name="T68" fmla="*/ 16 w 92"/>
                <a:gd name="T69" fmla="*/ 66 h 93"/>
                <a:gd name="T70" fmla="*/ 22 w 92"/>
                <a:gd name="T71" fmla="*/ 50 h 93"/>
                <a:gd name="T72" fmla="*/ 32 w 92"/>
                <a:gd name="T73" fmla="*/ 44 h 93"/>
                <a:gd name="T74" fmla="*/ 32 w 92"/>
                <a:gd name="T75" fmla="*/ 39 h 93"/>
                <a:gd name="T76" fmla="*/ 38 w 92"/>
                <a:gd name="T77" fmla="*/ 33 h 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2"/>
                <a:gd name="T118" fmla="*/ 0 h 93"/>
                <a:gd name="T119" fmla="*/ 92 w 92"/>
                <a:gd name="T120" fmla="*/ 93 h 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2" h="93">
                  <a:moveTo>
                    <a:pt x="38" y="33"/>
                  </a:moveTo>
                  <a:lnTo>
                    <a:pt x="49" y="11"/>
                  </a:lnTo>
                  <a:lnTo>
                    <a:pt x="71" y="17"/>
                  </a:lnTo>
                  <a:lnTo>
                    <a:pt x="76" y="11"/>
                  </a:lnTo>
                  <a:lnTo>
                    <a:pt x="71" y="6"/>
                  </a:lnTo>
                  <a:lnTo>
                    <a:pt x="76" y="0"/>
                  </a:lnTo>
                  <a:lnTo>
                    <a:pt x="92" y="17"/>
                  </a:lnTo>
                  <a:lnTo>
                    <a:pt x="81" y="22"/>
                  </a:lnTo>
                  <a:lnTo>
                    <a:pt x="87" y="33"/>
                  </a:lnTo>
                  <a:lnTo>
                    <a:pt x="81" y="39"/>
                  </a:lnTo>
                  <a:lnTo>
                    <a:pt x="87" y="50"/>
                  </a:lnTo>
                  <a:lnTo>
                    <a:pt x="71" y="55"/>
                  </a:lnTo>
                  <a:lnTo>
                    <a:pt x="71" y="71"/>
                  </a:lnTo>
                  <a:lnTo>
                    <a:pt x="60" y="60"/>
                  </a:lnTo>
                  <a:lnTo>
                    <a:pt x="65" y="44"/>
                  </a:lnTo>
                  <a:lnTo>
                    <a:pt x="54" y="44"/>
                  </a:lnTo>
                  <a:lnTo>
                    <a:pt x="54" y="50"/>
                  </a:lnTo>
                  <a:lnTo>
                    <a:pt x="54" y="55"/>
                  </a:lnTo>
                  <a:lnTo>
                    <a:pt x="49" y="60"/>
                  </a:lnTo>
                  <a:lnTo>
                    <a:pt x="54" y="66"/>
                  </a:lnTo>
                  <a:lnTo>
                    <a:pt x="49" y="77"/>
                  </a:lnTo>
                  <a:lnTo>
                    <a:pt x="38" y="66"/>
                  </a:lnTo>
                  <a:lnTo>
                    <a:pt x="43" y="77"/>
                  </a:lnTo>
                  <a:lnTo>
                    <a:pt x="38" y="82"/>
                  </a:lnTo>
                  <a:lnTo>
                    <a:pt x="43" y="88"/>
                  </a:lnTo>
                  <a:lnTo>
                    <a:pt x="32" y="93"/>
                  </a:lnTo>
                  <a:lnTo>
                    <a:pt x="27" y="77"/>
                  </a:lnTo>
                  <a:lnTo>
                    <a:pt x="22" y="88"/>
                  </a:lnTo>
                  <a:lnTo>
                    <a:pt x="16" y="77"/>
                  </a:lnTo>
                  <a:lnTo>
                    <a:pt x="5" y="88"/>
                  </a:lnTo>
                  <a:lnTo>
                    <a:pt x="5" y="77"/>
                  </a:lnTo>
                  <a:lnTo>
                    <a:pt x="0" y="77"/>
                  </a:lnTo>
                  <a:lnTo>
                    <a:pt x="5" y="66"/>
                  </a:lnTo>
                  <a:lnTo>
                    <a:pt x="16" y="66"/>
                  </a:lnTo>
                  <a:lnTo>
                    <a:pt x="22" y="50"/>
                  </a:lnTo>
                  <a:lnTo>
                    <a:pt x="32" y="44"/>
                  </a:lnTo>
                  <a:lnTo>
                    <a:pt x="32" y="39"/>
                  </a:lnTo>
                  <a:lnTo>
                    <a:pt x="38" y="33"/>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6" name="Freeform 898"/>
            <p:cNvSpPr>
              <a:spLocks/>
            </p:cNvSpPr>
            <p:nvPr/>
          </p:nvSpPr>
          <p:spPr bwMode="auto">
            <a:xfrm>
              <a:off x="1457" y="1409"/>
              <a:ext cx="65" cy="81"/>
            </a:xfrm>
            <a:custGeom>
              <a:avLst/>
              <a:gdLst>
                <a:gd name="T0" fmla="*/ 60 w 65"/>
                <a:gd name="T1" fmla="*/ 38 h 81"/>
                <a:gd name="T2" fmla="*/ 60 w 65"/>
                <a:gd name="T3" fmla="*/ 10 h 81"/>
                <a:gd name="T4" fmla="*/ 49 w 65"/>
                <a:gd name="T5" fmla="*/ 0 h 81"/>
                <a:gd name="T6" fmla="*/ 44 w 65"/>
                <a:gd name="T7" fmla="*/ 10 h 81"/>
                <a:gd name="T8" fmla="*/ 27 w 65"/>
                <a:gd name="T9" fmla="*/ 0 h 81"/>
                <a:gd name="T10" fmla="*/ 22 w 65"/>
                <a:gd name="T11" fmla="*/ 10 h 81"/>
                <a:gd name="T12" fmla="*/ 33 w 65"/>
                <a:gd name="T13" fmla="*/ 21 h 81"/>
                <a:gd name="T14" fmla="*/ 27 w 65"/>
                <a:gd name="T15" fmla="*/ 21 h 81"/>
                <a:gd name="T16" fmla="*/ 33 w 65"/>
                <a:gd name="T17" fmla="*/ 21 h 81"/>
                <a:gd name="T18" fmla="*/ 27 w 65"/>
                <a:gd name="T19" fmla="*/ 27 h 81"/>
                <a:gd name="T20" fmla="*/ 38 w 65"/>
                <a:gd name="T21" fmla="*/ 38 h 81"/>
                <a:gd name="T22" fmla="*/ 11 w 65"/>
                <a:gd name="T23" fmla="*/ 10 h 81"/>
                <a:gd name="T24" fmla="*/ 6 w 65"/>
                <a:gd name="T25" fmla="*/ 27 h 81"/>
                <a:gd name="T26" fmla="*/ 11 w 65"/>
                <a:gd name="T27" fmla="*/ 27 h 81"/>
                <a:gd name="T28" fmla="*/ 11 w 65"/>
                <a:gd name="T29" fmla="*/ 38 h 81"/>
                <a:gd name="T30" fmla="*/ 17 w 65"/>
                <a:gd name="T31" fmla="*/ 32 h 81"/>
                <a:gd name="T32" fmla="*/ 11 w 65"/>
                <a:gd name="T33" fmla="*/ 38 h 81"/>
                <a:gd name="T34" fmla="*/ 17 w 65"/>
                <a:gd name="T35" fmla="*/ 43 h 81"/>
                <a:gd name="T36" fmla="*/ 6 w 65"/>
                <a:gd name="T37" fmla="*/ 43 h 81"/>
                <a:gd name="T38" fmla="*/ 6 w 65"/>
                <a:gd name="T39" fmla="*/ 49 h 81"/>
                <a:gd name="T40" fmla="*/ 6 w 65"/>
                <a:gd name="T41" fmla="*/ 49 h 81"/>
                <a:gd name="T42" fmla="*/ 0 w 65"/>
                <a:gd name="T43" fmla="*/ 54 h 81"/>
                <a:gd name="T44" fmla="*/ 44 w 65"/>
                <a:gd name="T45" fmla="*/ 49 h 81"/>
                <a:gd name="T46" fmla="*/ 22 w 65"/>
                <a:gd name="T47" fmla="*/ 65 h 81"/>
                <a:gd name="T48" fmla="*/ 33 w 65"/>
                <a:gd name="T49" fmla="*/ 70 h 81"/>
                <a:gd name="T50" fmla="*/ 22 w 65"/>
                <a:gd name="T51" fmla="*/ 76 h 81"/>
                <a:gd name="T52" fmla="*/ 27 w 65"/>
                <a:gd name="T53" fmla="*/ 81 h 81"/>
                <a:gd name="T54" fmla="*/ 55 w 65"/>
                <a:gd name="T55" fmla="*/ 81 h 81"/>
                <a:gd name="T56" fmla="*/ 55 w 65"/>
                <a:gd name="T57" fmla="*/ 76 h 81"/>
                <a:gd name="T58" fmla="*/ 60 w 65"/>
                <a:gd name="T59" fmla="*/ 76 h 81"/>
                <a:gd name="T60" fmla="*/ 55 w 65"/>
                <a:gd name="T61" fmla="*/ 65 h 81"/>
                <a:gd name="T62" fmla="*/ 60 w 65"/>
                <a:gd name="T63" fmla="*/ 60 h 81"/>
                <a:gd name="T64" fmla="*/ 55 w 65"/>
                <a:gd name="T65" fmla="*/ 54 h 81"/>
                <a:gd name="T66" fmla="*/ 65 w 65"/>
                <a:gd name="T67" fmla="*/ 65 h 81"/>
                <a:gd name="T68" fmla="*/ 65 w 65"/>
                <a:gd name="T69" fmla="*/ 49 h 81"/>
                <a:gd name="T70" fmla="*/ 60 w 65"/>
                <a:gd name="T71" fmla="*/ 49 h 81"/>
                <a:gd name="T72" fmla="*/ 60 w 65"/>
                <a:gd name="T73" fmla="*/ 38 h 8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5"/>
                <a:gd name="T112" fmla="*/ 0 h 81"/>
                <a:gd name="T113" fmla="*/ 65 w 65"/>
                <a:gd name="T114" fmla="*/ 81 h 8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5" h="81">
                  <a:moveTo>
                    <a:pt x="60" y="38"/>
                  </a:moveTo>
                  <a:lnTo>
                    <a:pt x="60" y="10"/>
                  </a:lnTo>
                  <a:lnTo>
                    <a:pt x="49" y="0"/>
                  </a:lnTo>
                  <a:lnTo>
                    <a:pt x="44" y="10"/>
                  </a:lnTo>
                  <a:lnTo>
                    <a:pt x="27" y="0"/>
                  </a:lnTo>
                  <a:lnTo>
                    <a:pt x="22" y="10"/>
                  </a:lnTo>
                  <a:lnTo>
                    <a:pt x="33" y="21"/>
                  </a:lnTo>
                  <a:lnTo>
                    <a:pt x="27" y="21"/>
                  </a:lnTo>
                  <a:lnTo>
                    <a:pt x="33" y="21"/>
                  </a:lnTo>
                  <a:lnTo>
                    <a:pt x="27" y="27"/>
                  </a:lnTo>
                  <a:lnTo>
                    <a:pt x="38" y="38"/>
                  </a:lnTo>
                  <a:lnTo>
                    <a:pt x="11" y="10"/>
                  </a:lnTo>
                  <a:lnTo>
                    <a:pt x="6" y="27"/>
                  </a:lnTo>
                  <a:lnTo>
                    <a:pt x="11" y="27"/>
                  </a:lnTo>
                  <a:lnTo>
                    <a:pt x="11" y="38"/>
                  </a:lnTo>
                  <a:lnTo>
                    <a:pt x="17" y="32"/>
                  </a:lnTo>
                  <a:lnTo>
                    <a:pt x="11" y="38"/>
                  </a:lnTo>
                  <a:lnTo>
                    <a:pt x="17" y="43"/>
                  </a:lnTo>
                  <a:lnTo>
                    <a:pt x="6" y="43"/>
                  </a:lnTo>
                  <a:lnTo>
                    <a:pt x="6" y="49"/>
                  </a:lnTo>
                  <a:lnTo>
                    <a:pt x="0" y="54"/>
                  </a:lnTo>
                  <a:lnTo>
                    <a:pt x="44" y="49"/>
                  </a:lnTo>
                  <a:lnTo>
                    <a:pt x="22" y="65"/>
                  </a:lnTo>
                  <a:lnTo>
                    <a:pt x="33" y="70"/>
                  </a:lnTo>
                  <a:lnTo>
                    <a:pt x="22" y="76"/>
                  </a:lnTo>
                  <a:lnTo>
                    <a:pt x="27" y="81"/>
                  </a:lnTo>
                  <a:lnTo>
                    <a:pt x="55" y="81"/>
                  </a:lnTo>
                  <a:lnTo>
                    <a:pt x="55" y="76"/>
                  </a:lnTo>
                  <a:lnTo>
                    <a:pt x="60" y="76"/>
                  </a:lnTo>
                  <a:lnTo>
                    <a:pt x="55" y="65"/>
                  </a:lnTo>
                  <a:lnTo>
                    <a:pt x="60" y="60"/>
                  </a:lnTo>
                  <a:lnTo>
                    <a:pt x="55" y="54"/>
                  </a:lnTo>
                  <a:lnTo>
                    <a:pt x="65" y="65"/>
                  </a:lnTo>
                  <a:lnTo>
                    <a:pt x="65" y="49"/>
                  </a:lnTo>
                  <a:lnTo>
                    <a:pt x="60" y="49"/>
                  </a:lnTo>
                  <a:lnTo>
                    <a:pt x="60" y="3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7" name="Freeform 899"/>
            <p:cNvSpPr>
              <a:spLocks/>
            </p:cNvSpPr>
            <p:nvPr/>
          </p:nvSpPr>
          <p:spPr bwMode="auto">
            <a:xfrm>
              <a:off x="1457" y="1545"/>
              <a:ext cx="76" cy="109"/>
            </a:xfrm>
            <a:custGeom>
              <a:avLst/>
              <a:gdLst>
                <a:gd name="T0" fmla="*/ 33 w 76"/>
                <a:gd name="T1" fmla="*/ 82 h 109"/>
                <a:gd name="T2" fmla="*/ 27 w 76"/>
                <a:gd name="T3" fmla="*/ 76 h 109"/>
                <a:gd name="T4" fmla="*/ 17 w 76"/>
                <a:gd name="T5" fmla="*/ 71 h 109"/>
                <a:gd name="T6" fmla="*/ 0 w 76"/>
                <a:gd name="T7" fmla="*/ 49 h 109"/>
                <a:gd name="T8" fmla="*/ 6 w 76"/>
                <a:gd name="T9" fmla="*/ 44 h 109"/>
                <a:gd name="T10" fmla="*/ 11 w 76"/>
                <a:gd name="T11" fmla="*/ 38 h 109"/>
                <a:gd name="T12" fmla="*/ 17 w 76"/>
                <a:gd name="T13" fmla="*/ 55 h 109"/>
                <a:gd name="T14" fmla="*/ 33 w 76"/>
                <a:gd name="T15" fmla="*/ 49 h 109"/>
                <a:gd name="T16" fmla="*/ 27 w 76"/>
                <a:gd name="T17" fmla="*/ 44 h 109"/>
                <a:gd name="T18" fmla="*/ 33 w 76"/>
                <a:gd name="T19" fmla="*/ 44 h 109"/>
                <a:gd name="T20" fmla="*/ 27 w 76"/>
                <a:gd name="T21" fmla="*/ 33 h 109"/>
                <a:gd name="T22" fmla="*/ 33 w 76"/>
                <a:gd name="T23" fmla="*/ 33 h 109"/>
                <a:gd name="T24" fmla="*/ 17 w 76"/>
                <a:gd name="T25" fmla="*/ 22 h 109"/>
                <a:gd name="T26" fmla="*/ 27 w 76"/>
                <a:gd name="T27" fmla="*/ 22 h 109"/>
                <a:gd name="T28" fmla="*/ 22 w 76"/>
                <a:gd name="T29" fmla="*/ 16 h 109"/>
                <a:gd name="T30" fmla="*/ 17 w 76"/>
                <a:gd name="T31" fmla="*/ 11 h 109"/>
                <a:gd name="T32" fmla="*/ 33 w 76"/>
                <a:gd name="T33" fmla="*/ 11 h 109"/>
                <a:gd name="T34" fmla="*/ 27 w 76"/>
                <a:gd name="T35" fmla="*/ 0 h 109"/>
                <a:gd name="T36" fmla="*/ 27 w 76"/>
                <a:gd name="T37" fmla="*/ 0 h 109"/>
                <a:gd name="T38" fmla="*/ 44 w 76"/>
                <a:gd name="T39" fmla="*/ 11 h 109"/>
                <a:gd name="T40" fmla="*/ 65 w 76"/>
                <a:gd name="T41" fmla="*/ 0 h 109"/>
                <a:gd name="T42" fmla="*/ 71 w 76"/>
                <a:gd name="T43" fmla="*/ 5 h 109"/>
                <a:gd name="T44" fmla="*/ 60 w 76"/>
                <a:gd name="T45" fmla="*/ 16 h 109"/>
                <a:gd name="T46" fmla="*/ 65 w 76"/>
                <a:gd name="T47" fmla="*/ 27 h 109"/>
                <a:gd name="T48" fmla="*/ 60 w 76"/>
                <a:gd name="T49" fmla="*/ 27 h 109"/>
                <a:gd name="T50" fmla="*/ 49 w 76"/>
                <a:gd name="T51" fmla="*/ 44 h 109"/>
                <a:gd name="T52" fmla="*/ 60 w 76"/>
                <a:gd name="T53" fmla="*/ 38 h 109"/>
                <a:gd name="T54" fmla="*/ 65 w 76"/>
                <a:gd name="T55" fmla="*/ 49 h 109"/>
                <a:gd name="T56" fmla="*/ 65 w 76"/>
                <a:gd name="T57" fmla="*/ 55 h 109"/>
                <a:gd name="T58" fmla="*/ 71 w 76"/>
                <a:gd name="T59" fmla="*/ 49 h 109"/>
                <a:gd name="T60" fmla="*/ 76 w 76"/>
                <a:gd name="T61" fmla="*/ 60 h 109"/>
                <a:gd name="T62" fmla="*/ 71 w 76"/>
                <a:gd name="T63" fmla="*/ 65 h 109"/>
                <a:gd name="T64" fmla="*/ 76 w 76"/>
                <a:gd name="T65" fmla="*/ 87 h 109"/>
                <a:gd name="T66" fmla="*/ 65 w 76"/>
                <a:gd name="T67" fmla="*/ 93 h 109"/>
                <a:gd name="T68" fmla="*/ 55 w 76"/>
                <a:gd name="T69" fmla="*/ 93 h 109"/>
                <a:gd name="T70" fmla="*/ 60 w 76"/>
                <a:gd name="T71" fmla="*/ 104 h 109"/>
                <a:gd name="T72" fmla="*/ 55 w 76"/>
                <a:gd name="T73" fmla="*/ 109 h 109"/>
                <a:gd name="T74" fmla="*/ 44 w 76"/>
                <a:gd name="T75" fmla="*/ 104 h 109"/>
                <a:gd name="T76" fmla="*/ 38 w 76"/>
                <a:gd name="T77" fmla="*/ 93 h 109"/>
                <a:gd name="T78" fmla="*/ 33 w 76"/>
                <a:gd name="T79" fmla="*/ 82 h 1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6"/>
                <a:gd name="T121" fmla="*/ 0 h 109"/>
                <a:gd name="T122" fmla="*/ 76 w 76"/>
                <a:gd name="T123" fmla="*/ 109 h 1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6" h="109">
                  <a:moveTo>
                    <a:pt x="33" y="82"/>
                  </a:moveTo>
                  <a:lnTo>
                    <a:pt x="27" y="76"/>
                  </a:lnTo>
                  <a:lnTo>
                    <a:pt x="17" y="71"/>
                  </a:lnTo>
                  <a:lnTo>
                    <a:pt x="0" y="49"/>
                  </a:lnTo>
                  <a:lnTo>
                    <a:pt x="6" y="44"/>
                  </a:lnTo>
                  <a:lnTo>
                    <a:pt x="11" y="38"/>
                  </a:lnTo>
                  <a:lnTo>
                    <a:pt x="17" y="55"/>
                  </a:lnTo>
                  <a:lnTo>
                    <a:pt x="33" y="49"/>
                  </a:lnTo>
                  <a:lnTo>
                    <a:pt x="27" y="44"/>
                  </a:lnTo>
                  <a:lnTo>
                    <a:pt x="33" y="44"/>
                  </a:lnTo>
                  <a:lnTo>
                    <a:pt x="27" y="33"/>
                  </a:lnTo>
                  <a:lnTo>
                    <a:pt x="33" y="33"/>
                  </a:lnTo>
                  <a:lnTo>
                    <a:pt x="17" y="22"/>
                  </a:lnTo>
                  <a:lnTo>
                    <a:pt x="27" y="22"/>
                  </a:lnTo>
                  <a:lnTo>
                    <a:pt x="22" y="16"/>
                  </a:lnTo>
                  <a:lnTo>
                    <a:pt x="17" y="11"/>
                  </a:lnTo>
                  <a:lnTo>
                    <a:pt x="33" y="11"/>
                  </a:lnTo>
                  <a:lnTo>
                    <a:pt x="27" y="0"/>
                  </a:lnTo>
                  <a:lnTo>
                    <a:pt x="44" y="11"/>
                  </a:lnTo>
                  <a:lnTo>
                    <a:pt x="65" y="0"/>
                  </a:lnTo>
                  <a:lnTo>
                    <a:pt x="71" y="5"/>
                  </a:lnTo>
                  <a:lnTo>
                    <a:pt x="60" y="16"/>
                  </a:lnTo>
                  <a:lnTo>
                    <a:pt x="65" y="27"/>
                  </a:lnTo>
                  <a:lnTo>
                    <a:pt x="60" y="27"/>
                  </a:lnTo>
                  <a:lnTo>
                    <a:pt x="49" y="44"/>
                  </a:lnTo>
                  <a:lnTo>
                    <a:pt x="60" y="38"/>
                  </a:lnTo>
                  <a:lnTo>
                    <a:pt x="65" y="49"/>
                  </a:lnTo>
                  <a:lnTo>
                    <a:pt x="65" y="55"/>
                  </a:lnTo>
                  <a:lnTo>
                    <a:pt x="71" y="49"/>
                  </a:lnTo>
                  <a:lnTo>
                    <a:pt x="76" y="60"/>
                  </a:lnTo>
                  <a:lnTo>
                    <a:pt x="71" y="65"/>
                  </a:lnTo>
                  <a:lnTo>
                    <a:pt x="76" y="87"/>
                  </a:lnTo>
                  <a:lnTo>
                    <a:pt x="65" y="93"/>
                  </a:lnTo>
                  <a:lnTo>
                    <a:pt x="55" y="93"/>
                  </a:lnTo>
                  <a:lnTo>
                    <a:pt x="60" y="104"/>
                  </a:lnTo>
                  <a:lnTo>
                    <a:pt x="55" y="109"/>
                  </a:lnTo>
                  <a:lnTo>
                    <a:pt x="44" y="104"/>
                  </a:lnTo>
                  <a:lnTo>
                    <a:pt x="38" y="93"/>
                  </a:lnTo>
                  <a:lnTo>
                    <a:pt x="33" y="82"/>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8" name="Freeform 900"/>
            <p:cNvSpPr>
              <a:spLocks/>
            </p:cNvSpPr>
            <p:nvPr/>
          </p:nvSpPr>
          <p:spPr bwMode="auto">
            <a:xfrm>
              <a:off x="1876" y="1981"/>
              <a:ext cx="6" cy="6"/>
            </a:xfrm>
            <a:custGeom>
              <a:avLst/>
              <a:gdLst>
                <a:gd name="T0" fmla="*/ 6 w 6"/>
                <a:gd name="T1" fmla="*/ 0 h 6"/>
                <a:gd name="T2" fmla="*/ 0 w 6"/>
                <a:gd name="T3" fmla="*/ 6 h 6"/>
                <a:gd name="T4" fmla="*/ 6 w 6"/>
                <a:gd name="T5" fmla="*/ 0 h 6"/>
                <a:gd name="T6" fmla="*/ 6 w 6"/>
                <a:gd name="T7" fmla="*/ 0 h 6"/>
                <a:gd name="T8" fmla="*/ 6 w 6"/>
                <a:gd name="T9" fmla="*/ 0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6" y="0"/>
                  </a:moveTo>
                  <a:lnTo>
                    <a:pt x="0" y="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79" name="Freeform 901"/>
            <p:cNvSpPr>
              <a:spLocks/>
            </p:cNvSpPr>
            <p:nvPr/>
          </p:nvSpPr>
          <p:spPr bwMode="auto">
            <a:xfrm>
              <a:off x="1697" y="2282"/>
              <a:ext cx="16" cy="11"/>
            </a:xfrm>
            <a:custGeom>
              <a:avLst/>
              <a:gdLst>
                <a:gd name="T0" fmla="*/ 11 w 16"/>
                <a:gd name="T1" fmla="*/ 0 h 11"/>
                <a:gd name="T2" fmla="*/ 16 w 16"/>
                <a:gd name="T3" fmla="*/ 0 h 11"/>
                <a:gd name="T4" fmla="*/ 16 w 16"/>
                <a:gd name="T5" fmla="*/ 5 h 11"/>
                <a:gd name="T6" fmla="*/ 16 w 16"/>
                <a:gd name="T7" fmla="*/ 11 h 11"/>
                <a:gd name="T8" fmla="*/ 0 w 16"/>
                <a:gd name="T9" fmla="*/ 0 h 11"/>
                <a:gd name="T10" fmla="*/ 11 w 16"/>
                <a:gd name="T11" fmla="*/ 0 h 11"/>
                <a:gd name="T12" fmla="*/ 0 60000 65536"/>
                <a:gd name="T13" fmla="*/ 0 60000 65536"/>
                <a:gd name="T14" fmla="*/ 0 60000 65536"/>
                <a:gd name="T15" fmla="*/ 0 60000 65536"/>
                <a:gd name="T16" fmla="*/ 0 60000 65536"/>
                <a:gd name="T17" fmla="*/ 0 60000 65536"/>
                <a:gd name="T18" fmla="*/ 0 w 16"/>
                <a:gd name="T19" fmla="*/ 0 h 11"/>
                <a:gd name="T20" fmla="*/ 16 w 16"/>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6" h="11">
                  <a:moveTo>
                    <a:pt x="11" y="0"/>
                  </a:moveTo>
                  <a:lnTo>
                    <a:pt x="16" y="0"/>
                  </a:lnTo>
                  <a:lnTo>
                    <a:pt x="16" y="5"/>
                  </a:lnTo>
                  <a:lnTo>
                    <a:pt x="16" y="11"/>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0" name="Freeform 902"/>
            <p:cNvSpPr>
              <a:spLocks/>
            </p:cNvSpPr>
            <p:nvPr/>
          </p:nvSpPr>
          <p:spPr bwMode="auto">
            <a:xfrm>
              <a:off x="1708" y="2145"/>
              <a:ext cx="16" cy="11"/>
            </a:xfrm>
            <a:custGeom>
              <a:avLst/>
              <a:gdLst>
                <a:gd name="T0" fmla="*/ 0 w 16"/>
                <a:gd name="T1" fmla="*/ 0 h 11"/>
                <a:gd name="T2" fmla="*/ 16 w 16"/>
                <a:gd name="T3" fmla="*/ 0 h 11"/>
                <a:gd name="T4" fmla="*/ 16 w 16"/>
                <a:gd name="T5" fmla="*/ 11 h 11"/>
                <a:gd name="T6" fmla="*/ 0 w 16"/>
                <a:gd name="T7" fmla="*/ 6 h 11"/>
                <a:gd name="T8" fmla="*/ 0 w 16"/>
                <a:gd name="T9" fmla="*/ 0 h 11"/>
                <a:gd name="T10" fmla="*/ 0 60000 65536"/>
                <a:gd name="T11" fmla="*/ 0 60000 65536"/>
                <a:gd name="T12" fmla="*/ 0 60000 65536"/>
                <a:gd name="T13" fmla="*/ 0 60000 65536"/>
                <a:gd name="T14" fmla="*/ 0 60000 65536"/>
                <a:gd name="T15" fmla="*/ 0 w 16"/>
                <a:gd name="T16" fmla="*/ 0 h 11"/>
                <a:gd name="T17" fmla="*/ 16 w 16"/>
                <a:gd name="T18" fmla="*/ 11 h 11"/>
              </a:gdLst>
              <a:ahLst/>
              <a:cxnLst>
                <a:cxn ang="T10">
                  <a:pos x="T0" y="T1"/>
                </a:cxn>
                <a:cxn ang="T11">
                  <a:pos x="T2" y="T3"/>
                </a:cxn>
                <a:cxn ang="T12">
                  <a:pos x="T4" y="T5"/>
                </a:cxn>
                <a:cxn ang="T13">
                  <a:pos x="T6" y="T7"/>
                </a:cxn>
                <a:cxn ang="T14">
                  <a:pos x="T8" y="T9"/>
                </a:cxn>
              </a:cxnLst>
              <a:rect l="T15" t="T16" r="T17" b="T18"/>
              <a:pathLst>
                <a:path w="16" h="11">
                  <a:moveTo>
                    <a:pt x="0" y="0"/>
                  </a:moveTo>
                  <a:lnTo>
                    <a:pt x="16" y="0"/>
                  </a:lnTo>
                  <a:lnTo>
                    <a:pt x="16" y="11"/>
                  </a:lnTo>
                  <a:lnTo>
                    <a:pt x="0"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1" name="Freeform 903"/>
            <p:cNvSpPr>
              <a:spLocks/>
            </p:cNvSpPr>
            <p:nvPr/>
          </p:nvSpPr>
          <p:spPr bwMode="auto">
            <a:xfrm>
              <a:off x="1729" y="1932"/>
              <a:ext cx="11" cy="22"/>
            </a:xfrm>
            <a:custGeom>
              <a:avLst/>
              <a:gdLst>
                <a:gd name="T0" fmla="*/ 6 w 11"/>
                <a:gd name="T1" fmla="*/ 0 h 22"/>
                <a:gd name="T2" fmla="*/ 0 w 11"/>
                <a:gd name="T3" fmla="*/ 6 h 22"/>
                <a:gd name="T4" fmla="*/ 0 w 11"/>
                <a:gd name="T5" fmla="*/ 17 h 22"/>
                <a:gd name="T6" fmla="*/ 6 w 11"/>
                <a:gd name="T7" fmla="*/ 22 h 22"/>
                <a:gd name="T8" fmla="*/ 11 w 11"/>
                <a:gd name="T9" fmla="*/ 6 h 22"/>
                <a:gd name="T10" fmla="*/ 6 w 11"/>
                <a:gd name="T11" fmla="*/ 0 h 22"/>
                <a:gd name="T12" fmla="*/ 0 60000 65536"/>
                <a:gd name="T13" fmla="*/ 0 60000 65536"/>
                <a:gd name="T14" fmla="*/ 0 60000 65536"/>
                <a:gd name="T15" fmla="*/ 0 60000 65536"/>
                <a:gd name="T16" fmla="*/ 0 60000 65536"/>
                <a:gd name="T17" fmla="*/ 0 60000 65536"/>
                <a:gd name="T18" fmla="*/ 0 w 11"/>
                <a:gd name="T19" fmla="*/ 0 h 22"/>
                <a:gd name="T20" fmla="*/ 11 w 11"/>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1" h="22">
                  <a:moveTo>
                    <a:pt x="6" y="0"/>
                  </a:moveTo>
                  <a:lnTo>
                    <a:pt x="0" y="6"/>
                  </a:lnTo>
                  <a:lnTo>
                    <a:pt x="0" y="17"/>
                  </a:lnTo>
                  <a:lnTo>
                    <a:pt x="6" y="22"/>
                  </a:lnTo>
                  <a:lnTo>
                    <a:pt x="11" y="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2" name="Freeform 904"/>
            <p:cNvSpPr>
              <a:spLocks/>
            </p:cNvSpPr>
            <p:nvPr/>
          </p:nvSpPr>
          <p:spPr bwMode="auto">
            <a:xfrm>
              <a:off x="1686" y="1921"/>
              <a:ext cx="22" cy="17"/>
            </a:xfrm>
            <a:custGeom>
              <a:avLst/>
              <a:gdLst>
                <a:gd name="T0" fmla="*/ 16 w 22"/>
                <a:gd name="T1" fmla="*/ 0 h 17"/>
                <a:gd name="T2" fmla="*/ 11 w 22"/>
                <a:gd name="T3" fmla="*/ 0 h 17"/>
                <a:gd name="T4" fmla="*/ 0 w 22"/>
                <a:gd name="T5" fmla="*/ 17 h 17"/>
                <a:gd name="T6" fmla="*/ 11 w 22"/>
                <a:gd name="T7" fmla="*/ 17 h 17"/>
                <a:gd name="T8" fmla="*/ 22 w 22"/>
                <a:gd name="T9" fmla="*/ 6 h 17"/>
                <a:gd name="T10" fmla="*/ 22 w 22"/>
                <a:gd name="T11" fmla="*/ 0 h 17"/>
                <a:gd name="T12" fmla="*/ 16 w 22"/>
                <a:gd name="T13" fmla="*/ 0 h 17"/>
                <a:gd name="T14" fmla="*/ 0 60000 65536"/>
                <a:gd name="T15" fmla="*/ 0 60000 65536"/>
                <a:gd name="T16" fmla="*/ 0 60000 65536"/>
                <a:gd name="T17" fmla="*/ 0 60000 65536"/>
                <a:gd name="T18" fmla="*/ 0 60000 65536"/>
                <a:gd name="T19" fmla="*/ 0 60000 65536"/>
                <a:gd name="T20" fmla="*/ 0 60000 65536"/>
                <a:gd name="T21" fmla="*/ 0 w 22"/>
                <a:gd name="T22" fmla="*/ 0 h 17"/>
                <a:gd name="T23" fmla="*/ 22 w 22"/>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7">
                  <a:moveTo>
                    <a:pt x="16" y="0"/>
                  </a:moveTo>
                  <a:lnTo>
                    <a:pt x="11" y="0"/>
                  </a:lnTo>
                  <a:lnTo>
                    <a:pt x="0" y="17"/>
                  </a:lnTo>
                  <a:lnTo>
                    <a:pt x="11" y="17"/>
                  </a:lnTo>
                  <a:lnTo>
                    <a:pt x="22" y="6"/>
                  </a:lnTo>
                  <a:lnTo>
                    <a:pt x="22" y="0"/>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3" name="Freeform 905"/>
            <p:cNvSpPr>
              <a:spLocks/>
            </p:cNvSpPr>
            <p:nvPr/>
          </p:nvSpPr>
          <p:spPr bwMode="auto">
            <a:xfrm>
              <a:off x="1963" y="2265"/>
              <a:ext cx="22" cy="22"/>
            </a:xfrm>
            <a:custGeom>
              <a:avLst/>
              <a:gdLst>
                <a:gd name="T0" fmla="*/ 11 w 22"/>
                <a:gd name="T1" fmla="*/ 0 h 22"/>
                <a:gd name="T2" fmla="*/ 0 w 22"/>
                <a:gd name="T3" fmla="*/ 17 h 22"/>
                <a:gd name="T4" fmla="*/ 0 w 22"/>
                <a:gd name="T5" fmla="*/ 22 h 22"/>
                <a:gd name="T6" fmla="*/ 0 w 22"/>
                <a:gd name="T7" fmla="*/ 22 h 22"/>
                <a:gd name="T8" fmla="*/ 11 w 22"/>
                <a:gd name="T9" fmla="*/ 22 h 22"/>
                <a:gd name="T10" fmla="*/ 22 w 22"/>
                <a:gd name="T11" fmla="*/ 17 h 22"/>
                <a:gd name="T12" fmla="*/ 17 w 22"/>
                <a:gd name="T13" fmla="*/ 11 h 22"/>
                <a:gd name="T14" fmla="*/ 17 w 22"/>
                <a:gd name="T15" fmla="*/ 17 h 22"/>
                <a:gd name="T16" fmla="*/ 11 w 22"/>
                <a:gd name="T17" fmla="*/ 17 h 22"/>
                <a:gd name="T18" fmla="*/ 11 w 22"/>
                <a:gd name="T19" fmla="*/ 0 h 22"/>
                <a:gd name="T20" fmla="*/ 11 w 22"/>
                <a:gd name="T21" fmla="*/ 0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22"/>
                <a:gd name="T35" fmla="*/ 22 w 22"/>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22">
                  <a:moveTo>
                    <a:pt x="11" y="0"/>
                  </a:moveTo>
                  <a:lnTo>
                    <a:pt x="0" y="17"/>
                  </a:lnTo>
                  <a:lnTo>
                    <a:pt x="0" y="22"/>
                  </a:lnTo>
                  <a:lnTo>
                    <a:pt x="11" y="22"/>
                  </a:lnTo>
                  <a:lnTo>
                    <a:pt x="22" y="17"/>
                  </a:lnTo>
                  <a:lnTo>
                    <a:pt x="17" y="11"/>
                  </a:lnTo>
                  <a:lnTo>
                    <a:pt x="17" y="17"/>
                  </a:lnTo>
                  <a:lnTo>
                    <a:pt x="11" y="17"/>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4" name="Freeform 906"/>
            <p:cNvSpPr>
              <a:spLocks/>
            </p:cNvSpPr>
            <p:nvPr/>
          </p:nvSpPr>
          <p:spPr bwMode="auto">
            <a:xfrm>
              <a:off x="1914" y="1949"/>
              <a:ext cx="6" cy="11"/>
            </a:xfrm>
            <a:custGeom>
              <a:avLst/>
              <a:gdLst>
                <a:gd name="T0" fmla="*/ 6 w 6"/>
                <a:gd name="T1" fmla="*/ 0 h 11"/>
                <a:gd name="T2" fmla="*/ 6 w 6"/>
                <a:gd name="T3" fmla="*/ 5 h 11"/>
                <a:gd name="T4" fmla="*/ 6 w 6"/>
                <a:gd name="T5" fmla="*/ 11 h 11"/>
                <a:gd name="T6" fmla="*/ 0 w 6"/>
                <a:gd name="T7" fmla="*/ 5 h 11"/>
                <a:gd name="T8" fmla="*/ 6 w 6"/>
                <a:gd name="T9" fmla="*/ 0 h 11"/>
                <a:gd name="T10" fmla="*/ 0 60000 65536"/>
                <a:gd name="T11" fmla="*/ 0 60000 65536"/>
                <a:gd name="T12" fmla="*/ 0 60000 65536"/>
                <a:gd name="T13" fmla="*/ 0 60000 65536"/>
                <a:gd name="T14" fmla="*/ 0 60000 65536"/>
                <a:gd name="T15" fmla="*/ 0 w 6"/>
                <a:gd name="T16" fmla="*/ 0 h 11"/>
                <a:gd name="T17" fmla="*/ 6 w 6"/>
                <a:gd name="T18" fmla="*/ 11 h 11"/>
              </a:gdLst>
              <a:ahLst/>
              <a:cxnLst>
                <a:cxn ang="T10">
                  <a:pos x="T0" y="T1"/>
                </a:cxn>
                <a:cxn ang="T11">
                  <a:pos x="T2" y="T3"/>
                </a:cxn>
                <a:cxn ang="T12">
                  <a:pos x="T4" y="T5"/>
                </a:cxn>
                <a:cxn ang="T13">
                  <a:pos x="T6" y="T7"/>
                </a:cxn>
                <a:cxn ang="T14">
                  <a:pos x="T8" y="T9"/>
                </a:cxn>
              </a:cxnLst>
              <a:rect l="T15" t="T16" r="T17" b="T18"/>
              <a:pathLst>
                <a:path w="6" h="11">
                  <a:moveTo>
                    <a:pt x="6" y="0"/>
                  </a:moveTo>
                  <a:lnTo>
                    <a:pt x="6" y="5"/>
                  </a:lnTo>
                  <a:lnTo>
                    <a:pt x="6" y="11"/>
                  </a:lnTo>
                  <a:lnTo>
                    <a:pt x="0"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5" name="Freeform 907"/>
            <p:cNvSpPr>
              <a:spLocks/>
            </p:cNvSpPr>
            <p:nvPr/>
          </p:nvSpPr>
          <p:spPr bwMode="auto">
            <a:xfrm>
              <a:off x="1925" y="2211"/>
              <a:ext cx="33" cy="16"/>
            </a:xfrm>
            <a:custGeom>
              <a:avLst/>
              <a:gdLst>
                <a:gd name="T0" fmla="*/ 6 w 33"/>
                <a:gd name="T1" fmla="*/ 0 h 16"/>
                <a:gd name="T2" fmla="*/ 22 w 33"/>
                <a:gd name="T3" fmla="*/ 5 h 16"/>
                <a:gd name="T4" fmla="*/ 33 w 33"/>
                <a:gd name="T5" fmla="*/ 11 h 16"/>
                <a:gd name="T6" fmla="*/ 33 w 33"/>
                <a:gd name="T7" fmla="*/ 16 h 16"/>
                <a:gd name="T8" fmla="*/ 27 w 33"/>
                <a:gd name="T9" fmla="*/ 16 h 16"/>
                <a:gd name="T10" fmla="*/ 11 w 33"/>
                <a:gd name="T11" fmla="*/ 11 h 16"/>
                <a:gd name="T12" fmla="*/ 11 w 33"/>
                <a:gd name="T13" fmla="*/ 5 h 16"/>
                <a:gd name="T14" fmla="*/ 0 w 33"/>
                <a:gd name="T15" fmla="*/ 0 h 16"/>
                <a:gd name="T16" fmla="*/ 6 w 33"/>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16"/>
                <a:gd name="T29" fmla="*/ 33 w 33"/>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16">
                  <a:moveTo>
                    <a:pt x="6" y="0"/>
                  </a:moveTo>
                  <a:lnTo>
                    <a:pt x="22" y="5"/>
                  </a:lnTo>
                  <a:lnTo>
                    <a:pt x="33" y="11"/>
                  </a:lnTo>
                  <a:lnTo>
                    <a:pt x="33" y="16"/>
                  </a:lnTo>
                  <a:lnTo>
                    <a:pt x="27" y="16"/>
                  </a:lnTo>
                  <a:lnTo>
                    <a:pt x="11" y="11"/>
                  </a:lnTo>
                  <a:lnTo>
                    <a:pt x="11" y="5"/>
                  </a:lnTo>
                  <a:lnTo>
                    <a:pt x="0" y="0"/>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6" name="Freeform 908"/>
            <p:cNvSpPr>
              <a:spLocks/>
            </p:cNvSpPr>
            <p:nvPr/>
          </p:nvSpPr>
          <p:spPr bwMode="auto">
            <a:xfrm>
              <a:off x="1724" y="1556"/>
              <a:ext cx="60" cy="38"/>
            </a:xfrm>
            <a:custGeom>
              <a:avLst/>
              <a:gdLst>
                <a:gd name="T0" fmla="*/ 22 w 60"/>
                <a:gd name="T1" fmla="*/ 0 h 38"/>
                <a:gd name="T2" fmla="*/ 43 w 60"/>
                <a:gd name="T3" fmla="*/ 5 h 38"/>
                <a:gd name="T4" fmla="*/ 60 w 60"/>
                <a:gd name="T5" fmla="*/ 33 h 38"/>
                <a:gd name="T6" fmla="*/ 16 w 60"/>
                <a:gd name="T7" fmla="*/ 38 h 38"/>
                <a:gd name="T8" fmla="*/ 11 w 60"/>
                <a:gd name="T9" fmla="*/ 33 h 38"/>
                <a:gd name="T10" fmla="*/ 5 w 60"/>
                <a:gd name="T11" fmla="*/ 22 h 38"/>
                <a:gd name="T12" fmla="*/ 0 w 60"/>
                <a:gd name="T13" fmla="*/ 16 h 38"/>
                <a:gd name="T14" fmla="*/ 0 w 60"/>
                <a:gd name="T15" fmla="*/ 0 h 38"/>
                <a:gd name="T16" fmla="*/ 22 w 60"/>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38"/>
                <a:gd name="T29" fmla="*/ 60 w 60"/>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38">
                  <a:moveTo>
                    <a:pt x="22" y="0"/>
                  </a:moveTo>
                  <a:lnTo>
                    <a:pt x="43" y="5"/>
                  </a:lnTo>
                  <a:lnTo>
                    <a:pt x="60" y="33"/>
                  </a:lnTo>
                  <a:lnTo>
                    <a:pt x="16" y="38"/>
                  </a:lnTo>
                  <a:lnTo>
                    <a:pt x="11" y="33"/>
                  </a:lnTo>
                  <a:lnTo>
                    <a:pt x="5" y="22"/>
                  </a:lnTo>
                  <a:lnTo>
                    <a:pt x="0" y="16"/>
                  </a:lnTo>
                  <a:lnTo>
                    <a:pt x="0" y="0"/>
                  </a:lnTo>
                  <a:lnTo>
                    <a:pt x="22"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7" name="Freeform 909"/>
            <p:cNvSpPr>
              <a:spLocks/>
            </p:cNvSpPr>
            <p:nvPr/>
          </p:nvSpPr>
          <p:spPr bwMode="auto">
            <a:xfrm>
              <a:off x="1800" y="1763"/>
              <a:ext cx="16" cy="11"/>
            </a:xfrm>
            <a:custGeom>
              <a:avLst/>
              <a:gdLst>
                <a:gd name="T0" fmla="*/ 0 w 16"/>
                <a:gd name="T1" fmla="*/ 6 h 11"/>
                <a:gd name="T2" fmla="*/ 6 w 16"/>
                <a:gd name="T3" fmla="*/ 0 h 11"/>
                <a:gd name="T4" fmla="*/ 16 w 16"/>
                <a:gd name="T5" fmla="*/ 11 h 11"/>
                <a:gd name="T6" fmla="*/ 0 w 16"/>
                <a:gd name="T7" fmla="*/ 11 h 11"/>
                <a:gd name="T8" fmla="*/ 0 w 16"/>
                <a:gd name="T9" fmla="*/ 6 h 11"/>
                <a:gd name="T10" fmla="*/ 0 60000 65536"/>
                <a:gd name="T11" fmla="*/ 0 60000 65536"/>
                <a:gd name="T12" fmla="*/ 0 60000 65536"/>
                <a:gd name="T13" fmla="*/ 0 60000 65536"/>
                <a:gd name="T14" fmla="*/ 0 60000 65536"/>
                <a:gd name="T15" fmla="*/ 0 w 16"/>
                <a:gd name="T16" fmla="*/ 0 h 11"/>
                <a:gd name="T17" fmla="*/ 16 w 16"/>
                <a:gd name="T18" fmla="*/ 11 h 11"/>
              </a:gdLst>
              <a:ahLst/>
              <a:cxnLst>
                <a:cxn ang="T10">
                  <a:pos x="T0" y="T1"/>
                </a:cxn>
                <a:cxn ang="T11">
                  <a:pos x="T2" y="T3"/>
                </a:cxn>
                <a:cxn ang="T12">
                  <a:pos x="T4" y="T5"/>
                </a:cxn>
                <a:cxn ang="T13">
                  <a:pos x="T6" y="T7"/>
                </a:cxn>
                <a:cxn ang="T14">
                  <a:pos x="T8" y="T9"/>
                </a:cxn>
              </a:cxnLst>
              <a:rect l="T15" t="T16" r="T17" b="T18"/>
              <a:pathLst>
                <a:path w="16" h="11">
                  <a:moveTo>
                    <a:pt x="0" y="6"/>
                  </a:moveTo>
                  <a:lnTo>
                    <a:pt x="6" y="0"/>
                  </a:lnTo>
                  <a:lnTo>
                    <a:pt x="16" y="11"/>
                  </a:lnTo>
                  <a:lnTo>
                    <a:pt x="0" y="11"/>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8" name="Freeform 910"/>
            <p:cNvSpPr>
              <a:spLocks/>
            </p:cNvSpPr>
            <p:nvPr/>
          </p:nvSpPr>
          <p:spPr bwMode="auto">
            <a:xfrm>
              <a:off x="1767" y="1758"/>
              <a:ext cx="28" cy="32"/>
            </a:xfrm>
            <a:custGeom>
              <a:avLst/>
              <a:gdLst>
                <a:gd name="T0" fmla="*/ 11 w 28"/>
                <a:gd name="T1" fmla="*/ 0 h 32"/>
                <a:gd name="T2" fmla="*/ 28 w 28"/>
                <a:gd name="T3" fmla="*/ 5 h 32"/>
                <a:gd name="T4" fmla="*/ 28 w 28"/>
                <a:gd name="T5" fmla="*/ 11 h 32"/>
                <a:gd name="T6" fmla="*/ 28 w 28"/>
                <a:gd name="T7" fmla="*/ 27 h 32"/>
                <a:gd name="T8" fmla="*/ 22 w 28"/>
                <a:gd name="T9" fmla="*/ 32 h 32"/>
                <a:gd name="T10" fmla="*/ 6 w 28"/>
                <a:gd name="T11" fmla="*/ 32 h 32"/>
                <a:gd name="T12" fmla="*/ 0 w 28"/>
                <a:gd name="T13" fmla="*/ 27 h 32"/>
                <a:gd name="T14" fmla="*/ 0 w 28"/>
                <a:gd name="T15" fmla="*/ 16 h 32"/>
                <a:gd name="T16" fmla="*/ 11 w 28"/>
                <a:gd name="T17" fmla="*/ 0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8"/>
                <a:gd name="T28" fmla="*/ 0 h 32"/>
                <a:gd name="T29" fmla="*/ 28 w 28"/>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8" h="32">
                  <a:moveTo>
                    <a:pt x="11" y="0"/>
                  </a:moveTo>
                  <a:lnTo>
                    <a:pt x="28" y="5"/>
                  </a:lnTo>
                  <a:lnTo>
                    <a:pt x="28" y="11"/>
                  </a:lnTo>
                  <a:lnTo>
                    <a:pt x="28" y="27"/>
                  </a:lnTo>
                  <a:lnTo>
                    <a:pt x="22" y="32"/>
                  </a:lnTo>
                  <a:lnTo>
                    <a:pt x="6" y="32"/>
                  </a:lnTo>
                  <a:lnTo>
                    <a:pt x="0" y="27"/>
                  </a:lnTo>
                  <a:lnTo>
                    <a:pt x="0" y="16"/>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89" name="Freeform 911"/>
            <p:cNvSpPr>
              <a:spLocks/>
            </p:cNvSpPr>
            <p:nvPr/>
          </p:nvSpPr>
          <p:spPr bwMode="auto">
            <a:xfrm>
              <a:off x="1680" y="1829"/>
              <a:ext cx="11" cy="16"/>
            </a:xfrm>
            <a:custGeom>
              <a:avLst/>
              <a:gdLst>
                <a:gd name="T0" fmla="*/ 6 w 11"/>
                <a:gd name="T1" fmla="*/ 5 h 16"/>
                <a:gd name="T2" fmla="*/ 11 w 11"/>
                <a:gd name="T3" fmla="*/ 16 h 16"/>
                <a:gd name="T4" fmla="*/ 6 w 11"/>
                <a:gd name="T5" fmla="*/ 5 h 16"/>
                <a:gd name="T6" fmla="*/ 0 w 11"/>
                <a:gd name="T7" fmla="*/ 0 h 16"/>
                <a:gd name="T8" fmla="*/ 6 w 11"/>
                <a:gd name="T9" fmla="*/ 5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6" y="5"/>
                  </a:moveTo>
                  <a:lnTo>
                    <a:pt x="11" y="16"/>
                  </a:lnTo>
                  <a:lnTo>
                    <a:pt x="6" y="5"/>
                  </a:lnTo>
                  <a:lnTo>
                    <a:pt x="0"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0" name="Freeform 912"/>
            <p:cNvSpPr>
              <a:spLocks/>
            </p:cNvSpPr>
            <p:nvPr/>
          </p:nvSpPr>
          <p:spPr bwMode="auto">
            <a:xfrm>
              <a:off x="1648" y="1834"/>
              <a:ext cx="87" cy="77"/>
            </a:xfrm>
            <a:custGeom>
              <a:avLst/>
              <a:gdLst>
                <a:gd name="T0" fmla="*/ 16 w 87"/>
                <a:gd name="T1" fmla="*/ 6 h 77"/>
                <a:gd name="T2" fmla="*/ 21 w 87"/>
                <a:gd name="T3" fmla="*/ 0 h 77"/>
                <a:gd name="T4" fmla="*/ 27 w 87"/>
                <a:gd name="T5" fmla="*/ 11 h 77"/>
                <a:gd name="T6" fmla="*/ 27 w 87"/>
                <a:gd name="T7" fmla="*/ 17 h 77"/>
                <a:gd name="T8" fmla="*/ 32 w 87"/>
                <a:gd name="T9" fmla="*/ 11 h 77"/>
                <a:gd name="T10" fmla="*/ 38 w 87"/>
                <a:gd name="T11" fmla="*/ 17 h 77"/>
                <a:gd name="T12" fmla="*/ 38 w 87"/>
                <a:gd name="T13" fmla="*/ 22 h 77"/>
                <a:gd name="T14" fmla="*/ 60 w 87"/>
                <a:gd name="T15" fmla="*/ 38 h 77"/>
                <a:gd name="T16" fmla="*/ 65 w 87"/>
                <a:gd name="T17" fmla="*/ 55 h 77"/>
                <a:gd name="T18" fmla="*/ 76 w 87"/>
                <a:gd name="T19" fmla="*/ 49 h 77"/>
                <a:gd name="T20" fmla="*/ 87 w 87"/>
                <a:gd name="T21" fmla="*/ 60 h 77"/>
                <a:gd name="T22" fmla="*/ 70 w 87"/>
                <a:gd name="T23" fmla="*/ 71 h 77"/>
                <a:gd name="T24" fmla="*/ 60 w 87"/>
                <a:gd name="T25" fmla="*/ 66 h 77"/>
                <a:gd name="T26" fmla="*/ 60 w 87"/>
                <a:gd name="T27" fmla="*/ 55 h 77"/>
                <a:gd name="T28" fmla="*/ 49 w 87"/>
                <a:gd name="T29" fmla="*/ 55 h 77"/>
                <a:gd name="T30" fmla="*/ 49 w 87"/>
                <a:gd name="T31" fmla="*/ 49 h 77"/>
                <a:gd name="T32" fmla="*/ 43 w 87"/>
                <a:gd name="T33" fmla="*/ 55 h 77"/>
                <a:gd name="T34" fmla="*/ 43 w 87"/>
                <a:gd name="T35" fmla="*/ 60 h 77"/>
                <a:gd name="T36" fmla="*/ 21 w 87"/>
                <a:gd name="T37" fmla="*/ 77 h 77"/>
                <a:gd name="T38" fmla="*/ 16 w 87"/>
                <a:gd name="T39" fmla="*/ 77 h 77"/>
                <a:gd name="T40" fmla="*/ 16 w 87"/>
                <a:gd name="T41" fmla="*/ 60 h 77"/>
                <a:gd name="T42" fmla="*/ 16 w 87"/>
                <a:gd name="T43" fmla="*/ 60 h 77"/>
                <a:gd name="T44" fmla="*/ 0 w 87"/>
                <a:gd name="T45" fmla="*/ 66 h 77"/>
                <a:gd name="T46" fmla="*/ 0 w 87"/>
                <a:gd name="T47" fmla="*/ 66 h 77"/>
                <a:gd name="T48" fmla="*/ 0 w 87"/>
                <a:gd name="T49" fmla="*/ 60 h 77"/>
                <a:gd name="T50" fmla="*/ 11 w 87"/>
                <a:gd name="T51" fmla="*/ 49 h 77"/>
                <a:gd name="T52" fmla="*/ 11 w 87"/>
                <a:gd name="T53" fmla="*/ 38 h 77"/>
                <a:gd name="T54" fmla="*/ 11 w 87"/>
                <a:gd name="T55" fmla="*/ 17 h 77"/>
                <a:gd name="T56" fmla="*/ 16 w 87"/>
                <a:gd name="T57" fmla="*/ 6 h 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7"/>
                <a:gd name="T88" fmla="*/ 0 h 77"/>
                <a:gd name="T89" fmla="*/ 87 w 87"/>
                <a:gd name="T90" fmla="*/ 77 h 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7" h="77">
                  <a:moveTo>
                    <a:pt x="16" y="6"/>
                  </a:moveTo>
                  <a:lnTo>
                    <a:pt x="21" y="0"/>
                  </a:lnTo>
                  <a:lnTo>
                    <a:pt x="27" y="11"/>
                  </a:lnTo>
                  <a:lnTo>
                    <a:pt x="27" y="17"/>
                  </a:lnTo>
                  <a:lnTo>
                    <a:pt x="32" y="11"/>
                  </a:lnTo>
                  <a:lnTo>
                    <a:pt x="38" y="17"/>
                  </a:lnTo>
                  <a:lnTo>
                    <a:pt x="38" y="22"/>
                  </a:lnTo>
                  <a:lnTo>
                    <a:pt x="60" y="38"/>
                  </a:lnTo>
                  <a:lnTo>
                    <a:pt x="65" y="55"/>
                  </a:lnTo>
                  <a:lnTo>
                    <a:pt x="76" y="49"/>
                  </a:lnTo>
                  <a:lnTo>
                    <a:pt x="87" y="60"/>
                  </a:lnTo>
                  <a:lnTo>
                    <a:pt x="70" y="71"/>
                  </a:lnTo>
                  <a:lnTo>
                    <a:pt x="60" y="66"/>
                  </a:lnTo>
                  <a:lnTo>
                    <a:pt x="60" y="55"/>
                  </a:lnTo>
                  <a:lnTo>
                    <a:pt x="49" y="55"/>
                  </a:lnTo>
                  <a:lnTo>
                    <a:pt x="49" y="49"/>
                  </a:lnTo>
                  <a:lnTo>
                    <a:pt x="43" y="55"/>
                  </a:lnTo>
                  <a:lnTo>
                    <a:pt x="43" y="60"/>
                  </a:lnTo>
                  <a:lnTo>
                    <a:pt x="21" y="77"/>
                  </a:lnTo>
                  <a:lnTo>
                    <a:pt x="16" y="77"/>
                  </a:lnTo>
                  <a:lnTo>
                    <a:pt x="16" y="60"/>
                  </a:lnTo>
                  <a:lnTo>
                    <a:pt x="0" y="66"/>
                  </a:lnTo>
                  <a:lnTo>
                    <a:pt x="0" y="60"/>
                  </a:lnTo>
                  <a:lnTo>
                    <a:pt x="11" y="49"/>
                  </a:lnTo>
                  <a:lnTo>
                    <a:pt x="11" y="38"/>
                  </a:lnTo>
                  <a:lnTo>
                    <a:pt x="11" y="17"/>
                  </a:lnTo>
                  <a:lnTo>
                    <a:pt x="16"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1" name="Freeform 913"/>
            <p:cNvSpPr>
              <a:spLocks/>
            </p:cNvSpPr>
            <p:nvPr/>
          </p:nvSpPr>
          <p:spPr bwMode="auto">
            <a:xfrm>
              <a:off x="1648" y="1758"/>
              <a:ext cx="5" cy="16"/>
            </a:xfrm>
            <a:custGeom>
              <a:avLst/>
              <a:gdLst>
                <a:gd name="T0" fmla="*/ 5 w 5"/>
                <a:gd name="T1" fmla="*/ 0 h 16"/>
                <a:gd name="T2" fmla="*/ 5 w 5"/>
                <a:gd name="T3" fmla="*/ 16 h 16"/>
                <a:gd name="T4" fmla="*/ 0 w 5"/>
                <a:gd name="T5" fmla="*/ 16 h 16"/>
                <a:gd name="T6" fmla="*/ 0 w 5"/>
                <a:gd name="T7" fmla="*/ 5 h 16"/>
                <a:gd name="T8" fmla="*/ 5 w 5"/>
                <a:gd name="T9" fmla="*/ 0 h 16"/>
                <a:gd name="T10" fmla="*/ 0 60000 65536"/>
                <a:gd name="T11" fmla="*/ 0 60000 65536"/>
                <a:gd name="T12" fmla="*/ 0 60000 65536"/>
                <a:gd name="T13" fmla="*/ 0 60000 65536"/>
                <a:gd name="T14" fmla="*/ 0 60000 65536"/>
                <a:gd name="T15" fmla="*/ 0 w 5"/>
                <a:gd name="T16" fmla="*/ 0 h 16"/>
                <a:gd name="T17" fmla="*/ 5 w 5"/>
                <a:gd name="T18" fmla="*/ 16 h 16"/>
              </a:gdLst>
              <a:ahLst/>
              <a:cxnLst>
                <a:cxn ang="T10">
                  <a:pos x="T0" y="T1"/>
                </a:cxn>
                <a:cxn ang="T11">
                  <a:pos x="T2" y="T3"/>
                </a:cxn>
                <a:cxn ang="T12">
                  <a:pos x="T4" y="T5"/>
                </a:cxn>
                <a:cxn ang="T13">
                  <a:pos x="T6" y="T7"/>
                </a:cxn>
                <a:cxn ang="T14">
                  <a:pos x="T8" y="T9"/>
                </a:cxn>
              </a:cxnLst>
              <a:rect l="T15" t="T16" r="T17" b="T18"/>
              <a:pathLst>
                <a:path w="5" h="16">
                  <a:moveTo>
                    <a:pt x="5" y="0"/>
                  </a:moveTo>
                  <a:lnTo>
                    <a:pt x="5" y="16"/>
                  </a:lnTo>
                  <a:lnTo>
                    <a:pt x="0" y="16"/>
                  </a:lnTo>
                  <a:lnTo>
                    <a:pt x="0" y="5"/>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2" name="Freeform 914"/>
            <p:cNvSpPr>
              <a:spLocks/>
            </p:cNvSpPr>
            <p:nvPr/>
          </p:nvSpPr>
          <p:spPr bwMode="auto">
            <a:xfrm>
              <a:off x="1544" y="1534"/>
              <a:ext cx="66" cy="93"/>
            </a:xfrm>
            <a:custGeom>
              <a:avLst/>
              <a:gdLst>
                <a:gd name="T0" fmla="*/ 6 w 66"/>
                <a:gd name="T1" fmla="*/ 0 h 93"/>
                <a:gd name="T2" fmla="*/ 27 w 66"/>
                <a:gd name="T3" fmla="*/ 0 h 93"/>
                <a:gd name="T4" fmla="*/ 66 w 66"/>
                <a:gd name="T5" fmla="*/ 11 h 93"/>
                <a:gd name="T6" fmla="*/ 60 w 66"/>
                <a:gd name="T7" fmla="*/ 22 h 93"/>
                <a:gd name="T8" fmla="*/ 55 w 66"/>
                <a:gd name="T9" fmla="*/ 22 h 93"/>
                <a:gd name="T10" fmla="*/ 55 w 66"/>
                <a:gd name="T11" fmla="*/ 38 h 93"/>
                <a:gd name="T12" fmla="*/ 49 w 66"/>
                <a:gd name="T13" fmla="*/ 38 h 93"/>
                <a:gd name="T14" fmla="*/ 49 w 66"/>
                <a:gd name="T15" fmla="*/ 38 h 93"/>
                <a:gd name="T16" fmla="*/ 49 w 66"/>
                <a:gd name="T17" fmla="*/ 44 h 93"/>
                <a:gd name="T18" fmla="*/ 44 w 66"/>
                <a:gd name="T19" fmla="*/ 60 h 93"/>
                <a:gd name="T20" fmla="*/ 17 w 66"/>
                <a:gd name="T21" fmla="*/ 60 h 93"/>
                <a:gd name="T22" fmla="*/ 27 w 66"/>
                <a:gd name="T23" fmla="*/ 71 h 93"/>
                <a:gd name="T24" fmla="*/ 17 w 66"/>
                <a:gd name="T25" fmla="*/ 87 h 93"/>
                <a:gd name="T26" fmla="*/ 6 w 66"/>
                <a:gd name="T27" fmla="*/ 93 h 93"/>
                <a:gd name="T28" fmla="*/ 6 w 66"/>
                <a:gd name="T29" fmla="*/ 87 h 93"/>
                <a:gd name="T30" fmla="*/ 6 w 66"/>
                <a:gd name="T31" fmla="*/ 82 h 93"/>
                <a:gd name="T32" fmla="*/ 6 w 66"/>
                <a:gd name="T33" fmla="*/ 82 h 93"/>
                <a:gd name="T34" fmla="*/ 6 w 66"/>
                <a:gd name="T35" fmla="*/ 76 h 93"/>
                <a:gd name="T36" fmla="*/ 6 w 66"/>
                <a:gd name="T37" fmla="*/ 66 h 93"/>
                <a:gd name="T38" fmla="*/ 0 w 66"/>
                <a:gd name="T39" fmla="*/ 60 h 93"/>
                <a:gd name="T40" fmla="*/ 0 w 66"/>
                <a:gd name="T41" fmla="*/ 55 h 93"/>
                <a:gd name="T42" fmla="*/ 0 w 66"/>
                <a:gd name="T43" fmla="*/ 16 h 93"/>
                <a:gd name="T44" fmla="*/ 11 w 66"/>
                <a:gd name="T45" fmla="*/ 22 h 93"/>
                <a:gd name="T46" fmla="*/ 0 w 66"/>
                <a:gd name="T47" fmla="*/ 11 h 93"/>
                <a:gd name="T48" fmla="*/ 6 w 66"/>
                <a:gd name="T49" fmla="*/ 0 h 9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93"/>
                <a:gd name="T77" fmla="*/ 66 w 66"/>
                <a:gd name="T78" fmla="*/ 93 h 9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93">
                  <a:moveTo>
                    <a:pt x="6" y="0"/>
                  </a:moveTo>
                  <a:lnTo>
                    <a:pt x="27" y="0"/>
                  </a:lnTo>
                  <a:lnTo>
                    <a:pt x="66" y="11"/>
                  </a:lnTo>
                  <a:lnTo>
                    <a:pt x="60" y="22"/>
                  </a:lnTo>
                  <a:lnTo>
                    <a:pt x="55" y="22"/>
                  </a:lnTo>
                  <a:lnTo>
                    <a:pt x="55" y="38"/>
                  </a:lnTo>
                  <a:lnTo>
                    <a:pt x="49" y="38"/>
                  </a:lnTo>
                  <a:lnTo>
                    <a:pt x="49" y="44"/>
                  </a:lnTo>
                  <a:lnTo>
                    <a:pt x="44" y="60"/>
                  </a:lnTo>
                  <a:lnTo>
                    <a:pt x="17" y="60"/>
                  </a:lnTo>
                  <a:lnTo>
                    <a:pt x="27" y="71"/>
                  </a:lnTo>
                  <a:lnTo>
                    <a:pt x="17" y="87"/>
                  </a:lnTo>
                  <a:lnTo>
                    <a:pt x="6" y="93"/>
                  </a:lnTo>
                  <a:lnTo>
                    <a:pt x="6" y="87"/>
                  </a:lnTo>
                  <a:lnTo>
                    <a:pt x="6" y="82"/>
                  </a:lnTo>
                  <a:lnTo>
                    <a:pt x="6" y="76"/>
                  </a:lnTo>
                  <a:lnTo>
                    <a:pt x="6" y="66"/>
                  </a:lnTo>
                  <a:lnTo>
                    <a:pt x="0" y="60"/>
                  </a:lnTo>
                  <a:lnTo>
                    <a:pt x="0" y="55"/>
                  </a:lnTo>
                  <a:lnTo>
                    <a:pt x="0" y="16"/>
                  </a:lnTo>
                  <a:lnTo>
                    <a:pt x="11" y="22"/>
                  </a:lnTo>
                  <a:lnTo>
                    <a:pt x="0" y="11"/>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3" name="Freeform 915"/>
            <p:cNvSpPr>
              <a:spLocks/>
            </p:cNvSpPr>
            <p:nvPr/>
          </p:nvSpPr>
          <p:spPr bwMode="auto">
            <a:xfrm>
              <a:off x="1533" y="1463"/>
              <a:ext cx="33" cy="49"/>
            </a:xfrm>
            <a:custGeom>
              <a:avLst/>
              <a:gdLst>
                <a:gd name="T0" fmla="*/ 17 w 33"/>
                <a:gd name="T1" fmla="*/ 0 h 49"/>
                <a:gd name="T2" fmla="*/ 33 w 33"/>
                <a:gd name="T3" fmla="*/ 22 h 49"/>
                <a:gd name="T4" fmla="*/ 33 w 33"/>
                <a:gd name="T5" fmla="*/ 44 h 49"/>
                <a:gd name="T6" fmla="*/ 22 w 33"/>
                <a:gd name="T7" fmla="*/ 49 h 49"/>
                <a:gd name="T8" fmla="*/ 0 w 33"/>
                <a:gd name="T9" fmla="*/ 27 h 49"/>
                <a:gd name="T10" fmla="*/ 0 w 33"/>
                <a:gd name="T11" fmla="*/ 22 h 49"/>
                <a:gd name="T12" fmla="*/ 6 w 33"/>
                <a:gd name="T13" fmla="*/ 11 h 49"/>
                <a:gd name="T14" fmla="*/ 6 w 33"/>
                <a:gd name="T15" fmla="*/ 11 h 49"/>
                <a:gd name="T16" fmla="*/ 17 w 33"/>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9"/>
                <a:gd name="T29" fmla="*/ 33 w 33"/>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9">
                  <a:moveTo>
                    <a:pt x="17" y="0"/>
                  </a:moveTo>
                  <a:lnTo>
                    <a:pt x="33" y="22"/>
                  </a:lnTo>
                  <a:lnTo>
                    <a:pt x="33" y="44"/>
                  </a:lnTo>
                  <a:lnTo>
                    <a:pt x="22" y="49"/>
                  </a:lnTo>
                  <a:lnTo>
                    <a:pt x="0" y="27"/>
                  </a:lnTo>
                  <a:lnTo>
                    <a:pt x="0" y="22"/>
                  </a:lnTo>
                  <a:lnTo>
                    <a:pt x="6" y="11"/>
                  </a:lnTo>
                  <a:lnTo>
                    <a:pt x="1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4" name="Freeform 916"/>
            <p:cNvSpPr>
              <a:spLocks/>
            </p:cNvSpPr>
            <p:nvPr/>
          </p:nvSpPr>
          <p:spPr bwMode="auto">
            <a:xfrm>
              <a:off x="1729" y="1490"/>
              <a:ext cx="11" cy="11"/>
            </a:xfrm>
            <a:custGeom>
              <a:avLst/>
              <a:gdLst>
                <a:gd name="T0" fmla="*/ 11 w 11"/>
                <a:gd name="T1" fmla="*/ 11 h 11"/>
                <a:gd name="T2" fmla="*/ 11 w 11"/>
                <a:gd name="T3" fmla="*/ 6 h 11"/>
                <a:gd name="T4" fmla="*/ 11 w 11"/>
                <a:gd name="T5" fmla="*/ 0 h 11"/>
                <a:gd name="T6" fmla="*/ 0 w 11"/>
                <a:gd name="T7" fmla="*/ 6 h 11"/>
                <a:gd name="T8" fmla="*/ 11 w 11"/>
                <a:gd name="T9" fmla="*/ 11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11" y="11"/>
                  </a:moveTo>
                  <a:lnTo>
                    <a:pt x="11" y="6"/>
                  </a:lnTo>
                  <a:lnTo>
                    <a:pt x="11" y="0"/>
                  </a:lnTo>
                  <a:lnTo>
                    <a:pt x="0" y="6"/>
                  </a:lnTo>
                  <a:lnTo>
                    <a:pt x="11"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5" name="Freeform 917"/>
            <p:cNvSpPr>
              <a:spLocks/>
            </p:cNvSpPr>
            <p:nvPr/>
          </p:nvSpPr>
          <p:spPr bwMode="auto">
            <a:xfrm>
              <a:off x="1735" y="1441"/>
              <a:ext cx="11" cy="11"/>
            </a:xfrm>
            <a:custGeom>
              <a:avLst/>
              <a:gdLst>
                <a:gd name="T0" fmla="*/ 11 w 11"/>
                <a:gd name="T1" fmla="*/ 0 h 11"/>
                <a:gd name="T2" fmla="*/ 5 w 11"/>
                <a:gd name="T3" fmla="*/ 6 h 11"/>
                <a:gd name="T4" fmla="*/ 11 w 11"/>
                <a:gd name="T5" fmla="*/ 11 h 11"/>
                <a:gd name="T6" fmla="*/ 0 w 11"/>
                <a:gd name="T7" fmla="*/ 11 h 11"/>
                <a:gd name="T8" fmla="*/ 5 w 11"/>
                <a:gd name="T9" fmla="*/ 0 h 11"/>
                <a:gd name="T10" fmla="*/ 11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11" y="0"/>
                  </a:moveTo>
                  <a:lnTo>
                    <a:pt x="5" y="6"/>
                  </a:lnTo>
                  <a:lnTo>
                    <a:pt x="11" y="11"/>
                  </a:lnTo>
                  <a:lnTo>
                    <a:pt x="0" y="11"/>
                  </a:lnTo>
                  <a:lnTo>
                    <a:pt x="5"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6" name="Freeform 918"/>
            <p:cNvSpPr>
              <a:spLocks/>
            </p:cNvSpPr>
            <p:nvPr/>
          </p:nvSpPr>
          <p:spPr bwMode="auto">
            <a:xfrm>
              <a:off x="1925" y="2265"/>
              <a:ext cx="33" cy="17"/>
            </a:xfrm>
            <a:custGeom>
              <a:avLst/>
              <a:gdLst>
                <a:gd name="T0" fmla="*/ 6 w 33"/>
                <a:gd name="T1" fmla="*/ 0 h 17"/>
                <a:gd name="T2" fmla="*/ 6 w 33"/>
                <a:gd name="T3" fmla="*/ 6 h 17"/>
                <a:gd name="T4" fmla="*/ 11 w 33"/>
                <a:gd name="T5" fmla="*/ 6 h 17"/>
                <a:gd name="T6" fmla="*/ 33 w 33"/>
                <a:gd name="T7" fmla="*/ 11 h 17"/>
                <a:gd name="T8" fmla="*/ 22 w 33"/>
                <a:gd name="T9" fmla="*/ 17 h 17"/>
                <a:gd name="T10" fmla="*/ 17 w 33"/>
                <a:gd name="T11" fmla="*/ 11 h 17"/>
                <a:gd name="T12" fmla="*/ 11 w 33"/>
                <a:gd name="T13" fmla="*/ 11 h 17"/>
                <a:gd name="T14" fmla="*/ 0 w 33"/>
                <a:gd name="T15" fmla="*/ 6 h 17"/>
                <a:gd name="T16" fmla="*/ 6 w 33"/>
                <a:gd name="T17" fmla="*/ 0 h 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17"/>
                <a:gd name="T29" fmla="*/ 33 w 33"/>
                <a:gd name="T30" fmla="*/ 17 h 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17">
                  <a:moveTo>
                    <a:pt x="6" y="0"/>
                  </a:moveTo>
                  <a:lnTo>
                    <a:pt x="6" y="6"/>
                  </a:lnTo>
                  <a:lnTo>
                    <a:pt x="11" y="6"/>
                  </a:lnTo>
                  <a:lnTo>
                    <a:pt x="33" y="11"/>
                  </a:lnTo>
                  <a:lnTo>
                    <a:pt x="22" y="17"/>
                  </a:lnTo>
                  <a:lnTo>
                    <a:pt x="17" y="11"/>
                  </a:lnTo>
                  <a:lnTo>
                    <a:pt x="11" y="11"/>
                  </a:lnTo>
                  <a:lnTo>
                    <a:pt x="0" y="6"/>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7" name="Freeform 919"/>
            <p:cNvSpPr>
              <a:spLocks/>
            </p:cNvSpPr>
            <p:nvPr/>
          </p:nvSpPr>
          <p:spPr bwMode="auto">
            <a:xfrm>
              <a:off x="1751" y="1905"/>
              <a:ext cx="11" cy="11"/>
            </a:xfrm>
            <a:custGeom>
              <a:avLst/>
              <a:gdLst>
                <a:gd name="T0" fmla="*/ 0 w 11"/>
                <a:gd name="T1" fmla="*/ 0 h 11"/>
                <a:gd name="T2" fmla="*/ 11 w 11"/>
                <a:gd name="T3" fmla="*/ 0 h 11"/>
                <a:gd name="T4" fmla="*/ 11 w 11"/>
                <a:gd name="T5" fmla="*/ 6 h 11"/>
                <a:gd name="T6" fmla="*/ 11 w 11"/>
                <a:gd name="T7" fmla="*/ 11 h 11"/>
                <a:gd name="T8" fmla="*/ 0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0" y="0"/>
                  </a:moveTo>
                  <a:lnTo>
                    <a:pt x="11" y="0"/>
                  </a:lnTo>
                  <a:lnTo>
                    <a:pt x="11" y="6"/>
                  </a:lnTo>
                  <a:lnTo>
                    <a:pt x="11"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8" name="Freeform 920"/>
            <p:cNvSpPr>
              <a:spLocks/>
            </p:cNvSpPr>
            <p:nvPr/>
          </p:nvSpPr>
          <p:spPr bwMode="auto">
            <a:xfrm>
              <a:off x="1729" y="1709"/>
              <a:ext cx="11" cy="11"/>
            </a:xfrm>
            <a:custGeom>
              <a:avLst/>
              <a:gdLst>
                <a:gd name="T0" fmla="*/ 0 w 11"/>
                <a:gd name="T1" fmla="*/ 0 h 11"/>
                <a:gd name="T2" fmla="*/ 11 w 11"/>
                <a:gd name="T3" fmla="*/ 0 h 11"/>
                <a:gd name="T4" fmla="*/ 6 w 11"/>
                <a:gd name="T5" fmla="*/ 5 h 11"/>
                <a:gd name="T6" fmla="*/ 6 w 11"/>
                <a:gd name="T7" fmla="*/ 11 h 11"/>
                <a:gd name="T8" fmla="*/ 0 w 11"/>
                <a:gd name="T9" fmla="*/ 0 h 11"/>
                <a:gd name="T10" fmla="*/ 0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0"/>
                  </a:moveTo>
                  <a:lnTo>
                    <a:pt x="11" y="0"/>
                  </a:lnTo>
                  <a:lnTo>
                    <a:pt x="6" y="5"/>
                  </a:lnTo>
                  <a:lnTo>
                    <a:pt x="6"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899" name="Freeform 921"/>
            <p:cNvSpPr>
              <a:spLocks/>
            </p:cNvSpPr>
            <p:nvPr/>
          </p:nvSpPr>
          <p:spPr bwMode="auto">
            <a:xfrm>
              <a:off x="1561" y="1359"/>
              <a:ext cx="38" cy="22"/>
            </a:xfrm>
            <a:custGeom>
              <a:avLst/>
              <a:gdLst>
                <a:gd name="T0" fmla="*/ 16 w 38"/>
                <a:gd name="T1" fmla="*/ 0 h 22"/>
                <a:gd name="T2" fmla="*/ 38 w 38"/>
                <a:gd name="T3" fmla="*/ 6 h 22"/>
                <a:gd name="T4" fmla="*/ 32 w 38"/>
                <a:gd name="T5" fmla="*/ 11 h 22"/>
                <a:gd name="T6" fmla="*/ 32 w 38"/>
                <a:gd name="T7" fmla="*/ 22 h 22"/>
                <a:gd name="T8" fmla="*/ 16 w 38"/>
                <a:gd name="T9" fmla="*/ 17 h 22"/>
                <a:gd name="T10" fmla="*/ 0 w 38"/>
                <a:gd name="T11" fmla="*/ 6 h 22"/>
                <a:gd name="T12" fmla="*/ 16 w 38"/>
                <a:gd name="T13" fmla="*/ 0 h 22"/>
                <a:gd name="T14" fmla="*/ 0 60000 65536"/>
                <a:gd name="T15" fmla="*/ 0 60000 65536"/>
                <a:gd name="T16" fmla="*/ 0 60000 65536"/>
                <a:gd name="T17" fmla="*/ 0 60000 65536"/>
                <a:gd name="T18" fmla="*/ 0 60000 65536"/>
                <a:gd name="T19" fmla="*/ 0 60000 65536"/>
                <a:gd name="T20" fmla="*/ 0 60000 65536"/>
                <a:gd name="T21" fmla="*/ 0 w 38"/>
                <a:gd name="T22" fmla="*/ 0 h 22"/>
                <a:gd name="T23" fmla="*/ 38 w 38"/>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2">
                  <a:moveTo>
                    <a:pt x="16" y="0"/>
                  </a:moveTo>
                  <a:lnTo>
                    <a:pt x="38" y="6"/>
                  </a:lnTo>
                  <a:lnTo>
                    <a:pt x="32" y="11"/>
                  </a:lnTo>
                  <a:lnTo>
                    <a:pt x="32" y="22"/>
                  </a:lnTo>
                  <a:lnTo>
                    <a:pt x="16" y="17"/>
                  </a:lnTo>
                  <a:lnTo>
                    <a:pt x="0" y="6"/>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0" name="Freeform 922"/>
            <p:cNvSpPr>
              <a:spLocks/>
            </p:cNvSpPr>
            <p:nvPr/>
          </p:nvSpPr>
          <p:spPr bwMode="auto">
            <a:xfrm>
              <a:off x="1305" y="1332"/>
              <a:ext cx="16" cy="22"/>
            </a:xfrm>
            <a:custGeom>
              <a:avLst/>
              <a:gdLst>
                <a:gd name="T0" fmla="*/ 0 w 16"/>
                <a:gd name="T1" fmla="*/ 6 h 22"/>
                <a:gd name="T2" fmla="*/ 5 w 16"/>
                <a:gd name="T3" fmla="*/ 0 h 22"/>
                <a:gd name="T4" fmla="*/ 16 w 16"/>
                <a:gd name="T5" fmla="*/ 16 h 22"/>
                <a:gd name="T6" fmla="*/ 11 w 16"/>
                <a:gd name="T7" fmla="*/ 22 h 22"/>
                <a:gd name="T8" fmla="*/ 0 w 16"/>
                <a:gd name="T9" fmla="*/ 6 h 22"/>
                <a:gd name="T10" fmla="*/ 0 60000 65536"/>
                <a:gd name="T11" fmla="*/ 0 60000 65536"/>
                <a:gd name="T12" fmla="*/ 0 60000 65536"/>
                <a:gd name="T13" fmla="*/ 0 60000 65536"/>
                <a:gd name="T14" fmla="*/ 0 60000 65536"/>
                <a:gd name="T15" fmla="*/ 0 w 16"/>
                <a:gd name="T16" fmla="*/ 0 h 22"/>
                <a:gd name="T17" fmla="*/ 16 w 16"/>
                <a:gd name="T18" fmla="*/ 22 h 22"/>
              </a:gdLst>
              <a:ahLst/>
              <a:cxnLst>
                <a:cxn ang="T10">
                  <a:pos x="T0" y="T1"/>
                </a:cxn>
                <a:cxn ang="T11">
                  <a:pos x="T2" y="T3"/>
                </a:cxn>
                <a:cxn ang="T12">
                  <a:pos x="T4" y="T5"/>
                </a:cxn>
                <a:cxn ang="T13">
                  <a:pos x="T6" y="T7"/>
                </a:cxn>
                <a:cxn ang="T14">
                  <a:pos x="T8" y="T9"/>
                </a:cxn>
              </a:cxnLst>
              <a:rect l="T15" t="T16" r="T17" b="T18"/>
              <a:pathLst>
                <a:path w="16" h="22">
                  <a:moveTo>
                    <a:pt x="0" y="6"/>
                  </a:moveTo>
                  <a:lnTo>
                    <a:pt x="5" y="0"/>
                  </a:lnTo>
                  <a:lnTo>
                    <a:pt x="16" y="16"/>
                  </a:lnTo>
                  <a:lnTo>
                    <a:pt x="11" y="22"/>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1" name="Freeform 923"/>
            <p:cNvSpPr>
              <a:spLocks/>
            </p:cNvSpPr>
            <p:nvPr/>
          </p:nvSpPr>
          <p:spPr bwMode="auto">
            <a:xfrm>
              <a:off x="1327" y="1332"/>
              <a:ext cx="43" cy="38"/>
            </a:xfrm>
            <a:custGeom>
              <a:avLst/>
              <a:gdLst>
                <a:gd name="T0" fmla="*/ 16 w 43"/>
                <a:gd name="T1" fmla="*/ 0 h 38"/>
                <a:gd name="T2" fmla="*/ 43 w 43"/>
                <a:gd name="T3" fmla="*/ 0 h 38"/>
                <a:gd name="T4" fmla="*/ 21 w 43"/>
                <a:gd name="T5" fmla="*/ 16 h 38"/>
                <a:gd name="T6" fmla="*/ 38 w 43"/>
                <a:gd name="T7" fmla="*/ 16 h 38"/>
                <a:gd name="T8" fmla="*/ 32 w 43"/>
                <a:gd name="T9" fmla="*/ 33 h 38"/>
                <a:gd name="T10" fmla="*/ 10 w 43"/>
                <a:gd name="T11" fmla="*/ 38 h 38"/>
                <a:gd name="T12" fmla="*/ 0 w 43"/>
                <a:gd name="T13" fmla="*/ 33 h 38"/>
                <a:gd name="T14" fmla="*/ 0 w 43"/>
                <a:gd name="T15" fmla="*/ 16 h 38"/>
                <a:gd name="T16" fmla="*/ 16 w 43"/>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
                <a:gd name="T28" fmla="*/ 0 h 38"/>
                <a:gd name="T29" fmla="*/ 43 w 43"/>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 h="38">
                  <a:moveTo>
                    <a:pt x="16" y="0"/>
                  </a:moveTo>
                  <a:lnTo>
                    <a:pt x="43" y="0"/>
                  </a:lnTo>
                  <a:lnTo>
                    <a:pt x="21" y="16"/>
                  </a:lnTo>
                  <a:lnTo>
                    <a:pt x="38" y="16"/>
                  </a:lnTo>
                  <a:lnTo>
                    <a:pt x="32" y="33"/>
                  </a:lnTo>
                  <a:lnTo>
                    <a:pt x="10" y="38"/>
                  </a:lnTo>
                  <a:lnTo>
                    <a:pt x="0" y="33"/>
                  </a:lnTo>
                  <a:lnTo>
                    <a:pt x="0" y="16"/>
                  </a:lnTo>
                  <a:lnTo>
                    <a:pt x="1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2" name="Freeform 924"/>
            <p:cNvSpPr>
              <a:spLocks/>
            </p:cNvSpPr>
            <p:nvPr/>
          </p:nvSpPr>
          <p:spPr bwMode="auto">
            <a:xfrm>
              <a:off x="1305" y="1398"/>
              <a:ext cx="16" cy="11"/>
            </a:xfrm>
            <a:custGeom>
              <a:avLst/>
              <a:gdLst>
                <a:gd name="T0" fmla="*/ 11 w 16"/>
                <a:gd name="T1" fmla="*/ 0 h 11"/>
                <a:gd name="T2" fmla="*/ 16 w 16"/>
                <a:gd name="T3" fmla="*/ 11 h 11"/>
                <a:gd name="T4" fmla="*/ 0 w 16"/>
                <a:gd name="T5" fmla="*/ 5 h 11"/>
                <a:gd name="T6" fmla="*/ 11 w 16"/>
                <a:gd name="T7" fmla="*/ 0 h 11"/>
                <a:gd name="T8" fmla="*/ 0 60000 65536"/>
                <a:gd name="T9" fmla="*/ 0 60000 65536"/>
                <a:gd name="T10" fmla="*/ 0 60000 65536"/>
                <a:gd name="T11" fmla="*/ 0 60000 65536"/>
                <a:gd name="T12" fmla="*/ 0 w 16"/>
                <a:gd name="T13" fmla="*/ 0 h 11"/>
                <a:gd name="T14" fmla="*/ 16 w 16"/>
                <a:gd name="T15" fmla="*/ 11 h 11"/>
              </a:gdLst>
              <a:ahLst/>
              <a:cxnLst>
                <a:cxn ang="T8">
                  <a:pos x="T0" y="T1"/>
                </a:cxn>
                <a:cxn ang="T9">
                  <a:pos x="T2" y="T3"/>
                </a:cxn>
                <a:cxn ang="T10">
                  <a:pos x="T4" y="T5"/>
                </a:cxn>
                <a:cxn ang="T11">
                  <a:pos x="T6" y="T7"/>
                </a:cxn>
              </a:cxnLst>
              <a:rect l="T12" t="T13" r="T14" b="T15"/>
              <a:pathLst>
                <a:path w="16" h="11">
                  <a:moveTo>
                    <a:pt x="11" y="0"/>
                  </a:moveTo>
                  <a:lnTo>
                    <a:pt x="16" y="11"/>
                  </a:lnTo>
                  <a:lnTo>
                    <a:pt x="0" y="5"/>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3" name="Freeform 925"/>
            <p:cNvSpPr>
              <a:spLocks/>
            </p:cNvSpPr>
            <p:nvPr/>
          </p:nvSpPr>
          <p:spPr bwMode="auto">
            <a:xfrm>
              <a:off x="1250" y="1441"/>
              <a:ext cx="22" cy="28"/>
            </a:xfrm>
            <a:custGeom>
              <a:avLst/>
              <a:gdLst>
                <a:gd name="T0" fmla="*/ 17 w 22"/>
                <a:gd name="T1" fmla="*/ 0 h 28"/>
                <a:gd name="T2" fmla="*/ 22 w 22"/>
                <a:gd name="T3" fmla="*/ 0 h 28"/>
                <a:gd name="T4" fmla="*/ 11 w 22"/>
                <a:gd name="T5" fmla="*/ 28 h 28"/>
                <a:gd name="T6" fmla="*/ 0 w 22"/>
                <a:gd name="T7" fmla="*/ 17 h 28"/>
                <a:gd name="T8" fmla="*/ 17 w 22"/>
                <a:gd name="T9" fmla="*/ 0 h 28"/>
                <a:gd name="T10" fmla="*/ 0 60000 65536"/>
                <a:gd name="T11" fmla="*/ 0 60000 65536"/>
                <a:gd name="T12" fmla="*/ 0 60000 65536"/>
                <a:gd name="T13" fmla="*/ 0 60000 65536"/>
                <a:gd name="T14" fmla="*/ 0 60000 65536"/>
                <a:gd name="T15" fmla="*/ 0 w 22"/>
                <a:gd name="T16" fmla="*/ 0 h 28"/>
                <a:gd name="T17" fmla="*/ 22 w 22"/>
                <a:gd name="T18" fmla="*/ 28 h 28"/>
              </a:gdLst>
              <a:ahLst/>
              <a:cxnLst>
                <a:cxn ang="T10">
                  <a:pos x="T0" y="T1"/>
                </a:cxn>
                <a:cxn ang="T11">
                  <a:pos x="T2" y="T3"/>
                </a:cxn>
                <a:cxn ang="T12">
                  <a:pos x="T4" y="T5"/>
                </a:cxn>
                <a:cxn ang="T13">
                  <a:pos x="T6" y="T7"/>
                </a:cxn>
                <a:cxn ang="T14">
                  <a:pos x="T8" y="T9"/>
                </a:cxn>
              </a:cxnLst>
              <a:rect l="T15" t="T16" r="T17" b="T18"/>
              <a:pathLst>
                <a:path w="22" h="28">
                  <a:moveTo>
                    <a:pt x="17" y="0"/>
                  </a:moveTo>
                  <a:lnTo>
                    <a:pt x="22" y="0"/>
                  </a:lnTo>
                  <a:lnTo>
                    <a:pt x="11" y="28"/>
                  </a:lnTo>
                  <a:lnTo>
                    <a:pt x="0" y="17"/>
                  </a:lnTo>
                  <a:lnTo>
                    <a:pt x="1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4" name="Freeform 926"/>
            <p:cNvSpPr>
              <a:spLocks/>
            </p:cNvSpPr>
            <p:nvPr/>
          </p:nvSpPr>
          <p:spPr bwMode="auto">
            <a:xfrm>
              <a:off x="1430" y="1474"/>
              <a:ext cx="16" cy="16"/>
            </a:xfrm>
            <a:custGeom>
              <a:avLst/>
              <a:gdLst>
                <a:gd name="T0" fmla="*/ 11 w 16"/>
                <a:gd name="T1" fmla="*/ 0 h 16"/>
                <a:gd name="T2" fmla="*/ 16 w 16"/>
                <a:gd name="T3" fmla="*/ 11 h 16"/>
                <a:gd name="T4" fmla="*/ 11 w 16"/>
                <a:gd name="T5" fmla="*/ 16 h 16"/>
                <a:gd name="T6" fmla="*/ 0 w 16"/>
                <a:gd name="T7" fmla="*/ 11 h 16"/>
                <a:gd name="T8" fmla="*/ 5 w 16"/>
                <a:gd name="T9" fmla="*/ 0 h 16"/>
                <a:gd name="T10" fmla="*/ 11 w 16"/>
                <a:gd name="T11" fmla="*/ 0 h 16"/>
                <a:gd name="T12" fmla="*/ 0 60000 65536"/>
                <a:gd name="T13" fmla="*/ 0 60000 65536"/>
                <a:gd name="T14" fmla="*/ 0 60000 65536"/>
                <a:gd name="T15" fmla="*/ 0 60000 65536"/>
                <a:gd name="T16" fmla="*/ 0 60000 65536"/>
                <a:gd name="T17" fmla="*/ 0 60000 65536"/>
                <a:gd name="T18" fmla="*/ 0 w 16"/>
                <a:gd name="T19" fmla="*/ 0 h 16"/>
                <a:gd name="T20" fmla="*/ 16 w 16"/>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6" h="16">
                  <a:moveTo>
                    <a:pt x="11" y="0"/>
                  </a:moveTo>
                  <a:lnTo>
                    <a:pt x="16" y="11"/>
                  </a:lnTo>
                  <a:lnTo>
                    <a:pt x="11" y="16"/>
                  </a:lnTo>
                  <a:lnTo>
                    <a:pt x="0" y="11"/>
                  </a:lnTo>
                  <a:lnTo>
                    <a:pt x="5"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5" name="Freeform 927"/>
            <p:cNvSpPr>
              <a:spLocks/>
            </p:cNvSpPr>
            <p:nvPr/>
          </p:nvSpPr>
          <p:spPr bwMode="auto">
            <a:xfrm>
              <a:off x="1446" y="1447"/>
              <a:ext cx="17" cy="11"/>
            </a:xfrm>
            <a:custGeom>
              <a:avLst/>
              <a:gdLst>
                <a:gd name="T0" fmla="*/ 6 w 17"/>
                <a:gd name="T1" fmla="*/ 0 h 11"/>
                <a:gd name="T2" fmla="*/ 17 w 17"/>
                <a:gd name="T3" fmla="*/ 0 h 11"/>
                <a:gd name="T4" fmla="*/ 6 w 17"/>
                <a:gd name="T5" fmla="*/ 11 h 11"/>
                <a:gd name="T6" fmla="*/ 0 w 17"/>
                <a:gd name="T7" fmla="*/ 11 h 11"/>
                <a:gd name="T8" fmla="*/ 6 w 17"/>
                <a:gd name="T9" fmla="*/ 0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6" y="0"/>
                  </a:moveTo>
                  <a:lnTo>
                    <a:pt x="17" y="0"/>
                  </a:lnTo>
                  <a:lnTo>
                    <a:pt x="6" y="11"/>
                  </a:lnTo>
                  <a:lnTo>
                    <a:pt x="0" y="11"/>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6" name="Freeform 928"/>
            <p:cNvSpPr>
              <a:spLocks/>
            </p:cNvSpPr>
            <p:nvPr/>
          </p:nvSpPr>
          <p:spPr bwMode="auto">
            <a:xfrm>
              <a:off x="1441" y="1441"/>
              <a:ext cx="16" cy="11"/>
            </a:xfrm>
            <a:custGeom>
              <a:avLst/>
              <a:gdLst>
                <a:gd name="T0" fmla="*/ 11 w 16"/>
                <a:gd name="T1" fmla="*/ 0 h 11"/>
                <a:gd name="T2" fmla="*/ 16 w 16"/>
                <a:gd name="T3" fmla="*/ 6 h 11"/>
                <a:gd name="T4" fmla="*/ 0 w 16"/>
                <a:gd name="T5" fmla="*/ 11 h 11"/>
                <a:gd name="T6" fmla="*/ 11 w 16"/>
                <a:gd name="T7" fmla="*/ 0 h 11"/>
                <a:gd name="T8" fmla="*/ 0 60000 65536"/>
                <a:gd name="T9" fmla="*/ 0 60000 65536"/>
                <a:gd name="T10" fmla="*/ 0 60000 65536"/>
                <a:gd name="T11" fmla="*/ 0 60000 65536"/>
                <a:gd name="T12" fmla="*/ 0 w 16"/>
                <a:gd name="T13" fmla="*/ 0 h 11"/>
                <a:gd name="T14" fmla="*/ 16 w 16"/>
                <a:gd name="T15" fmla="*/ 11 h 11"/>
              </a:gdLst>
              <a:ahLst/>
              <a:cxnLst>
                <a:cxn ang="T8">
                  <a:pos x="T0" y="T1"/>
                </a:cxn>
                <a:cxn ang="T9">
                  <a:pos x="T2" y="T3"/>
                </a:cxn>
                <a:cxn ang="T10">
                  <a:pos x="T4" y="T5"/>
                </a:cxn>
                <a:cxn ang="T11">
                  <a:pos x="T6" y="T7"/>
                </a:cxn>
              </a:cxnLst>
              <a:rect l="T12" t="T13" r="T14" b="T15"/>
              <a:pathLst>
                <a:path w="16" h="11">
                  <a:moveTo>
                    <a:pt x="11" y="0"/>
                  </a:moveTo>
                  <a:lnTo>
                    <a:pt x="16" y="6"/>
                  </a:lnTo>
                  <a:lnTo>
                    <a:pt x="0" y="11"/>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7" name="Freeform 929"/>
            <p:cNvSpPr>
              <a:spLocks/>
            </p:cNvSpPr>
            <p:nvPr/>
          </p:nvSpPr>
          <p:spPr bwMode="auto">
            <a:xfrm>
              <a:off x="1435" y="1430"/>
              <a:ext cx="22" cy="11"/>
            </a:xfrm>
            <a:custGeom>
              <a:avLst/>
              <a:gdLst>
                <a:gd name="T0" fmla="*/ 17 w 22"/>
                <a:gd name="T1" fmla="*/ 0 h 11"/>
                <a:gd name="T2" fmla="*/ 22 w 22"/>
                <a:gd name="T3" fmla="*/ 0 h 11"/>
                <a:gd name="T4" fmla="*/ 17 w 22"/>
                <a:gd name="T5" fmla="*/ 11 h 11"/>
                <a:gd name="T6" fmla="*/ 0 w 22"/>
                <a:gd name="T7" fmla="*/ 6 h 11"/>
                <a:gd name="T8" fmla="*/ 17 w 22"/>
                <a:gd name="T9" fmla="*/ 0 h 11"/>
                <a:gd name="T10" fmla="*/ 0 60000 65536"/>
                <a:gd name="T11" fmla="*/ 0 60000 65536"/>
                <a:gd name="T12" fmla="*/ 0 60000 65536"/>
                <a:gd name="T13" fmla="*/ 0 60000 65536"/>
                <a:gd name="T14" fmla="*/ 0 60000 65536"/>
                <a:gd name="T15" fmla="*/ 0 w 22"/>
                <a:gd name="T16" fmla="*/ 0 h 11"/>
                <a:gd name="T17" fmla="*/ 22 w 22"/>
                <a:gd name="T18" fmla="*/ 11 h 11"/>
              </a:gdLst>
              <a:ahLst/>
              <a:cxnLst>
                <a:cxn ang="T10">
                  <a:pos x="T0" y="T1"/>
                </a:cxn>
                <a:cxn ang="T11">
                  <a:pos x="T2" y="T3"/>
                </a:cxn>
                <a:cxn ang="T12">
                  <a:pos x="T4" y="T5"/>
                </a:cxn>
                <a:cxn ang="T13">
                  <a:pos x="T6" y="T7"/>
                </a:cxn>
                <a:cxn ang="T14">
                  <a:pos x="T8" y="T9"/>
                </a:cxn>
              </a:cxnLst>
              <a:rect l="T15" t="T16" r="T17" b="T18"/>
              <a:pathLst>
                <a:path w="22" h="11">
                  <a:moveTo>
                    <a:pt x="17" y="0"/>
                  </a:moveTo>
                  <a:lnTo>
                    <a:pt x="22" y="0"/>
                  </a:lnTo>
                  <a:lnTo>
                    <a:pt x="17" y="11"/>
                  </a:lnTo>
                  <a:lnTo>
                    <a:pt x="0" y="6"/>
                  </a:lnTo>
                  <a:lnTo>
                    <a:pt x="17"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8" name="Freeform 930"/>
            <p:cNvSpPr>
              <a:spLocks/>
            </p:cNvSpPr>
            <p:nvPr/>
          </p:nvSpPr>
          <p:spPr bwMode="auto">
            <a:xfrm>
              <a:off x="1468" y="1409"/>
              <a:ext cx="16" cy="5"/>
            </a:xfrm>
            <a:custGeom>
              <a:avLst/>
              <a:gdLst>
                <a:gd name="T0" fmla="*/ 11 w 16"/>
                <a:gd name="T1" fmla="*/ 0 h 5"/>
                <a:gd name="T2" fmla="*/ 16 w 16"/>
                <a:gd name="T3" fmla="*/ 0 h 5"/>
                <a:gd name="T4" fmla="*/ 11 w 16"/>
                <a:gd name="T5" fmla="*/ 5 h 5"/>
                <a:gd name="T6" fmla="*/ 0 w 16"/>
                <a:gd name="T7" fmla="*/ 5 h 5"/>
                <a:gd name="T8" fmla="*/ 11 w 16"/>
                <a:gd name="T9" fmla="*/ 0 h 5"/>
                <a:gd name="T10" fmla="*/ 0 60000 65536"/>
                <a:gd name="T11" fmla="*/ 0 60000 65536"/>
                <a:gd name="T12" fmla="*/ 0 60000 65536"/>
                <a:gd name="T13" fmla="*/ 0 60000 65536"/>
                <a:gd name="T14" fmla="*/ 0 60000 65536"/>
                <a:gd name="T15" fmla="*/ 0 w 16"/>
                <a:gd name="T16" fmla="*/ 0 h 5"/>
                <a:gd name="T17" fmla="*/ 16 w 16"/>
                <a:gd name="T18" fmla="*/ 5 h 5"/>
              </a:gdLst>
              <a:ahLst/>
              <a:cxnLst>
                <a:cxn ang="T10">
                  <a:pos x="T0" y="T1"/>
                </a:cxn>
                <a:cxn ang="T11">
                  <a:pos x="T2" y="T3"/>
                </a:cxn>
                <a:cxn ang="T12">
                  <a:pos x="T4" y="T5"/>
                </a:cxn>
                <a:cxn ang="T13">
                  <a:pos x="T6" y="T7"/>
                </a:cxn>
                <a:cxn ang="T14">
                  <a:pos x="T8" y="T9"/>
                </a:cxn>
              </a:cxnLst>
              <a:rect l="T15" t="T16" r="T17" b="T18"/>
              <a:pathLst>
                <a:path w="16" h="5">
                  <a:moveTo>
                    <a:pt x="11" y="0"/>
                  </a:moveTo>
                  <a:lnTo>
                    <a:pt x="16" y="0"/>
                  </a:lnTo>
                  <a:lnTo>
                    <a:pt x="11" y="5"/>
                  </a:lnTo>
                  <a:lnTo>
                    <a:pt x="0" y="5"/>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09" name="Freeform 931"/>
            <p:cNvSpPr>
              <a:spLocks/>
            </p:cNvSpPr>
            <p:nvPr/>
          </p:nvSpPr>
          <p:spPr bwMode="auto">
            <a:xfrm>
              <a:off x="1435" y="1414"/>
              <a:ext cx="17" cy="11"/>
            </a:xfrm>
            <a:custGeom>
              <a:avLst/>
              <a:gdLst>
                <a:gd name="T0" fmla="*/ 6 w 17"/>
                <a:gd name="T1" fmla="*/ 0 h 11"/>
                <a:gd name="T2" fmla="*/ 0 w 17"/>
                <a:gd name="T3" fmla="*/ 0 h 11"/>
                <a:gd name="T4" fmla="*/ 6 w 17"/>
                <a:gd name="T5" fmla="*/ 11 h 11"/>
                <a:gd name="T6" fmla="*/ 17 w 17"/>
                <a:gd name="T7" fmla="*/ 11 h 11"/>
                <a:gd name="T8" fmla="*/ 6 w 17"/>
                <a:gd name="T9" fmla="*/ 0 h 11"/>
                <a:gd name="T10" fmla="*/ 0 60000 65536"/>
                <a:gd name="T11" fmla="*/ 0 60000 65536"/>
                <a:gd name="T12" fmla="*/ 0 60000 65536"/>
                <a:gd name="T13" fmla="*/ 0 60000 65536"/>
                <a:gd name="T14" fmla="*/ 0 60000 65536"/>
                <a:gd name="T15" fmla="*/ 0 w 17"/>
                <a:gd name="T16" fmla="*/ 0 h 11"/>
                <a:gd name="T17" fmla="*/ 17 w 17"/>
                <a:gd name="T18" fmla="*/ 11 h 11"/>
              </a:gdLst>
              <a:ahLst/>
              <a:cxnLst>
                <a:cxn ang="T10">
                  <a:pos x="T0" y="T1"/>
                </a:cxn>
                <a:cxn ang="T11">
                  <a:pos x="T2" y="T3"/>
                </a:cxn>
                <a:cxn ang="T12">
                  <a:pos x="T4" y="T5"/>
                </a:cxn>
                <a:cxn ang="T13">
                  <a:pos x="T6" y="T7"/>
                </a:cxn>
                <a:cxn ang="T14">
                  <a:pos x="T8" y="T9"/>
                </a:cxn>
              </a:cxnLst>
              <a:rect l="T15" t="T16" r="T17" b="T18"/>
              <a:pathLst>
                <a:path w="17" h="11">
                  <a:moveTo>
                    <a:pt x="6" y="0"/>
                  </a:moveTo>
                  <a:lnTo>
                    <a:pt x="0" y="0"/>
                  </a:lnTo>
                  <a:lnTo>
                    <a:pt x="6" y="11"/>
                  </a:lnTo>
                  <a:lnTo>
                    <a:pt x="17" y="11"/>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0" name="Freeform 932"/>
            <p:cNvSpPr>
              <a:spLocks/>
            </p:cNvSpPr>
            <p:nvPr/>
          </p:nvSpPr>
          <p:spPr bwMode="auto">
            <a:xfrm>
              <a:off x="1414" y="1348"/>
              <a:ext cx="21" cy="33"/>
            </a:xfrm>
            <a:custGeom>
              <a:avLst/>
              <a:gdLst>
                <a:gd name="T0" fmla="*/ 16 w 21"/>
                <a:gd name="T1" fmla="*/ 11 h 33"/>
                <a:gd name="T2" fmla="*/ 21 w 21"/>
                <a:gd name="T3" fmla="*/ 33 h 33"/>
                <a:gd name="T4" fmla="*/ 11 w 21"/>
                <a:gd name="T5" fmla="*/ 33 h 33"/>
                <a:gd name="T6" fmla="*/ 0 w 21"/>
                <a:gd name="T7" fmla="*/ 0 h 33"/>
                <a:gd name="T8" fmla="*/ 16 w 21"/>
                <a:gd name="T9" fmla="*/ 11 h 33"/>
                <a:gd name="T10" fmla="*/ 0 60000 65536"/>
                <a:gd name="T11" fmla="*/ 0 60000 65536"/>
                <a:gd name="T12" fmla="*/ 0 60000 65536"/>
                <a:gd name="T13" fmla="*/ 0 60000 65536"/>
                <a:gd name="T14" fmla="*/ 0 60000 65536"/>
                <a:gd name="T15" fmla="*/ 0 w 21"/>
                <a:gd name="T16" fmla="*/ 0 h 33"/>
                <a:gd name="T17" fmla="*/ 21 w 21"/>
                <a:gd name="T18" fmla="*/ 33 h 33"/>
              </a:gdLst>
              <a:ahLst/>
              <a:cxnLst>
                <a:cxn ang="T10">
                  <a:pos x="T0" y="T1"/>
                </a:cxn>
                <a:cxn ang="T11">
                  <a:pos x="T2" y="T3"/>
                </a:cxn>
                <a:cxn ang="T12">
                  <a:pos x="T4" y="T5"/>
                </a:cxn>
                <a:cxn ang="T13">
                  <a:pos x="T6" y="T7"/>
                </a:cxn>
                <a:cxn ang="T14">
                  <a:pos x="T8" y="T9"/>
                </a:cxn>
              </a:cxnLst>
              <a:rect l="T15" t="T16" r="T17" b="T18"/>
              <a:pathLst>
                <a:path w="21" h="33">
                  <a:moveTo>
                    <a:pt x="16" y="11"/>
                  </a:moveTo>
                  <a:lnTo>
                    <a:pt x="21" y="33"/>
                  </a:lnTo>
                  <a:lnTo>
                    <a:pt x="11" y="33"/>
                  </a:lnTo>
                  <a:lnTo>
                    <a:pt x="0" y="0"/>
                  </a:lnTo>
                  <a:lnTo>
                    <a:pt x="16"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1" name="Freeform 933"/>
            <p:cNvSpPr>
              <a:spLocks/>
            </p:cNvSpPr>
            <p:nvPr/>
          </p:nvSpPr>
          <p:spPr bwMode="auto">
            <a:xfrm>
              <a:off x="1457" y="1338"/>
              <a:ext cx="22" cy="10"/>
            </a:xfrm>
            <a:custGeom>
              <a:avLst/>
              <a:gdLst>
                <a:gd name="T0" fmla="*/ 6 w 22"/>
                <a:gd name="T1" fmla="*/ 0 h 10"/>
                <a:gd name="T2" fmla="*/ 22 w 22"/>
                <a:gd name="T3" fmla="*/ 10 h 10"/>
                <a:gd name="T4" fmla="*/ 6 w 22"/>
                <a:gd name="T5" fmla="*/ 10 h 10"/>
                <a:gd name="T6" fmla="*/ 0 w 22"/>
                <a:gd name="T7" fmla="*/ 5 h 10"/>
                <a:gd name="T8" fmla="*/ 6 w 22"/>
                <a:gd name="T9" fmla="*/ 0 h 10"/>
                <a:gd name="T10" fmla="*/ 0 60000 65536"/>
                <a:gd name="T11" fmla="*/ 0 60000 65536"/>
                <a:gd name="T12" fmla="*/ 0 60000 65536"/>
                <a:gd name="T13" fmla="*/ 0 60000 65536"/>
                <a:gd name="T14" fmla="*/ 0 60000 65536"/>
                <a:gd name="T15" fmla="*/ 0 w 22"/>
                <a:gd name="T16" fmla="*/ 0 h 10"/>
                <a:gd name="T17" fmla="*/ 22 w 22"/>
                <a:gd name="T18" fmla="*/ 10 h 10"/>
              </a:gdLst>
              <a:ahLst/>
              <a:cxnLst>
                <a:cxn ang="T10">
                  <a:pos x="T0" y="T1"/>
                </a:cxn>
                <a:cxn ang="T11">
                  <a:pos x="T2" y="T3"/>
                </a:cxn>
                <a:cxn ang="T12">
                  <a:pos x="T4" y="T5"/>
                </a:cxn>
                <a:cxn ang="T13">
                  <a:pos x="T6" y="T7"/>
                </a:cxn>
                <a:cxn ang="T14">
                  <a:pos x="T8" y="T9"/>
                </a:cxn>
              </a:cxnLst>
              <a:rect l="T15" t="T16" r="T17" b="T18"/>
              <a:pathLst>
                <a:path w="22" h="10">
                  <a:moveTo>
                    <a:pt x="6" y="0"/>
                  </a:moveTo>
                  <a:lnTo>
                    <a:pt x="22" y="10"/>
                  </a:lnTo>
                  <a:lnTo>
                    <a:pt x="6" y="10"/>
                  </a:lnTo>
                  <a:lnTo>
                    <a:pt x="0" y="5"/>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2" name="Freeform 934"/>
            <p:cNvSpPr>
              <a:spLocks/>
            </p:cNvSpPr>
            <p:nvPr/>
          </p:nvSpPr>
          <p:spPr bwMode="auto">
            <a:xfrm>
              <a:off x="1522" y="1458"/>
              <a:ext cx="17" cy="16"/>
            </a:xfrm>
            <a:custGeom>
              <a:avLst/>
              <a:gdLst>
                <a:gd name="T0" fmla="*/ 11 w 17"/>
                <a:gd name="T1" fmla="*/ 5 h 16"/>
                <a:gd name="T2" fmla="*/ 6 w 17"/>
                <a:gd name="T3" fmla="*/ 16 h 16"/>
                <a:gd name="T4" fmla="*/ 0 w 17"/>
                <a:gd name="T5" fmla="*/ 11 h 16"/>
                <a:gd name="T6" fmla="*/ 11 w 17"/>
                <a:gd name="T7" fmla="*/ 0 h 16"/>
                <a:gd name="T8" fmla="*/ 17 w 17"/>
                <a:gd name="T9" fmla="*/ 5 h 16"/>
                <a:gd name="T10" fmla="*/ 17 w 17"/>
                <a:gd name="T11" fmla="*/ 11 h 16"/>
                <a:gd name="T12" fmla="*/ 11 w 17"/>
                <a:gd name="T13" fmla="*/ 5 h 16"/>
                <a:gd name="T14" fmla="*/ 0 60000 65536"/>
                <a:gd name="T15" fmla="*/ 0 60000 65536"/>
                <a:gd name="T16" fmla="*/ 0 60000 65536"/>
                <a:gd name="T17" fmla="*/ 0 60000 65536"/>
                <a:gd name="T18" fmla="*/ 0 60000 65536"/>
                <a:gd name="T19" fmla="*/ 0 60000 65536"/>
                <a:gd name="T20" fmla="*/ 0 60000 65536"/>
                <a:gd name="T21" fmla="*/ 0 w 17"/>
                <a:gd name="T22" fmla="*/ 0 h 16"/>
                <a:gd name="T23" fmla="*/ 17 w 1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6">
                  <a:moveTo>
                    <a:pt x="11" y="5"/>
                  </a:moveTo>
                  <a:lnTo>
                    <a:pt x="6" y="16"/>
                  </a:lnTo>
                  <a:lnTo>
                    <a:pt x="0" y="11"/>
                  </a:lnTo>
                  <a:lnTo>
                    <a:pt x="11" y="0"/>
                  </a:lnTo>
                  <a:lnTo>
                    <a:pt x="17" y="5"/>
                  </a:lnTo>
                  <a:lnTo>
                    <a:pt x="17" y="11"/>
                  </a:lnTo>
                  <a:lnTo>
                    <a:pt x="11"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3" name="Freeform 935"/>
            <p:cNvSpPr>
              <a:spLocks/>
            </p:cNvSpPr>
            <p:nvPr/>
          </p:nvSpPr>
          <p:spPr bwMode="auto">
            <a:xfrm>
              <a:off x="1844" y="1921"/>
              <a:ext cx="11" cy="6"/>
            </a:xfrm>
            <a:custGeom>
              <a:avLst/>
              <a:gdLst>
                <a:gd name="T0" fmla="*/ 0 w 11"/>
                <a:gd name="T1" fmla="*/ 0 h 6"/>
                <a:gd name="T2" fmla="*/ 11 w 11"/>
                <a:gd name="T3" fmla="*/ 6 h 6"/>
                <a:gd name="T4" fmla="*/ 5 w 11"/>
                <a:gd name="T5" fmla="*/ 6 h 6"/>
                <a:gd name="T6" fmla="*/ 0 w 11"/>
                <a:gd name="T7" fmla="*/ 0 h 6"/>
                <a:gd name="T8" fmla="*/ 0 60000 65536"/>
                <a:gd name="T9" fmla="*/ 0 60000 65536"/>
                <a:gd name="T10" fmla="*/ 0 60000 65536"/>
                <a:gd name="T11" fmla="*/ 0 60000 65536"/>
                <a:gd name="T12" fmla="*/ 0 w 11"/>
                <a:gd name="T13" fmla="*/ 0 h 6"/>
                <a:gd name="T14" fmla="*/ 11 w 11"/>
                <a:gd name="T15" fmla="*/ 6 h 6"/>
              </a:gdLst>
              <a:ahLst/>
              <a:cxnLst>
                <a:cxn ang="T8">
                  <a:pos x="T0" y="T1"/>
                </a:cxn>
                <a:cxn ang="T9">
                  <a:pos x="T2" y="T3"/>
                </a:cxn>
                <a:cxn ang="T10">
                  <a:pos x="T4" y="T5"/>
                </a:cxn>
                <a:cxn ang="T11">
                  <a:pos x="T6" y="T7"/>
                </a:cxn>
              </a:cxnLst>
              <a:rect l="T12" t="T13" r="T14" b="T15"/>
              <a:pathLst>
                <a:path w="11" h="6">
                  <a:moveTo>
                    <a:pt x="0" y="0"/>
                  </a:moveTo>
                  <a:lnTo>
                    <a:pt x="11" y="6"/>
                  </a:lnTo>
                  <a:lnTo>
                    <a:pt x="5"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4" name="Freeform 936"/>
            <p:cNvSpPr>
              <a:spLocks/>
            </p:cNvSpPr>
            <p:nvPr/>
          </p:nvSpPr>
          <p:spPr bwMode="auto">
            <a:xfrm>
              <a:off x="1495" y="1703"/>
              <a:ext cx="55" cy="49"/>
            </a:xfrm>
            <a:custGeom>
              <a:avLst/>
              <a:gdLst>
                <a:gd name="T0" fmla="*/ 33 w 55"/>
                <a:gd name="T1" fmla="*/ 11 h 49"/>
                <a:gd name="T2" fmla="*/ 22 w 55"/>
                <a:gd name="T3" fmla="*/ 0 h 49"/>
                <a:gd name="T4" fmla="*/ 17 w 55"/>
                <a:gd name="T5" fmla="*/ 11 h 49"/>
                <a:gd name="T6" fmla="*/ 17 w 55"/>
                <a:gd name="T7" fmla="*/ 17 h 49"/>
                <a:gd name="T8" fmla="*/ 11 w 55"/>
                <a:gd name="T9" fmla="*/ 17 h 49"/>
                <a:gd name="T10" fmla="*/ 11 w 55"/>
                <a:gd name="T11" fmla="*/ 22 h 49"/>
                <a:gd name="T12" fmla="*/ 0 w 55"/>
                <a:gd name="T13" fmla="*/ 27 h 49"/>
                <a:gd name="T14" fmla="*/ 0 w 55"/>
                <a:gd name="T15" fmla="*/ 33 h 49"/>
                <a:gd name="T16" fmla="*/ 38 w 55"/>
                <a:gd name="T17" fmla="*/ 49 h 49"/>
                <a:gd name="T18" fmla="*/ 55 w 55"/>
                <a:gd name="T19" fmla="*/ 38 h 49"/>
                <a:gd name="T20" fmla="*/ 49 w 55"/>
                <a:gd name="T21" fmla="*/ 38 h 49"/>
                <a:gd name="T22" fmla="*/ 33 w 55"/>
                <a:gd name="T23" fmla="*/ 11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49"/>
                <a:gd name="T38" fmla="*/ 55 w 55"/>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49">
                  <a:moveTo>
                    <a:pt x="33" y="11"/>
                  </a:moveTo>
                  <a:lnTo>
                    <a:pt x="22" y="0"/>
                  </a:lnTo>
                  <a:lnTo>
                    <a:pt x="17" y="11"/>
                  </a:lnTo>
                  <a:lnTo>
                    <a:pt x="17" y="17"/>
                  </a:lnTo>
                  <a:lnTo>
                    <a:pt x="11" y="17"/>
                  </a:lnTo>
                  <a:lnTo>
                    <a:pt x="11" y="22"/>
                  </a:lnTo>
                  <a:lnTo>
                    <a:pt x="0" y="27"/>
                  </a:lnTo>
                  <a:lnTo>
                    <a:pt x="0" y="33"/>
                  </a:lnTo>
                  <a:lnTo>
                    <a:pt x="38" y="49"/>
                  </a:lnTo>
                  <a:lnTo>
                    <a:pt x="55" y="38"/>
                  </a:lnTo>
                  <a:lnTo>
                    <a:pt x="49" y="38"/>
                  </a:lnTo>
                  <a:lnTo>
                    <a:pt x="33"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5" name="Freeform 937"/>
            <p:cNvSpPr>
              <a:spLocks/>
            </p:cNvSpPr>
            <p:nvPr/>
          </p:nvSpPr>
          <p:spPr bwMode="auto">
            <a:xfrm>
              <a:off x="1495" y="1534"/>
              <a:ext cx="22" cy="16"/>
            </a:xfrm>
            <a:custGeom>
              <a:avLst/>
              <a:gdLst>
                <a:gd name="T0" fmla="*/ 11 w 22"/>
                <a:gd name="T1" fmla="*/ 16 h 16"/>
                <a:gd name="T2" fmla="*/ 22 w 22"/>
                <a:gd name="T3" fmla="*/ 0 h 16"/>
                <a:gd name="T4" fmla="*/ 0 w 22"/>
                <a:gd name="T5" fmla="*/ 11 h 16"/>
                <a:gd name="T6" fmla="*/ 11 w 22"/>
                <a:gd name="T7" fmla="*/ 16 h 16"/>
                <a:gd name="T8" fmla="*/ 0 60000 65536"/>
                <a:gd name="T9" fmla="*/ 0 60000 65536"/>
                <a:gd name="T10" fmla="*/ 0 60000 65536"/>
                <a:gd name="T11" fmla="*/ 0 60000 65536"/>
                <a:gd name="T12" fmla="*/ 0 w 22"/>
                <a:gd name="T13" fmla="*/ 0 h 16"/>
                <a:gd name="T14" fmla="*/ 22 w 22"/>
                <a:gd name="T15" fmla="*/ 16 h 16"/>
              </a:gdLst>
              <a:ahLst/>
              <a:cxnLst>
                <a:cxn ang="T8">
                  <a:pos x="T0" y="T1"/>
                </a:cxn>
                <a:cxn ang="T9">
                  <a:pos x="T2" y="T3"/>
                </a:cxn>
                <a:cxn ang="T10">
                  <a:pos x="T4" y="T5"/>
                </a:cxn>
                <a:cxn ang="T11">
                  <a:pos x="T6" y="T7"/>
                </a:cxn>
              </a:cxnLst>
              <a:rect l="T12" t="T13" r="T14" b="T15"/>
              <a:pathLst>
                <a:path w="22" h="16">
                  <a:moveTo>
                    <a:pt x="11" y="16"/>
                  </a:moveTo>
                  <a:lnTo>
                    <a:pt x="22" y="0"/>
                  </a:lnTo>
                  <a:lnTo>
                    <a:pt x="0" y="11"/>
                  </a:lnTo>
                  <a:lnTo>
                    <a:pt x="11" y="1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6" name="Freeform 938"/>
            <p:cNvSpPr>
              <a:spLocks/>
            </p:cNvSpPr>
            <p:nvPr/>
          </p:nvSpPr>
          <p:spPr bwMode="auto">
            <a:xfrm>
              <a:off x="1522" y="1578"/>
              <a:ext cx="6" cy="11"/>
            </a:xfrm>
            <a:custGeom>
              <a:avLst/>
              <a:gdLst>
                <a:gd name="T0" fmla="*/ 6 w 6"/>
                <a:gd name="T1" fmla="*/ 5 h 11"/>
                <a:gd name="T2" fmla="*/ 6 w 6"/>
                <a:gd name="T3" fmla="*/ 0 h 11"/>
                <a:gd name="T4" fmla="*/ 0 w 6"/>
                <a:gd name="T5" fmla="*/ 0 h 11"/>
                <a:gd name="T6" fmla="*/ 6 w 6"/>
                <a:gd name="T7" fmla="*/ 11 h 11"/>
                <a:gd name="T8" fmla="*/ 6 w 6"/>
                <a:gd name="T9" fmla="*/ 5 h 11"/>
                <a:gd name="T10" fmla="*/ 0 60000 65536"/>
                <a:gd name="T11" fmla="*/ 0 60000 65536"/>
                <a:gd name="T12" fmla="*/ 0 60000 65536"/>
                <a:gd name="T13" fmla="*/ 0 60000 65536"/>
                <a:gd name="T14" fmla="*/ 0 60000 65536"/>
                <a:gd name="T15" fmla="*/ 0 w 6"/>
                <a:gd name="T16" fmla="*/ 0 h 11"/>
                <a:gd name="T17" fmla="*/ 6 w 6"/>
                <a:gd name="T18" fmla="*/ 11 h 11"/>
              </a:gdLst>
              <a:ahLst/>
              <a:cxnLst>
                <a:cxn ang="T10">
                  <a:pos x="T0" y="T1"/>
                </a:cxn>
                <a:cxn ang="T11">
                  <a:pos x="T2" y="T3"/>
                </a:cxn>
                <a:cxn ang="T12">
                  <a:pos x="T4" y="T5"/>
                </a:cxn>
                <a:cxn ang="T13">
                  <a:pos x="T6" y="T7"/>
                </a:cxn>
                <a:cxn ang="T14">
                  <a:pos x="T8" y="T9"/>
                </a:cxn>
              </a:cxnLst>
              <a:rect l="T15" t="T16" r="T17" b="T18"/>
              <a:pathLst>
                <a:path w="6" h="11">
                  <a:moveTo>
                    <a:pt x="6" y="5"/>
                  </a:moveTo>
                  <a:lnTo>
                    <a:pt x="6" y="0"/>
                  </a:lnTo>
                  <a:lnTo>
                    <a:pt x="0" y="0"/>
                  </a:lnTo>
                  <a:lnTo>
                    <a:pt x="6" y="11"/>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7" name="Freeform 939"/>
            <p:cNvSpPr>
              <a:spLocks/>
            </p:cNvSpPr>
            <p:nvPr/>
          </p:nvSpPr>
          <p:spPr bwMode="auto">
            <a:xfrm>
              <a:off x="1403" y="1550"/>
              <a:ext cx="32" cy="39"/>
            </a:xfrm>
            <a:custGeom>
              <a:avLst/>
              <a:gdLst>
                <a:gd name="T0" fmla="*/ 27 w 32"/>
                <a:gd name="T1" fmla="*/ 28 h 39"/>
                <a:gd name="T2" fmla="*/ 32 w 32"/>
                <a:gd name="T3" fmla="*/ 11 h 39"/>
                <a:gd name="T4" fmla="*/ 27 w 32"/>
                <a:gd name="T5" fmla="*/ 6 h 39"/>
                <a:gd name="T6" fmla="*/ 5 w 32"/>
                <a:gd name="T7" fmla="*/ 0 h 39"/>
                <a:gd name="T8" fmla="*/ 0 w 32"/>
                <a:gd name="T9" fmla="*/ 11 h 39"/>
                <a:gd name="T10" fmla="*/ 22 w 32"/>
                <a:gd name="T11" fmla="*/ 39 h 39"/>
                <a:gd name="T12" fmla="*/ 27 w 32"/>
                <a:gd name="T13" fmla="*/ 28 h 39"/>
                <a:gd name="T14" fmla="*/ 0 60000 65536"/>
                <a:gd name="T15" fmla="*/ 0 60000 65536"/>
                <a:gd name="T16" fmla="*/ 0 60000 65536"/>
                <a:gd name="T17" fmla="*/ 0 60000 65536"/>
                <a:gd name="T18" fmla="*/ 0 60000 65536"/>
                <a:gd name="T19" fmla="*/ 0 60000 65536"/>
                <a:gd name="T20" fmla="*/ 0 60000 65536"/>
                <a:gd name="T21" fmla="*/ 0 w 32"/>
                <a:gd name="T22" fmla="*/ 0 h 39"/>
                <a:gd name="T23" fmla="*/ 32 w 32"/>
                <a:gd name="T24" fmla="*/ 39 h 3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9">
                  <a:moveTo>
                    <a:pt x="27" y="28"/>
                  </a:moveTo>
                  <a:lnTo>
                    <a:pt x="32" y="11"/>
                  </a:lnTo>
                  <a:lnTo>
                    <a:pt x="27" y="6"/>
                  </a:lnTo>
                  <a:lnTo>
                    <a:pt x="5" y="0"/>
                  </a:lnTo>
                  <a:lnTo>
                    <a:pt x="0" y="11"/>
                  </a:lnTo>
                  <a:lnTo>
                    <a:pt x="22" y="39"/>
                  </a:lnTo>
                  <a:lnTo>
                    <a:pt x="27" y="2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8" name="Freeform 940"/>
            <p:cNvSpPr>
              <a:spLocks/>
            </p:cNvSpPr>
            <p:nvPr/>
          </p:nvSpPr>
          <p:spPr bwMode="auto">
            <a:xfrm>
              <a:off x="1256" y="1567"/>
              <a:ext cx="223" cy="185"/>
            </a:xfrm>
            <a:custGeom>
              <a:avLst/>
              <a:gdLst>
                <a:gd name="T0" fmla="*/ 32 w 223"/>
                <a:gd name="T1" fmla="*/ 153 h 185"/>
                <a:gd name="T2" fmla="*/ 54 w 223"/>
                <a:gd name="T3" fmla="*/ 120 h 185"/>
                <a:gd name="T4" fmla="*/ 87 w 223"/>
                <a:gd name="T5" fmla="*/ 120 h 185"/>
                <a:gd name="T6" fmla="*/ 43 w 223"/>
                <a:gd name="T7" fmla="*/ 114 h 185"/>
                <a:gd name="T8" fmla="*/ 11 w 223"/>
                <a:gd name="T9" fmla="*/ 93 h 185"/>
                <a:gd name="T10" fmla="*/ 38 w 223"/>
                <a:gd name="T11" fmla="*/ 82 h 185"/>
                <a:gd name="T12" fmla="*/ 11 w 223"/>
                <a:gd name="T13" fmla="*/ 82 h 185"/>
                <a:gd name="T14" fmla="*/ 16 w 223"/>
                <a:gd name="T15" fmla="*/ 76 h 185"/>
                <a:gd name="T16" fmla="*/ 0 w 223"/>
                <a:gd name="T17" fmla="*/ 71 h 185"/>
                <a:gd name="T18" fmla="*/ 11 w 223"/>
                <a:gd name="T19" fmla="*/ 49 h 185"/>
                <a:gd name="T20" fmla="*/ 11 w 223"/>
                <a:gd name="T21" fmla="*/ 33 h 185"/>
                <a:gd name="T22" fmla="*/ 60 w 223"/>
                <a:gd name="T23" fmla="*/ 5 h 185"/>
                <a:gd name="T24" fmla="*/ 54 w 223"/>
                <a:gd name="T25" fmla="*/ 33 h 185"/>
                <a:gd name="T26" fmla="*/ 65 w 223"/>
                <a:gd name="T27" fmla="*/ 22 h 185"/>
                <a:gd name="T28" fmla="*/ 92 w 223"/>
                <a:gd name="T29" fmla="*/ 27 h 185"/>
                <a:gd name="T30" fmla="*/ 109 w 223"/>
                <a:gd name="T31" fmla="*/ 33 h 185"/>
                <a:gd name="T32" fmla="*/ 114 w 223"/>
                <a:gd name="T33" fmla="*/ 27 h 185"/>
                <a:gd name="T34" fmla="*/ 114 w 223"/>
                <a:gd name="T35" fmla="*/ 22 h 185"/>
                <a:gd name="T36" fmla="*/ 130 w 223"/>
                <a:gd name="T37" fmla="*/ 54 h 185"/>
                <a:gd name="T38" fmla="*/ 130 w 223"/>
                <a:gd name="T39" fmla="*/ 65 h 185"/>
                <a:gd name="T40" fmla="*/ 141 w 223"/>
                <a:gd name="T41" fmla="*/ 60 h 185"/>
                <a:gd name="T42" fmla="*/ 130 w 223"/>
                <a:gd name="T43" fmla="*/ 11 h 185"/>
                <a:gd name="T44" fmla="*/ 136 w 223"/>
                <a:gd name="T45" fmla="*/ 5 h 185"/>
                <a:gd name="T46" fmla="*/ 147 w 223"/>
                <a:gd name="T47" fmla="*/ 5 h 185"/>
                <a:gd name="T48" fmla="*/ 169 w 223"/>
                <a:gd name="T49" fmla="*/ 22 h 185"/>
                <a:gd name="T50" fmla="*/ 169 w 223"/>
                <a:gd name="T51" fmla="*/ 33 h 185"/>
                <a:gd name="T52" fmla="*/ 179 w 223"/>
                <a:gd name="T53" fmla="*/ 71 h 185"/>
                <a:gd name="T54" fmla="*/ 190 w 223"/>
                <a:gd name="T55" fmla="*/ 109 h 185"/>
                <a:gd name="T56" fmla="*/ 218 w 223"/>
                <a:gd name="T57" fmla="*/ 125 h 185"/>
                <a:gd name="T58" fmla="*/ 223 w 223"/>
                <a:gd name="T59" fmla="*/ 131 h 185"/>
                <a:gd name="T60" fmla="*/ 218 w 223"/>
                <a:gd name="T61" fmla="*/ 142 h 185"/>
                <a:gd name="T62" fmla="*/ 212 w 223"/>
                <a:gd name="T63" fmla="*/ 142 h 185"/>
                <a:gd name="T64" fmla="*/ 207 w 223"/>
                <a:gd name="T65" fmla="*/ 136 h 185"/>
                <a:gd name="T66" fmla="*/ 201 w 223"/>
                <a:gd name="T67" fmla="*/ 147 h 185"/>
                <a:gd name="T68" fmla="*/ 196 w 223"/>
                <a:gd name="T69" fmla="*/ 158 h 185"/>
                <a:gd name="T70" fmla="*/ 212 w 223"/>
                <a:gd name="T71" fmla="*/ 153 h 185"/>
                <a:gd name="T72" fmla="*/ 212 w 223"/>
                <a:gd name="T73" fmla="*/ 163 h 185"/>
                <a:gd name="T74" fmla="*/ 169 w 223"/>
                <a:gd name="T75" fmla="*/ 169 h 185"/>
                <a:gd name="T76" fmla="*/ 158 w 223"/>
                <a:gd name="T77" fmla="*/ 158 h 185"/>
                <a:gd name="T78" fmla="*/ 152 w 223"/>
                <a:gd name="T79" fmla="*/ 153 h 185"/>
                <a:gd name="T80" fmla="*/ 125 w 223"/>
                <a:gd name="T81" fmla="*/ 169 h 185"/>
                <a:gd name="T82" fmla="*/ 71 w 223"/>
                <a:gd name="T83" fmla="*/ 185 h 185"/>
                <a:gd name="T84" fmla="*/ 65 w 223"/>
                <a:gd name="T85" fmla="*/ 174 h 185"/>
                <a:gd name="T86" fmla="*/ 65 w 223"/>
                <a:gd name="T87" fmla="*/ 163 h 1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3"/>
                <a:gd name="T133" fmla="*/ 0 h 185"/>
                <a:gd name="T134" fmla="*/ 223 w 223"/>
                <a:gd name="T135" fmla="*/ 185 h 1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3" h="185">
                  <a:moveTo>
                    <a:pt x="49" y="158"/>
                  </a:moveTo>
                  <a:lnTo>
                    <a:pt x="32" y="153"/>
                  </a:lnTo>
                  <a:lnTo>
                    <a:pt x="22" y="131"/>
                  </a:lnTo>
                  <a:lnTo>
                    <a:pt x="54" y="120"/>
                  </a:lnTo>
                  <a:lnTo>
                    <a:pt x="81" y="125"/>
                  </a:lnTo>
                  <a:lnTo>
                    <a:pt x="87" y="120"/>
                  </a:lnTo>
                  <a:lnTo>
                    <a:pt x="65" y="109"/>
                  </a:lnTo>
                  <a:lnTo>
                    <a:pt x="43" y="114"/>
                  </a:lnTo>
                  <a:lnTo>
                    <a:pt x="16" y="109"/>
                  </a:lnTo>
                  <a:lnTo>
                    <a:pt x="11" y="93"/>
                  </a:lnTo>
                  <a:lnTo>
                    <a:pt x="38" y="82"/>
                  </a:lnTo>
                  <a:lnTo>
                    <a:pt x="43" y="76"/>
                  </a:lnTo>
                  <a:lnTo>
                    <a:pt x="11" y="82"/>
                  </a:lnTo>
                  <a:lnTo>
                    <a:pt x="16" y="76"/>
                  </a:lnTo>
                  <a:lnTo>
                    <a:pt x="16" y="71"/>
                  </a:lnTo>
                  <a:lnTo>
                    <a:pt x="0" y="71"/>
                  </a:lnTo>
                  <a:lnTo>
                    <a:pt x="0" y="65"/>
                  </a:lnTo>
                  <a:lnTo>
                    <a:pt x="11" y="49"/>
                  </a:lnTo>
                  <a:lnTo>
                    <a:pt x="5" y="43"/>
                  </a:lnTo>
                  <a:lnTo>
                    <a:pt x="11" y="33"/>
                  </a:lnTo>
                  <a:lnTo>
                    <a:pt x="54" y="0"/>
                  </a:lnTo>
                  <a:lnTo>
                    <a:pt x="60" y="5"/>
                  </a:lnTo>
                  <a:lnTo>
                    <a:pt x="60" y="16"/>
                  </a:lnTo>
                  <a:lnTo>
                    <a:pt x="54" y="33"/>
                  </a:lnTo>
                  <a:lnTo>
                    <a:pt x="65" y="27"/>
                  </a:lnTo>
                  <a:lnTo>
                    <a:pt x="65" y="22"/>
                  </a:lnTo>
                  <a:lnTo>
                    <a:pt x="71" y="16"/>
                  </a:lnTo>
                  <a:lnTo>
                    <a:pt x="92" y="27"/>
                  </a:lnTo>
                  <a:lnTo>
                    <a:pt x="87" y="43"/>
                  </a:lnTo>
                  <a:lnTo>
                    <a:pt x="109" y="33"/>
                  </a:lnTo>
                  <a:lnTo>
                    <a:pt x="109" y="27"/>
                  </a:lnTo>
                  <a:lnTo>
                    <a:pt x="114" y="27"/>
                  </a:lnTo>
                  <a:lnTo>
                    <a:pt x="103" y="16"/>
                  </a:lnTo>
                  <a:lnTo>
                    <a:pt x="114" y="22"/>
                  </a:lnTo>
                  <a:lnTo>
                    <a:pt x="125" y="38"/>
                  </a:lnTo>
                  <a:lnTo>
                    <a:pt x="130" y="54"/>
                  </a:lnTo>
                  <a:lnTo>
                    <a:pt x="130" y="60"/>
                  </a:lnTo>
                  <a:lnTo>
                    <a:pt x="130" y="65"/>
                  </a:lnTo>
                  <a:lnTo>
                    <a:pt x="136" y="71"/>
                  </a:lnTo>
                  <a:lnTo>
                    <a:pt x="141" y="60"/>
                  </a:lnTo>
                  <a:lnTo>
                    <a:pt x="136" y="49"/>
                  </a:lnTo>
                  <a:lnTo>
                    <a:pt x="130" y="11"/>
                  </a:lnTo>
                  <a:lnTo>
                    <a:pt x="136" y="5"/>
                  </a:lnTo>
                  <a:lnTo>
                    <a:pt x="147" y="11"/>
                  </a:lnTo>
                  <a:lnTo>
                    <a:pt x="147" y="5"/>
                  </a:lnTo>
                  <a:lnTo>
                    <a:pt x="152" y="5"/>
                  </a:lnTo>
                  <a:lnTo>
                    <a:pt x="169" y="22"/>
                  </a:lnTo>
                  <a:lnTo>
                    <a:pt x="169" y="27"/>
                  </a:lnTo>
                  <a:lnTo>
                    <a:pt x="169" y="33"/>
                  </a:lnTo>
                  <a:lnTo>
                    <a:pt x="174" y="54"/>
                  </a:lnTo>
                  <a:lnTo>
                    <a:pt x="179" y="71"/>
                  </a:lnTo>
                  <a:lnTo>
                    <a:pt x="179" y="93"/>
                  </a:lnTo>
                  <a:lnTo>
                    <a:pt x="190" y="109"/>
                  </a:lnTo>
                  <a:lnTo>
                    <a:pt x="201" y="109"/>
                  </a:lnTo>
                  <a:lnTo>
                    <a:pt x="218" y="125"/>
                  </a:lnTo>
                  <a:lnTo>
                    <a:pt x="223" y="125"/>
                  </a:lnTo>
                  <a:lnTo>
                    <a:pt x="223" y="131"/>
                  </a:lnTo>
                  <a:lnTo>
                    <a:pt x="223" y="142"/>
                  </a:lnTo>
                  <a:lnTo>
                    <a:pt x="218" y="142"/>
                  </a:lnTo>
                  <a:lnTo>
                    <a:pt x="218" y="136"/>
                  </a:lnTo>
                  <a:lnTo>
                    <a:pt x="212" y="142"/>
                  </a:lnTo>
                  <a:lnTo>
                    <a:pt x="207" y="136"/>
                  </a:lnTo>
                  <a:lnTo>
                    <a:pt x="201" y="142"/>
                  </a:lnTo>
                  <a:lnTo>
                    <a:pt x="201" y="147"/>
                  </a:lnTo>
                  <a:lnTo>
                    <a:pt x="196" y="147"/>
                  </a:lnTo>
                  <a:lnTo>
                    <a:pt x="196" y="158"/>
                  </a:lnTo>
                  <a:lnTo>
                    <a:pt x="207" y="153"/>
                  </a:lnTo>
                  <a:lnTo>
                    <a:pt x="212" y="153"/>
                  </a:lnTo>
                  <a:lnTo>
                    <a:pt x="207" y="158"/>
                  </a:lnTo>
                  <a:lnTo>
                    <a:pt x="212" y="163"/>
                  </a:lnTo>
                  <a:lnTo>
                    <a:pt x="196" y="174"/>
                  </a:lnTo>
                  <a:lnTo>
                    <a:pt x="169" y="169"/>
                  </a:lnTo>
                  <a:lnTo>
                    <a:pt x="174" y="163"/>
                  </a:lnTo>
                  <a:lnTo>
                    <a:pt x="158" y="158"/>
                  </a:lnTo>
                  <a:lnTo>
                    <a:pt x="158" y="153"/>
                  </a:lnTo>
                  <a:lnTo>
                    <a:pt x="152" y="153"/>
                  </a:lnTo>
                  <a:lnTo>
                    <a:pt x="141" y="169"/>
                  </a:lnTo>
                  <a:lnTo>
                    <a:pt x="125" y="169"/>
                  </a:lnTo>
                  <a:lnTo>
                    <a:pt x="114" y="180"/>
                  </a:lnTo>
                  <a:lnTo>
                    <a:pt x="71" y="185"/>
                  </a:lnTo>
                  <a:lnTo>
                    <a:pt x="76" y="180"/>
                  </a:lnTo>
                  <a:lnTo>
                    <a:pt x="65" y="174"/>
                  </a:lnTo>
                  <a:lnTo>
                    <a:pt x="65" y="169"/>
                  </a:lnTo>
                  <a:lnTo>
                    <a:pt x="65" y="163"/>
                  </a:lnTo>
                  <a:lnTo>
                    <a:pt x="49" y="158"/>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19" name="Freeform 941"/>
            <p:cNvSpPr>
              <a:spLocks/>
            </p:cNvSpPr>
            <p:nvPr/>
          </p:nvSpPr>
          <p:spPr bwMode="auto">
            <a:xfrm>
              <a:off x="1174" y="1512"/>
              <a:ext cx="125" cy="148"/>
            </a:xfrm>
            <a:custGeom>
              <a:avLst/>
              <a:gdLst>
                <a:gd name="T0" fmla="*/ 16 w 125"/>
                <a:gd name="T1" fmla="*/ 27 h 148"/>
                <a:gd name="T2" fmla="*/ 22 w 125"/>
                <a:gd name="T3" fmla="*/ 33 h 148"/>
                <a:gd name="T4" fmla="*/ 11 w 125"/>
                <a:gd name="T5" fmla="*/ 66 h 148"/>
                <a:gd name="T6" fmla="*/ 11 w 125"/>
                <a:gd name="T7" fmla="*/ 71 h 148"/>
                <a:gd name="T8" fmla="*/ 6 w 125"/>
                <a:gd name="T9" fmla="*/ 77 h 148"/>
                <a:gd name="T10" fmla="*/ 6 w 125"/>
                <a:gd name="T11" fmla="*/ 88 h 148"/>
                <a:gd name="T12" fmla="*/ 0 w 125"/>
                <a:gd name="T13" fmla="*/ 115 h 148"/>
                <a:gd name="T14" fmla="*/ 16 w 125"/>
                <a:gd name="T15" fmla="*/ 120 h 148"/>
                <a:gd name="T16" fmla="*/ 33 w 125"/>
                <a:gd name="T17" fmla="*/ 148 h 148"/>
                <a:gd name="T18" fmla="*/ 49 w 125"/>
                <a:gd name="T19" fmla="*/ 131 h 148"/>
                <a:gd name="T20" fmla="*/ 55 w 125"/>
                <a:gd name="T21" fmla="*/ 137 h 148"/>
                <a:gd name="T22" fmla="*/ 60 w 125"/>
                <a:gd name="T23" fmla="*/ 131 h 148"/>
                <a:gd name="T24" fmla="*/ 65 w 125"/>
                <a:gd name="T25" fmla="*/ 120 h 148"/>
                <a:gd name="T26" fmla="*/ 65 w 125"/>
                <a:gd name="T27" fmla="*/ 115 h 148"/>
                <a:gd name="T28" fmla="*/ 65 w 125"/>
                <a:gd name="T29" fmla="*/ 104 h 148"/>
                <a:gd name="T30" fmla="*/ 76 w 125"/>
                <a:gd name="T31" fmla="*/ 98 h 148"/>
                <a:gd name="T32" fmla="*/ 82 w 125"/>
                <a:gd name="T33" fmla="*/ 82 h 148"/>
                <a:gd name="T34" fmla="*/ 125 w 125"/>
                <a:gd name="T35" fmla="*/ 49 h 148"/>
                <a:gd name="T36" fmla="*/ 98 w 125"/>
                <a:gd name="T37" fmla="*/ 17 h 148"/>
                <a:gd name="T38" fmla="*/ 82 w 125"/>
                <a:gd name="T39" fmla="*/ 17 h 148"/>
                <a:gd name="T40" fmla="*/ 82 w 125"/>
                <a:gd name="T41" fmla="*/ 27 h 148"/>
                <a:gd name="T42" fmla="*/ 82 w 125"/>
                <a:gd name="T43" fmla="*/ 17 h 148"/>
                <a:gd name="T44" fmla="*/ 71 w 125"/>
                <a:gd name="T45" fmla="*/ 27 h 148"/>
                <a:gd name="T46" fmla="*/ 76 w 125"/>
                <a:gd name="T47" fmla="*/ 17 h 148"/>
                <a:gd name="T48" fmla="*/ 49 w 125"/>
                <a:gd name="T49" fmla="*/ 0 h 148"/>
                <a:gd name="T50" fmla="*/ 33 w 125"/>
                <a:gd name="T51" fmla="*/ 6 h 148"/>
                <a:gd name="T52" fmla="*/ 33 w 125"/>
                <a:gd name="T53" fmla="*/ 11 h 148"/>
                <a:gd name="T54" fmla="*/ 27 w 125"/>
                <a:gd name="T55" fmla="*/ 6 h 148"/>
                <a:gd name="T56" fmla="*/ 11 w 125"/>
                <a:gd name="T57" fmla="*/ 11 h 148"/>
                <a:gd name="T58" fmla="*/ 16 w 125"/>
                <a:gd name="T59" fmla="*/ 17 h 148"/>
                <a:gd name="T60" fmla="*/ 16 w 125"/>
                <a:gd name="T61" fmla="*/ 22 h 148"/>
                <a:gd name="T62" fmla="*/ 16 w 125"/>
                <a:gd name="T63" fmla="*/ 27 h 1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5"/>
                <a:gd name="T97" fmla="*/ 0 h 148"/>
                <a:gd name="T98" fmla="*/ 125 w 125"/>
                <a:gd name="T99" fmla="*/ 148 h 1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5" h="148">
                  <a:moveTo>
                    <a:pt x="16" y="27"/>
                  </a:moveTo>
                  <a:lnTo>
                    <a:pt x="22" y="33"/>
                  </a:lnTo>
                  <a:lnTo>
                    <a:pt x="11" y="66"/>
                  </a:lnTo>
                  <a:lnTo>
                    <a:pt x="11" y="71"/>
                  </a:lnTo>
                  <a:lnTo>
                    <a:pt x="6" y="77"/>
                  </a:lnTo>
                  <a:lnTo>
                    <a:pt x="6" y="88"/>
                  </a:lnTo>
                  <a:lnTo>
                    <a:pt x="0" y="115"/>
                  </a:lnTo>
                  <a:lnTo>
                    <a:pt x="16" y="120"/>
                  </a:lnTo>
                  <a:lnTo>
                    <a:pt x="33" y="148"/>
                  </a:lnTo>
                  <a:lnTo>
                    <a:pt x="49" y="131"/>
                  </a:lnTo>
                  <a:lnTo>
                    <a:pt x="55" y="137"/>
                  </a:lnTo>
                  <a:lnTo>
                    <a:pt x="60" y="131"/>
                  </a:lnTo>
                  <a:lnTo>
                    <a:pt x="65" y="120"/>
                  </a:lnTo>
                  <a:lnTo>
                    <a:pt x="65" y="115"/>
                  </a:lnTo>
                  <a:lnTo>
                    <a:pt x="65" y="104"/>
                  </a:lnTo>
                  <a:lnTo>
                    <a:pt x="76" y="98"/>
                  </a:lnTo>
                  <a:lnTo>
                    <a:pt x="82" y="82"/>
                  </a:lnTo>
                  <a:lnTo>
                    <a:pt x="125" y="49"/>
                  </a:lnTo>
                  <a:lnTo>
                    <a:pt x="98" y="17"/>
                  </a:lnTo>
                  <a:lnTo>
                    <a:pt x="82" y="17"/>
                  </a:lnTo>
                  <a:lnTo>
                    <a:pt x="82" y="27"/>
                  </a:lnTo>
                  <a:lnTo>
                    <a:pt x="82" y="17"/>
                  </a:lnTo>
                  <a:lnTo>
                    <a:pt x="71" y="27"/>
                  </a:lnTo>
                  <a:lnTo>
                    <a:pt x="76" y="17"/>
                  </a:lnTo>
                  <a:lnTo>
                    <a:pt x="49" y="0"/>
                  </a:lnTo>
                  <a:lnTo>
                    <a:pt x="33" y="6"/>
                  </a:lnTo>
                  <a:lnTo>
                    <a:pt x="33" y="11"/>
                  </a:lnTo>
                  <a:lnTo>
                    <a:pt x="27" y="6"/>
                  </a:lnTo>
                  <a:lnTo>
                    <a:pt x="11" y="11"/>
                  </a:lnTo>
                  <a:lnTo>
                    <a:pt x="16" y="17"/>
                  </a:lnTo>
                  <a:lnTo>
                    <a:pt x="16" y="22"/>
                  </a:lnTo>
                  <a:lnTo>
                    <a:pt x="16" y="2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0" name="Freeform 942"/>
            <p:cNvSpPr>
              <a:spLocks/>
            </p:cNvSpPr>
            <p:nvPr/>
          </p:nvSpPr>
          <p:spPr bwMode="auto">
            <a:xfrm>
              <a:off x="1049" y="1725"/>
              <a:ext cx="11" cy="11"/>
            </a:xfrm>
            <a:custGeom>
              <a:avLst/>
              <a:gdLst>
                <a:gd name="T0" fmla="*/ 0 w 11"/>
                <a:gd name="T1" fmla="*/ 0 h 11"/>
                <a:gd name="T2" fmla="*/ 0 w 11"/>
                <a:gd name="T3" fmla="*/ 11 h 11"/>
                <a:gd name="T4" fmla="*/ 11 w 11"/>
                <a:gd name="T5" fmla="*/ 11 h 11"/>
                <a:gd name="T6" fmla="*/ 0 w 11"/>
                <a:gd name="T7" fmla="*/ 0 h 11"/>
                <a:gd name="T8" fmla="*/ 0 60000 65536"/>
                <a:gd name="T9" fmla="*/ 0 60000 65536"/>
                <a:gd name="T10" fmla="*/ 0 60000 65536"/>
                <a:gd name="T11" fmla="*/ 0 60000 65536"/>
                <a:gd name="T12" fmla="*/ 0 w 11"/>
                <a:gd name="T13" fmla="*/ 0 h 11"/>
                <a:gd name="T14" fmla="*/ 11 w 11"/>
                <a:gd name="T15" fmla="*/ 11 h 11"/>
              </a:gdLst>
              <a:ahLst/>
              <a:cxnLst>
                <a:cxn ang="T8">
                  <a:pos x="T0" y="T1"/>
                </a:cxn>
                <a:cxn ang="T9">
                  <a:pos x="T2" y="T3"/>
                </a:cxn>
                <a:cxn ang="T10">
                  <a:pos x="T4" y="T5"/>
                </a:cxn>
                <a:cxn ang="T11">
                  <a:pos x="T6" y="T7"/>
                </a:cxn>
              </a:cxnLst>
              <a:rect l="T12" t="T13" r="T14" b="T15"/>
              <a:pathLst>
                <a:path w="11" h="11">
                  <a:moveTo>
                    <a:pt x="0" y="0"/>
                  </a:moveTo>
                  <a:lnTo>
                    <a:pt x="0" y="11"/>
                  </a:lnTo>
                  <a:lnTo>
                    <a:pt x="11" y="11"/>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1" name="Freeform 943"/>
            <p:cNvSpPr>
              <a:spLocks/>
            </p:cNvSpPr>
            <p:nvPr/>
          </p:nvSpPr>
          <p:spPr bwMode="auto">
            <a:xfrm>
              <a:off x="1054" y="1709"/>
              <a:ext cx="17" cy="21"/>
            </a:xfrm>
            <a:custGeom>
              <a:avLst/>
              <a:gdLst>
                <a:gd name="T0" fmla="*/ 6 w 17"/>
                <a:gd name="T1" fmla="*/ 11 h 21"/>
                <a:gd name="T2" fmla="*/ 11 w 17"/>
                <a:gd name="T3" fmla="*/ 11 h 21"/>
                <a:gd name="T4" fmla="*/ 11 w 17"/>
                <a:gd name="T5" fmla="*/ 5 h 21"/>
                <a:gd name="T6" fmla="*/ 11 w 17"/>
                <a:gd name="T7" fmla="*/ 0 h 21"/>
                <a:gd name="T8" fmla="*/ 17 w 17"/>
                <a:gd name="T9" fmla="*/ 5 h 21"/>
                <a:gd name="T10" fmla="*/ 17 w 17"/>
                <a:gd name="T11" fmla="*/ 5 h 21"/>
                <a:gd name="T12" fmla="*/ 11 w 17"/>
                <a:gd name="T13" fmla="*/ 21 h 21"/>
                <a:gd name="T14" fmla="*/ 6 w 17"/>
                <a:gd name="T15" fmla="*/ 21 h 21"/>
                <a:gd name="T16" fmla="*/ 11 w 17"/>
                <a:gd name="T17" fmla="*/ 16 h 21"/>
                <a:gd name="T18" fmla="*/ 6 w 17"/>
                <a:gd name="T19" fmla="*/ 16 h 21"/>
                <a:gd name="T20" fmla="*/ 0 w 17"/>
                <a:gd name="T21" fmla="*/ 11 h 21"/>
                <a:gd name="T22" fmla="*/ 6 w 17"/>
                <a:gd name="T23" fmla="*/ 11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7"/>
                <a:gd name="T37" fmla="*/ 0 h 21"/>
                <a:gd name="T38" fmla="*/ 17 w 17"/>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7" h="21">
                  <a:moveTo>
                    <a:pt x="6" y="11"/>
                  </a:moveTo>
                  <a:lnTo>
                    <a:pt x="11" y="11"/>
                  </a:lnTo>
                  <a:lnTo>
                    <a:pt x="11" y="5"/>
                  </a:lnTo>
                  <a:lnTo>
                    <a:pt x="11" y="0"/>
                  </a:lnTo>
                  <a:lnTo>
                    <a:pt x="17" y="5"/>
                  </a:lnTo>
                  <a:lnTo>
                    <a:pt x="11" y="21"/>
                  </a:lnTo>
                  <a:lnTo>
                    <a:pt x="6" y="21"/>
                  </a:lnTo>
                  <a:lnTo>
                    <a:pt x="11" y="16"/>
                  </a:lnTo>
                  <a:lnTo>
                    <a:pt x="6" y="16"/>
                  </a:lnTo>
                  <a:lnTo>
                    <a:pt x="0" y="11"/>
                  </a:lnTo>
                  <a:lnTo>
                    <a:pt x="6" y="1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2" name="Rectangle 944"/>
            <p:cNvSpPr>
              <a:spLocks noChangeArrowheads="1"/>
            </p:cNvSpPr>
            <p:nvPr/>
          </p:nvSpPr>
          <p:spPr bwMode="auto">
            <a:xfrm>
              <a:off x="1751" y="1720"/>
              <a:ext cx="6" cy="5"/>
            </a:xfrm>
            <a:prstGeom prst="rect">
              <a:avLst/>
            </a:prstGeom>
            <a:solidFill>
              <a:schemeClr val="accent2"/>
            </a:solidFill>
            <a:ln w="12700">
              <a:solidFill>
                <a:schemeClr val="bg1"/>
              </a:solidFill>
              <a:miter lim="800000"/>
              <a:headEnd/>
              <a:tailEnd/>
            </a:ln>
          </p:spPr>
          <p:txBody>
            <a:bodyPr/>
            <a:lstStyle/>
            <a:p>
              <a:pPr>
                <a:lnSpc>
                  <a:spcPts val="1800"/>
                </a:lnSpc>
                <a:spcBef>
                  <a:spcPct val="50000"/>
                </a:spcBef>
                <a:buClr>
                  <a:schemeClr val="tx2"/>
                </a:buClr>
                <a:buSzPct val="75000"/>
                <a:buFont typeface="Wingdings" pitchFamily="2" charset="2"/>
                <a:buNone/>
              </a:pPr>
              <a:endParaRPr lang="en-US"/>
            </a:p>
          </p:txBody>
        </p:sp>
        <p:sp>
          <p:nvSpPr>
            <p:cNvPr id="356923" name="Freeform 945"/>
            <p:cNvSpPr>
              <a:spLocks/>
            </p:cNvSpPr>
            <p:nvPr/>
          </p:nvSpPr>
          <p:spPr bwMode="auto">
            <a:xfrm>
              <a:off x="1740" y="1725"/>
              <a:ext cx="11" cy="16"/>
            </a:xfrm>
            <a:custGeom>
              <a:avLst/>
              <a:gdLst>
                <a:gd name="T0" fmla="*/ 11 w 11"/>
                <a:gd name="T1" fmla="*/ 5 h 16"/>
                <a:gd name="T2" fmla="*/ 11 w 11"/>
                <a:gd name="T3" fmla="*/ 0 h 16"/>
                <a:gd name="T4" fmla="*/ 0 w 11"/>
                <a:gd name="T5" fmla="*/ 16 h 16"/>
                <a:gd name="T6" fmla="*/ 11 w 11"/>
                <a:gd name="T7" fmla="*/ 11 h 16"/>
                <a:gd name="T8" fmla="*/ 11 w 11"/>
                <a:gd name="T9" fmla="*/ 5 h 16"/>
                <a:gd name="T10" fmla="*/ 0 60000 65536"/>
                <a:gd name="T11" fmla="*/ 0 60000 65536"/>
                <a:gd name="T12" fmla="*/ 0 60000 65536"/>
                <a:gd name="T13" fmla="*/ 0 60000 65536"/>
                <a:gd name="T14" fmla="*/ 0 60000 65536"/>
                <a:gd name="T15" fmla="*/ 0 w 11"/>
                <a:gd name="T16" fmla="*/ 0 h 16"/>
                <a:gd name="T17" fmla="*/ 11 w 11"/>
                <a:gd name="T18" fmla="*/ 16 h 16"/>
              </a:gdLst>
              <a:ahLst/>
              <a:cxnLst>
                <a:cxn ang="T10">
                  <a:pos x="T0" y="T1"/>
                </a:cxn>
                <a:cxn ang="T11">
                  <a:pos x="T2" y="T3"/>
                </a:cxn>
                <a:cxn ang="T12">
                  <a:pos x="T4" y="T5"/>
                </a:cxn>
                <a:cxn ang="T13">
                  <a:pos x="T6" y="T7"/>
                </a:cxn>
                <a:cxn ang="T14">
                  <a:pos x="T8" y="T9"/>
                </a:cxn>
              </a:cxnLst>
              <a:rect l="T15" t="T16" r="T17" b="T18"/>
              <a:pathLst>
                <a:path w="11" h="16">
                  <a:moveTo>
                    <a:pt x="11" y="5"/>
                  </a:moveTo>
                  <a:lnTo>
                    <a:pt x="11" y="0"/>
                  </a:lnTo>
                  <a:lnTo>
                    <a:pt x="0" y="16"/>
                  </a:lnTo>
                  <a:lnTo>
                    <a:pt x="11" y="11"/>
                  </a:lnTo>
                  <a:lnTo>
                    <a:pt x="11"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4" name="Freeform 946"/>
            <p:cNvSpPr>
              <a:spLocks/>
            </p:cNvSpPr>
            <p:nvPr/>
          </p:nvSpPr>
          <p:spPr bwMode="auto">
            <a:xfrm>
              <a:off x="2176" y="1992"/>
              <a:ext cx="5" cy="6"/>
            </a:xfrm>
            <a:custGeom>
              <a:avLst/>
              <a:gdLst>
                <a:gd name="T0" fmla="*/ 5 w 5"/>
                <a:gd name="T1" fmla="*/ 6 h 6"/>
                <a:gd name="T2" fmla="*/ 0 w 5"/>
                <a:gd name="T3" fmla="*/ 6 h 6"/>
                <a:gd name="T4" fmla="*/ 0 w 5"/>
                <a:gd name="T5" fmla="*/ 0 h 6"/>
                <a:gd name="T6" fmla="*/ 5 w 5"/>
                <a:gd name="T7" fmla="*/ 6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5" y="6"/>
                  </a:moveTo>
                  <a:lnTo>
                    <a:pt x="0" y="6"/>
                  </a:lnTo>
                  <a:lnTo>
                    <a:pt x="0" y="0"/>
                  </a:lnTo>
                  <a:lnTo>
                    <a:pt x="5"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5" name="Freeform 947"/>
            <p:cNvSpPr>
              <a:spLocks/>
            </p:cNvSpPr>
            <p:nvPr/>
          </p:nvSpPr>
          <p:spPr bwMode="auto">
            <a:xfrm>
              <a:off x="2377" y="1660"/>
              <a:ext cx="33" cy="21"/>
            </a:xfrm>
            <a:custGeom>
              <a:avLst/>
              <a:gdLst>
                <a:gd name="T0" fmla="*/ 33 w 33"/>
                <a:gd name="T1" fmla="*/ 5 h 21"/>
                <a:gd name="T2" fmla="*/ 33 w 33"/>
                <a:gd name="T3" fmla="*/ 16 h 21"/>
                <a:gd name="T4" fmla="*/ 33 w 33"/>
                <a:gd name="T5" fmla="*/ 16 h 21"/>
                <a:gd name="T6" fmla="*/ 0 w 33"/>
                <a:gd name="T7" fmla="*/ 21 h 21"/>
                <a:gd name="T8" fmla="*/ 0 w 33"/>
                <a:gd name="T9" fmla="*/ 16 h 21"/>
                <a:gd name="T10" fmla="*/ 11 w 33"/>
                <a:gd name="T11" fmla="*/ 5 h 21"/>
                <a:gd name="T12" fmla="*/ 27 w 33"/>
                <a:gd name="T13" fmla="*/ 0 h 21"/>
                <a:gd name="T14" fmla="*/ 33 w 33"/>
                <a:gd name="T15" fmla="*/ 5 h 21"/>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21"/>
                <a:gd name="T26" fmla="*/ 33 w 33"/>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21">
                  <a:moveTo>
                    <a:pt x="33" y="5"/>
                  </a:moveTo>
                  <a:lnTo>
                    <a:pt x="33" y="16"/>
                  </a:lnTo>
                  <a:lnTo>
                    <a:pt x="0" y="21"/>
                  </a:lnTo>
                  <a:lnTo>
                    <a:pt x="0" y="16"/>
                  </a:lnTo>
                  <a:lnTo>
                    <a:pt x="11" y="5"/>
                  </a:lnTo>
                  <a:lnTo>
                    <a:pt x="27" y="0"/>
                  </a:lnTo>
                  <a:lnTo>
                    <a:pt x="33"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6" name="Freeform 948"/>
            <p:cNvSpPr>
              <a:spLocks/>
            </p:cNvSpPr>
            <p:nvPr/>
          </p:nvSpPr>
          <p:spPr bwMode="auto">
            <a:xfrm>
              <a:off x="2480" y="1414"/>
              <a:ext cx="6" cy="27"/>
            </a:xfrm>
            <a:custGeom>
              <a:avLst/>
              <a:gdLst>
                <a:gd name="T0" fmla="*/ 6 w 6"/>
                <a:gd name="T1" fmla="*/ 5 h 27"/>
                <a:gd name="T2" fmla="*/ 6 w 6"/>
                <a:gd name="T3" fmla="*/ 27 h 27"/>
                <a:gd name="T4" fmla="*/ 0 w 6"/>
                <a:gd name="T5" fmla="*/ 0 h 27"/>
                <a:gd name="T6" fmla="*/ 6 w 6"/>
                <a:gd name="T7" fmla="*/ 0 h 27"/>
                <a:gd name="T8" fmla="*/ 6 w 6"/>
                <a:gd name="T9" fmla="*/ 5 h 27"/>
                <a:gd name="T10" fmla="*/ 0 60000 65536"/>
                <a:gd name="T11" fmla="*/ 0 60000 65536"/>
                <a:gd name="T12" fmla="*/ 0 60000 65536"/>
                <a:gd name="T13" fmla="*/ 0 60000 65536"/>
                <a:gd name="T14" fmla="*/ 0 60000 65536"/>
                <a:gd name="T15" fmla="*/ 0 w 6"/>
                <a:gd name="T16" fmla="*/ 0 h 27"/>
                <a:gd name="T17" fmla="*/ 6 w 6"/>
                <a:gd name="T18" fmla="*/ 27 h 27"/>
              </a:gdLst>
              <a:ahLst/>
              <a:cxnLst>
                <a:cxn ang="T10">
                  <a:pos x="T0" y="T1"/>
                </a:cxn>
                <a:cxn ang="T11">
                  <a:pos x="T2" y="T3"/>
                </a:cxn>
                <a:cxn ang="T12">
                  <a:pos x="T4" y="T5"/>
                </a:cxn>
                <a:cxn ang="T13">
                  <a:pos x="T6" y="T7"/>
                </a:cxn>
                <a:cxn ang="T14">
                  <a:pos x="T8" y="T9"/>
                </a:cxn>
              </a:cxnLst>
              <a:rect l="T15" t="T16" r="T17" b="T18"/>
              <a:pathLst>
                <a:path w="6" h="27">
                  <a:moveTo>
                    <a:pt x="6" y="5"/>
                  </a:moveTo>
                  <a:lnTo>
                    <a:pt x="6" y="27"/>
                  </a:lnTo>
                  <a:lnTo>
                    <a:pt x="0" y="0"/>
                  </a:lnTo>
                  <a:lnTo>
                    <a:pt x="6" y="0"/>
                  </a:lnTo>
                  <a:lnTo>
                    <a:pt x="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7" name="Freeform 949"/>
            <p:cNvSpPr>
              <a:spLocks/>
            </p:cNvSpPr>
            <p:nvPr/>
          </p:nvSpPr>
          <p:spPr bwMode="auto">
            <a:xfrm>
              <a:off x="2045" y="1687"/>
              <a:ext cx="33" cy="38"/>
            </a:xfrm>
            <a:custGeom>
              <a:avLst/>
              <a:gdLst>
                <a:gd name="T0" fmla="*/ 5 w 33"/>
                <a:gd name="T1" fmla="*/ 0 h 38"/>
                <a:gd name="T2" fmla="*/ 16 w 33"/>
                <a:gd name="T3" fmla="*/ 5 h 38"/>
                <a:gd name="T4" fmla="*/ 33 w 33"/>
                <a:gd name="T5" fmla="*/ 27 h 38"/>
                <a:gd name="T6" fmla="*/ 16 w 33"/>
                <a:gd name="T7" fmla="*/ 38 h 38"/>
                <a:gd name="T8" fmla="*/ 5 w 33"/>
                <a:gd name="T9" fmla="*/ 33 h 38"/>
                <a:gd name="T10" fmla="*/ 16 w 33"/>
                <a:gd name="T11" fmla="*/ 33 h 38"/>
                <a:gd name="T12" fmla="*/ 0 w 33"/>
                <a:gd name="T13" fmla="*/ 27 h 38"/>
                <a:gd name="T14" fmla="*/ 5 w 33"/>
                <a:gd name="T15" fmla="*/ 27 h 38"/>
                <a:gd name="T16" fmla="*/ 0 w 33"/>
                <a:gd name="T17" fmla="*/ 16 h 38"/>
                <a:gd name="T18" fmla="*/ 5 w 33"/>
                <a:gd name="T19" fmla="*/ 16 h 38"/>
                <a:gd name="T20" fmla="*/ 0 w 33"/>
                <a:gd name="T21" fmla="*/ 11 h 38"/>
                <a:gd name="T22" fmla="*/ 5 w 33"/>
                <a:gd name="T23" fmla="*/ 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5" y="0"/>
                  </a:moveTo>
                  <a:lnTo>
                    <a:pt x="16" y="5"/>
                  </a:lnTo>
                  <a:lnTo>
                    <a:pt x="33" y="27"/>
                  </a:lnTo>
                  <a:lnTo>
                    <a:pt x="16" y="38"/>
                  </a:lnTo>
                  <a:lnTo>
                    <a:pt x="5" y="33"/>
                  </a:lnTo>
                  <a:lnTo>
                    <a:pt x="16" y="33"/>
                  </a:lnTo>
                  <a:lnTo>
                    <a:pt x="0" y="27"/>
                  </a:lnTo>
                  <a:lnTo>
                    <a:pt x="5" y="27"/>
                  </a:lnTo>
                  <a:lnTo>
                    <a:pt x="0" y="16"/>
                  </a:lnTo>
                  <a:lnTo>
                    <a:pt x="5" y="16"/>
                  </a:lnTo>
                  <a:lnTo>
                    <a:pt x="0" y="11"/>
                  </a:lnTo>
                  <a:lnTo>
                    <a:pt x="5"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8" name="Freeform 950"/>
            <p:cNvSpPr>
              <a:spLocks/>
            </p:cNvSpPr>
            <p:nvPr/>
          </p:nvSpPr>
          <p:spPr bwMode="auto">
            <a:xfrm>
              <a:off x="2415" y="1589"/>
              <a:ext cx="33" cy="32"/>
            </a:xfrm>
            <a:custGeom>
              <a:avLst/>
              <a:gdLst>
                <a:gd name="T0" fmla="*/ 16 w 33"/>
                <a:gd name="T1" fmla="*/ 5 h 32"/>
                <a:gd name="T2" fmla="*/ 27 w 33"/>
                <a:gd name="T3" fmla="*/ 16 h 32"/>
                <a:gd name="T4" fmla="*/ 33 w 33"/>
                <a:gd name="T5" fmla="*/ 21 h 32"/>
                <a:gd name="T6" fmla="*/ 22 w 33"/>
                <a:gd name="T7" fmla="*/ 21 h 32"/>
                <a:gd name="T8" fmla="*/ 27 w 33"/>
                <a:gd name="T9" fmla="*/ 27 h 32"/>
                <a:gd name="T10" fmla="*/ 27 w 33"/>
                <a:gd name="T11" fmla="*/ 32 h 32"/>
                <a:gd name="T12" fmla="*/ 6 w 33"/>
                <a:gd name="T13" fmla="*/ 16 h 32"/>
                <a:gd name="T14" fmla="*/ 0 w 33"/>
                <a:gd name="T15" fmla="*/ 0 h 32"/>
                <a:gd name="T16" fmla="*/ 16 w 33"/>
                <a:gd name="T17" fmla="*/ 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2"/>
                <a:gd name="T29" fmla="*/ 33 w 33"/>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2">
                  <a:moveTo>
                    <a:pt x="16" y="5"/>
                  </a:moveTo>
                  <a:lnTo>
                    <a:pt x="27" y="16"/>
                  </a:lnTo>
                  <a:lnTo>
                    <a:pt x="33" y="21"/>
                  </a:lnTo>
                  <a:lnTo>
                    <a:pt x="22" y="21"/>
                  </a:lnTo>
                  <a:lnTo>
                    <a:pt x="27" y="27"/>
                  </a:lnTo>
                  <a:lnTo>
                    <a:pt x="27" y="32"/>
                  </a:lnTo>
                  <a:lnTo>
                    <a:pt x="6" y="16"/>
                  </a:lnTo>
                  <a:lnTo>
                    <a:pt x="0" y="0"/>
                  </a:lnTo>
                  <a:lnTo>
                    <a:pt x="16"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29" name="Freeform 951"/>
            <p:cNvSpPr>
              <a:spLocks/>
            </p:cNvSpPr>
            <p:nvPr/>
          </p:nvSpPr>
          <p:spPr bwMode="auto">
            <a:xfrm>
              <a:off x="2448" y="1523"/>
              <a:ext cx="22" cy="11"/>
            </a:xfrm>
            <a:custGeom>
              <a:avLst/>
              <a:gdLst>
                <a:gd name="T0" fmla="*/ 0 w 22"/>
                <a:gd name="T1" fmla="*/ 0 h 11"/>
                <a:gd name="T2" fmla="*/ 0 w 22"/>
                <a:gd name="T3" fmla="*/ 6 h 11"/>
                <a:gd name="T4" fmla="*/ 11 w 22"/>
                <a:gd name="T5" fmla="*/ 11 h 11"/>
                <a:gd name="T6" fmla="*/ 22 w 22"/>
                <a:gd name="T7" fmla="*/ 6 h 11"/>
                <a:gd name="T8" fmla="*/ 11 w 22"/>
                <a:gd name="T9" fmla="*/ 6 h 11"/>
                <a:gd name="T10" fmla="*/ 0 w 22"/>
                <a:gd name="T11" fmla="*/ 0 h 11"/>
                <a:gd name="T12" fmla="*/ 0 60000 65536"/>
                <a:gd name="T13" fmla="*/ 0 60000 65536"/>
                <a:gd name="T14" fmla="*/ 0 60000 65536"/>
                <a:gd name="T15" fmla="*/ 0 60000 65536"/>
                <a:gd name="T16" fmla="*/ 0 60000 65536"/>
                <a:gd name="T17" fmla="*/ 0 60000 65536"/>
                <a:gd name="T18" fmla="*/ 0 w 22"/>
                <a:gd name="T19" fmla="*/ 0 h 11"/>
                <a:gd name="T20" fmla="*/ 22 w 22"/>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22" h="11">
                  <a:moveTo>
                    <a:pt x="0" y="0"/>
                  </a:moveTo>
                  <a:lnTo>
                    <a:pt x="0" y="6"/>
                  </a:lnTo>
                  <a:lnTo>
                    <a:pt x="11" y="11"/>
                  </a:lnTo>
                  <a:lnTo>
                    <a:pt x="22" y="6"/>
                  </a:lnTo>
                  <a:lnTo>
                    <a:pt x="11" y="6"/>
                  </a:lnTo>
                  <a:lnTo>
                    <a:pt x="0"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0" name="Freeform 952"/>
            <p:cNvSpPr>
              <a:spLocks/>
            </p:cNvSpPr>
            <p:nvPr/>
          </p:nvSpPr>
          <p:spPr bwMode="auto">
            <a:xfrm>
              <a:off x="2486" y="1479"/>
              <a:ext cx="16" cy="17"/>
            </a:xfrm>
            <a:custGeom>
              <a:avLst/>
              <a:gdLst>
                <a:gd name="T0" fmla="*/ 11 w 16"/>
                <a:gd name="T1" fmla="*/ 0 h 17"/>
                <a:gd name="T2" fmla="*/ 5 w 16"/>
                <a:gd name="T3" fmla="*/ 6 h 17"/>
                <a:gd name="T4" fmla="*/ 11 w 16"/>
                <a:gd name="T5" fmla="*/ 11 h 17"/>
                <a:gd name="T6" fmla="*/ 16 w 16"/>
                <a:gd name="T7" fmla="*/ 11 h 17"/>
                <a:gd name="T8" fmla="*/ 16 w 16"/>
                <a:gd name="T9" fmla="*/ 17 h 17"/>
                <a:gd name="T10" fmla="*/ 0 w 16"/>
                <a:gd name="T11" fmla="*/ 11 h 17"/>
                <a:gd name="T12" fmla="*/ 0 w 16"/>
                <a:gd name="T13" fmla="*/ 0 h 17"/>
                <a:gd name="T14" fmla="*/ 11 w 16"/>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7"/>
                <a:gd name="T26" fmla="*/ 16 w 16"/>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7">
                  <a:moveTo>
                    <a:pt x="11" y="0"/>
                  </a:moveTo>
                  <a:lnTo>
                    <a:pt x="5" y="6"/>
                  </a:lnTo>
                  <a:lnTo>
                    <a:pt x="11" y="11"/>
                  </a:lnTo>
                  <a:lnTo>
                    <a:pt x="16" y="11"/>
                  </a:lnTo>
                  <a:lnTo>
                    <a:pt x="16" y="17"/>
                  </a:lnTo>
                  <a:lnTo>
                    <a:pt x="0" y="11"/>
                  </a:lnTo>
                  <a:lnTo>
                    <a:pt x="0" y="0"/>
                  </a:lnTo>
                  <a:lnTo>
                    <a:pt x="1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1" name="Freeform 953"/>
            <p:cNvSpPr>
              <a:spLocks/>
            </p:cNvSpPr>
            <p:nvPr/>
          </p:nvSpPr>
          <p:spPr bwMode="auto">
            <a:xfrm>
              <a:off x="2491" y="1343"/>
              <a:ext cx="11" cy="11"/>
            </a:xfrm>
            <a:custGeom>
              <a:avLst/>
              <a:gdLst>
                <a:gd name="T0" fmla="*/ 6 w 11"/>
                <a:gd name="T1" fmla="*/ 0 h 11"/>
                <a:gd name="T2" fmla="*/ 11 w 11"/>
                <a:gd name="T3" fmla="*/ 0 h 11"/>
                <a:gd name="T4" fmla="*/ 11 w 11"/>
                <a:gd name="T5" fmla="*/ 11 h 11"/>
                <a:gd name="T6" fmla="*/ 0 w 11"/>
                <a:gd name="T7" fmla="*/ 11 h 11"/>
                <a:gd name="T8" fmla="*/ 6 w 11"/>
                <a:gd name="T9" fmla="*/ 0 h 11"/>
                <a:gd name="T10" fmla="*/ 0 60000 65536"/>
                <a:gd name="T11" fmla="*/ 0 60000 65536"/>
                <a:gd name="T12" fmla="*/ 0 60000 65536"/>
                <a:gd name="T13" fmla="*/ 0 60000 65536"/>
                <a:gd name="T14" fmla="*/ 0 60000 65536"/>
                <a:gd name="T15" fmla="*/ 0 w 11"/>
                <a:gd name="T16" fmla="*/ 0 h 11"/>
                <a:gd name="T17" fmla="*/ 11 w 11"/>
                <a:gd name="T18" fmla="*/ 11 h 11"/>
              </a:gdLst>
              <a:ahLst/>
              <a:cxnLst>
                <a:cxn ang="T10">
                  <a:pos x="T0" y="T1"/>
                </a:cxn>
                <a:cxn ang="T11">
                  <a:pos x="T2" y="T3"/>
                </a:cxn>
                <a:cxn ang="T12">
                  <a:pos x="T4" y="T5"/>
                </a:cxn>
                <a:cxn ang="T13">
                  <a:pos x="T6" y="T7"/>
                </a:cxn>
                <a:cxn ang="T14">
                  <a:pos x="T8" y="T9"/>
                </a:cxn>
              </a:cxnLst>
              <a:rect l="T15" t="T16" r="T17" b="T18"/>
              <a:pathLst>
                <a:path w="11" h="11">
                  <a:moveTo>
                    <a:pt x="6" y="0"/>
                  </a:moveTo>
                  <a:lnTo>
                    <a:pt x="11" y="0"/>
                  </a:lnTo>
                  <a:lnTo>
                    <a:pt x="11" y="11"/>
                  </a:lnTo>
                  <a:lnTo>
                    <a:pt x="0" y="11"/>
                  </a:lnTo>
                  <a:lnTo>
                    <a:pt x="6"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2" name="Freeform 954"/>
            <p:cNvSpPr>
              <a:spLocks/>
            </p:cNvSpPr>
            <p:nvPr/>
          </p:nvSpPr>
          <p:spPr bwMode="auto">
            <a:xfrm>
              <a:off x="2404" y="1567"/>
              <a:ext cx="33" cy="16"/>
            </a:xfrm>
            <a:custGeom>
              <a:avLst/>
              <a:gdLst>
                <a:gd name="T0" fmla="*/ 0 w 33"/>
                <a:gd name="T1" fmla="*/ 5 h 16"/>
                <a:gd name="T2" fmla="*/ 17 w 33"/>
                <a:gd name="T3" fmla="*/ 16 h 16"/>
                <a:gd name="T4" fmla="*/ 33 w 33"/>
                <a:gd name="T5" fmla="*/ 11 h 16"/>
                <a:gd name="T6" fmla="*/ 6 w 33"/>
                <a:gd name="T7" fmla="*/ 0 h 16"/>
                <a:gd name="T8" fmla="*/ 0 w 33"/>
                <a:gd name="T9" fmla="*/ 5 h 16"/>
                <a:gd name="T10" fmla="*/ 0 60000 65536"/>
                <a:gd name="T11" fmla="*/ 0 60000 65536"/>
                <a:gd name="T12" fmla="*/ 0 60000 65536"/>
                <a:gd name="T13" fmla="*/ 0 60000 65536"/>
                <a:gd name="T14" fmla="*/ 0 60000 65536"/>
                <a:gd name="T15" fmla="*/ 0 w 33"/>
                <a:gd name="T16" fmla="*/ 0 h 16"/>
                <a:gd name="T17" fmla="*/ 33 w 33"/>
                <a:gd name="T18" fmla="*/ 16 h 16"/>
              </a:gdLst>
              <a:ahLst/>
              <a:cxnLst>
                <a:cxn ang="T10">
                  <a:pos x="T0" y="T1"/>
                </a:cxn>
                <a:cxn ang="T11">
                  <a:pos x="T2" y="T3"/>
                </a:cxn>
                <a:cxn ang="T12">
                  <a:pos x="T4" y="T5"/>
                </a:cxn>
                <a:cxn ang="T13">
                  <a:pos x="T6" y="T7"/>
                </a:cxn>
                <a:cxn ang="T14">
                  <a:pos x="T8" y="T9"/>
                </a:cxn>
              </a:cxnLst>
              <a:rect l="T15" t="T16" r="T17" b="T18"/>
              <a:pathLst>
                <a:path w="33" h="16">
                  <a:moveTo>
                    <a:pt x="0" y="5"/>
                  </a:moveTo>
                  <a:lnTo>
                    <a:pt x="17" y="16"/>
                  </a:lnTo>
                  <a:lnTo>
                    <a:pt x="33" y="11"/>
                  </a:lnTo>
                  <a:lnTo>
                    <a:pt x="6" y="0"/>
                  </a:lnTo>
                  <a:lnTo>
                    <a:pt x="0" y="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3" name="Freeform 955"/>
            <p:cNvSpPr>
              <a:spLocks/>
            </p:cNvSpPr>
            <p:nvPr/>
          </p:nvSpPr>
          <p:spPr bwMode="auto">
            <a:xfrm>
              <a:off x="2415" y="1583"/>
              <a:ext cx="33" cy="11"/>
            </a:xfrm>
            <a:custGeom>
              <a:avLst/>
              <a:gdLst>
                <a:gd name="T0" fmla="*/ 33 w 33"/>
                <a:gd name="T1" fmla="*/ 6 h 11"/>
                <a:gd name="T2" fmla="*/ 27 w 33"/>
                <a:gd name="T3" fmla="*/ 6 h 11"/>
                <a:gd name="T4" fmla="*/ 33 w 33"/>
                <a:gd name="T5" fmla="*/ 11 h 11"/>
                <a:gd name="T6" fmla="*/ 27 w 33"/>
                <a:gd name="T7" fmla="*/ 11 h 11"/>
                <a:gd name="T8" fmla="*/ 0 w 33"/>
                <a:gd name="T9" fmla="*/ 0 h 11"/>
                <a:gd name="T10" fmla="*/ 16 w 33"/>
                <a:gd name="T11" fmla="*/ 0 h 11"/>
                <a:gd name="T12" fmla="*/ 33 w 33"/>
                <a:gd name="T13" fmla="*/ 6 h 11"/>
                <a:gd name="T14" fmla="*/ 0 60000 65536"/>
                <a:gd name="T15" fmla="*/ 0 60000 65536"/>
                <a:gd name="T16" fmla="*/ 0 60000 65536"/>
                <a:gd name="T17" fmla="*/ 0 60000 65536"/>
                <a:gd name="T18" fmla="*/ 0 60000 65536"/>
                <a:gd name="T19" fmla="*/ 0 60000 65536"/>
                <a:gd name="T20" fmla="*/ 0 60000 65536"/>
                <a:gd name="T21" fmla="*/ 0 w 33"/>
                <a:gd name="T22" fmla="*/ 0 h 11"/>
                <a:gd name="T23" fmla="*/ 33 w 33"/>
                <a:gd name="T24" fmla="*/ 11 h 1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11">
                  <a:moveTo>
                    <a:pt x="33" y="6"/>
                  </a:moveTo>
                  <a:lnTo>
                    <a:pt x="27" y="6"/>
                  </a:lnTo>
                  <a:lnTo>
                    <a:pt x="33" y="11"/>
                  </a:lnTo>
                  <a:lnTo>
                    <a:pt x="27" y="11"/>
                  </a:lnTo>
                  <a:lnTo>
                    <a:pt x="0" y="0"/>
                  </a:lnTo>
                  <a:lnTo>
                    <a:pt x="16" y="0"/>
                  </a:lnTo>
                  <a:lnTo>
                    <a:pt x="33"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4" name="Freeform 956"/>
            <p:cNvSpPr>
              <a:spLocks/>
            </p:cNvSpPr>
            <p:nvPr/>
          </p:nvSpPr>
          <p:spPr bwMode="auto">
            <a:xfrm>
              <a:off x="1871" y="1370"/>
              <a:ext cx="38" cy="6"/>
            </a:xfrm>
            <a:custGeom>
              <a:avLst/>
              <a:gdLst>
                <a:gd name="T0" fmla="*/ 0 w 38"/>
                <a:gd name="T1" fmla="*/ 6 h 6"/>
                <a:gd name="T2" fmla="*/ 22 w 38"/>
                <a:gd name="T3" fmla="*/ 0 h 6"/>
                <a:gd name="T4" fmla="*/ 38 w 38"/>
                <a:gd name="T5" fmla="*/ 6 h 6"/>
                <a:gd name="T6" fmla="*/ 0 w 38"/>
                <a:gd name="T7" fmla="*/ 6 h 6"/>
                <a:gd name="T8" fmla="*/ 0 60000 65536"/>
                <a:gd name="T9" fmla="*/ 0 60000 65536"/>
                <a:gd name="T10" fmla="*/ 0 60000 65536"/>
                <a:gd name="T11" fmla="*/ 0 60000 65536"/>
                <a:gd name="T12" fmla="*/ 0 w 38"/>
                <a:gd name="T13" fmla="*/ 0 h 6"/>
                <a:gd name="T14" fmla="*/ 38 w 38"/>
                <a:gd name="T15" fmla="*/ 6 h 6"/>
              </a:gdLst>
              <a:ahLst/>
              <a:cxnLst>
                <a:cxn ang="T8">
                  <a:pos x="T0" y="T1"/>
                </a:cxn>
                <a:cxn ang="T9">
                  <a:pos x="T2" y="T3"/>
                </a:cxn>
                <a:cxn ang="T10">
                  <a:pos x="T4" y="T5"/>
                </a:cxn>
                <a:cxn ang="T11">
                  <a:pos x="T6" y="T7"/>
                </a:cxn>
              </a:cxnLst>
              <a:rect l="T12" t="T13" r="T14" b="T15"/>
              <a:pathLst>
                <a:path w="38" h="6">
                  <a:moveTo>
                    <a:pt x="0" y="6"/>
                  </a:moveTo>
                  <a:lnTo>
                    <a:pt x="22" y="0"/>
                  </a:lnTo>
                  <a:lnTo>
                    <a:pt x="38" y="6"/>
                  </a:ln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5" name="Freeform 957"/>
            <p:cNvSpPr>
              <a:spLocks/>
            </p:cNvSpPr>
            <p:nvPr/>
          </p:nvSpPr>
          <p:spPr bwMode="auto">
            <a:xfrm>
              <a:off x="2415" y="1812"/>
              <a:ext cx="136" cy="93"/>
            </a:xfrm>
            <a:custGeom>
              <a:avLst/>
              <a:gdLst>
                <a:gd name="T0" fmla="*/ 71 w 136"/>
                <a:gd name="T1" fmla="*/ 93 h 93"/>
                <a:gd name="T2" fmla="*/ 44 w 136"/>
                <a:gd name="T3" fmla="*/ 82 h 93"/>
                <a:gd name="T4" fmla="*/ 22 w 136"/>
                <a:gd name="T5" fmla="*/ 71 h 93"/>
                <a:gd name="T6" fmla="*/ 33 w 136"/>
                <a:gd name="T7" fmla="*/ 66 h 93"/>
                <a:gd name="T8" fmla="*/ 33 w 136"/>
                <a:gd name="T9" fmla="*/ 60 h 93"/>
                <a:gd name="T10" fmla="*/ 22 w 136"/>
                <a:gd name="T11" fmla="*/ 49 h 93"/>
                <a:gd name="T12" fmla="*/ 22 w 136"/>
                <a:gd name="T13" fmla="*/ 44 h 93"/>
                <a:gd name="T14" fmla="*/ 33 w 136"/>
                <a:gd name="T15" fmla="*/ 39 h 93"/>
                <a:gd name="T16" fmla="*/ 33 w 136"/>
                <a:gd name="T17" fmla="*/ 33 h 93"/>
                <a:gd name="T18" fmla="*/ 0 w 136"/>
                <a:gd name="T19" fmla="*/ 33 h 93"/>
                <a:gd name="T20" fmla="*/ 11 w 136"/>
                <a:gd name="T21" fmla="*/ 33 h 93"/>
                <a:gd name="T22" fmla="*/ 16 w 136"/>
                <a:gd name="T23" fmla="*/ 28 h 93"/>
                <a:gd name="T24" fmla="*/ 11 w 136"/>
                <a:gd name="T25" fmla="*/ 22 h 93"/>
                <a:gd name="T26" fmla="*/ 11 w 136"/>
                <a:gd name="T27" fmla="*/ 17 h 93"/>
                <a:gd name="T28" fmla="*/ 27 w 136"/>
                <a:gd name="T29" fmla="*/ 22 h 93"/>
                <a:gd name="T30" fmla="*/ 22 w 136"/>
                <a:gd name="T31" fmla="*/ 11 h 93"/>
                <a:gd name="T32" fmla="*/ 16 w 136"/>
                <a:gd name="T33" fmla="*/ 6 h 93"/>
                <a:gd name="T34" fmla="*/ 27 w 136"/>
                <a:gd name="T35" fmla="*/ 6 h 93"/>
                <a:gd name="T36" fmla="*/ 38 w 136"/>
                <a:gd name="T37" fmla="*/ 22 h 93"/>
                <a:gd name="T38" fmla="*/ 33 w 136"/>
                <a:gd name="T39" fmla="*/ 28 h 93"/>
                <a:gd name="T40" fmla="*/ 44 w 136"/>
                <a:gd name="T41" fmla="*/ 39 h 93"/>
                <a:gd name="T42" fmla="*/ 44 w 136"/>
                <a:gd name="T43" fmla="*/ 28 h 93"/>
                <a:gd name="T44" fmla="*/ 49 w 136"/>
                <a:gd name="T45" fmla="*/ 17 h 93"/>
                <a:gd name="T46" fmla="*/ 65 w 136"/>
                <a:gd name="T47" fmla="*/ 17 h 93"/>
                <a:gd name="T48" fmla="*/ 76 w 136"/>
                <a:gd name="T49" fmla="*/ 28 h 93"/>
                <a:gd name="T50" fmla="*/ 87 w 136"/>
                <a:gd name="T51" fmla="*/ 17 h 93"/>
                <a:gd name="T52" fmla="*/ 98 w 136"/>
                <a:gd name="T53" fmla="*/ 11 h 93"/>
                <a:gd name="T54" fmla="*/ 104 w 136"/>
                <a:gd name="T55" fmla="*/ 0 h 93"/>
                <a:gd name="T56" fmla="*/ 120 w 136"/>
                <a:gd name="T57" fmla="*/ 6 h 93"/>
                <a:gd name="T58" fmla="*/ 120 w 136"/>
                <a:gd name="T59" fmla="*/ 17 h 93"/>
                <a:gd name="T60" fmla="*/ 131 w 136"/>
                <a:gd name="T61" fmla="*/ 28 h 93"/>
                <a:gd name="T62" fmla="*/ 131 w 136"/>
                <a:gd name="T63" fmla="*/ 39 h 93"/>
                <a:gd name="T64" fmla="*/ 131 w 136"/>
                <a:gd name="T65" fmla="*/ 49 h 93"/>
                <a:gd name="T66" fmla="*/ 125 w 136"/>
                <a:gd name="T67" fmla="*/ 55 h 93"/>
                <a:gd name="T68" fmla="*/ 114 w 136"/>
                <a:gd name="T69" fmla="*/ 66 h 93"/>
                <a:gd name="T70" fmla="*/ 93 w 136"/>
                <a:gd name="T71" fmla="*/ 77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36"/>
                <a:gd name="T109" fmla="*/ 0 h 93"/>
                <a:gd name="T110" fmla="*/ 136 w 136"/>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36" h="93">
                  <a:moveTo>
                    <a:pt x="93" y="77"/>
                  </a:moveTo>
                  <a:lnTo>
                    <a:pt x="71" y="93"/>
                  </a:lnTo>
                  <a:lnTo>
                    <a:pt x="55" y="88"/>
                  </a:lnTo>
                  <a:lnTo>
                    <a:pt x="44" y="82"/>
                  </a:lnTo>
                  <a:lnTo>
                    <a:pt x="22" y="82"/>
                  </a:lnTo>
                  <a:lnTo>
                    <a:pt x="22" y="71"/>
                  </a:lnTo>
                  <a:lnTo>
                    <a:pt x="33" y="71"/>
                  </a:lnTo>
                  <a:lnTo>
                    <a:pt x="33" y="66"/>
                  </a:lnTo>
                  <a:lnTo>
                    <a:pt x="27" y="66"/>
                  </a:lnTo>
                  <a:lnTo>
                    <a:pt x="33" y="60"/>
                  </a:lnTo>
                  <a:lnTo>
                    <a:pt x="27" y="60"/>
                  </a:lnTo>
                  <a:lnTo>
                    <a:pt x="22" y="49"/>
                  </a:lnTo>
                  <a:lnTo>
                    <a:pt x="6" y="55"/>
                  </a:lnTo>
                  <a:lnTo>
                    <a:pt x="22" y="44"/>
                  </a:lnTo>
                  <a:lnTo>
                    <a:pt x="33" y="44"/>
                  </a:lnTo>
                  <a:lnTo>
                    <a:pt x="33" y="39"/>
                  </a:lnTo>
                  <a:lnTo>
                    <a:pt x="27" y="44"/>
                  </a:lnTo>
                  <a:lnTo>
                    <a:pt x="33" y="33"/>
                  </a:lnTo>
                  <a:lnTo>
                    <a:pt x="27" y="28"/>
                  </a:lnTo>
                  <a:lnTo>
                    <a:pt x="0" y="33"/>
                  </a:lnTo>
                  <a:lnTo>
                    <a:pt x="0" y="28"/>
                  </a:lnTo>
                  <a:lnTo>
                    <a:pt x="11" y="33"/>
                  </a:lnTo>
                  <a:lnTo>
                    <a:pt x="6" y="22"/>
                  </a:lnTo>
                  <a:lnTo>
                    <a:pt x="16" y="28"/>
                  </a:lnTo>
                  <a:lnTo>
                    <a:pt x="11" y="22"/>
                  </a:lnTo>
                  <a:lnTo>
                    <a:pt x="6" y="17"/>
                  </a:lnTo>
                  <a:lnTo>
                    <a:pt x="11" y="17"/>
                  </a:lnTo>
                  <a:lnTo>
                    <a:pt x="11" y="11"/>
                  </a:lnTo>
                  <a:lnTo>
                    <a:pt x="27" y="22"/>
                  </a:lnTo>
                  <a:lnTo>
                    <a:pt x="27" y="17"/>
                  </a:lnTo>
                  <a:lnTo>
                    <a:pt x="22" y="11"/>
                  </a:lnTo>
                  <a:lnTo>
                    <a:pt x="27" y="11"/>
                  </a:lnTo>
                  <a:lnTo>
                    <a:pt x="16" y="6"/>
                  </a:lnTo>
                  <a:lnTo>
                    <a:pt x="27" y="6"/>
                  </a:lnTo>
                  <a:lnTo>
                    <a:pt x="38" y="17"/>
                  </a:lnTo>
                  <a:lnTo>
                    <a:pt x="38" y="22"/>
                  </a:lnTo>
                  <a:lnTo>
                    <a:pt x="33" y="28"/>
                  </a:lnTo>
                  <a:lnTo>
                    <a:pt x="38" y="28"/>
                  </a:lnTo>
                  <a:lnTo>
                    <a:pt x="44" y="39"/>
                  </a:lnTo>
                  <a:lnTo>
                    <a:pt x="44" y="33"/>
                  </a:lnTo>
                  <a:lnTo>
                    <a:pt x="44" y="28"/>
                  </a:lnTo>
                  <a:lnTo>
                    <a:pt x="49" y="33"/>
                  </a:lnTo>
                  <a:lnTo>
                    <a:pt x="49" y="17"/>
                  </a:lnTo>
                  <a:lnTo>
                    <a:pt x="60" y="28"/>
                  </a:lnTo>
                  <a:lnTo>
                    <a:pt x="65" y="17"/>
                  </a:lnTo>
                  <a:lnTo>
                    <a:pt x="71" y="11"/>
                  </a:lnTo>
                  <a:lnTo>
                    <a:pt x="76" y="28"/>
                  </a:lnTo>
                  <a:lnTo>
                    <a:pt x="76" y="11"/>
                  </a:lnTo>
                  <a:lnTo>
                    <a:pt x="87" y="17"/>
                  </a:lnTo>
                  <a:lnTo>
                    <a:pt x="87" y="11"/>
                  </a:lnTo>
                  <a:lnTo>
                    <a:pt x="98" y="11"/>
                  </a:lnTo>
                  <a:lnTo>
                    <a:pt x="98" y="0"/>
                  </a:lnTo>
                  <a:lnTo>
                    <a:pt x="104" y="0"/>
                  </a:lnTo>
                  <a:lnTo>
                    <a:pt x="109" y="11"/>
                  </a:lnTo>
                  <a:lnTo>
                    <a:pt x="120" y="6"/>
                  </a:lnTo>
                  <a:lnTo>
                    <a:pt x="114" y="17"/>
                  </a:lnTo>
                  <a:lnTo>
                    <a:pt x="120" y="17"/>
                  </a:lnTo>
                  <a:lnTo>
                    <a:pt x="120" y="28"/>
                  </a:lnTo>
                  <a:lnTo>
                    <a:pt x="131" y="28"/>
                  </a:lnTo>
                  <a:lnTo>
                    <a:pt x="131" y="33"/>
                  </a:lnTo>
                  <a:lnTo>
                    <a:pt x="131" y="39"/>
                  </a:lnTo>
                  <a:lnTo>
                    <a:pt x="136" y="39"/>
                  </a:lnTo>
                  <a:lnTo>
                    <a:pt x="131" y="49"/>
                  </a:lnTo>
                  <a:lnTo>
                    <a:pt x="125" y="55"/>
                  </a:lnTo>
                  <a:lnTo>
                    <a:pt x="120" y="66"/>
                  </a:lnTo>
                  <a:lnTo>
                    <a:pt x="114" y="66"/>
                  </a:lnTo>
                  <a:lnTo>
                    <a:pt x="98" y="77"/>
                  </a:lnTo>
                  <a:lnTo>
                    <a:pt x="93" y="77"/>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6" name="Freeform 958"/>
            <p:cNvSpPr>
              <a:spLocks/>
            </p:cNvSpPr>
            <p:nvPr/>
          </p:nvSpPr>
          <p:spPr bwMode="auto">
            <a:xfrm>
              <a:off x="984" y="1627"/>
              <a:ext cx="1050" cy="726"/>
            </a:xfrm>
            <a:custGeom>
              <a:avLst/>
              <a:gdLst>
                <a:gd name="T0" fmla="*/ 1028 w 1050"/>
                <a:gd name="T1" fmla="*/ 513 h 726"/>
                <a:gd name="T2" fmla="*/ 996 w 1050"/>
                <a:gd name="T3" fmla="*/ 502 h 726"/>
                <a:gd name="T4" fmla="*/ 1001 w 1050"/>
                <a:gd name="T5" fmla="*/ 475 h 726"/>
                <a:gd name="T6" fmla="*/ 963 w 1050"/>
                <a:gd name="T7" fmla="*/ 447 h 726"/>
                <a:gd name="T8" fmla="*/ 963 w 1050"/>
                <a:gd name="T9" fmla="*/ 420 h 726"/>
                <a:gd name="T10" fmla="*/ 958 w 1050"/>
                <a:gd name="T11" fmla="*/ 387 h 726"/>
                <a:gd name="T12" fmla="*/ 930 w 1050"/>
                <a:gd name="T13" fmla="*/ 382 h 726"/>
                <a:gd name="T14" fmla="*/ 903 w 1050"/>
                <a:gd name="T15" fmla="*/ 409 h 726"/>
                <a:gd name="T16" fmla="*/ 876 w 1050"/>
                <a:gd name="T17" fmla="*/ 398 h 726"/>
                <a:gd name="T18" fmla="*/ 881 w 1050"/>
                <a:gd name="T19" fmla="*/ 365 h 726"/>
                <a:gd name="T20" fmla="*/ 849 w 1050"/>
                <a:gd name="T21" fmla="*/ 327 h 726"/>
                <a:gd name="T22" fmla="*/ 773 w 1050"/>
                <a:gd name="T23" fmla="*/ 344 h 726"/>
                <a:gd name="T24" fmla="*/ 778 w 1050"/>
                <a:gd name="T25" fmla="*/ 382 h 726"/>
                <a:gd name="T26" fmla="*/ 756 w 1050"/>
                <a:gd name="T27" fmla="*/ 491 h 726"/>
                <a:gd name="T28" fmla="*/ 756 w 1050"/>
                <a:gd name="T29" fmla="*/ 556 h 726"/>
                <a:gd name="T30" fmla="*/ 724 w 1050"/>
                <a:gd name="T31" fmla="*/ 524 h 726"/>
                <a:gd name="T32" fmla="*/ 636 w 1050"/>
                <a:gd name="T33" fmla="*/ 442 h 726"/>
                <a:gd name="T34" fmla="*/ 571 w 1050"/>
                <a:gd name="T35" fmla="*/ 387 h 726"/>
                <a:gd name="T36" fmla="*/ 598 w 1050"/>
                <a:gd name="T37" fmla="*/ 300 h 726"/>
                <a:gd name="T38" fmla="*/ 587 w 1050"/>
                <a:gd name="T39" fmla="*/ 262 h 726"/>
                <a:gd name="T40" fmla="*/ 631 w 1050"/>
                <a:gd name="T41" fmla="*/ 256 h 726"/>
                <a:gd name="T42" fmla="*/ 675 w 1050"/>
                <a:gd name="T43" fmla="*/ 202 h 726"/>
                <a:gd name="T44" fmla="*/ 702 w 1050"/>
                <a:gd name="T45" fmla="*/ 180 h 726"/>
                <a:gd name="T46" fmla="*/ 724 w 1050"/>
                <a:gd name="T47" fmla="*/ 125 h 726"/>
                <a:gd name="T48" fmla="*/ 685 w 1050"/>
                <a:gd name="T49" fmla="*/ 82 h 726"/>
                <a:gd name="T50" fmla="*/ 647 w 1050"/>
                <a:gd name="T51" fmla="*/ 142 h 726"/>
                <a:gd name="T52" fmla="*/ 620 w 1050"/>
                <a:gd name="T53" fmla="*/ 125 h 726"/>
                <a:gd name="T54" fmla="*/ 593 w 1050"/>
                <a:gd name="T55" fmla="*/ 27 h 726"/>
                <a:gd name="T56" fmla="*/ 555 w 1050"/>
                <a:gd name="T57" fmla="*/ 22 h 726"/>
                <a:gd name="T58" fmla="*/ 582 w 1050"/>
                <a:gd name="T59" fmla="*/ 93 h 726"/>
                <a:gd name="T60" fmla="*/ 560 w 1050"/>
                <a:gd name="T61" fmla="*/ 142 h 726"/>
                <a:gd name="T62" fmla="*/ 555 w 1050"/>
                <a:gd name="T63" fmla="*/ 147 h 726"/>
                <a:gd name="T64" fmla="*/ 538 w 1050"/>
                <a:gd name="T65" fmla="*/ 153 h 726"/>
                <a:gd name="T66" fmla="*/ 435 w 1050"/>
                <a:gd name="T67" fmla="*/ 125 h 726"/>
                <a:gd name="T68" fmla="*/ 413 w 1050"/>
                <a:gd name="T69" fmla="*/ 131 h 726"/>
                <a:gd name="T70" fmla="*/ 413 w 1050"/>
                <a:gd name="T71" fmla="*/ 142 h 726"/>
                <a:gd name="T72" fmla="*/ 397 w 1050"/>
                <a:gd name="T73" fmla="*/ 158 h 726"/>
                <a:gd name="T74" fmla="*/ 315 w 1050"/>
                <a:gd name="T75" fmla="*/ 136 h 726"/>
                <a:gd name="T76" fmla="*/ 239 w 1050"/>
                <a:gd name="T77" fmla="*/ 82 h 726"/>
                <a:gd name="T78" fmla="*/ 201 w 1050"/>
                <a:gd name="T79" fmla="*/ 71 h 726"/>
                <a:gd name="T80" fmla="*/ 147 w 1050"/>
                <a:gd name="T81" fmla="*/ 82 h 726"/>
                <a:gd name="T82" fmla="*/ 141 w 1050"/>
                <a:gd name="T83" fmla="*/ 65 h 726"/>
                <a:gd name="T84" fmla="*/ 43 w 1050"/>
                <a:gd name="T85" fmla="*/ 109 h 726"/>
                <a:gd name="T86" fmla="*/ 60 w 1050"/>
                <a:gd name="T87" fmla="*/ 376 h 726"/>
                <a:gd name="T88" fmla="*/ 141 w 1050"/>
                <a:gd name="T89" fmla="*/ 496 h 726"/>
                <a:gd name="T90" fmla="*/ 168 w 1050"/>
                <a:gd name="T91" fmla="*/ 545 h 726"/>
                <a:gd name="T92" fmla="*/ 190 w 1050"/>
                <a:gd name="T93" fmla="*/ 567 h 726"/>
                <a:gd name="T94" fmla="*/ 223 w 1050"/>
                <a:gd name="T95" fmla="*/ 589 h 726"/>
                <a:gd name="T96" fmla="*/ 620 w 1050"/>
                <a:gd name="T97" fmla="*/ 616 h 726"/>
                <a:gd name="T98" fmla="*/ 664 w 1050"/>
                <a:gd name="T99" fmla="*/ 605 h 726"/>
                <a:gd name="T100" fmla="*/ 696 w 1050"/>
                <a:gd name="T101" fmla="*/ 644 h 726"/>
                <a:gd name="T102" fmla="*/ 740 w 1050"/>
                <a:gd name="T103" fmla="*/ 671 h 726"/>
                <a:gd name="T104" fmla="*/ 713 w 1050"/>
                <a:gd name="T105" fmla="*/ 715 h 726"/>
                <a:gd name="T106" fmla="*/ 773 w 1050"/>
                <a:gd name="T107" fmla="*/ 693 h 726"/>
                <a:gd name="T108" fmla="*/ 881 w 1050"/>
                <a:gd name="T109" fmla="*/ 627 h 726"/>
                <a:gd name="T110" fmla="*/ 941 w 1050"/>
                <a:gd name="T111" fmla="*/ 660 h 726"/>
                <a:gd name="T112" fmla="*/ 930 w 1050"/>
                <a:gd name="T113" fmla="*/ 698 h 726"/>
                <a:gd name="T114" fmla="*/ 974 w 1050"/>
                <a:gd name="T115" fmla="*/ 655 h 726"/>
                <a:gd name="T116" fmla="*/ 925 w 1050"/>
                <a:gd name="T117" fmla="*/ 622 h 726"/>
                <a:gd name="T118" fmla="*/ 881 w 1050"/>
                <a:gd name="T119" fmla="*/ 622 h 726"/>
                <a:gd name="T120" fmla="*/ 919 w 1050"/>
                <a:gd name="T121" fmla="*/ 578 h 726"/>
                <a:gd name="T122" fmla="*/ 1050 w 1050"/>
                <a:gd name="T123" fmla="*/ 535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726"/>
                <a:gd name="T188" fmla="*/ 1050 w 1050"/>
                <a:gd name="T189" fmla="*/ 726 h 7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726">
                  <a:moveTo>
                    <a:pt x="1050" y="535"/>
                  </a:moveTo>
                  <a:lnTo>
                    <a:pt x="1045" y="529"/>
                  </a:lnTo>
                  <a:lnTo>
                    <a:pt x="1050" y="529"/>
                  </a:lnTo>
                  <a:lnTo>
                    <a:pt x="1045" y="524"/>
                  </a:lnTo>
                  <a:lnTo>
                    <a:pt x="1039" y="518"/>
                  </a:lnTo>
                  <a:lnTo>
                    <a:pt x="1050" y="518"/>
                  </a:lnTo>
                  <a:lnTo>
                    <a:pt x="1045" y="513"/>
                  </a:lnTo>
                  <a:lnTo>
                    <a:pt x="1034" y="507"/>
                  </a:lnTo>
                  <a:lnTo>
                    <a:pt x="1028" y="513"/>
                  </a:lnTo>
                  <a:lnTo>
                    <a:pt x="1028" y="496"/>
                  </a:lnTo>
                  <a:lnTo>
                    <a:pt x="1017" y="496"/>
                  </a:lnTo>
                  <a:lnTo>
                    <a:pt x="1023" y="502"/>
                  </a:lnTo>
                  <a:lnTo>
                    <a:pt x="1012" y="502"/>
                  </a:lnTo>
                  <a:lnTo>
                    <a:pt x="990" y="518"/>
                  </a:lnTo>
                  <a:lnTo>
                    <a:pt x="996" y="513"/>
                  </a:lnTo>
                  <a:lnTo>
                    <a:pt x="985" y="507"/>
                  </a:lnTo>
                  <a:lnTo>
                    <a:pt x="996" y="513"/>
                  </a:lnTo>
                  <a:lnTo>
                    <a:pt x="996" y="502"/>
                  </a:lnTo>
                  <a:lnTo>
                    <a:pt x="1012" y="502"/>
                  </a:lnTo>
                  <a:lnTo>
                    <a:pt x="1007" y="502"/>
                  </a:lnTo>
                  <a:lnTo>
                    <a:pt x="1028" y="491"/>
                  </a:lnTo>
                  <a:lnTo>
                    <a:pt x="1023" y="480"/>
                  </a:lnTo>
                  <a:lnTo>
                    <a:pt x="1017" y="485"/>
                  </a:lnTo>
                  <a:lnTo>
                    <a:pt x="1012" y="485"/>
                  </a:lnTo>
                  <a:lnTo>
                    <a:pt x="1007" y="475"/>
                  </a:lnTo>
                  <a:lnTo>
                    <a:pt x="1001" y="485"/>
                  </a:lnTo>
                  <a:lnTo>
                    <a:pt x="1001" y="475"/>
                  </a:lnTo>
                  <a:lnTo>
                    <a:pt x="990" y="475"/>
                  </a:lnTo>
                  <a:lnTo>
                    <a:pt x="996" y="469"/>
                  </a:lnTo>
                  <a:lnTo>
                    <a:pt x="990" y="464"/>
                  </a:lnTo>
                  <a:lnTo>
                    <a:pt x="979" y="464"/>
                  </a:lnTo>
                  <a:lnTo>
                    <a:pt x="979" y="453"/>
                  </a:lnTo>
                  <a:lnTo>
                    <a:pt x="974" y="453"/>
                  </a:lnTo>
                  <a:lnTo>
                    <a:pt x="974" y="447"/>
                  </a:lnTo>
                  <a:lnTo>
                    <a:pt x="963" y="447"/>
                  </a:lnTo>
                  <a:lnTo>
                    <a:pt x="968" y="442"/>
                  </a:lnTo>
                  <a:lnTo>
                    <a:pt x="974" y="442"/>
                  </a:lnTo>
                  <a:lnTo>
                    <a:pt x="979" y="436"/>
                  </a:lnTo>
                  <a:lnTo>
                    <a:pt x="974" y="425"/>
                  </a:lnTo>
                  <a:lnTo>
                    <a:pt x="968" y="425"/>
                  </a:lnTo>
                  <a:lnTo>
                    <a:pt x="974" y="425"/>
                  </a:lnTo>
                  <a:lnTo>
                    <a:pt x="968" y="414"/>
                  </a:lnTo>
                  <a:lnTo>
                    <a:pt x="963" y="420"/>
                  </a:lnTo>
                  <a:lnTo>
                    <a:pt x="968" y="414"/>
                  </a:lnTo>
                  <a:lnTo>
                    <a:pt x="963" y="409"/>
                  </a:lnTo>
                  <a:lnTo>
                    <a:pt x="958" y="414"/>
                  </a:lnTo>
                  <a:lnTo>
                    <a:pt x="963" y="404"/>
                  </a:lnTo>
                  <a:lnTo>
                    <a:pt x="952" y="404"/>
                  </a:lnTo>
                  <a:lnTo>
                    <a:pt x="963" y="398"/>
                  </a:lnTo>
                  <a:lnTo>
                    <a:pt x="958" y="398"/>
                  </a:lnTo>
                  <a:lnTo>
                    <a:pt x="958" y="387"/>
                  </a:lnTo>
                  <a:lnTo>
                    <a:pt x="947" y="393"/>
                  </a:lnTo>
                  <a:lnTo>
                    <a:pt x="958" y="387"/>
                  </a:lnTo>
                  <a:lnTo>
                    <a:pt x="947" y="382"/>
                  </a:lnTo>
                  <a:lnTo>
                    <a:pt x="952" y="376"/>
                  </a:lnTo>
                  <a:lnTo>
                    <a:pt x="947" y="376"/>
                  </a:lnTo>
                  <a:lnTo>
                    <a:pt x="947" y="371"/>
                  </a:lnTo>
                  <a:lnTo>
                    <a:pt x="941" y="371"/>
                  </a:lnTo>
                  <a:lnTo>
                    <a:pt x="941" y="365"/>
                  </a:lnTo>
                  <a:lnTo>
                    <a:pt x="941" y="360"/>
                  </a:lnTo>
                  <a:lnTo>
                    <a:pt x="936" y="360"/>
                  </a:lnTo>
                  <a:lnTo>
                    <a:pt x="930" y="371"/>
                  </a:lnTo>
                  <a:lnTo>
                    <a:pt x="930" y="382"/>
                  </a:lnTo>
                  <a:lnTo>
                    <a:pt x="925" y="382"/>
                  </a:lnTo>
                  <a:lnTo>
                    <a:pt x="925" y="387"/>
                  </a:lnTo>
                  <a:lnTo>
                    <a:pt x="925" y="393"/>
                  </a:lnTo>
                  <a:lnTo>
                    <a:pt x="919" y="393"/>
                  </a:lnTo>
                  <a:lnTo>
                    <a:pt x="925" y="398"/>
                  </a:lnTo>
                  <a:lnTo>
                    <a:pt x="919" y="404"/>
                  </a:lnTo>
                  <a:lnTo>
                    <a:pt x="919" y="398"/>
                  </a:lnTo>
                  <a:lnTo>
                    <a:pt x="919" y="393"/>
                  </a:lnTo>
                  <a:lnTo>
                    <a:pt x="914" y="404"/>
                  </a:lnTo>
                  <a:lnTo>
                    <a:pt x="903" y="409"/>
                  </a:lnTo>
                  <a:lnTo>
                    <a:pt x="898" y="404"/>
                  </a:lnTo>
                  <a:lnTo>
                    <a:pt x="898" y="398"/>
                  </a:lnTo>
                  <a:lnTo>
                    <a:pt x="892" y="409"/>
                  </a:lnTo>
                  <a:lnTo>
                    <a:pt x="887" y="414"/>
                  </a:lnTo>
                  <a:lnTo>
                    <a:pt x="892" y="409"/>
                  </a:lnTo>
                  <a:lnTo>
                    <a:pt x="898" y="404"/>
                  </a:lnTo>
                  <a:lnTo>
                    <a:pt x="892" y="393"/>
                  </a:lnTo>
                  <a:lnTo>
                    <a:pt x="871" y="398"/>
                  </a:lnTo>
                  <a:lnTo>
                    <a:pt x="876" y="398"/>
                  </a:lnTo>
                  <a:lnTo>
                    <a:pt x="871" y="393"/>
                  </a:lnTo>
                  <a:lnTo>
                    <a:pt x="876" y="393"/>
                  </a:lnTo>
                  <a:lnTo>
                    <a:pt x="881" y="393"/>
                  </a:lnTo>
                  <a:lnTo>
                    <a:pt x="881" y="387"/>
                  </a:lnTo>
                  <a:lnTo>
                    <a:pt x="881" y="382"/>
                  </a:lnTo>
                  <a:lnTo>
                    <a:pt x="876" y="382"/>
                  </a:lnTo>
                  <a:lnTo>
                    <a:pt x="881" y="376"/>
                  </a:lnTo>
                  <a:lnTo>
                    <a:pt x="876" y="371"/>
                  </a:lnTo>
                  <a:lnTo>
                    <a:pt x="860" y="365"/>
                  </a:lnTo>
                  <a:lnTo>
                    <a:pt x="881" y="365"/>
                  </a:lnTo>
                  <a:lnTo>
                    <a:pt x="876" y="354"/>
                  </a:lnTo>
                  <a:lnTo>
                    <a:pt x="881" y="344"/>
                  </a:lnTo>
                  <a:lnTo>
                    <a:pt x="876" y="338"/>
                  </a:lnTo>
                  <a:lnTo>
                    <a:pt x="871" y="344"/>
                  </a:lnTo>
                  <a:lnTo>
                    <a:pt x="871" y="338"/>
                  </a:lnTo>
                  <a:lnTo>
                    <a:pt x="854" y="338"/>
                  </a:lnTo>
                  <a:lnTo>
                    <a:pt x="849" y="333"/>
                  </a:lnTo>
                  <a:lnTo>
                    <a:pt x="854" y="327"/>
                  </a:lnTo>
                  <a:lnTo>
                    <a:pt x="843" y="327"/>
                  </a:lnTo>
                  <a:lnTo>
                    <a:pt x="849" y="327"/>
                  </a:lnTo>
                  <a:lnTo>
                    <a:pt x="843" y="316"/>
                  </a:lnTo>
                  <a:lnTo>
                    <a:pt x="838" y="322"/>
                  </a:lnTo>
                  <a:lnTo>
                    <a:pt x="843" y="311"/>
                  </a:lnTo>
                  <a:lnTo>
                    <a:pt x="827" y="305"/>
                  </a:lnTo>
                  <a:lnTo>
                    <a:pt x="811" y="311"/>
                  </a:lnTo>
                  <a:lnTo>
                    <a:pt x="778" y="300"/>
                  </a:lnTo>
                  <a:lnTo>
                    <a:pt x="773" y="311"/>
                  </a:lnTo>
                  <a:lnTo>
                    <a:pt x="773" y="322"/>
                  </a:lnTo>
                  <a:lnTo>
                    <a:pt x="783" y="322"/>
                  </a:lnTo>
                  <a:lnTo>
                    <a:pt x="773" y="344"/>
                  </a:lnTo>
                  <a:lnTo>
                    <a:pt x="778" y="349"/>
                  </a:lnTo>
                  <a:lnTo>
                    <a:pt x="778" y="354"/>
                  </a:lnTo>
                  <a:lnTo>
                    <a:pt x="778" y="360"/>
                  </a:lnTo>
                  <a:lnTo>
                    <a:pt x="778" y="365"/>
                  </a:lnTo>
                  <a:lnTo>
                    <a:pt x="783" y="365"/>
                  </a:lnTo>
                  <a:lnTo>
                    <a:pt x="783" y="376"/>
                  </a:lnTo>
                  <a:lnTo>
                    <a:pt x="789" y="376"/>
                  </a:lnTo>
                  <a:lnTo>
                    <a:pt x="778" y="376"/>
                  </a:lnTo>
                  <a:lnTo>
                    <a:pt x="778" y="382"/>
                  </a:lnTo>
                  <a:lnTo>
                    <a:pt x="767" y="387"/>
                  </a:lnTo>
                  <a:lnTo>
                    <a:pt x="767" y="398"/>
                  </a:lnTo>
                  <a:lnTo>
                    <a:pt x="778" y="409"/>
                  </a:lnTo>
                  <a:lnTo>
                    <a:pt x="789" y="436"/>
                  </a:lnTo>
                  <a:lnTo>
                    <a:pt x="789" y="453"/>
                  </a:lnTo>
                  <a:lnTo>
                    <a:pt x="794" y="447"/>
                  </a:lnTo>
                  <a:lnTo>
                    <a:pt x="800" y="453"/>
                  </a:lnTo>
                  <a:lnTo>
                    <a:pt x="789" y="453"/>
                  </a:lnTo>
                  <a:lnTo>
                    <a:pt x="778" y="475"/>
                  </a:lnTo>
                  <a:lnTo>
                    <a:pt x="756" y="491"/>
                  </a:lnTo>
                  <a:lnTo>
                    <a:pt x="762" y="502"/>
                  </a:lnTo>
                  <a:lnTo>
                    <a:pt x="767" y="535"/>
                  </a:lnTo>
                  <a:lnTo>
                    <a:pt x="773" y="540"/>
                  </a:lnTo>
                  <a:lnTo>
                    <a:pt x="778" y="540"/>
                  </a:lnTo>
                  <a:lnTo>
                    <a:pt x="773" y="540"/>
                  </a:lnTo>
                  <a:lnTo>
                    <a:pt x="762" y="545"/>
                  </a:lnTo>
                  <a:lnTo>
                    <a:pt x="767" y="551"/>
                  </a:lnTo>
                  <a:lnTo>
                    <a:pt x="767" y="556"/>
                  </a:lnTo>
                  <a:lnTo>
                    <a:pt x="756" y="551"/>
                  </a:lnTo>
                  <a:lnTo>
                    <a:pt x="756" y="556"/>
                  </a:lnTo>
                  <a:lnTo>
                    <a:pt x="756" y="562"/>
                  </a:lnTo>
                  <a:lnTo>
                    <a:pt x="745" y="556"/>
                  </a:lnTo>
                  <a:lnTo>
                    <a:pt x="734" y="562"/>
                  </a:lnTo>
                  <a:lnTo>
                    <a:pt x="745" y="556"/>
                  </a:lnTo>
                  <a:lnTo>
                    <a:pt x="740" y="545"/>
                  </a:lnTo>
                  <a:lnTo>
                    <a:pt x="734" y="540"/>
                  </a:lnTo>
                  <a:lnTo>
                    <a:pt x="724" y="540"/>
                  </a:lnTo>
                  <a:lnTo>
                    <a:pt x="734" y="535"/>
                  </a:lnTo>
                  <a:lnTo>
                    <a:pt x="724" y="524"/>
                  </a:lnTo>
                  <a:lnTo>
                    <a:pt x="724" y="518"/>
                  </a:lnTo>
                  <a:lnTo>
                    <a:pt x="724" y="502"/>
                  </a:lnTo>
                  <a:lnTo>
                    <a:pt x="724" y="480"/>
                  </a:lnTo>
                  <a:lnTo>
                    <a:pt x="685" y="475"/>
                  </a:lnTo>
                  <a:lnTo>
                    <a:pt x="680" y="485"/>
                  </a:lnTo>
                  <a:lnTo>
                    <a:pt x="685" y="475"/>
                  </a:lnTo>
                  <a:lnTo>
                    <a:pt x="680" y="469"/>
                  </a:lnTo>
                  <a:lnTo>
                    <a:pt x="658" y="464"/>
                  </a:lnTo>
                  <a:lnTo>
                    <a:pt x="653" y="447"/>
                  </a:lnTo>
                  <a:lnTo>
                    <a:pt x="636" y="442"/>
                  </a:lnTo>
                  <a:lnTo>
                    <a:pt x="615" y="431"/>
                  </a:lnTo>
                  <a:lnTo>
                    <a:pt x="593" y="442"/>
                  </a:lnTo>
                  <a:lnTo>
                    <a:pt x="598" y="436"/>
                  </a:lnTo>
                  <a:lnTo>
                    <a:pt x="598" y="425"/>
                  </a:lnTo>
                  <a:lnTo>
                    <a:pt x="587" y="398"/>
                  </a:lnTo>
                  <a:lnTo>
                    <a:pt x="577" y="398"/>
                  </a:lnTo>
                  <a:lnTo>
                    <a:pt x="577" y="404"/>
                  </a:lnTo>
                  <a:lnTo>
                    <a:pt x="571" y="393"/>
                  </a:lnTo>
                  <a:lnTo>
                    <a:pt x="566" y="387"/>
                  </a:lnTo>
                  <a:lnTo>
                    <a:pt x="571" y="387"/>
                  </a:lnTo>
                  <a:lnTo>
                    <a:pt x="571" y="354"/>
                  </a:lnTo>
                  <a:lnTo>
                    <a:pt x="577" y="338"/>
                  </a:lnTo>
                  <a:lnTo>
                    <a:pt x="571" y="333"/>
                  </a:lnTo>
                  <a:lnTo>
                    <a:pt x="582" y="327"/>
                  </a:lnTo>
                  <a:lnTo>
                    <a:pt x="587" y="322"/>
                  </a:lnTo>
                  <a:lnTo>
                    <a:pt x="587" y="316"/>
                  </a:lnTo>
                  <a:lnTo>
                    <a:pt x="593" y="311"/>
                  </a:lnTo>
                  <a:lnTo>
                    <a:pt x="598" y="316"/>
                  </a:lnTo>
                  <a:lnTo>
                    <a:pt x="598" y="300"/>
                  </a:lnTo>
                  <a:lnTo>
                    <a:pt x="604" y="300"/>
                  </a:lnTo>
                  <a:lnTo>
                    <a:pt x="598" y="300"/>
                  </a:lnTo>
                  <a:lnTo>
                    <a:pt x="598" y="294"/>
                  </a:lnTo>
                  <a:lnTo>
                    <a:pt x="609" y="294"/>
                  </a:lnTo>
                  <a:lnTo>
                    <a:pt x="620" y="289"/>
                  </a:lnTo>
                  <a:lnTo>
                    <a:pt x="615" y="278"/>
                  </a:lnTo>
                  <a:lnTo>
                    <a:pt x="604" y="267"/>
                  </a:lnTo>
                  <a:lnTo>
                    <a:pt x="598" y="273"/>
                  </a:lnTo>
                  <a:lnTo>
                    <a:pt x="604" y="273"/>
                  </a:lnTo>
                  <a:lnTo>
                    <a:pt x="587" y="262"/>
                  </a:lnTo>
                  <a:lnTo>
                    <a:pt x="587" y="267"/>
                  </a:lnTo>
                  <a:lnTo>
                    <a:pt x="582" y="262"/>
                  </a:lnTo>
                  <a:lnTo>
                    <a:pt x="587" y="262"/>
                  </a:lnTo>
                  <a:lnTo>
                    <a:pt x="604" y="267"/>
                  </a:lnTo>
                  <a:lnTo>
                    <a:pt x="609" y="267"/>
                  </a:lnTo>
                  <a:lnTo>
                    <a:pt x="620" y="278"/>
                  </a:lnTo>
                  <a:lnTo>
                    <a:pt x="626" y="273"/>
                  </a:lnTo>
                  <a:lnTo>
                    <a:pt x="626" y="262"/>
                  </a:lnTo>
                  <a:lnTo>
                    <a:pt x="631" y="262"/>
                  </a:lnTo>
                  <a:lnTo>
                    <a:pt x="631" y="256"/>
                  </a:lnTo>
                  <a:lnTo>
                    <a:pt x="636" y="262"/>
                  </a:lnTo>
                  <a:lnTo>
                    <a:pt x="653" y="256"/>
                  </a:lnTo>
                  <a:lnTo>
                    <a:pt x="664" y="229"/>
                  </a:lnTo>
                  <a:lnTo>
                    <a:pt x="642" y="224"/>
                  </a:lnTo>
                  <a:lnTo>
                    <a:pt x="626" y="207"/>
                  </a:lnTo>
                  <a:lnTo>
                    <a:pt x="642" y="213"/>
                  </a:lnTo>
                  <a:lnTo>
                    <a:pt x="653" y="224"/>
                  </a:lnTo>
                  <a:lnTo>
                    <a:pt x="664" y="224"/>
                  </a:lnTo>
                  <a:lnTo>
                    <a:pt x="675" y="202"/>
                  </a:lnTo>
                  <a:lnTo>
                    <a:pt x="675" y="196"/>
                  </a:lnTo>
                  <a:lnTo>
                    <a:pt x="669" y="191"/>
                  </a:lnTo>
                  <a:lnTo>
                    <a:pt x="669" y="185"/>
                  </a:lnTo>
                  <a:lnTo>
                    <a:pt x="685" y="185"/>
                  </a:lnTo>
                  <a:lnTo>
                    <a:pt x="685" y="196"/>
                  </a:lnTo>
                  <a:lnTo>
                    <a:pt x="696" y="196"/>
                  </a:lnTo>
                  <a:lnTo>
                    <a:pt x="696" y="191"/>
                  </a:lnTo>
                  <a:lnTo>
                    <a:pt x="707" y="196"/>
                  </a:lnTo>
                  <a:lnTo>
                    <a:pt x="702" y="185"/>
                  </a:lnTo>
                  <a:lnTo>
                    <a:pt x="702" y="180"/>
                  </a:lnTo>
                  <a:lnTo>
                    <a:pt x="707" y="191"/>
                  </a:lnTo>
                  <a:lnTo>
                    <a:pt x="718" y="185"/>
                  </a:lnTo>
                  <a:lnTo>
                    <a:pt x="734" y="163"/>
                  </a:lnTo>
                  <a:lnTo>
                    <a:pt x="734" y="158"/>
                  </a:lnTo>
                  <a:lnTo>
                    <a:pt x="724" y="142"/>
                  </a:lnTo>
                  <a:lnTo>
                    <a:pt x="729" y="136"/>
                  </a:lnTo>
                  <a:lnTo>
                    <a:pt x="724" y="136"/>
                  </a:lnTo>
                  <a:lnTo>
                    <a:pt x="724" y="131"/>
                  </a:lnTo>
                  <a:lnTo>
                    <a:pt x="718" y="125"/>
                  </a:lnTo>
                  <a:lnTo>
                    <a:pt x="724" y="125"/>
                  </a:lnTo>
                  <a:lnTo>
                    <a:pt x="729" y="131"/>
                  </a:lnTo>
                  <a:lnTo>
                    <a:pt x="734" y="120"/>
                  </a:lnTo>
                  <a:lnTo>
                    <a:pt x="734" y="114"/>
                  </a:lnTo>
                  <a:lnTo>
                    <a:pt x="729" y="114"/>
                  </a:lnTo>
                  <a:lnTo>
                    <a:pt x="734" y="103"/>
                  </a:lnTo>
                  <a:lnTo>
                    <a:pt x="724" y="98"/>
                  </a:lnTo>
                  <a:lnTo>
                    <a:pt x="718" y="93"/>
                  </a:lnTo>
                  <a:lnTo>
                    <a:pt x="718" y="82"/>
                  </a:lnTo>
                  <a:lnTo>
                    <a:pt x="685" y="82"/>
                  </a:lnTo>
                  <a:lnTo>
                    <a:pt x="685" y="98"/>
                  </a:lnTo>
                  <a:lnTo>
                    <a:pt x="691" y="109"/>
                  </a:lnTo>
                  <a:lnTo>
                    <a:pt x="685" y="114"/>
                  </a:lnTo>
                  <a:lnTo>
                    <a:pt x="691" y="114"/>
                  </a:lnTo>
                  <a:lnTo>
                    <a:pt x="680" y="120"/>
                  </a:lnTo>
                  <a:lnTo>
                    <a:pt x="680" y="131"/>
                  </a:lnTo>
                  <a:lnTo>
                    <a:pt x="669" y="153"/>
                  </a:lnTo>
                  <a:lnTo>
                    <a:pt x="669" y="158"/>
                  </a:lnTo>
                  <a:lnTo>
                    <a:pt x="658" y="163"/>
                  </a:lnTo>
                  <a:lnTo>
                    <a:pt x="647" y="142"/>
                  </a:lnTo>
                  <a:lnTo>
                    <a:pt x="647" y="125"/>
                  </a:lnTo>
                  <a:lnTo>
                    <a:pt x="653" y="131"/>
                  </a:lnTo>
                  <a:lnTo>
                    <a:pt x="647" y="114"/>
                  </a:lnTo>
                  <a:lnTo>
                    <a:pt x="642" y="98"/>
                  </a:lnTo>
                  <a:lnTo>
                    <a:pt x="636" y="98"/>
                  </a:lnTo>
                  <a:lnTo>
                    <a:pt x="631" y="109"/>
                  </a:lnTo>
                  <a:lnTo>
                    <a:pt x="631" y="120"/>
                  </a:lnTo>
                  <a:lnTo>
                    <a:pt x="626" y="131"/>
                  </a:lnTo>
                  <a:lnTo>
                    <a:pt x="620" y="125"/>
                  </a:lnTo>
                  <a:lnTo>
                    <a:pt x="620" y="114"/>
                  </a:lnTo>
                  <a:lnTo>
                    <a:pt x="609" y="93"/>
                  </a:lnTo>
                  <a:lnTo>
                    <a:pt x="615" y="98"/>
                  </a:lnTo>
                  <a:lnTo>
                    <a:pt x="615" y="93"/>
                  </a:lnTo>
                  <a:lnTo>
                    <a:pt x="593" y="87"/>
                  </a:lnTo>
                  <a:lnTo>
                    <a:pt x="604" y="76"/>
                  </a:lnTo>
                  <a:lnTo>
                    <a:pt x="598" y="65"/>
                  </a:lnTo>
                  <a:lnTo>
                    <a:pt x="609" y="71"/>
                  </a:lnTo>
                  <a:lnTo>
                    <a:pt x="593" y="43"/>
                  </a:lnTo>
                  <a:lnTo>
                    <a:pt x="593" y="27"/>
                  </a:lnTo>
                  <a:lnTo>
                    <a:pt x="582" y="16"/>
                  </a:lnTo>
                  <a:lnTo>
                    <a:pt x="582" y="5"/>
                  </a:lnTo>
                  <a:lnTo>
                    <a:pt x="571" y="11"/>
                  </a:lnTo>
                  <a:lnTo>
                    <a:pt x="571" y="5"/>
                  </a:lnTo>
                  <a:lnTo>
                    <a:pt x="571" y="0"/>
                  </a:lnTo>
                  <a:lnTo>
                    <a:pt x="566" y="0"/>
                  </a:lnTo>
                  <a:lnTo>
                    <a:pt x="555" y="11"/>
                  </a:lnTo>
                  <a:lnTo>
                    <a:pt x="560" y="16"/>
                  </a:lnTo>
                  <a:lnTo>
                    <a:pt x="560" y="27"/>
                  </a:lnTo>
                  <a:lnTo>
                    <a:pt x="555" y="22"/>
                  </a:lnTo>
                  <a:lnTo>
                    <a:pt x="549" y="27"/>
                  </a:lnTo>
                  <a:lnTo>
                    <a:pt x="549" y="43"/>
                  </a:lnTo>
                  <a:lnTo>
                    <a:pt x="555" y="49"/>
                  </a:lnTo>
                  <a:lnTo>
                    <a:pt x="549" y="60"/>
                  </a:lnTo>
                  <a:lnTo>
                    <a:pt x="549" y="71"/>
                  </a:lnTo>
                  <a:lnTo>
                    <a:pt x="571" y="93"/>
                  </a:lnTo>
                  <a:lnTo>
                    <a:pt x="582" y="93"/>
                  </a:lnTo>
                  <a:lnTo>
                    <a:pt x="582" y="98"/>
                  </a:lnTo>
                  <a:lnTo>
                    <a:pt x="582" y="93"/>
                  </a:lnTo>
                  <a:lnTo>
                    <a:pt x="577" y="93"/>
                  </a:lnTo>
                  <a:lnTo>
                    <a:pt x="571" y="114"/>
                  </a:lnTo>
                  <a:lnTo>
                    <a:pt x="577" y="114"/>
                  </a:lnTo>
                  <a:lnTo>
                    <a:pt x="582" y="114"/>
                  </a:lnTo>
                  <a:lnTo>
                    <a:pt x="577" y="114"/>
                  </a:lnTo>
                  <a:lnTo>
                    <a:pt x="577" y="109"/>
                  </a:lnTo>
                  <a:lnTo>
                    <a:pt x="582" y="120"/>
                  </a:lnTo>
                  <a:lnTo>
                    <a:pt x="571" y="136"/>
                  </a:lnTo>
                  <a:lnTo>
                    <a:pt x="560" y="136"/>
                  </a:lnTo>
                  <a:lnTo>
                    <a:pt x="560" y="142"/>
                  </a:lnTo>
                  <a:lnTo>
                    <a:pt x="560" y="147"/>
                  </a:lnTo>
                  <a:lnTo>
                    <a:pt x="560" y="153"/>
                  </a:lnTo>
                  <a:lnTo>
                    <a:pt x="560" y="163"/>
                  </a:lnTo>
                  <a:lnTo>
                    <a:pt x="560" y="158"/>
                  </a:lnTo>
                  <a:lnTo>
                    <a:pt x="555" y="163"/>
                  </a:lnTo>
                  <a:lnTo>
                    <a:pt x="555" y="158"/>
                  </a:lnTo>
                  <a:lnTo>
                    <a:pt x="549" y="153"/>
                  </a:lnTo>
                  <a:lnTo>
                    <a:pt x="555" y="153"/>
                  </a:lnTo>
                  <a:lnTo>
                    <a:pt x="555" y="147"/>
                  </a:lnTo>
                  <a:lnTo>
                    <a:pt x="555" y="131"/>
                  </a:lnTo>
                  <a:lnTo>
                    <a:pt x="544" y="142"/>
                  </a:lnTo>
                  <a:lnTo>
                    <a:pt x="549" y="131"/>
                  </a:lnTo>
                  <a:lnTo>
                    <a:pt x="544" y="131"/>
                  </a:lnTo>
                  <a:lnTo>
                    <a:pt x="538" y="125"/>
                  </a:lnTo>
                  <a:lnTo>
                    <a:pt x="522" y="125"/>
                  </a:lnTo>
                  <a:lnTo>
                    <a:pt x="528" y="147"/>
                  </a:lnTo>
                  <a:lnTo>
                    <a:pt x="538" y="142"/>
                  </a:lnTo>
                  <a:lnTo>
                    <a:pt x="538" y="153"/>
                  </a:lnTo>
                  <a:lnTo>
                    <a:pt x="528" y="147"/>
                  </a:lnTo>
                  <a:lnTo>
                    <a:pt x="522" y="136"/>
                  </a:lnTo>
                  <a:lnTo>
                    <a:pt x="522" y="142"/>
                  </a:lnTo>
                  <a:lnTo>
                    <a:pt x="528" y="147"/>
                  </a:lnTo>
                  <a:lnTo>
                    <a:pt x="500" y="147"/>
                  </a:lnTo>
                  <a:lnTo>
                    <a:pt x="479" y="153"/>
                  </a:lnTo>
                  <a:lnTo>
                    <a:pt x="462" y="136"/>
                  </a:lnTo>
                  <a:lnTo>
                    <a:pt x="446" y="136"/>
                  </a:lnTo>
                  <a:lnTo>
                    <a:pt x="446" y="131"/>
                  </a:lnTo>
                  <a:lnTo>
                    <a:pt x="435" y="125"/>
                  </a:lnTo>
                  <a:lnTo>
                    <a:pt x="441" y="125"/>
                  </a:lnTo>
                  <a:lnTo>
                    <a:pt x="435" y="120"/>
                  </a:lnTo>
                  <a:lnTo>
                    <a:pt x="435" y="114"/>
                  </a:lnTo>
                  <a:lnTo>
                    <a:pt x="430" y="109"/>
                  </a:lnTo>
                  <a:lnTo>
                    <a:pt x="402" y="120"/>
                  </a:lnTo>
                  <a:lnTo>
                    <a:pt x="397" y="131"/>
                  </a:lnTo>
                  <a:lnTo>
                    <a:pt x="408" y="136"/>
                  </a:lnTo>
                  <a:lnTo>
                    <a:pt x="413" y="136"/>
                  </a:lnTo>
                  <a:lnTo>
                    <a:pt x="408" y="131"/>
                  </a:lnTo>
                  <a:lnTo>
                    <a:pt x="413" y="131"/>
                  </a:lnTo>
                  <a:lnTo>
                    <a:pt x="424" y="131"/>
                  </a:lnTo>
                  <a:lnTo>
                    <a:pt x="424" y="125"/>
                  </a:lnTo>
                  <a:lnTo>
                    <a:pt x="424" y="120"/>
                  </a:lnTo>
                  <a:lnTo>
                    <a:pt x="435" y="120"/>
                  </a:lnTo>
                  <a:lnTo>
                    <a:pt x="424" y="131"/>
                  </a:lnTo>
                  <a:lnTo>
                    <a:pt x="413" y="136"/>
                  </a:lnTo>
                  <a:lnTo>
                    <a:pt x="408" y="142"/>
                  </a:lnTo>
                  <a:lnTo>
                    <a:pt x="413" y="142"/>
                  </a:lnTo>
                  <a:lnTo>
                    <a:pt x="408" y="147"/>
                  </a:lnTo>
                  <a:lnTo>
                    <a:pt x="413" y="169"/>
                  </a:lnTo>
                  <a:lnTo>
                    <a:pt x="419" y="174"/>
                  </a:lnTo>
                  <a:lnTo>
                    <a:pt x="408" y="174"/>
                  </a:lnTo>
                  <a:lnTo>
                    <a:pt x="408" y="180"/>
                  </a:lnTo>
                  <a:lnTo>
                    <a:pt x="402" y="169"/>
                  </a:lnTo>
                  <a:lnTo>
                    <a:pt x="408" y="169"/>
                  </a:lnTo>
                  <a:lnTo>
                    <a:pt x="408" y="163"/>
                  </a:lnTo>
                  <a:lnTo>
                    <a:pt x="397" y="158"/>
                  </a:lnTo>
                  <a:lnTo>
                    <a:pt x="397" y="153"/>
                  </a:lnTo>
                  <a:lnTo>
                    <a:pt x="397" y="158"/>
                  </a:lnTo>
                  <a:lnTo>
                    <a:pt x="397" y="147"/>
                  </a:lnTo>
                  <a:lnTo>
                    <a:pt x="386" y="147"/>
                  </a:lnTo>
                  <a:lnTo>
                    <a:pt x="381" y="136"/>
                  </a:lnTo>
                  <a:lnTo>
                    <a:pt x="359" y="153"/>
                  </a:lnTo>
                  <a:lnTo>
                    <a:pt x="326" y="147"/>
                  </a:lnTo>
                  <a:lnTo>
                    <a:pt x="315" y="142"/>
                  </a:lnTo>
                  <a:lnTo>
                    <a:pt x="315" y="136"/>
                  </a:lnTo>
                  <a:lnTo>
                    <a:pt x="326" y="131"/>
                  </a:lnTo>
                  <a:lnTo>
                    <a:pt x="321" y="131"/>
                  </a:lnTo>
                  <a:lnTo>
                    <a:pt x="332" y="131"/>
                  </a:lnTo>
                  <a:lnTo>
                    <a:pt x="332" y="120"/>
                  </a:lnTo>
                  <a:lnTo>
                    <a:pt x="321" y="109"/>
                  </a:lnTo>
                  <a:lnTo>
                    <a:pt x="304" y="109"/>
                  </a:lnTo>
                  <a:lnTo>
                    <a:pt x="310" y="114"/>
                  </a:lnTo>
                  <a:lnTo>
                    <a:pt x="299" y="109"/>
                  </a:lnTo>
                  <a:lnTo>
                    <a:pt x="261" y="93"/>
                  </a:lnTo>
                  <a:lnTo>
                    <a:pt x="239" y="82"/>
                  </a:lnTo>
                  <a:lnTo>
                    <a:pt x="223" y="82"/>
                  </a:lnTo>
                  <a:lnTo>
                    <a:pt x="217" y="93"/>
                  </a:lnTo>
                  <a:lnTo>
                    <a:pt x="206" y="93"/>
                  </a:lnTo>
                  <a:lnTo>
                    <a:pt x="212" y="82"/>
                  </a:lnTo>
                  <a:lnTo>
                    <a:pt x="206" y="82"/>
                  </a:lnTo>
                  <a:lnTo>
                    <a:pt x="206" y="71"/>
                  </a:lnTo>
                  <a:lnTo>
                    <a:pt x="201" y="71"/>
                  </a:lnTo>
                  <a:lnTo>
                    <a:pt x="206" y="71"/>
                  </a:lnTo>
                  <a:lnTo>
                    <a:pt x="201" y="76"/>
                  </a:lnTo>
                  <a:lnTo>
                    <a:pt x="201" y="71"/>
                  </a:lnTo>
                  <a:lnTo>
                    <a:pt x="190" y="87"/>
                  </a:lnTo>
                  <a:lnTo>
                    <a:pt x="196" y="87"/>
                  </a:lnTo>
                  <a:lnTo>
                    <a:pt x="190" y="93"/>
                  </a:lnTo>
                  <a:lnTo>
                    <a:pt x="185" y="93"/>
                  </a:lnTo>
                  <a:lnTo>
                    <a:pt x="179" y="82"/>
                  </a:lnTo>
                  <a:lnTo>
                    <a:pt x="168" y="60"/>
                  </a:lnTo>
                  <a:lnTo>
                    <a:pt x="163" y="54"/>
                  </a:lnTo>
                  <a:lnTo>
                    <a:pt x="157" y="60"/>
                  </a:lnTo>
                  <a:lnTo>
                    <a:pt x="163" y="65"/>
                  </a:lnTo>
                  <a:lnTo>
                    <a:pt x="147" y="82"/>
                  </a:lnTo>
                  <a:lnTo>
                    <a:pt x="152" y="76"/>
                  </a:lnTo>
                  <a:lnTo>
                    <a:pt x="130" y="82"/>
                  </a:lnTo>
                  <a:lnTo>
                    <a:pt x="125" y="98"/>
                  </a:lnTo>
                  <a:lnTo>
                    <a:pt x="125" y="93"/>
                  </a:lnTo>
                  <a:lnTo>
                    <a:pt x="103" y="103"/>
                  </a:lnTo>
                  <a:lnTo>
                    <a:pt x="114" y="87"/>
                  </a:lnTo>
                  <a:lnTo>
                    <a:pt x="125" y="87"/>
                  </a:lnTo>
                  <a:lnTo>
                    <a:pt x="141" y="76"/>
                  </a:lnTo>
                  <a:lnTo>
                    <a:pt x="147" y="71"/>
                  </a:lnTo>
                  <a:lnTo>
                    <a:pt x="141" y="65"/>
                  </a:lnTo>
                  <a:lnTo>
                    <a:pt x="87" y="98"/>
                  </a:lnTo>
                  <a:lnTo>
                    <a:pt x="81" y="103"/>
                  </a:lnTo>
                  <a:lnTo>
                    <a:pt x="87" y="120"/>
                  </a:lnTo>
                  <a:lnTo>
                    <a:pt x="81" y="114"/>
                  </a:lnTo>
                  <a:lnTo>
                    <a:pt x="70" y="109"/>
                  </a:lnTo>
                  <a:lnTo>
                    <a:pt x="76" y="120"/>
                  </a:lnTo>
                  <a:lnTo>
                    <a:pt x="70" y="120"/>
                  </a:lnTo>
                  <a:lnTo>
                    <a:pt x="60" y="109"/>
                  </a:lnTo>
                  <a:lnTo>
                    <a:pt x="43" y="109"/>
                  </a:lnTo>
                  <a:lnTo>
                    <a:pt x="21" y="87"/>
                  </a:lnTo>
                  <a:lnTo>
                    <a:pt x="0" y="82"/>
                  </a:lnTo>
                  <a:lnTo>
                    <a:pt x="0" y="360"/>
                  </a:lnTo>
                  <a:lnTo>
                    <a:pt x="16" y="360"/>
                  </a:lnTo>
                  <a:lnTo>
                    <a:pt x="27" y="360"/>
                  </a:lnTo>
                  <a:lnTo>
                    <a:pt x="21" y="365"/>
                  </a:lnTo>
                  <a:lnTo>
                    <a:pt x="43" y="387"/>
                  </a:lnTo>
                  <a:lnTo>
                    <a:pt x="43" y="393"/>
                  </a:lnTo>
                  <a:lnTo>
                    <a:pt x="54" y="387"/>
                  </a:lnTo>
                  <a:lnTo>
                    <a:pt x="60" y="376"/>
                  </a:lnTo>
                  <a:lnTo>
                    <a:pt x="70" y="371"/>
                  </a:lnTo>
                  <a:lnTo>
                    <a:pt x="81" y="393"/>
                  </a:lnTo>
                  <a:lnTo>
                    <a:pt x="92" y="398"/>
                  </a:lnTo>
                  <a:lnTo>
                    <a:pt x="114" y="447"/>
                  </a:lnTo>
                  <a:lnTo>
                    <a:pt x="136" y="458"/>
                  </a:lnTo>
                  <a:lnTo>
                    <a:pt x="136" y="480"/>
                  </a:lnTo>
                  <a:lnTo>
                    <a:pt x="136" y="485"/>
                  </a:lnTo>
                  <a:lnTo>
                    <a:pt x="130" y="491"/>
                  </a:lnTo>
                  <a:lnTo>
                    <a:pt x="141" y="496"/>
                  </a:lnTo>
                  <a:lnTo>
                    <a:pt x="136" y="502"/>
                  </a:lnTo>
                  <a:lnTo>
                    <a:pt x="147" y="513"/>
                  </a:lnTo>
                  <a:lnTo>
                    <a:pt x="147" y="524"/>
                  </a:lnTo>
                  <a:lnTo>
                    <a:pt x="152" y="535"/>
                  </a:lnTo>
                  <a:lnTo>
                    <a:pt x="157" y="529"/>
                  </a:lnTo>
                  <a:lnTo>
                    <a:pt x="157" y="535"/>
                  </a:lnTo>
                  <a:lnTo>
                    <a:pt x="163" y="535"/>
                  </a:lnTo>
                  <a:lnTo>
                    <a:pt x="163" y="551"/>
                  </a:lnTo>
                  <a:lnTo>
                    <a:pt x="168" y="545"/>
                  </a:lnTo>
                  <a:lnTo>
                    <a:pt x="168" y="551"/>
                  </a:lnTo>
                  <a:lnTo>
                    <a:pt x="163" y="556"/>
                  </a:lnTo>
                  <a:lnTo>
                    <a:pt x="168" y="556"/>
                  </a:lnTo>
                  <a:lnTo>
                    <a:pt x="163" y="556"/>
                  </a:lnTo>
                  <a:lnTo>
                    <a:pt x="168" y="562"/>
                  </a:lnTo>
                  <a:lnTo>
                    <a:pt x="174" y="562"/>
                  </a:lnTo>
                  <a:lnTo>
                    <a:pt x="185" y="562"/>
                  </a:lnTo>
                  <a:lnTo>
                    <a:pt x="185" y="567"/>
                  </a:lnTo>
                  <a:lnTo>
                    <a:pt x="190" y="567"/>
                  </a:lnTo>
                  <a:lnTo>
                    <a:pt x="185" y="573"/>
                  </a:lnTo>
                  <a:lnTo>
                    <a:pt x="206" y="573"/>
                  </a:lnTo>
                  <a:lnTo>
                    <a:pt x="201" y="578"/>
                  </a:lnTo>
                  <a:lnTo>
                    <a:pt x="206" y="584"/>
                  </a:lnTo>
                  <a:lnTo>
                    <a:pt x="212" y="584"/>
                  </a:lnTo>
                  <a:lnTo>
                    <a:pt x="212" y="578"/>
                  </a:lnTo>
                  <a:lnTo>
                    <a:pt x="217" y="589"/>
                  </a:lnTo>
                  <a:lnTo>
                    <a:pt x="217" y="595"/>
                  </a:lnTo>
                  <a:lnTo>
                    <a:pt x="223" y="589"/>
                  </a:lnTo>
                  <a:lnTo>
                    <a:pt x="223" y="595"/>
                  </a:lnTo>
                  <a:lnTo>
                    <a:pt x="228" y="595"/>
                  </a:lnTo>
                  <a:lnTo>
                    <a:pt x="223" y="600"/>
                  </a:lnTo>
                  <a:lnTo>
                    <a:pt x="228" y="600"/>
                  </a:lnTo>
                  <a:lnTo>
                    <a:pt x="566" y="600"/>
                  </a:lnTo>
                  <a:lnTo>
                    <a:pt x="566" y="595"/>
                  </a:lnTo>
                  <a:lnTo>
                    <a:pt x="571" y="605"/>
                  </a:lnTo>
                  <a:lnTo>
                    <a:pt x="593" y="605"/>
                  </a:lnTo>
                  <a:lnTo>
                    <a:pt x="609" y="616"/>
                  </a:lnTo>
                  <a:lnTo>
                    <a:pt x="620" y="616"/>
                  </a:lnTo>
                  <a:lnTo>
                    <a:pt x="631" y="622"/>
                  </a:lnTo>
                  <a:lnTo>
                    <a:pt x="636" y="616"/>
                  </a:lnTo>
                  <a:lnTo>
                    <a:pt x="642" y="611"/>
                  </a:lnTo>
                  <a:lnTo>
                    <a:pt x="647" y="605"/>
                  </a:lnTo>
                  <a:lnTo>
                    <a:pt x="647" y="611"/>
                  </a:lnTo>
                  <a:lnTo>
                    <a:pt x="653" y="600"/>
                  </a:lnTo>
                  <a:lnTo>
                    <a:pt x="658" y="605"/>
                  </a:lnTo>
                  <a:lnTo>
                    <a:pt x="664" y="611"/>
                  </a:lnTo>
                  <a:lnTo>
                    <a:pt x="664" y="605"/>
                  </a:lnTo>
                  <a:lnTo>
                    <a:pt x="675" y="605"/>
                  </a:lnTo>
                  <a:lnTo>
                    <a:pt x="680" y="622"/>
                  </a:lnTo>
                  <a:lnTo>
                    <a:pt x="691" y="622"/>
                  </a:lnTo>
                  <a:lnTo>
                    <a:pt x="691" y="627"/>
                  </a:lnTo>
                  <a:lnTo>
                    <a:pt x="691" y="633"/>
                  </a:lnTo>
                  <a:lnTo>
                    <a:pt x="691" y="638"/>
                  </a:lnTo>
                  <a:lnTo>
                    <a:pt x="696" y="638"/>
                  </a:lnTo>
                  <a:lnTo>
                    <a:pt x="696" y="649"/>
                  </a:lnTo>
                  <a:lnTo>
                    <a:pt x="696" y="644"/>
                  </a:lnTo>
                  <a:lnTo>
                    <a:pt x="702" y="649"/>
                  </a:lnTo>
                  <a:lnTo>
                    <a:pt x="740" y="655"/>
                  </a:lnTo>
                  <a:lnTo>
                    <a:pt x="751" y="666"/>
                  </a:lnTo>
                  <a:lnTo>
                    <a:pt x="751" y="671"/>
                  </a:lnTo>
                  <a:lnTo>
                    <a:pt x="756" y="676"/>
                  </a:lnTo>
                  <a:lnTo>
                    <a:pt x="751" y="676"/>
                  </a:lnTo>
                  <a:lnTo>
                    <a:pt x="751" y="682"/>
                  </a:lnTo>
                  <a:lnTo>
                    <a:pt x="740" y="676"/>
                  </a:lnTo>
                  <a:lnTo>
                    <a:pt x="740" y="682"/>
                  </a:lnTo>
                  <a:lnTo>
                    <a:pt x="740" y="671"/>
                  </a:lnTo>
                  <a:lnTo>
                    <a:pt x="734" y="676"/>
                  </a:lnTo>
                  <a:lnTo>
                    <a:pt x="734" y="671"/>
                  </a:lnTo>
                  <a:lnTo>
                    <a:pt x="729" y="666"/>
                  </a:lnTo>
                  <a:lnTo>
                    <a:pt x="734" y="676"/>
                  </a:lnTo>
                  <a:lnTo>
                    <a:pt x="729" y="687"/>
                  </a:lnTo>
                  <a:lnTo>
                    <a:pt x="729" y="698"/>
                  </a:lnTo>
                  <a:lnTo>
                    <a:pt x="718" y="704"/>
                  </a:lnTo>
                  <a:lnTo>
                    <a:pt x="718" y="715"/>
                  </a:lnTo>
                  <a:lnTo>
                    <a:pt x="718" y="720"/>
                  </a:lnTo>
                  <a:lnTo>
                    <a:pt x="713" y="715"/>
                  </a:lnTo>
                  <a:lnTo>
                    <a:pt x="713" y="726"/>
                  </a:lnTo>
                  <a:lnTo>
                    <a:pt x="718" y="726"/>
                  </a:lnTo>
                  <a:lnTo>
                    <a:pt x="734" y="715"/>
                  </a:lnTo>
                  <a:lnTo>
                    <a:pt x="745" y="715"/>
                  </a:lnTo>
                  <a:lnTo>
                    <a:pt x="751" y="709"/>
                  </a:lnTo>
                  <a:lnTo>
                    <a:pt x="767" y="709"/>
                  </a:lnTo>
                  <a:lnTo>
                    <a:pt x="762" y="704"/>
                  </a:lnTo>
                  <a:lnTo>
                    <a:pt x="751" y="704"/>
                  </a:lnTo>
                  <a:lnTo>
                    <a:pt x="762" y="693"/>
                  </a:lnTo>
                  <a:lnTo>
                    <a:pt x="773" y="693"/>
                  </a:lnTo>
                  <a:lnTo>
                    <a:pt x="789" y="693"/>
                  </a:lnTo>
                  <a:lnTo>
                    <a:pt x="783" y="687"/>
                  </a:lnTo>
                  <a:lnTo>
                    <a:pt x="789" y="687"/>
                  </a:lnTo>
                  <a:lnTo>
                    <a:pt x="805" y="682"/>
                  </a:lnTo>
                  <a:lnTo>
                    <a:pt x="811" y="671"/>
                  </a:lnTo>
                  <a:lnTo>
                    <a:pt x="854" y="671"/>
                  </a:lnTo>
                  <a:lnTo>
                    <a:pt x="865" y="666"/>
                  </a:lnTo>
                  <a:lnTo>
                    <a:pt x="876" y="644"/>
                  </a:lnTo>
                  <a:lnTo>
                    <a:pt x="881" y="627"/>
                  </a:lnTo>
                  <a:lnTo>
                    <a:pt x="887" y="633"/>
                  </a:lnTo>
                  <a:lnTo>
                    <a:pt x="892" y="633"/>
                  </a:lnTo>
                  <a:lnTo>
                    <a:pt x="903" y="638"/>
                  </a:lnTo>
                  <a:lnTo>
                    <a:pt x="903" y="660"/>
                  </a:lnTo>
                  <a:lnTo>
                    <a:pt x="903" y="671"/>
                  </a:lnTo>
                  <a:lnTo>
                    <a:pt x="909" y="671"/>
                  </a:lnTo>
                  <a:lnTo>
                    <a:pt x="925" y="666"/>
                  </a:lnTo>
                  <a:lnTo>
                    <a:pt x="941" y="655"/>
                  </a:lnTo>
                  <a:lnTo>
                    <a:pt x="941" y="660"/>
                  </a:lnTo>
                  <a:lnTo>
                    <a:pt x="936" y="666"/>
                  </a:lnTo>
                  <a:lnTo>
                    <a:pt x="958" y="666"/>
                  </a:lnTo>
                  <a:lnTo>
                    <a:pt x="947" y="671"/>
                  </a:lnTo>
                  <a:lnTo>
                    <a:pt x="941" y="666"/>
                  </a:lnTo>
                  <a:lnTo>
                    <a:pt x="919" y="682"/>
                  </a:lnTo>
                  <a:lnTo>
                    <a:pt x="925" y="682"/>
                  </a:lnTo>
                  <a:lnTo>
                    <a:pt x="919" y="687"/>
                  </a:lnTo>
                  <a:lnTo>
                    <a:pt x="925" y="693"/>
                  </a:lnTo>
                  <a:lnTo>
                    <a:pt x="930" y="698"/>
                  </a:lnTo>
                  <a:lnTo>
                    <a:pt x="947" y="687"/>
                  </a:lnTo>
                  <a:lnTo>
                    <a:pt x="947" y="682"/>
                  </a:lnTo>
                  <a:lnTo>
                    <a:pt x="952" y="682"/>
                  </a:lnTo>
                  <a:lnTo>
                    <a:pt x="952" y="676"/>
                  </a:lnTo>
                  <a:lnTo>
                    <a:pt x="963" y="676"/>
                  </a:lnTo>
                  <a:lnTo>
                    <a:pt x="985" y="666"/>
                  </a:lnTo>
                  <a:lnTo>
                    <a:pt x="979" y="666"/>
                  </a:lnTo>
                  <a:lnTo>
                    <a:pt x="979" y="660"/>
                  </a:lnTo>
                  <a:lnTo>
                    <a:pt x="974" y="660"/>
                  </a:lnTo>
                  <a:lnTo>
                    <a:pt x="974" y="655"/>
                  </a:lnTo>
                  <a:lnTo>
                    <a:pt x="963" y="660"/>
                  </a:lnTo>
                  <a:lnTo>
                    <a:pt x="947" y="655"/>
                  </a:lnTo>
                  <a:lnTo>
                    <a:pt x="952" y="655"/>
                  </a:lnTo>
                  <a:lnTo>
                    <a:pt x="941" y="649"/>
                  </a:lnTo>
                  <a:lnTo>
                    <a:pt x="941" y="644"/>
                  </a:lnTo>
                  <a:lnTo>
                    <a:pt x="936" y="638"/>
                  </a:lnTo>
                  <a:lnTo>
                    <a:pt x="930" y="633"/>
                  </a:lnTo>
                  <a:lnTo>
                    <a:pt x="936" y="622"/>
                  </a:lnTo>
                  <a:lnTo>
                    <a:pt x="925" y="622"/>
                  </a:lnTo>
                  <a:lnTo>
                    <a:pt x="914" y="616"/>
                  </a:lnTo>
                  <a:lnTo>
                    <a:pt x="925" y="616"/>
                  </a:lnTo>
                  <a:lnTo>
                    <a:pt x="930" y="616"/>
                  </a:lnTo>
                  <a:lnTo>
                    <a:pt x="947" y="611"/>
                  </a:lnTo>
                  <a:lnTo>
                    <a:pt x="941" y="600"/>
                  </a:lnTo>
                  <a:lnTo>
                    <a:pt x="936" y="595"/>
                  </a:lnTo>
                  <a:lnTo>
                    <a:pt x="914" y="600"/>
                  </a:lnTo>
                  <a:lnTo>
                    <a:pt x="892" y="605"/>
                  </a:lnTo>
                  <a:lnTo>
                    <a:pt x="881" y="622"/>
                  </a:lnTo>
                  <a:lnTo>
                    <a:pt x="865" y="638"/>
                  </a:lnTo>
                  <a:lnTo>
                    <a:pt x="860" y="638"/>
                  </a:lnTo>
                  <a:lnTo>
                    <a:pt x="871" y="627"/>
                  </a:lnTo>
                  <a:lnTo>
                    <a:pt x="876" y="616"/>
                  </a:lnTo>
                  <a:lnTo>
                    <a:pt x="881" y="611"/>
                  </a:lnTo>
                  <a:lnTo>
                    <a:pt x="887" y="605"/>
                  </a:lnTo>
                  <a:lnTo>
                    <a:pt x="898" y="595"/>
                  </a:lnTo>
                  <a:lnTo>
                    <a:pt x="909" y="595"/>
                  </a:lnTo>
                  <a:lnTo>
                    <a:pt x="914" y="584"/>
                  </a:lnTo>
                  <a:lnTo>
                    <a:pt x="919" y="578"/>
                  </a:lnTo>
                  <a:lnTo>
                    <a:pt x="968" y="578"/>
                  </a:lnTo>
                  <a:lnTo>
                    <a:pt x="979" y="578"/>
                  </a:lnTo>
                  <a:lnTo>
                    <a:pt x="996" y="573"/>
                  </a:lnTo>
                  <a:lnTo>
                    <a:pt x="996" y="578"/>
                  </a:lnTo>
                  <a:lnTo>
                    <a:pt x="1017" y="556"/>
                  </a:lnTo>
                  <a:lnTo>
                    <a:pt x="1039" y="551"/>
                  </a:lnTo>
                  <a:lnTo>
                    <a:pt x="1050" y="540"/>
                  </a:lnTo>
                  <a:lnTo>
                    <a:pt x="1045" y="535"/>
                  </a:lnTo>
                  <a:lnTo>
                    <a:pt x="1050" y="53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7" name="Freeform 959"/>
            <p:cNvSpPr>
              <a:spLocks/>
            </p:cNvSpPr>
            <p:nvPr/>
          </p:nvSpPr>
          <p:spPr bwMode="auto">
            <a:xfrm>
              <a:off x="1664" y="2767"/>
              <a:ext cx="11" cy="11"/>
            </a:xfrm>
            <a:custGeom>
              <a:avLst/>
              <a:gdLst>
                <a:gd name="T0" fmla="*/ 0 w 11"/>
                <a:gd name="T1" fmla="*/ 0 h 11"/>
                <a:gd name="T2" fmla="*/ 11 w 11"/>
                <a:gd name="T3" fmla="*/ 6 h 11"/>
                <a:gd name="T4" fmla="*/ 11 w 11"/>
                <a:gd name="T5" fmla="*/ 11 h 11"/>
                <a:gd name="T6" fmla="*/ 0 w 11"/>
                <a:gd name="T7" fmla="*/ 11 h 11"/>
                <a:gd name="T8" fmla="*/ 0 w 11"/>
                <a:gd name="T9" fmla="*/ 0 h 11"/>
                <a:gd name="T10" fmla="*/ 0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0"/>
                  </a:moveTo>
                  <a:lnTo>
                    <a:pt x="11" y="6"/>
                  </a:lnTo>
                  <a:lnTo>
                    <a:pt x="11" y="11"/>
                  </a:lnTo>
                  <a:lnTo>
                    <a:pt x="0" y="11"/>
                  </a:lnTo>
                  <a:lnTo>
                    <a:pt x="0" y="0"/>
                  </a:lnTo>
                  <a:close/>
                </a:path>
              </a:pathLst>
            </a:custGeom>
            <a:solidFill>
              <a:schemeClr val="accent2"/>
            </a:solidFill>
            <a:ln w="12700" cmpd="sng">
              <a:solidFill>
                <a:schemeClr val="bg1"/>
              </a:solidFill>
              <a:round/>
              <a:headEnd/>
              <a:tailEnd/>
            </a:ln>
          </p:spPr>
          <p:txBody>
            <a:bodyPr/>
            <a:lstStyle/>
            <a:p>
              <a:endParaRPr lang="de-DE"/>
            </a:p>
          </p:txBody>
        </p:sp>
        <p:sp>
          <p:nvSpPr>
            <p:cNvPr id="356938" name="Freeform 960"/>
            <p:cNvSpPr>
              <a:spLocks/>
            </p:cNvSpPr>
            <p:nvPr/>
          </p:nvSpPr>
          <p:spPr bwMode="auto">
            <a:xfrm>
              <a:off x="1664" y="2767"/>
              <a:ext cx="11" cy="11"/>
            </a:xfrm>
            <a:custGeom>
              <a:avLst/>
              <a:gdLst>
                <a:gd name="T0" fmla="*/ 0 w 11"/>
                <a:gd name="T1" fmla="*/ 0 h 11"/>
                <a:gd name="T2" fmla="*/ 11 w 11"/>
                <a:gd name="T3" fmla="*/ 6 h 11"/>
                <a:gd name="T4" fmla="*/ 11 w 11"/>
                <a:gd name="T5" fmla="*/ 11 h 11"/>
                <a:gd name="T6" fmla="*/ 0 w 11"/>
                <a:gd name="T7" fmla="*/ 11 h 11"/>
                <a:gd name="T8" fmla="*/ 0 w 11"/>
                <a:gd name="T9" fmla="*/ 0 h 11"/>
                <a:gd name="T10" fmla="*/ 0 w 11"/>
                <a:gd name="T11" fmla="*/ 0 h 11"/>
                <a:gd name="T12" fmla="*/ 0 60000 65536"/>
                <a:gd name="T13" fmla="*/ 0 60000 65536"/>
                <a:gd name="T14" fmla="*/ 0 60000 65536"/>
                <a:gd name="T15" fmla="*/ 0 60000 65536"/>
                <a:gd name="T16" fmla="*/ 0 60000 65536"/>
                <a:gd name="T17" fmla="*/ 0 60000 65536"/>
                <a:gd name="T18" fmla="*/ 0 w 11"/>
                <a:gd name="T19" fmla="*/ 0 h 11"/>
                <a:gd name="T20" fmla="*/ 11 w 11"/>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1" h="11">
                  <a:moveTo>
                    <a:pt x="0" y="0"/>
                  </a:moveTo>
                  <a:lnTo>
                    <a:pt x="11" y="6"/>
                  </a:lnTo>
                  <a:lnTo>
                    <a:pt x="11" y="11"/>
                  </a:lnTo>
                  <a:lnTo>
                    <a:pt x="0" y="11"/>
                  </a:lnTo>
                  <a:lnTo>
                    <a:pt x="0" y="0"/>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39" name="Freeform 961"/>
            <p:cNvSpPr>
              <a:spLocks/>
            </p:cNvSpPr>
            <p:nvPr/>
          </p:nvSpPr>
          <p:spPr bwMode="auto">
            <a:xfrm>
              <a:off x="1588" y="2227"/>
              <a:ext cx="201" cy="131"/>
            </a:xfrm>
            <a:custGeom>
              <a:avLst/>
              <a:gdLst>
                <a:gd name="T0" fmla="*/ 87 w 201"/>
                <a:gd name="T1" fmla="*/ 44 h 131"/>
                <a:gd name="T2" fmla="*/ 71 w 201"/>
                <a:gd name="T3" fmla="*/ 44 h 131"/>
                <a:gd name="T4" fmla="*/ 54 w 201"/>
                <a:gd name="T5" fmla="*/ 49 h 131"/>
                <a:gd name="T6" fmla="*/ 43 w 201"/>
                <a:gd name="T7" fmla="*/ 44 h 131"/>
                <a:gd name="T8" fmla="*/ 49 w 201"/>
                <a:gd name="T9" fmla="*/ 27 h 131"/>
                <a:gd name="T10" fmla="*/ 11 w 201"/>
                <a:gd name="T11" fmla="*/ 44 h 131"/>
                <a:gd name="T12" fmla="*/ 0 w 201"/>
                <a:gd name="T13" fmla="*/ 44 h 131"/>
                <a:gd name="T14" fmla="*/ 27 w 201"/>
                <a:gd name="T15" fmla="*/ 22 h 131"/>
                <a:gd name="T16" fmla="*/ 38 w 201"/>
                <a:gd name="T17" fmla="*/ 11 h 131"/>
                <a:gd name="T18" fmla="*/ 43 w 201"/>
                <a:gd name="T19" fmla="*/ 5 h 131"/>
                <a:gd name="T20" fmla="*/ 49 w 201"/>
                <a:gd name="T21" fmla="*/ 0 h 131"/>
                <a:gd name="T22" fmla="*/ 60 w 201"/>
                <a:gd name="T23" fmla="*/ 11 h 131"/>
                <a:gd name="T24" fmla="*/ 71 w 201"/>
                <a:gd name="T25" fmla="*/ 5 h 131"/>
                <a:gd name="T26" fmla="*/ 87 w 201"/>
                <a:gd name="T27" fmla="*/ 22 h 131"/>
                <a:gd name="T28" fmla="*/ 87 w 201"/>
                <a:gd name="T29" fmla="*/ 33 h 131"/>
                <a:gd name="T30" fmla="*/ 92 w 201"/>
                <a:gd name="T31" fmla="*/ 38 h 131"/>
                <a:gd name="T32" fmla="*/ 92 w 201"/>
                <a:gd name="T33" fmla="*/ 49 h 131"/>
                <a:gd name="T34" fmla="*/ 98 w 201"/>
                <a:gd name="T35" fmla="*/ 49 h 131"/>
                <a:gd name="T36" fmla="*/ 147 w 201"/>
                <a:gd name="T37" fmla="*/ 66 h 131"/>
                <a:gd name="T38" fmla="*/ 152 w 201"/>
                <a:gd name="T39" fmla="*/ 76 h 131"/>
                <a:gd name="T40" fmla="*/ 147 w 201"/>
                <a:gd name="T41" fmla="*/ 82 h 131"/>
                <a:gd name="T42" fmla="*/ 136 w 201"/>
                <a:gd name="T43" fmla="*/ 82 h 131"/>
                <a:gd name="T44" fmla="*/ 130 w 201"/>
                <a:gd name="T45" fmla="*/ 76 h 131"/>
                <a:gd name="T46" fmla="*/ 125 w 201"/>
                <a:gd name="T47" fmla="*/ 66 h 131"/>
                <a:gd name="T48" fmla="*/ 125 w 201"/>
                <a:gd name="T49" fmla="*/ 87 h 131"/>
                <a:gd name="T50" fmla="*/ 114 w 201"/>
                <a:gd name="T51" fmla="*/ 104 h 131"/>
                <a:gd name="T52" fmla="*/ 114 w 201"/>
                <a:gd name="T53" fmla="*/ 120 h 131"/>
                <a:gd name="T54" fmla="*/ 109 w 201"/>
                <a:gd name="T55" fmla="*/ 126 h 131"/>
                <a:gd name="T56" fmla="*/ 130 w 201"/>
                <a:gd name="T57" fmla="*/ 115 h 131"/>
                <a:gd name="T58" fmla="*/ 147 w 201"/>
                <a:gd name="T59" fmla="*/ 109 h 131"/>
                <a:gd name="T60" fmla="*/ 158 w 201"/>
                <a:gd name="T61" fmla="*/ 104 h 131"/>
                <a:gd name="T62" fmla="*/ 158 w 201"/>
                <a:gd name="T63" fmla="*/ 93 h 131"/>
                <a:gd name="T64" fmla="*/ 185 w 201"/>
                <a:gd name="T65" fmla="*/ 93 h 131"/>
                <a:gd name="T66" fmla="*/ 185 w 201"/>
                <a:gd name="T67" fmla="*/ 87 h 131"/>
                <a:gd name="T68" fmla="*/ 190 w 201"/>
                <a:gd name="T69" fmla="*/ 87 h 131"/>
                <a:gd name="T70" fmla="*/ 190 w 201"/>
                <a:gd name="T71" fmla="*/ 93 h 131"/>
                <a:gd name="T72" fmla="*/ 185 w 201"/>
                <a:gd name="T73" fmla="*/ 104 h 131"/>
                <a:gd name="T74" fmla="*/ 158 w 201"/>
                <a:gd name="T75" fmla="*/ 104 h 131"/>
                <a:gd name="T76" fmla="*/ 147 w 201"/>
                <a:gd name="T77" fmla="*/ 120 h 131"/>
                <a:gd name="T78" fmla="*/ 109 w 201"/>
                <a:gd name="T79" fmla="*/ 131 h 131"/>
                <a:gd name="T80" fmla="*/ 109 w 201"/>
                <a:gd name="T81" fmla="*/ 126 h 131"/>
                <a:gd name="T82" fmla="*/ 114 w 201"/>
                <a:gd name="T83" fmla="*/ 115 h 131"/>
                <a:gd name="T84" fmla="*/ 114 w 201"/>
                <a:gd name="T85" fmla="*/ 104 h 131"/>
                <a:gd name="T86" fmla="*/ 103 w 201"/>
                <a:gd name="T87" fmla="*/ 93 h 131"/>
                <a:gd name="T88" fmla="*/ 98 w 201"/>
                <a:gd name="T89" fmla="*/ 93 h 131"/>
                <a:gd name="T90" fmla="*/ 103 w 201"/>
                <a:gd name="T91" fmla="*/ 66 h 131"/>
                <a:gd name="T92" fmla="*/ 87 w 201"/>
                <a:gd name="T93" fmla="*/ 60 h 131"/>
                <a:gd name="T94" fmla="*/ 81 w 201"/>
                <a:gd name="T95" fmla="*/ 66 h 131"/>
                <a:gd name="T96" fmla="*/ 76 w 201"/>
                <a:gd name="T97" fmla="*/ 76 h 131"/>
                <a:gd name="T98" fmla="*/ 71 w 201"/>
                <a:gd name="T99" fmla="*/ 76 h 131"/>
                <a:gd name="T100" fmla="*/ 71 w 201"/>
                <a:gd name="T101" fmla="*/ 104 h 131"/>
                <a:gd name="T102" fmla="*/ 65 w 201"/>
                <a:gd name="T103" fmla="*/ 126 h 131"/>
                <a:gd name="T104" fmla="*/ 54 w 201"/>
                <a:gd name="T105" fmla="*/ 126 h 131"/>
                <a:gd name="T106" fmla="*/ 49 w 201"/>
                <a:gd name="T107" fmla="*/ 104 h 131"/>
                <a:gd name="T108" fmla="*/ 60 w 201"/>
                <a:gd name="T109" fmla="*/ 71 h 131"/>
                <a:gd name="T110" fmla="*/ 54 w 201"/>
                <a:gd name="T111" fmla="*/ 76 h 131"/>
                <a:gd name="T112" fmla="*/ 49 w 201"/>
                <a:gd name="T113" fmla="*/ 76 h 131"/>
                <a:gd name="T114" fmla="*/ 65 w 201"/>
                <a:gd name="T115" fmla="*/ 60 h 131"/>
                <a:gd name="T116" fmla="*/ 81 w 201"/>
                <a:gd name="T117" fmla="*/ 55 h 131"/>
                <a:gd name="T118" fmla="*/ 92 w 201"/>
                <a:gd name="T119" fmla="*/ 55 h 131"/>
                <a:gd name="T120" fmla="*/ 92 w 201"/>
                <a:gd name="T121" fmla="*/ 49 h 1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131"/>
                <a:gd name="T185" fmla="*/ 201 w 201"/>
                <a:gd name="T186" fmla="*/ 131 h 1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131">
                  <a:moveTo>
                    <a:pt x="92" y="49"/>
                  </a:moveTo>
                  <a:lnTo>
                    <a:pt x="87" y="44"/>
                  </a:lnTo>
                  <a:lnTo>
                    <a:pt x="81" y="44"/>
                  </a:lnTo>
                  <a:lnTo>
                    <a:pt x="71" y="44"/>
                  </a:lnTo>
                  <a:lnTo>
                    <a:pt x="65" y="49"/>
                  </a:lnTo>
                  <a:lnTo>
                    <a:pt x="54" y="49"/>
                  </a:lnTo>
                  <a:lnTo>
                    <a:pt x="49" y="38"/>
                  </a:lnTo>
                  <a:lnTo>
                    <a:pt x="43" y="44"/>
                  </a:lnTo>
                  <a:lnTo>
                    <a:pt x="43" y="38"/>
                  </a:lnTo>
                  <a:lnTo>
                    <a:pt x="49" y="27"/>
                  </a:lnTo>
                  <a:lnTo>
                    <a:pt x="22" y="44"/>
                  </a:lnTo>
                  <a:lnTo>
                    <a:pt x="11" y="44"/>
                  </a:lnTo>
                  <a:lnTo>
                    <a:pt x="11" y="38"/>
                  </a:lnTo>
                  <a:lnTo>
                    <a:pt x="0" y="44"/>
                  </a:lnTo>
                  <a:lnTo>
                    <a:pt x="11" y="33"/>
                  </a:lnTo>
                  <a:lnTo>
                    <a:pt x="27" y="22"/>
                  </a:lnTo>
                  <a:lnTo>
                    <a:pt x="32" y="16"/>
                  </a:lnTo>
                  <a:lnTo>
                    <a:pt x="38" y="11"/>
                  </a:lnTo>
                  <a:lnTo>
                    <a:pt x="43" y="5"/>
                  </a:lnTo>
                  <a:lnTo>
                    <a:pt x="43" y="11"/>
                  </a:lnTo>
                  <a:lnTo>
                    <a:pt x="49" y="0"/>
                  </a:lnTo>
                  <a:lnTo>
                    <a:pt x="54" y="5"/>
                  </a:lnTo>
                  <a:lnTo>
                    <a:pt x="60" y="11"/>
                  </a:lnTo>
                  <a:lnTo>
                    <a:pt x="60" y="5"/>
                  </a:lnTo>
                  <a:lnTo>
                    <a:pt x="71" y="5"/>
                  </a:lnTo>
                  <a:lnTo>
                    <a:pt x="76" y="22"/>
                  </a:lnTo>
                  <a:lnTo>
                    <a:pt x="87" y="22"/>
                  </a:lnTo>
                  <a:lnTo>
                    <a:pt x="87" y="27"/>
                  </a:lnTo>
                  <a:lnTo>
                    <a:pt x="87" y="33"/>
                  </a:lnTo>
                  <a:lnTo>
                    <a:pt x="87" y="38"/>
                  </a:lnTo>
                  <a:lnTo>
                    <a:pt x="92" y="38"/>
                  </a:lnTo>
                  <a:lnTo>
                    <a:pt x="92" y="49"/>
                  </a:lnTo>
                  <a:lnTo>
                    <a:pt x="92" y="44"/>
                  </a:lnTo>
                  <a:lnTo>
                    <a:pt x="98" y="49"/>
                  </a:lnTo>
                  <a:lnTo>
                    <a:pt x="136" y="55"/>
                  </a:lnTo>
                  <a:lnTo>
                    <a:pt x="147" y="66"/>
                  </a:lnTo>
                  <a:lnTo>
                    <a:pt x="147" y="71"/>
                  </a:lnTo>
                  <a:lnTo>
                    <a:pt x="152" y="76"/>
                  </a:lnTo>
                  <a:lnTo>
                    <a:pt x="147" y="76"/>
                  </a:lnTo>
                  <a:lnTo>
                    <a:pt x="147" y="82"/>
                  </a:lnTo>
                  <a:lnTo>
                    <a:pt x="136" y="76"/>
                  </a:lnTo>
                  <a:lnTo>
                    <a:pt x="136" y="82"/>
                  </a:lnTo>
                  <a:lnTo>
                    <a:pt x="136" y="71"/>
                  </a:lnTo>
                  <a:lnTo>
                    <a:pt x="130" y="76"/>
                  </a:lnTo>
                  <a:lnTo>
                    <a:pt x="130" y="71"/>
                  </a:lnTo>
                  <a:lnTo>
                    <a:pt x="125" y="66"/>
                  </a:lnTo>
                  <a:lnTo>
                    <a:pt x="130" y="76"/>
                  </a:lnTo>
                  <a:lnTo>
                    <a:pt x="125" y="87"/>
                  </a:lnTo>
                  <a:lnTo>
                    <a:pt x="125" y="98"/>
                  </a:lnTo>
                  <a:lnTo>
                    <a:pt x="114" y="104"/>
                  </a:lnTo>
                  <a:lnTo>
                    <a:pt x="114" y="115"/>
                  </a:lnTo>
                  <a:lnTo>
                    <a:pt x="114" y="120"/>
                  </a:lnTo>
                  <a:lnTo>
                    <a:pt x="109" y="115"/>
                  </a:lnTo>
                  <a:lnTo>
                    <a:pt x="109" y="126"/>
                  </a:lnTo>
                  <a:lnTo>
                    <a:pt x="114" y="126"/>
                  </a:lnTo>
                  <a:lnTo>
                    <a:pt x="130" y="115"/>
                  </a:lnTo>
                  <a:lnTo>
                    <a:pt x="141" y="115"/>
                  </a:lnTo>
                  <a:lnTo>
                    <a:pt x="147" y="109"/>
                  </a:lnTo>
                  <a:lnTo>
                    <a:pt x="163" y="109"/>
                  </a:lnTo>
                  <a:lnTo>
                    <a:pt x="158" y="104"/>
                  </a:lnTo>
                  <a:lnTo>
                    <a:pt x="147" y="104"/>
                  </a:lnTo>
                  <a:lnTo>
                    <a:pt x="158" y="93"/>
                  </a:lnTo>
                  <a:lnTo>
                    <a:pt x="169" y="93"/>
                  </a:lnTo>
                  <a:lnTo>
                    <a:pt x="185" y="93"/>
                  </a:lnTo>
                  <a:lnTo>
                    <a:pt x="179" y="87"/>
                  </a:lnTo>
                  <a:lnTo>
                    <a:pt x="185" y="87"/>
                  </a:lnTo>
                  <a:lnTo>
                    <a:pt x="201" y="82"/>
                  </a:lnTo>
                  <a:lnTo>
                    <a:pt x="190" y="87"/>
                  </a:lnTo>
                  <a:lnTo>
                    <a:pt x="196" y="87"/>
                  </a:lnTo>
                  <a:lnTo>
                    <a:pt x="190" y="93"/>
                  </a:lnTo>
                  <a:lnTo>
                    <a:pt x="196" y="98"/>
                  </a:lnTo>
                  <a:lnTo>
                    <a:pt x="185" y="104"/>
                  </a:lnTo>
                  <a:lnTo>
                    <a:pt x="169" y="98"/>
                  </a:lnTo>
                  <a:lnTo>
                    <a:pt x="158" y="104"/>
                  </a:lnTo>
                  <a:lnTo>
                    <a:pt x="163" y="109"/>
                  </a:lnTo>
                  <a:lnTo>
                    <a:pt x="147" y="120"/>
                  </a:lnTo>
                  <a:lnTo>
                    <a:pt x="125" y="131"/>
                  </a:lnTo>
                  <a:lnTo>
                    <a:pt x="109" y="131"/>
                  </a:lnTo>
                  <a:lnTo>
                    <a:pt x="103" y="131"/>
                  </a:lnTo>
                  <a:lnTo>
                    <a:pt x="109" y="126"/>
                  </a:lnTo>
                  <a:lnTo>
                    <a:pt x="109" y="115"/>
                  </a:lnTo>
                  <a:lnTo>
                    <a:pt x="114" y="115"/>
                  </a:lnTo>
                  <a:lnTo>
                    <a:pt x="114" y="104"/>
                  </a:lnTo>
                  <a:lnTo>
                    <a:pt x="109" y="87"/>
                  </a:lnTo>
                  <a:lnTo>
                    <a:pt x="103" y="93"/>
                  </a:lnTo>
                  <a:lnTo>
                    <a:pt x="98" y="93"/>
                  </a:lnTo>
                  <a:lnTo>
                    <a:pt x="103" y="82"/>
                  </a:lnTo>
                  <a:lnTo>
                    <a:pt x="103" y="66"/>
                  </a:lnTo>
                  <a:lnTo>
                    <a:pt x="92" y="60"/>
                  </a:lnTo>
                  <a:lnTo>
                    <a:pt x="87" y="60"/>
                  </a:lnTo>
                  <a:lnTo>
                    <a:pt x="87" y="66"/>
                  </a:lnTo>
                  <a:lnTo>
                    <a:pt x="81" y="66"/>
                  </a:lnTo>
                  <a:lnTo>
                    <a:pt x="81" y="76"/>
                  </a:lnTo>
                  <a:lnTo>
                    <a:pt x="76" y="76"/>
                  </a:lnTo>
                  <a:lnTo>
                    <a:pt x="76" y="71"/>
                  </a:lnTo>
                  <a:lnTo>
                    <a:pt x="71" y="76"/>
                  </a:lnTo>
                  <a:lnTo>
                    <a:pt x="65" y="98"/>
                  </a:lnTo>
                  <a:lnTo>
                    <a:pt x="71" y="104"/>
                  </a:lnTo>
                  <a:lnTo>
                    <a:pt x="71" y="115"/>
                  </a:lnTo>
                  <a:lnTo>
                    <a:pt x="65" y="126"/>
                  </a:lnTo>
                  <a:lnTo>
                    <a:pt x="60" y="131"/>
                  </a:lnTo>
                  <a:lnTo>
                    <a:pt x="54" y="126"/>
                  </a:lnTo>
                  <a:lnTo>
                    <a:pt x="49" y="120"/>
                  </a:lnTo>
                  <a:lnTo>
                    <a:pt x="49" y="104"/>
                  </a:lnTo>
                  <a:lnTo>
                    <a:pt x="54" y="82"/>
                  </a:lnTo>
                  <a:lnTo>
                    <a:pt x="60" y="71"/>
                  </a:lnTo>
                  <a:lnTo>
                    <a:pt x="60" y="66"/>
                  </a:lnTo>
                  <a:lnTo>
                    <a:pt x="54" y="76"/>
                  </a:lnTo>
                  <a:lnTo>
                    <a:pt x="49" y="82"/>
                  </a:lnTo>
                  <a:lnTo>
                    <a:pt x="49" y="76"/>
                  </a:lnTo>
                  <a:lnTo>
                    <a:pt x="60" y="60"/>
                  </a:lnTo>
                  <a:lnTo>
                    <a:pt x="65" y="60"/>
                  </a:lnTo>
                  <a:lnTo>
                    <a:pt x="81" y="55"/>
                  </a:lnTo>
                  <a:lnTo>
                    <a:pt x="87" y="60"/>
                  </a:lnTo>
                  <a:lnTo>
                    <a:pt x="92" y="55"/>
                  </a:lnTo>
                  <a:lnTo>
                    <a:pt x="98" y="55"/>
                  </a:lnTo>
                  <a:lnTo>
                    <a:pt x="92" y="49"/>
                  </a:lnTo>
                  <a:close/>
                </a:path>
              </a:pathLst>
            </a:custGeom>
            <a:solidFill>
              <a:schemeClr val="accent2"/>
            </a:solidFill>
            <a:ln w="12700" cmpd="sng">
              <a:solidFill>
                <a:schemeClr val="bg1"/>
              </a:solidFill>
              <a:round/>
              <a:headEnd/>
              <a:tailEnd/>
            </a:ln>
          </p:spPr>
          <p:txBody>
            <a:bodyPr/>
            <a:lstStyle/>
            <a:p>
              <a:endParaRPr lang="de-DE"/>
            </a:p>
          </p:txBody>
        </p:sp>
        <p:sp>
          <p:nvSpPr>
            <p:cNvPr id="356940" name="Freeform 962"/>
            <p:cNvSpPr>
              <a:spLocks/>
            </p:cNvSpPr>
            <p:nvPr/>
          </p:nvSpPr>
          <p:spPr bwMode="auto">
            <a:xfrm>
              <a:off x="1588" y="2227"/>
              <a:ext cx="201" cy="131"/>
            </a:xfrm>
            <a:custGeom>
              <a:avLst/>
              <a:gdLst>
                <a:gd name="T0" fmla="*/ 87 w 201"/>
                <a:gd name="T1" fmla="*/ 44 h 131"/>
                <a:gd name="T2" fmla="*/ 71 w 201"/>
                <a:gd name="T3" fmla="*/ 44 h 131"/>
                <a:gd name="T4" fmla="*/ 54 w 201"/>
                <a:gd name="T5" fmla="*/ 49 h 131"/>
                <a:gd name="T6" fmla="*/ 43 w 201"/>
                <a:gd name="T7" fmla="*/ 44 h 131"/>
                <a:gd name="T8" fmla="*/ 49 w 201"/>
                <a:gd name="T9" fmla="*/ 27 h 131"/>
                <a:gd name="T10" fmla="*/ 11 w 201"/>
                <a:gd name="T11" fmla="*/ 44 h 131"/>
                <a:gd name="T12" fmla="*/ 0 w 201"/>
                <a:gd name="T13" fmla="*/ 44 h 131"/>
                <a:gd name="T14" fmla="*/ 27 w 201"/>
                <a:gd name="T15" fmla="*/ 22 h 131"/>
                <a:gd name="T16" fmla="*/ 38 w 201"/>
                <a:gd name="T17" fmla="*/ 11 h 131"/>
                <a:gd name="T18" fmla="*/ 43 w 201"/>
                <a:gd name="T19" fmla="*/ 5 h 131"/>
                <a:gd name="T20" fmla="*/ 49 w 201"/>
                <a:gd name="T21" fmla="*/ 0 h 131"/>
                <a:gd name="T22" fmla="*/ 60 w 201"/>
                <a:gd name="T23" fmla="*/ 11 h 131"/>
                <a:gd name="T24" fmla="*/ 71 w 201"/>
                <a:gd name="T25" fmla="*/ 5 h 131"/>
                <a:gd name="T26" fmla="*/ 87 w 201"/>
                <a:gd name="T27" fmla="*/ 22 h 131"/>
                <a:gd name="T28" fmla="*/ 87 w 201"/>
                <a:gd name="T29" fmla="*/ 33 h 131"/>
                <a:gd name="T30" fmla="*/ 92 w 201"/>
                <a:gd name="T31" fmla="*/ 38 h 131"/>
                <a:gd name="T32" fmla="*/ 92 w 201"/>
                <a:gd name="T33" fmla="*/ 49 h 131"/>
                <a:gd name="T34" fmla="*/ 98 w 201"/>
                <a:gd name="T35" fmla="*/ 49 h 131"/>
                <a:gd name="T36" fmla="*/ 147 w 201"/>
                <a:gd name="T37" fmla="*/ 66 h 131"/>
                <a:gd name="T38" fmla="*/ 152 w 201"/>
                <a:gd name="T39" fmla="*/ 76 h 131"/>
                <a:gd name="T40" fmla="*/ 147 w 201"/>
                <a:gd name="T41" fmla="*/ 82 h 131"/>
                <a:gd name="T42" fmla="*/ 136 w 201"/>
                <a:gd name="T43" fmla="*/ 82 h 131"/>
                <a:gd name="T44" fmla="*/ 130 w 201"/>
                <a:gd name="T45" fmla="*/ 76 h 131"/>
                <a:gd name="T46" fmla="*/ 125 w 201"/>
                <a:gd name="T47" fmla="*/ 66 h 131"/>
                <a:gd name="T48" fmla="*/ 125 w 201"/>
                <a:gd name="T49" fmla="*/ 87 h 131"/>
                <a:gd name="T50" fmla="*/ 114 w 201"/>
                <a:gd name="T51" fmla="*/ 104 h 131"/>
                <a:gd name="T52" fmla="*/ 114 w 201"/>
                <a:gd name="T53" fmla="*/ 120 h 131"/>
                <a:gd name="T54" fmla="*/ 109 w 201"/>
                <a:gd name="T55" fmla="*/ 126 h 131"/>
                <a:gd name="T56" fmla="*/ 130 w 201"/>
                <a:gd name="T57" fmla="*/ 115 h 131"/>
                <a:gd name="T58" fmla="*/ 147 w 201"/>
                <a:gd name="T59" fmla="*/ 109 h 131"/>
                <a:gd name="T60" fmla="*/ 158 w 201"/>
                <a:gd name="T61" fmla="*/ 104 h 131"/>
                <a:gd name="T62" fmla="*/ 158 w 201"/>
                <a:gd name="T63" fmla="*/ 93 h 131"/>
                <a:gd name="T64" fmla="*/ 185 w 201"/>
                <a:gd name="T65" fmla="*/ 93 h 131"/>
                <a:gd name="T66" fmla="*/ 185 w 201"/>
                <a:gd name="T67" fmla="*/ 87 h 131"/>
                <a:gd name="T68" fmla="*/ 190 w 201"/>
                <a:gd name="T69" fmla="*/ 87 h 131"/>
                <a:gd name="T70" fmla="*/ 190 w 201"/>
                <a:gd name="T71" fmla="*/ 93 h 131"/>
                <a:gd name="T72" fmla="*/ 185 w 201"/>
                <a:gd name="T73" fmla="*/ 104 h 131"/>
                <a:gd name="T74" fmla="*/ 158 w 201"/>
                <a:gd name="T75" fmla="*/ 104 h 131"/>
                <a:gd name="T76" fmla="*/ 147 w 201"/>
                <a:gd name="T77" fmla="*/ 120 h 131"/>
                <a:gd name="T78" fmla="*/ 109 w 201"/>
                <a:gd name="T79" fmla="*/ 131 h 131"/>
                <a:gd name="T80" fmla="*/ 109 w 201"/>
                <a:gd name="T81" fmla="*/ 126 h 131"/>
                <a:gd name="T82" fmla="*/ 114 w 201"/>
                <a:gd name="T83" fmla="*/ 115 h 131"/>
                <a:gd name="T84" fmla="*/ 114 w 201"/>
                <a:gd name="T85" fmla="*/ 104 h 131"/>
                <a:gd name="T86" fmla="*/ 103 w 201"/>
                <a:gd name="T87" fmla="*/ 93 h 131"/>
                <a:gd name="T88" fmla="*/ 98 w 201"/>
                <a:gd name="T89" fmla="*/ 93 h 131"/>
                <a:gd name="T90" fmla="*/ 103 w 201"/>
                <a:gd name="T91" fmla="*/ 66 h 131"/>
                <a:gd name="T92" fmla="*/ 87 w 201"/>
                <a:gd name="T93" fmla="*/ 60 h 131"/>
                <a:gd name="T94" fmla="*/ 81 w 201"/>
                <a:gd name="T95" fmla="*/ 66 h 131"/>
                <a:gd name="T96" fmla="*/ 76 w 201"/>
                <a:gd name="T97" fmla="*/ 76 h 131"/>
                <a:gd name="T98" fmla="*/ 71 w 201"/>
                <a:gd name="T99" fmla="*/ 76 h 131"/>
                <a:gd name="T100" fmla="*/ 71 w 201"/>
                <a:gd name="T101" fmla="*/ 104 h 131"/>
                <a:gd name="T102" fmla="*/ 65 w 201"/>
                <a:gd name="T103" fmla="*/ 126 h 131"/>
                <a:gd name="T104" fmla="*/ 54 w 201"/>
                <a:gd name="T105" fmla="*/ 126 h 131"/>
                <a:gd name="T106" fmla="*/ 49 w 201"/>
                <a:gd name="T107" fmla="*/ 104 h 131"/>
                <a:gd name="T108" fmla="*/ 60 w 201"/>
                <a:gd name="T109" fmla="*/ 71 h 131"/>
                <a:gd name="T110" fmla="*/ 54 w 201"/>
                <a:gd name="T111" fmla="*/ 76 h 131"/>
                <a:gd name="T112" fmla="*/ 49 w 201"/>
                <a:gd name="T113" fmla="*/ 76 h 131"/>
                <a:gd name="T114" fmla="*/ 65 w 201"/>
                <a:gd name="T115" fmla="*/ 60 h 131"/>
                <a:gd name="T116" fmla="*/ 81 w 201"/>
                <a:gd name="T117" fmla="*/ 55 h 131"/>
                <a:gd name="T118" fmla="*/ 92 w 201"/>
                <a:gd name="T119" fmla="*/ 55 h 131"/>
                <a:gd name="T120" fmla="*/ 92 w 201"/>
                <a:gd name="T121" fmla="*/ 49 h 13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01"/>
                <a:gd name="T184" fmla="*/ 0 h 131"/>
                <a:gd name="T185" fmla="*/ 201 w 201"/>
                <a:gd name="T186" fmla="*/ 131 h 13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01" h="131">
                  <a:moveTo>
                    <a:pt x="92" y="49"/>
                  </a:moveTo>
                  <a:lnTo>
                    <a:pt x="87" y="44"/>
                  </a:lnTo>
                  <a:lnTo>
                    <a:pt x="81" y="44"/>
                  </a:lnTo>
                  <a:lnTo>
                    <a:pt x="71" y="44"/>
                  </a:lnTo>
                  <a:lnTo>
                    <a:pt x="65" y="49"/>
                  </a:lnTo>
                  <a:lnTo>
                    <a:pt x="54" y="49"/>
                  </a:lnTo>
                  <a:lnTo>
                    <a:pt x="49" y="38"/>
                  </a:lnTo>
                  <a:lnTo>
                    <a:pt x="43" y="44"/>
                  </a:lnTo>
                  <a:lnTo>
                    <a:pt x="43" y="38"/>
                  </a:lnTo>
                  <a:lnTo>
                    <a:pt x="49" y="27"/>
                  </a:lnTo>
                  <a:lnTo>
                    <a:pt x="22" y="44"/>
                  </a:lnTo>
                  <a:lnTo>
                    <a:pt x="11" y="44"/>
                  </a:lnTo>
                  <a:lnTo>
                    <a:pt x="11" y="38"/>
                  </a:lnTo>
                  <a:lnTo>
                    <a:pt x="0" y="44"/>
                  </a:lnTo>
                  <a:lnTo>
                    <a:pt x="11" y="33"/>
                  </a:lnTo>
                  <a:lnTo>
                    <a:pt x="27" y="22"/>
                  </a:lnTo>
                  <a:lnTo>
                    <a:pt x="32" y="16"/>
                  </a:lnTo>
                  <a:lnTo>
                    <a:pt x="38" y="11"/>
                  </a:lnTo>
                  <a:lnTo>
                    <a:pt x="43" y="5"/>
                  </a:lnTo>
                  <a:lnTo>
                    <a:pt x="43" y="11"/>
                  </a:lnTo>
                  <a:lnTo>
                    <a:pt x="49" y="0"/>
                  </a:lnTo>
                  <a:lnTo>
                    <a:pt x="54" y="5"/>
                  </a:lnTo>
                  <a:lnTo>
                    <a:pt x="60" y="11"/>
                  </a:lnTo>
                  <a:lnTo>
                    <a:pt x="60" y="5"/>
                  </a:lnTo>
                  <a:lnTo>
                    <a:pt x="71" y="5"/>
                  </a:lnTo>
                  <a:lnTo>
                    <a:pt x="76" y="22"/>
                  </a:lnTo>
                  <a:lnTo>
                    <a:pt x="87" y="22"/>
                  </a:lnTo>
                  <a:lnTo>
                    <a:pt x="87" y="27"/>
                  </a:lnTo>
                  <a:lnTo>
                    <a:pt x="87" y="33"/>
                  </a:lnTo>
                  <a:lnTo>
                    <a:pt x="87" y="38"/>
                  </a:lnTo>
                  <a:lnTo>
                    <a:pt x="92" y="38"/>
                  </a:lnTo>
                  <a:lnTo>
                    <a:pt x="92" y="49"/>
                  </a:lnTo>
                  <a:lnTo>
                    <a:pt x="92" y="44"/>
                  </a:lnTo>
                  <a:lnTo>
                    <a:pt x="98" y="49"/>
                  </a:lnTo>
                  <a:lnTo>
                    <a:pt x="136" y="55"/>
                  </a:lnTo>
                  <a:lnTo>
                    <a:pt x="147" y="66"/>
                  </a:lnTo>
                  <a:lnTo>
                    <a:pt x="147" y="71"/>
                  </a:lnTo>
                  <a:lnTo>
                    <a:pt x="152" y="76"/>
                  </a:lnTo>
                  <a:lnTo>
                    <a:pt x="147" y="76"/>
                  </a:lnTo>
                  <a:lnTo>
                    <a:pt x="147" y="82"/>
                  </a:lnTo>
                  <a:lnTo>
                    <a:pt x="136" y="76"/>
                  </a:lnTo>
                  <a:lnTo>
                    <a:pt x="136" y="82"/>
                  </a:lnTo>
                  <a:lnTo>
                    <a:pt x="136" y="71"/>
                  </a:lnTo>
                  <a:lnTo>
                    <a:pt x="130" y="76"/>
                  </a:lnTo>
                  <a:lnTo>
                    <a:pt x="130" y="71"/>
                  </a:lnTo>
                  <a:lnTo>
                    <a:pt x="125" y="66"/>
                  </a:lnTo>
                  <a:lnTo>
                    <a:pt x="130" y="76"/>
                  </a:lnTo>
                  <a:lnTo>
                    <a:pt x="125" y="87"/>
                  </a:lnTo>
                  <a:lnTo>
                    <a:pt x="125" y="98"/>
                  </a:lnTo>
                  <a:lnTo>
                    <a:pt x="114" y="104"/>
                  </a:lnTo>
                  <a:lnTo>
                    <a:pt x="114" y="115"/>
                  </a:lnTo>
                  <a:lnTo>
                    <a:pt x="114" y="120"/>
                  </a:lnTo>
                  <a:lnTo>
                    <a:pt x="109" y="115"/>
                  </a:lnTo>
                  <a:lnTo>
                    <a:pt x="109" y="126"/>
                  </a:lnTo>
                  <a:lnTo>
                    <a:pt x="114" y="126"/>
                  </a:lnTo>
                  <a:lnTo>
                    <a:pt x="130" y="115"/>
                  </a:lnTo>
                  <a:lnTo>
                    <a:pt x="141" y="115"/>
                  </a:lnTo>
                  <a:lnTo>
                    <a:pt x="147" y="109"/>
                  </a:lnTo>
                  <a:lnTo>
                    <a:pt x="163" y="109"/>
                  </a:lnTo>
                  <a:lnTo>
                    <a:pt x="158" y="104"/>
                  </a:lnTo>
                  <a:lnTo>
                    <a:pt x="147" y="104"/>
                  </a:lnTo>
                  <a:lnTo>
                    <a:pt x="158" y="93"/>
                  </a:lnTo>
                  <a:lnTo>
                    <a:pt x="169" y="93"/>
                  </a:lnTo>
                  <a:lnTo>
                    <a:pt x="185" y="93"/>
                  </a:lnTo>
                  <a:lnTo>
                    <a:pt x="179" y="87"/>
                  </a:lnTo>
                  <a:lnTo>
                    <a:pt x="185" y="87"/>
                  </a:lnTo>
                  <a:lnTo>
                    <a:pt x="201" y="82"/>
                  </a:lnTo>
                  <a:lnTo>
                    <a:pt x="190" y="87"/>
                  </a:lnTo>
                  <a:lnTo>
                    <a:pt x="196" y="87"/>
                  </a:lnTo>
                  <a:lnTo>
                    <a:pt x="190" y="93"/>
                  </a:lnTo>
                  <a:lnTo>
                    <a:pt x="196" y="98"/>
                  </a:lnTo>
                  <a:lnTo>
                    <a:pt x="185" y="104"/>
                  </a:lnTo>
                  <a:lnTo>
                    <a:pt x="169" y="98"/>
                  </a:lnTo>
                  <a:lnTo>
                    <a:pt x="158" y="104"/>
                  </a:lnTo>
                  <a:lnTo>
                    <a:pt x="163" y="109"/>
                  </a:lnTo>
                  <a:lnTo>
                    <a:pt x="147" y="120"/>
                  </a:lnTo>
                  <a:lnTo>
                    <a:pt x="125" y="131"/>
                  </a:lnTo>
                  <a:lnTo>
                    <a:pt x="109" y="131"/>
                  </a:lnTo>
                  <a:lnTo>
                    <a:pt x="103" y="131"/>
                  </a:lnTo>
                  <a:lnTo>
                    <a:pt x="109" y="126"/>
                  </a:lnTo>
                  <a:lnTo>
                    <a:pt x="109" y="115"/>
                  </a:lnTo>
                  <a:lnTo>
                    <a:pt x="114" y="115"/>
                  </a:lnTo>
                  <a:lnTo>
                    <a:pt x="114" y="104"/>
                  </a:lnTo>
                  <a:lnTo>
                    <a:pt x="109" y="87"/>
                  </a:lnTo>
                  <a:lnTo>
                    <a:pt x="103" y="93"/>
                  </a:lnTo>
                  <a:lnTo>
                    <a:pt x="98" y="93"/>
                  </a:lnTo>
                  <a:lnTo>
                    <a:pt x="103" y="82"/>
                  </a:lnTo>
                  <a:lnTo>
                    <a:pt x="103" y="66"/>
                  </a:lnTo>
                  <a:lnTo>
                    <a:pt x="92" y="60"/>
                  </a:lnTo>
                  <a:lnTo>
                    <a:pt x="87" y="60"/>
                  </a:lnTo>
                  <a:lnTo>
                    <a:pt x="87" y="66"/>
                  </a:lnTo>
                  <a:lnTo>
                    <a:pt x="81" y="66"/>
                  </a:lnTo>
                  <a:lnTo>
                    <a:pt x="81" y="76"/>
                  </a:lnTo>
                  <a:lnTo>
                    <a:pt x="76" y="76"/>
                  </a:lnTo>
                  <a:lnTo>
                    <a:pt x="76" y="71"/>
                  </a:lnTo>
                  <a:lnTo>
                    <a:pt x="71" y="76"/>
                  </a:lnTo>
                  <a:lnTo>
                    <a:pt x="65" y="98"/>
                  </a:lnTo>
                  <a:lnTo>
                    <a:pt x="71" y="104"/>
                  </a:lnTo>
                  <a:lnTo>
                    <a:pt x="71" y="115"/>
                  </a:lnTo>
                  <a:lnTo>
                    <a:pt x="65" y="126"/>
                  </a:lnTo>
                  <a:lnTo>
                    <a:pt x="60" y="131"/>
                  </a:lnTo>
                  <a:lnTo>
                    <a:pt x="54" y="126"/>
                  </a:lnTo>
                  <a:lnTo>
                    <a:pt x="49" y="120"/>
                  </a:lnTo>
                  <a:lnTo>
                    <a:pt x="49" y="104"/>
                  </a:lnTo>
                  <a:lnTo>
                    <a:pt x="54" y="82"/>
                  </a:lnTo>
                  <a:lnTo>
                    <a:pt x="60" y="71"/>
                  </a:lnTo>
                  <a:lnTo>
                    <a:pt x="60" y="66"/>
                  </a:lnTo>
                  <a:lnTo>
                    <a:pt x="54" y="76"/>
                  </a:lnTo>
                  <a:lnTo>
                    <a:pt x="49" y="82"/>
                  </a:lnTo>
                  <a:lnTo>
                    <a:pt x="49" y="76"/>
                  </a:lnTo>
                  <a:lnTo>
                    <a:pt x="60" y="60"/>
                  </a:lnTo>
                  <a:lnTo>
                    <a:pt x="65" y="60"/>
                  </a:lnTo>
                  <a:lnTo>
                    <a:pt x="81" y="55"/>
                  </a:lnTo>
                  <a:lnTo>
                    <a:pt x="87" y="60"/>
                  </a:lnTo>
                  <a:lnTo>
                    <a:pt x="92" y="55"/>
                  </a:lnTo>
                  <a:lnTo>
                    <a:pt x="98" y="55"/>
                  </a:lnTo>
                  <a:lnTo>
                    <a:pt x="92" y="49"/>
                  </a:ln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1" name="Freeform 963"/>
            <p:cNvSpPr>
              <a:spLocks/>
            </p:cNvSpPr>
            <p:nvPr/>
          </p:nvSpPr>
          <p:spPr bwMode="auto">
            <a:xfrm>
              <a:off x="1604" y="994"/>
              <a:ext cx="327" cy="447"/>
            </a:xfrm>
            <a:custGeom>
              <a:avLst/>
              <a:gdLst>
                <a:gd name="T0" fmla="*/ 2147483647 w 60"/>
                <a:gd name="T1" fmla="*/ 2147483647 h 82"/>
                <a:gd name="T2" fmla="*/ 2147483647 w 60"/>
                <a:gd name="T3" fmla="*/ 2147483647 h 82"/>
                <a:gd name="T4" fmla="*/ 2147483647 w 60"/>
                <a:gd name="T5" fmla="*/ 2147483647 h 82"/>
                <a:gd name="T6" fmla="*/ 2147483647 w 60"/>
                <a:gd name="T7" fmla="*/ 2147483647 h 82"/>
                <a:gd name="T8" fmla="*/ 2147483647 w 60"/>
                <a:gd name="T9" fmla="*/ 2147483647 h 82"/>
                <a:gd name="T10" fmla="*/ 2147483647 w 60"/>
                <a:gd name="T11" fmla="*/ 2147483647 h 82"/>
                <a:gd name="T12" fmla="*/ 2147483647 w 60"/>
                <a:gd name="T13" fmla="*/ 2147483647 h 82"/>
                <a:gd name="T14" fmla="*/ 2147483647 w 60"/>
                <a:gd name="T15" fmla="*/ 2147483647 h 82"/>
                <a:gd name="T16" fmla="*/ 2147483647 w 60"/>
                <a:gd name="T17" fmla="*/ 2147483647 h 82"/>
                <a:gd name="T18" fmla="*/ 2147483647 w 60"/>
                <a:gd name="T19" fmla="*/ 2147483647 h 82"/>
                <a:gd name="T20" fmla="*/ 2147483647 w 60"/>
                <a:gd name="T21" fmla="*/ 2147483647 h 82"/>
                <a:gd name="T22" fmla="*/ 2147483647 w 60"/>
                <a:gd name="T23" fmla="*/ 2147483647 h 82"/>
                <a:gd name="T24" fmla="*/ 2147483647 w 60"/>
                <a:gd name="T25" fmla="*/ 2147483647 h 82"/>
                <a:gd name="T26" fmla="*/ 2147483647 w 60"/>
                <a:gd name="T27" fmla="*/ 2147483647 h 82"/>
                <a:gd name="T28" fmla="*/ 2147483647 w 60"/>
                <a:gd name="T29" fmla="*/ 2147483647 h 82"/>
                <a:gd name="T30" fmla="*/ 2147483647 w 60"/>
                <a:gd name="T31" fmla="*/ 2147483647 h 82"/>
                <a:gd name="T32" fmla="*/ 2147483647 w 60"/>
                <a:gd name="T33" fmla="*/ 2147483647 h 82"/>
                <a:gd name="T34" fmla="*/ 2147483647 w 60"/>
                <a:gd name="T35" fmla="*/ 2147483647 h 82"/>
                <a:gd name="T36" fmla="*/ 2147483647 w 60"/>
                <a:gd name="T37" fmla="*/ 2147483647 h 82"/>
                <a:gd name="T38" fmla="*/ 2147483647 w 60"/>
                <a:gd name="T39" fmla="*/ 2147483647 h 82"/>
                <a:gd name="T40" fmla="*/ 2147483647 w 60"/>
                <a:gd name="T41" fmla="*/ 2147483647 h 82"/>
                <a:gd name="T42" fmla="*/ 2147483647 w 60"/>
                <a:gd name="T43" fmla="*/ 2147483647 h 82"/>
                <a:gd name="T44" fmla="*/ 2147483647 w 60"/>
                <a:gd name="T45" fmla="*/ 2147483647 h 82"/>
                <a:gd name="T46" fmla="*/ 2147483647 w 60"/>
                <a:gd name="T47" fmla="*/ 2147483647 h 82"/>
                <a:gd name="T48" fmla="*/ 2147483647 w 60"/>
                <a:gd name="T49" fmla="*/ 2147483647 h 82"/>
                <a:gd name="T50" fmla="*/ 2147483647 w 60"/>
                <a:gd name="T51" fmla="*/ 2147483647 h 82"/>
                <a:gd name="T52" fmla="*/ 2147483647 w 60"/>
                <a:gd name="T53" fmla="*/ 2147483647 h 82"/>
                <a:gd name="T54" fmla="*/ 2147483647 w 60"/>
                <a:gd name="T55" fmla="*/ 2147483647 h 82"/>
                <a:gd name="T56" fmla="*/ 2147483647 w 60"/>
                <a:gd name="T57" fmla="*/ 2147483647 h 82"/>
                <a:gd name="T58" fmla="*/ 2147483647 w 60"/>
                <a:gd name="T59" fmla="*/ 2147483647 h 82"/>
                <a:gd name="T60" fmla="*/ 2147483647 w 60"/>
                <a:gd name="T61" fmla="*/ 2147483647 h 82"/>
                <a:gd name="T62" fmla="*/ 2147483647 w 60"/>
                <a:gd name="T63" fmla="*/ 2147483647 h 82"/>
                <a:gd name="T64" fmla="*/ 2147483647 w 60"/>
                <a:gd name="T65" fmla="*/ 2147483647 h 82"/>
                <a:gd name="T66" fmla="*/ 2147483647 w 60"/>
                <a:gd name="T67" fmla="*/ 2147483647 h 82"/>
                <a:gd name="T68" fmla="*/ 2147483647 w 60"/>
                <a:gd name="T69" fmla="*/ 2147483647 h 82"/>
                <a:gd name="T70" fmla="*/ 2147483647 w 60"/>
                <a:gd name="T71" fmla="*/ 2147483647 h 82"/>
                <a:gd name="T72" fmla="*/ 2147483647 w 60"/>
                <a:gd name="T73" fmla="*/ 2147483647 h 82"/>
                <a:gd name="T74" fmla="*/ 2147483647 w 60"/>
                <a:gd name="T75" fmla="*/ 2147483647 h 82"/>
                <a:gd name="T76" fmla="*/ 2147483647 w 60"/>
                <a:gd name="T77" fmla="*/ 2147483647 h 82"/>
                <a:gd name="T78" fmla="*/ 2147483647 w 60"/>
                <a:gd name="T79" fmla="*/ 2147483647 h 82"/>
                <a:gd name="T80" fmla="*/ 2147483647 w 60"/>
                <a:gd name="T81" fmla="*/ 2147483647 h 82"/>
                <a:gd name="T82" fmla="*/ 2147483647 w 60"/>
                <a:gd name="T83" fmla="*/ 2147483647 h 82"/>
                <a:gd name="T84" fmla="*/ 2147483647 w 60"/>
                <a:gd name="T85" fmla="*/ 2147483647 h 82"/>
                <a:gd name="T86" fmla="*/ 2147483647 w 60"/>
                <a:gd name="T87" fmla="*/ 2147483647 h 82"/>
                <a:gd name="T88" fmla="*/ 2147483647 w 60"/>
                <a:gd name="T89" fmla="*/ 2147483647 h 82"/>
                <a:gd name="T90" fmla="*/ 2147483647 w 60"/>
                <a:gd name="T91" fmla="*/ 2147483647 h 82"/>
                <a:gd name="T92" fmla="*/ 2147483647 w 60"/>
                <a:gd name="T93" fmla="*/ 2147483647 h 82"/>
                <a:gd name="T94" fmla="*/ 2147483647 w 60"/>
                <a:gd name="T95" fmla="*/ 2147483647 h 82"/>
                <a:gd name="T96" fmla="*/ 2147483647 w 60"/>
                <a:gd name="T97" fmla="*/ 2147483647 h 82"/>
                <a:gd name="T98" fmla="*/ 2147483647 w 60"/>
                <a:gd name="T99" fmla="*/ 2147483647 h 82"/>
                <a:gd name="T100" fmla="*/ 2147483647 w 60"/>
                <a:gd name="T101" fmla="*/ 2147483647 h 82"/>
                <a:gd name="T102" fmla="*/ 2147483647 w 60"/>
                <a:gd name="T103" fmla="*/ 2147483647 h 82"/>
                <a:gd name="T104" fmla="*/ 2147483647 w 60"/>
                <a:gd name="T105" fmla="*/ 2147483647 h 82"/>
                <a:gd name="T106" fmla="*/ 2147483647 w 60"/>
                <a:gd name="T107" fmla="*/ 2147483647 h 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
                <a:gd name="T163" fmla="*/ 0 h 82"/>
                <a:gd name="T164" fmla="*/ 60 w 60"/>
                <a:gd name="T165" fmla="*/ 82 h 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 h="82">
                  <a:moveTo>
                    <a:pt x="13" y="60"/>
                  </a:moveTo>
                  <a:cubicBezTo>
                    <a:pt x="13" y="61"/>
                    <a:pt x="13" y="61"/>
                    <a:pt x="13" y="61"/>
                  </a:cubicBezTo>
                  <a:cubicBezTo>
                    <a:pt x="15" y="61"/>
                    <a:pt x="15" y="61"/>
                    <a:pt x="15" y="61"/>
                  </a:cubicBezTo>
                  <a:cubicBezTo>
                    <a:pt x="11" y="64"/>
                    <a:pt x="11" y="64"/>
                    <a:pt x="11" y="64"/>
                  </a:cubicBezTo>
                  <a:cubicBezTo>
                    <a:pt x="13" y="64"/>
                    <a:pt x="13" y="64"/>
                    <a:pt x="13" y="64"/>
                  </a:cubicBezTo>
                  <a:cubicBezTo>
                    <a:pt x="12" y="65"/>
                    <a:pt x="12" y="65"/>
                    <a:pt x="12" y="65"/>
                  </a:cubicBezTo>
                  <a:cubicBezTo>
                    <a:pt x="12" y="65"/>
                    <a:pt x="12" y="65"/>
                    <a:pt x="12" y="65"/>
                  </a:cubicBezTo>
                  <a:cubicBezTo>
                    <a:pt x="12" y="66"/>
                    <a:pt x="12" y="66"/>
                    <a:pt x="12" y="66"/>
                  </a:cubicBezTo>
                  <a:cubicBezTo>
                    <a:pt x="13" y="67"/>
                    <a:pt x="13" y="67"/>
                    <a:pt x="13" y="67"/>
                  </a:cubicBezTo>
                  <a:cubicBezTo>
                    <a:pt x="13" y="65"/>
                    <a:pt x="13" y="65"/>
                    <a:pt x="13" y="65"/>
                  </a:cubicBezTo>
                  <a:cubicBezTo>
                    <a:pt x="13" y="68"/>
                    <a:pt x="13" y="68"/>
                    <a:pt x="13" y="68"/>
                  </a:cubicBezTo>
                  <a:cubicBezTo>
                    <a:pt x="16" y="68"/>
                    <a:pt x="16" y="68"/>
                    <a:pt x="16" y="68"/>
                  </a:cubicBezTo>
                  <a:cubicBezTo>
                    <a:pt x="16" y="68"/>
                    <a:pt x="16" y="68"/>
                    <a:pt x="16" y="68"/>
                  </a:cubicBezTo>
                  <a:cubicBezTo>
                    <a:pt x="16" y="69"/>
                    <a:pt x="16" y="69"/>
                    <a:pt x="16" y="69"/>
                  </a:cubicBezTo>
                  <a:cubicBezTo>
                    <a:pt x="14" y="70"/>
                    <a:pt x="14" y="70"/>
                    <a:pt x="14" y="70"/>
                  </a:cubicBezTo>
                  <a:cubicBezTo>
                    <a:pt x="11" y="69"/>
                    <a:pt x="11" y="69"/>
                    <a:pt x="11" y="69"/>
                  </a:cubicBezTo>
                  <a:cubicBezTo>
                    <a:pt x="9" y="64"/>
                    <a:pt x="9" y="64"/>
                    <a:pt x="9" y="64"/>
                  </a:cubicBezTo>
                  <a:cubicBezTo>
                    <a:pt x="5" y="65"/>
                    <a:pt x="5" y="65"/>
                    <a:pt x="5" y="65"/>
                  </a:cubicBezTo>
                  <a:cubicBezTo>
                    <a:pt x="5" y="67"/>
                    <a:pt x="5" y="67"/>
                    <a:pt x="5" y="67"/>
                  </a:cubicBezTo>
                  <a:cubicBezTo>
                    <a:pt x="6" y="70"/>
                    <a:pt x="6" y="70"/>
                    <a:pt x="6" y="70"/>
                  </a:cubicBezTo>
                  <a:cubicBezTo>
                    <a:pt x="8" y="69"/>
                    <a:pt x="8" y="69"/>
                    <a:pt x="8" y="69"/>
                  </a:cubicBezTo>
                  <a:cubicBezTo>
                    <a:pt x="7" y="71"/>
                    <a:pt x="7" y="71"/>
                    <a:pt x="7" y="71"/>
                  </a:cubicBezTo>
                  <a:cubicBezTo>
                    <a:pt x="8" y="72"/>
                    <a:pt x="8" y="72"/>
                    <a:pt x="8" y="72"/>
                  </a:cubicBezTo>
                  <a:cubicBezTo>
                    <a:pt x="5" y="73"/>
                    <a:pt x="5" y="73"/>
                    <a:pt x="5" y="73"/>
                  </a:cubicBezTo>
                  <a:cubicBezTo>
                    <a:pt x="2" y="76"/>
                    <a:pt x="2" y="76"/>
                    <a:pt x="2" y="76"/>
                  </a:cubicBezTo>
                  <a:cubicBezTo>
                    <a:pt x="2" y="77"/>
                    <a:pt x="2" y="77"/>
                    <a:pt x="2" y="77"/>
                  </a:cubicBezTo>
                  <a:cubicBezTo>
                    <a:pt x="3" y="79"/>
                    <a:pt x="3" y="79"/>
                    <a:pt x="3" y="79"/>
                  </a:cubicBezTo>
                  <a:cubicBezTo>
                    <a:pt x="4" y="77"/>
                    <a:pt x="4" y="77"/>
                    <a:pt x="4" y="77"/>
                  </a:cubicBezTo>
                  <a:cubicBezTo>
                    <a:pt x="4" y="79"/>
                    <a:pt x="4" y="79"/>
                    <a:pt x="4" y="79"/>
                  </a:cubicBezTo>
                  <a:cubicBezTo>
                    <a:pt x="4" y="76"/>
                    <a:pt x="4" y="76"/>
                    <a:pt x="4" y="76"/>
                  </a:cubicBezTo>
                  <a:cubicBezTo>
                    <a:pt x="5" y="79"/>
                    <a:pt x="5" y="79"/>
                    <a:pt x="5" y="79"/>
                  </a:cubicBezTo>
                  <a:cubicBezTo>
                    <a:pt x="6" y="80"/>
                    <a:pt x="6" y="80"/>
                    <a:pt x="6" y="80"/>
                  </a:cubicBezTo>
                  <a:cubicBezTo>
                    <a:pt x="6" y="79"/>
                    <a:pt x="6" y="79"/>
                    <a:pt x="6" y="79"/>
                  </a:cubicBezTo>
                  <a:cubicBezTo>
                    <a:pt x="6" y="78"/>
                    <a:pt x="6" y="78"/>
                    <a:pt x="6" y="78"/>
                  </a:cubicBezTo>
                  <a:cubicBezTo>
                    <a:pt x="8" y="80"/>
                    <a:pt x="8" y="80"/>
                    <a:pt x="8" y="80"/>
                  </a:cubicBezTo>
                  <a:cubicBezTo>
                    <a:pt x="9" y="77"/>
                    <a:pt x="9" y="77"/>
                    <a:pt x="9" y="77"/>
                  </a:cubicBezTo>
                  <a:cubicBezTo>
                    <a:pt x="9" y="79"/>
                    <a:pt x="9" y="79"/>
                    <a:pt x="9" y="79"/>
                  </a:cubicBezTo>
                  <a:cubicBezTo>
                    <a:pt x="13" y="80"/>
                    <a:pt x="13" y="80"/>
                    <a:pt x="13" y="80"/>
                  </a:cubicBezTo>
                  <a:cubicBezTo>
                    <a:pt x="12" y="78"/>
                    <a:pt x="12" y="78"/>
                    <a:pt x="12" y="78"/>
                  </a:cubicBezTo>
                  <a:cubicBezTo>
                    <a:pt x="13" y="79"/>
                    <a:pt x="13" y="79"/>
                    <a:pt x="13" y="79"/>
                  </a:cubicBezTo>
                  <a:cubicBezTo>
                    <a:pt x="14" y="77"/>
                    <a:pt x="14" y="77"/>
                    <a:pt x="14" y="77"/>
                  </a:cubicBezTo>
                  <a:cubicBezTo>
                    <a:pt x="16" y="79"/>
                    <a:pt x="16" y="79"/>
                    <a:pt x="16" y="79"/>
                  </a:cubicBezTo>
                  <a:cubicBezTo>
                    <a:pt x="16" y="78"/>
                    <a:pt x="16" y="78"/>
                    <a:pt x="16" y="78"/>
                  </a:cubicBezTo>
                  <a:cubicBezTo>
                    <a:pt x="16" y="76"/>
                    <a:pt x="16" y="76"/>
                    <a:pt x="16" y="76"/>
                  </a:cubicBezTo>
                  <a:cubicBezTo>
                    <a:pt x="18" y="79"/>
                    <a:pt x="18" y="79"/>
                    <a:pt x="18" y="79"/>
                  </a:cubicBezTo>
                  <a:cubicBezTo>
                    <a:pt x="19" y="78"/>
                    <a:pt x="19" y="78"/>
                    <a:pt x="19" y="78"/>
                  </a:cubicBezTo>
                  <a:cubicBezTo>
                    <a:pt x="18" y="76"/>
                    <a:pt x="18" y="76"/>
                    <a:pt x="18" y="76"/>
                  </a:cubicBezTo>
                  <a:cubicBezTo>
                    <a:pt x="19" y="78"/>
                    <a:pt x="19" y="78"/>
                    <a:pt x="19" y="78"/>
                  </a:cubicBezTo>
                  <a:cubicBezTo>
                    <a:pt x="21" y="78"/>
                    <a:pt x="21" y="78"/>
                    <a:pt x="21" y="78"/>
                  </a:cubicBezTo>
                  <a:cubicBezTo>
                    <a:pt x="22" y="80"/>
                    <a:pt x="22" y="80"/>
                    <a:pt x="22" y="80"/>
                  </a:cubicBezTo>
                  <a:cubicBezTo>
                    <a:pt x="21" y="81"/>
                    <a:pt x="21" y="81"/>
                    <a:pt x="21" y="81"/>
                  </a:cubicBezTo>
                  <a:cubicBezTo>
                    <a:pt x="21" y="82"/>
                    <a:pt x="21" y="82"/>
                    <a:pt x="21" y="82"/>
                  </a:cubicBezTo>
                  <a:cubicBezTo>
                    <a:pt x="28" y="77"/>
                    <a:pt x="28" y="77"/>
                    <a:pt x="28" y="77"/>
                  </a:cubicBezTo>
                  <a:cubicBezTo>
                    <a:pt x="28" y="76"/>
                    <a:pt x="28" y="76"/>
                    <a:pt x="28" y="76"/>
                  </a:cubicBezTo>
                  <a:cubicBezTo>
                    <a:pt x="28" y="74"/>
                    <a:pt x="28" y="74"/>
                    <a:pt x="28" y="74"/>
                  </a:cubicBezTo>
                  <a:cubicBezTo>
                    <a:pt x="26" y="75"/>
                    <a:pt x="26" y="75"/>
                    <a:pt x="26" y="75"/>
                  </a:cubicBezTo>
                  <a:cubicBezTo>
                    <a:pt x="25" y="73"/>
                    <a:pt x="25" y="73"/>
                    <a:pt x="25" y="73"/>
                  </a:cubicBezTo>
                  <a:cubicBezTo>
                    <a:pt x="26" y="72"/>
                    <a:pt x="26" y="72"/>
                    <a:pt x="26" y="72"/>
                  </a:cubicBezTo>
                  <a:cubicBezTo>
                    <a:pt x="25" y="71"/>
                    <a:pt x="25" y="71"/>
                    <a:pt x="25" y="71"/>
                  </a:cubicBezTo>
                  <a:cubicBezTo>
                    <a:pt x="20" y="73"/>
                    <a:pt x="20" y="73"/>
                    <a:pt x="20" y="73"/>
                  </a:cubicBezTo>
                  <a:cubicBezTo>
                    <a:pt x="19" y="71"/>
                    <a:pt x="19" y="71"/>
                    <a:pt x="19" y="71"/>
                  </a:cubicBezTo>
                  <a:cubicBezTo>
                    <a:pt x="21" y="70"/>
                    <a:pt x="21" y="70"/>
                    <a:pt x="21" y="70"/>
                  </a:cubicBezTo>
                  <a:cubicBezTo>
                    <a:pt x="20" y="69"/>
                    <a:pt x="20" y="69"/>
                    <a:pt x="20" y="69"/>
                  </a:cubicBezTo>
                  <a:cubicBezTo>
                    <a:pt x="23" y="71"/>
                    <a:pt x="23" y="71"/>
                    <a:pt x="23" y="71"/>
                  </a:cubicBezTo>
                  <a:cubicBezTo>
                    <a:pt x="28" y="70"/>
                    <a:pt x="28" y="70"/>
                    <a:pt x="28" y="70"/>
                  </a:cubicBezTo>
                  <a:cubicBezTo>
                    <a:pt x="29" y="67"/>
                    <a:pt x="29" y="67"/>
                    <a:pt x="29" y="67"/>
                  </a:cubicBezTo>
                  <a:cubicBezTo>
                    <a:pt x="28" y="66"/>
                    <a:pt x="28" y="66"/>
                    <a:pt x="28" y="66"/>
                  </a:cubicBezTo>
                  <a:cubicBezTo>
                    <a:pt x="28" y="63"/>
                    <a:pt x="28" y="63"/>
                    <a:pt x="28" y="63"/>
                  </a:cubicBezTo>
                  <a:cubicBezTo>
                    <a:pt x="33" y="64"/>
                    <a:pt x="33" y="64"/>
                    <a:pt x="33" y="64"/>
                  </a:cubicBezTo>
                  <a:cubicBezTo>
                    <a:pt x="34" y="62"/>
                    <a:pt x="34" y="62"/>
                    <a:pt x="34" y="62"/>
                  </a:cubicBezTo>
                  <a:cubicBezTo>
                    <a:pt x="31" y="61"/>
                    <a:pt x="31" y="61"/>
                    <a:pt x="31" y="61"/>
                  </a:cubicBezTo>
                  <a:cubicBezTo>
                    <a:pt x="34" y="61"/>
                    <a:pt x="34" y="61"/>
                    <a:pt x="34" y="61"/>
                  </a:cubicBezTo>
                  <a:cubicBezTo>
                    <a:pt x="34" y="60"/>
                    <a:pt x="34" y="60"/>
                    <a:pt x="34" y="60"/>
                  </a:cubicBezTo>
                  <a:cubicBezTo>
                    <a:pt x="34" y="59"/>
                    <a:pt x="34" y="59"/>
                    <a:pt x="34" y="59"/>
                  </a:cubicBezTo>
                  <a:cubicBezTo>
                    <a:pt x="35" y="57"/>
                    <a:pt x="35" y="57"/>
                    <a:pt x="35" y="57"/>
                  </a:cubicBezTo>
                  <a:cubicBezTo>
                    <a:pt x="34" y="56"/>
                    <a:pt x="34" y="56"/>
                    <a:pt x="34" y="56"/>
                  </a:cubicBezTo>
                  <a:cubicBezTo>
                    <a:pt x="33" y="55"/>
                    <a:pt x="33" y="55"/>
                    <a:pt x="33" y="55"/>
                  </a:cubicBezTo>
                  <a:cubicBezTo>
                    <a:pt x="32" y="53"/>
                    <a:pt x="32" y="53"/>
                    <a:pt x="32" y="53"/>
                  </a:cubicBezTo>
                  <a:cubicBezTo>
                    <a:pt x="35" y="54"/>
                    <a:pt x="35" y="54"/>
                    <a:pt x="35" y="54"/>
                  </a:cubicBezTo>
                  <a:cubicBezTo>
                    <a:pt x="35" y="53"/>
                    <a:pt x="35" y="53"/>
                    <a:pt x="35" y="53"/>
                  </a:cubicBezTo>
                  <a:cubicBezTo>
                    <a:pt x="34" y="50"/>
                    <a:pt x="34" y="50"/>
                    <a:pt x="34" y="50"/>
                  </a:cubicBezTo>
                  <a:cubicBezTo>
                    <a:pt x="38" y="48"/>
                    <a:pt x="38" y="48"/>
                    <a:pt x="38" y="48"/>
                  </a:cubicBezTo>
                  <a:cubicBezTo>
                    <a:pt x="36" y="46"/>
                    <a:pt x="36" y="46"/>
                    <a:pt x="36" y="46"/>
                  </a:cubicBezTo>
                  <a:cubicBezTo>
                    <a:pt x="39" y="47"/>
                    <a:pt x="39" y="47"/>
                    <a:pt x="39" y="47"/>
                  </a:cubicBezTo>
                  <a:cubicBezTo>
                    <a:pt x="41" y="45"/>
                    <a:pt x="41" y="45"/>
                    <a:pt x="41" y="45"/>
                  </a:cubicBezTo>
                  <a:cubicBezTo>
                    <a:pt x="42" y="41"/>
                    <a:pt x="42" y="41"/>
                    <a:pt x="42" y="41"/>
                  </a:cubicBezTo>
                  <a:cubicBezTo>
                    <a:pt x="40" y="41"/>
                    <a:pt x="40" y="41"/>
                    <a:pt x="40" y="41"/>
                  </a:cubicBezTo>
                  <a:cubicBezTo>
                    <a:pt x="43" y="39"/>
                    <a:pt x="43" y="39"/>
                    <a:pt x="43" y="39"/>
                  </a:cubicBezTo>
                  <a:cubicBezTo>
                    <a:pt x="43" y="39"/>
                    <a:pt x="43" y="39"/>
                    <a:pt x="43" y="39"/>
                  </a:cubicBezTo>
                  <a:cubicBezTo>
                    <a:pt x="45" y="38"/>
                    <a:pt x="45" y="38"/>
                    <a:pt x="45" y="38"/>
                  </a:cubicBezTo>
                  <a:cubicBezTo>
                    <a:pt x="47" y="36"/>
                    <a:pt x="47" y="36"/>
                    <a:pt x="47" y="36"/>
                  </a:cubicBezTo>
                  <a:cubicBezTo>
                    <a:pt x="49" y="33"/>
                    <a:pt x="49" y="33"/>
                    <a:pt x="49" y="33"/>
                  </a:cubicBezTo>
                  <a:cubicBezTo>
                    <a:pt x="52" y="29"/>
                    <a:pt x="52" y="29"/>
                    <a:pt x="52" y="29"/>
                  </a:cubicBezTo>
                  <a:cubicBezTo>
                    <a:pt x="54" y="25"/>
                    <a:pt x="54" y="25"/>
                    <a:pt x="54" y="25"/>
                  </a:cubicBezTo>
                  <a:cubicBezTo>
                    <a:pt x="53" y="25"/>
                    <a:pt x="53" y="25"/>
                    <a:pt x="53" y="25"/>
                  </a:cubicBezTo>
                  <a:cubicBezTo>
                    <a:pt x="48" y="28"/>
                    <a:pt x="48" y="28"/>
                    <a:pt x="48" y="28"/>
                  </a:cubicBezTo>
                  <a:cubicBezTo>
                    <a:pt x="45" y="28"/>
                    <a:pt x="45" y="28"/>
                    <a:pt x="45" y="28"/>
                  </a:cubicBezTo>
                  <a:cubicBezTo>
                    <a:pt x="47" y="27"/>
                    <a:pt x="47" y="27"/>
                    <a:pt x="47" y="27"/>
                  </a:cubicBezTo>
                  <a:cubicBezTo>
                    <a:pt x="50" y="23"/>
                    <a:pt x="50" y="23"/>
                    <a:pt x="50" y="23"/>
                  </a:cubicBezTo>
                  <a:cubicBezTo>
                    <a:pt x="47" y="23"/>
                    <a:pt x="47" y="23"/>
                    <a:pt x="47" y="23"/>
                  </a:cubicBezTo>
                  <a:cubicBezTo>
                    <a:pt x="52" y="22"/>
                    <a:pt x="52" y="22"/>
                    <a:pt x="52" y="22"/>
                  </a:cubicBezTo>
                  <a:cubicBezTo>
                    <a:pt x="54" y="21"/>
                    <a:pt x="54" y="21"/>
                    <a:pt x="54" y="21"/>
                  </a:cubicBezTo>
                  <a:cubicBezTo>
                    <a:pt x="59" y="16"/>
                    <a:pt x="59" y="16"/>
                    <a:pt x="59" y="16"/>
                  </a:cubicBezTo>
                  <a:cubicBezTo>
                    <a:pt x="60" y="13"/>
                    <a:pt x="60" y="13"/>
                    <a:pt x="60" y="13"/>
                  </a:cubicBezTo>
                  <a:cubicBezTo>
                    <a:pt x="60" y="9"/>
                    <a:pt x="60" y="9"/>
                    <a:pt x="60" y="9"/>
                  </a:cubicBezTo>
                  <a:cubicBezTo>
                    <a:pt x="59" y="9"/>
                    <a:pt x="59" y="9"/>
                    <a:pt x="59" y="9"/>
                  </a:cubicBezTo>
                  <a:cubicBezTo>
                    <a:pt x="57" y="7"/>
                    <a:pt x="57" y="7"/>
                    <a:pt x="57" y="7"/>
                  </a:cubicBezTo>
                  <a:cubicBezTo>
                    <a:pt x="57" y="4"/>
                    <a:pt x="57" y="4"/>
                    <a:pt x="57" y="4"/>
                  </a:cubicBezTo>
                  <a:cubicBezTo>
                    <a:pt x="54" y="4"/>
                    <a:pt x="54" y="4"/>
                    <a:pt x="54" y="4"/>
                  </a:cubicBezTo>
                  <a:cubicBezTo>
                    <a:pt x="53" y="3"/>
                    <a:pt x="53" y="3"/>
                    <a:pt x="53" y="3"/>
                  </a:cubicBezTo>
                  <a:cubicBezTo>
                    <a:pt x="53" y="4"/>
                    <a:pt x="53" y="4"/>
                    <a:pt x="53" y="4"/>
                  </a:cubicBezTo>
                  <a:cubicBezTo>
                    <a:pt x="50" y="5"/>
                    <a:pt x="50" y="5"/>
                    <a:pt x="50" y="5"/>
                  </a:cubicBezTo>
                  <a:cubicBezTo>
                    <a:pt x="50" y="6"/>
                    <a:pt x="50" y="6"/>
                    <a:pt x="50" y="6"/>
                  </a:cubicBezTo>
                  <a:cubicBezTo>
                    <a:pt x="49" y="7"/>
                    <a:pt x="49" y="7"/>
                    <a:pt x="49" y="7"/>
                  </a:cubicBezTo>
                  <a:cubicBezTo>
                    <a:pt x="46" y="7"/>
                    <a:pt x="46" y="7"/>
                    <a:pt x="46" y="7"/>
                  </a:cubicBezTo>
                  <a:cubicBezTo>
                    <a:pt x="47" y="6"/>
                    <a:pt x="47" y="6"/>
                    <a:pt x="47" y="6"/>
                  </a:cubicBezTo>
                  <a:cubicBezTo>
                    <a:pt x="50" y="3"/>
                    <a:pt x="50" y="3"/>
                    <a:pt x="50" y="3"/>
                  </a:cubicBezTo>
                  <a:cubicBezTo>
                    <a:pt x="49" y="3"/>
                    <a:pt x="49" y="3"/>
                    <a:pt x="49" y="3"/>
                  </a:cubicBezTo>
                  <a:cubicBezTo>
                    <a:pt x="46" y="3"/>
                    <a:pt x="46" y="3"/>
                    <a:pt x="46" y="3"/>
                  </a:cubicBezTo>
                  <a:cubicBezTo>
                    <a:pt x="44" y="1"/>
                    <a:pt x="44" y="1"/>
                    <a:pt x="44" y="1"/>
                  </a:cubicBezTo>
                  <a:cubicBezTo>
                    <a:pt x="40" y="0"/>
                    <a:pt x="40" y="0"/>
                    <a:pt x="40" y="0"/>
                  </a:cubicBezTo>
                  <a:cubicBezTo>
                    <a:pt x="41" y="3"/>
                    <a:pt x="41" y="3"/>
                    <a:pt x="41" y="3"/>
                  </a:cubicBezTo>
                  <a:cubicBezTo>
                    <a:pt x="39" y="1"/>
                    <a:pt x="39" y="1"/>
                    <a:pt x="39" y="1"/>
                  </a:cubicBezTo>
                  <a:cubicBezTo>
                    <a:pt x="38" y="0"/>
                    <a:pt x="38" y="0"/>
                    <a:pt x="38" y="0"/>
                  </a:cubicBezTo>
                  <a:cubicBezTo>
                    <a:pt x="36" y="1"/>
                    <a:pt x="36" y="1"/>
                    <a:pt x="36" y="1"/>
                  </a:cubicBezTo>
                  <a:cubicBezTo>
                    <a:pt x="35" y="2"/>
                    <a:pt x="35" y="2"/>
                    <a:pt x="35" y="2"/>
                  </a:cubicBezTo>
                  <a:cubicBezTo>
                    <a:pt x="36" y="3"/>
                    <a:pt x="36" y="3"/>
                    <a:pt x="36" y="3"/>
                  </a:cubicBezTo>
                  <a:cubicBezTo>
                    <a:pt x="37" y="5"/>
                    <a:pt x="37" y="5"/>
                    <a:pt x="37" y="5"/>
                  </a:cubicBezTo>
                  <a:cubicBezTo>
                    <a:pt x="37" y="7"/>
                    <a:pt x="37" y="7"/>
                    <a:pt x="37" y="7"/>
                  </a:cubicBezTo>
                  <a:cubicBezTo>
                    <a:pt x="33" y="4"/>
                    <a:pt x="33" y="4"/>
                    <a:pt x="33" y="4"/>
                  </a:cubicBezTo>
                  <a:cubicBezTo>
                    <a:pt x="33" y="2"/>
                    <a:pt x="33" y="2"/>
                    <a:pt x="33" y="2"/>
                  </a:cubicBezTo>
                  <a:cubicBezTo>
                    <a:pt x="31" y="2"/>
                    <a:pt x="31" y="2"/>
                    <a:pt x="31" y="2"/>
                  </a:cubicBezTo>
                  <a:cubicBezTo>
                    <a:pt x="29" y="2"/>
                    <a:pt x="29" y="2"/>
                    <a:pt x="29" y="2"/>
                  </a:cubicBezTo>
                  <a:cubicBezTo>
                    <a:pt x="28" y="2"/>
                    <a:pt x="28" y="2"/>
                    <a:pt x="28" y="2"/>
                  </a:cubicBezTo>
                  <a:cubicBezTo>
                    <a:pt x="28" y="3"/>
                    <a:pt x="28" y="3"/>
                    <a:pt x="28" y="3"/>
                  </a:cubicBezTo>
                  <a:cubicBezTo>
                    <a:pt x="30" y="5"/>
                    <a:pt x="30" y="5"/>
                    <a:pt x="30" y="5"/>
                  </a:cubicBezTo>
                  <a:cubicBezTo>
                    <a:pt x="31" y="6"/>
                    <a:pt x="31" y="6"/>
                    <a:pt x="31" y="6"/>
                  </a:cubicBezTo>
                  <a:cubicBezTo>
                    <a:pt x="32" y="9"/>
                    <a:pt x="32" y="9"/>
                    <a:pt x="32" y="9"/>
                  </a:cubicBezTo>
                  <a:cubicBezTo>
                    <a:pt x="31" y="10"/>
                    <a:pt x="31" y="10"/>
                    <a:pt x="31" y="10"/>
                  </a:cubicBezTo>
                  <a:cubicBezTo>
                    <a:pt x="30" y="8"/>
                    <a:pt x="30" y="8"/>
                    <a:pt x="30" y="8"/>
                  </a:cubicBezTo>
                  <a:cubicBezTo>
                    <a:pt x="28" y="4"/>
                    <a:pt x="28" y="4"/>
                    <a:pt x="28" y="4"/>
                  </a:cubicBezTo>
                  <a:cubicBezTo>
                    <a:pt x="27" y="4"/>
                    <a:pt x="27" y="4"/>
                    <a:pt x="27" y="4"/>
                  </a:cubicBezTo>
                  <a:cubicBezTo>
                    <a:pt x="26" y="4"/>
                    <a:pt x="26" y="4"/>
                    <a:pt x="26" y="4"/>
                  </a:cubicBezTo>
                  <a:cubicBezTo>
                    <a:pt x="24" y="4"/>
                    <a:pt x="24" y="4"/>
                    <a:pt x="24" y="4"/>
                  </a:cubicBezTo>
                  <a:cubicBezTo>
                    <a:pt x="23" y="2"/>
                    <a:pt x="23" y="2"/>
                    <a:pt x="23" y="2"/>
                  </a:cubicBezTo>
                  <a:cubicBezTo>
                    <a:pt x="20" y="4"/>
                    <a:pt x="20" y="4"/>
                    <a:pt x="20" y="4"/>
                  </a:cubicBezTo>
                  <a:cubicBezTo>
                    <a:pt x="23" y="5"/>
                    <a:pt x="23" y="5"/>
                    <a:pt x="23" y="5"/>
                  </a:cubicBezTo>
                  <a:cubicBezTo>
                    <a:pt x="24" y="7"/>
                    <a:pt x="24" y="7"/>
                    <a:pt x="24" y="7"/>
                  </a:cubicBezTo>
                  <a:cubicBezTo>
                    <a:pt x="22" y="7"/>
                    <a:pt x="22" y="7"/>
                    <a:pt x="22" y="7"/>
                  </a:cubicBezTo>
                  <a:cubicBezTo>
                    <a:pt x="22" y="6"/>
                    <a:pt x="22" y="6"/>
                    <a:pt x="22" y="6"/>
                  </a:cubicBezTo>
                  <a:cubicBezTo>
                    <a:pt x="21" y="5"/>
                    <a:pt x="21" y="5"/>
                    <a:pt x="21" y="5"/>
                  </a:cubicBezTo>
                  <a:cubicBezTo>
                    <a:pt x="20" y="5"/>
                    <a:pt x="20" y="5"/>
                    <a:pt x="20" y="5"/>
                  </a:cubicBezTo>
                  <a:cubicBezTo>
                    <a:pt x="20" y="6"/>
                    <a:pt x="20" y="6"/>
                    <a:pt x="20" y="6"/>
                  </a:cubicBezTo>
                  <a:cubicBezTo>
                    <a:pt x="20" y="7"/>
                    <a:pt x="20" y="7"/>
                    <a:pt x="20" y="7"/>
                  </a:cubicBezTo>
                  <a:cubicBezTo>
                    <a:pt x="21" y="9"/>
                    <a:pt x="21" y="9"/>
                    <a:pt x="21" y="9"/>
                  </a:cubicBezTo>
                  <a:cubicBezTo>
                    <a:pt x="21" y="10"/>
                    <a:pt x="21" y="10"/>
                    <a:pt x="21" y="10"/>
                  </a:cubicBezTo>
                  <a:cubicBezTo>
                    <a:pt x="19" y="9"/>
                    <a:pt x="19" y="9"/>
                    <a:pt x="19" y="9"/>
                  </a:cubicBezTo>
                  <a:cubicBezTo>
                    <a:pt x="16" y="8"/>
                    <a:pt x="16" y="8"/>
                    <a:pt x="16" y="8"/>
                  </a:cubicBezTo>
                  <a:cubicBezTo>
                    <a:pt x="18" y="9"/>
                    <a:pt x="18" y="9"/>
                    <a:pt x="18" y="9"/>
                  </a:cubicBezTo>
                  <a:cubicBezTo>
                    <a:pt x="18" y="10"/>
                    <a:pt x="18" y="10"/>
                    <a:pt x="18" y="10"/>
                  </a:cubicBezTo>
                  <a:cubicBezTo>
                    <a:pt x="17" y="12"/>
                    <a:pt x="17" y="12"/>
                    <a:pt x="17" y="12"/>
                  </a:cubicBezTo>
                  <a:cubicBezTo>
                    <a:pt x="19" y="14"/>
                    <a:pt x="19" y="14"/>
                    <a:pt x="19" y="14"/>
                  </a:cubicBezTo>
                  <a:cubicBezTo>
                    <a:pt x="21" y="18"/>
                    <a:pt x="21" y="18"/>
                    <a:pt x="21" y="18"/>
                  </a:cubicBezTo>
                  <a:cubicBezTo>
                    <a:pt x="19" y="16"/>
                    <a:pt x="19" y="16"/>
                    <a:pt x="19" y="16"/>
                  </a:cubicBezTo>
                  <a:cubicBezTo>
                    <a:pt x="16" y="13"/>
                    <a:pt x="16" y="13"/>
                    <a:pt x="16" y="13"/>
                  </a:cubicBezTo>
                  <a:cubicBezTo>
                    <a:pt x="16" y="16"/>
                    <a:pt x="16" y="16"/>
                    <a:pt x="16" y="16"/>
                  </a:cubicBezTo>
                  <a:cubicBezTo>
                    <a:pt x="16" y="14"/>
                    <a:pt x="16" y="14"/>
                    <a:pt x="16" y="14"/>
                  </a:cubicBezTo>
                  <a:cubicBezTo>
                    <a:pt x="16" y="12"/>
                    <a:pt x="16" y="12"/>
                    <a:pt x="16" y="12"/>
                  </a:cubicBezTo>
                  <a:cubicBezTo>
                    <a:pt x="15" y="12"/>
                    <a:pt x="15" y="12"/>
                    <a:pt x="15" y="12"/>
                  </a:cubicBezTo>
                  <a:cubicBezTo>
                    <a:pt x="14" y="11"/>
                    <a:pt x="14" y="11"/>
                    <a:pt x="14" y="11"/>
                  </a:cubicBezTo>
                  <a:cubicBezTo>
                    <a:pt x="12" y="11"/>
                    <a:pt x="12" y="11"/>
                    <a:pt x="12" y="11"/>
                  </a:cubicBezTo>
                  <a:cubicBezTo>
                    <a:pt x="11" y="11"/>
                    <a:pt x="11" y="11"/>
                    <a:pt x="11" y="11"/>
                  </a:cubicBezTo>
                  <a:cubicBezTo>
                    <a:pt x="11" y="13"/>
                    <a:pt x="11" y="13"/>
                    <a:pt x="11" y="13"/>
                  </a:cubicBezTo>
                  <a:cubicBezTo>
                    <a:pt x="10" y="13"/>
                    <a:pt x="10" y="13"/>
                    <a:pt x="10" y="13"/>
                  </a:cubicBezTo>
                  <a:cubicBezTo>
                    <a:pt x="10" y="14"/>
                    <a:pt x="10" y="14"/>
                    <a:pt x="10" y="14"/>
                  </a:cubicBezTo>
                  <a:cubicBezTo>
                    <a:pt x="11" y="16"/>
                    <a:pt x="11" y="16"/>
                    <a:pt x="11" y="16"/>
                  </a:cubicBezTo>
                  <a:cubicBezTo>
                    <a:pt x="13" y="17"/>
                    <a:pt x="13" y="17"/>
                    <a:pt x="13" y="17"/>
                  </a:cubicBezTo>
                  <a:cubicBezTo>
                    <a:pt x="11" y="18"/>
                    <a:pt x="11" y="18"/>
                    <a:pt x="11" y="18"/>
                  </a:cubicBezTo>
                  <a:cubicBezTo>
                    <a:pt x="10" y="18"/>
                    <a:pt x="10" y="18"/>
                    <a:pt x="10" y="18"/>
                  </a:cubicBezTo>
                  <a:cubicBezTo>
                    <a:pt x="10" y="18"/>
                    <a:pt x="9" y="18"/>
                    <a:pt x="9" y="17"/>
                  </a:cubicBezTo>
                  <a:cubicBezTo>
                    <a:pt x="9" y="17"/>
                    <a:pt x="8" y="16"/>
                    <a:pt x="8" y="16"/>
                  </a:cubicBezTo>
                  <a:cubicBezTo>
                    <a:pt x="7" y="16"/>
                    <a:pt x="7" y="16"/>
                    <a:pt x="7" y="16"/>
                  </a:cubicBezTo>
                  <a:cubicBezTo>
                    <a:pt x="6" y="17"/>
                    <a:pt x="6" y="17"/>
                    <a:pt x="6" y="17"/>
                  </a:cubicBezTo>
                  <a:cubicBezTo>
                    <a:pt x="5" y="20"/>
                    <a:pt x="5" y="20"/>
                    <a:pt x="5" y="20"/>
                  </a:cubicBezTo>
                  <a:cubicBezTo>
                    <a:pt x="2" y="19"/>
                    <a:pt x="2" y="19"/>
                    <a:pt x="2" y="19"/>
                  </a:cubicBezTo>
                  <a:cubicBezTo>
                    <a:pt x="0" y="22"/>
                    <a:pt x="0" y="22"/>
                    <a:pt x="0" y="22"/>
                  </a:cubicBezTo>
                  <a:cubicBezTo>
                    <a:pt x="1" y="24"/>
                    <a:pt x="1" y="24"/>
                    <a:pt x="1" y="24"/>
                  </a:cubicBezTo>
                  <a:cubicBezTo>
                    <a:pt x="2" y="24"/>
                    <a:pt x="2" y="24"/>
                    <a:pt x="2" y="24"/>
                  </a:cubicBezTo>
                  <a:cubicBezTo>
                    <a:pt x="3" y="22"/>
                    <a:pt x="3" y="22"/>
                    <a:pt x="3" y="22"/>
                  </a:cubicBezTo>
                  <a:cubicBezTo>
                    <a:pt x="4" y="22"/>
                    <a:pt x="4" y="22"/>
                    <a:pt x="4" y="22"/>
                  </a:cubicBezTo>
                  <a:cubicBezTo>
                    <a:pt x="5" y="23"/>
                    <a:pt x="5" y="23"/>
                    <a:pt x="5" y="23"/>
                  </a:cubicBezTo>
                  <a:cubicBezTo>
                    <a:pt x="4" y="24"/>
                    <a:pt x="4" y="24"/>
                    <a:pt x="4" y="24"/>
                  </a:cubicBezTo>
                  <a:cubicBezTo>
                    <a:pt x="3" y="25"/>
                    <a:pt x="3" y="25"/>
                    <a:pt x="3" y="25"/>
                  </a:cubicBezTo>
                  <a:cubicBezTo>
                    <a:pt x="3" y="26"/>
                    <a:pt x="3" y="26"/>
                    <a:pt x="3" y="26"/>
                  </a:cubicBezTo>
                  <a:cubicBezTo>
                    <a:pt x="4" y="26"/>
                    <a:pt x="4" y="26"/>
                    <a:pt x="4" y="26"/>
                  </a:cubicBezTo>
                  <a:cubicBezTo>
                    <a:pt x="5" y="26"/>
                    <a:pt x="5" y="26"/>
                    <a:pt x="5" y="26"/>
                  </a:cubicBezTo>
                  <a:cubicBezTo>
                    <a:pt x="6" y="25"/>
                    <a:pt x="6" y="25"/>
                    <a:pt x="6" y="25"/>
                  </a:cubicBezTo>
                  <a:cubicBezTo>
                    <a:pt x="7" y="24"/>
                    <a:pt x="7" y="24"/>
                    <a:pt x="7" y="24"/>
                  </a:cubicBezTo>
                  <a:cubicBezTo>
                    <a:pt x="8" y="23"/>
                    <a:pt x="8" y="23"/>
                    <a:pt x="8" y="23"/>
                  </a:cubicBezTo>
                  <a:cubicBezTo>
                    <a:pt x="6" y="27"/>
                    <a:pt x="6" y="27"/>
                    <a:pt x="6" y="27"/>
                  </a:cubicBezTo>
                  <a:cubicBezTo>
                    <a:pt x="5" y="28"/>
                    <a:pt x="5" y="28"/>
                    <a:pt x="5" y="28"/>
                  </a:cubicBezTo>
                  <a:cubicBezTo>
                    <a:pt x="5" y="29"/>
                    <a:pt x="5" y="29"/>
                    <a:pt x="5" y="29"/>
                  </a:cubicBezTo>
                  <a:cubicBezTo>
                    <a:pt x="5" y="31"/>
                    <a:pt x="5" y="31"/>
                    <a:pt x="5" y="31"/>
                  </a:cubicBezTo>
                  <a:cubicBezTo>
                    <a:pt x="7" y="31"/>
                    <a:pt x="7" y="31"/>
                    <a:pt x="7" y="31"/>
                  </a:cubicBezTo>
                  <a:cubicBezTo>
                    <a:pt x="9" y="31"/>
                    <a:pt x="9" y="31"/>
                    <a:pt x="9" y="31"/>
                  </a:cubicBezTo>
                  <a:cubicBezTo>
                    <a:pt x="13" y="27"/>
                    <a:pt x="13" y="27"/>
                    <a:pt x="13" y="27"/>
                  </a:cubicBezTo>
                  <a:cubicBezTo>
                    <a:pt x="15" y="28"/>
                    <a:pt x="15" y="28"/>
                    <a:pt x="15" y="28"/>
                  </a:cubicBezTo>
                  <a:cubicBezTo>
                    <a:pt x="13" y="29"/>
                    <a:pt x="13" y="29"/>
                    <a:pt x="13" y="29"/>
                  </a:cubicBezTo>
                  <a:cubicBezTo>
                    <a:pt x="5" y="32"/>
                    <a:pt x="5" y="32"/>
                    <a:pt x="5" y="32"/>
                  </a:cubicBezTo>
                  <a:cubicBezTo>
                    <a:pt x="7" y="34"/>
                    <a:pt x="7" y="34"/>
                    <a:pt x="7" y="34"/>
                  </a:cubicBezTo>
                  <a:cubicBezTo>
                    <a:pt x="10" y="35"/>
                    <a:pt x="10" y="35"/>
                    <a:pt x="10" y="35"/>
                  </a:cubicBezTo>
                  <a:cubicBezTo>
                    <a:pt x="12" y="36"/>
                    <a:pt x="12" y="36"/>
                    <a:pt x="12" y="36"/>
                  </a:cubicBezTo>
                  <a:cubicBezTo>
                    <a:pt x="12" y="34"/>
                    <a:pt x="12" y="34"/>
                    <a:pt x="12" y="34"/>
                  </a:cubicBezTo>
                  <a:cubicBezTo>
                    <a:pt x="13" y="32"/>
                    <a:pt x="13" y="32"/>
                    <a:pt x="13" y="32"/>
                  </a:cubicBezTo>
                  <a:cubicBezTo>
                    <a:pt x="15" y="30"/>
                    <a:pt x="15" y="30"/>
                    <a:pt x="15" y="30"/>
                  </a:cubicBezTo>
                  <a:cubicBezTo>
                    <a:pt x="17" y="31"/>
                    <a:pt x="17" y="31"/>
                    <a:pt x="17" y="31"/>
                  </a:cubicBezTo>
                  <a:cubicBezTo>
                    <a:pt x="14" y="32"/>
                    <a:pt x="14" y="32"/>
                    <a:pt x="14" y="32"/>
                  </a:cubicBezTo>
                  <a:cubicBezTo>
                    <a:pt x="13" y="36"/>
                    <a:pt x="13" y="36"/>
                    <a:pt x="13" y="36"/>
                  </a:cubicBezTo>
                  <a:cubicBezTo>
                    <a:pt x="14" y="37"/>
                    <a:pt x="14" y="37"/>
                    <a:pt x="14" y="37"/>
                  </a:cubicBezTo>
                  <a:cubicBezTo>
                    <a:pt x="15" y="37"/>
                    <a:pt x="15" y="37"/>
                    <a:pt x="15" y="37"/>
                  </a:cubicBezTo>
                  <a:cubicBezTo>
                    <a:pt x="16" y="36"/>
                    <a:pt x="16" y="36"/>
                    <a:pt x="16" y="36"/>
                  </a:cubicBezTo>
                  <a:cubicBezTo>
                    <a:pt x="18" y="35"/>
                    <a:pt x="18" y="35"/>
                    <a:pt x="18" y="35"/>
                  </a:cubicBezTo>
                  <a:cubicBezTo>
                    <a:pt x="18" y="34"/>
                    <a:pt x="18" y="34"/>
                    <a:pt x="18" y="34"/>
                  </a:cubicBezTo>
                  <a:cubicBezTo>
                    <a:pt x="19" y="35"/>
                    <a:pt x="19" y="35"/>
                    <a:pt x="19" y="35"/>
                  </a:cubicBezTo>
                  <a:cubicBezTo>
                    <a:pt x="16" y="37"/>
                    <a:pt x="16" y="37"/>
                    <a:pt x="16" y="37"/>
                  </a:cubicBezTo>
                  <a:cubicBezTo>
                    <a:pt x="18" y="37"/>
                    <a:pt x="18" y="37"/>
                    <a:pt x="18" y="37"/>
                  </a:cubicBezTo>
                  <a:cubicBezTo>
                    <a:pt x="22" y="36"/>
                    <a:pt x="22" y="36"/>
                    <a:pt x="22" y="36"/>
                  </a:cubicBezTo>
                  <a:cubicBezTo>
                    <a:pt x="22" y="36"/>
                    <a:pt x="21" y="36"/>
                    <a:pt x="22" y="35"/>
                  </a:cubicBezTo>
                  <a:cubicBezTo>
                    <a:pt x="23" y="35"/>
                    <a:pt x="23" y="32"/>
                    <a:pt x="23" y="32"/>
                  </a:cubicBezTo>
                  <a:cubicBezTo>
                    <a:pt x="24" y="30"/>
                    <a:pt x="24" y="30"/>
                    <a:pt x="24" y="30"/>
                  </a:cubicBezTo>
                  <a:cubicBezTo>
                    <a:pt x="26" y="27"/>
                    <a:pt x="26" y="27"/>
                    <a:pt x="26" y="27"/>
                  </a:cubicBezTo>
                  <a:cubicBezTo>
                    <a:pt x="28" y="26"/>
                    <a:pt x="28" y="26"/>
                    <a:pt x="28" y="26"/>
                  </a:cubicBezTo>
                  <a:cubicBezTo>
                    <a:pt x="27" y="29"/>
                    <a:pt x="27" y="29"/>
                    <a:pt x="27" y="29"/>
                  </a:cubicBezTo>
                  <a:cubicBezTo>
                    <a:pt x="26" y="31"/>
                    <a:pt x="26" y="31"/>
                    <a:pt x="26" y="31"/>
                  </a:cubicBezTo>
                  <a:cubicBezTo>
                    <a:pt x="30" y="32"/>
                    <a:pt x="30" y="32"/>
                    <a:pt x="30" y="32"/>
                  </a:cubicBezTo>
                  <a:cubicBezTo>
                    <a:pt x="32" y="33"/>
                    <a:pt x="32" y="33"/>
                    <a:pt x="32" y="33"/>
                  </a:cubicBezTo>
                  <a:cubicBezTo>
                    <a:pt x="30" y="34"/>
                    <a:pt x="30" y="34"/>
                    <a:pt x="30" y="34"/>
                  </a:cubicBezTo>
                  <a:cubicBezTo>
                    <a:pt x="29" y="34"/>
                    <a:pt x="29" y="34"/>
                    <a:pt x="29" y="34"/>
                  </a:cubicBezTo>
                  <a:cubicBezTo>
                    <a:pt x="26" y="34"/>
                    <a:pt x="26" y="34"/>
                    <a:pt x="26" y="34"/>
                  </a:cubicBezTo>
                  <a:cubicBezTo>
                    <a:pt x="24" y="36"/>
                    <a:pt x="24" y="36"/>
                    <a:pt x="24" y="36"/>
                  </a:cubicBezTo>
                  <a:cubicBezTo>
                    <a:pt x="24" y="37"/>
                    <a:pt x="24" y="37"/>
                    <a:pt x="24" y="37"/>
                  </a:cubicBezTo>
                  <a:cubicBezTo>
                    <a:pt x="26" y="37"/>
                    <a:pt x="26" y="37"/>
                    <a:pt x="26" y="37"/>
                  </a:cubicBezTo>
                  <a:cubicBezTo>
                    <a:pt x="27" y="37"/>
                    <a:pt x="27" y="37"/>
                    <a:pt x="27" y="37"/>
                  </a:cubicBezTo>
                  <a:cubicBezTo>
                    <a:pt x="23" y="38"/>
                    <a:pt x="23" y="38"/>
                    <a:pt x="23" y="38"/>
                  </a:cubicBezTo>
                  <a:cubicBezTo>
                    <a:pt x="22" y="39"/>
                    <a:pt x="22" y="39"/>
                    <a:pt x="22" y="39"/>
                  </a:cubicBezTo>
                  <a:cubicBezTo>
                    <a:pt x="19" y="40"/>
                    <a:pt x="19" y="40"/>
                    <a:pt x="19" y="40"/>
                  </a:cubicBezTo>
                  <a:cubicBezTo>
                    <a:pt x="18" y="41"/>
                    <a:pt x="18" y="41"/>
                    <a:pt x="18" y="41"/>
                  </a:cubicBezTo>
                  <a:cubicBezTo>
                    <a:pt x="21" y="43"/>
                    <a:pt x="21" y="43"/>
                    <a:pt x="21" y="43"/>
                  </a:cubicBezTo>
                  <a:cubicBezTo>
                    <a:pt x="21" y="44"/>
                    <a:pt x="21" y="44"/>
                    <a:pt x="21" y="44"/>
                  </a:cubicBezTo>
                  <a:cubicBezTo>
                    <a:pt x="21" y="45"/>
                    <a:pt x="21" y="45"/>
                    <a:pt x="21" y="45"/>
                  </a:cubicBezTo>
                  <a:cubicBezTo>
                    <a:pt x="23" y="47"/>
                    <a:pt x="23" y="47"/>
                    <a:pt x="23" y="47"/>
                  </a:cubicBezTo>
                  <a:cubicBezTo>
                    <a:pt x="23" y="48"/>
                    <a:pt x="23" y="48"/>
                    <a:pt x="23" y="48"/>
                  </a:cubicBezTo>
                  <a:cubicBezTo>
                    <a:pt x="22" y="48"/>
                    <a:pt x="22" y="48"/>
                    <a:pt x="22" y="48"/>
                  </a:cubicBezTo>
                  <a:cubicBezTo>
                    <a:pt x="19" y="46"/>
                    <a:pt x="19" y="46"/>
                    <a:pt x="19" y="46"/>
                  </a:cubicBezTo>
                  <a:cubicBezTo>
                    <a:pt x="18" y="43"/>
                    <a:pt x="18" y="43"/>
                    <a:pt x="18" y="43"/>
                  </a:cubicBezTo>
                  <a:cubicBezTo>
                    <a:pt x="16" y="41"/>
                    <a:pt x="16" y="41"/>
                    <a:pt x="16" y="41"/>
                  </a:cubicBezTo>
                  <a:cubicBezTo>
                    <a:pt x="13" y="40"/>
                    <a:pt x="13" y="40"/>
                    <a:pt x="13" y="40"/>
                  </a:cubicBezTo>
                  <a:cubicBezTo>
                    <a:pt x="12" y="40"/>
                    <a:pt x="12" y="40"/>
                    <a:pt x="12" y="40"/>
                  </a:cubicBezTo>
                  <a:cubicBezTo>
                    <a:pt x="11" y="41"/>
                    <a:pt x="11" y="41"/>
                    <a:pt x="11" y="41"/>
                  </a:cubicBezTo>
                  <a:cubicBezTo>
                    <a:pt x="11" y="43"/>
                    <a:pt x="11" y="43"/>
                    <a:pt x="11" y="43"/>
                  </a:cubicBezTo>
                  <a:cubicBezTo>
                    <a:pt x="13" y="49"/>
                    <a:pt x="13" y="49"/>
                    <a:pt x="13" y="49"/>
                  </a:cubicBezTo>
                  <a:cubicBezTo>
                    <a:pt x="15" y="49"/>
                    <a:pt x="15" y="49"/>
                    <a:pt x="15" y="49"/>
                  </a:cubicBezTo>
                  <a:cubicBezTo>
                    <a:pt x="16" y="52"/>
                    <a:pt x="16" y="52"/>
                    <a:pt x="16" y="52"/>
                  </a:cubicBezTo>
                  <a:cubicBezTo>
                    <a:pt x="17" y="53"/>
                    <a:pt x="17" y="53"/>
                    <a:pt x="17" y="53"/>
                  </a:cubicBezTo>
                  <a:cubicBezTo>
                    <a:pt x="19" y="56"/>
                    <a:pt x="19" y="56"/>
                    <a:pt x="19" y="56"/>
                  </a:cubicBezTo>
                  <a:cubicBezTo>
                    <a:pt x="20" y="56"/>
                    <a:pt x="20" y="56"/>
                    <a:pt x="20" y="56"/>
                  </a:cubicBezTo>
                  <a:cubicBezTo>
                    <a:pt x="19" y="57"/>
                    <a:pt x="19" y="57"/>
                    <a:pt x="19" y="57"/>
                  </a:cubicBezTo>
                  <a:cubicBezTo>
                    <a:pt x="18" y="57"/>
                    <a:pt x="18" y="57"/>
                    <a:pt x="18" y="57"/>
                  </a:cubicBezTo>
                  <a:cubicBezTo>
                    <a:pt x="16" y="56"/>
                    <a:pt x="16" y="56"/>
                    <a:pt x="16" y="56"/>
                  </a:cubicBezTo>
                  <a:cubicBezTo>
                    <a:pt x="14" y="55"/>
                    <a:pt x="14" y="55"/>
                    <a:pt x="14" y="55"/>
                  </a:cubicBezTo>
                  <a:cubicBezTo>
                    <a:pt x="13" y="56"/>
                    <a:pt x="13" y="56"/>
                    <a:pt x="13" y="56"/>
                  </a:cubicBezTo>
                  <a:cubicBezTo>
                    <a:pt x="12" y="57"/>
                    <a:pt x="12" y="57"/>
                    <a:pt x="12" y="57"/>
                  </a:cubicBezTo>
                  <a:cubicBezTo>
                    <a:pt x="14" y="59"/>
                    <a:pt x="14" y="59"/>
                    <a:pt x="14" y="59"/>
                  </a:cubicBezTo>
                  <a:lnTo>
                    <a:pt x="13" y="6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2" name="Freeform 964"/>
            <p:cNvSpPr>
              <a:spLocks/>
            </p:cNvSpPr>
            <p:nvPr/>
          </p:nvSpPr>
          <p:spPr bwMode="auto">
            <a:xfrm>
              <a:off x="1555" y="1141"/>
              <a:ext cx="125" cy="202"/>
            </a:xfrm>
            <a:custGeom>
              <a:avLst/>
              <a:gdLst>
                <a:gd name="T0" fmla="*/ 49 w 125"/>
                <a:gd name="T1" fmla="*/ 197 h 202"/>
                <a:gd name="T2" fmla="*/ 65 w 125"/>
                <a:gd name="T3" fmla="*/ 191 h 202"/>
                <a:gd name="T4" fmla="*/ 71 w 125"/>
                <a:gd name="T5" fmla="*/ 175 h 202"/>
                <a:gd name="T6" fmla="*/ 82 w 125"/>
                <a:gd name="T7" fmla="*/ 197 h 202"/>
                <a:gd name="T8" fmla="*/ 93 w 125"/>
                <a:gd name="T9" fmla="*/ 175 h 202"/>
                <a:gd name="T10" fmla="*/ 93 w 125"/>
                <a:gd name="T11" fmla="*/ 142 h 202"/>
                <a:gd name="T12" fmla="*/ 104 w 125"/>
                <a:gd name="T13" fmla="*/ 153 h 202"/>
                <a:gd name="T14" fmla="*/ 125 w 125"/>
                <a:gd name="T15" fmla="*/ 131 h 202"/>
                <a:gd name="T16" fmla="*/ 109 w 125"/>
                <a:gd name="T17" fmla="*/ 109 h 202"/>
                <a:gd name="T18" fmla="*/ 104 w 125"/>
                <a:gd name="T19" fmla="*/ 98 h 202"/>
                <a:gd name="T20" fmla="*/ 82 w 125"/>
                <a:gd name="T21" fmla="*/ 82 h 202"/>
                <a:gd name="T22" fmla="*/ 82 w 125"/>
                <a:gd name="T23" fmla="*/ 60 h 202"/>
                <a:gd name="T24" fmla="*/ 60 w 125"/>
                <a:gd name="T25" fmla="*/ 44 h 202"/>
                <a:gd name="T26" fmla="*/ 55 w 125"/>
                <a:gd name="T27" fmla="*/ 22 h 202"/>
                <a:gd name="T28" fmla="*/ 27 w 125"/>
                <a:gd name="T29" fmla="*/ 0 h 202"/>
                <a:gd name="T30" fmla="*/ 22 w 125"/>
                <a:gd name="T31" fmla="*/ 17 h 202"/>
                <a:gd name="T32" fmla="*/ 38 w 125"/>
                <a:gd name="T33" fmla="*/ 17 h 202"/>
                <a:gd name="T34" fmla="*/ 33 w 125"/>
                <a:gd name="T35" fmla="*/ 27 h 202"/>
                <a:gd name="T36" fmla="*/ 16 w 125"/>
                <a:gd name="T37" fmla="*/ 22 h 202"/>
                <a:gd name="T38" fmla="*/ 22 w 125"/>
                <a:gd name="T39" fmla="*/ 49 h 202"/>
                <a:gd name="T40" fmla="*/ 22 w 125"/>
                <a:gd name="T41" fmla="*/ 49 h 202"/>
                <a:gd name="T42" fmla="*/ 11 w 125"/>
                <a:gd name="T43" fmla="*/ 55 h 202"/>
                <a:gd name="T44" fmla="*/ 6 w 125"/>
                <a:gd name="T45" fmla="*/ 66 h 202"/>
                <a:gd name="T46" fmla="*/ 22 w 125"/>
                <a:gd name="T47" fmla="*/ 77 h 202"/>
                <a:gd name="T48" fmla="*/ 22 w 125"/>
                <a:gd name="T49" fmla="*/ 77 h 202"/>
                <a:gd name="T50" fmla="*/ 16 w 125"/>
                <a:gd name="T51" fmla="*/ 82 h 202"/>
                <a:gd name="T52" fmla="*/ 6 w 125"/>
                <a:gd name="T53" fmla="*/ 93 h 202"/>
                <a:gd name="T54" fmla="*/ 22 w 125"/>
                <a:gd name="T55" fmla="*/ 109 h 202"/>
                <a:gd name="T56" fmla="*/ 33 w 125"/>
                <a:gd name="T57" fmla="*/ 109 h 202"/>
                <a:gd name="T58" fmla="*/ 16 w 125"/>
                <a:gd name="T59" fmla="*/ 115 h 202"/>
                <a:gd name="T60" fmla="*/ 22 w 125"/>
                <a:gd name="T61" fmla="*/ 126 h 202"/>
                <a:gd name="T62" fmla="*/ 33 w 125"/>
                <a:gd name="T63" fmla="*/ 126 h 202"/>
                <a:gd name="T64" fmla="*/ 49 w 125"/>
                <a:gd name="T65" fmla="*/ 126 h 202"/>
                <a:gd name="T66" fmla="*/ 38 w 125"/>
                <a:gd name="T67" fmla="*/ 142 h 202"/>
                <a:gd name="T68" fmla="*/ 33 w 125"/>
                <a:gd name="T69" fmla="*/ 147 h 202"/>
                <a:gd name="T70" fmla="*/ 33 w 125"/>
                <a:gd name="T71" fmla="*/ 158 h 202"/>
                <a:gd name="T72" fmla="*/ 55 w 125"/>
                <a:gd name="T73" fmla="*/ 175 h 202"/>
                <a:gd name="T74" fmla="*/ 38 w 125"/>
                <a:gd name="T75" fmla="*/ 180 h 20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25"/>
                <a:gd name="T115" fmla="*/ 0 h 202"/>
                <a:gd name="T116" fmla="*/ 125 w 125"/>
                <a:gd name="T117" fmla="*/ 202 h 20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25" h="202">
                  <a:moveTo>
                    <a:pt x="44" y="191"/>
                  </a:moveTo>
                  <a:lnTo>
                    <a:pt x="49" y="197"/>
                  </a:lnTo>
                  <a:lnTo>
                    <a:pt x="71" y="202"/>
                  </a:lnTo>
                  <a:lnTo>
                    <a:pt x="65" y="191"/>
                  </a:lnTo>
                  <a:lnTo>
                    <a:pt x="65" y="186"/>
                  </a:lnTo>
                  <a:lnTo>
                    <a:pt x="71" y="175"/>
                  </a:lnTo>
                  <a:lnTo>
                    <a:pt x="76" y="186"/>
                  </a:lnTo>
                  <a:lnTo>
                    <a:pt x="82" y="197"/>
                  </a:lnTo>
                  <a:lnTo>
                    <a:pt x="93" y="180"/>
                  </a:lnTo>
                  <a:lnTo>
                    <a:pt x="93" y="175"/>
                  </a:lnTo>
                  <a:lnTo>
                    <a:pt x="93" y="164"/>
                  </a:lnTo>
                  <a:lnTo>
                    <a:pt x="93" y="142"/>
                  </a:lnTo>
                  <a:lnTo>
                    <a:pt x="98" y="158"/>
                  </a:lnTo>
                  <a:lnTo>
                    <a:pt x="104" y="153"/>
                  </a:lnTo>
                  <a:lnTo>
                    <a:pt x="120" y="142"/>
                  </a:lnTo>
                  <a:lnTo>
                    <a:pt x="125" y="131"/>
                  </a:lnTo>
                  <a:lnTo>
                    <a:pt x="120" y="120"/>
                  </a:lnTo>
                  <a:lnTo>
                    <a:pt x="109" y="109"/>
                  </a:lnTo>
                  <a:lnTo>
                    <a:pt x="104" y="115"/>
                  </a:lnTo>
                  <a:lnTo>
                    <a:pt x="104" y="98"/>
                  </a:lnTo>
                  <a:lnTo>
                    <a:pt x="98" y="87"/>
                  </a:lnTo>
                  <a:lnTo>
                    <a:pt x="82" y="82"/>
                  </a:lnTo>
                  <a:lnTo>
                    <a:pt x="82" y="71"/>
                  </a:lnTo>
                  <a:lnTo>
                    <a:pt x="82" y="60"/>
                  </a:lnTo>
                  <a:lnTo>
                    <a:pt x="71" y="60"/>
                  </a:lnTo>
                  <a:lnTo>
                    <a:pt x="60" y="44"/>
                  </a:lnTo>
                  <a:lnTo>
                    <a:pt x="55" y="33"/>
                  </a:lnTo>
                  <a:lnTo>
                    <a:pt x="55" y="22"/>
                  </a:lnTo>
                  <a:lnTo>
                    <a:pt x="44" y="6"/>
                  </a:lnTo>
                  <a:lnTo>
                    <a:pt x="27" y="0"/>
                  </a:lnTo>
                  <a:lnTo>
                    <a:pt x="22" y="0"/>
                  </a:lnTo>
                  <a:lnTo>
                    <a:pt x="22" y="17"/>
                  </a:lnTo>
                  <a:lnTo>
                    <a:pt x="38" y="11"/>
                  </a:lnTo>
                  <a:lnTo>
                    <a:pt x="38" y="17"/>
                  </a:lnTo>
                  <a:lnTo>
                    <a:pt x="33" y="17"/>
                  </a:lnTo>
                  <a:lnTo>
                    <a:pt x="33" y="27"/>
                  </a:lnTo>
                  <a:lnTo>
                    <a:pt x="27" y="22"/>
                  </a:lnTo>
                  <a:lnTo>
                    <a:pt x="16" y="22"/>
                  </a:lnTo>
                  <a:lnTo>
                    <a:pt x="16" y="33"/>
                  </a:lnTo>
                  <a:lnTo>
                    <a:pt x="22" y="49"/>
                  </a:lnTo>
                  <a:lnTo>
                    <a:pt x="27" y="55"/>
                  </a:lnTo>
                  <a:lnTo>
                    <a:pt x="22" y="49"/>
                  </a:lnTo>
                  <a:lnTo>
                    <a:pt x="16" y="49"/>
                  </a:lnTo>
                  <a:lnTo>
                    <a:pt x="11" y="55"/>
                  </a:lnTo>
                  <a:lnTo>
                    <a:pt x="16" y="66"/>
                  </a:lnTo>
                  <a:lnTo>
                    <a:pt x="6" y="66"/>
                  </a:lnTo>
                  <a:lnTo>
                    <a:pt x="22" y="77"/>
                  </a:lnTo>
                  <a:lnTo>
                    <a:pt x="22" y="82"/>
                  </a:lnTo>
                  <a:lnTo>
                    <a:pt x="16" y="82"/>
                  </a:lnTo>
                  <a:lnTo>
                    <a:pt x="0" y="77"/>
                  </a:lnTo>
                  <a:lnTo>
                    <a:pt x="6" y="93"/>
                  </a:lnTo>
                  <a:lnTo>
                    <a:pt x="11" y="104"/>
                  </a:lnTo>
                  <a:lnTo>
                    <a:pt x="22" y="109"/>
                  </a:lnTo>
                  <a:lnTo>
                    <a:pt x="27" y="104"/>
                  </a:lnTo>
                  <a:lnTo>
                    <a:pt x="33" y="109"/>
                  </a:lnTo>
                  <a:lnTo>
                    <a:pt x="22" y="115"/>
                  </a:lnTo>
                  <a:lnTo>
                    <a:pt x="16" y="115"/>
                  </a:lnTo>
                  <a:lnTo>
                    <a:pt x="16" y="120"/>
                  </a:lnTo>
                  <a:lnTo>
                    <a:pt x="22" y="126"/>
                  </a:lnTo>
                  <a:lnTo>
                    <a:pt x="27" y="126"/>
                  </a:lnTo>
                  <a:lnTo>
                    <a:pt x="33" y="126"/>
                  </a:lnTo>
                  <a:lnTo>
                    <a:pt x="44" y="120"/>
                  </a:lnTo>
                  <a:lnTo>
                    <a:pt x="49" y="126"/>
                  </a:lnTo>
                  <a:lnTo>
                    <a:pt x="49" y="131"/>
                  </a:lnTo>
                  <a:lnTo>
                    <a:pt x="38" y="142"/>
                  </a:lnTo>
                  <a:lnTo>
                    <a:pt x="33" y="142"/>
                  </a:lnTo>
                  <a:lnTo>
                    <a:pt x="33" y="147"/>
                  </a:lnTo>
                  <a:lnTo>
                    <a:pt x="27" y="153"/>
                  </a:lnTo>
                  <a:lnTo>
                    <a:pt x="33" y="158"/>
                  </a:lnTo>
                  <a:lnTo>
                    <a:pt x="38" y="164"/>
                  </a:lnTo>
                  <a:lnTo>
                    <a:pt x="55" y="175"/>
                  </a:lnTo>
                  <a:lnTo>
                    <a:pt x="44" y="175"/>
                  </a:lnTo>
                  <a:lnTo>
                    <a:pt x="38" y="180"/>
                  </a:lnTo>
                  <a:lnTo>
                    <a:pt x="44" y="191"/>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3" name="Freeform 965"/>
            <p:cNvSpPr>
              <a:spLocks/>
            </p:cNvSpPr>
            <p:nvPr/>
          </p:nvSpPr>
          <p:spPr bwMode="auto">
            <a:xfrm>
              <a:off x="1452" y="1272"/>
              <a:ext cx="76" cy="87"/>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2147483647 h 16"/>
                <a:gd name="T26" fmla="*/ 2147483647 w 14"/>
                <a:gd name="T27" fmla="*/ 2147483647 h 16"/>
                <a:gd name="T28" fmla="*/ 2147483647 w 14"/>
                <a:gd name="T29" fmla="*/ 2147483647 h 16"/>
                <a:gd name="T30" fmla="*/ 2147483647 w 14"/>
                <a:gd name="T31" fmla="*/ 0 h 16"/>
                <a:gd name="T32" fmla="*/ 2147483647 w 14"/>
                <a:gd name="T33" fmla="*/ 2147483647 h 16"/>
                <a:gd name="T34" fmla="*/ 0 w 14"/>
                <a:gd name="T35" fmla="*/ 2147483647 h 16"/>
                <a:gd name="T36" fmla="*/ 2147483647 w 14"/>
                <a:gd name="T37" fmla="*/ 2147483647 h 16"/>
                <a:gd name="T38" fmla="*/ 2147483647 w 14"/>
                <a:gd name="T39" fmla="*/ 2147483647 h 16"/>
                <a:gd name="T40" fmla="*/ 2147483647 w 14"/>
                <a:gd name="T41" fmla="*/ 2147483647 h 16"/>
                <a:gd name="T42" fmla="*/ 2147483647 w 14"/>
                <a:gd name="T43" fmla="*/ 2147483647 h 16"/>
                <a:gd name="T44" fmla="*/ 2147483647 w 14"/>
                <a:gd name="T45" fmla="*/ 2147483647 h 16"/>
                <a:gd name="T46" fmla="*/ 2147483647 w 14"/>
                <a:gd name="T47" fmla="*/ 2147483647 h 16"/>
                <a:gd name="T48" fmla="*/ 2147483647 w 14"/>
                <a:gd name="T49" fmla="*/ 2147483647 h 16"/>
                <a:gd name="T50" fmla="*/ 2147483647 w 14"/>
                <a:gd name="T51" fmla="*/ 2147483647 h 16"/>
                <a:gd name="T52" fmla="*/ 2147483647 w 14"/>
                <a:gd name="T53" fmla="*/ 2147483647 h 16"/>
                <a:gd name="T54" fmla="*/ 2147483647 w 14"/>
                <a:gd name="T55" fmla="*/ 2147483647 h 16"/>
                <a:gd name="T56" fmla="*/ 2147483647 w 14"/>
                <a:gd name="T57" fmla="*/ 2147483647 h 1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
                <a:gd name="T88" fmla="*/ 0 h 16"/>
                <a:gd name="T89" fmla="*/ 14 w 14"/>
                <a:gd name="T90" fmla="*/ 16 h 1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 h="16">
                  <a:moveTo>
                    <a:pt x="9" y="11"/>
                  </a:moveTo>
                  <a:cubicBezTo>
                    <a:pt x="10" y="15"/>
                    <a:pt x="10" y="15"/>
                    <a:pt x="10" y="15"/>
                  </a:cubicBezTo>
                  <a:cubicBezTo>
                    <a:pt x="12" y="16"/>
                    <a:pt x="12" y="16"/>
                    <a:pt x="12" y="16"/>
                  </a:cubicBezTo>
                  <a:cubicBezTo>
                    <a:pt x="13" y="15"/>
                    <a:pt x="13" y="15"/>
                    <a:pt x="13" y="15"/>
                  </a:cubicBezTo>
                  <a:cubicBezTo>
                    <a:pt x="14" y="13"/>
                    <a:pt x="14" y="13"/>
                    <a:pt x="14" y="13"/>
                  </a:cubicBezTo>
                  <a:cubicBezTo>
                    <a:pt x="13" y="11"/>
                    <a:pt x="13" y="11"/>
                    <a:pt x="13" y="11"/>
                  </a:cubicBezTo>
                  <a:cubicBezTo>
                    <a:pt x="12" y="9"/>
                    <a:pt x="12" y="9"/>
                    <a:pt x="12" y="9"/>
                  </a:cubicBezTo>
                  <a:cubicBezTo>
                    <a:pt x="12" y="7"/>
                    <a:pt x="12" y="7"/>
                    <a:pt x="12" y="7"/>
                  </a:cubicBezTo>
                  <a:cubicBezTo>
                    <a:pt x="12" y="7"/>
                    <a:pt x="11" y="6"/>
                    <a:pt x="11" y="6"/>
                  </a:cubicBezTo>
                  <a:cubicBezTo>
                    <a:pt x="10" y="6"/>
                    <a:pt x="10" y="4"/>
                    <a:pt x="9" y="4"/>
                  </a:cubicBezTo>
                  <a:cubicBezTo>
                    <a:pt x="9" y="4"/>
                    <a:pt x="8" y="3"/>
                    <a:pt x="8" y="3"/>
                  </a:cubicBezTo>
                  <a:cubicBezTo>
                    <a:pt x="7" y="4"/>
                    <a:pt x="7" y="4"/>
                    <a:pt x="7" y="4"/>
                  </a:cubicBezTo>
                  <a:cubicBezTo>
                    <a:pt x="7" y="5"/>
                    <a:pt x="7" y="5"/>
                    <a:pt x="7" y="5"/>
                  </a:cubicBezTo>
                  <a:cubicBezTo>
                    <a:pt x="6" y="2"/>
                    <a:pt x="6" y="2"/>
                    <a:pt x="6" y="2"/>
                  </a:cubicBezTo>
                  <a:cubicBezTo>
                    <a:pt x="6" y="1"/>
                    <a:pt x="6" y="1"/>
                    <a:pt x="6" y="1"/>
                  </a:cubicBezTo>
                  <a:cubicBezTo>
                    <a:pt x="2" y="0"/>
                    <a:pt x="2" y="0"/>
                    <a:pt x="2" y="0"/>
                  </a:cubicBezTo>
                  <a:cubicBezTo>
                    <a:pt x="1" y="1"/>
                    <a:pt x="1" y="1"/>
                    <a:pt x="1" y="1"/>
                  </a:cubicBezTo>
                  <a:cubicBezTo>
                    <a:pt x="0" y="3"/>
                    <a:pt x="0" y="3"/>
                    <a:pt x="0" y="3"/>
                  </a:cubicBezTo>
                  <a:cubicBezTo>
                    <a:pt x="1" y="4"/>
                    <a:pt x="1" y="4"/>
                    <a:pt x="1" y="4"/>
                  </a:cubicBezTo>
                  <a:cubicBezTo>
                    <a:pt x="2" y="4"/>
                    <a:pt x="2" y="4"/>
                    <a:pt x="2" y="4"/>
                  </a:cubicBezTo>
                  <a:cubicBezTo>
                    <a:pt x="4" y="5"/>
                    <a:pt x="4" y="5"/>
                    <a:pt x="4" y="5"/>
                  </a:cubicBezTo>
                  <a:cubicBezTo>
                    <a:pt x="6" y="8"/>
                    <a:pt x="6" y="8"/>
                    <a:pt x="6" y="8"/>
                  </a:cubicBezTo>
                  <a:cubicBezTo>
                    <a:pt x="5" y="9"/>
                    <a:pt x="5" y="9"/>
                    <a:pt x="5" y="9"/>
                  </a:cubicBezTo>
                  <a:cubicBezTo>
                    <a:pt x="3" y="8"/>
                    <a:pt x="3" y="8"/>
                    <a:pt x="3" y="8"/>
                  </a:cubicBezTo>
                  <a:cubicBezTo>
                    <a:pt x="3" y="9"/>
                    <a:pt x="3" y="9"/>
                    <a:pt x="3" y="9"/>
                  </a:cubicBezTo>
                  <a:cubicBezTo>
                    <a:pt x="3" y="10"/>
                    <a:pt x="3" y="10"/>
                    <a:pt x="3" y="10"/>
                  </a:cubicBezTo>
                  <a:cubicBezTo>
                    <a:pt x="5" y="11"/>
                    <a:pt x="5" y="11"/>
                    <a:pt x="5" y="11"/>
                  </a:cubicBezTo>
                  <a:cubicBezTo>
                    <a:pt x="5" y="11"/>
                    <a:pt x="7" y="11"/>
                    <a:pt x="8" y="11"/>
                  </a:cubicBezTo>
                  <a:cubicBezTo>
                    <a:pt x="8" y="11"/>
                    <a:pt x="9" y="11"/>
                    <a:pt x="9" y="11"/>
                  </a:cubicBez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4" name="Freeform 966"/>
            <p:cNvSpPr>
              <a:spLocks/>
            </p:cNvSpPr>
            <p:nvPr/>
          </p:nvSpPr>
          <p:spPr bwMode="auto">
            <a:xfrm>
              <a:off x="1539" y="1299"/>
              <a:ext cx="38" cy="60"/>
            </a:xfrm>
            <a:custGeom>
              <a:avLst/>
              <a:gdLst>
                <a:gd name="T0" fmla="*/ 0 w 7"/>
                <a:gd name="T1" fmla="*/ 2147483647 h 11"/>
                <a:gd name="T2" fmla="*/ 2147483647 w 7"/>
                <a:gd name="T3" fmla="*/ 2147483647 h 11"/>
                <a:gd name="T4" fmla="*/ 0 w 7"/>
                <a:gd name="T5" fmla="*/ 2147483647 h 11"/>
                <a:gd name="T6" fmla="*/ 2147483647 w 7"/>
                <a:gd name="T7" fmla="*/ 2147483647 h 11"/>
                <a:gd name="T8" fmla="*/ 2147483647 w 7"/>
                <a:gd name="T9" fmla="*/ 2147483647 h 11"/>
                <a:gd name="T10" fmla="*/ 2147483647 w 7"/>
                <a:gd name="T11" fmla="*/ 2147483647 h 11"/>
                <a:gd name="T12" fmla="*/ 2147483647 w 7"/>
                <a:gd name="T13" fmla="*/ 2147483647 h 11"/>
                <a:gd name="T14" fmla="*/ 2147483647 w 7"/>
                <a:gd name="T15" fmla="*/ 2147483647 h 11"/>
                <a:gd name="T16" fmla="*/ 2147483647 w 7"/>
                <a:gd name="T17" fmla="*/ 2147483647 h 11"/>
                <a:gd name="T18" fmla="*/ 2147483647 w 7"/>
                <a:gd name="T19" fmla="*/ 2147483647 h 11"/>
                <a:gd name="T20" fmla="*/ 2147483647 w 7"/>
                <a:gd name="T21" fmla="*/ 2147483647 h 11"/>
                <a:gd name="T22" fmla="*/ 2147483647 w 7"/>
                <a:gd name="T23" fmla="*/ 2147483647 h 11"/>
                <a:gd name="T24" fmla="*/ 2147483647 w 7"/>
                <a:gd name="T25" fmla="*/ 2147483647 h 11"/>
                <a:gd name="T26" fmla="*/ 2147483647 w 7"/>
                <a:gd name="T27" fmla="*/ 0 h 11"/>
                <a:gd name="T28" fmla="*/ 0 w 7"/>
                <a:gd name="T29" fmla="*/ 0 h 11"/>
                <a:gd name="T30" fmla="*/ 0 w 7"/>
                <a:gd name="T31" fmla="*/ 2147483647 h 11"/>
                <a:gd name="T32" fmla="*/ 0 w 7"/>
                <a:gd name="T33" fmla="*/ 2147483647 h 11"/>
                <a:gd name="T34" fmla="*/ 0 w 7"/>
                <a:gd name="T35" fmla="*/ 2147483647 h 1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
                <a:gd name="T55" fmla="*/ 0 h 11"/>
                <a:gd name="T56" fmla="*/ 7 w 7"/>
                <a:gd name="T57" fmla="*/ 11 h 1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 h="11">
                  <a:moveTo>
                    <a:pt x="0" y="6"/>
                  </a:moveTo>
                  <a:cubicBezTo>
                    <a:pt x="2" y="7"/>
                    <a:pt x="2" y="7"/>
                    <a:pt x="2" y="7"/>
                  </a:cubicBezTo>
                  <a:cubicBezTo>
                    <a:pt x="0" y="8"/>
                    <a:pt x="0" y="8"/>
                    <a:pt x="0" y="8"/>
                  </a:cubicBezTo>
                  <a:cubicBezTo>
                    <a:pt x="2" y="10"/>
                    <a:pt x="2" y="10"/>
                    <a:pt x="2" y="10"/>
                  </a:cubicBezTo>
                  <a:cubicBezTo>
                    <a:pt x="1" y="11"/>
                    <a:pt x="1" y="11"/>
                    <a:pt x="1" y="11"/>
                  </a:cubicBezTo>
                  <a:cubicBezTo>
                    <a:pt x="6" y="9"/>
                    <a:pt x="6" y="9"/>
                    <a:pt x="6" y="9"/>
                  </a:cubicBezTo>
                  <a:cubicBezTo>
                    <a:pt x="7" y="9"/>
                    <a:pt x="7" y="9"/>
                    <a:pt x="7" y="9"/>
                  </a:cubicBezTo>
                  <a:cubicBezTo>
                    <a:pt x="6" y="7"/>
                    <a:pt x="6" y="7"/>
                    <a:pt x="6" y="7"/>
                  </a:cubicBezTo>
                  <a:cubicBezTo>
                    <a:pt x="7" y="6"/>
                    <a:pt x="7" y="6"/>
                    <a:pt x="7" y="6"/>
                  </a:cubicBezTo>
                  <a:cubicBezTo>
                    <a:pt x="7" y="5"/>
                    <a:pt x="7" y="5"/>
                    <a:pt x="7" y="5"/>
                  </a:cubicBezTo>
                  <a:cubicBezTo>
                    <a:pt x="7" y="5"/>
                    <a:pt x="6" y="4"/>
                    <a:pt x="6" y="4"/>
                  </a:cubicBezTo>
                  <a:cubicBezTo>
                    <a:pt x="6" y="4"/>
                    <a:pt x="4" y="3"/>
                    <a:pt x="4" y="3"/>
                  </a:cubicBezTo>
                  <a:cubicBezTo>
                    <a:pt x="3" y="2"/>
                    <a:pt x="3" y="2"/>
                    <a:pt x="3" y="2"/>
                  </a:cubicBezTo>
                  <a:cubicBezTo>
                    <a:pt x="1" y="0"/>
                    <a:pt x="1" y="0"/>
                    <a:pt x="1" y="0"/>
                  </a:cubicBezTo>
                  <a:cubicBezTo>
                    <a:pt x="1" y="0"/>
                    <a:pt x="0" y="0"/>
                    <a:pt x="0" y="0"/>
                  </a:cubicBezTo>
                  <a:cubicBezTo>
                    <a:pt x="0" y="0"/>
                    <a:pt x="0" y="4"/>
                    <a:pt x="0" y="4"/>
                  </a:cubicBezTo>
                  <a:cubicBezTo>
                    <a:pt x="0" y="4"/>
                    <a:pt x="0" y="4"/>
                    <a:pt x="0" y="4"/>
                  </a:cubicBezTo>
                  <a:lnTo>
                    <a:pt x="0" y="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5" name="Freeform 967"/>
            <p:cNvSpPr>
              <a:spLocks/>
            </p:cNvSpPr>
            <p:nvPr/>
          </p:nvSpPr>
          <p:spPr bwMode="auto">
            <a:xfrm>
              <a:off x="1822" y="961"/>
              <a:ext cx="707" cy="1031"/>
            </a:xfrm>
            <a:custGeom>
              <a:avLst/>
              <a:gdLst>
                <a:gd name="T0" fmla="*/ 33 w 707"/>
                <a:gd name="T1" fmla="*/ 398 h 1031"/>
                <a:gd name="T2" fmla="*/ 38 w 707"/>
                <a:gd name="T3" fmla="*/ 426 h 1031"/>
                <a:gd name="T4" fmla="*/ 71 w 707"/>
                <a:gd name="T5" fmla="*/ 469 h 1031"/>
                <a:gd name="T6" fmla="*/ 179 w 707"/>
                <a:gd name="T7" fmla="*/ 502 h 1031"/>
                <a:gd name="T8" fmla="*/ 201 w 707"/>
                <a:gd name="T9" fmla="*/ 557 h 1031"/>
                <a:gd name="T10" fmla="*/ 218 w 707"/>
                <a:gd name="T11" fmla="*/ 606 h 1031"/>
                <a:gd name="T12" fmla="*/ 212 w 707"/>
                <a:gd name="T13" fmla="*/ 671 h 1031"/>
                <a:gd name="T14" fmla="*/ 239 w 707"/>
                <a:gd name="T15" fmla="*/ 671 h 1031"/>
                <a:gd name="T16" fmla="*/ 256 w 707"/>
                <a:gd name="T17" fmla="*/ 699 h 1031"/>
                <a:gd name="T18" fmla="*/ 267 w 707"/>
                <a:gd name="T19" fmla="*/ 715 h 1031"/>
                <a:gd name="T20" fmla="*/ 277 w 707"/>
                <a:gd name="T21" fmla="*/ 737 h 1031"/>
                <a:gd name="T22" fmla="*/ 277 w 707"/>
                <a:gd name="T23" fmla="*/ 764 h 1031"/>
                <a:gd name="T24" fmla="*/ 267 w 707"/>
                <a:gd name="T25" fmla="*/ 786 h 1031"/>
                <a:gd name="T26" fmla="*/ 239 w 707"/>
                <a:gd name="T27" fmla="*/ 802 h 1031"/>
                <a:gd name="T28" fmla="*/ 239 w 707"/>
                <a:gd name="T29" fmla="*/ 840 h 1031"/>
                <a:gd name="T30" fmla="*/ 245 w 707"/>
                <a:gd name="T31" fmla="*/ 862 h 1031"/>
                <a:gd name="T32" fmla="*/ 250 w 707"/>
                <a:gd name="T33" fmla="*/ 890 h 1031"/>
                <a:gd name="T34" fmla="*/ 272 w 707"/>
                <a:gd name="T35" fmla="*/ 906 h 1031"/>
                <a:gd name="T36" fmla="*/ 261 w 707"/>
                <a:gd name="T37" fmla="*/ 939 h 1031"/>
                <a:gd name="T38" fmla="*/ 288 w 707"/>
                <a:gd name="T39" fmla="*/ 982 h 1031"/>
                <a:gd name="T40" fmla="*/ 305 w 707"/>
                <a:gd name="T41" fmla="*/ 1010 h 1031"/>
                <a:gd name="T42" fmla="*/ 337 w 707"/>
                <a:gd name="T43" fmla="*/ 1015 h 1031"/>
                <a:gd name="T44" fmla="*/ 365 w 707"/>
                <a:gd name="T45" fmla="*/ 1020 h 1031"/>
                <a:gd name="T46" fmla="*/ 386 w 707"/>
                <a:gd name="T47" fmla="*/ 955 h 1031"/>
                <a:gd name="T48" fmla="*/ 392 w 707"/>
                <a:gd name="T49" fmla="*/ 939 h 1031"/>
                <a:gd name="T50" fmla="*/ 392 w 707"/>
                <a:gd name="T51" fmla="*/ 895 h 1031"/>
                <a:gd name="T52" fmla="*/ 424 w 707"/>
                <a:gd name="T53" fmla="*/ 868 h 1031"/>
                <a:gd name="T54" fmla="*/ 435 w 707"/>
                <a:gd name="T55" fmla="*/ 873 h 1031"/>
                <a:gd name="T56" fmla="*/ 452 w 707"/>
                <a:gd name="T57" fmla="*/ 857 h 1031"/>
                <a:gd name="T58" fmla="*/ 484 w 707"/>
                <a:gd name="T59" fmla="*/ 835 h 1031"/>
                <a:gd name="T60" fmla="*/ 495 w 707"/>
                <a:gd name="T61" fmla="*/ 786 h 1031"/>
                <a:gd name="T62" fmla="*/ 517 w 707"/>
                <a:gd name="T63" fmla="*/ 802 h 1031"/>
                <a:gd name="T64" fmla="*/ 588 w 707"/>
                <a:gd name="T65" fmla="*/ 769 h 1031"/>
                <a:gd name="T66" fmla="*/ 609 w 707"/>
                <a:gd name="T67" fmla="*/ 742 h 1031"/>
                <a:gd name="T68" fmla="*/ 566 w 707"/>
                <a:gd name="T69" fmla="*/ 720 h 1031"/>
                <a:gd name="T70" fmla="*/ 577 w 707"/>
                <a:gd name="T71" fmla="*/ 693 h 1031"/>
                <a:gd name="T72" fmla="*/ 599 w 707"/>
                <a:gd name="T73" fmla="*/ 709 h 1031"/>
                <a:gd name="T74" fmla="*/ 620 w 707"/>
                <a:gd name="T75" fmla="*/ 699 h 1031"/>
                <a:gd name="T76" fmla="*/ 593 w 707"/>
                <a:gd name="T77" fmla="*/ 644 h 1031"/>
                <a:gd name="T78" fmla="*/ 566 w 707"/>
                <a:gd name="T79" fmla="*/ 633 h 1031"/>
                <a:gd name="T80" fmla="*/ 593 w 707"/>
                <a:gd name="T81" fmla="*/ 595 h 1031"/>
                <a:gd name="T82" fmla="*/ 626 w 707"/>
                <a:gd name="T83" fmla="*/ 562 h 1031"/>
                <a:gd name="T84" fmla="*/ 626 w 707"/>
                <a:gd name="T85" fmla="*/ 529 h 1031"/>
                <a:gd name="T86" fmla="*/ 637 w 707"/>
                <a:gd name="T87" fmla="*/ 486 h 1031"/>
                <a:gd name="T88" fmla="*/ 626 w 707"/>
                <a:gd name="T89" fmla="*/ 437 h 1031"/>
                <a:gd name="T90" fmla="*/ 648 w 707"/>
                <a:gd name="T91" fmla="*/ 398 h 1031"/>
                <a:gd name="T92" fmla="*/ 626 w 707"/>
                <a:gd name="T93" fmla="*/ 387 h 1031"/>
                <a:gd name="T94" fmla="*/ 648 w 707"/>
                <a:gd name="T95" fmla="*/ 300 h 1031"/>
                <a:gd name="T96" fmla="*/ 658 w 707"/>
                <a:gd name="T97" fmla="*/ 246 h 1031"/>
                <a:gd name="T98" fmla="*/ 648 w 707"/>
                <a:gd name="T99" fmla="*/ 180 h 1031"/>
                <a:gd name="T100" fmla="*/ 555 w 707"/>
                <a:gd name="T101" fmla="*/ 186 h 1031"/>
                <a:gd name="T102" fmla="*/ 511 w 707"/>
                <a:gd name="T103" fmla="*/ 136 h 1031"/>
                <a:gd name="T104" fmla="*/ 473 w 707"/>
                <a:gd name="T105" fmla="*/ 71 h 1031"/>
                <a:gd name="T106" fmla="*/ 490 w 707"/>
                <a:gd name="T107" fmla="*/ 0 h 1031"/>
                <a:gd name="T108" fmla="*/ 414 w 707"/>
                <a:gd name="T109" fmla="*/ 76 h 1031"/>
                <a:gd name="T110" fmla="*/ 365 w 707"/>
                <a:gd name="T111" fmla="*/ 49 h 1031"/>
                <a:gd name="T112" fmla="*/ 375 w 707"/>
                <a:gd name="T113" fmla="*/ 93 h 1031"/>
                <a:gd name="T114" fmla="*/ 326 w 707"/>
                <a:gd name="T115" fmla="*/ 131 h 1031"/>
                <a:gd name="T116" fmla="*/ 299 w 707"/>
                <a:gd name="T117" fmla="*/ 175 h 1031"/>
                <a:gd name="T118" fmla="*/ 190 w 707"/>
                <a:gd name="T119" fmla="*/ 142 h 1031"/>
                <a:gd name="T120" fmla="*/ 141 w 707"/>
                <a:gd name="T121" fmla="*/ 240 h 1031"/>
                <a:gd name="T122" fmla="*/ 141 w 707"/>
                <a:gd name="T123" fmla="*/ 289 h 1031"/>
                <a:gd name="T124" fmla="*/ 76 w 707"/>
                <a:gd name="T125" fmla="*/ 349 h 103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07"/>
                <a:gd name="T190" fmla="*/ 0 h 1031"/>
                <a:gd name="T191" fmla="*/ 707 w 707"/>
                <a:gd name="T192" fmla="*/ 1031 h 103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07" h="1031">
                  <a:moveTo>
                    <a:pt x="5" y="355"/>
                  </a:moveTo>
                  <a:lnTo>
                    <a:pt x="0" y="360"/>
                  </a:lnTo>
                  <a:lnTo>
                    <a:pt x="11" y="377"/>
                  </a:lnTo>
                  <a:lnTo>
                    <a:pt x="22" y="382"/>
                  </a:lnTo>
                  <a:lnTo>
                    <a:pt x="33" y="382"/>
                  </a:lnTo>
                  <a:lnTo>
                    <a:pt x="27" y="387"/>
                  </a:lnTo>
                  <a:lnTo>
                    <a:pt x="38" y="387"/>
                  </a:lnTo>
                  <a:lnTo>
                    <a:pt x="33" y="398"/>
                  </a:lnTo>
                  <a:lnTo>
                    <a:pt x="81" y="387"/>
                  </a:lnTo>
                  <a:lnTo>
                    <a:pt x="87" y="398"/>
                  </a:lnTo>
                  <a:lnTo>
                    <a:pt x="81" y="404"/>
                  </a:lnTo>
                  <a:lnTo>
                    <a:pt x="87" y="415"/>
                  </a:lnTo>
                  <a:lnTo>
                    <a:pt x="33" y="415"/>
                  </a:lnTo>
                  <a:lnTo>
                    <a:pt x="22" y="426"/>
                  </a:lnTo>
                  <a:lnTo>
                    <a:pt x="27" y="442"/>
                  </a:lnTo>
                  <a:lnTo>
                    <a:pt x="38" y="426"/>
                  </a:lnTo>
                  <a:lnTo>
                    <a:pt x="38" y="437"/>
                  </a:lnTo>
                  <a:lnTo>
                    <a:pt x="38" y="442"/>
                  </a:lnTo>
                  <a:lnTo>
                    <a:pt x="60" y="448"/>
                  </a:lnTo>
                  <a:lnTo>
                    <a:pt x="43" y="458"/>
                  </a:lnTo>
                  <a:lnTo>
                    <a:pt x="60" y="480"/>
                  </a:lnTo>
                  <a:lnTo>
                    <a:pt x="81" y="491"/>
                  </a:lnTo>
                  <a:lnTo>
                    <a:pt x="71" y="475"/>
                  </a:lnTo>
                  <a:lnTo>
                    <a:pt x="71" y="469"/>
                  </a:lnTo>
                  <a:lnTo>
                    <a:pt x="81" y="475"/>
                  </a:lnTo>
                  <a:lnTo>
                    <a:pt x="87" y="469"/>
                  </a:lnTo>
                  <a:lnTo>
                    <a:pt x="92" y="469"/>
                  </a:lnTo>
                  <a:lnTo>
                    <a:pt x="87" y="480"/>
                  </a:lnTo>
                  <a:lnTo>
                    <a:pt x="92" y="480"/>
                  </a:lnTo>
                  <a:lnTo>
                    <a:pt x="120" y="464"/>
                  </a:lnTo>
                  <a:lnTo>
                    <a:pt x="174" y="497"/>
                  </a:lnTo>
                  <a:lnTo>
                    <a:pt x="179" y="502"/>
                  </a:lnTo>
                  <a:lnTo>
                    <a:pt x="174" y="513"/>
                  </a:lnTo>
                  <a:lnTo>
                    <a:pt x="179" y="513"/>
                  </a:lnTo>
                  <a:lnTo>
                    <a:pt x="179" y="524"/>
                  </a:lnTo>
                  <a:lnTo>
                    <a:pt x="196" y="535"/>
                  </a:lnTo>
                  <a:lnTo>
                    <a:pt x="196" y="546"/>
                  </a:lnTo>
                  <a:lnTo>
                    <a:pt x="207" y="557"/>
                  </a:lnTo>
                  <a:lnTo>
                    <a:pt x="196" y="557"/>
                  </a:lnTo>
                  <a:lnTo>
                    <a:pt x="201" y="557"/>
                  </a:lnTo>
                  <a:lnTo>
                    <a:pt x="201" y="562"/>
                  </a:lnTo>
                  <a:lnTo>
                    <a:pt x="207" y="568"/>
                  </a:lnTo>
                  <a:lnTo>
                    <a:pt x="201" y="573"/>
                  </a:lnTo>
                  <a:lnTo>
                    <a:pt x="207" y="584"/>
                  </a:lnTo>
                  <a:lnTo>
                    <a:pt x="207" y="595"/>
                  </a:lnTo>
                  <a:lnTo>
                    <a:pt x="212" y="600"/>
                  </a:lnTo>
                  <a:lnTo>
                    <a:pt x="212" y="606"/>
                  </a:lnTo>
                  <a:lnTo>
                    <a:pt x="218" y="606"/>
                  </a:lnTo>
                  <a:lnTo>
                    <a:pt x="212" y="611"/>
                  </a:lnTo>
                  <a:lnTo>
                    <a:pt x="218" y="611"/>
                  </a:lnTo>
                  <a:lnTo>
                    <a:pt x="212" y="617"/>
                  </a:lnTo>
                  <a:lnTo>
                    <a:pt x="223" y="628"/>
                  </a:lnTo>
                  <a:lnTo>
                    <a:pt x="223" y="644"/>
                  </a:lnTo>
                  <a:lnTo>
                    <a:pt x="212" y="660"/>
                  </a:lnTo>
                  <a:lnTo>
                    <a:pt x="223" y="660"/>
                  </a:lnTo>
                  <a:lnTo>
                    <a:pt x="212" y="671"/>
                  </a:lnTo>
                  <a:lnTo>
                    <a:pt x="212" y="677"/>
                  </a:lnTo>
                  <a:lnTo>
                    <a:pt x="218" y="682"/>
                  </a:lnTo>
                  <a:lnTo>
                    <a:pt x="228" y="682"/>
                  </a:lnTo>
                  <a:lnTo>
                    <a:pt x="228" y="677"/>
                  </a:lnTo>
                  <a:lnTo>
                    <a:pt x="239" y="666"/>
                  </a:lnTo>
                  <a:lnTo>
                    <a:pt x="239" y="660"/>
                  </a:lnTo>
                  <a:lnTo>
                    <a:pt x="239" y="671"/>
                  </a:lnTo>
                  <a:lnTo>
                    <a:pt x="245" y="666"/>
                  </a:lnTo>
                  <a:lnTo>
                    <a:pt x="245" y="671"/>
                  </a:lnTo>
                  <a:lnTo>
                    <a:pt x="256" y="677"/>
                  </a:lnTo>
                  <a:lnTo>
                    <a:pt x="245" y="682"/>
                  </a:lnTo>
                  <a:lnTo>
                    <a:pt x="256" y="682"/>
                  </a:lnTo>
                  <a:lnTo>
                    <a:pt x="250" y="693"/>
                  </a:lnTo>
                  <a:lnTo>
                    <a:pt x="261" y="688"/>
                  </a:lnTo>
                  <a:lnTo>
                    <a:pt x="256" y="699"/>
                  </a:lnTo>
                  <a:lnTo>
                    <a:pt x="261" y="693"/>
                  </a:lnTo>
                  <a:lnTo>
                    <a:pt x="261" y="704"/>
                  </a:lnTo>
                  <a:lnTo>
                    <a:pt x="256" y="699"/>
                  </a:lnTo>
                  <a:lnTo>
                    <a:pt x="272" y="709"/>
                  </a:lnTo>
                  <a:lnTo>
                    <a:pt x="267" y="709"/>
                  </a:lnTo>
                  <a:lnTo>
                    <a:pt x="272" y="709"/>
                  </a:lnTo>
                  <a:lnTo>
                    <a:pt x="267" y="715"/>
                  </a:lnTo>
                  <a:lnTo>
                    <a:pt x="267" y="720"/>
                  </a:lnTo>
                  <a:lnTo>
                    <a:pt x="272" y="720"/>
                  </a:lnTo>
                  <a:lnTo>
                    <a:pt x="272" y="726"/>
                  </a:lnTo>
                  <a:lnTo>
                    <a:pt x="245" y="709"/>
                  </a:lnTo>
                  <a:lnTo>
                    <a:pt x="228" y="709"/>
                  </a:lnTo>
                  <a:lnTo>
                    <a:pt x="234" y="726"/>
                  </a:lnTo>
                  <a:lnTo>
                    <a:pt x="250" y="737"/>
                  </a:lnTo>
                  <a:lnTo>
                    <a:pt x="277" y="737"/>
                  </a:lnTo>
                  <a:lnTo>
                    <a:pt x="277" y="742"/>
                  </a:lnTo>
                  <a:lnTo>
                    <a:pt x="272" y="748"/>
                  </a:lnTo>
                  <a:lnTo>
                    <a:pt x="272" y="753"/>
                  </a:lnTo>
                  <a:lnTo>
                    <a:pt x="267" y="759"/>
                  </a:lnTo>
                  <a:lnTo>
                    <a:pt x="267" y="764"/>
                  </a:lnTo>
                  <a:lnTo>
                    <a:pt x="277" y="764"/>
                  </a:lnTo>
                  <a:lnTo>
                    <a:pt x="272" y="769"/>
                  </a:lnTo>
                  <a:lnTo>
                    <a:pt x="277" y="769"/>
                  </a:lnTo>
                  <a:lnTo>
                    <a:pt x="267" y="769"/>
                  </a:lnTo>
                  <a:lnTo>
                    <a:pt x="267" y="775"/>
                  </a:lnTo>
                  <a:lnTo>
                    <a:pt x="267" y="780"/>
                  </a:lnTo>
                  <a:lnTo>
                    <a:pt x="267" y="786"/>
                  </a:lnTo>
                  <a:lnTo>
                    <a:pt x="250" y="786"/>
                  </a:lnTo>
                  <a:lnTo>
                    <a:pt x="245" y="791"/>
                  </a:lnTo>
                  <a:lnTo>
                    <a:pt x="245" y="797"/>
                  </a:lnTo>
                  <a:lnTo>
                    <a:pt x="250" y="797"/>
                  </a:lnTo>
                  <a:lnTo>
                    <a:pt x="267" y="791"/>
                  </a:lnTo>
                  <a:lnTo>
                    <a:pt x="261" y="797"/>
                  </a:lnTo>
                  <a:lnTo>
                    <a:pt x="272" y="802"/>
                  </a:lnTo>
                  <a:lnTo>
                    <a:pt x="239" y="802"/>
                  </a:lnTo>
                  <a:lnTo>
                    <a:pt x="245" y="808"/>
                  </a:lnTo>
                  <a:lnTo>
                    <a:pt x="239" y="808"/>
                  </a:lnTo>
                  <a:lnTo>
                    <a:pt x="239" y="819"/>
                  </a:lnTo>
                  <a:lnTo>
                    <a:pt x="234" y="819"/>
                  </a:lnTo>
                  <a:lnTo>
                    <a:pt x="239" y="819"/>
                  </a:lnTo>
                  <a:lnTo>
                    <a:pt x="234" y="824"/>
                  </a:lnTo>
                  <a:lnTo>
                    <a:pt x="234" y="835"/>
                  </a:lnTo>
                  <a:lnTo>
                    <a:pt x="239" y="840"/>
                  </a:lnTo>
                  <a:lnTo>
                    <a:pt x="245" y="840"/>
                  </a:lnTo>
                  <a:lnTo>
                    <a:pt x="239" y="851"/>
                  </a:lnTo>
                  <a:lnTo>
                    <a:pt x="245" y="851"/>
                  </a:lnTo>
                  <a:lnTo>
                    <a:pt x="239" y="851"/>
                  </a:lnTo>
                  <a:lnTo>
                    <a:pt x="239" y="857"/>
                  </a:lnTo>
                  <a:lnTo>
                    <a:pt x="239" y="862"/>
                  </a:lnTo>
                  <a:lnTo>
                    <a:pt x="245" y="862"/>
                  </a:lnTo>
                  <a:lnTo>
                    <a:pt x="239" y="868"/>
                  </a:lnTo>
                  <a:lnTo>
                    <a:pt x="245" y="873"/>
                  </a:lnTo>
                  <a:lnTo>
                    <a:pt x="245" y="879"/>
                  </a:lnTo>
                  <a:lnTo>
                    <a:pt x="250" y="879"/>
                  </a:lnTo>
                  <a:lnTo>
                    <a:pt x="250" y="884"/>
                  </a:lnTo>
                  <a:lnTo>
                    <a:pt x="256" y="884"/>
                  </a:lnTo>
                  <a:lnTo>
                    <a:pt x="250" y="890"/>
                  </a:lnTo>
                  <a:lnTo>
                    <a:pt x="250" y="895"/>
                  </a:lnTo>
                  <a:lnTo>
                    <a:pt x="261" y="906"/>
                  </a:lnTo>
                  <a:lnTo>
                    <a:pt x="256" y="911"/>
                  </a:lnTo>
                  <a:lnTo>
                    <a:pt x="256" y="922"/>
                  </a:lnTo>
                  <a:lnTo>
                    <a:pt x="261" y="922"/>
                  </a:lnTo>
                  <a:lnTo>
                    <a:pt x="267" y="906"/>
                  </a:lnTo>
                  <a:lnTo>
                    <a:pt x="272" y="906"/>
                  </a:lnTo>
                  <a:lnTo>
                    <a:pt x="283" y="911"/>
                  </a:lnTo>
                  <a:lnTo>
                    <a:pt x="272" y="906"/>
                  </a:lnTo>
                  <a:lnTo>
                    <a:pt x="272" y="911"/>
                  </a:lnTo>
                  <a:lnTo>
                    <a:pt x="277" y="917"/>
                  </a:lnTo>
                  <a:lnTo>
                    <a:pt x="261" y="928"/>
                  </a:lnTo>
                  <a:lnTo>
                    <a:pt x="261" y="933"/>
                  </a:lnTo>
                  <a:lnTo>
                    <a:pt x="267" y="933"/>
                  </a:lnTo>
                  <a:lnTo>
                    <a:pt x="261" y="939"/>
                  </a:lnTo>
                  <a:lnTo>
                    <a:pt x="272" y="955"/>
                  </a:lnTo>
                  <a:lnTo>
                    <a:pt x="277" y="955"/>
                  </a:lnTo>
                  <a:lnTo>
                    <a:pt x="277" y="960"/>
                  </a:lnTo>
                  <a:lnTo>
                    <a:pt x="283" y="960"/>
                  </a:lnTo>
                  <a:lnTo>
                    <a:pt x="277" y="966"/>
                  </a:lnTo>
                  <a:lnTo>
                    <a:pt x="288" y="977"/>
                  </a:lnTo>
                  <a:lnTo>
                    <a:pt x="283" y="977"/>
                  </a:lnTo>
                  <a:lnTo>
                    <a:pt x="288" y="982"/>
                  </a:lnTo>
                  <a:lnTo>
                    <a:pt x="294" y="977"/>
                  </a:lnTo>
                  <a:lnTo>
                    <a:pt x="288" y="982"/>
                  </a:lnTo>
                  <a:lnTo>
                    <a:pt x="294" y="988"/>
                  </a:lnTo>
                  <a:lnTo>
                    <a:pt x="288" y="993"/>
                  </a:lnTo>
                  <a:lnTo>
                    <a:pt x="305" y="993"/>
                  </a:lnTo>
                  <a:lnTo>
                    <a:pt x="294" y="999"/>
                  </a:lnTo>
                  <a:lnTo>
                    <a:pt x="310" y="1004"/>
                  </a:lnTo>
                  <a:lnTo>
                    <a:pt x="305" y="1010"/>
                  </a:lnTo>
                  <a:lnTo>
                    <a:pt x="332" y="1004"/>
                  </a:lnTo>
                  <a:lnTo>
                    <a:pt x="332" y="1010"/>
                  </a:lnTo>
                  <a:lnTo>
                    <a:pt x="337" y="1010"/>
                  </a:lnTo>
                  <a:lnTo>
                    <a:pt x="332" y="1010"/>
                  </a:lnTo>
                  <a:lnTo>
                    <a:pt x="337" y="1010"/>
                  </a:lnTo>
                  <a:lnTo>
                    <a:pt x="332" y="1015"/>
                  </a:lnTo>
                  <a:lnTo>
                    <a:pt x="337" y="1020"/>
                  </a:lnTo>
                  <a:lnTo>
                    <a:pt x="337" y="1015"/>
                  </a:lnTo>
                  <a:lnTo>
                    <a:pt x="337" y="1020"/>
                  </a:lnTo>
                  <a:lnTo>
                    <a:pt x="343" y="1020"/>
                  </a:lnTo>
                  <a:lnTo>
                    <a:pt x="337" y="1026"/>
                  </a:lnTo>
                  <a:lnTo>
                    <a:pt x="348" y="1031"/>
                  </a:lnTo>
                  <a:lnTo>
                    <a:pt x="354" y="1026"/>
                  </a:lnTo>
                  <a:lnTo>
                    <a:pt x="365" y="1031"/>
                  </a:lnTo>
                  <a:lnTo>
                    <a:pt x="365" y="1020"/>
                  </a:lnTo>
                  <a:lnTo>
                    <a:pt x="359" y="1020"/>
                  </a:lnTo>
                  <a:lnTo>
                    <a:pt x="370" y="1020"/>
                  </a:lnTo>
                  <a:lnTo>
                    <a:pt x="370" y="999"/>
                  </a:lnTo>
                  <a:lnTo>
                    <a:pt x="375" y="988"/>
                  </a:lnTo>
                  <a:lnTo>
                    <a:pt x="375" y="971"/>
                  </a:lnTo>
                  <a:lnTo>
                    <a:pt x="370" y="966"/>
                  </a:lnTo>
                  <a:lnTo>
                    <a:pt x="381" y="960"/>
                  </a:lnTo>
                  <a:lnTo>
                    <a:pt x="386" y="955"/>
                  </a:lnTo>
                  <a:lnTo>
                    <a:pt x="381" y="955"/>
                  </a:lnTo>
                  <a:lnTo>
                    <a:pt x="375" y="950"/>
                  </a:lnTo>
                  <a:lnTo>
                    <a:pt x="386" y="955"/>
                  </a:lnTo>
                  <a:lnTo>
                    <a:pt x="381" y="950"/>
                  </a:lnTo>
                  <a:lnTo>
                    <a:pt x="381" y="944"/>
                  </a:lnTo>
                  <a:lnTo>
                    <a:pt x="386" y="950"/>
                  </a:lnTo>
                  <a:lnTo>
                    <a:pt x="392" y="944"/>
                  </a:lnTo>
                  <a:lnTo>
                    <a:pt x="392" y="939"/>
                  </a:lnTo>
                  <a:lnTo>
                    <a:pt x="386" y="933"/>
                  </a:lnTo>
                  <a:lnTo>
                    <a:pt x="397" y="933"/>
                  </a:lnTo>
                  <a:lnTo>
                    <a:pt x="397" y="922"/>
                  </a:lnTo>
                  <a:lnTo>
                    <a:pt x="386" y="917"/>
                  </a:lnTo>
                  <a:lnTo>
                    <a:pt x="397" y="917"/>
                  </a:lnTo>
                  <a:lnTo>
                    <a:pt x="392" y="900"/>
                  </a:lnTo>
                  <a:lnTo>
                    <a:pt x="386" y="900"/>
                  </a:lnTo>
                  <a:lnTo>
                    <a:pt x="392" y="895"/>
                  </a:lnTo>
                  <a:lnTo>
                    <a:pt x="403" y="895"/>
                  </a:lnTo>
                  <a:lnTo>
                    <a:pt x="403" y="890"/>
                  </a:lnTo>
                  <a:lnTo>
                    <a:pt x="403" y="884"/>
                  </a:lnTo>
                  <a:lnTo>
                    <a:pt x="408" y="879"/>
                  </a:lnTo>
                  <a:lnTo>
                    <a:pt x="424" y="879"/>
                  </a:lnTo>
                  <a:lnTo>
                    <a:pt x="424" y="873"/>
                  </a:lnTo>
                  <a:lnTo>
                    <a:pt x="424" y="868"/>
                  </a:lnTo>
                  <a:lnTo>
                    <a:pt x="424" y="873"/>
                  </a:lnTo>
                  <a:lnTo>
                    <a:pt x="424" y="868"/>
                  </a:lnTo>
                  <a:lnTo>
                    <a:pt x="430" y="862"/>
                  </a:lnTo>
                  <a:lnTo>
                    <a:pt x="424" y="857"/>
                  </a:lnTo>
                  <a:lnTo>
                    <a:pt x="430" y="857"/>
                  </a:lnTo>
                  <a:lnTo>
                    <a:pt x="441" y="857"/>
                  </a:lnTo>
                  <a:lnTo>
                    <a:pt x="430" y="868"/>
                  </a:lnTo>
                  <a:lnTo>
                    <a:pt x="435" y="873"/>
                  </a:lnTo>
                  <a:lnTo>
                    <a:pt x="435" y="868"/>
                  </a:lnTo>
                  <a:lnTo>
                    <a:pt x="446" y="873"/>
                  </a:lnTo>
                  <a:lnTo>
                    <a:pt x="446" y="868"/>
                  </a:lnTo>
                  <a:lnTo>
                    <a:pt x="452" y="873"/>
                  </a:lnTo>
                  <a:lnTo>
                    <a:pt x="457" y="862"/>
                  </a:lnTo>
                  <a:lnTo>
                    <a:pt x="452" y="857"/>
                  </a:lnTo>
                  <a:lnTo>
                    <a:pt x="463" y="862"/>
                  </a:lnTo>
                  <a:lnTo>
                    <a:pt x="463" y="857"/>
                  </a:lnTo>
                  <a:lnTo>
                    <a:pt x="468" y="857"/>
                  </a:lnTo>
                  <a:lnTo>
                    <a:pt x="473" y="846"/>
                  </a:lnTo>
                  <a:lnTo>
                    <a:pt x="473" y="851"/>
                  </a:lnTo>
                  <a:lnTo>
                    <a:pt x="479" y="846"/>
                  </a:lnTo>
                  <a:lnTo>
                    <a:pt x="479" y="840"/>
                  </a:lnTo>
                  <a:lnTo>
                    <a:pt x="484" y="835"/>
                  </a:lnTo>
                  <a:lnTo>
                    <a:pt x="484" y="824"/>
                  </a:lnTo>
                  <a:lnTo>
                    <a:pt x="484" y="819"/>
                  </a:lnTo>
                  <a:lnTo>
                    <a:pt x="484" y="813"/>
                  </a:lnTo>
                  <a:lnTo>
                    <a:pt x="495" y="808"/>
                  </a:lnTo>
                  <a:lnTo>
                    <a:pt x="501" y="802"/>
                  </a:lnTo>
                  <a:lnTo>
                    <a:pt x="495" y="797"/>
                  </a:lnTo>
                  <a:lnTo>
                    <a:pt x="490" y="786"/>
                  </a:lnTo>
                  <a:lnTo>
                    <a:pt x="495" y="786"/>
                  </a:lnTo>
                  <a:lnTo>
                    <a:pt x="495" y="791"/>
                  </a:lnTo>
                  <a:lnTo>
                    <a:pt x="506" y="797"/>
                  </a:lnTo>
                  <a:lnTo>
                    <a:pt x="501" y="797"/>
                  </a:lnTo>
                  <a:lnTo>
                    <a:pt x="506" y="802"/>
                  </a:lnTo>
                  <a:lnTo>
                    <a:pt x="511" y="802"/>
                  </a:lnTo>
                  <a:lnTo>
                    <a:pt x="517" y="802"/>
                  </a:lnTo>
                  <a:lnTo>
                    <a:pt x="517" y="797"/>
                  </a:lnTo>
                  <a:lnTo>
                    <a:pt x="522" y="802"/>
                  </a:lnTo>
                  <a:lnTo>
                    <a:pt x="528" y="791"/>
                  </a:lnTo>
                  <a:lnTo>
                    <a:pt x="533" y="797"/>
                  </a:lnTo>
                  <a:lnTo>
                    <a:pt x="571" y="780"/>
                  </a:lnTo>
                  <a:lnTo>
                    <a:pt x="582" y="775"/>
                  </a:lnTo>
                  <a:lnTo>
                    <a:pt x="577" y="769"/>
                  </a:lnTo>
                  <a:lnTo>
                    <a:pt x="588" y="769"/>
                  </a:lnTo>
                  <a:lnTo>
                    <a:pt x="582" y="764"/>
                  </a:lnTo>
                  <a:lnTo>
                    <a:pt x="599" y="759"/>
                  </a:lnTo>
                  <a:lnTo>
                    <a:pt x="593" y="753"/>
                  </a:lnTo>
                  <a:lnTo>
                    <a:pt x="604" y="753"/>
                  </a:lnTo>
                  <a:lnTo>
                    <a:pt x="604" y="748"/>
                  </a:lnTo>
                  <a:lnTo>
                    <a:pt x="599" y="748"/>
                  </a:lnTo>
                  <a:lnTo>
                    <a:pt x="609" y="748"/>
                  </a:lnTo>
                  <a:lnTo>
                    <a:pt x="609" y="742"/>
                  </a:lnTo>
                  <a:lnTo>
                    <a:pt x="620" y="742"/>
                  </a:lnTo>
                  <a:lnTo>
                    <a:pt x="620" y="731"/>
                  </a:lnTo>
                  <a:lnTo>
                    <a:pt x="604" y="731"/>
                  </a:lnTo>
                  <a:lnTo>
                    <a:pt x="582" y="726"/>
                  </a:lnTo>
                  <a:lnTo>
                    <a:pt x="550" y="737"/>
                  </a:lnTo>
                  <a:lnTo>
                    <a:pt x="544" y="737"/>
                  </a:lnTo>
                  <a:lnTo>
                    <a:pt x="566" y="720"/>
                  </a:lnTo>
                  <a:lnTo>
                    <a:pt x="539" y="720"/>
                  </a:lnTo>
                  <a:lnTo>
                    <a:pt x="550" y="715"/>
                  </a:lnTo>
                  <a:lnTo>
                    <a:pt x="550" y="709"/>
                  </a:lnTo>
                  <a:lnTo>
                    <a:pt x="550" y="704"/>
                  </a:lnTo>
                  <a:lnTo>
                    <a:pt x="566" y="704"/>
                  </a:lnTo>
                  <a:lnTo>
                    <a:pt x="577" y="693"/>
                  </a:lnTo>
                  <a:lnTo>
                    <a:pt x="577" y="688"/>
                  </a:lnTo>
                  <a:lnTo>
                    <a:pt x="577" y="693"/>
                  </a:lnTo>
                  <a:lnTo>
                    <a:pt x="577" y="682"/>
                  </a:lnTo>
                  <a:lnTo>
                    <a:pt x="560" y="682"/>
                  </a:lnTo>
                  <a:lnTo>
                    <a:pt x="550" y="677"/>
                  </a:lnTo>
                  <a:lnTo>
                    <a:pt x="555" y="677"/>
                  </a:lnTo>
                  <a:lnTo>
                    <a:pt x="555" y="666"/>
                  </a:lnTo>
                  <a:lnTo>
                    <a:pt x="588" y="688"/>
                  </a:lnTo>
                  <a:lnTo>
                    <a:pt x="593" y="699"/>
                  </a:lnTo>
                  <a:lnTo>
                    <a:pt x="599" y="709"/>
                  </a:lnTo>
                  <a:lnTo>
                    <a:pt x="604" y="720"/>
                  </a:lnTo>
                  <a:lnTo>
                    <a:pt x="615" y="720"/>
                  </a:lnTo>
                  <a:lnTo>
                    <a:pt x="615" y="709"/>
                  </a:lnTo>
                  <a:lnTo>
                    <a:pt x="620" y="720"/>
                  </a:lnTo>
                  <a:lnTo>
                    <a:pt x="626" y="720"/>
                  </a:lnTo>
                  <a:lnTo>
                    <a:pt x="626" y="709"/>
                  </a:lnTo>
                  <a:lnTo>
                    <a:pt x="626" y="699"/>
                  </a:lnTo>
                  <a:lnTo>
                    <a:pt x="620" y="699"/>
                  </a:lnTo>
                  <a:lnTo>
                    <a:pt x="626" y="699"/>
                  </a:lnTo>
                  <a:lnTo>
                    <a:pt x="626" y="682"/>
                  </a:lnTo>
                  <a:lnTo>
                    <a:pt x="615" y="688"/>
                  </a:lnTo>
                  <a:lnTo>
                    <a:pt x="615" y="682"/>
                  </a:lnTo>
                  <a:lnTo>
                    <a:pt x="620" y="671"/>
                  </a:lnTo>
                  <a:lnTo>
                    <a:pt x="609" y="677"/>
                  </a:lnTo>
                  <a:lnTo>
                    <a:pt x="615" y="666"/>
                  </a:lnTo>
                  <a:lnTo>
                    <a:pt x="593" y="644"/>
                  </a:lnTo>
                  <a:lnTo>
                    <a:pt x="582" y="644"/>
                  </a:lnTo>
                  <a:lnTo>
                    <a:pt x="582" y="655"/>
                  </a:lnTo>
                  <a:lnTo>
                    <a:pt x="582" y="644"/>
                  </a:lnTo>
                  <a:lnTo>
                    <a:pt x="588" y="644"/>
                  </a:lnTo>
                  <a:lnTo>
                    <a:pt x="588" y="633"/>
                  </a:lnTo>
                  <a:lnTo>
                    <a:pt x="582" y="628"/>
                  </a:lnTo>
                  <a:lnTo>
                    <a:pt x="566" y="633"/>
                  </a:lnTo>
                  <a:lnTo>
                    <a:pt x="588" y="622"/>
                  </a:lnTo>
                  <a:lnTo>
                    <a:pt x="566" y="617"/>
                  </a:lnTo>
                  <a:lnTo>
                    <a:pt x="571" y="611"/>
                  </a:lnTo>
                  <a:lnTo>
                    <a:pt x="560" y="606"/>
                  </a:lnTo>
                  <a:lnTo>
                    <a:pt x="577" y="611"/>
                  </a:lnTo>
                  <a:lnTo>
                    <a:pt x="588" y="600"/>
                  </a:lnTo>
                  <a:lnTo>
                    <a:pt x="588" y="595"/>
                  </a:lnTo>
                  <a:lnTo>
                    <a:pt x="593" y="595"/>
                  </a:lnTo>
                  <a:lnTo>
                    <a:pt x="599" y="589"/>
                  </a:lnTo>
                  <a:lnTo>
                    <a:pt x="620" y="611"/>
                  </a:lnTo>
                  <a:lnTo>
                    <a:pt x="642" y="600"/>
                  </a:lnTo>
                  <a:lnTo>
                    <a:pt x="642" y="584"/>
                  </a:lnTo>
                  <a:lnTo>
                    <a:pt x="620" y="573"/>
                  </a:lnTo>
                  <a:lnTo>
                    <a:pt x="620" y="562"/>
                  </a:lnTo>
                  <a:lnTo>
                    <a:pt x="615" y="562"/>
                  </a:lnTo>
                  <a:lnTo>
                    <a:pt x="626" y="562"/>
                  </a:lnTo>
                  <a:lnTo>
                    <a:pt x="620" y="551"/>
                  </a:lnTo>
                  <a:lnTo>
                    <a:pt x="653" y="568"/>
                  </a:lnTo>
                  <a:lnTo>
                    <a:pt x="658" y="557"/>
                  </a:lnTo>
                  <a:lnTo>
                    <a:pt x="653" y="546"/>
                  </a:lnTo>
                  <a:lnTo>
                    <a:pt x="637" y="546"/>
                  </a:lnTo>
                  <a:lnTo>
                    <a:pt x="637" y="529"/>
                  </a:lnTo>
                  <a:lnTo>
                    <a:pt x="626" y="529"/>
                  </a:lnTo>
                  <a:lnTo>
                    <a:pt x="642" y="518"/>
                  </a:lnTo>
                  <a:lnTo>
                    <a:pt x="620" y="508"/>
                  </a:lnTo>
                  <a:lnTo>
                    <a:pt x="631" y="508"/>
                  </a:lnTo>
                  <a:lnTo>
                    <a:pt x="626" y="502"/>
                  </a:lnTo>
                  <a:lnTo>
                    <a:pt x="653" y="524"/>
                  </a:lnTo>
                  <a:lnTo>
                    <a:pt x="653" y="518"/>
                  </a:lnTo>
                  <a:lnTo>
                    <a:pt x="653" y="497"/>
                  </a:lnTo>
                  <a:lnTo>
                    <a:pt x="637" y="486"/>
                  </a:lnTo>
                  <a:lnTo>
                    <a:pt x="653" y="475"/>
                  </a:lnTo>
                  <a:lnTo>
                    <a:pt x="626" y="469"/>
                  </a:lnTo>
                  <a:lnTo>
                    <a:pt x="626" y="458"/>
                  </a:lnTo>
                  <a:lnTo>
                    <a:pt x="620" y="458"/>
                  </a:lnTo>
                  <a:lnTo>
                    <a:pt x="626" y="458"/>
                  </a:lnTo>
                  <a:lnTo>
                    <a:pt x="615" y="448"/>
                  </a:lnTo>
                  <a:lnTo>
                    <a:pt x="637" y="437"/>
                  </a:lnTo>
                  <a:lnTo>
                    <a:pt x="626" y="437"/>
                  </a:lnTo>
                  <a:lnTo>
                    <a:pt x="637" y="431"/>
                  </a:lnTo>
                  <a:lnTo>
                    <a:pt x="669" y="442"/>
                  </a:lnTo>
                  <a:lnTo>
                    <a:pt x="669" y="431"/>
                  </a:lnTo>
                  <a:lnTo>
                    <a:pt x="669" y="409"/>
                  </a:lnTo>
                  <a:lnTo>
                    <a:pt x="642" y="404"/>
                  </a:lnTo>
                  <a:lnTo>
                    <a:pt x="648" y="404"/>
                  </a:lnTo>
                  <a:lnTo>
                    <a:pt x="642" y="398"/>
                  </a:lnTo>
                  <a:lnTo>
                    <a:pt x="648" y="398"/>
                  </a:lnTo>
                  <a:lnTo>
                    <a:pt x="637" y="393"/>
                  </a:lnTo>
                  <a:lnTo>
                    <a:pt x="642" y="387"/>
                  </a:lnTo>
                  <a:lnTo>
                    <a:pt x="658" y="398"/>
                  </a:lnTo>
                  <a:lnTo>
                    <a:pt x="658" y="393"/>
                  </a:lnTo>
                  <a:lnTo>
                    <a:pt x="658" y="387"/>
                  </a:lnTo>
                  <a:lnTo>
                    <a:pt x="637" y="371"/>
                  </a:lnTo>
                  <a:lnTo>
                    <a:pt x="631" y="387"/>
                  </a:lnTo>
                  <a:lnTo>
                    <a:pt x="626" y="387"/>
                  </a:lnTo>
                  <a:lnTo>
                    <a:pt x="631" y="366"/>
                  </a:lnTo>
                  <a:lnTo>
                    <a:pt x="626" y="366"/>
                  </a:lnTo>
                  <a:lnTo>
                    <a:pt x="631" y="355"/>
                  </a:lnTo>
                  <a:lnTo>
                    <a:pt x="631" y="344"/>
                  </a:lnTo>
                  <a:lnTo>
                    <a:pt x="642" y="333"/>
                  </a:lnTo>
                  <a:lnTo>
                    <a:pt x="637" y="317"/>
                  </a:lnTo>
                  <a:lnTo>
                    <a:pt x="637" y="306"/>
                  </a:lnTo>
                  <a:lnTo>
                    <a:pt x="648" y="300"/>
                  </a:lnTo>
                  <a:lnTo>
                    <a:pt x="653" y="284"/>
                  </a:lnTo>
                  <a:lnTo>
                    <a:pt x="631" y="284"/>
                  </a:lnTo>
                  <a:lnTo>
                    <a:pt x="631" y="262"/>
                  </a:lnTo>
                  <a:lnTo>
                    <a:pt x="648" y="267"/>
                  </a:lnTo>
                  <a:lnTo>
                    <a:pt x="669" y="267"/>
                  </a:lnTo>
                  <a:lnTo>
                    <a:pt x="669" y="251"/>
                  </a:lnTo>
                  <a:lnTo>
                    <a:pt x="658" y="246"/>
                  </a:lnTo>
                  <a:lnTo>
                    <a:pt x="637" y="246"/>
                  </a:lnTo>
                  <a:lnTo>
                    <a:pt x="658" y="229"/>
                  </a:lnTo>
                  <a:lnTo>
                    <a:pt x="669" y="235"/>
                  </a:lnTo>
                  <a:lnTo>
                    <a:pt x="686" y="213"/>
                  </a:lnTo>
                  <a:lnTo>
                    <a:pt x="707" y="180"/>
                  </a:lnTo>
                  <a:lnTo>
                    <a:pt x="686" y="158"/>
                  </a:lnTo>
                  <a:lnTo>
                    <a:pt x="658" y="164"/>
                  </a:lnTo>
                  <a:lnTo>
                    <a:pt x="648" y="180"/>
                  </a:lnTo>
                  <a:lnTo>
                    <a:pt x="620" y="180"/>
                  </a:lnTo>
                  <a:lnTo>
                    <a:pt x="582" y="246"/>
                  </a:lnTo>
                  <a:lnTo>
                    <a:pt x="593" y="207"/>
                  </a:lnTo>
                  <a:lnTo>
                    <a:pt x="604" y="158"/>
                  </a:lnTo>
                  <a:lnTo>
                    <a:pt x="593" y="142"/>
                  </a:lnTo>
                  <a:lnTo>
                    <a:pt x="582" y="147"/>
                  </a:lnTo>
                  <a:lnTo>
                    <a:pt x="582" y="180"/>
                  </a:lnTo>
                  <a:lnTo>
                    <a:pt x="555" y="186"/>
                  </a:lnTo>
                  <a:lnTo>
                    <a:pt x="544" y="175"/>
                  </a:lnTo>
                  <a:lnTo>
                    <a:pt x="571" y="158"/>
                  </a:lnTo>
                  <a:lnTo>
                    <a:pt x="566" y="153"/>
                  </a:lnTo>
                  <a:lnTo>
                    <a:pt x="533" y="153"/>
                  </a:lnTo>
                  <a:lnTo>
                    <a:pt x="501" y="164"/>
                  </a:lnTo>
                  <a:lnTo>
                    <a:pt x="484" y="169"/>
                  </a:lnTo>
                  <a:lnTo>
                    <a:pt x="473" y="158"/>
                  </a:lnTo>
                  <a:lnTo>
                    <a:pt x="511" y="136"/>
                  </a:lnTo>
                  <a:lnTo>
                    <a:pt x="571" y="131"/>
                  </a:lnTo>
                  <a:lnTo>
                    <a:pt x="593" y="109"/>
                  </a:lnTo>
                  <a:lnTo>
                    <a:pt x="593" y="82"/>
                  </a:lnTo>
                  <a:lnTo>
                    <a:pt x="582" y="71"/>
                  </a:lnTo>
                  <a:lnTo>
                    <a:pt x="571" y="71"/>
                  </a:lnTo>
                  <a:lnTo>
                    <a:pt x="560" y="44"/>
                  </a:lnTo>
                  <a:lnTo>
                    <a:pt x="528" y="60"/>
                  </a:lnTo>
                  <a:lnTo>
                    <a:pt x="473" y="71"/>
                  </a:lnTo>
                  <a:lnTo>
                    <a:pt x="452" y="66"/>
                  </a:lnTo>
                  <a:lnTo>
                    <a:pt x="479" y="55"/>
                  </a:lnTo>
                  <a:lnTo>
                    <a:pt x="528" y="44"/>
                  </a:lnTo>
                  <a:lnTo>
                    <a:pt x="544" y="44"/>
                  </a:lnTo>
                  <a:lnTo>
                    <a:pt x="560" y="38"/>
                  </a:lnTo>
                  <a:lnTo>
                    <a:pt x="550" y="22"/>
                  </a:lnTo>
                  <a:lnTo>
                    <a:pt x="517" y="16"/>
                  </a:lnTo>
                  <a:lnTo>
                    <a:pt x="490" y="0"/>
                  </a:lnTo>
                  <a:lnTo>
                    <a:pt x="446" y="6"/>
                  </a:lnTo>
                  <a:lnTo>
                    <a:pt x="430" y="22"/>
                  </a:lnTo>
                  <a:lnTo>
                    <a:pt x="419" y="33"/>
                  </a:lnTo>
                  <a:lnTo>
                    <a:pt x="424" y="49"/>
                  </a:lnTo>
                  <a:lnTo>
                    <a:pt x="424" y="55"/>
                  </a:lnTo>
                  <a:lnTo>
                    <a:pt x="419" y="60"/>
                  </a:lnTo>
                  <a:lnTo>
                    <a:pt x="414" y="60"/>
                  </a:lnTo>
                  <a:lnTo>
                    <a:pt x="414" y="76"/>
                  </a:lnTo>
                  <a:lnTo>
                    <a:pt x="414" y="82"/>
                  </a:lnTo>
                  <a:lnTo>
                    <a:pt x="408" y="71"/>
                  </a:lnTo>
                  <a:lnTo>
                    <a:pt x="386" y="60"/>
                  </a:lnTo>
                  <a:lnTo>
                    <a:pt x="375" y="44"/>
                  </a:lnTo>
                  <a:lnTo>
                    <a:pt x="365" y="33"/>
                  </a:lnTo>
                  <a:lnTo>
                    <a:pt x="365" y="38"/>
                  </a:lnTo>
                  <a:lnTo>
                    <a:pt x="354" y="44"/>
                  </a:lnTo>
                  <a:lnTo>
                    <a:pt x="365" y="49"/>
                  </a:lnTo>
                  <a:lnTo>
                    <a:pt x="370" y="55"/>
                  </a:lnTo>
                  <a:lnTo>
                    <a:pt x="348" y="55"/>
                  </a:lnTo>
                  <a:lnTo>
                    <a:pt x="343" y="55"/>
                  </a:lnTo>
                  <a:lnTo>
                    <a:pt x="348" y="71"/>
                  </a:lnTo>
                  <a:lnTo>
                    <a:pt x="365" y="76"/>
                  </a:lnTo>
                  <a:lnTo>
                    <a:pt x="392" y="82"/>
                  </a:lnTo>
                  <a:lnTo>
                    <a:pt x="408" y="126"/>
                  </a:lnTo>
                  <a:lnTo>
                    <a:pt x="375" y="93"/>
                  </a:lnTo>
                  <a:lnTo>
                    <a:pt x="348" y="87"/>
                  </a:lnTo>
                  <a:lnTo>
                    <a:pt x="343" y="87"/>
                  </a:lnTo>
                  <a:lnTo>
                    <a:pt x="354" y="104"/>
                  </a:lnTo>
                  <a:lnTo>
                    <a:pt x="365" y="120"/>
                  </a:lnTo>
                  <a:lnTo>
                    <a:pt x="343" y="131"/>
                  </a:lnTo>
                  <a:lnTo>
                    <a:pt x="348" y="169"/>
                  </a:lnTo>
                  <a:lnTo>
                    <a:pt x="337" y="153"/>
                  </a:lnTo>
                  <a:lnTo>
                    <a:pt x="326" y="131"/>
                  </a:lnTo>
                  <a:lnTo>
                    <a:pt x="305" y="104"/>
                  </a:lnTo>
                  <a:lnTo>
                    <a:pt x="283" y="104"/>
                  </a:lnTo>
                  <a:lnTo>
                    <a:pt x="294" y="126"/>
                  </a:lnTo>
                  <a:lnTo>
                    <a:pt x="299" y="153"/>
                  </a:lnTo>
                  <a:lnTo>
                    <a:pt x="288" y="153"/>
                  </a:lnTo>
                  <a:lnTo>
                    <a:pt x="305" y="169"/>
                  </a:lnTo>
                  <a:lnTo>
                    <a:pt x="299" y="175"/>
                  </a:lnTo>
                  <a:lnTo>
                    <a:pt x="267" y="147"/>
                  </a:lnTo>
                  <a:lnTo>
                    <a:pt x="261" y="180"/>
                  </a:lnTo>
                  <a:lnTo>
                    <a:pt x="261" y="158"/>
                  </a:lnTo>
                  <a:lnTo>
                    <a:pt x="250" y="126"/>
                  </a:lnTo>
                  <a:lnTo>
                    <a:pt x="245" y="115"/>
                  </a:lnTo>
                  <a:lnTo>
                    <a:pt x="239" y="120"/>
                  </a:lnTo>
                  <a:lnTo>
                    <a:pt x="223" y="126"/>
                  </a:lnTo>
                  <a:lnTo>
                    <a:pt x="190" y="142"/>
                  </a:lnTo>
                  <a:lnTo>
                    <a:pt x="201" y="153"/>
                  </a:lnTo>
                  <a:lnTo>
                    <a:pt x="223" y="191"/>
                  </a:lnTo>
                  <a:lnTo>
                    <a:pt x="185" y="153"/>
                  </a:lnTo>
                  <a:lnTo>
                    <a:pt x="169" y="169"/>
                  </a:lnTo>
                  <a:lnTo>
                    <a:pt x="174" y="186"/>
                  </a:lnTo>
                  <a:lnTo>
                    <a:pt x="179" y="213"/>
                  </a:lnTo>
                  <a:lnTo>
                    <a:pt x="163" y="213"/>
                  </a:lnTo>
                  <a:lnTo>
                    <a:pt x="141" y="240"/>
                  </a:lnTo>
                  <a:lnTo>
                    <a:pt x="120" y="251"/>
                  </a:lnTo>
                  <a:lnTo>
                    <a:pt x="120" y="267"/>
                  </a:lnTo>
                  <a:lnTo>
                    <a:pt x="120" y="278"/>
                  </a:lnTo>
                  <a:lnTo>
                    <a:pt x="130" y="284"/>
                  </a:lnTo>
                  <a:lnTo>
                    <a:pt x="141" y="278"/>
                  </a:lnTo>
                  <a:lnTo>
                    <a:pt x="147" y="273"/>
                  </a:lnTo>
                  <a:lnTo>
                    <a:pt x="152" y="278"/>
                  </a:lnTo>
                  <a:lnTo>
                    <a:pt x="141" y="289"/>
                  </a:lnTo>
                  <a:lnTo>
                    <a:pt x="147" y="300"/>
                  </a:lnTo>
                  <a:lnTo>
                    <a:pt x="136" y="322"/>
                  </a:lnTo>
                  <a:lnTo>
                    <a:pt x="130" y="333"/>
                  </a:lnTo>
                  <a:lnTo>
                    <a:pt x="109" y="338"/>
                  </a:lnTo>
                  <a:lnTo>
                    <a:pt x="109" y="344"/>
                  </a:lnTo>
                  <a:lnTo>
                    <a:pt x="92" y="344"/>
                  </a:lnTo>
                  <a:lnTo>
                    <a:pt x="92" y="355"/>
                  </a:lnTo>
                  <a:lnTo>
                    <a:pt x="76" y="349"/>
                  </a:lnTo>
                  <a:lnTo>
                    <a:pt x="54" y="344"/>
                  </a:lnTo>
                  <a:lnTo>
                    <a:pt x="33" y="344"/>
                  </a:lnTo>
                  <a:lnTo>
                    <a:pt x="33" y="349"/>
                  </a:lnTo>
                  <a:lnTo>
                    <a:pt x="5" y="355"/>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6" name="Freeform 968"/>
            <p:cNvSpPr>
              <a:spLocks/>
            </p:cNvSpPr>
            <p:nvPr/>
          </p:nvSpPr>
          <p:spPr bwMode="auto">
            <a:xfrm>
              <a:off x="2731" y="1228"/>
              <a:ext cx="114" cy="197"/>
            </a:xfrm>
            <a:custGeom>
              <a:avLst/>
              <a:gdLst>
                <a:gd name="T0" fmla="*/ 2147483647 w 21"/>
                <a:gd name="T1" fmla="*/ 2147483647 h 36"/>
                <a:gd name="T2" fmla="*/ 2147483647 w 21"/>
                <a:gd name="T3" fmla="*/ 2147483647 h 36"/>
                <a:gd name="T4" fmla="*/ 2147483647 w 21"/>
                <a:gd name="T5" fmla="*/ 2147483647 h 36"/>
                <a:gd name="T6" fmla="*/ 2147483647 w 21"/>
                <a:gd name="T7" fmla="*/ 2147483647 h 36"/>
                <a:gd name="T8" fmla="*/ 2147483647 w 21"/>
                <a:gd name="T9" fmla="*/ 2147483647 h 36"/>
                <a:gd name="T10" fmla="*/ 2147483647 w 21"/>
                <a:gd name="T11" fmla="*/ 2147483647 h 36"/>
                <a:gd name="T12" fmla="*/ 2147483647 w 21"/>
                <a:gd name="T13" fmla="*/ 2147483647 h 36"/>
                <a:gd name="T14" fmla="*/ 2147483647 w 21"/>
                <a:gd name="T15" fmla="*/ 2147483647 h 36"/>
                <a:gd name="T16" fmla="*/ 2147483647 w 21"/>
                <a:gd name="T17" fmla="*/ 2147483647 h 36"/>
                <a:gd name="T18" fmla="*/ 2147483647 w 21"/>
                <a:gd name="T19" fmla="*/ 2147483647 h 36"/>
                <a:gd name="T20" fmla="*/ 2147483647 w 21"/>
                <a:gd name="T21" fmla="*/ 2147483647 h 36"/>
                <a:gd name="T22" fmla="*/ 2147483647 w 21"/>
                <a:gd name="T23" fmla="*/ 2147483647 h 36"/>
                <a:gd name="T24" fmla="*/ 2147483647 w 21"/>
                <a:gd name="T25" fmla="*/ 2147483647 h 36"/>
                <a:gd name="T26" fmla="*/ 2147483647 w 21"/>
                <a:gd name="T27" fmla="*/ 2147483647 h 36"/>
                <a:gd name="T28" fmla="*/ 2147483647 w 21"/>
                <a:gd name="T29" fmla="*/ 2147483647 h 36"/>
                <a:gd name="T30" fmla="*/ 2147483647 w 21"/>
                <a:gd name="T31" fmla="*/ 2147483647 h 36"/>
                <a:gd name="T32" fmla="*/ 2147483647 w 21"/>
                <a:gd name="T33" fmla="*/ 0 h 36"/>
                <a:gd name="T34" fmla="*/ 2147483647 w 21"/>
                <a:gd name="T35" fmla="*/ 2147483647 h 36"/>
                <a:gd name="T36" fmla="*/ 2147483647 w 21"/>
                <a:gd name="T37" fmla="*/ 2147483647 h 36"/>
                <a:gd name="T38" fmla="*/ 2147483647 w 21"/>
                <a:gd name="T39" fmla="*/ 2147483647 h 36"/>
                <a:gd name="T40" fmla="*/ 2147483647 w 21"/>
                <a:gd name="T41" fmla="*/ 2147483647 h 36"/>
                <a:gd name="T42" fmla="*/ 2147483647 w 21"/>
                <a:gd name="T43" fmla="*/ 2147483647 h 36"/>
                <a:gd name="T44" fmla="*/ 2147483647 w 21"/>
                <a:gd name="T45" fmla="*/ 2147483647 h 36"/>
                <a:gd name="T46" fmla="*/ 0 w 21"/>
                <a:gd name="T47" fmla="*/ 2147483647 h 36"/>
                <a:gd name="T48" fmla="*/ 2147483647 w 21"/>
                <a:gd name="T49" fmla="*/ 2147483647 h 36"/>
                <a:gd name="T50" fmla="*/ 2147483647 w 21"/>
                <a:gd name="T51" fmla="*/ 2147483647 h 36"/>
                <a:gd name="T52" fmla="*/ 2147483647 w 21"/>
                <a:gd name="T53" fmla="*/ 2147483647 h 36"/>
                <a:gd name="T54" fmla="*/ 2147483647 w 21"/>
                <a:gd name="T55" fmla="*/ 2147483647 h 36"/>
                <a:gd name="T56" fmla="*/ 2147483647 w 21"/>
                <a:gd name="T57" fmla="*/ 2147483647 h 36"/>
                <a:gd name="T58" fmla="*/ 2147483647 w 21"/>
                <a:gd name="T59" fmla="*/ 2147483647 h 36"/>
                <a:gd name="T60" fmla="*/ 2147483647 w 21"/>
                <a:gd name="T61" fmla="*/ 2147483647 h 36"/>
                <a:gd name="T62" fmla="*/ 2147483647 w 21"/>
                <a:gd name="T63" fmla="*/ 2147483647 h 36"/>
                <a:gd name="T64" fmla="*/ 2147483647 w 21"/>
                <a:gd name="T65" fmla="*/ 2147483647 h 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
                <a:gd name="T100" fmla="*/ 0 h 36"/>
                <a:gd name="T101" fmla="*/ 21 w 21"/>
                <a:gd name="T102" fmla="*/ 36 h 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 h="36">
                  <a:moveTo>
                    <a:pt x="9" y="19"/>
                  </a:moveTo>
                  <a:cubicBezTo>
                    <a:pt x="6" y="22"/>
                    <a:pt x="6" y="22"/>
                    <a:pt x="6" y="22"/>
                  </a:cubicBezTo>
                  <a:cubicBezTo>
                    <a:pt x="5" y="21"/>
                    <a:pt x="5" y="21"/>
                    <a:pt x="5" y="21"/>
                  </a:cubicBezTo>
                  <a:cubicBezTo>
                    <a:pt x="5" y="24"/>
                    <a:pt x="5" y="24"/>
                    <a:pt x="5" y="24"/>
                  </a:cubicBezTo>
                  <a:cubicBezTo>
                    <a:pt x="12" y="22"/>
                    <a:pt x="12" y="22"/>
                    <a:pt x="12" y="22"/>
                  </a:cubicBezTo>
                  <a:cubicBezTo>
                    <a:pt x="12" y="24"/>
                    <a:pt x="12" y="24"/>
                    <a:pt x="12" y="24"/>
                  </a:cubicBezTo>
                  <a:cubicBezTo>
                    <a:pt x="7" y="25"/>
                    <a:pt x="7" y="25"/>
                    <a:pt x="7" y="25"/>
                  </a:cubicBezTo>
                  <a:cubicBezTo>
                    <a:pt x="10" y="27"/>
                    <a:pt x="10" y="27"/>
                    <a:pt x="10" y="27"/>
                  </a:cubicBezTo>
                  <a:cubicBezTo>
                    <a:pt x="6" y="26"/>
                    <a:pt x="6" y="26"/>
                    <a:pt x="6" y="26"/>
                  </a:cubicBezTo>
                  <a:cubicBezTo>
                    <a:pt x="6" y="30"/>
                    <a:pt x="6" y="30"/>
                    <a:pt x="6" y="30"/>
                  </a:cubicBezTo>
                  <a:cubicBezTo>
                    <a:pt x="11" y="32"/>
                    <a:pt x="11" y="32"/>
                    <a:pt x="11" y="32"/>
                  </a:cubicBezTo>
                  <a:cubicBezTo>
                    <a:pt x="9" y="33"/>
                    <a:pt x="9" y="33"/>
                    <a:pt x="9" y="33"/>
                  </a:cubicBezTo>
                  <a:cubicBezTo>
                    <a:pt x="11" y="36"/>
                    <a:pt x="11" y="36"/>
                    <a:pt x="11" y="36"/>
                  </a:cubicBezTo>
                  <a:cubicBezTo>
                    <a:pt x="12" y="35"/>
                    <a:pt x="12" y="35"/>
                    <a:pt x="12" y="35"/>
                  </a:cubicBezTo>
                  <a:cubicBezTo>
                    <a:pt x="12" y="33"/>
                    <a:pt x="12" y="33"/>
                    <a:pt x="12" y="33"/>
                  </a:cubicBezTo>
                  <a:cubicBezTo>
                    <a:pt x="13" y="32"/>
                    <a:pt x="13" y="32"/>
                    <a:pt x="13" y="32"/>
                  </a:cubicBezTo>
                  <a:cubicBezTo>
                    <a:pt x="13" y="29"/>
                    <a:pt x="13" y="29"/>
                    <a:pt x="13" y="29"/>
                  </a:cubicBezTo>
                  <a:cubicBezTo>
                    <a:pt x="14" y="28"/>
                    <a:pt x="14" y="28"/>
                    <a:pt x="14" y="28"/>
                  </a:cubicBezTo>
                  <a:cubicBezTo>
                    <a:pt x="14" y="27"/>
                    <a:pt x="14" y="27"/>
                    <a:pt x="14" y="27"/>
                  </a:cubicBezTo>
                  <a:cubicBezTo>
                    <a:pt x="15" y="27"/>
                    <a:pt x="15" y="27"/>
                    <a:pt x="15" y="27"/>
                  </a:cubicBezTo>
                  <a:cubicBezTo>
                    <a:pt x="15" y="21"/>
                    <a:pt x="15" y="21"/>
                    <a:pt x="15" y="21"/>
                  </a:cubicBezTo>
                  <a:cubicBezTo>
                    <a:pt x="17" y="21"/>
                    <a:pt x="17" y="21"/>
                    <a:pt x="17" y="21"/>
                  </a:cubicBezTo>
                  <a:cubicBezTo>
                    <a:pt x="17" y="19"/>
                    <a:pt x="17" y="19"/>
                    <a:pt x="17" y="19"/>
                  </a:cubicBezTo>
                  <a:cubicBezTo>
                    <a:pt x="17" y="18"/>
                    <a:pt x="17" y="16"/>
                    <a:pt x="17" y="16"/>
                  </a:cubicBezTo>
                  <a:cubicBezTo>
                    <a:pt x="21" y="14"/>
                    <a:pt x="21" y="14"/>
                    <a:pt x="21" y="14"/>
                  </a:cubicBezTo>
                  <a:cubicBezTo>
                    <a:pt x="21" y="13"/>
                    <a:pt x="21" y="13"/>
                    <a:pt x="21" y="13"/>
                  </a:cubicBezTo>
                  <a:cubicBezTo>
                    <a:pt x="19" y="11"/>
                    <a:pt x="19" y="11"/>
                    <a:pt x="19" y="11"/>
                  </a:cubicBezTo>
                  <a:cubicBezTo>
                    <a:pt x="17" y="8"/>
                    <a:pt x="17" y="8"/>
                    <a:pt x="17" y="8"/>
                  </a:cubicBezTo>
                  <a:cubicBezTo>
                    <a:pt x="16" y="7"/>
                    <a:pt x="16" y="7"/>
                    <a:pt x="16" y="7"/>
                  </a:cubicBezTo>
                  <a:cubicBezTo>
                    <a:pt x="15" y="4"/>
                    <a:pt x="15" y="4"/>
                    <a:pt x="15" y="4"/>
                  </a:cubicBezTo>
                  <a:cubicBezTo>
                    <a:pt x="14" y="4"/>
                    <a:pt x="14" y="4"/>
                    <a:pt x="14" y="4"/>
                  </a:cubicBezTo>
                  <a:cubicBezTo>
                    <a:pt x="14" y="3"/>
                    <a:pt x="14" y="3"/>
                    <a:pt x="14" y="3"/>
                  </a:cubicBezTo>
                  <a:cubicBezTo>
                    <a:pt x="12" y="1"/>
                    <a:pt x="12" y="1"/>
                    <a:pt x="12" y="1"/>
                  </a:cubicBezTo>
                  <a:cubicBezTo>
                    <a:pt x="10" y="0"/>
                    <a:pt x="10" y="0"/>
                    <a:pt x="10" y="0"/>
                  </a:cubicBezTo>
                  <a:cubicBezTo>
                    <a:pt x="10" y="1"/>
                    <a:pt x="10" y="1"/>
                    <a:pt x="10" y="1"/>
                  </a:cubicBezTo>
                  <a:cubicBezTo>
                    <a:pt x="10" y="2"/>
                    <a:pt x="10" y="2"/>
                    <a:pt x="10" y="2"/>
                  </a:cubicBezTo>
                  <a:cubicBezTo>
                    <a:pt x="10" y="5"/>
                    <a:pt x="10" y="5"/>
                    <a:pt x="10" y="5"/>
                  </a:cubicBezTo>
                  <a:cubicBezTo>
                    <a:pt x="11" y="10"/>
                    <a:pt x="11" y="10"/>
                    <a:pt x="11" y="10"/>
                  </a:cubicBezTo>
                  <a:cubicBezTo>
                    <a:pt x="11" y="10"/>
                    <a:pt x="11" y="12"/>
                    <a:pt x="11" y="11"/>
                  </a:cubicBezTo>
                  <a:cubicBezTo>
                    <a:pt x="11" y="11"/>
                    <a:pt x="9" y="7"/>
                    <a:pt x="9" y="7"/>
                  </a:cubicBezTo>
                  <a:cubicBezTo>
                    <a:pt x="9" y="5"/>
                    <a:pt x="9" y="5"/>
                    <a:pt x="9" y="5"/>
                  </a:cubicBezTo>
                  <a:cubicBezTo>
                    <a:pt x="7" y="2"/>
                    <a:pt x="7" y="2"/>
                    <a:pt x="7" y="2"/>
                  </a:cubicBezTo>
                  <a:cubicBezTo>
                    <a:pt x="5" y="7"/>
                    <a:pt x="5" y="7"/>
                    <a:pt x="5" y="7"/>
                  </a:cubicBezTo>
                  <a:cubicBezTo>
                    <a:pt x="2" y="3"/>
                    <a:pt x="2" y="3"/>
                    <a:pt x="2" y="3"/>
                  </a:cubicBezTo>
                  <a:cubicBezTo>
                    <a:pt x="5" y="3"/>
                    <a:pt x="5" y="3"/>
                    <a:pt x="5" y="3"/>
                  </a:cubicBezTo>
                  <a:cubicBezTo>
                    <a:pt x="5" y="3"/>
                    <a:pt x="5" y="1"/>
                    <a:pt x="4" y="1"/>
                  </a:cubicBezTo>
                  <a:cubicBezTo>
                    <a:pt x="4" y="1"/>
                    <a:pt x="1" y="2"/>
                    <a:pt x="1" y="2"/>
                  </a:cubicBezTo>
                  <a:cubicBezTo>
                    <a:pt x="0" y="3"/>
                    <a:pt x="0" y="3"/>
                    <a:pt x="0" y="3"/>
                  </a:cubicBezTo>
                  <a:cubicBezTo>
                    <a:pt x="0" y="3"/>
                    <a:pt x="0" y="5"/>
                    <a:pt x="0" y="6"/>
                  </a:cubicBezTo>
                  <a:cubicBezTo>
                    <a:pt x="0" y="6"/>
                    <a:pt x="1" y="8"/>
                    <a:pt x="1" y="8"/>
                  </a:cubicBezTo>
                  <a:cubicBezTo>
                    <a:pt x="2" y="9"/>
                    <a:pt x="2" y="9"/>
                    <a:pt x="2" y="9"/>
                  </a:cubicBezTo>
                  <a:cubicBezTo>
                    <a:pt x="1" y="12"/>
                    <a:pt x="1" y="12"/>
                    <a:pt x="1" y="12"/>
                  </a:cubicBezTo>
                  <a:cubicBezTo>
                    <a:pt x="2" y="15"/>
                    <a:pt x="2" y="15"/>
                    <a:pt x="2" y="15"/>
                  </a:cubicBezTo>
                  <a:cubicBezTo>
                    <a:pt x="3" y="16"/>
                    <a:pt x="3" y="16"/>
                    <a:pt x="3" y="16"/>
                  </a:cubicBezTo>
                  <a:cubicBezTo>
                    <a:pt x="6" y="17"/>
                    <a:pt x="6" y="17"/>
                    <a:pt x="6" y="17"/>
                  </a:cubicBezTo>
                  <a:cubicBezTo>
                    <a:pt x="7" y="17"/>
                    <a:pt x="7" y="17"/>
                    <a:pt x="7" y="17"/>
                  </a:cubicBezTo>
                  <a:cubicBezTo>
                    <a:pt x="8" y="13"/>
                    <a:pt x="8" y="13"/>
                    <a:pt x="8" y="13"/>
                  </a:cubicBezTo>
                  <a:cubicBezTo>
                    <a:pt x="8" y="13"/>
                    <a:pt x="8" y="13"/>
                    <a:pt x="8" y="13"/>
                  </a:cubicBezTo>
                  <a:cubicBezTo>
                    <a:pt x="9" y="15"/>
                    <a:pt x="9" y="15"/>
                    <a:pt x="9" y="15"/>
                  </a:cubicBezTo>
                  <a:cubicBezTo>
                    <a:pt x="9" y="16"/>
                    <a:pt x="9" y="16"/>
                    <a:pt x="9" y="16"/>
                  </a:cubicBezTo>
                  <a:cubicBezTo>
                    <a:pt x="10" y="16"/>
                    <a:pt x="10" y="16"/>
                    <a:pt x="10" y="16"/>
                  </a:cubicBezTo>
                  <a:cubicBezTo>
                    <a:pt x="11" y="15"/>
                    <a:pt x="11" y="15"/>
                    <a:pt x="11" y="15"/>
                  </a:cubicBezTo>
                  <a:cubicBezTo>
                    <a:pt x="12" y="15"/>
                    <a:pt x="12" y="15"/>
                    <a:pt x="12" y="15"/>
                  </a:cubicBezTo>
                  <a:cubicBezTo>
                    <a:pt x="11" y="17"/>
                    <a:pt x="11" y="17"/>
                    <a:pt x="11" y="17"/>
                  </a:cubicBezTo>
                  <a:cubicBezTo>
                    <a:pt x="10" y="17"/>
                    <a:pt x="10" y="17"/>
                    <a:pt x="10" y="17"/>
                  </a:cubicBezTo>
                  <a:lnTo>
                    <a:pt x="9" y="19"/>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7" name="Freeform 969"/>
            <p:cNvSpPr>
              <a:spLocks/>
            </p:cNvSpPr>
            <p:nvPr/>
          </p:nvSpPr>
          <p:spPr bwMode="auto">
            <a:xfrm>
              <a:off x="2807" y="1190"/>
              <a:ext cx="103" cy="77"/>
            </a:xfrm>
            <a:custGeom>
              <a:avLst/>
              <a:gdLst>
                <a:gd name="T0" fmla="*/ 27 w 103"/>
                <a:gd name="T1" fmla="*/ 66 h 77"/>
                <a:gd name="T2" fmla="*/ 22 w 103"/>
                <a:gd name="T3" fmla="*/ 55 h 77"/>
                <a:gd name="T4" fmla="*/ 33 w 103"/>
                <a:gd name="T5" fmla="*/ 49 h 77"/>
                <a:gd name="T6" fmla="*/ 27 w 103"/>
                <a:gd name="T7" fmla="*/ 38 h 77"/>
                <a:gd name="T8" fmla="*/ 0 w 103"/>
                <a:gd name="T9" fmla="*/ 44 h 77"/>
                <a:gd name="T10" fmla="*/ 0 w 103"/>
                <a:gd name="T11" fmla="*/ 33 h 77"/>
                <a:gd name="T12" fmla="*/ 16 w 103"/>
                <a:gd name="T13" fmla="*/ 11 h 77"/>
                <a:gd name="T14" fmla="*/ 22 w 103"/>
                <a:gd name="T15" fmla="*/ 0 h 77"/>
                <a:gd name="T16" fmla="*/ 38 w 103"/>
                <a:gd name="T17" fmla="*/ 17 h 77"/>
                <a:gd name="T18" fmla="*/ 44 w 103"/>
                <a:gd name="T19" fmla="*/ 22 h 77"/>
                <a:gd name="T20" fmla="*/ 49 w 103"/>
                <a:gd name="T21" fmla="*/ 11 h 77"/>
                <a:gd name="T22" fmla="*/ 54 w 103"/>
                <a:gd name="T23" fmla="*/ 6 h 77"/>
                <a:gd name="T24" fmla="*/ 60 w 103"/>
                <a:gd name="T25" fmla="*/ 17 h 77"/>
                <a:gd name="T26" fmla="*/ 60 w 103"/>
                <a:gd name="T27" fmla="*/ 28 h 77"/>
                <a:gd name="T28" fmla="*/ 82 w 103"/>
                <a:gd name="T29" fmla="*/ 28 h 77"/>
                <a:gd name="T30" fmla="*/ 76 w 103"/>
                <a:gd name="T31" fmla="*/ 17 h 77"/>
                <a:gd name="T32" fmla="*/ 93 w 103"/>
                <a:gd name="T33" fmla="*/ 28 h 77"/>
                <a:gd name="T34" fmla="*/ 98 w 103"/>
                <a:gd name="T35" fmla="*/ 28 h 77"/>
                <a:gd name="T36" fmla="*/ 103 w 103"/>
                <a:gd name="T37" fmla="*/ 33 h 77"/>
                <a:gd name="T38" fmla="*/ 103 w 103"/>
                <a:gd name="T39" fmla="*/ 44 h 77"/>
                <a:gd name="T40" fmla="*/ 98 w 103"/>
                <a:gd name="T41" fmla="*/ 49 h 77"/>
                <a:gd name="T42" fmla="*/ 87 w 103"/>
                <a:gd name="T43" fmla="*/ 71 h 77"/>
                <a:gd name="T44" fmla="*/ 82 w 103"/>
                <a:gd name="T45" fmla="*/ 77 h 77"/>
                <a:gd name="T46" fmla="*/ 71 w 103"/>
                <a:gd name="T47" fmla="*/ 77 h 77"/>
                <a:gd name="T48" fmla="*/ 49 w 103"/>
                <a:gd name="T49" fmla="*/ 77 h 77"/>
                <a:gd name="T50" fmla="*/ 38 w 103"/>
                <a:gd name="T51" fmla="*/ 71 h 77"/>
                <a:gd name="T52" fmla="*/ 27 w 103"/>
                <a:gd name="T53" fmla="*/ 66 h 7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3"/>
                <a:gd name="T82" fmla="*/ 0 h 77"/>
                <a:gd name="T83" fmla="*/ 103 w 103"/>
                <a:gd name="T84" fmla="*/ 77 h 7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3" h="77">
                  <a:moveTo>
                    <a:pt x="27" y="66"/>
                  </a:moveTo>
                  <a:lnTo>
                    <a:pt x="22" y="55"/>
                  </a:lnTo>
                  <a:lnTo>
                    <a:pt x="33" y="49"/>
                  </a:lnTo>
                  <a:lnTo>
                    <a:pt x="27" y="38"/>
                  </a:lnTo>
                  <a:lnTo>
                    <a:pt x="0" y="44"/>
                  </a:lnTo>
                  <a:lnTo>
                    <a:pt x="0" y="33"/>
                  </a:lnTo>
                  <a:lnTo>
                    <a:pt x="16" y="11"/>
                  </a:lnTo>
                  <a:lnTo>
                    <a:pt x="22" y="0"/>
                  </a:lnTo>
                  <a:lnTo>
                    <a:pt x="38" y="17"/>
                  </a:lnTo>
                  <a:lnTo>
                    <a:pt x="44" y="22"/>
                  </a:lnTo>
                  <a:lnTo>
                    <a:pt x="49" y="11"/>
                  </a:lnTo>
                  <a:lnTo>
                    <a:pt x="54" y="6"/>
                  </a:lnTo>
                  <a:lnTo>
                    <a:pt x="60" y="17"/>
                  </a:lnTo>
                  <a:lnTo>
                    <a:pt x="60" y="28"/>
                  </a:lnTo>
                  <a:lnTo>
                    <a:pt x="82" y="28"/>
                  </a:lnTo>
                  <a:lnTo>
                    <a:pt x="76" y="17"/>
                  </a:lnTo>
                  <a:lnTo>
                    <a:pt x="93" y="28"/>
                  </a:lnTo>
                  <a:lnTo>
                    <a:pt x="98" y="28"/>
                  </a:lnTo>
                  <a:lnTo>
                    <a:pt x="103" y="33"/>
                  </a:lnTo>
                  <a:lnTo>
                    <a:pt x="103" y="44"/>
                  </a:lnTo>
                  <a:lnTo>
                    <a:pt x="98" y="49"/>
                  </a:lnTo>
                  <a:lnTo>
                    <a:pt x="87" y="71"/>
                  </a:lnTo>
                  <a:lnTo>
                    <a:pt x="82" y="77"/>
                  </a:lnTo>
                  <a:lnTo>
                    <a:pt x="71" y="77"/>
                  </a:lnTo>
                  <a:lnTo>
                    <a:pt x="49" y="77"/>
                  </a:lnTo>
                  <a:lnTo>
                    <a:pt x="38" y="71"/>
                  </a:lnTo>
                  <a:lnTo>
                    <a:pt x="27" y="66"/>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8" name="Freeform 970"/>
            <p:cNvSpPr>
              <a:spLocks/>
            </p:cNvSpPr>
            <p:nvPr/>
          </p:nvSpPr>
          <p:spPr bwMode="auto">
            <a:xfrm>
              <a:off x="2834" y="1305"/>
              <a:ext cx="49" cy="76"/>
            </a:xfrm>
            <a:custGeom>
              <a:avLst/>
              <a:gdLst>
                <a:gd name="T0" fmla="*/ 2147483647 w 9"/>
                <a:gd name="T1" fmla="*/ 2147483647 h 14"/>
                <a:gd name="T2" fmla="*/ 2147483647 w 9"/>
                <a:gd name="T3" fmla="*/ 2147483647 h 14"/>
                <a:gd name="T4" fmla="*/ 0 w 9"/>
                <a:gd name="T5" fmla="*/ 2147483647 h 14"/>
                <a:gd name="T6" fmla="*/ 2147483647 w 9"/>
                <a:gd name="T7" fmla="*/ 2147483647 h 14"/>
                <a:gd name="T8" fmla="*/ 2147483647 w 9"/>
                <a:gd name="T9" fmla="*/ 2147483647 h 14"/>
                <a:gd name="T10" fmla="*/ 2147483647 w 9"/>
                <a:gd name="T11" fmla="*/ 0 h 14"/>
                <a:gd name="T12" fmla="*/ 2147483647 w 9"/>
                <a:gd name="T13" fmla="*/ 2147483647 h 14"/>
                <a:gd name="T14" fmla="*/ 2147483647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2147483647 w 9"/>
                <a:gd name="T29" fmla="*/ 2147483647 h 14"/>
                <a:gd name="T30" fmla="*/ 2147483647 w 9"/>
                <a:gd name="T31" fmla="*/ 2147483647 h 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
                <a:gd name="T49" fmla="*/ 0 h 14"/>
                <a:gd name="T50" fmla="*/ 9 w 9"/>
                <a:gd name="T51" fmla="*/ 14 h 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 h="14">
                  <a:moveTo>
                    <a:pt x="2" y="11"/>
                  </a:moveTo>
                  <a:cubicBezTo>
                    <a:pt x="4" y="7"/>
                    <a:pt x="4" y="7"/>
                    <a:pt x="4" y="7"/>
                  </a:cubicBezTo>
                  <a:cubicBezTo>
                    <a:pt x="0" y="5"/>
                    <a:pt x="0" y="5"/>
                    <a:pt x="0" y="5"/>
                  </a:cubicBezTo>
                  <a:cubicBezTo>
                    <a:pt x="1" y="3"/>
                    <a:pt x="1" y="3"/>
                    <a:pt x="1" y="3"/>
                  </a:cubicBezTo>
                  <a:cubicBezTo>
                    <a:pt x="2" y="1"/>
                    <a:pt x="2" y="1"/>
                    <a:pt x="2" y="1"/>
                  </a:cubicBezTo>
                  <a:cubicBezTo>
                    <a:pt x="4" y="0"/>
                    <a:pt x="4" y="0"/>
                    <a:pt x="4" y="0"/>
                  </a:cubicBezTo>
                  <a:cubicBezTo>
                    <a:pt x="5" y="3"/>
                    <a:pt x="5" y="3"/>
                    <a:pt x="5" y="3"/>
                  </a:cubicBezTo>
                  <a:cubicBezTo>
                    <a:pt x="6" y="4"/>
                    <a:pt x="6" y="4"/>
                    <a:pt x="6" y="4"/>
                  </a:cubicBezTo>
                  <a:cubicBezTo>
                    <a:pt x="6" y="6"/>
                    <a:pt x="6" y="6"/>
                    <a:pt x="6" y="6"/>
                  </a:cubicBezTo>
                  <a:cubicBezTo>
                    <a:pt x="6" y="7"/>
                    <a:pt x="6" y="7"/>
                    <a:pt x="6" y="7"/>
                  </a:cubicBezTo>
                  <a:cubicBezTo>
                    <a:pt x="8" y="8"/>
                    <a:pt x="8" y="8"/>
                    <a:pt x="8" y="8"/>
                  </a:cubicBezTo>
                  <a:cubicBezTo>
                    <a:pt x="9" y="9"/>
                    <a:pt x="9" y="9"/>
                    <a:pt x="9" y="9"/>
                  </a:cubicBezTo>
                  <a:cubicBezTo>
                    <a:pt x="6" y="12"/>
                    <a:pt x="6" y="12"/>
                    <a:pt x="6" y="12"/>
                  </a:cubicBezTo>
                  <a:cubicBezTo>
                    <a:pt x="5" y="14"/>
                    <a:pt x="5" y="14"/>
                    <a:pt x="5" y="14"/>
                  </a:cubicBezTo>
                  <a:cubicBezTo>
                    <a:pt x="5" y="14"/>
                    <a:pt x="4" y="14"/>
                    <a:pt x="4" y="14"/>
                  </a:cubicBezTo>
                  <a:cubicBezTo>
                    <a:pt x="4" y="13"/>
                    <a:pt x="2" y="11"/>
                    <a:pt x="2" y="11"/>
                  </a:cubicBez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49" name="Freeform 971"/>
            <p:cNvSpPr>
              <a:spLocks/>
            </p:cNvSpPr>
            <p:nvPr/>
          </p:nvSpPr>
          <p:spPr bwMode="auto">
            <a:xfrm>
              <a:off x="2802" y="2265"/>
              <a:ext cx="98" cy="49"/>
            </a:xfrm>
            <a:custGeom>
              <a:avLst/>
              <a:gdLst>
                <a:gd name="T0" fmla="*/ 2147483647 w 18"/>
                <a:gd name="T1" fmla="*/ 2147483647 h 9"/>
                <a:gd name="T2" fmla="*/ 2147483647 w 18"/>
                <a:gd name="T3" fmla="*/ 2147483647 h 9"/>
                <a:gd name="T4" fmla="*/ 2147483647 w 18"/>
                <a:gd name="T5" fmla="*/ 2147483647 h 9"/>
                <a:gd name="T6" fmla="*/ 2147483647 w 18"/>
                <a:gd name="T7" fmla="*/ 2147483647 h 9"/>
                <a:gd name="T8" fmla="*/ 2147483647 w 18"/>
                <a:gd name="T9" fmla="*/ 2147483647 h 9"/>
                <a:gd name="T10" fmla="*/ 2147483647 w 18"/>
                <a:gd name="T11" fmla="*/ 2147483647 h 9"/>
                <a:gd name="T12" fmla="*/ 2147483647 w 18"/>
                <a:gd name="T13" fmla="*/ 2147483647 h 9"/>
                <a:gd name="T14" fmla="*/ 2147483647 w 18"/>
                <a:gd name="T15" fmla="*/ 2147483647 h 9"/>
                <a:gd name="T16" fmla="*/ 2147483647 w 18"/>
                <a:gd name="T17" fmla="*/ 2147483647 h 9"/>
                <a:gd name="T18" fmla="*/ 0 w 18"/>
                <a:gd name="T19" fmla="*/ 2147483647 h 9"/>
                <a:gd name="T20" fmla="*/ 0 w 18"/>
                <a:gd name="T21" fmla="*/ 2147483647 h 9"/>
                <a:gd name="T22" fmla="*/ 2147483647 w 18"/>
                <a:gd name="T23" fmla="*/ 2147483647 h 9"/>
                <a:gd name="T24" fmla="*/ 2147483647 w 18"/>
                <a:gd name="T25" fmla="*/ 2147483647 h 9"/>
                <a:gd name="T26" fmla="*/ 2147483647 w 18"/>
                <a:gd name="T27" fmla="*/ 2147483647 h 9"/>
                <a:gd name="T28" fmla="*/ 2147483647 w 18"/>
                <a:gd name="T29" fmla="*/ 2147483647 h 9"/>
                <a:gd name="T30" fmla="*/ 2147483647 w 18"/>
                <a:gd name="T31" fmla="*/ 2147483647 h 9"/>
                <a:gd name="T32" fmla="*/ 2147483647 w 18"/>
                <a:gd name="T33" fmla="*/ 2147483647 h 9"/>
                <a:gd name="T34" fmla="*/ 2147483647 w 18"/>
                <a:gd name="T35" fmla="*/ 2147483647 h 9"/>
                <a:gd name="T36" fmla="*/ 2147483647 w 18"/>
                <a:gd name="T37" fmla="*/ 2147483647 h 9"/>
                <a:gd name="T38" fmla="*/ 2147483647 w 18"/>
                <a:gd name="T39" fmla="*/ 2147483647 h 9"/>
                <a:gd name="T40" fmla="*/ 2147483647 w 18"/>
                <a:gd name="T41" fmla="*/ 2147483647 h 9"/>
                <a:gd name="T42" fmla="*/ 2147483647 w 18"/>
                <a:gd name="T43" fmla="*/ 2147483647 h 9"/>
                <a:gd name="T44" fmla="*/ 2147483647 w 18"/>
                <a:gd name="T45" fmla="*/ 2147483647 h 9"/>
                <a:gd name="T46" fmla="*/ 2147483647 w 18"/>
                <a:gd name="T47" fmla="*/ 2147483647 h 9"/>
                <a:gd name="T48" fmla="*/ 2147483647 w 18"/>
                <a:gd name="T49" fmla="*/ 0 h 9"/>
                <a:gd name="T50" fmla="*/ 2147483647 w 18"/>
                <a:gd name="T51" fmla="*/ 2147483647 h 9"/>
                <a:gd name="T52" fmla="*/ 2147483647 w 18"/>
                <a:gd name="T53" fmla="*/ 2147483647 h 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8"/>
                <a:gd name="T82" fmla="*/ 0 h 9"/>
                <a:gd name="T83" fmla="*/ 18 w 18"/>
                <a:gd name="T84" fmla="*/ 9 h 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8" h="9">
                  <a:moveTo>
                    <a:pt x="10" y="1"/>
                  </a:moveTo>
                  <a:cubicBezTo>
                    <a:pt x="8" y="3"/>
                    <a:pt x="8" y="3"/>
                    <a:pt x="8" y="3"/>
                  </a:cubicBezTo>
                  <a:cubicBezTo>
                    <a:pt x="8" y="5"/>
                    <a:pt x="8" y="5"/>
                    <a:pt x="8" y="5"/>
                  </a:cubicBezTo>
                  <a:cubicBezTo>
                    <a:pt x="8" y="5"/>
                    <a:pt x="8" y="5"/>
                    <a:pt x="8" y="5"/>
                  </a:cubicBezTo>
                  <a:cubicBezTo>
                    <a:pt x="7" y="5"/>
                    <a:pt x="7" y="5"/>
                    <a:pt x="7" y="5"/>
                  </a:cubicBezTo>
                  <a:cubicBezTo>
                    <a:pt x="4" y="6"/>
                    <a:pt x="4" y="6"/>
                    <a:pt x="4" y="6"/>
                  </a:cubicBezTo>
                  <a:cubicBezTo>
                    <a:pt x="3" y="5"/>
                    <a:pt x="3" y="5"/>
                    <a:pt x="3" y="5"/>
                  </a:cubicBezTo>
                  <a:cubicBezTo>
                    <a:pt x="2" y="6"/>
                    <a:pt x="2" y="6"/>
                    <a:pt x="2" y="6"/>
                  </a:cubicBezTo>
                  <a:cubicBezTo>
                    <a:pt x="1" y="5"/>
                    <a:pt x="1" y="5"/>
                    <a:pt x="1" y="5"/>
                  </a:cubicBezTo>
                  <a:cubicBezTo>
                    <a:pt x="0" y="5"/>
                    <a:pt x="0" y="5"/>
                    <a:pt x="0" y="5"/>
                  </a:cubicBezTo>
                  <a:cubicBezTo>
                    <a:pt x="0" y="7"/>
                    <a:pt x="0" y="7"/>
                    <a:pt x="0" y="7"/>
                  </a:cubicBezTo>
                  <a:cubicBezTo>
                    <a:pt x="2" y="8"/>
                    <a:pt x="2" y="8"/>
                    <a:pt x="2" y="8"/>
                  </a:cubicBezTo>
                  <a:cubicBezTo>
                    <a:pt x="6" y="7"/>
                    <a:pt x="6" y="7"/>
                    <a:pt x="6" y="7"/>
                  </a:cubicBezTo>
                  <a:cubicBezTo>
                    <a:pt x="7" y="8"/>
                    <a:pt x="7" y="8"/>
                    <a:pt x="7" y="8"/>
                  </a:cubicBezTo>
                  <a:cubicBezTo>
                    <a:pt x="10" y="9"/>
                    <a:pt x="10" y="9"/>
                    <a:pt x="10" y="9"/>
                  </a:cubicBezTo>
                  <a:cubicBezTo>
                    <a:pt x="12" y="9"/>
                    <a:pt x="12" y="9"/>
                    <a:pt x="12" y="9"/>
                  </a:cubicBezTo>
                  <a:cubicBezTo>
                    <a:pt x="16" y="8"/>
                    <a:pt x="16" y="8"/>
                    <a:pt x="16" y="8"/>
                  </a:cubicBezTo>
                  <a:cubicBezTo>
                    <a:pt x="17" y="7"/>
                    <a:pt x="17" y="7"/>
                    <a:pt x="17" y="7"/>
                  </a:cubicBezTo>
                  <a:cubicBezTo>
                    <a:pt x="17" y="5"/>
                    <a:pt x="17" y="5"/>
                    <a:pt x="17" y="5"/>
                  </a:cubicBezTo>
                  <a:cubicBezTo>
                    <a:pt x="18" y="5"/>
                    <a:pt x="18" y="5"/>
                    <a:pt x="18" y="5"/>
                  </a:cubicBezTo>
                  <a:cubicBezTo>
                    <a:pt x="18" y="3"/>
                    <a:pt x="18" y="3"/>
                    <a:pt x="18" y="3"/>
                  </a:cubicBezTo>
                  <a:cubicBezTo>
                    <a:pt x="17" y="1"/>
                    <a:pt x="17" y="1"/>
                    <a:pt x="17" y="1"/>
                  </a:cubicBezTo>
                  <a:cubicBezTo>
                    <a:pt x="16" y="1"/>
                    <a:pt x="16" y="1"/>
                    <a:pt x="16" y="1"/>
                  </a:cubicBezTo>
                  <a:cubicBezTo>
                    <a:pt x="16" y="1"/>
                    <a:pt x="15" y="1"/>
                    <a:pt x="15" y="1"/>
                  </a:cubicBezTo>
                  <a:cubicBezTo>
                    <a:pt x="13" y="0"/>
                    <a:pt x="13" y="0"/>
                    <a:pt x="13" y="0"/>
                  </a:cubicBezTo>
                  <a:cubicBezTo>
                    <a:pt x="12" y="1"/>
                    <a:pt x="12" y="1"/>
                    <a:pt x="12" y="1"/>
                  </a:cubicBezTo>
                  <a:cubicBezTo>
                    <a:pt x="10" y="1"/>
                    <a:pt x="10" y="1"/>
                    <a:pt x="10" y="1"/>
                  </a:cubicBezTo>
                  <a:close/>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50" name="Freeform 972"/>
            <p:cNvSpPr>
              <a:spLocks/>
            </p:cNvSpPr>
            <p:nvPr/>
          </p:nvSpPr>
          <p:spPr bwMode="auto">
            <a:xfrm>
              <a:off x="2834" y="2222"/>
              <a:ext cx="76" cy="60"/>
            </a:xfrm>
            <a:custGeom>
              <a:avLst/>
              <a:gdLst>
                <a:gd name="T0" fmla="*/ 2147483647 w 14"/>
                <a:gd name="T1" fmla="*/ 2147483647 h 11"/>
                <a:gd name="T2" fmla="*/ 2147483647 w 14"/>
                <a:gd name="T3" fmla="*/ 2147483647 h 11"/>
                <a:gd name="T4" fmla="*/ 2147483647 w 14"/>
                <a:gd name="T5" fmla="*/ 2147483647 h 11"/>
                <a:gd name="T6" fmla="*/ 2147483647 w 14"/>
                <a:gd name="T7" fmla="*/ 2147483647 h 11"/>
                <a:gd name="T8" fmla="*/ 2147483647 w 14"/>
                <a:gd name="T9" fmla="*/ 2147483647 h 11"/>
                <a:gd name="T10" fmla="*/ 2147483647 w 14"/>
                <a:gd name="T11" fmla="*/ 2147483647 h 11"/>
                <a:gd name="T12" fmla="*/ 2147483647 w 14"/>
                <a:gd name="T13" fmla="*/ 2147483647 h 11"/>
                <a:gd name="T14" fmla="*/ 2147483647 w 14"/>
                <a:gd name="T15" fmla="*/ 2147483647 h 11"/>
                <a:gd name="T16" fmla="*/ 2147483647 w 14"/>
                <a:gd name="T17" fmla="*/ 2147483647 h 11"/>
                <a:gd name="T18" fmla="*/ 0 w 14"/>
                <a:gd name="T19" fmla="*/ 2147483647 h 11"/>
                <a:gd name="T20" fmla="*/ 0 w 14"/>
                <a:gd name="T21" fmla="*/ 2147483647 h 11"/>
                <a:gd name="T22" fmla="*/ 2147483647 w 14"/>
                <a:gd name="T23" fmla="*/ 2147483647 h 11"/>
                <a:gd name="T24" fmla="*/ 2147483647 w 14"/>
                <a:gd name="T25" fmla="*/ 2147483647 h 11"/>
                <a:gd name="T26" fmla="*/ 2147483647 w 14"/>
                <a:gd name="T27" fmla="*/ 0 h 11"/>
                <a:gd name="T28" fmla="*/ 2147483647 w 14"/>
                <a:gd name="T29" fmla="*/ 2147483647 h 11"/>
                <a:gd name="T30" fmla="*/ 2147483647 w 14"/>
                <a:gd name="T31" fmla="*/ 2147483647 h 11"/>
                <a:gd name="T32" fmla="*/ 2147483647 w 14"/>
                <a:gd name="T33" fmla="*/ 2147483647 h 11"/>
                <a:gd name="T34" fmla="*/ 2147483647 w 14"/>
                <a:gd name="T35" fmla="*/ 2147483647 h 11"/>
                <a:gd name="T36" fmla="*/ 2147483647 w 14"/>
                <a:gd name="T37" fmla="*/ 2147483647 h 11"/>
                <a:gd name="T38" fmla="*/ 2147483647 w 14"/>
                <a:gd name="T39" fmla="*/ 2147483647 h 11"/>
                <a:gd name="T40" fmla="*/ 2147483647 w 14"/>
                <a:gd name="T41" fmla="*/ 2147483647 h 11"/>
                <a:gd name="T42" fmla="*/ 2147483647 w 14"/>
                <a:gd name="T43" fmla="*/ 2147483647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1"/>
                <a:gd name="T68" fmla="*/ 14 w 14"/>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1">
                  <a:moveTo>
                    <a:pt x="12" y="11"/>
                  </a:moveTo>
                  <a:cubicBezTo>
                    <a:pt x="11" y="9"/>
                    <a:pt x="11" y="9"/>
                    <a:pt x="11" y="9"/>
                  </a:cubicBezTo>
                  <a:cubicBezTo>
                    <a:pt x="10" y="9"/>
                    <a:pt x="10" y="9"/>
                    <a:pt x="10" y="9"/>
                  </a:cubicBezTo>
                  <a:cubicBezTo>
                    <a:pt x="10" y="9"/>
                    <a:pt x="9" y="9"/>
                    <a:pt x="9" y="9"/>
                  </a:cubicBezTo>
                  <a:cubicBezTo>
                    <a:pt x="9" y="9"/>
                    <a:pt x="9" y="9"/>
                    <a:pt x="9" y="9"/>
                  </a:cubicBezTo>
                  <a:cubicBezTo>
                    <a:pt x="7" y="8"/>
                    <a:pt x="7" y="8"/>
                    <a:pt x="7" y="8"/>
                  </a:cubicBezTo>
                  <a:cubicBezTo>
                    <a:pt x="6" y="9"/>
                    <a:pt x="6" y="9"/>
                    <a:pt x="6" y="9"/>
                  </a:cubicBezTo>
                  <a:cubicBezTo>
                    <a:pt x="4" y="9"/>
                    <a:pt x="4" y="9"/>
                    <a:pt x="4" y="9"/>
                  </a:cubicBezTo>
                  <a:cubicBezTo>
                    <a:pt x="1" y="6"/>
                    <a:pt x="1" y="6"/>
                    <a:pt x="1" y="6"/>
                  </a:cubicBezTo>
                  <a:cubicBezTo>
                    <a:pt x="0" y="3"/>
                    <a:pt x="0" y="3"/>
                    <a:pt x="0" y="3"/>
                  </a:cubicBezTo>
                  <a:cubicBezTo>
                    <a:pt x="0" y="3"/>
                    <a:pt x="0" y="3"/>
                    <a:pt x="0" y="3"/>
                  </a:cubicBezTo>
                  <a:cubicBezTo>
                    <a:pt x="1" y="4"/>
                    <a:pt x="1" y="4"/>
                    <a:pt x="1" y="4"/>
                  </a:cubicBezTo>
                  <a:cubicBezTo>
                    <a:pt x="5" y="1"/>
                    <a:pt x="5" y="1"/>
                    <a:pt x="5" y="1"/>
                  </a:cubicBezTo>
                  <a:cubicBezTo>
                    <a:pt x="5" y="0"/>
                    <a:pt x="5" y="0"/>
                    <a:pt x="5" y="0"/>
                  </a:cubicBezTo>
                  <a:cubicBezTo>
                    <a:pt x="6" y="1"/>
                    <a:pt x="6" y="1"/>
                    <a:pt x="6" y="1"/>
                  </a:cubicBezTo>
                  <a:cubicBezTo>
                    <a:pt x="7" y="1"/>
                    <a:pt x="7" y="1"/>
                    <a:pt x="7" y="1"/>
                  </a:cubicBezTo>
                  <a:cubicBezTo>
                    <a:pt x="9" y="2"/>
                    <a:pt x="9" y="2"/>
                    <a:pt x="9" y="2"/>
                  </a:cubicBezTo>
                  <a:cubicBezTo>
                    <a:pt x="11" y="4"/>
                    <a:pt x="11" y="4"/>
                    <a:pt x="11" y="4"/>
                  </a:cubicBezTo>
                  <a:cubicBezTo>
                    <a:pt x="12" y="3"/>
                    <a:pt x="12" y="3"/>
                    <a:pt x="12" y="3"/>
                  </a:cubicBezTo>
                  <a:cubicBezTo>
                    <a:pt x="13" y="3"/>
                    <a:pt x="13" y="3"/>
                    <a:pt x="13" y="3"/>
                  </a:cubicBezTo>
                  <a:cubicBezTo>
                    <a:pt x="14" y="4"/>
                    <a:pt x="14" y="4"/>
                    <a:pt x="14" y="4"/>
                  </a:cubicBezTo>
                  <a:cubicBezTo>
                    <a:pt x="14" y="5"/>
                    <a:pt x="14" y="5"/>
                    <a:pt x="14" y="5"/>
                  </a:cubicBez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51" name="Freeform 973"/>
            <p:cNvSpPr>
              <a:spLocks/>
            </p:cNvSpPr>
            <p:nvPr/>
          </p:nvSpPr>
          <p:spPr bwMode="auto">
            <a:xfrm>
              <a:off x="2834" y="2222"/>
              <a:ext cx="76" cy="60"/>
            </a:xfrm>
            <a:custGeom>
              <a:avLst/>
              <a:gdLst>
                <a:gd name="T0" fmla="*/ 2147483647 w 14"/>
                <a:gd name="T1" fmla="*/ 2147483647 h 11"/>
                <a:gd name="T2" fmla="*/ 2147483647 w 14"/>
                <a:gd name="T3" fmla="*/ 2147483647 h 11"/>
                <a:gd name="T4" fmla="*/ 2147483647 w 14"/>
                <a:gd name="T5" fmla="*/ 2147483647 h 11"/>
                <a:gd name="T6" fmla="*/ 2147483647 w 14"/>
                <a:gd name="T7" fmla="*/ 2147483647 h 11"/>
                <a:gd name="T8" fmla="*/ 2147483647 w 14"/>
                <a:gd name="T9" fmla="*/ 2147483647 h 11"/>
                <a:gd name="T10" fmla="*/ 2147483647 w 14"/>
                <a:gd name="T11" fmla="*/ 2147483647 h 11"/>
                <a:gd name="T12" fmla="*/ 2147483647 w 14"/>
                <a:gd name="T13" fmla="*/ 2147483647 h 11"/>
                <a:gd name="T14" fmla="*/ 2147483647 w 14"/>
                <a:gd name="T15" fmla="*/ 2147483647 h 11"/>
                <a:gd name="T16" fmla="*/ 2147483647 w 14"/>
                <a:gd name="T17" fmla="*/ 2147483647 h 11"/>
                <a:gd name="T18" fmla="*/ 0 w 14"/>
                <a:gd name="T19" fmla="*/ 2147483647 h 11"/>
                <a:gd name="T20" fmla="*/ 0 w 14"/>
                <a:gd name="T21" fmla="*/ 2147483647 h 11"/>
                <a:gd name="T22" fmla="*/ 2147483647 w 14"/>
                <a:gd name="T23" fmla="*/ 2147483647 h 11"/>
                <a:gd name="T24" fmla="*/ 2147483647 w 14"/>
                <a:gd name="T25" fmla="*/ 2147483647 h 11"/>
                <a:gd name="T26" fmla="*/ 2147483647 w 14"/>
                <a:gd name="T27" fmla="*/ 0 h 11"/>
                <a:gd name="T28" fmla="*/ 2147483647 w 14"/>
                <a:gd name="T29" fmla="*/ 2147483647 h 11"/>
                <a:gd name="T30" fmla="*/ 2147483647 w 14"/>
                <a:gd name="T31" fmla="*/ 2147483647 h 11"/>
                <a:gd name="T32" fmla="*/ 2147483647 w 14"/>
                <a:gd name="T33" fmla="*/ 2147483647 h 11"/>
                <a:gd name="T34" fmla="*/ 2147483647 w 14"/>
                <a:gd name="T35" fmla="*/ 2147483647 h 11"/>
                <a:gd name="T36" fmla="*/ 2147483647 w 14"/>
                <a:gd name="T37" fmla="*/ 2147483647 h 11"/>
                <a:gd name="T38" fmla="*/ 2147483647 w 14"/>
                <a:gd name="T39" fmla="*/ 2147483647 h 11"/>
                <a:gd name="T40" fmla="*/ 2147483647 w 14"/>
                <a:gd name="T41" fmla="*/ 2147483647 h 11"/>
                <a:gd name="T42" fmla="*/ 2147483647 w 14"/>
                <a:gd name="T43" fmla="*/ 2147483647 h 1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
                <a:gd name="T67" fmla="*/ 0 h 11"/>
                <a:gd name="T68" fmla="*/ 14 w 14"/>
                <a:gd name="T69" fmla="*/ 11 h 1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 h="11">
                  <a:moveTo>
                    <a:pt x="12" y="11"/>
                  </a:moveTo>
                  <a:cubicBezTo>
                    <a:pt x="11" y="9"/>
                    <a:pt x="11" y="9"/>
                    <a:pt x="11" y="9"/>
                  </a:cubicBezTo>
                  <a:cubicBezTo>
                    <a:pt x="10" y="9"/>
                    <a:pt x="10" y="9"/>
                    <a:pt x="10" y="9"/>
                  </a:cubicBezTo>
                  <a:cubicBezTo>
                    <a:pt x="10" y="9"/>
                    <a:pt x="9" y="9"/>
                    <a:pt x="9" y="9"/>
                  </a:cubicBezTo>
                  <a:cubicBezTo>
                    <a:pt x="9" y="9"/>
                    <a:pt x="9" y="9"/>
                    <a:pt x="9" y="9"/>
                  </a:cubicBezTo>
                  <a:cubicBezTo>
                    <a:pt x="7" y="8"/>
                    <a:pt x="7" y="8"/>
                    <a:pt x="7" y="8"/>
                  </a:cubicBezTo>
                  <a:cubicBezTo>
                    <a:pt x="6" y="9"/>
                    <a:pt x="6" y="9"/>
                    <a:pt x="6" y="9"/>
                  </a:cubicBezTo>
                  <a:cubicBezTo>
                    <a:pt x="4" y="9"/>
                    <a:pt x="4" y="9"/>
                    <a:pt x="4" y="9"/>
                  </a:cubicBezTo>
                  <a:cubicBezTo>
                    <a:pt x="1" y="6"/>
                    <a:pt x="1" y="6"/>
                    <a:pt x="1" y="6"/>
                  </a:cubicBezTo>
                  <a:cubicBezTo>
                    <a:pt x="0" y="3"/>
                    <a:pt x="0" y="3"/>
                    <a:pt x="0" y="3"/>
                  </a:cubicBezTo>
                  <a:cubicBezTo>
                    <a:pt x="0" y="3"/>
                    <a:pt x="0" y="3"/>
                    <a:pt x="0" y="3"/>
                  </a:cubicBezTo>
                  <a:cubicBezTo>
                    <a:pt x="1" y="4"/>
                    <a:pt x="1" y="4"/>
                    <a:pt x="1" y="4"/>
                  </a:cubicBezTo>
                  <a:cubicBezTo>
                    <a:pt x="5" y="1"/>
                    <a:pt x="5" y="1"/>
                    <a:pt x="5" y="1"/>
                  </a:cubicBezTo>
                  <a:cubicBezTo>
                    <a:pt x="5" y="0"/>
                    <a:pt x="5" y="0"/>
                    <a:pt x="5" y="0"/>
                  </a:cubicBezTo>
                  <a:cubicBezTo>
                    <a:pt x="6" y="1"/>
                    <a:pt x="6" y="1"/>
                    <a:pt x="6" y="1"/>
                  </a:cubicBezTo>
                  <a:cubicBezTo>
                    <a:pt x="7" y="1"/>
                    <a:pt x="7" y="1"/>
                    <a:pt x="7" y="1"/>
                  </a:cubicBezTo>
                  <a:cubicBezTo>
                    <a:pt x="9" y="2"/>
                    <a:pt x="9" y="2"/>
                    <a:pt x="9" y="2"/>
                  </a:cubicBezTo>
                  <a:cubicBezTo>
                    <a:pt x="11" y="4"/>
                    <a:pt x="11" y="4"/>
                    <a:pt x="11" y="4"/>
                  </a:cubicBezTo>
                  <a:cubicBezTo>
                    <a:pt x="12" y="3"/>
                    <a:pt x="12" y="3"/>
                    <a:pt x="12" y="3"/>
                  </a:cubicBezTo>
                  <a:cubicBezTo>
                    <a:pt x="13" y="3"/>
                    <a:pt x="13" y="3"/>
                    <a:pt x="13" y="3"/>
                  </a:cubicBezTo>
                  <a:cubicBezTo>
                    <a:pt x="14" y="4"/>
                    <a:pt x="14" y="4"/>
                    <a:pt x="14" y="4"/>
                  </a:cubicBezTo>
                  <a:cubicBezTo>
                    <a:pt x="14" y="5"/>
                    <a:pt x="14" y="5"/>
                    <a:pt x="14" y="5"/>
                  </a:cubicBezTo>
                </a:path>
              </a:pathLst>
            </a:custGeom>
            <a:solidFill>
              <a:schemeClr val="accent2"/>
            </a:solidFill>
            <a:ln w="12700" cap="flat" cmpd="sng">
              <a:solidFill>
                <a:schemeClr val="bg1"/>
              </a:solidFill>
              <a:prstDash val="solid"/>
              <a:miter lim="800000"/>
              <a:headEnd/>
              <a:tailEnd/>
            </a:ln>
          </p:spPr>
          <p:txBody>
            <a:bodyPr/>
            <a:lstStyle/>
            <a:p>
              <a:endParaRPr lang="de-DE"/>
            </a:p>
          </p:txBody>
        </p:sp>
        <p:sp>
          <p:nvSpPr>
            <p:cNvPr id="356952" name="Freeform 974"/>
            <p:cNvSpPr>
              <a:spLocks/>
            </p:cNvSpPr>
            <p:nvPr/>
          </p:nvSpPr>
          <p:spPr bwMode="auto">
            <a:xfrm>
              <a:off x="2889" y="2249"/>
              <a:ext cx="81" cy="38"/>
            </a:xfrm>
            <a:custGeom>
              <a:avLst/>
              <a:gdLst>
                <a:gd name="T0" fmla="*/ 21 w 81"/>
                <a:gd name="T1" fmla="*/ 0 h 38"/>
                <a:gd name="T2" fmla="*/ 0 w 81"/>
                <a:gd name="T3" fmla="*/ 22 h 38"/>
                <a:gd name="T4" fmla="*/ 5 w 81"/>
                <a:gd name="T5" fmla="*/ 22 h 38"/>
                <a:gd name="T6" fmla="*/ 11 w 81"/>
                <a:gd name="T7" fmla="*/ 33 h 38"/>
                <a:gd name="T8" fmla="*/ 21 w 81"/>
                <a:gd name="T9" fmla="*/ 38 h 38"/>
                <a:gd name="T10" fmla="*/ 27 w 81"/>
                <a:gd name="T11" fmla="*/ 38 h 38"/>
                <a:gd name="T12" fmla="*/ 32 w 81"/>
                <a:gd name="T13" fmla="*/ 38 h 38"/>
                <a:gd name="T14" fmla="*/ 49 w 81"/>
                <a:gd name="T15" fmla="*/ 33 h 38"/>
                <a:gd name="T16" fmla="*/ 60 w 81"/>
                <a:gd name="T17" fmla="*/ 27 h 38"/>
                <a:gd name="T18" fmla="*/ 76 w 81"/>
                <a:gd name="T19" fmla="*/ 27 h 38"/>
                <a:gd name="T20" fmla="*/ 81 w 81"/>
                <a:gd name="T21" fmla="*/ 16 h 38"/>
                <a:gd name="T22" fmla="*/ 65 w 81"/>
                <a:gd name="T23" fmla="*/ 5 h 38"/>
                <a:gd name="T24" fmla="*/ 49 w 81"/>
                <a:gd name="T25" fmla="*/ 11 h 38"/>
                <a:gd name="T26" fmla="*/ 43 w 81"/>
                <a:gd name="T27" fmla="*/ 5 h 38"/>
                <a:gd name="T28" fmla="*/ 38 w 81"/>
                <a:gd name="T29" fmla="*/ 5 h 38"/>
                <a:gd name="T30" fmla="*/ 27 w 81"/>
                <a:gd name="T31" fmla="*/ 5 h 38"/>
                <a:gd name="T32" fmla="*/ 21 w 81"/>
                <a:gd name="T33" fmla="*/ 0 h 38"/>
                <a:gd name="T34" fmla="*/ 21 w 81"/>
                <a:gd name="T35" fmla="*/ 0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1"/>
                <a:gd name="T55" fmla="*/ 0 h 38"/>
                <a:gd name="T56" fmla="*/ 81 w 81"/>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1" h="38">
                  <a:moveTo>
                    <a:pt x="21" y="0"/>
                  </a:moveTo>
                  <a:lnTo>
                    <a:pt x="0" y="22"/>
                  </a:lnTo>
                  <a:lnTo>
                    <a:pt x="5" y="22"/>
                  </a:lnTo>
                  <a:lnTo>
                    <a:pt x="11" y="33"/>
                  </a:lnTo>
                  <a:lnTo>
                    <a:pt x="21" y="38"/>
                  </a:lnTo>
                  <a:lnTo>
                    <a:pt x="27" y="38"/>
                  </a:lnTo>
                  <a:lnTo>
                    <a:pt x="32" y="38"/>
                  </a:lnTo>
                  <a:lnTo>
                    <a:pt x="49" y="33"/>
                  </a:lnTo>
                  <a:lnTo>
                    <a:pt x="60" y="27"/>
                  </a:lnTo>
                  <a:lnTo>
                    <a:pt x="76" y="27"/>
                  </a:lnTo>
                  <a:lnTo>
                    <a:pt x="81" y="16"/>
                  </a:lnTo>
                  <a:lnTo>
                    <a:pt x="65" y="5"/>
                  </a:lnTo>
                  <a:lnTo>
                    <a:pt x="49" y="11"/>
                  </a:lnTo>
                  <a:lnTo>
                    <a:pt x="43" y="5"/>
                  </a:lnTo>
                  <a:lnTo>
                    <a:pt x="38" y="5"/>
                  </a:lnTo>
                  <a:lnTo>
                    <a:pt x="27" y="5"/>
                  </a:lnTo>
                  <a:lnTo>
                    <a:pt x="21" y="0"/>
                  </a:lnTo>
                  <a:close/>
                </a:path>
              </a:pathLst>
            </a:custGeom>
            <a:solidFill>
              <a:schemeClr val="accent2"/>
            </a:solidFill>
            <a:ln w="12700" cap="flat" cmpd="sng">
              <a:solidFill>
                <a:schemeClr val="bg1"/>
              </a:solidFill>
              <a:prstDash val="solid"/>
              <a:miter lim="800000"/>
              <a:headEnd/>
              <a:tailEnd/>
            </a:ln>
          </p:spPr>
          <p:txBody>
            <a:bodyPr/>
            <a:lstStyle/>
            <a:p>
              <a:endParaRPr lang="de-DE"/>
            </a:p>
          </p:txBody>
        </p:sp>
      </p:grpSp>
      <p:sp>
        <p:nvSpPr>
          <p:cNvPr id="356379" name="Rectangle 302"/>
          <p:cNvSpPr>
            <a:spLocks noChangeArrowheads="1"/>
          </p:cNvSpPr>
          <p:nvPr/>
        </p:nvSpPr>
        <p:spPr bwMode="auto">
          <a:xfrm>
            <a:off x="865188" y="2146300"/>
            <a:ext cx="1751012"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Mountain View</a:t>
            </a:r>
          </a:p>
        </p:txBody>
      </p:sp>
      <p:sp>
        <p:nvSpPr>
          <p:cNvPr id="356380" name="Line 44"/>
          <p:cNvSpPr>
            <a:spLocks noChangeShapeType="1"/>
          </p:cNvSpPr>
          <p:nvPr/>
        </p:nvSpPr>
        <p:spPr bwMode="gray">
          <a:xfrm flipH="1" flipV="1">
            <a:off x="1535113" y="2627313"/>
            <a:ext cx="217487" cy="1252537"/>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3" name="Ellipse 2"/>
          <p:cNvSpPr/>
          <p:nvPr/>
        </p:nvSpPr>
        <p:spPr>
          <a:xfrm>
            <a:off x="1719263" y="3835400"/>
            <a:ext cx="82550" cy="8096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de-DE" dirty="0" err="1">
              <a:solidFill>
                <a:schemeClr val="tx1"/>
              </a:solidFill>
            </a:endParaRPr>
          </a:p>
        </p:txBody>
      </p:sp>
      <p:sp>
        <p:nvSpPr>
          <p:cNvPr id="356382" name="Line 44"/>
          <p:cNvSpPr>
            <a:spLocks noChangeShapeType="1"/>
          </p:cNvSpPr>
          <p:nvPr/>
        </p:nvSpPr>
        <p:spPr bwMode="gray">
          <a:xfrm flipV="1">
            <a:off x="4297363" y="2157413"/>
            <a:ext cx="984250" cy="1493837"/>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965" name="Ellipse 964"/>
          <p:cNvSpPr/>
          <p:nvPr/>
        </p:nvSpPr>
        <p:spPr>
          <a:xfrm>
            <a:off x="4264025" y="3606800"/>
            <a:ext cx="82550" cy="8255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de-DE" dirty="0" err="1">
              <a:solidFill>
                <a:schemeClr val="tx1"/>
              </a:solidFill>
            </a:endParaRPr>
          </a:p>
        </p:txBody>
      </p:sp>
      <p:sp>
        <p:nvSpPr>
          <p:cNvPr id="356384" name="Rectangle 302"/>
          <p:cNvSpPr>
            <a:spLocks noChangeArrowheads="1"/>
          </p:cNvSpPr>
          <p:nvPr/>
        </p:nvSpPr>
        <p:spPr bwMode="auto">
          <a:xfrm>
            <a:off x="4616450" y="1712913"/>
            <a:ext cx="1666875"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Berlin 1</a:t>
            </a:r>
          </a:p>
        </p:txBody>
      </p:sp>
      <p:sp>
        <p:nvSpPr>
          <p:cNvPr id="356385" name="Rectangle 302"/>
          <p:cNvSpPr>
            <a:spLocks noChangeArrowheads="1"/>
          </p:cNvSpPr>
          <p:nvPr/>
        </p:nvSpPr>
        <p:spPr bwMode="auto">
          <a:xfrm>
            <a:off x="5316538" y="2039938"/>
            <a:ext cx="1666875" cy="423862"/>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Berlin 2</a:t>
            </a:r>
          </a:p>
        </p:txBody>
      </p:sp>
      <p:sp>
        <p:nvSpPr>
          <p:cNvPr id="356386" name="Line 44"/>
          <p:cNvSpPr>
            <a:spLocks noChangeShapeType="1"/>
          </p:cNvSpPr>
          <p:nvPr/>
        </p:nvSpPr>
        <p:spPr bwMode="gray">
          <a:xfrm flipV="1">
            <a:off x="4316413" y="2487613"/>
            <a:ext cx="1608137" cy="1147762"/>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969" name="Ellipse 968"/>
          <p:cNvSpPr/>
          <p:nvPr/>
        </p:nvSpPr>
        <p:spPr>
          <a:xfrm>
            <a:off x="4213225" y="3673475"/>
            <a:ext cx="80963" cy="8096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de-DE" dirty="0" err="1">
              <a:solidFill>
                <a:schemeClr val="tx1"/>
              </a:solidFill>
            </a:endParaRPr>
          </a:p>
        </p:txBody>
      </p:sp>
      <p:sp>
        <p:nvSpPr>
          <p:cNvPr id="356388" name="Line 44"/>
          <p:cNvSpPr>
            <a:spLocks noChangeShapeType="1"/>
          </p:cNvSpPr>
          <p:nvPr/>
        </p:nvSpPr>
        <p:spPr bwMode="gray">
          <a:xfrm flipH="1" flipV="1">
            <a:off x="3906838" y="3219450"/>
            <a:ext cx="346075" cy="490538"/>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356389" name="Rectangle 302"/>
          <p:cNvSpPr>
            <a:spLocks noChangeArrowheads="1"/>
          </p:cNvSpPr>
          <p:nvPr/>
        </p:nvSpPr>
        <p:spPr bwMode="auto">
          <a:xfrm>
            <a:off x="2960688" y="2755900"/>
            <a:ext cx="1666875"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Bonn</a:t>
            </a:r>
          </a:p>
        </p:txBody>
      </p:sp>
      <p:sp>
        <p:nvSpPr>
          <p:cNvPr id="972" name="Ellipse 971"/>
          <p:cNvSpPr/>
          <p:nvPr/>
        </p:nvSpPr>
        <p:spPr>
          <a:xfrm>
            <a:off x="4760913" y="4168775"/>
            <a:ext cx="80962" cy="82550"/>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de-DE" dirty="0" err="1">
              <a:solidFill>
                <a:schemeClr val="tx1"/>
              </a:solidFill>
            </a:endParaRPr>
          </a:p>
        </p:txBody>
      </p:sp>
      <p:sp>
        <p:nvSpPr>
          <p:cNvPr id="356391" name="Line 44"/>
          <p:cNvSpPr>
            <a:spLocks noChangeShapeType="1"/>
          </p:cNvSpPr>
          <p:nvPr/>
        </p:nvSpPr>
        <p:spPr bwMode="gray">
          <a:xfrm flipV="1">
            <a:off x="4808538" y="3571875"/>
            <a:ext cx="1135062" cy="635000"/>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356392" name="Rectangle 302"/>
          <p:cNvSpPr>
            <a:spLocks noChangeArrowheads="1"/>
          </p:cNvSpPr>
          <p:nvPr/>
        </p:nvSpPr>
        <p:spPr bwMode="auto">
          <a:xfrm>
            <a:off x="5621338" y="3114675"/>
            <a:ext cx="1666875"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Tel Aviv</a:t>
            </a:r>
          </a:p>
        </p:txBody>
      </p:sp>
      <p:sp>
        <p:nvSpPr>
          <p:cNvPr id="356393" name="Rectangle 302"/>
          <p:cNvSpPr>
            <a:spLocks noChangeArrowheads="1"/>
          </p:cNvSpPr>
          <p:nvPr/>
        </p:nvSpPr>
        <p:spPr bwMode="auto">
          <a:xfrm>
            <a:off x="2127250" y="3416300"/>
            <a:ext cx="1666875"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Darmstadt</a:t>
            </a:r>
          </a:p>
        </p:txBody>
      </p:sp>
      <p:sp>
        <p:nvSpPr>
          <p:cNvPr id="356394" name="Line 44"/>
          <p:cNvSpPr>
            <a:spLocks noChangeShapeType="1"/>
          </p:cNvSpPr>
          <p:nvPr/>
        </p:nvSpPr>
        <p:spPr bwMode="gray">
          <a:xfrm flipH="1" flipV="1">
            <a:off x="3840163" y="3673475"/>
            <a:ext cx="423862" cy="69850"/>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sp>
        <p:nvSpPr>
          <p:cNvPr id="356395" name="Rectangle 302"/>
          <p:cNvSpPr>
            <a:spLocks noChangeArrowheads="1"/>
          </p:cNvSpPr>
          <p:nvPr/>
        </p:nvSpPr>
        <p:spPr bwMode="auto">
          <a:xfrm>
            <a:off x="5856288" y="3444875"/>
            <a:ext cx="1666875" cy="422275"/>
          </a:xfrm>
          <a:prstGeom prst="rect">
            <a:avLst/>
          </a:prstGeom>
          <a:solidFill>
            <a:schemeClr val="tx2"/>
          </a:solidFill>
          <a:ln w="12700">
            <a:solidFill>
              <a:schemeClr val="bg1"/>
            </a:solidFill>
            <a:miter lim="800000"/>
            <a:headEnd/>
            <a:tailEnd/>
          </a:ln>
        </p:spPr>
        <p:txBody>
          <a:bodyPr lIns="144000" tIns="72000" rIns="144000" bIns="72000">
            <a:spAutoFit/>
          </a:bodyPr>
          <a:lstStyle/>
          <a:p>
            <a:pPr algn="ctr">
              <a:lnSpc>
                <a:spcPct val="90000"/>
              </a:lnSpc>
              <a:spcBef>
                <a:spcPct val="50000"/>
              </a:spcBef>
              <a:buClr>
                <a:schemeClr val="tx2"/>
              </a:buClr>
              <a:buSzPct val="75000"/>
              <a:buFont typeface="Wingdings" pitchFamily="2" charset="2"/>
              <a:buNone/>
            </a:pPr>
            <a:r>
              <a:rPr lang="de-DE" sz="2000">
                <a:solidFill>
                  <a:schemeClr val="bg1"/>
                </a:solidFill>
              </a:rPr>
              <a:t>Beer Sheva</a:t>
            </a:r>
          </a:p>
        </p:txBody>
      </p:sp>
      <p:sp>
        <p:nvSpPr>
          <p:cNvPr id="356396" name="Line 44"/>
          <p:cNvSpPr>
            <a:spLocks noChangeShapeType="1"/>
          </p:cNvSpPr>
          <p:nvPr/>
        </p:nvSpPr>
        <p:spPr bwMode="gray">
          <a:xfrm flipV="1">
            <a:off x="4822825" y="3724275"/>
            <a:ext cx="1273175" cy="493713"/>
          </a:xfrm>
          <a:prstGeom prst="line">
            <a:avLst/>
          </a:prstGeom>
          <a:noFill/>
          <a:ln w="12700">
            <a:solidFill>
              <a:schemeClr val="tx2"/>
            </a:solidFill>
            <a:round/>
            <a:headEnd/>
            <a:tailEnd type="triangle" w="med" len="med"/>
          </a:ln>
        </p:spPr>
        <p:txBody>
          <a:bodyPr lIns="144000" tIns="72000" rIns="144000" bIns="72000">
            <a:spAutoFit/>
          </a:bodyPr>
          <a:lstStyle/>
          <a:p>
            <a:endParaRPr lang="de-DE"/>
          </a:p>
        </p:txBody>
      </p:sp>
      <p:pic>
        <p:nvPicPr>
          <p:cNvPr id="356397" name="Picture 3" descr="01"/>
          <p:cNvPicPr>
            <a:picLocks noChangeAspect="1" noChangeArrowheads="1"/>
          </p:cNvPicPr>
          <p:nvPr/>
        </p:nvPicPr>
        <p:blipFill>
          <a:blip r:embed="rId6"/>
          <a:srcRect/>
          <a:stretch>
            <a:fillRect/>
          </a:stretch>
        </p:blipFill>
        <p:spPr bwMode="auto">
          <a:xfrm rot="-382469">
            <a:off x="3248025" y="2047875"/>
            <a:ext cx="1106488" cy="739775"/>
          </a:xfrm>
          <a:prstGeom prst="rect">
            <a:avLst/>
          </a:prstGeom>
          <a:noFill/>
          <a:ln w="9525">
            <a:noFill/>
            <a:miter lim="800000"/>
            <a:headEnd/>
            <a:tailEnd/>
          </a:ln>
        </p:spPr>
      </p:pic>
      <p:pic>
        <p:nvPicPr>
          <p:cNvPr id="356398" name="Picture 2" descr="06"/>
          <p:cNvPicPr>
            <a:picLocks noChangeAspect="1" noChangeArrowheads="1"/>
          </p:cNvPicPr>
          <p:nvPr/>
        </p:nvPicPr>
        <p:blipFill>
          <a:blip r:embed="rId7"/>
          <a:srcRect/>
          <a:stretch>
            <a:fillRect/>
          </a:stretch>
        </p:blipFill>
        <p:spPr bwMode="auto">
          <a:xfrm rot="807674">
            <a:off x="6750050" y="2035175"/>
            <a:ext cx="1535113" cy="946150"/>
          </a:xfrm>
          <a:prstGeom prst="rect">
            <a:avLst/>
          </a:prstGeom>
          <a:noFill/>
          <a:ln w="9525">
            <a:noFill/>
            <a:miter lim="800000"/>
            <a:headEnd/>
            <a:tailEnd/>
          </a:ln>
        </p:spPr>
      </p:pic>
      <p:pic>
        <p:nvPicPr>
          <p:cNvPr id="356399" name="Picture 2" descr="Jahresbericht10_TEL_2"/>
          <p:cNvPicPr>
            <a:picLocks noChangeAspect="1" noChangeArrowheads="1"/>
          </p:cNvPicPr>
          <p:nvPr/>
        </p:nvPicPr>
        <p:blipFill>
          <a:blip r:embed="rId8"/>
          <a:srcRect/>
          <a:stretch>
            <a:fillRect/>
          </a:stretch>
        </p:blipFill>
        <p:spPr bwMode="auto">
          <a:xfrm rot="339692">
            <a:off x="5935663" y="1190625"/>
            <a:ext cx="1320800" cy="915988"/>
          </a:xfrm>
          <a:prstGeom prst="rect">
            <a:avLst/>
          </a:prstGeom>
          <a:noFill/>
          <a:ln w="9525">
            <a:noFill/>
            <a:miter lim="800000"/>
            <a:headEnd/>
            <a:tailEnd/>
          </a:ln>
        </p:spPr>
      </p:pic>
      <p:pic>
        <p:nvPicPr>
          <p:cNvPr id="356400" name="Picture 4" descr="04"/>
          <p:cNvPicPr>
            <a:picLocks noChangeAspect="1" noChangeArrowheads="1"/>
          </p:cNvPicPr>
          <p:nvPr/>
        </p:nvPicPr>
        <p:blipFill>
          <a:blip r:embed="rId9"/>
          <a:srcRect/>
          <a:stretch>
            <a:fillRect/>
          </a:stretch>
        </p:blipFill>
        <p:spPr bwMode="auto">
          <a:xfrm rot="-1190162">
            <a:off x="201613" y="2652713"/>
            <a:ext cx="1257300" cy="838200"/>
          </a:xfrm>
          <a:prstGeom prst="rect">
            <a:avLst/>
          </a:prstGeom>
          <a:noFill/>
          <a:ln w="9525">
            <a:noFill/>
            <a:miter lim="800000"/>
            <a:headEnd/>
            <a:tailEnd/>
          </a:ln>
        </p:spPr>
      </p:pic>
      <p:pic>
        <p:nvPicPr>
          <p:cNvPr id="356401" name="Picture 5" descr="03"/>
          <p:cNvPicPr>
            <a:picLocks noChangeAspect="1" noChangeArrowheads="1"/>
          </p:cNvPicPr>
          <p:nvPr/>
        </p:nvPicPr>
        <p:blipFill>
          <a:blip r:embed="rId10"/>
          <a:srcRect/>
          <a:stretch>
            <a:fillRect/>
          </a:stretch>
        </p:blipFill>
        <p:spPr bwMode="auto">
          <a:xfrm rot="-561019">
            <a:off x="2855913" y="3817938"/>
            <a:ext cx="1041400" cy="641350"/>
          </a:xfrm>
          <a:prstGeom prst="rect">
            <a:avLst/>
          </a:prstGeom>
          <a:noFill/>
          <a:ln w="9525">
            <a:noFill/>
            <a:miter lim="800000"/>
            <a:headEnd/>
            <a:tailEnd/>
          </a:ln>
        </p:spPr>
      </p:pic>
      <p:pic>
        <p:nvPicPr>
          <p:cNvPr id="356402" name="Grafik 1"/>
          <p:cNvPicPr>
            <a:picLocks noChangeAspect="1"/>
          </p:cNvPicPr>
          <p:nvPr/>
        </p:nvPicPr>
        <p:blipFill>
          <a:blip r:embed="rId11"/>
          <a:srcRect/>
          <a:stretch>
            <a:fillRect/>
          </a:stretch>
        </p:blipFill>
        <p:spPr bwMode="auto">
          <a:xfrm rot="819775">
            <a:off x="7113588" y="3794125"/>
            <a:ext cx="1209675" cy="9080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4098" name="AutoShape 3"/>
          <p:cNvSpPr>
            <a:spLocks noChangeArrowheads="1"/>
          </p:cNvSpPr>
          <p:nvPr/>
        </p:nvSpPr>
        <p:spPr bwMode="auto">
          <a:xfrm rot="-5400000">
            <a:off x="3383757" y="267493"/>
            <a:ext cx="2413000" cy="8570913"/>
          </a:xfrm>
          <a:prstGeom prst="homePlate">
            <a:avLst>
              <a:gd name="adj" fmla="val 81441"/>
            </a:avLst>
          </a:prstGeom>
          <a:gradFill rotWithShape="1">
            <a:gsLst>
              <a:gs pos="0">
                <a:schemeClr val="bg1"/>
              </a:gs>
              <a:gs pos="100000">
                <a:srgbClr val="DCDCDC"/>
              </a:gs>
            </a:gsLst>
            <a:lin ang="5400000" scaled="1"/>
          </a:gradFill>
          <a:ln w="38100" algn="ctr">
            <a:solidFill>
              <a:schemeClr val="tx2"/>
            </a:solidFill>
            <a:miter lim="800000"/>
            <a:headEnd/>
            <a:tailEnd/>
          </a:ln>
          <a:effectLst>
            <a:outerShdw dist="38100" dir="5400000" algn="t" rotWithShape="0">
              <a:srgbClr val="000000">
                <a:alpha val="39998"/>
              </a:srgbClr>
            </a:outerShdw>
          </a:effectLst>
        </p:spPr>
        <p:txBody>
          <a:bodyPr rot="10800000" lIns="90000" tIns="396000" rIns="36000" bIns="0"/>
          <a:lstStyle/>
          <a:p>
            <a:pPr>
              <a:lnSpc>
                <a:spcPts val="1800"/>
              </a:lnSpc>
              <a:spcBef>
                <a:spcPct val="50000"/>
              </a:spcBef>
              <a:buClr>
                <a:srgbClr val="E20074"/>
              </a:buClr>
              <a:buSzPct val="75000"/>
              <a:buFont typeface="Wingdings" pitchFamily="2" charset="2"/>
              <a:buNone/>
              <a:defRPr/>
            </a:pPr>
            <a:endParaRPr lang="en-US">
              <a:solidFill>
                <a:srgbClr val="000000"/>
              </a:solidFill>
              <a:latin typeface="Tele-GroteskFet" pitchFamily="2" charset="0"/>
            </a:endParaRPr>
          </a:p>
        </p:txBody>
      </p:sp>
      <p:sp>
        <p:nvSpPr>
          <p:cNvPr id="4099" name="Freeform 4"/>
          <p:cNvSpPr>
            <a:spLocks/>
          </p:cNvSpPr>
          <p:nvPr/>
        </p:nvSpPr>
        <p:spPr bwMode="auto">
          <a:xfrm>
            <a:off x="304800" y="1393825"/>
            <a:ext cx="4146550" cy="3622675"/>
          </a:xfrm>
          <a:custGeom>
            <a:avLst/>
            <a:gdLst>
              <a:gd name="T0" fmla="*/ 2147483647 w 2638"/>
              <a:gd name="T1" fmla="*/ 0 h 1627"/>
              <a:gd name="T2" fmla="*/ 0 w 2638"/>
              <a:gd name="T3" fmla="*/ 0 h 1627"/>
              <a:gd name="T4" fmla="*/ 0 w 2638"/>
              <a:gd name="T5" fmla="*/ 2147483647 h 1627"/>
              <a:gd name="T6" fmla="*/ 2147483647 w 2638"/>
              <a:gd name="T7" fmla="*/ 2147483647 h 1627"/>
              <a:gd name="T8" fmla="*/ 2147483647 w 2638"/>
              <a:gd name="T9" fmla="*/ 0 h 16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38" h="1627">
                <a:moveTo>
                  <a:pt x="2638" y="0"/>
                </a:moveTo>
                <a:lnTo>
                  <a:pt x="0" y="0"/>
                </a:lnTo>
                <a:lnTo>
                  <a:pt x="0" y="1627"/>
                </a:lnTo>
                <a:lnTo>
                  <a:pt x="2638" y="764"/>
                </a:lnTo>
                <a:lnTo>
                  <a:pt x="2638" y="0"/>
                </a:lnTo>
                <a:close/>
              </a:path>
            </a:pathLst>
          </a:custGeom>
          <a:gradFill rotWithShape="1">
            <a:gsLst>
              <a:gs pos="0">
                <a:schemeClr val="bg1"/>
              </a:gs>
              <a:gs pos="100000">
                <a:srgbClr val="DCDCDC"/>
              </a:gs>
            </a:gsLst>
            <a:lin ang="5400000" scaled="1"/>
          </a:gradFill>
          <a:ln w="38100" cap="flat" cmpd="sng">
            <a:solidFill>
              <a:schemeClr val="tx2"/>
            </a:solidFill>
            <a:prstDash val="solid"/>
            <a:round/>
            <a:headEnd type="none" w="med" len="med"/>
            <a:tailEnd type="none" w="med" len="med"/>
          </a:ln>
          <a:effectLst>
            <a:outerShdw dist="38100" dir="5400000" algn="t" rotWithShape="0">
              <a:srgbClr val="000000">
                <a:alpha val="39998"/>
              </a:srgbClr>
            </a:outerShdw>
          </a:effectLst>
        </p:spPr>
        <p:txBody>
          <a:bodyPr lIns="90000" tIns="396000" rIns="36000" bIns="0"/>
          <a:lstStyle/>
          <a:p>
            <a:pPr>
              <a:lnSpc>
                <a:spcPts val="1800"/>
              </a:lnSpc>
              <a:spcBef>
                <a:spcPct val="50000"/>
              </a:spcBef>
              <a:buClr>
                <a:schemeClr val="tx2"/>
              </a:buClr>
              <a:buSzPct val="75000"/>
              <a:buFont typeface="Wingdings" pitchFamily="2" charset="2"/>
              <a:buNone/>
              <a:defRPr/>
            </a:pPr>
            <a:endParaRPr lang="en-US">
              <a:latin typeface="Tele-GroteskFet" pitchFamily="2" charset="0"/>
            </a:endParaRPr>
          </a:p>
        </p:txBody>
      </p:sp>
      <p:graphicFrame>
        <p:nvGraphicFramePr>
          <p:cNvPr id="357399" name="Object 23"/>
          <p:cNvGraphicFramePr>
            <a:graphicFrameLocks/>
          </p:cNvGraphicFramePr>
          <p:nvPr>
            <p:custDataLst>
              <p:tags r:id="rId2"/>
            </p:custDataLst>
          </p:nvPr>
        </p:nvGraphicFramePr>
        <p:xfrm>
          <a:off x="0" y="0"/>
          <a:ext cx="158750" cy="158750"/>
        </p:xfrm>
        <a:graphic>
          <a:graphicData uri="http://schemas.openxmlformats.org/presentationml/2006/ole">
            <p:oleObj spid="_x0000_s357399" name="think-cell Folie" r:id="rId4" imgW="360" imgH="360" progId="">
              <p:embed/>
            </p:oleObj>
          </a:graphicData>
        </a:graphic>
      </p:graphicFrame>
      <p:sp>
        <p:nvSpPr>
          <p:cNvPr id="3" name="Titel 2"/>
          <p:cNvSpPr>
            <a:spLocks noGrp="1"/>
          </p:cNvSpPr>
          <p:nvPr>
            <p:ph type="title"/>
          </p:nvPr>
        </p:nvSpPr>
        <p:spPr>
          <a:xfrm>
            <a:off x="304800" y="333375"/>
            <a:ext cx="8496300" cy="830263"/>
          </a:xfrm>
        </p:spPr>
        <p:txBody>
          <a:bodyPr/>
          <a:lstStyle/>
          <a:p>
            <a:pPr eaLnBrk="1" hangingPunct="1">
              <a:defRPr/>
            </a:pPr>
            <a:r>
              <a:rPr lang="en-US" smtClean="0">
                <a:ea typeface="+mj-ea"/>
              </a:rPr>
              <a:t>T-LABS – OPEN INNOVATION</a:t>
            </a:r>
            <a:br>
              <a:rPr lang="en-US" smtClean="0">
                <a:ea typeface="+mj-ea"/>
              </a:rPr>
            </a:br>
            <a:r>
              <a:rPr lang="en-US" smtClean="0">
                <a:latin typeface="+mn-lt"/>
                <a:ea typeface="+mj-ea"/>
              </a:rPr>
              <a:t>A LONG-TERM SUCCESS FOR DEUTSCHE TELEKOM</a:t>
            </a:r>
            <a:endParaRPr lang="en-US">
              <a:latin typeface="+mn-lt"/>
              <a:ea typeface="+mj-ea"/>
            </a:endParaRPr>
          </a:p>
        </p:txBody>
      </p:sp>
      <p:sp>
        <p:nvSpPr>
          <p:cNvPr id="357404" name="Foliennummernplatzhalter 1"/>
          <p:cNvSpPr>
            <a:spLocks noGrp="1"/>
          </p:cNvSpPr>
          <p:nvPr>
            <p:ph type="sldNum" sz="quarter" idx="12"/>
          </p:nvPr>
        </p:nvSpPr>
        <p:spPr>
          <a:xfrm>
            <a:off x="8540750" y="6430963"/>
            <a:ext cx="288925" cy="139700"/>
          </a:xfrm>
          <a:noFill/>
        </p:spPr>
        <p:txBody>
          <a:bodyPr/>
          <a:lstStyle/>
          <a:p>
            <a:fld id="{56D7A5F7-E0E1-4EB1-9122-1993F929A8DF}" type="slidenum">
              <a:rPr lang="en-US" smtClean="0">
                <a:solidFill>
                  <a:srgbClr val="000000"/>
                </a:solidFill>
                <a:latin typeface="Tele-GroteskNor"/>
                <a:cs typeface="Arial" charset="0"/>
              </a:rPr>
              <a:pPr/>
              <a:t>4</a:t>
            </a:fld>
            <a:endParaRPr lang="en-US" smtClean="0">
              <a:solidFill>
                <a:srgbClr val="000000"/>
              </a:solidFill>
              <a:latin typeface="Tele-GroteskNor"/>
              <a:cs typeface="Arial" charset="0"/>
            </a:endParaRPr>
          </a:p>
        </p:txBody>
      </p:sp>
      <p:sp>
        <p:nvSpPr>
          <p:cNvPr id="4103" name="Freeform 5"/>
          <p:cNvSpPr>
            <a:spLocks/>
          </p:cNvSpPr>
          <p:nvPr/>
        </p:nvSpPr>
        <p:spPr bwMode="auto">
          <a:xfrm flipH="1">
            <a:off x="4724400" y="1393825"/>
            <a:ext cx="4160838" cy="3652838"/>
          </a:xfrm>
          <a:custGeom>
            <a:avLst/>
            <a:gdLst>
              <a:gd name="T0" fmla="*/ 2147483647 w 2638"/>
              <a:gd name="T1" fmla="*/ 0 h 1627"/>
              <a:gd name="T2" fmla="*/ 0 w 2638"/>
              <a:gd name="T3" fmla="*/ 0 h 1627"/>
              <a:gd name="T4" fmla="*/ 0 w 2638"/>
              <a:gd name="T5" fmla="*/ 2147483647 h 1627"/>
              <a:gd name="T6" fmla="*/ 2147483647 w 2638"/>
              <a:gd name="T7" fmla="*/ 2147483647 h 1627"/>
              <a:gd name="T8" fmla="*/ 2147483647 w 2638"/>
              <a:gd name="T9" fmla="*/ 0 h 162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38" h="1627">
                <a:moveTo>
                  <a:pt x="2638" y="0"/>
                </a:moveTo>
                <a:lnTo>
                  <a:pt x="0" y="0"/>
                </a:lnTo>
                <a:lnTo>
                  <a:pt x="0" y="1627"/>
                </a:lnTo>
                <a:lnTo>
                  <a:pt x="2638" y="764"/>
                </a:lnTo>
                <a:lnTo>
                  <a:pt x="2638" y="0"/>
                </a:lnTo>
                <a:close/>
              </a:path>
            </a:pathLst>
          </a:custGeom>
          <a:gradFill rotWithShape="1">
            <a:gsLst>
              <a:gs pos="0">
                <a:schemeClr val="bg1"/>
              </a:gs>
              <a:gs pos="100000">
                <a:srgbClr val="DCDCDC"/>
              </a:gs>
            </a:gsLst>
            <a:lin ang="5400000" scaled="1"/>
          </a:gradFill>
          <a:ln w="38100" cap="flat" cmpd="sng">
            <a:solidFill>
              <a:schemeClr val="tx2"/>
            </a:solidFill>
            <a:prstDash val="solid"/>
            <a:round/>
            <a:headEnd type="none" w="med" len="med"/>
            <a:tailEnd type="none" w="med" len="med"/>
          </a:ln>
          <a:effectLst>
            <a:outerShdw dist="38100" dir="5400000" algn="t" rotWithShape="0">
              <a:srgbClr val="000000">
                <a:alpha val="39998"/>
              </a:srgbClr>
            </a:outerShdw>
          </a:effectLst>
        </p:spPr>
        <p:txBody>
          <a:bodyPr lIns="90000" tIns="396000" rIns="36000" bIns="0"/>
          <a:lstStyle/>
          <a:p>
            <a:pPr>
              <a:lnSpc>
                <a:spcPts val="1800"/>
              </a:lnSpc>
              <a:spcBef>
                <a:spcPct val="50000"/>
              </a:spcBef>
              <a:buClr>
                <a:schemeClr val="tx2"/>
              </a:buClr>
              <a:buSzPct val="75000"/>
              <a:buFont typeface="Wingdings" pitchFamily="2" charset="2"/>
              <a:buNone/>
              <a:defRPr/>
            </a:pPr>
            <a:endParaRPr lang="en-US">
              <a:latin typeface="Tele-GroteskFet" pitchFamily="2" charset="0"/>
            </a:endParaRPr>
          </a:p>
        </p:txBody>
      </p:sp>
      <p:sp>
        <p:nvSpPr>
          <p:cNvPr id="357406" name="Freeform 325"/>
          <p:cNvSpPr>
            <a:spLocks/>
          </p:cNvSpPr>
          <p:nvPr/>
        </p:nvSpPr>
        <p:spPr bwMode="auto">
          <a:xfrm>
            <a:off x="2998788" y="5546725"/>
            <a:ext cx="36512" cy="26988"/>
          </a:xfrm>
          <a:custGeom>
            <a:avLst/>
            <a:gdLst>
              <a:gd name="T0" fmla="*/ 0 w 92"/>
              <a:gd name="T1" fmla="*/ 2147483647 h 66"/>
              <a:gd name="T2" fmla="*/ 2147483647 w 92"/>
              <a:gd name="T3" fmla="*/ 2147483647 h 66"/>
              <a:gd name="T4" fmla="*/ 2147483647 w 92"/>
              <a:gd name="T5" fmla="*/ 2147483647 h 66"/>
              <a:gd name="T6" fmla="*/ 2147483647 w 92"/>
              <a:gd name="T7" fmla="*/ 2147483647 h 66"/>
              <a:gd name="T8" fmla="*/ 2147483647 w 92"/>
              <a:gd name="T9" fmla="*/ 2147483647 h 66"/>
              <a:gd name="T10" fmla="*/ 2147483647 w 92"/>
              <a:gd name="T11" fmla="*/ 2147483647 h 66"/>
              <a:gd name="T12" fmla="*/ 2147483647 w 92"/>
              <a:gd name="T13" fmla="*/ 2147483647 h 66"/>
              <a:gd name="T14" fmla="*/ 2147483647 w 92"/>
              <a:gd name="T15" fmla="*/ 2147483647 h 66"/>
              <a:gd name="T16" fmla="*/ 2147483647 w 92"/>
              <a:gd name="T17" fmla="*/ 2147483647 h 66"/>
              <a:gd name="T18" fmla="*/ 2147483647 w 92"/>
              <a:gd name="T19" fmla="*/ 2147483647 h 66"/>
              <a:gd name="T20" fmla="*/ 2147483647 w 92"/>
              <a:gd name="T21" fmla="*/ 2147483647 h 66"/>
              <a:gd name="T22" fmla="*/ 2147483647 w 92"/>
              <a:gd name="T23" fmla="*/ 2147483647 h 66"/>
              <a:gd name="T24" fmla="*/ 2147483647 w 92"/>
              <a:gd name="T25" fmla="*/ 2147483647 h 66"/>
              <a:gd name="T26" fmla="*/ 2147483647 w 92"/>
              <a:gd name="T27" fmla="*/ 2147483647 h 66"/>
              <a:gd name="T28" fmla="*/ 2147483647 w 92"/>
              <a:gd name="T29" fmla="*/ 2147483647 h 66"/>
              <a:gd name="T30" fmla="*/ 2147483647 w 92"/>
              <a:gd name="T31" fmla="*/ 2147483647 h 66"/>
              <a:gd name="T32" fmla="*/ 2147483647 w 92"/>
              <a:gd name="T33" fmla="*/ 2147483647 h 66"/>
              <a:gd name="T34" fmla="*/ 2147483647 w 92"/>
              <a:gd name="T35" fmla="*/ 2147483647 h 66"/>
              <a:gd name="T36" fmla="*/ 2147483647 w 92"/>
              <a:gd name="T37" fmla="*/ 2147483647 h 66"/>
              <a:gd name="T38" fmla="*/ 2147483647 w 92"/>
              <a:gd name="T39" fmla="*/ 2147483647 h 66"/>
              <a:gd name="T40" fmla="*/ 2147483647 w 92"/>
              <a:gd name="T41" fmla="*/ 2147483647 h 66"/>
              <a:gd name="T42" fmla="*/ 2147483647 w 92"/>
              <a:gd name="T43" fmla="*/ 2147483647 h 66"/>
              <a:gd name="T44" fmla="*/ 2147483647 w 92"/>
              <a:gd name="T45" fmla="*/ 2147483647 h 66"/>
              <a:gd name="T46" fmla="*/ 2147483647 w 92"/>
              <a:gd name="T47" fmla="*/ 2147483647 h 66"/>
              <a:gd name="T48" fmla="*/ 2147483647 w 92"/>
              <a:gd name="T49" fmla="*/ 2147483647 h 66"/>
              <a:gd name="T50" fmla="*/ 2147483647 w 92"/>
              <a:gd name="T51" fmla="*/ 2147483647 h 66"/>
              <a:gd name="T52" fmla="*/ 2147483647 w 92"/>
              <a:gd name="T53" fmla="*/ 2147483647 h 66"/>
              <a:gd name="T54" fmla="*/ 2147483647 w 92"/>
              <a:gd name="T55" fmla="*/ 2147483647 h 66"/>
              <a:gd name="T56" fmla="*/ 2147483647 w 92"/>
              <a:gd name="T57" fmla="*/ 2147483647 h 66"/>
              <a:gd name="T58" fmla="*/ 2147483647 w 92"/>
              <a:gd name="T59" fmla="*/ 0 h 66"/>
              <a:gd name="T60" fmla="*/ 2147483647 w 92"/>
              <a:gd name="T61" fmla="*/ 0 h 66"/>
              <a:gd name="T62" fmla="*/ 2147483647 w 92"/>
              <a:gd name="T63" fmla="*/ 2147483647 h 66"/>
              <a:gd name="T64" fmla="*/ 2147483647 w 92"/>
              <a:gd name="T65" fmla="*/ 2147483647 h 66"/>
              <a:gd name="T66" fmla="*/ 2147483647 w 92"/>
              <a:gd name="T67" fmla="*/ 2147483647 h 66"/>
              <a:gd name="T68" fmla="*/ 2147483647 w 92"/>
              <a:gd name="T69" fmla="*/ 2147483647 h 66"/>
              <a:gd name="T70" fmla="*/ 2147483647 w 92"/>
              <a:gd name="T71" fmla="*/ 2147483647 h 66"/>
              <a:gd name="T72" fmla="*/ 2147483647 w 92"/>
              <a:gd name="T73" fmla="*/ 2147483647 h 66"/>
              <a:gd name="T74" fmla="*/ 2147483647 w 92"/>
              <a:gd name="T75" fmla="*/ 2147483647 h 66"/>
              <a:gd name="T76" fmla="*/ 0 w 92"/>
              <a:gd name="T77" fmla="*/ 2147483647 h 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2"/>
              <a:gd name="T118" fmla="*/ 0 h 66"/>
              <a:gd name="T119" fmla="*/ 92 w 92"/>
              <a:gd name="T120" fmla="*/ 66 h 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2" h="66">
                <a:moveTo>
                  <a:pt x="0" y="54"/>
                </a:moveTo>
                <a:lnTo>
                  <a:pt x="0" y="54"/>
                </a:lnTo>
                <a:lnTo>
                  <a:pt x="6" y="58"/>
                </a:lnTo>
                <a:lnTo>
                  <a:pt x="12" y="62"/>
                </a:lnTo>
                <a:lnTo>
                  <a:pt x="18" y="66"/>
                </a:lnTo>
                <a:lnTo>
                  <a:pt x="22" y="66"/>
                </a:lnTo>
                <a:lnTo>
                  <a:pt x="18" y="60"/>
                </a:lnTo>
                <a:lnTo>
                  <a:pt x="18" y="56"/>
                </a:lnTo>
                <a:lnTo>
                  <a:pt x="24" y="58"/>
                </a:lnTo>
                <a:lnTo>
                  <a:pt x="30" y="60"/>
                </a:lnTo>
                <a:lnTo>
                  <a:pt x="36" y="62"/>
                </a:lnTo>
                <a:lnTo>
                  <a:pt x="36" y="56"/>
                </a:lnTo>
                <a:lnTo>
                  <a:pt x="30" y="52"/>
                </a:lnTo>
                <a:lnTo>
                  <a:pt x="24" y="48"/>
                </a:lnTo>
                <a:lnTo>
                  <a:pt x="30" y="48"/>
                </a:lnTo>
                <a:lnTo>
                  <a:pt x="36" y="50"/>
                </a:lnTo>
                <a:lnTo>
                  <a:pt x="42" y="52"/>
                </a:lnTo>
                <a:lnTo>
                  <a:pt x="48" y="50"/>
                </a:lnTo>
                <a:lnTo>
                  <a:pt x="52" y="50"/>
                </a:lnTo>
                <a:lnTo>
                  <a:pt x="52" y="44"/>
                </a:lnTo>
                <a:lnTo>
                  <a:pt x="46" y="44"/>
                </a:lnTo>
                <a:lnTo>
                  <a:pt x="38" y="40"/>
                </a:lnTo>
                <a:lnTo>
                  <a:pt x="34" y="34"/>
                </a:lnTo>
                <a:lnTo>
                  <a:pt x="38" y="38"/>
                </a:lnTo>
                <a:lnTo>
                  <a:pt x="46" y="40"/>
                </a:lnTo>
                <a:lnTo>
                  <a:pt x="52" y="40"/>
                </a:lnTo>
                <a:lnTo>
                  <a:pt x="58" y="40"/>
                </a:lnTo>
                <a:lnTo>
                  <a:pt x="64" y="40"/>
                </a:lnTo>
                <a:lnTo>
                  <a:pt x="66" y="34"/>
                </a:lnTo>
                <a:lnTo>
                  <a:pt x="72" y="32"/>
                </a:lnTo>
                <a:lnTo>
                  <a:pt x="66" y="30"/>
                </a:lnTo>
                <a:lnTo>
                  <a:pt x="68" y="30"/>
                </a:lnTo>
                <a:lnTo>
                  <a:pt x="74" y="30"/>
                </a:lnTo>
                <a:lnTo>
                  <a:pt x="80" y="30"/>
                </a:lnTo>
                <a:lnTo>
                  <a:pt x="86" y="28"/>
                </a:lnTo>
                <a:lnTo>
                  <a:pt x="92" y="26"/>
                </a:lnTo>
                <a:lnTo>
                  <a:pt x="86" y="26"/>
                </a:lnTo>
                <a:lnTo>
                  <a:pt x="86" y="20"/>
                </a:lnTo>
                <a:lnTo>
                  <a:pt x="78" y="20"/>
                </a:lnTo>
                <a:lnTo>
                  <a:pt x="72" y="20"/>
                </a:lnTo>
                <a:lnTo>
                  <a:pt x="68" y="16"/>
                </a:lnTo>
                <a:lnTo>
                  <a:pt x="72" y="14"/>
                </a:lnTo>
                <a:lnTo>
                  <a:pt x="80" y="16"/>
                </a:lnTo>
                <a:lnTo>
                  <a:pt x="86" y="16"/>
                </a:lnTo>
                <a:lnTo>
                  <a:pt x="80" y="10"/>
                </a:lnTo>
                <a:lnTo>
                  <a:pt x="74" y="6"/>
                </a:lnTo>
                <a:lnTo>
                  <a:pt x="68" y="6"/>
                </a:lnTo>
                <a:lnTo>
                  <a:pt x="62" y="6"/>
                </a:lnTo>
                <a:lnTo>
                  <a:pt x="56" y="8"/>
                </a:lnTo>
                <a:lnTo>
                  <a:pt x="54" y="14"/>
                </a:lnTo>
                <a:lnTo>
                  <a:pt x="60" y="16"/>
                </a:lnTo>
                <a:lnTo>
                  <a:pt x="66" y="20"/>
                </a:lnTo>
                <a:lnTo>
                  <a:pt x="60" y="20"/>
                </a:lnTo>
                <a:lnTo>
                  <a:pt x="56" y="18"/>
                </a:lnTo>
                <a:lnTo>
                  <a:pt x="52" y="16"/>
                </a:lnTo>
                <a:lnTo>
                  <a:pt x="48" y="10"/>
                </a:lnTo>
                <a:lnTo>
                  <a:pt x="54" y="10"/>
                </a:lnTo>
                <a:lnTo>
                  <a:pt x="48" y="4"/>
                </a:lnTo>
                <a:lnTo>
                  <a:pt x="42" y="0"/>
                </a:lnTo>
                <a:lnTo>
                  <a:pt x="36" y="0"/>
                </a:lnTo>
                <a:lnTo>
                  <a:pt x="30" y="2"/>
                </a:lnTo>
                <a:lnTo>
                  <a:pt x="24" y="0"/>
                </a:lnTo>
                <a:lnTo>
                  <a:pt x="18" y="0"/>
                </a:lnTo>
                <a:lnTo>
                  <a:pt x="22" y="6"/>
                </a:lnTo>
                <a:lnTo>
                  <a:pt x="14" y="12"/>
                </a:lnTo>
                <a:lnTo>
                  <a:pt x="22" y="14"/>
                </a:lnTo>
                <a:lnTo>
                  <a:pt x="22" y="18"/>
                </a:lnTo>
                <a:lnTo>
                  <a:pt x="14" y="16"/>
                </a:lnTo>
                <a:lnTo>
                  <a:pt x="18" y="22"/>
                </a:lnTo>
                <a:lnTo>
                  <a:pt x="24" y="24"/>
                </a:lnTo>
                <a:lnTo>
                  <a:pt x="26" y="30"/>
                </a:lnTo>
                <a:lnTo>
                  <a:pt x="20" y="26"/>
                </a:lnTo>
                <a:lnTo>
                  <a:pt x="14" y="28"/>
                </a:lnTo>
                <a:lnTo>
                  <a:pt x="10" y="34"/>
                </a:lnTo>
                <a:lnTo>
                  <a:pt x="4" y="40"/>
                </a:lnTo>
                <a:lnTo>
                  <a:pt x="2" y="46"/>
                </a:lnTo>
                <a:lnTo>
                  <a:pt x="4" y="52"/>
                </a:lnTo>
                <a:lnTo>
                  <a:pt x="0" y="54"/>
                </a:lnTo>
                <a:close/>
              </a:path>
            </a:pathLst>
          </a:custGeom>
          <a:solidFill>
            <a:srgbClr val="000000">
              <a:alpha val="10196"/>
            </a:srgbClr>
          </a:solidFill>
          <a:ln w="9525">
            <a:noFill/>
            <a:round/>
            <a:headEnd/>
            <a:tailEnd/>
          </a:ln>
        </p:spPr>
        <p:txBody>
          <a:bodyPr/>
          <a:lstStyle/>
          <a:p>
            <a:endParaRPr lang="de-DE"/>
          </a:p>
        </p:txBody>
      </p:sp>
      <p:sp>
        <p:nvSpPr>
          <p:cNvPr id="357407" name="Freeform 326"/>
          <p:cNvSpPr>
            <a:spLocks/>
          </p:cNvSpPr>
          <p:nvPr/>
        </p:nvSpPr>
        <p:spPr bwMode="auto">
          <a:xfrm>
            <a:off x="2816225" y="5583238"/>
            <a:ext cx="98425" cy="65087"/>
          </a:xfrm>
          <a:custGeom>
            <a:avLst/>
            <a:gdLst>
              <a:gd name="T0" fmla="*/ 2147483647 w 242"/>
              <a:gd name="T1" fmla="*/ 2147483647 h 158"/>
              <a:gd name="T2" fmla="*/ 2147483647 w 242"/>
              <a:gd name="T3" fmla="*/ 2147483647 h 158"/>
              <a:gd name="T4" fmla="*/ 2147483647 w 242"/>
              <a:gd name="T5" fmla="*/ 2147483647 h 158"/>
              <a:gd name="T6" fmla="*/ 2147483647 w 242"/>
              <a:gd name="T7" fmla="*/ 2147483647 h 158"/>
              <a:gd name="T8" fmla="*/ 2147483647 w 242"/>
              <a:gd name="T9" fmla="*/ 2147483647 h 158"/>
              <a:gd name="T10" fmla="*/ 2147483647 w 242"/>
              <a:gd name="T11" fmla="*/ 2147483647 h 158"/>
              <a:gd name="T12" fmla="*/ 2147483647 w 242"/>
              <a:gd name="T13" fmla="*/ 2147483647 h 158"/>
              <a:gd name="T14" fmla="*/ 2147483647 w 242"/>
              <a:gd name="T15" fmla="*/ 2147483647 h 158"/>
              <a:gd name="T16" fmla="*/ 2147483647 w 242"/>
              <a:gd name="T17" fmla="*/ 2147483647 h 158"/>
              <a:gd name="T18" fmla="*/ 2147483647 w 242"/>
              <a:gd name="T19" fmla="*/ 2147483647 h 158"/>
              <a:gd name="T20" fmla="*/ 2147483647 w 242"/>
              <a:gd name="T21" fmla="*/ 2147483647 h 158"/>
              <a:gd name="T22" fmla="*/ 2147483647 w 242"/>
              <a:gd name="T23" fmla="*/ 2147483647 h 158"/>
              <a:gd name="T24" fmla="*/ 2147483647 w 242"/>
              <a:gd name="T25" fmla="*/ 2147483647 h 158"/>
              <a:gd name="T26" fmla="*/ 2147483647 w 242"/>
              <a:gd name="T27" fmla="*/ 2147483647 h 158"/>
              <a:gd name="T28" fmla="*/ 2147483647 w 242"/>
              <a:gd name="T29" fmla="*/ 2147483647 h 158"/>
              <a:gd name="T30" fmla="*/ 2147483647 w 242"/>
              <a:gd name="T31" fmla="*/ 2147483647 h 158"/>
              <a:gd name="T32" fmla="*/ 2147483647 w 242"/>
              <a:gd name="T33" fmla="*/ 2147483647 h 158"/>
              <a:gd name="T34" fmla="*/ 2147483647 w 242"/>
              <a:gd name="T35" fmla="*/ 2147483647 h 158"/>
              <a:gd name="T36" fmla="*/ 2147483647 w 242"/>
              <a:gd name="T37" fmla="*/ 2147483647 h 158"/>
              <a:gd name="T38" fmla="*/ 2147483647 w 242"/>
              <a:gd name="T39" fmla="*/ 2147483647 h 158"/>
              <a:gd name="T40" fmla="*/ 2147483647 w 242"/>
              <a:gd name="T41" fmla="*/ 2147483647 h 158"/>
              <a:gd name="T42" fmla="*/ 2147483647 w 242"/>
              <a:gd name="T43" fmla="*/ 2147483647 h 158"/>
              <a:gd name="T44" fmla="*/ 2147483647 w 242"/>
              <a:gd name="T45" fmla="*/ 2147483647 h 158"/>
              <a:gd name="T46" fmla="*/ 2147483647 w 242"/>
              <a:gd name="T47" fmla="*/ 2147483647 h 158"/>
              <a:gd name="T48" fmla="*/ 2147483647 w 242"/>
              <a:gd name="T49" fmla="*/ 2147483647 h 158"/>
              <a:gd name="T50" fmla="*/ 2147483647 w 242"/>
              <a:gd name="T51" fmla="*/ 2147483647 h 158"/>
              <a:gd name="T52" fmla="*/ 2147483647 w 242"/>
              <a:gd name="T53" fmla="*/ 2147483647 h 158"/>
              <a:gd name="T54" fmla="*/ 2147483647 w 242"/>
              <a:gd name="T55" fmla="*/ 2147483647 h 158"/>
              <a:gd name="T56" fmla="*/ 2147483647 w 242"/>
              <a:gd name="T57" fmla="*/ 2147483647 h 158"/>
              <a:gd name="T58" fmla="*/ 2147483647 w 242"/>
              <a:gd name="T59" fmla="*/ 2147483647 h 158"/>
              <a:gd name="T60" fmla="*/ 2147483647 w 242"/>
              <a:gd name="T61" fmla="*/ 2147483647 h 158"/>
              <a:gd name="T62" fmla="*/ 2147483647 w 242"/>
              <a:gd name="T63" fmla="*/ 2147483647 h 158"/>
              <a:gd name="T64" fmla="*/ 2147483647 w 242"/>
              <a:gd name="T65" fmla="*/ 2147483647 h 158"/>
              <a:gd name="T66" fmla="*/ 2147483647 w 242"/>
              <a:gd name="T67" fmla="*/ 2147483647 h 158"/>
              <a:gd name="T68" fmla="*/ 2147483647 w 242"/>
              <a:gd name="T69" fmla="*/ 2147483647 h 158"/>
              <a:gd name="T70" fmla="*/ 2147483647 w 242"/>
              <a:gd name="T71" fmla="*/ 2147483647 h 158"/>
              <a:gd name="T72" fmla="*/ 2147483647 w 242"/>
              <a:gd name="T73" fmla="*/ 2147483647 h 158"/>
              <a:gd name="T74" fmla="*/ 2147483647 w 242"/>
              <a:gd name="T75" fmla="*/ 2147483647 h 158"/>
              <a:gd name="T76" fmla="*/ 2147483647 w 242"/>
              <a:gd name="T77" fmla="*/ 2147483647 h 158"/>
              <a:gd name="T78" fmla="*/ 2147483647 w 242"/>
              <a:gd name="T79" fmla="*/ 2147483647 h 158"/>
              <a:gd name="T80" fmla="*/ 2147483647 w 242"/>
              <a:gd name="T81" fmla="*/ 2147483647 h 158"/>
              <a:gd name="T82" fmla="*/ 2147483647 w 242"/>
              <a:gd name="T83" fmla="*/ 2147483647 h 158"/>
              <a:gd name="T84" fmla="*/ 2147483647 w 242"/>
              <a:gd name="T85" fmla="*/ 2147483647 h 158"/>
              <a:gd name="T86" fmla="*/ 2147483647 w 242"/>
              <a:gd name="T87" fmla="*/ 2147483647 h 158"/>
              <a:gd name="T88" fmla="*/ 2147483647 w 242"/>
              <a:gd name="T89" fmla="*/ 2147483647 h 158"/>
              <a:gd name="T90" fmla="*/ 2147483647 w 242"/>
              <a:gd name="T91" fmla="*/ 2147483647 h 158"/>
              <a:gd name="T92" fmla="*/ 2147483647 w 242"/>
              <a:gd name="T93" fmla="*/ 2147483647 h 158"/>
              <a:gd name="T94" fmla="*/ 2147483647 w 242"/>
              <a:gd name="T95" fmla="*/ 2147483647 h 158"/>
              <a:gd name="T96" fmla="*/ 2147483647 w 242"/>
              <a:gd name="T97" fmla="*/ 2147483647 h 158"/>
              <a:gd name="T98" fmla="*/ 2147483647 w 242"/>
              <a:gd name="T99" fmla="*/ 2147483647 h 158"/>
              <a:gd name="T100" fmla="*/ 2147483647 w 242"/>
              <a:gd name="T101" fmla="*/ 2147483647 h 158"/>
              <a:gd name="T102" fmla="*/ 2147483647 w 242"/>
              <a:gd name="T103" fmla="*/ 2147483647 h 158"/>
              <a:gd name="T104" fmla="*/ 2147483647 w 242"/>
              <a:gd name="T105" fmla="*/ 2147483647 h 158"/>
              <a:gd name="T106" fmla="*/ 2147483647 w 242"/>
              <a:gd name="T107" fmla="*/ 2147483647 h 158"/>
              <a:gd name="T108" fmla="*/ 2147483647 w 242"/>
              <a:gd name="T109" fmla="*/ 2147483647 h 158"/>
              <a:gd name="T110" fmla="*/ 0 w 242"/>
              <a:gd name="T111" fmla="*/ 2147483647 h 158"/>
              <a:gd name="T112" fmla="*/ 0 w 242"/>
              <a:gd name="T113" fmla="*/ 0 h 1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158"/>
              <a:gd name="T173" fmla="*/ 242 w 242"/>
              <a:gd name="T174" fmla="*/ 158 h 1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2" h="158">
                <a:moveTo>
                  <a:pt x="0" y="0"/>
                </a:moveTo>
                <a:lnTo>
                  <a:pt x="4" y="4"/>
                </a:lnTo>
                <a:lnTo>
                  <a:pt x="6" y="6"/>
                </a:lnTo>
                <a:lnTo>
                  <a:pt x="12" y="10"/>
                </a:lnTo>
                <a:lnTo>
                  <a:pt x="18" y="14"/>
                </a:lnTo>
                <a:lnTo>
                  <a:pt x="24" y="18"/>
                </a:lnTo>
                <a:lnTo>
                  <a:pt x="30" y="24"/>
                </a:lnTo>
                <a:lnTo>
                  <a:pt x="34" y="30"/>
                </a:lnTo>
                <a:lnTo>
                  <a:pt x="28" y="24"/>
                </a:lnTo>
                <a:lnTo>
                  <a:pt x="22" y="24"/>
                </a:lnTo>
                <a:lnTo>
                  <a:pt x="20" y="30"/>
                </a:lnTo>
                <a:lnTo>
                  <a:pt x="20" y="36"/>
                </a:lnTo>
                <a:lnTo>
                  <a:pt x="26" y="40"/>
                </a:lnTo>
                <a:lnTo>
                  <a:pt x="32" y="42"/>
                </a:lnTo>
                <a:lnTo>
                  <a:pt x="38" y="42"/>
                </a:lnTo>
                <a:lnTo>
                  <a:pt x="44" y="42"/>
                </a:lnTo>
                <a:lnTo>
                  <a:pt x="50" y="48"/>
                </a:lnTo>
                <a:lnTo>
                  <a:pt x="54" y="54"/>
                </a:lnTo>
                <a:lnTo>
                  <a:pt x="58" y="60"/>
                </a:lnTo>
                <a:lnTo>
                  <a:pt x="66" y="64"/>
                </a:lnTo>
                <a:lnTo>
                  <a:pt x="72" y="68"/>
                </a:lnTo>
                <a:lnTo>
                  <a:pt x="76" y="70"/>
                </a:lnTo>
                <a:lnTo>
                  <a:pt x="82" y="76"/>
                </a:lnTo>
                <a:lnTo>
                  <a:pt x="88" y="76"/>
                </a:lnTo>
                <a:lnTo>
                  <a:pt x="94" y="82"/>
                </a:lnTo>
                <a:lnTo>
                  <a:pt x="100" y="86"/>
                </a:lnTo>
                <a:lnTo>
                  <a:pt x="106" y="88"/>
                </a:lnTo>
                <a:lnTo>
                  <a:pt x="112" y="92"/>
                </a:lnTo>
                <a:lnTo>
                  <a:pt x="118" y="94"/>
                </a:lnTo>
                <a:lnTo>
                  <a:pt x="124" y="96"/>
                </a:lnTo>
                <a:lnTo>
                  <a:pt x="130" y="98"/>
                </a:lnTo>
                <a:lnTo>
                  <a:pt x="136" y="102"/>
                </a:lnTo>
                <a:lnTo>
                  <a:pt x="142" y="104"/>
                </a:lnTo>
                <a:lnTo>
                  <a:pt x="148" y="106"/>
                </a:lnTo>
                <a:lnTo>
                  <a:pt x="152" y="110"/>
                </a:lnTo>
                <a:lnTo>
                  <a:pt x="158" y="114"/>
                </a:lnTo>
                <a:lnTo>
                  <a:pt x="164" y="116"/>
                </a:lnTo>
                <a:lnTo>
                  <a:pt x="170" y="118"/>
                </a:lnTo>
                <a:lnTo>
                  <a:pt x="178" y="122"/>
                </a:lnTo>
                <a:lnTo>
                  <a:pt x="182" y="124"/>
                </a:lnTo>
                <a:lnTo>
                  <a:pt x="190" y="126"/>
                </a:lnTo>
                <a:lnTo>
                  <a:pt x="194" y="128"/>
                </a:lnTo>
                <a:lnTo>
                  <a:pt x="202" y="130"/>
                </a:lnTo>
                <a:lnTo>
                  <a:pt x="208" y="132"/>
                </a:lnTo>
                <a:lnTo>
                  <a:pt x="212" y="132"/>
                </a:lnTo>
                <a:lnTo>
                  <a:pt x="218" y="132"/>
                </a:lnTo>
                <a:lnTo>
                  <a:pt x="224" y="132"/>
                </a:lnTo>
                <a:lnTo>
                  <a:pt x="230" y="132"/>
                </a:lnTo>
                <a:lnTo>
                  <a:pt x="236" y="130"/>
                </a:lnTo>
                <a:lnTo>
                  <a:pt x="242" y="132"/>
                </a:lnTo>
                <a:lnTo>
                  <a:pt x="242" y="138"/>
                </a:lnTo>
                <a:lnTo>
                  <a:pt x="242" y="144"/>
                </a:lnTo>
                <a:lnTo>
                  <a:pt x="242" y="148"/>
                </a:lnTo>
                <a:lnTo>
                  <a:pt x="236" y="148"/>
                </a:lnTo>
                <a:lnTo>
                  <a:pt x="228" y="150"/>
                </a:lnTo>
                <a:lnTo>
                  <a:pt x="224" y="152"/>
                </a:lnTo>
                <a:lnTo>
                  <a:pt x="216" y="148"/>
                </a:lnTo>
                <a:lnTo>
                  <a:pt x="212" y="148"/>
                </a:lnTo>
                <a:lnTo>
                  <a:pt x="204" y="152"/>
                </a:lnTo>
                <a:lnTo>
                  <a:pt x="198" y="154"/>
                </a:lnTo>
                <a:lnTo>
                  <a:pt x="192" y="154"/>
                </a:lnTo>
                <a:lnTo>
                  <a:pt x="186" y="158"/>
                </a:lnTo>
                <a:lnTo>
                  <a:pt x="180" y="156"/>
                </a:lnTo>
                <a:lnTo>
                  <a:pt x="174" y="154"/>
                </a:lnTo>
                <a:lnTo>
                  <a:pt x="170" y="152"/>
                </a:lnTo>
                <a:lnTo>
                  <a:pt x="162" y="150"/>
                </a:lnTo>
                <a:lnTo>
                  <a:pt x="156" y="148"/>
                </a:lnTo>
                <a:lnTo>
                  <a:pt x="150" y="148"/>
                </a:lnTo>
                <a:lnTo>
                  <a:pt x="144" y="148"/>
                </a:lnTo>
                <a:lnTo>
                  <a:pt x="138" y="148"/>
                </a:lnTo>
                <a:lnTo>
                  <a:pt x="132" y="148"/>
                </a:lnTo>
                <a:lnTo>
                  <a:pt x="126" y="146"/>
                </a:lnTo>
                <a:lnTo>
                  <a:pt x="120" y="148"/>
                </a:lnTo>
                <a:lnTo>
                  <a:pt x="114" y="146"/>
                </a:lnTo>
                <a:lnTo>
                  <a:pt x="108" y="146"/>
                </a:lnTo>
                <a:lnTo>
                  <a:pt x="102" y="144"/>
                </a:lnTo>
                <a:lnTo>
                  <a:pt x="96" y="144"/>
                </a:lnTo>
                <a:lnTo>
                  <a:pt x="90" y="142"/>
                </a:lnTo>
                <a:lnTo>
                  <a:pt x="88" y="142"/>
                </a:lnTo>
                <a:lnTo>
                  <a:pt x="86" y="142"/>
                </a:lnTo>
                <a:lnTo>
                  <a:pt x="80" y="144"/>
                </a:lnTo>
                <a:lnTo>
                  <a:pt x="76" y="144"/>
                </a:lnTo>
                <a:lnTo>
                  <a:pt x="70" y="142"/>
                </a:lnTo>
                <a:lnTo>
                  <a:pt x="68" y="140"/>
                </a:lnTo>
                <a:lnTo>
                  <a:pt x="66" y="136"/>
                </a:lnTo>
                <a:lnTo>
                  <a:pt x="64" y="130"/>
                </a:lnTo>
                <a:lnTo>
                  <a:pt x="60" y="124"/>
                </a:lnTo>
                <a:lnTo>
                  <a:pt x="58" y="122"/>
                </a:lnTo>
                <a:lnTo>
                  <a:pt x="58" y="120"/>
                </a:lnTo>
                <a:lnTo>
                  <a:pt x="54" y="114"/>
                </a:lnTo>
                <a:lnTo>
                  <a:pt x="52" y="108"/>
                </a:lnTo>
                <a:lnTo>
                  <a:pt x="48" y="102"/>
                </a:lnTo>
                <a:lnTo>
                  <a:pt x="46" y="96"/>
                </a:lnTo>
                <a:lnTo>
                  <a:pt x="42" y="90"/>
                </a:lnTo>
                <a:lnTo>
                  <a:pt x="40" y="84"/>
                </a:lnTo>
                <a:lnTo>
                  <a:pt x="38" y="80"/>
                </a:lnTo>
                <a:lnTo>
                  <a:pt x="34" y="74"/>
                </a:lnTo>
                <a:lnTo>
                  <a:pt x="32" y="68"/>
                </a:lnTo>
                <a:lnTo>
                  <a:pt x="30" y="62"/>
                </a:lnTo>
                <a:lnTo>
                  <a:pt x="26" y="56"/>
                </a:lnTo>
                <a:lnTo>
                  <a:pt x="24" y="50"/>
                </a:lnTo>
                <a:lnTo>
                  <a:pt x="20" y="44"/>
                </a:lnTo>
                <a:lnTo>
                  <a:pt x="16" y="38"/>
                </a:lnTo>
                <a:lnTo>
                  <a:pt x="14" y="32"/>
                </a:lnTo>
                <a:lnTo>
                  <a:pt x="12" y="26"/>
                </a:lnTo>
                <a:lnTo>
                  <a:pt x="12" y="24"/>
                </a:lnTo>
                <a:lnTo>
                  <a:pt x="10" y="22"/>
                </a:lnTo>
                <a:lnTo>
                  <a:pt x="8" y="18"/>
                </a:lnTo>
                <a:lnTo>
                  <a:pt x="6" y="14"/>
                </a:lnTo>
                <a:lnTo>
                  <a:pt x="4" y="8"/>
                </a:lnTo>
                <a:lnTo>
                  <a:pt x="0" y="2"/>
                </a:lnTo>
                <a:lnTo>
                  <a:pt x="0" y="0"/>
                </a:lnTo>
                <a:close/>
              </a:path>
            </a:pathLst>
          </a:custGeom>
          <a:solidFill>
            <a:srgbClr val="000000">
              <a:alpha val="10196"/>
            </a:srgbClr>
          </a:solidFill>
          <a:ln w="9525">
            <a:noFill/>
            <a:round/>
            <a:headEnd/>
            <a:tailEnd/>
          </a:ln>
        </p:spPr>
        <p:txBody>
          <a:bodyPr/>
          <a:lstStyle/>
          <a:p>
            <a:endParaRPr lang="de-DE"/>
          </a:p>
        </p:txBody>
      </p:sp>
      <p:sp>
        <p:nvSpPr>
          <p:cNvPr id="357408" name="Freeform 327"/>
          <p:cNvSpPr>
            <a:spLocks/>
          </p:cNvSpPr>
          <p:nvPr/>
        </p:nvSpPr>
        <p:spPr bwMode="auto">
          <a:xfrm>
            <a:off x="2970213" y="5548313"/>
            <a:ext cx="30162" cy="23812"/>
          </a:xfrm>
          <a:custGeom>
            <a:avLst/>
            <a:gdLst>
              <a:gd name="T0" fmla="*/ 2147483647 w 74"/>
              <a:gd name="T1" fmla="*/ 2147483647 h 58"/>
              <a:gd name="T2" fmla="*/ 2147483647 w 74"/>
              <a:gd name="T3" fmla="*/ 2147483647 h 58"/>
              <a:gd name="T4" fmla="*/ 2147483647 w 74"/>
              <a:gd name="T5" fmla="*/ 2147483647 h 58"/>
              <a:gd name="T6" fmla="*/ 2147483647 w 74"/>
              <a:gd name="T7" fmla="*/ 2147483647 h 58"/>
              <a:gd name="T8" fmla="*/ 0 w 74"/>
              <a:gd name="T9" fmla="*/ 2147483647 h 58"/>
              <a:gd name="T10" fmla="*/ 2147483647 w 74"/>
              <a:gd name="T11" fmla="*/ 2147483647 h 58"/>
              <a:gd name="T12" fmla="*/ 2147483647 w 74"/>
              <a:gd name="T13" fmla="*/ 2147483647 h 58"/>
              <a:gd name="T14" fmla="*/ 2147483647 w 74"/>
              <a:gd name="T15" fmla="*/ 2147483647 h 58"/>
              <a:gd name="T16" fmla="*/ 2147483647 w 74"/>
              <a:gd name="T17" fmla="*/ 2147483647 h 58"/>
              <a:gd name="T18" fmla="*/ 2147483647 w 74"/>
              <a:gd name="T19" fmla="*/ 2147483647 h 58"/>
              <a:gd name="T20" fmla="*/ 2147483647 w 74"/>
              <a:gd name="T21" fmla="*/ 2147483647 h 58"/>
              <a:gd name="T22" fmla="*/ 2147483647 w 74"/>
              <a:gd name="T23" fmla="*/ 2147483647 h 58"/>
              <a:gd name="T24" fmla="*/ 2147483647 w 74"/>
              <a:gd name="T25" fmla="*/ 2147483647 h 58"/>
              <a:gd name="T26" fmla="*/ 2147483647 w 74"/>
              <a:gd name="T27" fmla="*/ 2147483647 h 58"/>
              <a:gd name="T28" fmla="*/ 2147483647 w 74"/>
              <a:gd name="T29" fmla="*/ 2147483647 h 58"/>
              <a:gd name="T30" fmla="*/ 2147483647 w 74"/>
              <a:gd name="T31" fmla="*/ 2147483647 h 58"/>
              <a:gd name="T32" fmla="*/ 2147483647 w 74"/>
              <a:gd name="T33" fmla="*/ 2147483647 h 58"/>
              <a:gd name="T34" fmla="*/ 2147483647 w 74"/>
              <a:gd name="T35" fmla="*/ 2147483647 h 58"/>
              <a:gd name="T36" fmla="*/ 2147483647 w 74"/>
              <a:gd name="T37" fmla="*/ 2147483647 h 58"/>
              <a:gd name="T38" fmla="*/ 2147483647 w 74"/>
              <a:gd name="T39" fmla="*/ 2147483647 h 58"/>
              <a:gd name="T40" fmla="*/ 2147483647 w 74"/>
              <a:gd name="T41" fmla="*/ 2147483647 h 58"/>
              <a:gd name="T42" fmla="*/ 2147483647 w 74"/>
              <a:gd name="T43" fmla="*/ 2147483647 h 58"/>
              <a:gd name="T44" fmla="*/ 2147483647 w 74"/>
              <a:gd name="T45" fmla="*/ 2147483647 h 58"/>
              <a:gd name="T46" fmla="*/ 2147483647 w 74"/>
              <a:gd name="T47" fmla="*/ 2147483647 h 58"/>
              <a:gd name="T48" fmla="*/ 2147483647 w 74"/>
              <a:gd name="T49" fmla="*/ 2147483647 h 58"/>
              <a:gd name="T50" fmla="*/ 2147483647 w 74"/>
              <a:gd name="T51" fmla="*/ 2147483647 h 58"/>
              <a:gd name="T52" fmla="*/ 2147483647 w 74"/>
              <a:gd name="T53" fmla="*/ 2147483647 h 58"/>
              <a:gd name="T54" fmla="*/ 2147483647 w 74"/>
              <a:gd name="T55" fmla="*/ 2147483647 h 58"/>
              <a:gd name="T56" fmla="*/ 2147483647 w 74"/>
              <a:gd name="T57" fmla="*/ 2147483647 h 58"/>
              <a:gd name="T58" fmla="*/ 2147483647 w 74"/>
              <a:gd name="T59" fmla="*/ 0 h 58"/>
              <a:gd name="T60" fmla="*/ 2147483647 w 74"/>
              <a:gd name="T61" fmla="*/ 2147483647 h 58"/>
              <a:gd name="T62" fmla="*/ 2147483647 w 74"/>
              <a:gd name="T63" fmla="*/ 2147483647 h 58"/>
              <a:gd name="T64" fmla="*/ 2147483647 w 74"/>
              <a:gd name="T65" fmla="*/ 2147483647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4"/>
              <a:gd name="T100" fmla="*/ 0 h 58"/>
              <a:gd name="T101" fmla="*/ 74 w 74"/>
              <a:gd name="T102" fmla="*/ 58 h 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4" h="58">
                <a:moveTo>
                  <a:pt x="34" y="2"/>
                </a:moveTo>
                <a:lnTo>
                  <a:pt x="36" y="6"/>
                </a:lnTo>
                <a:lnTo>
                  <a:pt x="36" y="8"/>
                </a:lnTo>
                <a:lnTo>
                  <a:pt x="30" y="10"/>
                </a:lnTo>
                <a:lnTo>
                  <a:pt x="24" y="8"/>
                </a:lnTo>
                <a:lnTo>
                  <a:pt x="18" y="6"/>
                </a:lnTo>
                <a:lnTo>
                  <a:pt x="12" y="2"/>
                </a:lnTo>
                <a:lnTo>
                  <a:pt x="6" y="2"/>
                </a:lnTo>
                <a:lnTo>
                  <a:pt x="0" y="2"/>
                </a:lnTo>
                <a:lnTo>
                  <a:pt x="8" y="6"/>
                </a:lnTo>
                <a:lnTo>
                  <a:pt x="12" y="6"/>
                </a:lnTo>
                <a:lnTo>
                  <a:pt x="14" y="12"/>
                </a:lnTo>
                <a:lnTo>
                  <a:pt x="20" y="14"/>
                </a:lnTo>
                <a:lnTo>
                  <a:pt x="28" y="16"/>
                </a:lnTo>
                <a:lnTo>
                  <a:pt x="32" y="20"/>
                </a:lnTo>
                <a:lnTo>
                  <a:pt x="38" y="22"/>
                </a:lnTo>
                <a:lnTo>
                  <a:pt x="36" y="22"/>
                </a:lnTo>
                <a:lnTo>
                  <a:pt x="28" y="20"/>
                </a:lnTo>
                <a:lnTo>
                  <a:pt x="24" y="20"/>
                </a:lnTo>
                <a:lnTo>
                  <a:pt x="16" y="22"/>
                </a:lnTo>
                <a:lnTo>
                  <a:pt x="12" y="24"/>
                </a:lnTo>
                <a:lnTo>
                  <a:pt x="16" y="30"/>
                </a:lnTo>
                <a:lnTo>
                  <a:pt x="22" y="26"/>
                </a:lnTo>
                <a:lnTo>
                  <a:pt x="28" y="24"/>
                </a:lnTo>
                <a:lnTo>
                  <a:pt x="34" y="28"/>
                </a:lnTo>
                <a:lnTo>
                  <a:pt x="28" y="28"/>
                </a:lnTo>
                <a:lnTo>
                  <a:pt x="28" y="34"/>
                </a:lnTo>
                <a:lnTo>
                  <a:pt x="24" y="26"/>
                </a:lnTo>
                <a:lnTo>
                  <a:pt x="24" y="32"/>
                </a:lnTo>
                <a:lnTo>
                  <a:pt x="22" y="40"/>
                </a:lnTo>
                <a:lnTo>
                  <a:pt x="28" y="36"/>
                </a:lnTo>
                <a:lnTo>
                  <a:pt x="24" y="42"/>
                </a:lnTo>
                <a:lnTo>
                  <a:pt x="18" y="40"/>
                </a:lnTo>
                <a:lnTo>
                  <a:pt x="12" y="44"/>
                </a:lnTo>
                <a:lnTo>
                  <a:pt x="6" y="44"/>
                </a:lnTo>
                <a:lnTo>
                  <a:pt x="0" y="46"/>
                </a:lnTo>
                <a:lnTo>
                  <a:pt x="6" y="50"/>
                </a:lnTo>
                <a:lnTo>
                  <a:pt x="12" y="52"/>
                </a:lnTo>
                <a:lnTo>
                  <a:pt x="18" y="54"/>
                </a:lnTo>
                <a:lnTo>
                  <a:pt x="12" y="50"/>
                </a:lnTo>
                <a:lnTo>
                  <a:pt x="18" y="50"/>
                </a:lnTo>
                <a:lnTo>
                  <a:pt x="22" y="56"/>
                </a:lnTo>
                <a:lnTo>
                  <a:pt x="28" y="58"/>
                </a:lnTo>
                <a:lnTo>
                  <a:pt x="30" y="52"/>
                </a:lnTo>
                <a:lnTo>
                  <a:pt x="36" y="54"/>
                </a:lnTo>
                <a:lnTo>
                  <a:pt x="40" y="48"/>
                </a:lnTo>
                <a:lnTo>
                  <a:pt x="38" y="42"/>
                </a:lnTo>
                <a:lnTo>
                  <a:pt x="44" y="42"/>
                </a:lnTo>
                <a:lnTo>
                  <a:pt x="50" y="40"/>
                </a:lnTo>
                <a:lnTo>
                  <a:pt x="54" y="42"/>
                </a:lnTo>
                <a:lnTo>
                  <a:pt x="58" y="36"/>
                </a:lnTo>
                <a:lnTo>
                  <a:pt x="60" y="30"/>
                </a:lnTo>
                <a:lnTo>
                  <a:pt x="64" y="24"/>
                </a:lnTo>
                <a:lnTo>
                  <a:pt x="66" y="18"/>
                </a:lnTo>
                <a:lnTo>
                  <a:pt x="72" y="14"/>
                </a:lnTo>
                <a:lnTo>
                  <a:pt x="74" y="8"/>
                </a:lnTo>
                <a:lnTo>
                  <a:pt x="74" y="2"/>
                </a:lnTo>
                <a:lnTo>
                  <a:pt x="70" y="0"/>
                </a:lnTo>
                <a:lnTo>
                  <a:pt x="64" y="0"/>
                </a:lnTo>
                <a:lnTo>
                  <a:pt x="64" y="6"/>
                </a:lnTo>
                <a:lnTo>
                  <a:pt x="58" y="4"/>
                </a:lnTo>
                <a:lnTo>
                  <a:pt x="52" y="6"/>
                </a:lnTo>
                <a:lnTo>
                  <a:pt x="46" y="4"/>
                </a:lnTo>
                <a:lnTo>
                  <a:pt x="40" y="2"/>
                </a:lnTo>
                <a:lnTo>
                  <a:pt x="34" y="2"/>
                </a:lnTo>
                <a:close/>
              </a:path>
            </a:pathLst>
          </a:custGeom>
          <a:solidFill>
            <a:srgbClr val="000000">
              <a:alpha val="10196"/>
            </a:srgbClr>
          </a:solidFill>
          <a:ln w="9525">
            <a:noFill/>
            <a:round/>
            <a:headEnd/>
            <a:tailEnd/>
          </a:ln>
        </p:spPr>
        <p:txBody>
          <a:bodyPr/>
          <a:lstStyle/>
          <a:p>
            <a:endParaRPr lang="de-DE"/>
          </a:p>
        </p:txBody>
      </p:sp>
      <p:sp>
        <p:nvSpPr>
          <p:cNvPr id="357409" name="Freeform 328"/>
          <p:cNvSpPr>
            <a:spLocks/>
          </p:cNvSpPr>
          <p:nvPr/>
        </p:nvSpPr>
        <p:spPr bwMode="auto">
          <a:xfrm>
            <a:off x="2768600" y="5578475"/>
            <a:ext cx="76200" cy="66675"/>
          </a:xfrm>
          <a:custGeom>
            <a:avLst/>
            <a:gdLst>
              <a:gd name="T0" fmla="*/ 2147483647 w 186"/>
              <a:gd name="T1" fmla="*/ 2147483647 h 162"/>
              <a:gd name="T2" fmla="*/ 2147483647 w 186"/>
              <a:gd name="T3" fmla="*/ 2147483647 h 162"/>
              <a:gd name="T4" fmla="*/ 2147483647 w 186"/>
              <a:gd name="T5" fmla="*/ 2147483647 h 162"/>
              <a:gd name="T6" fmla="*/ 2147483647 w 186"/>
              <a:gd name="T7" fmla="*/ 2147483647 h 162"/>
              <a:gd name="T8" fmla="*/ 2147483647 w 186"/>
              <a:gd name="T9" fmla="*/ 2147483647 h 162"/>
              <a:gd name="T10" fmla="*/ 2147483647 w 186"/>
              <a:gd name="T11" fmla="*/ 2147483647 h 162"/>
              <a:gd name="T12" fmla="*/ 2147483647 w 186"/>
              <a:gd name="T13" fmla="*/ 2147483647 h 162"/>
              <a:gd name="T14" fmla="*/ 2147483647 w 186"/>
              <a:gd name="T15" fmla="*/ 2147483647 h 162"/>
              <a:gd name="T16" fmla="*/ 2147483647 w 186"/>
              <a:gd name="T17" fmla="*/ 2147483647 h 162"/>
              <a:gd name="T18" fmla="*/ 2147483647 w 186"/>
              <a:gd name="T19" fmla="*/ 2147483647 h 162"/>
              <a:gd name="T20" fmla="*/ 2147483647 w 186"/>
              <a:gd name="T21" fmla="*/ 2147483647 h 162"/>
              <a:gd name="T22" fmla="*/ 2147483647 w 186"/>
              <a:gd name="T23" fmla="*/ 2147483647 h 162"/>
              <a:gd name="T24" fmla="*/ 2147483647 w 186"/>
              <a:gd name="T25" fmla="*/ 2147483647 h 162"/>
              <a:gd name="T26" fmla="*/ 2147483647 w 186"/>
              <a:gd name="T27" fmla="*/ 2147483647 h 162"/>
              <a:gd name="T28" fmla="*/ 2147483647 w 186"/>
              <a:gd name="T29" fmla="*/ 2147483647 h 162"/>
              <a:gd name="T30" fmla="*/ 2147483647 w 186"/>
              <a:gd name="T31" fmla="*/ 2147483647 h 162"/>
              <a:gd name="T32" fmla="*/ 2147483647 w 186"/>
              <a:gd name="T33" fmla="*/ 2147483647 h 162"/>
              <a:gd name="T34" fmla="*/ 2147483647 w 186"/>
              <a:gd name="T35" fmla="*/ 2147483647 h 162"/>
              <a:gd name="T36" fmla="*/ 2147483647 w 186"/>
              <a:gd name="T37" fmla="*/ 2147483647 h 162"/>
              <a:gd name="T38" fmla="*/ 2147483647 w 186"/>
              <a:gd name="T39" fmla="*/ 2147483647 h 162"/>
              <a:gd name="T40" fmla="*/ 2147483647 w 186"/>
              <a:gd name="T41" fmla="*/ 2147483647 h 162"/>
              <a:gd name="T42" fmla="*/ 2147483647 w 186"/>
              <a:gd name="T43" fmla="*/ 2147483647 h 162"/>
              <a:gd name="T44" fmla="*/ 2147483647 w 186"/>
              <a:gd name="T45" fmla="*/ 2147483647 h 162"/>
              <a:gd name="T46" fmla="*/ 2147483647 w 186"/>
              <a:gd name="T47" fmla="*/ 2147483647 h 162"/>
              <a:gd name="T48" fmla="*/ 2147483647 w 186"/>
              <a:gd name="T49" fmla="*/ 2147483647 h 162"/>
              <a:gd name="T50" fmla="*/ 2147483647 w 186"/>
              <a:gd name="T51" fmla="*/ 2147483647 h 162"/>
              <a:gd name="T52" fmla="*/ 2147483647 w 186"/>
              <a:gd name="T53" fmla="*/ 2147483647 h 162"/>
              <a:gd name="T54" fmla="*/ 0 w 186"/>
              <a:gd name="T55" fmla="*/ 2147483647 h 162"/>
              <a:gd name="T56" fmla="*/ 2147483647 w 186"/>
              <a:gd name="T57" fmla="*/ 2147483647 h 162"/>
              <a:gd name="T58" fmla="*/ 2147483647 w 186"/>
              <a:gd name="T59" fmla="*/ 2147483647 h 162"/>
              <a:gd name="T60" fmla="*/ 2147483647 w 186"/>
              <a:gd name="T61" fmla="*/ 2147483647 h 162"/>
              <a:gd name="T62" fmla="*/ 2147483647 w 186"/>
              <a:gd name="T63" fmla="*/ 2147483647 h 162"/>
              <a:gd name="T64" fmla="*/ 2147483647 w 186"/>
              <a:gd name="T65" fmla="*/ 2147483647 h 162"/>
              <a:gd name="T66" fmla="*/ 2147483647 w 186"/>
              <a:gd name="T67" fmla="*/ 2147483647 h 162"/>
              <a:gd name="T68" fmla="*/ 2147483647 w 186"/>
              <a:gd name="T69" fmla="*/ 2147483647 h 162"/>
              <a:gd name="T70" fmla="*/ 2147483647 w 186"/>
              <a:gd name="T71" fmla="*/ 2147483647 h 162"/>
              <a:gd name="T72" fmla="*/ 2147483647 w 186"/>
              <a:gd name="T73" fmla="*/ 2147483647 h 162"/>
              <a:gd name="T74" fmla="*/ 2147483647 w 186"/>
              <a:gd name="T75" fmla="*/ 2147483647 h 162"/>
              <a:gd name="T76" fmla="*/ 2147483647 w 186"/>
              <a:gd name="T77" fmla="*/ 2147483647 h 162"/>
              <a:gd name="T78" fmla="*/ 2147483647 w 186"/>
              <a:gd name="T79" fmla="*/ 2147483647 h 162"/>
              <a:gd name="T80" fmla="*/ 2147483647 w 186"/>
              <a:gd name="T81" fmla="*/ 2147483647 h 162"/>
              <a:gd name="T82" fmla="*/ 2147483647 w 186"/>
              <a:gd name="T83" fmla="*/ 2147483647 h 162"/>
              <a:gd name="T84" fmla="*/ 2147483647 w 186"/>
              <a:gd name="T85" fmla="*/ 2147483647 h 162"/>
              <a:gd name="T86" fmla="*/ 2147483647 w 186"/>
              <a:gd name="T87" fmla="*/ 2147483647 h 162"/>
              <a:gd name="T88" fmla="*/ 2147483647 w 186"/>
              <a:gd name="T89" fmla="*/ 2147483647 h 162"/>
              <a:gd name="T90" fmla="*/ 2147483647 w 186"/>
              <a:gd name="T91" fmla="*/ 2147483647 h 162"/>
              <a:gd name="T92" fmla="*/ 2147483647 w 186"/>
              <a:gd name="T93" fmla="*/ 2147483647 h 162"/>
              <a:gd name="T94" fmla="*/ 2147483647 w 186"/>
              <a:gd name="T95" fmla="*/ 2147483647 h 162"/>
              <a:gd name="T96" fmla="*/ 2147483647 w 186"/>
              <a:gd name="T97" fmla="*/ 2147483647 h 162"/>
              <a:gd name="T98" fmla="*/ 2147483647 w 186"/>
              <a:gd name="T99" fmla="*/ 2147483647 h 162"/>
              <a:gd name="T100" fmla="*/ 2147483647 w 186"/>
              <a:gd name="T101" fmla="*/ 2147483647 h 162"/>
              <a:gd name="T102" fmla="*/ 2147483647 w 186"/>
              <a:gd name="T103" fmla="*/ 2147483647 h 162"/>
              <a:gd name="T104" fmla="*/ 2147483647 w 186"/>
              <a:gd name="T105" fmla="*/ 2147483647 h 1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6"/>
              <a:gd name="T160" fmla="*/ 0 h 162"/>
              <a:gd name="T161" fmla="*/ 186 w 186"/>
              <a:gd name="T162" fmla="*/ 162 h 1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6" h="162">
                <a:moveTo>
                  <a:pt x="38" y="54"/>
                </a:moveTo>
                <a:lnTo>
                  <a:pt x="34" y="50"/>
                </a:lnTo>
                <a:lnTo>
                  <a:pt x="34" y="44"/>
                </a:lnTo>
                <a:lnTo>
                  <a:pt x="30" y="38"/>
                </a:lnTo>
                <a:lnTo>
                  <a:pt x="32" y="32"/>
                </a:lnTo>
                <a:lnTo>
                  <a:pt x="36" y="38"/>
                </a:lnTo>
                <a:lnTo>
                  <a:pt x="42" y="36"/>
                </a:lnTo>
                <a:lnTo>
                  <a:pt x="44" y="30"/>
                </a:lnTo>
                <a:lnTo>
                  <a:pt x="38" y="26"/>
                </a:lnTo>
                <a:lnTo>
                  <a:pt x="34" y="22"/>
                </a:lnTo>
                <a:lnTo>
                  <a:pt x="26" y="20"/>
                </a:lnTo>
                <a:lnTo>
                  <a:pt x="32" y="16"/>
                </a:lnTo>
                <a:lnTo>
                  <a:pt x="38" y="18"/>
                </a:lnTo>
                <a:lnTo>
                  <a:pt x="44" y="22"/>
                </a:lnTo>
                <a:lnTo>
                  <a:pt x="46" y="24"/>
                </a:lnTo>
                <a:lnTo>
                  <a:pt x="52" y="20"/>
                </a:lnTo>
                <a:lnTo>
                  <a:pt x="58" y="18"/>
                </a:lnTo>
                <a:lnTo>
                  <a:pt x="60" y="12"/>
                </a:lnTo>
                <a:lnTo>
                  <a:pt x="58" y="6"/>
                </a:lnTo>
                <a:lnTo>
                  <a:pt x="62" y="0"/>
                </a:lnTo>
                <a:lnTo>
                  <a:pt x="64" y="0"/>
                </a:lnTo>
                <a:lnTo>
                  <a:pt x="70" y="2"/>
                </a:lnTo>
                <a:lnTo>
                  <a:pt x="76" y="6"/>
                </a:lnTo>
                <a:lnTo>
                  <a:pt x="82" y="12"/>
                </a:lnTo>
                <a:lnTo>
                  <a:pt x="88" y="14"/>
                </a:lnTo>
                <a:lnTo>
                  <a:pt x="94" y="12"/>
                </a:lnTo>
                <a:lnTo>
                  <a:pt x="100" y="8"/>
                </a:lnTo>
                <a:lnTo>
                  <a:pt x="106" y="6"/>
                </a:lnTo>
                <a:lnTo>
                  <a:pt x="110" y="10"/>
                </a:lnTo>
                <a:lnTo>
                  <a:pt x="112" y="10"/>
                </a:lnTo>
                <a:lnTo>
                  <a:pt x="114" y="12"/>
                </a:lnTo>
                <a:lnTo>
                  <a:pt x="114" y="14"/>
                </a:lnTo>
                <a:lnTo>
                  <a:pt x="118" y="20"/>
                </a:lnTo>
                <a:lnTo>
                  <a:pt x="120" y="26"/>
                </a:lnTo>
                <a:lnTo>
                  <a:pt x="122" y="30"/>
                </a:lnTo>
                <a:lnTo>
                  <a:pt x="124" y="34"/>
                </a:lnTo>
                <a:lnTo>
                  <a:pt x="126" y="36"/>
                </a:lnTo>
                <a:lnTo>
                  <a:pt x="126" y="38"/>
                </a:lnTo>
                <a:lnTo>
                  <a:pt x="128" y="44"/>
                </a:lnTo>
                <a:lnTo>
                  <a:pt x="130" y="50"/>
                </a:lnTo>
                <a:lnTo>
                  <a:pt x="134" y="56"/>
                </a:lnTo>
                <a:lnTo>
                  <a:pt x="138" y="62"/>
                </a:lnTo>
                <a:lnTo>
                  <a:pt x="140" y="68"/>
                </a:lnTo>
                <a:lnTo>
                  <a:pt x="144" y="74"/>
                </a:lnTo>
                <a:lnTo>
                  <a:pt x="146" y="80"/>
                </a:lnTo>
                <a:lnTo>
                  <a:pt x="148" y="86"/>
                </a:lnTo>
                <a:lnTo>
                  <a:pt x="152" y="92"/>
                </a:lnTo>
                <a:lnTo>
                  <a:pt x="154" y="96"/>
                </a:lnTo>
                <a:lnTo>
                  <a:pt x="156" y="102"/>
                </a:lnTo>
                <a:lnTo>
                  <a:pt x="160" y="108"/>
                </a:lnTo>
                <a:lnTo>
                  <a:pt x="162" y="114"/>
                </a:lnTo>
                <a:lnTo>
                  <a:pt x="166" y="120"/>
                </a:lnTo>
                <a:lnTo>
                  <a:pt x="168" y="126"/>
                </a:lnTo>
                <a:lnTo>
                  <a:pt x="172" y="132"/>
                </a:lnTo>
                <a:lnTo>
                  <a:pt x="172" y="134"/>
                </a:lnTo>
                <a:lnTo>
                  <a:pt x="174" y="136"/>
                </a:lnTo>
                <a:lnTo>
                  <a:pt x="178" y="142"/>
                </a:lnTo>
                <a:lnTo>
                  <a:pt x="180" y="148"/>
                </a:lnTo>
                <a:lnTo>
                  <a:pt x="182" y="152"/>
                </a:lnTo>
                <a:lnTo>
                  <a:pt x="182" y="154"/>
                </a:lnTo>
                <a:lnTo>
                  <a:pt x="186" y="160"/>
                </a:lnTo>
                <a:lnTo>
                  <a:pt x="180" y="156"/>
                </a:lnTo>
                <a:lnTo>
                  <a:pt x="172" y="154"/>
                </a:lnTo>
                <a:lnTo>
                  <a:pt x="168" y="152"/>
                </a:lnTo>
                <a:lnTo>
                  <a:pt x="172" y="156"/>
                </a:lnTo>
                <a:lnTo>
                  <a:pt x="178" y="158"/>
                </a:lnTo>
                <a:lnTo>
                  <a:pt x="172" y="162"/>
                </a:lnTo>
                <a:lnTo>
                  <a:pt x="168" y="162"/>
                </a:lnTo>
                <a:lnTo>
                  <a:pt x="162" y="162"/>
                </a:lnTo>
                <a:lnTo>
                  <a:pt x="156" y="160"/>
                </a:lnTo>
                <a:lnTo>
                  <a:pt x="150" y="160"/>
                </a:lnTo>
                <a:lnTo>
                  <a:pt x="144" y="158"/>
                </a:lnTo>
                <a:lnTo>
                  <a:pt x="138" y="156"/>
                </a:lnTo>
                <a:lnTo>
                  <a:pt x="132" y="154"/>
                </a:lnTo>
                <a:lnTo>
                  <a:pt x="130" y="148"/>
                </a:lnTo>
                <a:lnTo>
                  <a:pt x="124" y="150"/>
                </a:lnTo>
                <a:lnTo>
                  <a:pt x="118" y="154"/>
                </a:lnTo>
                <a:lnTo>
                  <a:pt x="112" y="148"/>
                </a:lnTo>
                <a:lnTo>
                  <a:pt x="110" y="148"/>
                </a:lnTo>
                <a:lnTo>
                  <a:pt x="112" y="150"/>
                </a:lnTo>
                <a:lnTo>
                  <a:pt x="114" y="156"/>
                </a:lnTo>
                <a:lnTo>
                  <a:pt x="108" y="152"/>
                </a:lnTo>
                <a:lnTo>
                  <a:pt x="102" y="156"/>
                </a:lnTo>
                <a:lnTo>
                  <a:pt x="96" y="154"/>
                </a:lnTo>
                <a:lnTo>
                  <a:pt x="98" y="148"/>
                </a:lnTo>
                <a:lnTo>
                  <a:pt x="94" y="154"/>
                </a:lnTo>
                <a:lnTo>
                  <a:pt x="88" y="154"/>
                </a:lnTo>
                <a:lnTo>
                  <a:pt x="82" y="152"/>
                </a:lnTo>
                <a:lnTo>
                  <a:pt x="76" y="156"/>
                </a:lnTo>
                <a:lnTo>
                  <a:pt x="72" y="154"/>
                </a:lnTo>
                <a:lnTo>
                  <a:pt x="76" y="150"/>
                </a:lnTo>
                <a:lnTo>
                  <a:pt x="82" y="146"/>
                </a:lnTo>
                <a:lnTo>
                  <a:pt x="76" y="144"/>
                </a:lnTo>
                <a:lnTo>
                  <a:pt x="70" y="150"/>
                </a:lnTo>
                <a:lnTo>
                  <a:pt x="64" y="150"/>
                </a:lnTo>
                <a:lnTo>
                  <a:pt x="58" y="152"/>
                </a:lnTo>
                <a:lnTo>
                  <a:pt x="58" y="146"/>
                </a:lnTo>
                <a:lnTo>
                  <a:pt x="54" y="140"/>
                </a:lnTo>
                <a:lnTo>
                  <a:pt x="50" y="146"/>
                </a:lnTo>
                <a:lnTo>
                  <a:pt x="44" y="146"/>
                </a:lnTo>
                <a:lnTo>
                  <a:pt x="42" y="140"/>
                </a:lnTo>
                <a:lnTo>
                  <a:pt x="36" y="134"/>
                </a:lnTo>
                <a:lnTo>
                  <a:pt x="38" y="142"/>
                </a:lnTo>
                <a:lnTo>
                  <a:pt x="32" y="144"/>
                </a:lnTo>
                <a:lnTo>
                  <a:pt x="26" y="144"/>
                </a:lnTo>
                <a:lnTo>
                  <a:pt x="20" y="140"/>
                </a:lnTo>
                <a:lnTo>
                  <a:pt x="14" y="142"/>
                </a:lnTo>
                <a:lnTo>
                  <a:pt x="8" y="144"/>
                </a:lnTo>
                <a:lnTo>
                  <a:pt x="6" y="138"/>
                </a:lnTo>
                <a:lnTo>
                  <a:pt x="0" y="132"/>
                </a:lnTo>
                <a:lnTo>
                  <a:pt x="6" y="132"/>
                </a:lnTo>
                <a:lnTo>
                  <a:pt x="12" y="136"/>
                </a:lnTo>
                <a:lnTo>
                  <a:pt x="18" y="138"/>
                </a:lnTo>
                <a:lnTo>
                  <a:pt x="16" y="132"/>
                </a:lnTo>
                <a:lnTo>
                  <a:pt x="10" y="132"/>
                </a:lnTo>
                <a:lnTo>
                  <a:pt x="16" y="130"/>
                </a:lnTo>
                <a:lnTo>
                  <a:pt x="22" y="134"/>
                </a:lnTo>
                <a:lnTo>
                  <a:pt x="16" y="128"/>
                </a:lnTo>
                <a:lnTo>
                  <a:pt x="22" y="130"/>
                </a:lnTo>
                <a:lnTo>
                  <a:pt x="28" y="130"/>
                </a:lnTo>
                <a:lnTo>
                  <a:pt x="36" y="128"/>
                </a:lnTo>
                <a:lnTo>
                  <a:pt x="42" y="130"/>
                </a:lnTo>
                <a:lnTo>
                  <a:pt x="48" y="134"/>
                </a:lnTo>
                <a:lnTo>
                  <a:pt x="52" y="128"/>
                </a:lnTo>
                <a:lnTo>
                  <a:pt x="50" y="122"/>
                </a:lnTo>
                <a:lnTo>
                  <a:pt x="56" y="122"/>
                </a:lnTo>
                <a:lnTo>
                  <a:pt x="62" y="122"/>
                </a:lnTo>
                <a:lnTo>
                  <a:pt x="64" y="128"/>
                </a:lnTo>
                <a:lnTo>
                  <a:pt x="66" y="134"/>
                </a:lnTo>
                <a:lnTo>
                  <a:pt x="66" y="140"/>
                </a:lnTo>
                <a:lnTo>
                  <a:pt x="72" y="140"/>
                </a:lnTo>
                <a:lnTo>
                  <a:pt x="68" y="134"/>
                </a:lnTo>
                <a:lnTo>
                  <a:pt x="68" y="128"/>
                </a:lnTo>
                <a:lnTo>
                  <a:pt x="72" y="130"/>
                </a:lnTo>
                <a:lnTo>
                  <a:pt x="80" y="132"/>
                </a:lnTo>
                <a:lnTo>
                  <a:pt x="86" y="134"/>
                </a:lnTo>
                <a:lnTo>
                  <a:pt x="92" y="138"/>
                </a:lnTo>
                <a:lnTo>
                  <a:pt x="96" y="136"/>
                </a:lnTo>
                <a:lnTo>
                  <a:pt x="92" y="134"/>
                </a:lnTo>
                <a:lnTo>
                  <a:pt x="84" y="132"/>
                </a:lnTo>
                <a:lnTo>
                  <a:pt x="78" y="130"/>
                </a:lnTo>
                <a:lnTo>
                  <a:pt x="72" y="126"/>
                </a:lnTo>
                <a:lnTo>
                  <a:pt x="66" y="120"/>
                </a:lnTo>
                <a:lnTo>
                  <a:pt x="60" y="118"/>
                </a:lnTo>
                <a:lnTo>
                  <a:pt x="54" y="118"/>
                </a:lnTo>
                <a:lnTo>
                  <a:pt x="50" y="116"/>
                </a:lnTo>
                <a:lnTo>
                  <a:pt x="44" y="110"/>
                </a:lnTo>
                <a:lnTo>
                  <a:pt x="50" y="112"/>
                </a:lnTo>
                <a:lnTo>
                  <a:pt x="56" y="114"/>
                </a:lnTo>
                <a:lnTo>
                  <a:pt x="62" y="116"/>
                </a:lnTo>
                <a:lnTo>
                  <a:pt x="68" y="118"/>
                </a:lnTo>
                <a:lnTo>
                  <a:pt x="74" y="120"/>
                </a:lnTo>
                <a:lnTo>
                  <a:pt x="80" y="122"/>
                </a:lnTo>
                <a:lnTo>
                  <a:pt x="86" y="124"/>
                </a:lnTo>
                <a:lnTo>
                  <a:pt x="92" y="128"/>
                </a:lnTo>
                <a:lnTo>
                  <a:pt x="86" y="122"/>
                </a:lnTo>
                <a:lnTo>
                  <a:pt x="92" y="118"/>
                </a:lnTo>
                <a:lnTo>
                  <a:pt x="96" y="118"/>
                </a:lnTo>
                <a:lnTo>
                  <a:pt x="100" y="124"/>
                </a:lnTo>
                <a:lnTo>
                  <a:pt x="106" y="128"/>
                </a:lnTo>
                <a:lnTo>
                  <a:pt x="112" y="132"/>
                </a:lnTo>
                <a:lnTo>
                  <a:pt x="108" y="126"/>
                </a:lnTo>
                <a:lnTo>
                  <a:pt x="102" y="122"/>
                </a:lnTo>
                <a:lnTo>
                  <a:pt x="108" y="120"/>
                </a:lnTo>
                <a:lnTo>
                  <a:pt x="114" y="122"/>
                </a:lnTo>
                <a:lnTo>
                  <a:pt x="120" y="126"/>
                </a:lnTo>
                <a:lnTo>
                  <a:pt x="126" y="124"/>
                </a:lnTo>
                <a:lnTo>
                  <a:pt x="132" y="128"/>
                </a:lnTo>
                <a:lnTo>
                  <a:pt x="138" y="130"/>
                </a:lnTo>
                <a:lnTo>
                  <a:pt x="140" y="136"/>
                </a:lnTo>
                <a:lnTo>
                  <a:pt x="136" y="142"/>
                </a:lnTo>
                <a:lnTo>
                  <a:pt x="142" y="136"/>
                </a:lnTo>
                <a:lnTo>
                  <a:pt x="148" y="138"/>
                </a:lnTo>
                <a:lnTo>
                  <a:pt x="144" y="132"/>
                </a:lnTo>
                <a:lnTo>
                  <a:pt x="150" y="130"/>
                </a:lnTo>
                <a:lnTo>
                  <a:pt x="152" y="130"/>
                </a:lnTo>
                <a:lnTo>
                  <a:pt x="146" y="126"/>
                </a:lnTo>
                <a:lnTo>
                  <a:pt x="140" y="126"/>
                </a:lnTo>
                <a:lnTo>
                  <a:pt x="134" y="122"/>
                </a:lnTo>
                <a:lnTo>
                  <a:pt x="130" y="120"/>
                </a:lnTo>
                <a:lnTo>
                  <a:pt x="122" y="118"/>
                </a:lnTo>
                <a:lnTo>
                  <a:pt x="116" y="116"/>
                </a:lnTo>
                <a:lnTo>
                  <a:pt x="110" y="114"/>
                </a:lnTo>
                <a:lnTo>
                  <a:pt x="106" y="114"/>
                </a:lnTo>
                <a:lnTo>
                  <a:pt x="98" y="112"/>
                </a:lnTo>
                <a:lnTo>
                  <a:pt x="92" y="110"/>
                </a:lnTo>
                <a:lnTo>
                  <a:pt x="90" y="108"/>
                </a:lnTo>
                <a:lnTo>
                  <a:pt x="84" y="104"/>
                </a:lnTo>
                <a:lnTo>
                  <a:pt x="80" y="98"/>
                </a:lnTo>
                <a:lnTo>
                  <a:pt x="74" y="92"/>
                </a:lnTo>
                <a:lnTo>
                  <a:pt x="68" y="86"/>
                </a:lnTo>
                <a:lnTo>
                  <a:pt x="74" y="82"/>
                </a:lnTo>
                <a:lnTo>
                  <a:pt x="76" y="80"/>
                </a:lnTo>
                <a:lnTo>
                  <a:pt x="82" y="78"/>
                </a:lnTo>
                <a:lnTo>
                  <a:pt x="88" y="76"/>
                </a:lnTo>
                <a:lnTo>
                  <a:pt x="94" y="74"/>
                </a:lnTo>
                <a:lnTo>
                  <a:pt x="100" y="70"/>
                </a:lnTo>
                <a:lnTo>
                  <a:pt x="100" y="64"/>
                </a:lnTo>
                <a:lnTo>
                  <a:pt x="96" y="58"/>
                </a:lnTo>
                <a:lnTo>
                  <a:pt x="92" y="56"/>
                </a:lnTo>
                <a:lnTo>
                  <a:pt x="86" y="56"/>
                </a:lnTo>
                <a:lnTo>
                  <a:pt x="80" y="56"/>
                </a:lnTo>
                <a:lnTo>
                  <a:pt x="74" y="58"/>
                </a:lnTo>
                <a:lnTo>
                  <a:pt x="68" y="58"/>
                </a:lnTo>
                <a:lnTo>
                  <a:pt x="66" y="60"/>
                </a:lnTo>
                <a:lnTo>
                  <a:pt x="60" y="64"/>
                </a:lnTo>
                <a:lnTo>
                  <a:pt x="54" y="64"/>
                </a:lnTo>
                <a:lnTo>
                  <a:pt x="48" y="60"/>
                </a:lnTo>
                <a:lnTo>
                  <a:pt x="42" y="58"/>
                </a:lnTo>
                <a:lnTo>
                  <a:pt x="38" y="54"/>
                </a:lnTo>
                <a:close/>
              </a:path>
            </a:pathLst>
          </a:custGeom>
          <a:solidFill>
            <a:srgbClr val="000000">
              <a:alpha val="10196"/>
            </a:srgbClr>
          </a:solidFill>
          <a:ln w="9525">
            <a:noFill/>
            <a:round/>
            <a:headEnd/>
            <a:tailEnd/>
          </a:ln>
        </p:spPr>
        <p:txBody>
          <a:bodyPr/>
          <a:lstStyle/>
          <a:p>
            <a:endParaRPr lang="de-DE"/>
          </a:p>
        </p:txBody>
      </p:sp>
      <p:sp>
        <p:nvSpPr>
          <p:cNvPr id="357410" name="Rectangle 330"/>
          <p:cNvSpPr>
            <a:spLocks noChangeArrowheads="1"/>
          </p:cNvSpPr>
          <p:nvPr/>
        </p:nvSpPr>
        <p:spPr bwMode="auto">
          <a:xfrm>
            <a:off x="320675" y="5956300"/>
            <a:ext cx="8642350" cy="211138"/>
          </a:xfrm>
          <a:prstGeom prst="rect">
            <a:avLst/>
          </a:prstGeom>
          <a:noFill/>
          <a:ln w="9525">
            <a:noFill/>
            <a:miter lim="800000"/>
            <a:headEnd/>
            <a:tailEnd/>
          </a:ln>
        </p:spPr>
        <p:txBody>
          <a:bodyPr lIns="0" tIns="0" rIns="0" bIns="0">
            <a:spAutoFit/>
          </a:bodyPr>
          <a:lstStyle/>
          <a:p>
            <a:pPr>
              <a:lnSpc>
                <a:spcPts val="1800"/>
              </a:lnSpc>
              <a:spcBef>
                <a:spcPct val="50000"/>
              </a:spcBef>
              <a:buClr>
                <a:srgbClr val="E20074"/>
              </a:buClr>
              <a:buSzPct val="75000"/>
              <a:buFont typeface="Wingdings" pitchFamily="2" charset="2"/>
              <a:buNone/>
            </a:pPr>
            <a:r>
              <a:rPr lang="en-US" sz="1400">
                <a:solidFill>
                  <a:srgbClr val="000000"/>
                </a:solidFill>
                <a:latin typeface="Tele-GroteskNor"/>
              </a:rPr>
              <a:t>Network of international partnerships with top research institutes, universities, industrial partners and start-ups.</a:t>
            </a:r>
          </a:p>
        </p:txBody>
      </p:sp>
      <p:sp>
        <p:nvSpPr>
          <p:cNvPr id="357411" name="Rectangle 4"/>
          <p:cNvSpPr>
            <a:spLocks noChangeArrowheads="1"/>
          </p:cNvSpPr>
          <p:nvPr/>
        </p:nvSpPr>
        <p:spPr bwMode="auto">
          <a:xfrm>
            <a:off x="314325" y="1381125"/>
            <a:ext cx="4137025" cy="376238"/>
          </a:xfrm>
          <a:prstGeom prst="rect">
            <a:avLst/>
          </a:prstGeom>
          <a:solidFill>
            <a:schemeClr val="tx2"/>
          </a:solidFill>
          <a:ln w="9525">
            <a:noFill/>
            <a:miter lim="800000"/>
            <a:headEnd/>
            <a:tailEnd/>
          </a:ln>
        </p:spPr>
        <p:txBody>
          <a:bodyPr lIns="144000" tIns="72000" rIns="144000" bIns="72000">
            <a:spAutoFit/>
          </a:bodyPr>
          <a:lstStyle/>
          <a:p>
            <a:pPr algn="ctr">
              <a:lnSpc>
                <a:spcPts val="1800"/>
              </a:lnSpc>
              <a:spcBef>
                <a:spcPct val="50000"/>
              </a:spcBef>
              <a:buClr>
                <a:srgbClr val="E20074"/>
              </a:buClr>
              <a:buSzPct val="75000"/>
              <a:buFont typeface="Wingdings" pitchFamily="2" charset="2"/>
              <a:buNone/>
            </a:pPr>
            <a:r>
              <a:rPr lang="en-US">
                <a:solidFill>
                  <a:srgbClr val="FFFFFF"/>
                </a:solidFill>
              </a:rPr>
              <a:t>Strategic Research</a:t>
            </a:r>
          </a:p>
        </p:txBody>
      </p:sp>
      <p:grpSp>
        <p:nvGrpSpPr>
          <p:cNvPr id="1197" name="Group 326"/>
          <p:cNvGrpSpPr/>
          <p:nvPr/>
        </p:nvGrpSpPr>
        <p:grpSpPr>
          <a:xfrm>
            <a:off x="920632" y="1834762"/>
            <a:ext cx="7515225" cy="3776663"/>
            <a:chOff x="873125" y="2025650"/>
            <a:chExt cx="7515225" cy="3776663"/>
          </a:xfrm>
          <a:solidFill>
            <a:schemeClr val="accent2">
              <a:alpha val="43000"/>
            </a:schemeClr>
          </a:solidFill>
        </p:grpSpPr>
        <p:sp>
          <p:nvSpPr>
            <p:cNvPr id="1198" name="AutoShape 18"/>
            <p:cNvSpPr>
              <a:spLocks noChangeArrowheads="1"/>
            </p:cNvSpPr>
            <p:nvPr/>
          </p:nvSpPr>
          <p:spPr bwMode="auto">
            <a:xfrm rot="-5591982">
              <a:off x="4209257" y="2997994"/>
              <a:ext cx="0" cy="249237"/>
            </a:xfrm>
            <a:custGeom>
              <a:avLst/>
              <a:gdLst>
                <a:gd name="T0" fmla="*/ 0 w 21600"/>
                <a:gd name="T1" fmla="*/ 2147483647 h 21600"/>
                <a:gd name="T2" fmla="*/ 0 w 21600"/>
                <a:gd name="T3" fmla="*/ 2147483647 h 21600"/>
                <a:gd name="T4" fmla="*/ 0 w 21600"/>
                <a:gd name="T5" fmla="*/ 2147483647 h 21600"/>
                <a:gd name="T6" fmla="*/ 0 w 21600"/>
                <a:gd name="T7" fmla="*/ 2147483647 h 21600"/>
                <a:gd name="T8" fmla="*/ 0 w 21600"/>
                <a:gd name="T9" fmla="*/ 2147483647 h 21600"/>
                <a:gd name="T10" fmla="*/ 0 w 21600"/>
                <a:gd name="T11" fmla="*/ 2147483647 h 21600"/>
                <a:gd name="T12" fmla="*/ 0 60000 65536"/>
                <a:gd name="T13" fmla="*/ 0 60000 65536"/>
                <a:gd name="T14" fmla="*/ 0 60000 65536"/>
                <a:gd name="T15" fmla="*/ 0 60000 65536"/>
                <a:gd name="T16" fmla="*/ 0 60000 65536"/>
                <a:gd name="T17" fmla="*/ 0 60000 65536"/>
                <a:gd name="T18" fmla="*/ 0 w 21600"/>
                <a:gd name="T19" fmla="*/ 3163 h 21600"/>
                <a:gd name="T20" fmla="*/ 0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304" y="11087"/>
                  </a:moveTo>
                  <a:cubicBezTo>
                    <a:pt x="17308" y="10992"/>
                    <a:pt x="17311" y="10896"/>
                    <a:pt x="17311" y="10800"/>
                  </a:cubicBezTo>
                  <a:cubicBezTo>
                    <a:pt x="17311" y="7204"/>
                    <a:pt x="14395" y="4289"/>
                    <a:pt x="10800" y="4289"/>
                  </a:cubicBezTo>
                  <a:cubicBezTo>
                    <a:pt x="9606" y="4288"/>
                    <a:pt x="8436" y="4616"/>
                    <a:pt x="7417" y="5236"/>
                  </a:cubicBezTo>
                  <a:lnTo>
                    <a:pt x="5188" y="1572"/>
                  </a:lnTo>
                  <a:cubicBezTo>
                    <a:pt x="6879" y="543"/>
                    <a:pt x="8820" y="-1"/>
                    <a:pt x="10800" y="0"/>
                  </a:cubicBezTo>
                  <a:cubicBezTo>
                    <a:pt x="16764" y="0"/>
                    <a:pt x="21600" y="4835"/>
                    <a:pt x="21600" y="10800"/>
                  </a:cubicBezTo>
                  <a:cubicBezTo>
                    <a:pt x="21600" y="10959"/>
                    <a:pt x="21596" y="11118"/>
                    <a:pt x="21589" y="11277"/>
                  </a:cubicBezTo>
                  <a:lnTo>
                    <a:pt x="24286" y="11397"/>
                  </a:lnTo>
                  <a:lnTo>
                    <a:pt x="19233" y="16022"/>
                  </a:lnTo>
                  <a:lnTo>
                    <a:pt x="14607" y="10968"/>
                  </a:lnTo>
                  <a:lnTo>
                    <a:pt x="17304" y="11087"/>
                  </a:lnTo>
                  <a:close/>
                </a:path>
              </a:pathLst>
            </a:custGeom>
            <a:grpFill/>
            <a:ln>
              <a:noFill/>
            </a:ln>
          </p:spPr>
          <p:txBody>
            <a:bodyPr wrap="none" lIns="0" tIns="0" rIns="0" bIns="0" anchor="ctr">
              <a:spAutoFit/>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199" name="AutoShape 19"/>
            <p:cNvSpPr>
              <a:spLocks noChangeArrowheads="1"/>
            </p:cNvSpPr>
            <p:nvPr/>
          </p:nvSpPr>
          <p:spPr bwMode="auto">
            <a:xfrm rot="1132072">
              <a:off x="4856163" y="2887663"/>
              <a:ext cx="0" cy="271462"/>
            </a:xfrm>
            <a:custGeom>
              <a:avLst/>
              <a:gdLst>
                <a:gd name="T0" fmla="*/ 0 w 21600"/>
                <a:gd name="T1" fmla="*/ 2147483647 h 21600"/>
                <a:gd name="T2" fmla="*/ 0 w 21600"/>
                <a:gd name="T3" fmla="*/ 2147483647 h 21600"/>
                <a:gd name="T4" fmla="*/ 0 w 21600"/>
                <a:gd name="T5" fmla="*/ 2147483647 h 21600"/>
                <a:gd name="T6" fmla="*/ 0 w 21600"/>
                <a:gd name="T7" fmla="*/ 2147483647 h 21600"/>
                <a:gd name="T8" fmla="*/ 0 w 21600"/>
                <a:gd name="T9" fmla="*/ 2147483647 h 21600"/>
                <a:gd name="T10" fmla="*/ 0 w 21600"/>
                <a:gd name="T11" fmla="*/ 2147483647 h 21600"/>
                <a:gd name="T12" fmla="*/ 0 60000 65536"/>
                <a:gd name="T13" fmla="*/ 0 60000 65536"/>
                <a:gd name="T14" fmla="*/ 0 60000 65536"/>
                <a:gd name="T15" fmla="*/ 0 60000 65536"/>
                <a:gd name="T16" fmla="*/ 0 60000 65536"/>
                <a:gd name="T17" fmla="*/ 0 60000 65536"/>
                <a:gd name="T18" fmla="*/ 0 w 21600"/>
                <a:gd name="T19" fmla="*/ 3163 h 21600"/>
                <a:gd name="T20" fmla="*/ 0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7304" y="11087"/>
                  </a:moveTo>
                  <a:cubicBezTo>
                    <a:pt x="17308" y="10992"/>
                    <a:pt x="17311" y="10896"/>
                    <a:pt x="17311" y="10800"/>
                  </a:cubicBezTo>
                  <a:cubicBezTo>
                    <a:pt x="17311" y="7204"/>
                    <a:pt x="14395" y="4289"/>
                    <a:pt x="10800" y="4289"/>
                  </a:cubicBezTo>
                  <a:cubicBezTo>
                    <a:pt x="9606" y="4288"/>
                    <a:pt x="8436" y="4616"/>
                    <a:pt x="7417" y="5236"/>
                  </a:cubicBezTo>
                  <a:lnTo>
                    <a:pt x="5188" y="1572"/>
                  </a:lnTo>
                  <a:cubicBezTo>
                    <a:pt x="6879" y="543"/>
                    <a:pt x="8820" y="-1"/>
                    <a:pt x="10800" y="0"/>
                  </a:cubicBezTo>
                  <a:cubicBezTo>
                    <a:pt x="16764" y="0"/>
                    <a:pt x="21600" y="4835"/>
                    <a:pt x="21600" y="10800"/>
                  </a:cubicBezTo>
                  <a:cubicBezTo>
                    <a:pt x="21600" y="10959"/>
                    <a:pt x="21596" y="11118"/>
                    <a:pt x="21589" y="11277"/>
                  </a:cubicBezTo>
                  <a:lnTo>
                    <a:pt x="24286" y="11397"/>
                  </a:lnTo>
                  <a:lnTo>
                    <a:pt x="19233" y="16022"/>
                  </a:lnTo>
                  <a:lnTo>
                    <a:pt x="14607" y="10968"/>
                  </a:lnTo>
                  <a:lnTo>
                    <a:pt x="17304" y="11087"/>
                  </a:lnTo>
                  <a:close/>
                </a:path>
              </a:pathLst>
            </a:custGeom>
            <a:grpFill/>
            <a:ln>
              <a:noFill/>
            </a:ln>
          </p:spPr>
          <p:txBody>
            <a:bodyPr wrap="none" lIns="0" tIns="0" rIns="0" bIns="0" anchor="ctr">
              <a:spAutoFit/>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0" name="Freeform 17"/>
            <p:cNvSpPr>
              <a:spLocks/>
            </p:cNvSpPr>
            <p:nvPr/>
          </p:nvSpPr>
          <p:spPr bwMode="auto">
            <a:xfrm>
              <a:off x="4156075" y="2797175"/>
              <a:ext cx="285750" cy="244475"/>
            </a:xfrm>
            <a:custGeom>
              <a:avLst/>
              <a:gdLst>
                <a:gd name="T0" fmla="*/ 2147483647 w 700"/>
                <a:gd name="T1" fmla="*/ 2147483647 h 592"/>
                <a:gd name="T2" fmla="*/ 0 w 700"/>
                <a:gd name="T3" fmla="*/ 2147483647 h 592"/>
                <a:gd name="T4" fmla="*/ 2147483647 w 700"/>
                <a:gd name="T5" fmla="*/ 2147483647 h 592"/>
                <a:gd name="T6" fmla="*/ 2147483647 w 700"/>
                <a:gd name="T7" fmla="*/ 2147483647 h 592"/>
                <a:gd name="T8" fmla="*/ 2147483647 w 700"/>
                <a:gd name="T9" fmla="*/ 2147483647 h 592"/>
                <a:gd name="T10" fmla="*/ 2147483647 w 700"/>
                <a:gd name="T11" fmla="*/ 2147483647 h 592"/>
                <a:gd name="T12" fmla="*/ 2147483647 w 700"/>
                <a:gd name="T13" fmla="*/ 2147483647 h 592"/>
                <a:gd name="T14" fmla="*/ 2147483647 w 700"/>
                <a:gd name="T15" fmla="*/ 2147483647 h 592"/>
                <a:gd name="T16" fmla="*/ 2147483647 w 700"/>
                <a:gd name="T17" fmla="*/ 2147483647 h 592"/>
                <a:gd name="T18" fmla="*/ 2147483647 w 700"/>
                <a:gd name="T19" fmla="*/ 2147483647 h 592"/>
                <a:gd name="T20" fmla="*/ 2147483647 w 700"/>
                <a:gd name="T21" fmla="*/ 2147483647 h 592"/>
                <a:gd name="T22" fmla="*/ 2147483647 w 700"/>
                <a:gd name="T23" fmla="*/ 2147483647 h 592"/>
                <a:gd name="T24" fmla="*/ 2147483647 w 700"/>
                <a:gd name="T25" fmla="*/ 2147483647 h 592"/>
                <a:gd name="T26" fmla="*/ 2147483647 w 700"/>
                <a:gd name="T27" fmla="*/ 2147483647 h 592"/>
                <a:gd name="T28" fmla="*/ 2147483647 w 700"/>
                <a:gd name="T29" fmla="*/ 2147483647 h 592"/>
                <a:gd name="T30" fmla="*/ 2147483647 w 700"/>
                <a:gd name="T31" fmla="*/ 2147483647 h 592"/>
                <a:gd name="T32" fmla="*/ 2147483647 w 700"/>
                <a:gd name="T33" fmla="*/ 2147483647 h 592"/>
                <a:gd name="T34" fmla="*/ 2147483647 w 700"/>
                <a:gd name="T35" fmla="*/ 2147483647 h 592"/>
                <a:gd name="T36" fmla="*/ 2147483647 w 700"/>
                <a:gd name="T37" fmla="*/ 2147483647 h 592"/>
                <a:gd name="T38" fmla="*/ 2147483647 w 700"/>
                <a:gd name="T39" fmla="*/ 2147483647 h 592"/>
                <a:gd name="T40" fmla="*/ 2147483647 w 700"/>
                <a:gd name="T41" fmla="*/ 2147483647 h 592"/>
                <a:gd name="T42" fmla="*/ 2147483647 w 700"/>
                <a:gd name="T43" fmla="*/ 2147483647 h 592"/>
                <a:gd name="T44" fmla="*/ 2147483647 w 700"/>
                <a:gd name="T45" fmla="*/ 2147483647 h 592"/>
                <a:gd name="T46" fmla="*/ 2147483647 w 700"/>
                <a:gd name="T47" fmla="*/ 2147483647 h 592"/>
                <a:gd name="T48" fmla="*/ 2147483647 w 700"/>
                <a:gd name="T49" fmla="*/ 2147483647 h 592"/>
                <a:gd name="T50" fmla="*/ 2147483647 w 700"/>
                <a:gd name="T51" fmla="*/ 2147483647 h 592"/>
                <a:gd name="T52" fmla="*/ 2147483647 w 700"/>
                <a:gd name="T53" fmla="*/ 2147483647 h 592"/>
                <a:gd name="T54" fmla="*/ 2147483647 w 700"/>
                <a:gd name="T55" fmla="*/ 2147483647 h 592"/>
                <a:gd name="T56" fmla="*/ 2147483647 w 700"/>
                <a:gd name="T57" fmla="*/ 2147483647 h 592"/>
                <a:gd name="T58" fmla="*/ 2147483647 w 700"/>
                <a:gd name="T59" fmla="*/ 2147483647 h 592"/>
                <a:gd name="T60" fmla="*/ 2147483647 w 700"/>
                <a:gd name="T61" fmla="*/ 2147483647 h 592"/>
                <a:gd name="T62" fmla="*/ 2147483647 w 700"/>
                <a:gd name="T63" fmla="*/ 2147483647 h 592"/>
                <a:gd name="T64" fmla="*/ 2147483647 w 700"/>
                <a:gd name="T65" fmla="*/ 2147483647 h 592"/>
                <a:gd name="T66" fmla="*/ 2147483647 w 700"/>
                <a:gd name="T67" fmla="*/ 2147483647 h 592"/>
                <a:gd name="T68" fmla="*/ 2147483647 w 700"/>
                <a:gd name="T69" fmla="*/ 2147483647 h 592"/>
                <a:gd name="T70" fmla="*/ 2147483647 w 700"/>
                <a:gd name="T71" fmla="*/ 2147483647 h 592"/>
                <a:gd name="T72" fmla="*/ 2147483647 w 700"/>
                <a:gd name="T73" fmla="*/ 2147483647 h 592"/>
                <a:gd name="T74" fmla="*/ 2147483647 w 700"/>
                <a:gd name="T75" fmla="*/ 2147483647 h 592"/>
                <a:gd name="T76" fmla="*/ 2147483647 w 700"/>
                <a:gd name="T77" fmla="*/ 2147483647 h 592"/>
                <a:gd name="T78" fmla="*/ 2147483647 w 700"/>
                <a:gd name="T79" fmla="*/ 2147483647 h 592"/>
                <a:gd name="T80" fmla="*/ 2147483647 w 700"/>
                <a:gd name="T81" fmla="*/ 2147483647 h 592"/>
                <a:gd name="T82" fmla="*/ 2147483647 w 700"/>
                <a:gd name="T83" fmla="*/ 2147483647 h 592"/>
                <a:gd name="T84" fmla="*/ 2147483647 w 700"/>
                <a:gd name="T85" fmla="*/ 2147483647 h 592"/>
                <a:gd name="T86" fmla="*/ 2147483647 w 700"/>
                <a:gd name="T87" fmla="*/ 2147483647 h 592"/>
                <a:gd name="T88" fmla="*/ 2147483647 w 700"/>
                <a:gd name="T89" fmla="*/ 2147483647 h 592"/>
                <a:gd name="T90" fmla="*/ 2147483647 w 700"/>
                <a:gd name="T91" fmla="*/ 2147483647 h 592"/>
                <a:gd name="T92" fmla="*/ 2147483647 w 700"/>
                <a:gd name="T93" fmla="*/ 2147483647 h 592"/>
                <a:gd name="T94" fmla="*/ 2147483647 w 700"/>
                <a:gd name="T95" fmla="*/ 2147483647 h 592"/>
                <a:gd name="T96" fmla="*/ 2147483647 w 700"/>
                <a:gd name="T97" fmla="*/ 2147483647 h 592"/>
                <a:gd name="T98" fmla="*/ 2147483647 w 700"/>
                <a:gd name="T99" fmla="*/ 2147483647 h 592"/>
                <a:gd name="T100" fmla="*/ 2147483647 w 700"/>
                <a:gd name="T101" fmla="*/ 2147483647 h 592"/>
                <a:gd name="T102" fmla="*/ 2147483647 w 700"/>
                <a:gd name="T103" fmla="*/ 2147483647 h 592"/>
                <a:gd name="T104" fmla="*/ 2147483647 w 700"/>
                <a:gd name="T105" fmla="*/ 2147483647 h 592"/>
                <a:gd name="T106" fmla="*/ 2147483647 w 700"/>
                <a:gd name="T107" fmla="*/ 2147483647 h 592"/>
                <a:gd name="T108" fmla="*/ 2147483647 w 700"/>
                <a:gd name="T109" fmla="*/ 2147483647 h 592"/>
                <a:gd name="T110" fmla="*/ 2147483647 w 700"/>
                <a:gd name="T111" fmla="*/ 2147483647 h 592"/>
                <a:gd name="T112" fmla="*/ 2147483647 w 700"/>
                <a:gd name="T113" fmla="*/ 2147483647 h 592"/>
                <a:gd name="T114" fmla="*/ 2147483647 w 700"/>
                <a:gd name="T115" fmla="*/ 2147483647 h 592"/>
                <a:gd name="T116" fmla="*/ 2147483647 w 700"/>
                <a:gd name="T117" fmla="*/ 2147483647 h 592"/>
                <a:gd name="T118" fmla="*/ 2147483647 w 700"/>
                <a:gd name="T119" fmla="*/ 2147483647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00"/>
                <a:gd name="T181" fmla="*/ 0 h 592"/>
                <a:gd name="T182" fmla="*/ 700 w 700"/>
                <a:gd name="T183" fmla="*/ 592 h 5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00" h="592">
                  <a:moveTo>
                    <a:pt x="2" y="204"/>
                  </a:moveTo>
                  <a:lnTo>
                    <a:pt x="8" y="202"/>
                  </a:lnTo>
                  <a:lnTo>
                    <a:pt x="14" y="200"/>
                  </a:lnTo>
                  <a:lnTo>
                    <a:pt x="20" y="200"/>
                  </a:lnTo>
                  <a:lnTo>
                    <a:pt x="26" y="200"/>
                  </a:lnTo>
                  <a:lnTo>
                    <a:pt x="26" y="194"/>
                  </a:lnTo>
                  <a:lnTo>
                    <a:pt x="20" y="192"/>
                  </a:lnTo>
                  <a:lnTo>
                    <a:pt x="14" y="194"/>
                  </a:lnTo>
                  <a:lnTo>
                    <a:pt x="10" y="188"/>
                  </a:lnTo>
                  <a:lnTo>
                    <a:pt x="16" y="186"/>
                  </a:lnTo>
                  <a:lnTo>
                    <a:pt x="20" y="188"/>
                  </a:lnTo>
                  <a:lnTo>
                    <a:pt x="28" y="186"/>
                  </a:lnTo>
                  <a:lnTo>
                    <a:pt x="32" y="186"/>
                  </a:lnTo>
                  <a:lnTo>
                    <a:pt x="26" y="186"/>
                  </a:lnTo>
                  <a:lnTo>
                    <a:pt x="20" y="184"/>
                  </a:lnTo>
                  <a:lnTo>
                    <a:pt x="24" y="180"/>
                  </a:lnTo>
                  <a:lnTo>
                    <a:pt x="22" y="180"/>
                  </a:lnTo>
                  <a:lnTo>
                    <a:pt x="16" y="182"/>
                  </a:lnTo>
                  <a:lnTo>
                    <a:pt x="10" y="184"/>
                  </a:lnTo>
                  <a:lnTo>
                    <a:pt x="4" y="184"/>
                  </a:lnTo>
                  <a:lnTo>
                    <a:pt x="2" y="184"/>
                  </a:lnTo>
                  <a:lnTo>
                    <a:pt x="0" y="178"/>
                  </a:lnTo>
                  <a:lnTo>
                    <a:pt x="2" y="172"/>
                  </a:lnTo>
                  <a:lnTo>
                    <a:pt x="8" y="168"/>
                  </a:lnTo>
                  <a:lnTo>
                    <a:pt x="14" y="166"/>
                  </a:lnTo>
                  <a:lnTo>
                    <a:pt x="20" y="164"/>
                  </a:lnTo>
                  <a:lnTo>
                    <a:pt x="26" y="162"/>
                  </a:lnTo>
                  <a:lnTo>
                    <a:pt x="32" y="164"/>
                  </a:lnTo>
                  <a:lnTo>
                    <a:pt x="38" y="160"/>
                  </a:lnTo>
                  <a:lnTo>
                    <a:pt x="44" y="158"/>
                  </a:lnTo>
                  <a:lnTo>
                    <a:pt x="50" y="160"/>
                  </a:lnTo>
                  <a:lnTo>
                    <a:pt x="54" y="158"/>
                  </a:lnTo>
                  <a:lnTo>
                    <a:pt x="60" y="160"/>
                  </a:lnTo>
                  <a:lnTo>
                    <a:pt x="64" y="160"/>
                  </a:lnTo>
                  <a:lnTo>
                    <a:pt x="70" y="158"/>
                  </a:lnTo>
                  <a:lnTo>
                    <a:pt x="70" y="152"/>
                  </a:lnTo>
                  <a:lnTo>
                    <a:pt x="76" y="152"/>
                  </a:lnTo>
                  <a:lnTo>
                    <a:pt x="82" y="150"/>
                  </a:lnTo>
                  <a:lnTo>
                    <a:pt x="88" y="148"/>
                  </a:lnTo>
                  <a:lnTo>
                    <a:pt x="94" y="148"/>
                  </a:lnTo>
                  <a:lnTo>
                    <a:pt x="92" y="154"/>
                  </a:lnTo>
                  <a:lnTo>
                    <a:pt x="100" y="156"/>
                  </a:lnTo>
                  <a:lnTo>
                    <a:pt x="104" y="160"/>
                  </a:lnTo>
                  <a:lnTo>
                    <a:pt x="108" y="166"/>
                  </a:lnTo>
                  <a:lnTo>
                    <a:pt x="114" y="172"/>
                  </a:lnTo>
                  <a:lnTo>
                    <a:pt x="120" y="168"/>
                  </a:lnTo>
                  <a:lnTo>
                    <a:pt x="126" y="164"/>
                  </a:lnTo>
                  <a:lnTo>
                    <a:pt x="132" y="162"/>
                  </a:lnTo>
                  <a:lnTo>
                    <a:pt x="134" y="160"/>
                  </a:lnTo>
                  <a:lnTo>
                    <a:pt x="140" y="166"/>
                  </a:lnTo>
                  <a:lnTo>
                    <a:pt x="144" y="166"/>
                  </a:lnTo>
                  <a:lnTo>
                    <a:pt x="144" y="164"/>
                  </a:lnTo>
                  <a:lnTo>
                    <a:pt x="150" y="164"/>
                  </a:lnTo>
                  <a:lnTo>
                    <a:pt x="152" y="168"/>
                  </a:lnTo>
                  <a:lnTo>
                    <a:pt x="152" y="172"/>
                  </a:lnTo>
                  <a:lnTo>
                    <a:pt x="154" y="172"/>
                  </a:lnTo>
                  <a:lnTo>
                    <a:pt x="154" y="170"/>
                  </a:lnTo>
                  <a:lnTo>
                    <a:pt x="152" y="168"/>
                  </a:lnTo>
                  <a:lnTo>
                    <a:pt x="152" y="162"/>
                  </a:lnTo>
                  <a:lnTo>
                    <a:pt x="158" y="160"/>
                  </a:lnTo>
                  <a:lnTo>
                    <a:pt x="160" y="166"/>
                  </a:lnTo>
                  <a:lnTo>
                    <a:pt x="166" y="166"/>
                  </a:lnTo>
                  <a:lnTo>
                    <a:pt x="172" y="164"/>
                  </a:lnTo>
                  <a:lnTo>
                    <a:pt x="174" y="164"/>
                  </a:lnTo>
                  <a:lnTo>
                    <a:pt x="180" y="164"/>
                  </a:lnTo>
                  <a:lnTo>
                    <a:pt x="186" y="164"/>
                  </a:lnTo>
                  <a:lnTo>
                    <a:pt x="180" y="160"/>
                  </a:lnTo>
                  <a:lnTo>
                    <a:pt x="176" y="154"/>
                  </a:lnTo>
                  <a:lnTo>
                    <a:pt x="176" y="148"/>
                  </a:lnTo>
                  <a:lnTo>
                    <a:pt x="176" y="142"/>
                  </a:lnTo>
                  <a:lnTo>
                    <a:pt x="174" y="136"/>
                  </a:lnTo>
                  <a:lnTo>
                    <a:pt x="176" y="130"/>
                  </a:lnTo>
                  <a:lnTo>
                    <a:pt x="176" y="124"/>
                  </a:lnTo>
                  <a:lnTo>
                    <a:pt x="172" y="120"/>
                  </a:lnTo>
                  <a:lnTo>
                    <a:pt x="164" y="114"/>
                  </a:lnTo>
                  <a:lnTo>
                    <a:pt x="164" y="108"/>
                  </a:lnTo>
                  <a:lnTo>
                    <a:pt x="162" y="102"/>
                  </a:lnTo>
                  <a:lnTo>
                    <a:pt x="164" y="96"/>
                  </a:lnTo>
                  <a:lnTo>
                    <a:pt x="160" y="90"/>
                  </a:lnTo>
                  <a:lnTo>
                    <a:pt x="164" y="92"/>
                  </a:lnTo>
                  <a:lnTo>
                    <a:pt x="172" y="94"/>
                  </a:lnTo>
                  <a:lnTo>
                    <a:pt x="176" y="96"/>
                  </a:lnTo>
                  <a:lnTo>
                    <a:pt x="182" y="96"/>
                  </a:lnTo>
                  <a:lnTo>
                    <a:pt x="188" y="92"/>
                  </a:lnTo>
                  <a:lnTo>
                    <a:pt x="194" y="92"/>
                  </a:lnTo>
                  <a:lnTo>
                    <a:pt x="196" y="98"/>
                  </a:lnTo>
                  <a:lnTo>
                    <a:pt x="194" y="104"/>
                  </a:lnTo>
                  <a:lnTo>
                    <a:pt x="198" y="110"/>
                  </a:lnTo>
                  <a:lnTo>
                    <a:pt x="200" y="116"/>
                  </a:lnTo>
                  <a:lnTo>
                    <a:pt x="202" y="116"/>
                  </a:lnTo>
                  <a:lnTo>
                    <a:pt x="206" y="114"/>
                  </a:lnTo>
                  <a:lnTo>
                    <a:pt x="212" y="114"/>
                  </a:lnTo>
                  <a:lnTo>
                    <a:pt x="218" y="116"/>
                  </a:lnTo>
                  <a:lnTo>
                    <a:pt x="224" y="116"/>
                  </a:lnTo>
                  <a:lnTo>
                    <a:pt x="230" y="116"/>
                  </a:lnTo>
                  <a:lnTo>
                    <a:pt x="236" y="116"/>
                  </a:lnTo>
                  <a:lnTo>
                    <a:pt x="242" y="118"/>
                  </a:lnTo>
                  <a:lnTo>
                    <a:pt x="248" y="120"/>
                  </a:lnTo>
                  <a:lnTo>
                    <a:pt x="254" y="120"/>
                  </a:lnTo>
                  <a:lnTo>
                    <a:pt x="260" y="118"/>
                  </a:lnTo>
                  <a:lnTo>
                    <a:pt x="262" y="118"/>
                  </a:lnTo>
                  <a:lnTo>
                    <a:pt x="266" y="114"/>
                  </a:lnTo>
                  <a:lnTo>
                    <a:pt x="272" y="112"/>
                  </a:lnTo>
                  <a:lnTo>
                    <a:pt x="278" y="110"/>
                  </a:lnTo>
                  <a:lnTo>
                    <a:pt x="282" y="110"/>
                  </a:lnTo>
                  <a:lnTo>
                    <a:pt x="286" y="108"/>
                  </a:lnTo>
                  <a:lnTo>
                    <a:pt x="288" y="106"/>
                  </a:lnTo>
                  <a:lnTo>
                    <a:pt x="286" y="108"/>
                  </a:lnTo>
                  <a:lnTo>
                    <a:pt x="280" y="110"/>
                  </a:lnTo>
                  <a:lnTo>
                    <a:pt x="274" y="108"/>
                  </a:lnTo>
                  <a:lnTo>
                    <a:pt x="268" y="106"/>
                  </a:lnTo>
                  <a:lnTo>
                    <a:pt x="268" y="100"/>
                  </a:lnTo>
                  <a:lnTo>
                    <a:pt x="270" y="96"/>
                  </a:lnTo>
                  <a:lnTo>
                    <a:pt x="276" y="90"/>
                  </a:lnTo>
                  <a:lnTo>
                    <a:pt x="282" y="88"/>
                  </a:lnTo>
                  <a:lnTo>
                    <a:pt x="288" y="86"/>
                  </a:lnTo>
                  <a:lnTo>
                    <a:pt x="294" y="82"/>
                  </a:lnTo>
                  <a:lnTo>
                    <a:pt x="300" y="80"/>
                  </a:lnTo>
                  <a:lnTo>
                    <a:pt x="306" y="80"/>
                  </a:lnTo>
                  <a:lnTo>
                    <a:pt x="312" y="78"/>
                  </a:lnTo>
                  <a:lnTo>
                    <a:pt x="318" y="78"/>
                  </a:lnTo>
                  <a:lnTo>
                    <a:pt x="324" y="76"/>
                  </a:lnTo>
                  <a:lnTo>
                    <a:pt x="330" y="74"/>
                  </a:lnTo>
                  <a:lnTo>
                    <a:pt x="330" y="72"/>
                  </a:lnTo>
                  <a:lnTo>
                    <a:pt x="336" y="68"/>
                  </a:lnTo>
                  <a:lnTo>
                    <a:pt x="342" y="62"/>
                  </a:lnTo>
                  <a:lnTo>
                    <a:pt x="348" y="58"/>
                  </a:lnTo>
                  <a:lnTo>
                    <a:pt x="352" y="60"/>
                  </a:lnTo>
                  <a:lnTo>
                    <a:pt x="346" y="54"/>
                  </a:lnTo>
                  <a:lnTo>
                    <a:pt x="346" y="48"/>
                  </a:lnTo>
                  <a:lnTo>
                    <a:pt x="350" y="48"/>
                  </a:lnTo>
                  <a:lnTo>
                    <a:pt x="348" y="42"/>
                  </a:lnTo>
                  <a:lnTo>
                    <a:pt x="350" y="36"/>
                  </a:lnTo>
                  <a:lnTo>
                    <a:pt x="350" y="30"/>
                  </a:lnTo>
                  <a:lnTo>
                    <a:pt x="350" y="24"/>
                  </a:lnTo>
                  <a:lnTo>
                    <a:pt x="350" y="18"/>
                  </a:lnTo>
                  <a:lnTo>
                    <a:pt x="354" y="12"/>
                  </a:lnTo>
                  <a:lnTo>
                    <a:pt x="362" y="8"/>
                  </a:lnTo>
                  <a:lnTo>
                    <a:pt x="364" y="8"/>
                  </a:lnTo>
                  <a:lnTo>
                    <a:pt x="372" y="6"/>
                  </a:lnTo>
                  <a:lnTo>
                    <a:pt x="376" y="4"/>
                  </a:lnTo>
                  <a:lnTo>
                    <a:pt x="382" y="4"/>
                  </a:lnTo>
                  <a:lnTo>
                    <a:pt x="388" y="2"/>
                  </a:lnTo>
                  <a:lnTo>
                    <a:pt x="394" y="2"/>
                  </a:lnTo>
                  <a:lnTo>
                    <a:pt x="400" y="0"/>
                  </a:lnTo>
                  <a:lnTo>
                    <a:pt x="402" y="0"/>
                  </a:lnTo>
                  <a:lnTo>
                    <a:pt x="402" y="2"/>
                  </a:lnTo>
                  <a:lnTo>
                    <a:pt x="406" y="8"/>
                  </a:lnTo>
                  <a:lnTo>
                    <a:pt x="404" y="12"/>
                  </a:lnTo>
                  <a:lnTo>
                    <a:pt x="406" y="18"/>
                  </a:lnTo>
                  <a:lnTo>
                    <a:pt x="412" y="20"/>
                  </a:lnTo>
                  <a:lnTo>
                    <a:pt x="418" y="24"/>
                  </a:lnTo>
                  <a:lnTo>
                    <a:pt x="420" y="26"/>
                  </a:lnTo>
                  <a:lnTo>
                    <a:pt x="426" y="20"/>
                  </a:lnTo>
                  <a:lnTo>
                    <a:pt x="430" y="20"/>
                  </a:lnTo>
                  <a:lnTo>
                    <a:pt x="434" y="20"/>
                  </a:lnTo>
                  <a:lnTo>
                    <a:pt x="434" y="22"/>
                  </a:lnTo>
                  <a:lnTo>
                    <a:pt x="436" y="24"/>
                  </a:lnTo>
                  <a:lnTo>
                    <a:pt x="438" y="24"/>
                  </a:lnTo>
                  <a:lnTo>
                    <a:pt x="438" y="30"/>
                  </a:lnTo>
                  <a:lnTo>
                    <a:pt x="440" y="32"/>
                  </a:lnTo>
                  <a:lnTo>
                    <a:pt x="442" y="38"/>
                  </a:lnTo>
                  <a:lnTo>
                    <a:pt x="448" y="38"/>
                  </a:lnTo>
                  <a:lnTo>
                    <a:pt x="454" y="38"/>
                  </a:lnTo>
                  <a:lnTo>
                    <a:pt x="454" y="40"/>
                  </a:lnTo>
                  <a:lnTo>
                    <a:pt x="456" y="40"/>
                  </a:lnTo>
                  <a:lnTo>
                    <a:pt x="458" y="42"/>
                  </a:lnTo>
                  <a:lnTo>
                    <a:pt x="460" y="44"/>
                  </a:lnTo>
                  <a:lnTo>
                    <a:pt x="460" y="46"/>
                  </a:lnTo>
                  <a:lnTo>
                    <a:pt x="460" y="50"/>
                  </a:lnTo>
                  <a:lnTo>
                    <a:pt x="466" y="48"/>
                  </a:lnTo>
                  <a:lnTo>
                    <a:pt x="472" y="50"/>
                  </a:lnTo>
                  <a:lnTo>
                    <a:pt x="476" y="50"/>
                  </a:lnTo>
                  <a:lnTo>
                    <a:pt x="480" y="48"/>
                  </a:lnTo>
                  <a:lnTo>
                    <a:pt x="482" y="52"/>
                  </a:lnTo>
                  <a:lnTo>
                    <a:pt x="486" y="58"/>
                  </a:lnTo>
                  <a:lnTo>
                    <a:pt x="486" y="64"/>
                  </a:lnTo>
                  <a:lnTo>
                    <a:pt x="484" y="70"/>
                  </a:lnTo>
                  <a:lnTo>
                    <a:pt x="484" y="72"/>
                  </a:lnTo>
                  <a:lnTo>
                    <a:pt x="484" y="74"/>
                  </a:lnTo>
                  <a:lnTo>
                    <a:pt x="486" y="74"/>
                  </a:lnTo>
                  <a:lnTo>
                    <a:pt x="486" y="76"/>
                  </a:lnTo>
                  <a:lnTo>
                    <a:pt x="494" y="74"/>
                  </a:lnTo>
                  <a:lnTo>
                    <a:pt x="498" y="76"/>
                  </a:lnTo>
                  <a:lnTo>
                    <a:pt x="504" y="76"/>
                  </a:lnTo>
                  <a:lnTo>
                    <a:pt x="510" y="72"/>
                  </a:lnTo>
                  <a:lnTo>
                    <a:pt x="512" y="72"/>
                  </a:lnTo>
                  <a:lnTo>
                    <a:pt x="512" y="66"/>
                  </a:lnTo>
                  <a:lnTo>
                    <a:pt x="518" y="62"/>
                  </a:lnTo>
                  <a:lnTo>
                    <a:pt x="520" y="62"/>
                  </a:lnTo>
                  <a:lnTo>
                    <a:pt x="520" y="68"/>
                  </a:lnTo>
                  <a:lnTo>
                    <a:pt x="520" y="72"/>
                  </a:lnTo>
                  <a:lnTo>
                    <a:pt x="522" y="78"/>
                  </a:lnTo>
                  <a:lnTo>
                    <a:pt x="522" y="84"/>
                  </a:lnTo>
                  <a:lnTo>
                    <a:pt x="526" y="86"/>
                  </a:lnTo>
                  <a:lnTo>
                    <a:pt x="528" y="86"/>
                  </a:lnTo>
                  <a:lnTo>
                    <a:pt x="532" y="88"/>
                  </a:lnTo>
                  <a:lnTo>
                    <a:pt x="536" y="92"/>
                  </a:lnTo>
                  <a:lnTo>
                    <a:pt x="542" y="92"/>
                  </a:lnTo>
                  <a:lnTo>
                    <a:pt x="548" y="98"/>
                  </a:lnTo>
                  <a:lnTo>
                    <a:pt x="550" y="98"/>
                  </a:lnTo>
                  <a:lnTo>
                    <a:pt x="554" y="104"/>
                  </a:lnTo>
                  <a:lnTo>
                    <a:pt x="554" y="106"/>
                  </a:lnTo>
                  <a:lnTo>
                    <a:pt x="560" y="104"/>
                  </a:lnTo>
                  <a:lnTo>
                    <a:pt x="566" y="102"/>
                  </a:lnTo>
                  <a:lnTo>
                    <a:pt x="566" y="104"/>
                  </a:lnTo>
                  <a:lnTo>
                    <a:pt x="570" y="102"/>
                  </a:lnTo>
                  <a:lnTo>
                    <a:pt x="570" y="104"/>
                  </a:lnTo>
                  <a:lnTo>
                    <a:pt x="572" y="104"/>
                  </a:lnTo>
                  <a:lnTo>
                    <a:pt x="578" y="106"/>
                  </a:lnTo>
                  <a:lnTo>
                    <a:pt x="580" y="110"/>
                  </a:lnTo>
                  <a:lnTo>
                    <a:pt x="586" y="108"/>
                  </a:lnTo>
                  <a:lnTo>
                    <a:pt x="588" y="108"/>
                  </a:lnTo>
                  <a:lnTo>
                    <a:pt x="592" y="106"/>
                  </a:lnTo>
                  <a:lnTo>
                    <a:pt x="594" y="106"/>
                  </a:lnTo>
                  <a:lnTo>
                    <a:pt x="600" y="108"/>
                  </a:lnTo>
                  <a:lnTo>
                    <a:pt x="602" y="108"/>
                  </a:lnTo>
                  <a:lnTo>
                    <a:pt x="608" y="110"/>
                  </a:lnTo>
                  <a:lnTo>
                    <a:pt x="612" y="116"/>
                  </a:lnTo>
                  <a:lnTo>
                    <a:pt x="616" y="122"/>
                  </a:lnTo>
                  <a:lnTo>
                    <a:pt x="618" y="124"/>
                  </a:lnTo>
                  <a:lnTo>
                    <a:pt x="624" y="130"/>
                  </a:lnTo>
                  <a:lnTo>
                    <a:pt x="630" y="124"/>
                  </a:lnTo>
                  <a:lnTo>
                    <a:pt x="630" y="126"/>
                  </a:lnTo>
                  <a:lnTo>
                    <a:pt x="632" y="126"/>
                  </a:lnTo>
                  <a:lnTo>
                    <a:pt x="634" y="126"/>
                  </a:lnTo>
                  <a:lnTo>
                    <a:pt x="636" y="132"/>
                  </a:lnTo>
                  <a:lnTo>
                    <a:pt x="642" y="130"/>
                  </a:lnTo>
                  <a:lnTo>
                    <a:pt x="648" y="132"/>
                  </a:lnTo>
                  <a:lnTo>
                    <a:pt x="654" y="128"/>
                  </a:lnTo>
                  <a:lnTo>
                    <a:pt x="660" y="128"/>
                  </a:lnTo>
                  <a:lnTo>
                    <a:pt x="660" y="130"/>
                  </a:lnTo>
                  <a:lnTo>
                    <a:pt x="666" y="134"/>
                  </a:lnTo>
                  <a:lnTo>
                    <a:pt x="668" y="136"/>
                  </a:lnTo>
                  <a:lnTo>
                    <a:pt x="674" y="136"/>
                  </a:lnTo>
                  <a:lnTo>
                    <a:pt x="680" y="136"/>
                  </a:lnTo>
                  <a:lnTo>
                    <a:pt x="684" y="136"/>
                  </a:lnTo>
                  <a:lnTo>
                    <a:pt x="686" y="138"/>
                  </a:lnTo>
                  <a:lnTo>
                    <a:pt x="692" y="140"/>
                  </a:lnTo>
                  <a:lnTo>
                    <a:pt x="696" y="142"/>
                  </a:lnTo>
                  <a:lnTo>
                    <a:pt x="698" y="142"/>
                  </a:lnTo>
                  <a:lnTo>
                    <a:pt x="700" y="142"/>
                  </a:lnTo>
                  <a:lnTo>
                    <a:pt x="696" y="144"/>
                  </a:lnTo>
                  <a:lnTo>
                    <a:pt x="694" y="150"/>
                  </a:lnTo>
                  <a:lnTo>
                    <a:pt x="688" y="156"/>
                  </a:lnTo>
                  <a:lnTo>
                    <a:pt x="682" y="160"/>
                  </a:lnTo>
                  <a:lnTo>
                    <a:pt x="676" y="166"/>
                  </a:lnTo>
                  <a:lnTo>
                    <a:pt x="676" y="168"/>
                  </a:lnTo>
                  <a:lnTo>
                    <a:pt x="676" y="174"/>
                  </a:lnTo>
                  <a:lnTo>
                    <a:pt x="674" y="178"/>
                  </a:lnTo>
                  <a:lnTo>
                    <a:pt x="674" y="184"/>
                  </a:lnTo>
                  <a:lnTo>
                    <a:pt x="670" y="186"/>
                  </a:lnTo>
                  <a:lnTo>
                    <a:pt x="668" y="192"/>
                  </a:lnTo>
                  <a:lnTo>
                    <a:pt x="666" y="196"/>
                  </a:lnTo>
                  <a:lnTo>
                    <a:pt x="664" y="200"/>
                  </a:lnTo>
                  <a:lnTo>
                    <a:pt x="664" y="204"/>
                  </a:lnTo>
                  <a:lnTo>
                    <a:pt x="664" y="206"/>
                  </a:lnTo>
                  <a:lnTo>
                    <a:pt x="666" y="206"/>
                  </a:lnTo>
                  <a:lnTo>
                    <a:pt x="666" y="208"/>
                  </a:lnTo>
                  <a:lnTo>
                    <a:pt x="664" y="214"/>
                  </a:lnTo>
                  <a:lnTo>
                    <a:pt x="662" y="220"/>
                  </a:lnTo>
                  <a:lnTo>
                    <a:pt x="662" y="222"/>
                  </a:lnTo>
                  <a:lnTo>
                    <a:pt x="660" y="228"/>
                  </a:lnTo>
                  <a:lnTo>
                    <a:pt x="664" y="232"/>
                  </a:lnTo>
                  <a:lnTo>
                    <a:pt x="664" y="234"/>
                  </a:lnTo>
                  <a:lnTo>
                    <a:pt x="664" y="236"/>
                  </a:lnTo>
                  <a:lnTo>
                    <a:pt x="662" y="236"/>
                  </a:lnTo>
                  <a:lnTo>
                    <a:pt x="660" y="240"/>
                  </a:lnTo>
                  <a:lnTo>
                    <a:pt x="656" y="244"/>
                  </a:lnTo>
                  <a:lnTo>
                    <a:pt x="654" y="244"/>
                  </a:lnTo>
                  <a:lnTo>
                    <a:pt x="650" y="244"/>
                  </a:lnTo>
                  <a:lnTo>
                    <a:pt x="646" y="246"/>
                  </a:lnTo>
                  <a:lnTo>
                    <a:pt x="640" y="240"/>
                  </a:lnTo>
                  <a:lnTo>
                    <a:pt x="638" y="240"/>
                  </a:lnTo>
                  <a:lnTo>
                    <a:pt x="634" y="240"/>
                  </a:lnTo>
                  <a:lnTo>
                    <a:pt x="632" y="240"/>
                  </a:lnTo>
                  <a:lnTo>
                    <a:pt x="632" y="244"/>
                  </a:lnTo>
                  <a:lnTo>
                    <a:pt x="630" y="250"/>
                  </a:lnTo>
                  <a:lnTo>
                    <a:pt x="634" y="250"/>
                  </a:lnTo>
                  <a:lnTo>
                    <a:pt x="636" y="250"/>
                  </a:lnTo>
                  <a:lnTo>
                    <a:pt x="632" y="254"/>
                  </a:lnTo>
                  <a:lnTo>
                    <a:pt x="630" y="258"/>
                  </a:lnTo>
                  <a:lnTo>
                    <a:pt x="624" y="264"/>
                  </a:lnTo>
                  <a:lnTo>
                    <a:pt x="622" y="266"/>
                  </a:lnTo>
                  <a:lnTo>
                    <a:pt x="616" y="270"/>
                  </a:lnTo>
                  <a:lnTo>
                    <a:pt x="614" y="272"/>
                  </a:lnTo>
                  <a:lnTo>
                    <a:pt x="608" y="276"/>
                  </a:lnTo>
                  <a:lnTo>
                    <a:pt x="602" y="282"/>
                  </a:lnTo>
                  <a:lnTo>
                    <a:pt x="602" y="284"/>
                  </a:lnTo>
                  <a:lnTo>
                    <a:pt x="602" y="286"/>
                  </a:lnTo>
                  <a:lnTo>
                    <a:pt x="598" y="292"/>
                  </a:lnTo>
                  <a:lnTo>
                    <a:pt x="596" y="294"/>
                  </a:lnTo>
                  <a:lnTo>
                    <a:pt x="594" y="294"/>
                  </a:lnTo>
                  <a:lnTo>
                    <a:pt x="588" y="298"/>
                  </a:lnTo>
                  <a:lnTo>
                    <a:pt x="586" y="304"/>
                  </a:lnTo>
                  <a:lnTo>
                    <a:pt x="582" y="310"/>
                  </a:lnTo>
                  <a:lnTo>
                    <a:pt x="582" y="312"/>
                  </a:lnTo>
                  <a:lnTo>
                    <a:pt x="580" y="312"/>
                  </a:lnTo>
                  <a:lnTo>
                    <a:pt x="582" y="314"/>
                  </a:lnTo>
                  <a:lnTo>
                    <a:pt x="584" y="320"/>
                  </a:lnTo>
                  <a:lnTo>
                    <a:pt x="582" y="326"/>
                  </a:lnTo>
                  <a:lnTo>
                    <a:pt x="576" y="330"/>
                  </a:lnTo>
                  <a:lnTo>
                    <a:pt x="574" y="332"/>
                  </a:lnTo>
                  <a:lnTo>
                    <a:pt x="576" y="332"/>
                  </a:lnTo>
                  <a:lnTo>
                    <a:pt x="582" y="332"/>
                  </a:lnTo>
                  <a:lnTo>
                    <a:pt x="588" y="330"/>
                  </a:lnTo>
                  <a:lnTo>
                    <a:pt x="588" y="328"/>
                  </a:lnTo>
                  <a:lnTo>
                    <a:pt x="590" y="324"/>
                  </a:lnTo>
                  <a:lnTo>
                    <a:pt x="590" y="320"/>
                  </a:lnTo>
                  <a:lnTo>
                    <a:pt x="592" y="316"/>
                  </a:lnTo>
                  <a:lnTo>
                    <a:pt x="596" y="314"/>
                  </a:lnTo>
                  <a:lnTo>
                    <a:pt x="604" y="312"/>
                  </a:lnTo>
                  <a:lnTo>
                    <a:pt x="608" y="312"/>
                  </a:lnTo>
                  <a:lnTo>
                    <a:pt x="614" y="312"/>
                  </a:lnTo>
                  <a:lnTo>
                    <a:pt x="620" y="314"/>
                  </a:lnTo>
                  <a:lnTo>
                    <a:pt x="620" y="316"/>
                  </a:lnTo>
                  <a:lnTo>
                    <a:pt x="622" y="320"/>
                  </a:lnTo>
                  <a:lnTo>
                    <a:pt x="620" y="326"/>
                  </a:lnTo>
                  <a:lnTo>
                    <a:pt x="622" y="332"/>
                  </a:lnTo>
                  <a:lnTo>
                    <a:pt x="628" y="338"/>
                  </a:lnTo>
                  <a:lnTo>
                    <a:pt x="630" y="342"/>
                  </a:lnTo>
                  <a:lnTo>
                    <a:pt x="632" y="346"/>
                  </a:lnTo>
                  <a:lnTo>
                    <a:pt x="632" y="348"/>
                  </a:lnTo>
                  <a:lnTo>
                    <a:pt x="626" y="352"/>
                  </a:lnTo>
                  <a:lnTo>
                    <a:pt x="620" y="358"/>
                  </a:lnTo>
                  <a:lnTo>
                    <a:pt x="624" y="364"/>
                  </a:lnTo>
                  <a:lnTo>
                    <a:pt x="630" y="366"/>
                  </a:lnTo>
                  <a:lnTo>
                    <a:pt x="630" y="372"/>
                  </a:lnTo>
                  <a:lnTo>
                    <a:pt x="634" y="378"/>
                  </a:lnTo>
                  <a:lnTo>
                    <a:pt x="640" y="382"/>
                  </a:lnTo>
                  <a:lnTo>
                    <a:pt x="636" y="388"/>
                  </a:lnTo>
                  <a:lnTo>
                    <a:pt x="634" y="394"/>
                  </a:lnTo>
                  <a:lnTo>
                    <a:pt x="628" y="396"/>
                  </a:lnTo>
                  <a:lnTo>
                    <a:pt x="624" y="400"/>
                  </a:lnTo>
                  <a:lnTo>
                    <a:pt x="618" y="400"/>
                  </a:lnTo>
                  <a:lnTo>
                    <a:pt x="612" y="400"/>
                  </a:lnTo>
                  <a:lnTo>
                    <a:pt x="610" y="402"/>
                  </a:lnTo>
                  <a:lnTo>
                    <a:pt x="608" y="402"/>
                  </a:lnTo>
                  <a:lnTo>
                    <a:pt x="610" y="404"/>
                  </a:lnTo>
                  <a:lnTo>
                    <a:pt x="616" y="410"/>
                  </a:lnTo>
                  <a:lnTo>
                    <a:pt x="616" y="414"/>
                  </a:lnTo>
                  <a:lnTo>
                    <a:pt x="618" y="416"/>
                  </a:lnTo>
                  <a:lnTo>
                    <a:pt x="624" y="420"/>
                  </a:lnTo>
                  <a:lnTo>
                    <a:pt x="630" y="422"/>
                  </a:lnTo>
                  <a:lnTo>
                    <a:pt x="634" y="428"/>
                  </a:lnTo>
                  <a:lnTo>
                    <a:pt x="632" y="430"/>
                  </a:lnTo>
                  <a:lnTo>
                    <a:pt x="626" y="434"/>
                  </a:lnTo>
                  <a:lnTo>
                    <a:pt x="626" y="438"/>
                  </a:lnTo>
                  <a:lnTo>
                    <a:pt x="622" y="444"/>
                  </a:lnTo>
                  <a:lnTo>
                    <a:pt x="622" y="450"/>
                  </a:lnTo>
                  <a:lnTo>
                    <a:pt x="624" y="454"/>
                  </a:lnTo>
                  <a:lnTo>
                    <a:pt x="626" y="456"/>
                  </a:lnTo>
                  <a:lnTo>
                    <a:pt x="630" y="462"/>
                  </a:lnTo>
                  <a:lnTo>
                    <a:pt x="638" y="464"/>
                  </a:lnTo>
                  <a:lnTo>
                    <a:pt x="642" y="466"/>
                  </a:lnTo>
                  <a:lnTo>
                    <a:pt x="648" y="470"/>
                  </a:lnTo>
                  <a:lnTo>
                    <a:pt x="654" y="470"/>
                  </a:lnTo>
                  <a:lnTo>
                    <a:pt x="660" y="466"/>
                  </a:lnTo>
                  <a:lnTo>
                    <a:pt x="666" y="466"/>
                  </a:lnTo>
                  <a:lnTo>
                    <a:pt x="668" y="472"/>
                  </a:lnTo>
                  <a:lnTo>
                    <a:pt x="668" y="474"/>
                  </a:lnTo>
                  <a:lnTo>
                    <a:pt x="664" y="480"/>
                  </a:lnTo>
                  <a:lnTo>
                    <a:pt x="658" y="486"/>
                  </a:lnTo>
                  <a:lnTo>
                    <a:pt x="658" y="492"/>
                  </a:lnTo>
                  <a:lnTo>
                    <a:pt x="658" y="494"/>
                  </a:lnTo>
                  <a:lnTo>
                    <a:pt x="652" y="494"/>
                  </a:lnTo>
                  <a:lnTo>
                    <a:pt x="650" y="496"/>
                  </a:lnTo>
                  <a:lnTo>
                    <a:pt x="644" y="498"/>
                  </a:lnTo>
                  <a:lnTo>
                    <a:pt x="638" y="500"/>
                  </a:lnTo>
                  <a:lnTo>
                    <a:pt x="636" y="508"/>
                  </a:lnTo>
                  <a:lnTo>
                    <a:pt x="630" y="508"/>
                  </a:lnTo>
                  <a:lnTo>
                    <a:pt x="626" y="510"/>
                  </a:lnTo>
                  <a:lnTo>
                    <a:pt x="624" y="516"/>
                  </a:lnTo>
                  <a:lnTo>
                    <a:pt x="618" y="518"/>
                  </a:lnTo>
                  <a:lnTo>
                    <a:pt x="612" y="522"/>
                  </a:lnTo>
                  <a:lnTo>
                    <a:pt x="606" y="526"/>
                  </a:lnTo>
                  <a:lnTo>
                    <a:pt x="610" y="532"/>
                  </a:lnTo>
                  <a:lnTo>
                    <a:pt x="604" y="532"/>
                  </a:lnTo>
                  <a:lnTo>
                    <a:pt x="598" y="536"/>
                  </a:lnTo>
                  <a:lnTo>
                    <a:pt x="592" y="540"/>
                  </a:lnTo>
                  <a:lnTo>
                    <a:pt x="586" y="538"/>
                  </a:lnTo>
                  <a:lnTo>
                    <a:pt x="580" y="542"/>
                  </a:lnTo>
                  <a:lnTo>
                    <a:pt x="574" y="540"/>
                  </a:lnTo>
                  <a:lnTo>
                    <a:pt x="568" y="538"/>
                  </a:lnTo>
                  <a:lnTo>
                    <a:pt x="562" y="542"/>
                  </a:lnTo>
                  <a:lnTo>
                    <a:pt x="558" y="536"/>
                  </a:lnTo>
                  <a:lnTo>
                    <a:pt x="556" y="534"/>
                  </a:lnTo>
                  <a:lnTo>
                    <a:pt x="554" y="534"/>
                  </a:lnTo>
                  <a:lnTo>
                    <a:pt x="550" y="534"/>
                  </a:lnTo>
                  <a:lnTo>
                    <a:pt x="542" y="532"/>
                  </a:lnTo>
                  <a:lnTo>
                    <a:pt x="536" y="532"/>
                  </a:lnTo>
                  <a:lnTo>
                    <a:pt x="538" y="524"/>
                  </a:lnTo>
                  <a:lnTo>
                    <a:pt x="532" y="524"/>
                  </a:lnTo>
                  <a:lnTo>
                    <a:pt x="524" y="524"/>
                  </a:lnTo>
                  <a:lnTo>
                    <a:pt x="520" y="522"/>
                  </a:lnTo>
                  <a:lnTo>
                    <a:pt x="518" y="520"/>
                  </a:lnTo>
                  <a:lnTo>
                    <a:pt x="520" y="518"/>
                  </a:lnTo>
                  <a:lnTo>
                    <a:pt x="526" y="518"/>
                  </a:lnTo>
                  <a:lnTo>
                    <a:pt x="524" y="512"/>
                  </a:lnTo>
                  <a:lnTo>
                    <a:pt x="518" y="512"/>
                  </a:lnTo>
                  <a:lnTo>
                    <a:pt x="520" y="516"/>
                  </a:lnTo>
                  <a:lnTo>
                    <a:pt x="520" y="518"/>
                  </a:lnTo>
                  <a:lnTo>
                    <a:pt x="518" y="518"/>
                  </a:lnTo>
                  <a:lnTo>
                    <a:pt x="512" y="518"/>
                  </a:lnTo>
                  <a:lnTo>
                    <a:pt x="506" y="520"/>
                  </a:lnTo>
                  <a:lnTo>
                    <a:pt x="504" y="514"/>
                  </a:lnTo>
                  <a:lnTo>
                    <a:pt x="502" y="508"/>
                  </a:lnTo>
                  <a:lnTo>
                    <a:pt x="502" y="514"/>
                  </a:lnTo>
                  <a:lnTo>
                    <a:pt x="506" y="520"/>
                  </a:lnTo>
                  <a:lnTo>
                    <a:pt x="498" y="522"/>
                  </a:lnTo>
                  <a:lnTo>
                    <a:pt x="494" y="516"/>
                  </a:lnTo>
                  <a:lnTo>
                    <a:pt x="488" y="516"/>
                  </a:lnTo>
                  <a:lnTo>
                    <a:pt x="484" y="516"/>
                  </a:lnTo>
                  <a:lnTo>
                    <a:pt x="478" y="512"/>
                  </a:lnTo>
                  <a:lnTo>
                    <a:pt x="476" y="514"/>
                  </a:lnTo>
                  <a:lnTo>
                    <a:pt x="470" y="512"/>
                  </a:lnTo>
                  <a:lnTo>
                    <a:pt x="466" y="508"/>
                  </a:lnTo>
                  <a:lnTo>
                    <a:pt x="460" y="510"/>
                  </a:lnTo>
                  <a:lnTo>
                    <a:pt x="456" y="512"/>
                  </a:lnTo>
                  <a:lnTo>
                    <a:pt x="450" y="518"/>
                  </a:lnTo>
                  <a:lnTo>
                    <a:pt x="444" y="520"/>
                  </a:lnTo>
                  <a:lnTo>
                    <a:pt x="438" y="524"/>
                  </a:lnTo>
                  <a:lnTo>
                    <a:pt x="432" y="528"/>
                  </a:lnTo>
                  <a:lnTo>
                    <a:pt x="426" y="528"/>
                  </a:lnTo>
                  <a:lnTo>
                    <a:pt x="420" y="532"/>
                  </a:lnTo>
                  <a:lnTo>
                    <a:pt x="414" y="538"/>
                  </a:lnTo>
                  <a:lnTo>
                    <a:pt x="408" y="542"/>
                  </a:lnTo>
                  <a:lnTo>
                    <a:pt x="410" y="546"/>
                  </a:lnTo>
                  <a:lnTo>
                    <a:pt x="406" y="550"/>
                  </a:lnTo>
                  <a:lnTo>
                    <a:pt x="406" y="554"/>
                  </a:lnTo>
                  <a:lnTo>
                    <a:pt x="404" y="556"/>
                  </a:lnTo>
                  <a:lnTo>
                    <a:pt x="408" y="558"/>
                  </a:lnTo>
                  <a:lnTo>
                    <a:pt x="408" y="564"/>
                  </a:lnTo>
                  <a:lnTo>
                    <a:pt x="408" y="570"/>
                  </a:lnTo>
                  <a:lnTo>
                    <a:pt x="408" y="576"/>
                  </a:lnTo>
                  <a:lnTo>
                    <a:pt x="414" y="582"/>
                  </a:lnTo>
                  <a:lnTo>
                    <a:pt x="414" y="584"/>
                  </a:lnTo>
                  <a:lnTo>
                    <a:pt x="414" y="586"/>
                  </a:lnTo>
                  <a:lnTo>
                    <a:pt x="410" y="586"/>
                  </a:lnTo>
                  <a:lnTo>
                    <a:pt x="404" y="582"/>
                  </a:lnTo>
                  <a:lnTo>
                    <a:pt x="398" y="584"/>
                  </a:lnTo>
                  <a:lnTo>
                    <a:pt x="392" y="586"/>
                  </a:lnTo>
                  <a:lnTo>
                    <a:pt x="386" y="592"/>
                  </a:lnTo>
                  <a:lnTo>
                    <a:pt x="380" y="590"/>
                  </a:lnTo>
                  <a:lnTo>
                    <a:pt x="374" y="590"/>
                  </a:lnTo>
                  <a:lnTo>
                    <a:pt x="370" y="588"/>
                  </a:lnTo>
                  <a:lnTo>
                    <a:pt x="364" y="586"/>
                  </a:lnTo>
                  <a:lnTo>
                    <a:pt x="358" y="586"/>
                  </a:lnTo>
                  <a:lnTo>
                    <a:pt x="352" y="590"/>
                  </a:lnTo>
                  <a:lnTo>
                    <a:pt x="346" y="586"/>
                  </a:lnTo>
                  <a:lnTo>
                    <a:pt x="346" y="584"/>
                  </a:lnTo>
                  <a:lnTo>
                    <a:pt x="344" y="584"/>
                  </a:lnTo>
                  <a:lnTo>
                    <a:pt x="340" y="582"/>
                  </a:lnTo>
                  <a:lnTo>
                    <a:pt x="334" y="582"/>
                  </a:lnTo>
                  <a:lnTo>
                    <a:pt x="334" y="580"/>
                  </a:lnTo>
                  <a:lnTo>
                    <a:pt x="334" y="578"/>
                  </a:lnTo>
                  <a:lnTo>
                    <a:pt x="338" y="576"/>
                  </a:lnTo>
                  <a:lnTo>
                    <a:pt x="334" y="572"/>
                  </a:lnTo>
                  <a:lnTo>
                    <a:pt x="328" y="572"/>
                  </a:lnTo>
                  <a:lnTo>
                    <a:pt x="322" y="570"/>
                  </a:lnTo>
                  <a:lnTo>
                    <a:pt x="318" y="574"/>
                  </a:lnTo>
                  <a:lnTo>
                    <a:pt x="316" y="568"/>
                  </a:lnTo>
                  <a:lnTo>
                    <a:pt x="310" y="566"/>
                  </a:lnTo>
                  <a:lnTo>
                    <a:pt x="304" y="566"/>
                  </a:lnTo>
                  <a:lnTo>
                    <a:pt x="298" y="562"/>
                  </a:lnTo>
                  <a:lnTo>
                    <a:pt x="292" y="560"/>
                  </a:lnTo>
                  <a:lnTo>
                    <a:pt x="286" y="558"/>
                  </a:lnTo>
                  <a:lnTo>
                    <a:pt x="282" y="558"/>
                  </a:lnTo>
                  <a:lnTo>
                    <a:pt x="280" y="558"/>
                  </a:lnTo>
                  <a:lnTo>
                    <a:pt x="278" y="556"/>
                  </a:lnTo>
                  <a:lnTo>
                    <a:pt x="276" y="562"/>
                  </a:lnTo>
                  <a:lnTo>
                    <a:pt x="276" y="568"/>
                  </a:lnTo>
                  <a:lnTo>
                    <a:pt x="270" y="568"/>
                  </a:lnTo>
                  <a:lnTo>
                    <a:pt x="266" y="568"/>
                  </a:lnTo>
                  <a:lnTo>
                    <a:pt x="262" y="568"/>
                  </a:lnTo>
                  <a:lnTo>
                    <a:pt x="256" y="568"/>
                  </a:lnTo>
                  <a:lnTo>
                    <a:pt x="250" y="566"/>
                  </a:lnTo>
                  <a:lnTo>
                    <a:pt x="244" y="566"/>
                  </a:lnTo>
                  <a:lnTo>
                    <a:pt x="238" y="568"/>
                  </a:lnTo>
                  <a:lnTo>
                    <a:pt x="234" y="566"/>
                  </a:lnTo>
                  <a:lnTo>
                    <a:pt x="228" y="560"/>
                  </a:lnTo>
                  <a:lnTo>
                    <a:pt x="222" y="558"/>
                  </a:lnTo>
                  <a:lnTo>
                    <a:pt x="216" y="560"/>
                  </a:lnTo>
                  <a:lnTo>
                    <a:pt x="210" y="560"/>
                  </a:lnTo>
                  <a:lnTo>
                    <a:pt x="210" y="562"/>
                  </a:lnTo>
                  <a:lnTo>
                    <a:pt x="206" y="558"/>
                  </a:lnTo>
                  <a:lnTo>
                    <a:pt x="200" y="552"/>
                  </a:lnTo>
                  <a:lnTo>
                    <a:pt x="198" y="550"/>
                  </a:lnTo>
                  <a:lnTo>
                    <a:pt x="192" y="550"/>
                  </a:lnTo>
                  <a:lnTo>
                    <a:pt x="186" y="550"/>
                  </a:lnTo>
                  <a:lnTo>
                    <a:pt x="180" y="546"/>
                  </a:lnTo>
                  <a:lnTo>
                    <a:pt x="174" y="544"/>
                  </a:lnTo>
                  <a:lnTo>
                    <a:pt x="170" y="538"/>
                  </a:lnTo>
                  <a:lnTo>
                    <a:pt x="168" y="538"/>
                  </a:lnTo>
                  <a:lnTo>
                    <a:pt x="164" y="544"/>
                  </a:lnTo>
                  <a:lnTo>
                    <a:pt x="160" y="540"/>
                  </a:lnTo>
                  <a:lnTo>
                    <a:pt x="164" y="534"/>
                  </a:lnTo>
                  <a:lnTo>
                    <a:pt x="162" y="528"/>
                  </a:lnTo>
                  <a:lnTo>
                    <a:pt x="156" y="526"/>
                  </a:lnTo>
                  <a:lnTo>
                    <a:pt x="150" y="526"/>
                  </a:lnTo>
                  <a:lnTo>
                    <a:pt x="144" y="526"/>
                  </a:lnTo>
                  <a:lnTo>
                    <a:pt x="144" y="524"/>
                  </a:lnTo>
                  <a:lnTo>
                    <a:pt x="142" y="522"/>
                  </a:lnTo>
                  <a:lnTo>
                    <a:pt x="148" y="520"/>
                  </a:lnTo>
                  <a:lnTo>
                    <a:pt x="154" y="516"/>
                  </a:lnTo>
                  <a:lnTo>
                    <a:pt x="158" y="510"/>
                  </a:lnTo>
                  <a:lnTo>
                    <a:pt x="162" y="504"/>
                  </a:lnTo>
                  <a:lnTo>
                    <a:pt x="162" y="498"/>
                  </a:lnTo>
                  <a:lnTo>
                    <a:pt x="164" y="492"/>
                  </a:lnTo>
                  <a:lnTo>
                    <a:pt x="166" y="486"/>
                  </a:lnTo>
                  <a:lnTo>
                    <a:pt x="168" y="480"/>
                  </a:lnTo>
                  <a:lnTo>
                    <a:pt x="168" y="474"/>
                  </a:lnTo>
                  <a:lnTo>
                    <a:pt x="170" y="468"/>
                  </a:lnTo>
                  <a:lnTo>
                    <a:pt x="172" y="462"/>
                  </a:lnTo>
                  <a:lnTo>
                    <a:pt x="174" y="456"/>
                  </a:lnTo>
                  <a:lnTo>
                    <a:pt x="174" y="450"/>
                  </a:lnTo>
                  <a:lnTo>
                    <a:pt x="176" y="446"/>
                  </a:lnTo>
                  <a:lnTo>
                    <a:pt x="176" y="440"/>
                  </a:lnTo>
                  <a:lnTo>
                    <a:pt x="180" y="434"/>
                  </a:lnTo>
                  <a:lnTo>
                    <a:pt x="186" y="434"/>
                  </a:lnTo>
                  <a:lnTo>
                    <a:pt x="184" y="428"/>
                  </a:lnTo>
                  <a:lnTo>
                    <a:pt x="178" y="428"/>
                  </a:lnTo>
                  <a:lnTo>
                    <a:pt x="176" y="436"/>
                  </a:lnTo>
                  <a:lnTo>
                    <a:pt x="176" y="428"/>
                  </a:lnTo>
                  <a:lnTo>
                    <a:pt x="178" y="422"/>
                  </a:lnTo>
                  <a:lnTo>
                    <a:pt x="178" y="416"/>
                  </a:lnTo>
                  <a:lnTo>
                    <a:pt x="180" y="410"/>
                  </a:lnTo>
                  <a:lnTo>
                    <a:pt x="180" y="404"/>
                  </a:lnTo>
                  <a:lnTo>
                    <a:pt x="182" y="398"/>
                  </a:lnTo>
                  <a:lnTo>
                    <a:pt x="184" y="392"/>
                  </a:lnTo>
                  <a:lnTo>
                    <a:pt x="184" y="386"/>
                  </a:lnTo>
                  <a:lnTo>
                    <a:pt x="186" y="380"/>
                  </a:lnTo>
                  <a:lnTo>
                    <a:pt x="188" y="374"/>
                  </a:lnTo>
                  <a:lnTo>
                    <a:pt x="194" y="378"/>
                  </a:lnTo>
                  <a:lnTo>
                    <a:pt x="198" y="382"/>
                  </a:lnTo>
                  <a:lnTo>
                    <a:pt x="204" y="388"/>
                  </a:lnTo>
                  <a:lnTo>
                    <a:pt x="206" y="392"/>
                  </a:lnTo>
                  <a:lnTo>
                    <a:pt x="208" y="400"/>
                  </a:lnTo>
                  <a:lnTo>
                    <a:pt x="210" y="406"/>
                  </a:lnTo>
                  <a:lnTo>
                    <a:pt x="214" y="410"/>
                  </a:lnTo>
                  <a:lnTo>
                    <a:pt x="216" y="416"/>
                  </a:lnTo>
                  <a:lnTo>
                    <a:pt x="216" y="418"/>
                  </a:lnTo>
                  <a:lnTo>
                    <a:pt x="216" y="412"/>
                  </a:lnTo>
                  <a:lnTo>
                    <a:pt x="216" y="410"/>
                  </a:lnTo>
                  <a:lnTo>
                    <a:pt x="210" y="404"/>
                  </a:lnTo>
                  <a:lnTo>
                    <a:pt x="210" y="398"/>
                  </a:lnTo>
                  <a:lnTo>
                    <a:pt x="210" y="392"/>
                  </a:lnTo>
                  <a:lnTo>
                    <a:pt x="208" y="388"/>
                  </a:lnTo>
                  <a:lnTo>
                    <a:pt x="206" y="382"/>
                  </a:lnTo>
                  <a:lnTo>
                    <a:pt x="202" y="376"/>
                  </a:lnTo>
                  <a:lnTo>
                    <a:pt x="198" y="372"/>
                  </a:lnTo>
                  <a:lnTo>
                    <a:pt x="190" y="368"/>
                  </a:lnTo>
                  <a:lnTo>
                    <a:pt x="186" y="364"/>
                  </a:lnTo>
                  <a:lnTo>
                    <a:pt x="180" y="362"/>
                  </a:lnTo>
                  <a:lnTo>
                    <a:pt x="182" y="356"/>
                  </a:lnTo>
                  <a:lnTo>
                    <a:pt x="188" y="356"/>
                  </a:lnTo>
                  <a:lnTo>
                    <a:pt x="194" y="360"/>
                  </a:lnTo>
                  <a:lnTo>
                    <a:pt x="188" y="356"/>
                  </a:lnTo>
                  <a:lnTo>
                    <a:pt x="188" y="350"/>
                  </a:lnTo>
                  <a:lnTo>
                    <a:pt x="190" y="344"/>
                  </a:lnTo>
                  <a:lnTo>
                    <a:pt x="190" y="338"/>
                  </a:lnTo>
                  <a:lnTo>
                    <a:pt x="188" y="332"/>
                  </a:lnTo>
                  <a:lnTo>
                    <a:pt x="188" y="326"/>
                  </a:lnTo>
                  <a:lnTo>
                    <a:pt x="190" y="320"/>
                  </a:lnTo>
                  <a:lnTo>
                    <a:pt x="184" y="322"/>
                  </a:lnTo>
                  <a:lnTo>
                    <a:pt x="178" y="320"/>
                  </a:lnTo>
                  <a:lnTo>
                    <a:pt x="172" y="320"/>
                  </a:lnTo>
                  <a:lnTo>
                    <a:pt x="166" y="314"/>
                  </a:lnTo>
                  <a:lnTo>
                    <a:pt x="162" y="312"/>
                  </a:lnTo>
                  <a:lnTo>
                    <a:pt x="156" y="308"/>
                  </a:lnTo>
                  <a:lnTo>
                    <a:pt x="154" y="306"/>
                  </a:lnTo>
                  <a:lnTo>
                    <a:pt x="152" y="300"/>
                  </a:lnTo>
                  <a:lnTo>
                    <a:pt x="148" y="296"/>
                  </a:lnTo>
                  <a:lnTo>
                    <a:pt x="146" y="294"/>
                  </a:lnTo>
                  <a:lnTo>
                    <a:pt x="142" y="290"/>
                  </a:lnTo>
                  <a:lnTo>
                    <a:pt x="136" y="284"/>
                  </a:lnTo>
                  <a:lnTo>
                    <a:pt x="142" y="278"/>
                  </a:lnTo>
                  <a:lnTo>
                    <a:pt x="144" y="274"/>
                  </a:lnTo>
                  <a:lnTo>
                    <a:pt x="146" y="272"/>
                  </a:lnTo>
                  <a:lnTo>
                    <a:pt x="140" y="266"/>
                  </a:lnTo>
                  <a:lnTo>
                    <a:pt x="134" y="266"/>
                  </a:lnTo>
                  <a:lnTo>
                    <a:pt x="138" y="260"/>
                  </a:lnTo>
                  <a:lnTo>
                    <a:pt x="138" y="256"/>
                  </a:lnTo>
                  <a:lnTo>
                    <a:pt x="144" y="254"/>
                  </a:lnTo>
                  <a:lnTo>
                    <a:pt x="150" y="256"/>
                  </a:lnTo>
                  <a:lnTo>
                    <a:pt x="156" y="260"/>
                  </a:lnTo>
                  <a:lnTo>
                    <a:pt x="160" y="260"/>
                  </a:lnTo>
                  <a:lnTo>
                    <a:pt x="154" y="258"/>
                  </a:lnTo>
                  <a:lnTo>
                    <a:pt x="148" y="254"/>
                  </a:lnTo>
                  <a:lnTo>
                    <a:pt x="142" y="254"/>
                  </a:lnTo>
                  <a:lnTo>
                    <a:pt x="136" y="254"/>
                  </a:lnTo>
                  <a:lnTo>
                    <a:pt x="130" y="258"/>
                  </a:lnTo>
                  <a:lnTo>
                    <a:pt x="124" y="256"/>
                  </a:lnTo>
                  <a:lnTo>
                    <a:pt x="118" y="254"/>
                  </a:lnTo>
                  <a:lnTo>
                    <a:pt x="118" y="248"/>
                  </a:lnTo>
                  <a:lnTo>
                    <a:pt x="124" y="246"/>
                  </a:lnTo>
                  <a:lnTo>
                    <a:pt x="122" y="244"/>
                  </a:lnTo>
                  <a:lnTo>
                    <a:pt x="128" y="240"/>
                  </a:lnTo>
                  <a:lnTo>
                    <a:pt x="122" y="240"/>
                  </a:lnTo>
                  <a:lnTo>
                    <a:pt x="116" y="240"/>
                  </a:lnTo>
                  <a:lnTo>
                    <a:pt x="110" y="240"/>
                  </a:lnTo>
                  <a:lnTo>
                    <a:pt x="104" y="242"/>
                  </a:lnTo>
                  <a:lnTo>
                    <a:pt x="98" y="238"/>
                  </a:lnTo>
                  <a:lnTo>
                    <a:pt x="104" y="236"/>
                  </a:lnTo>
                  <a:lnTo>
                    <a:pt x="110" y="234"/>
                  </a:lnTo>
                  <a:lnTo>
                    <a:pt x="104" y="232"/>
                  </a:lnTo>
                  <a:lnTo>
                    <a:pt x="98" y="234"/>
                  </a:lnTo>
                  <a:lnTo>
                    <a:pt x="96" y="232"/>
                  </a:lnTo>
                  <a:lnTo>
                    <a:pt x="90" y="236"/>
                  </a:lnTo>
                  <a:lnTo>
                    <a:pt x="88" y="242"/>
                  </a:lnTo>
                  <a:lnTo>
                    <a:pt x="86" y="236"/>
                  </a:lnTo>
                  <a:lnTo>
                    <a:pt x="82" y="230"/>
                  </a:lnTo>
                  <a:lnTo>
                    <a:pt x="86" y="224"/>
                  </a:lnTo>
                  <a:lnTo>
                    <a:pt x="82" y="230"/>
                  </a:lnTo>
                  <a:lnTo>
                    <a:pt x="76" y="228"/>
                  </a:lnTo>
                  <a:lnTo>
                    <a:pt x="80" y="222"/>
                  </a:lnTo>
                  <a:lnTo>
                    <a:pt x="72" y="224"/>
                  </a:lnTo>
                  <a:lnTo>
                    <a:pt x="66" y="224"/>
                  </a:lnTo>
                  <a:lnTo>
                    <a:pt x="66" y="222"/>
                  </a:lnTo>
                  <a:lnTo>
                    <a:pt x="60" y="222"/>
                  </a:lnTo>
                  <a:lnTo>
                    <a:pt x="54" y="220"/>
                  </a:lnTo>
                  <a:lnTo>
                    <a:pt x="48" y="220"/>
                  </a:lnTo>
                  <a:lnTo>
                    <a:pt x="44" y="214"/>
                  </a:lnTo>
                  <a:lnTo>
                    <a:pt x="38" y="216"/>
                  </a:lnTo>
                  <a:lnTo>
                    <a:pt x="32" y="216"/>
                  </a:lnTo>
                  <a:lnTo>
                    <a:pt x="26" y="220"/>
                  </a:lnTo>
                  <a:lnTo>
                    <a:pt x="22" y="214"/>
                  </a:lnTo>
                  <a:lnTo>
                    <a:pt x="18" y="210"/>
                  </a:lnTo>
                  <a:lnTo>
                    <a:pt x="12" y="206"/>
                  </a:lnTo>
                  <a:lnTo>
                    <a:pt x="6" y="206"/>
                  </a:lnTo>
                  <a:lnTo>
                    <a:pt x="2" y="20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1" name="Freeform 18"/>
            <p:cNvSpPr>
              <a:spLocks/>
            </p:cNvSpPr>
            <p:nvPr/>
          </p:nvSpPr>
          <p:spPr bwMode="auto">
            <a:xfrm>
              <a:off x="4759325" y="2660650"/>
              <a:ext cx="200025" cy="131763"/>
            </a:xfrm>
            <a:custGeom>
              <a:avLst/>
              <a:gdLst>
                <a:gd name="T0" fmla="*/ 2147483647 w 488"/>
                <a:gd name="T1" fmla="*/ 2147483647 h 322"/>
                <a:gd name="T2" fmla="*/ 2147483647 w 488"/>
                <a:gd name="T3" fmla="*/ 2147483647 h 322"/>
                <a:gd name="T4" fmla="*/ 2147483647 w 488"/>
                <a:gd name="T5" fmla="*/ 2147483647 h 322"/>
                <a:gd name="T6" fmla="*/ 2147483647 w 488"/>
                <a:gd name="T7" fmla="*/ 2147483647 h 322"/>
                <a:gd name="T8" fmla="*/ 2147483647 w 488"/>
                <a:gd name="T9" fmla="*/ 2147483647 h 322"/>
                <a:gd name="T10" fmla="*/ 2147483647 w 488"/>
                <a:gd name="T11" fmla="*/ 2147483647 h 322"/>
                <a:gd name="T12" fmla="*/ 2147483647 w 488"/>
                <a:gd name="T13" fmla="*/ 2147483647 h 322"/>
                <a:gd name="T14" fmla="*/ 2147483647 w 488"/>
                <a:gd name="T15" fmla="*/ 2147483647 h 322"/>
                <a:gd name="T16" fmla="*/ 2147483647 w 488"/>
                <a:gd name="T17" fmla="*/ 2147483647 h 322"/>
                <a:gd name="T18" fmla="*/ 2147483647 w 488"/>
                <a:gd name="T19" fmla="*/ 2147483647 h 322"/>
                <a:gd name="T20" fmla="*/ 2147483647 w 488"/>
                <a:gd name="T21" fmla="*/ 2147483647 h 322"/>
                <a:gd name="T22" fmla="*/ 2147483647 w 488"/>
                <a:gd name="T23" fmla="*/ 2147483647 h 322"/>
                <a:gd name="T24" fmla="*/ 2147483647 w 488"/>
                <a:gd name="T25" fmla="*/ 2147483647 h 322"/>
                <a:gd name="T26" fmla="*/ 2147483647 w 488"/>
                <a:gd name="T27" fmla="*/ 2147483647 h 322"/>
                <a:gd name="T28" fmla="*/ 2147483647 w 488"/>
                <a:gd name="T29" fmla="*/ 2147483647 h 322"/>
                <a:gd name="T30" fmla="*/ 2147483647 w 488"/>
                <a:gd name="T31" fmla="*/ 2147483647 h 322"/>
                <a:gd name="T32" fmla="*/ 2147483647 w 488"/>
                <a:gd name="T33" fmla="*/ 2147483647 h 322"/>
                <a:gd name="T34" fmla="*/ 2147483647 w 488"/>
                <a:gd name="T35" fmla="*/ 2147483647 h 322"/>
                <a:gd name="T36" fmla="*/ 2147483647 w 488"/>
                <a:gd name="T37" fmla="*/ 2147483647 h 322"/>
                <a:gd name="T38" fmla="*/ 2147483647 w 488"/>
                <a:gd name="T39" fmla="*/ 2147483647 h 322"/>
                <a:gd name="T40" fmla="*/ 2147483647 w 488"/>
                <a:gd name="T41" fmla="*/ 2147483647 h 322"/>
                <a:gd name="T42" fmla="*/ 2147483647 w 488"/>
                <a:gd name="T43" fmla="*/ 2147483647 h 322"/>
                <a:gd name="T44" fmla="*/ 2147483647 w 488"/>
                <a:gd name="T45" fmla="*/ 2147483647 h 322"/>
                <a:gd name="T46" fmla="*/ 2147483647 w 488"/>
                <a:gd name="T47" fmla="*/ 2147483647 h 322"/>
                <a:gd name="T48" fmla="*/ 2147483647 w 488"/>
                <a:gd name="T49" fmla="*/ 2147483647 h 322"/>
                <a:gd name="T50" fmla="*/ 2147483647 w 488"/>
                <a:gd name="T51" fmla="*/ 2147483647 h 322"/>
                <a:gd name="T52" fmla="*/ 2147483647 w 488"/>
                <a:gd name="T53" fmla="*/ 2147483647 h 322"/>
                <a:gd name="T54" fmla="*/ 2147483647 w 488"/>
                <a:gd name="T55" fmla="*/ 2147483647 h 322"/>
                <a:gd name="T56" fmla="*/ 2147483647 w 488"/>
                <a:gd name="T57" fmla="*/ 2147483647 h 322"/>
                <a:gd name="T58" fmla="*/ 2147483647 w 488"/>
                <a:gd name="T59" fmla="*/ 2147483647 h 322"/>
                <a:gd name="T60" fmla="*/ 2147483647 w 488"/>
                <a:gd name="T61" fmla="*/ 2147483647 h 322"/>
                <a:gd name="T62" fmla="*/ 2147483647 w 488"/>
                <a:gd name="T63" fmla="*/ 2147483647 h 322"/>
                <a:gd name="T64" fmla="*/ 2147483647 w 488"/>
                <a:gd name="T65" fmla="*/ 2147483647 h 322"/>
                <a:gd name="T66" fmla="*/ 2147483647 w 488"/>
                <a:gd name="T67" fmla="*/ 2147483647 h 322"/>
                <a:gd name="T68" fmla="*/ 2147483647 w 488"/>
                <a:gd name="T69" fmla="*/ 2147483647 h 322"/>
                <a:gd name="T70" fmla="*/ 2147483647 w 488"/>
                <a:gd name="T71" fmla="*/ 2147483647 h 322"/>
                <a:gd name="T72" fmla="*/ 2147483647 w 488"/>
                <a:gd name="T73" fmla="*/ 2147483647 h 322"/>
                <a:gd name="T74" fmla="*/ 2147483647 w 488"/>
                <a:gd name="T75" fmla="*/ 2147483647 h 322"/>
                <a:gd name="T76" fmla="*/ 2147483647 w 488"/>
                <a:gd name="T77" fmla="*/ 2147483647 h 322"/>
                <a:gd name="T78" fmla="*/ 2147483647 w 488"/>
                <a:gd name="T79" fmla="*/ 2147483647 h 322"/>
                <a:gd name="T80" fmla="*/ 2147483647 w 488"/>
                <a:gd name="T81" fmla="*/ 2147483647 h 322"/>
                <a:gd name="T82" fmla="*/ 2147483647 w 488"/>
                <a:gd name="T83" fmla="*/ 2147483647 h 322"/>
                <a:gd name="T84" fmla="*/ 2147483647 w 488"/>
                <a:gd name="T85" fmla="*/ 2147483647 h 322"/>
                <a:gd name="T86" fmla="*/ 2147483647 w 488"/>
                <a:gd name="T87" fmla="*/ 2147483647 h 322"/>
                <a:gd name="T88" fmla="*/ 2147483647 w 488"/>
                <a:gd name="T89" fmla="*/ 2147483647 h 322"/>
                <a:gd name="T90" fmla="*/ 2147483647 w 488"/>
                <a:gd name="T91" fmla="*/ 2147483647 h 322"/>
                <a:gd name="T92" fmla="*/ 2147483647 w 488"/>
                <a:gd name="T93" fmla="*/ 2147483647 h 322"/>
                <a:gd name="T94" fmla="*/ 2147483647 w 488"/>
                <a:gd name="T95" fmla="*/ 2147483647 h 322"/>
                <a:gd name="T96" fmla="*/ 2147483647 w 488"/>
                <a:gd name="T97" fmla="*/ 2147483647 h 322"/>
                <a:gd name="T98" fmla="*/ 2147483647 w 488"/>
                <a:gd name="T99" fmla="*/ 2147483647 h 322"/>
                <a:gd name="T100" fmla="*/ 2147483647 w 488"/>
                <a:gd name="T101" fmla="*/ 2147483647 h 322"/>
                <a:gd name="T102" fmla="*/ 2147483647 w 488"/>
                <a:gd name="T103" fmla="*/ 2147483647 h 322"/>
                <a:gd name="T104" fmla="*/ 2147483647 w 488"/>
                <a:gd name="T105" fmla="*/ 2147483647 h 322"/>
                <a:gd name="T106" fmla="*/ 2147483647 w 488"/>
                <a:gd name="T107" fmla="*/ 2147483647 h 322"/>
                <a:gd name="T108" fmla="*/ 2147483647 w 488"/>
                <a:gd name="T109" fmla="*/ 2147483647 h 322"/>
                <a:gd name="T110" fmla="*/ 2147483647 w 488"/>
                <a:gd name="T111" fmla="*/ 2147483647 h 322"/>
                <a:gd name="T112" fmla="*/ 0 w 488"/>
                <a:gd name="T113" fmla="*/ 2147483647 h 3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8"/>
                <a:gd name="T172" fmla="*/ 0 h 322"/>
                <a:gd name="T173" fmla="*/ 488 w 488"/>
                <a:gd name="T174" fmla="*/ 322 h 3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8" h="322">
                  <a:moveTo>
                    <a:pt x="0" y="254"/>
                  </a:moveTo>
                  <a:lnTo>
                    <a:pt x="2" y="250"/>
                  </a:lnTo>
                  <a:lnTo>
                    <a:pt x="6" y="244"/>
                  </a:lnTo>
                  <a:lnTo>
                    <a:pt x="8" y="242"/>
                  </a:lnTo>
                  <a:lnTo>
                    <a:pt x="10" y="240"/>
                  </a:lnTo>
                  <a:lnTo>
                    <a:pt x="16" y="236"/>
                  </a:lnTo>
                  <a:lnTo>
                    <a:pt x="20" y="234"/>
                  </a:lnTo>
                  <a:lnTo>
                    <a:pt x="28" y="232"/>
                  </a:lnTo>
                  <a:lnTo>
                    <a:pt x="32" y="228"/>
                  </a:lnTo>
                  <a:lnTo>
                    <a:pt x="38" y="222"/>
                  </a:lnTo>
                  <a:lnTo>
                    <a:pt x="36" y="216"/>
                  </a:lnTo>
                  <a:lnTo>
                    <a:pt x="36" y="214"/>
                  </a:lnTo>
                  <a:lnTo>
                    <a:pt x="36" y="210"/>
                  </a:lnTo>
                  <a:lnTo>
                    <a:pt x="36" y="206"/>
                  </a:lnTo>
                  <a:lnTo>
                    <a:pt x="32" y="202"/>
                  </a:lnTo>
                  <a:lnTo>
                    <a:pt x="32" y="198"/>
                  </a:lnTo>
                  <a:lnTo>
                    <a:pt x="30" y="192"/>
                  </a:lnTo>
                  <a:lnTo>
                    <a:pt x="26" y="186"/>
                  </a:lnTo>
                  <a:lnTo>
                    <a:pt x="24" y="180"/>
                  </a:lnTo>
                  <a:lnTo>
                    <a:pt x="20" y="176"/>
                  </a:lnTo>
                  <a:lnTo>
                    <a:pt x="18" y="172"/>
                  </a:lnTo>
                  <a:lnTo>
                    <a:pt x="16" y="166"/>
                  </a:lnTo>
                  <a:lnTo>
                    <a:pt x="14" y="160"/>
                  </a:lnTo>
                  <a:lnTo>
                    <a:pt x="12" y="160"/>
                  </a:lnTo>
                  <a:lnTo>
                    <a:pt x="10" y="154"/>
                  </a:lnTo>
                  <a:lnTo>
                    <a:pt x="8" y="148"/>
                  </a:lnTo>
                  <a:lnTo>
                    <a:pt x="8" y="144"/>
                  </a:lnTo>
                  <a:lnTo>
                    <a:pt x="12" y="146"/>
                  </a:lnTo>
                  <a:lnTo>
                    <a:pt x="18" y="146"/>
                  </a:lnTo>
                  <a:lnTo>
                    <a:pt x="24" y="146"/>
                  </a:lnTo>
                  <a:lnTo>
                    <a:pt x="26" y="146"/>
                  </a:lnTo>
                  <a:lnTo>
                    <a:pt x="32" y="144"/>
                  </a:lnTo>
                  <a:lnTo>
                    <a:pt x="38" y="146"/>
                  </a:lnTo>
                  <a:lnTo>
                    <a:pt x="38" y="144"/>
                  </a:lnTo>
                  <a:lnTo>
                    <a:pt x="40" y="144"/>
                  </a:lnTo>
                  <a:lnTo>
                    <a:pt x="46" y="144"/>
                  </a:lnTo>
                  <a:lnTo>
                    <a:pt x="50" y="148"/>
                  </a:lnTo>
                  <a:lnTo>
                    <a:pt x="56" y="146"/>
                  </a:lnTo>
                  <a:lnTo>
                    <a:pt x="62" y="144"/>
                  </a:lnTo>
                  <a:lnTo>
                    <a:pt x="66" y="142"/>
                  </a:lnTo>
                  <a:lnTo>
                    <a:pt x="72" y="142"/>
                  </a:lnTo>
                  <a:lnTo>
                    <a:pt x="76" y="138"/>
                  </a:lnTo>
                  <a:lnTo>
                    <a:pt x="78" y="132"/>
                  </a:lnTo>
                  <a:lnTo>
                    <a:pt x="84" y="132"/>
                  </a:lnTo>
                  <a:lnTo>
                    <a:pt x="86" y="132"/>
                  </a:lnTo>
                  <a:lnTo>
                    <a:pt x="92" y="130"/>
                  </a:lnTo>
                  <a:lnTo>
                    <a:pt x="94" y="126"/>
                  </a:lnTo>
                  <a:lnTo>
                    <a:pt x="94" y="124"/>
                  </a:lnTo>
                  <a:lnTo>
                    <a:pt x="100" y="124"/>
                  </a:lnTo>
                  <a:lnTo>
                    <a:pt x="102" y="124"/>
                  </a:lnTo>
                  <a:lnTo>
                    <a:pt x="106" y="122"/>
                  </a:lnTo>
                  <a:lnTo>
                    <a:pt x="112" y="126"/>
                  </a:lnTo>
                  <a:lnTo>
                    <a:pt x="112" y="132"/>
                  </a:lnTo>
                  <a:lnTo>
                    <a:pt x="118" y="132"/>
                  </a:lnTo>
                  <a:lnTo>
                    <a:pt x="124" y="128"/>
                  </a:lnTo>
                  <a:lnTo>
                    <a:pt x="122" y="122"/>
                  </a:lnTo>
                  <a:lnTo>
                    <a:pt x="116" y="120"/>
                  </a:lnTo>
                  <a:lnTo>
                    <a:pt x="110" y="118"/>
                  </a:lnTo>
                  <a:lnTo>
                    <a:pt x="114" y="112"/>
                  </a:lnTo>
                  <a:lnTo>
                    <a:pt x="116" y="106"/>
                  </a:lnTo>
                  <a:lnTo>
                    <a:pt x="120" y="102"/>
                  </a:lnTo>
                  <a:lnTo>
                    <a:pt x="118" y="100"/>
                  </a:lnTo>
                  <a:lnTo>
                    <a:pt x="118" y="94"/>
                  </a:lnTo>
                  <a:lnTo>
                    <a:pt x="118" y="90"/>
                  </a:lnTo>
                  <a:lnTo>
                    <a:pt x="120" y="84"/>
                  </a:lnTo>
                  <a:lnTo>
                    <a:pt x="126" y="78"/>
                  </a:lnTo>
                  <a:lnTo>
                    <a:pt x="132" y="78"/>
                  </a:lnTo>
                  <a:lnTo>
                    <a:pt x="138" y="76"/>
                  </a:lnTo>
                  <a:lnTo>
                    <a:pt x="142" y="70"/>
                  </a:lnTo>
                  <a:lnTo>
                    <a:pt x="142" y="66"/>
                  </a:lnTo>
                  <a:lnTo>
                    <a:pt x="148" y="66"/>
                  </a:lnTo>
                  <a:lnTo>
                    <a:pt x="154" y="66"/>
                  </a:lnTo>
                  <a:lnTo>
                    <a:pt x="156" y="66"/>
                  </a:lnTo>
                  <a:lnTo>
                    <a:pt x="160" y="66"/>
                  </a:lnTo>
                  <a:lnTo>
                    <a:pt x="162" y="60"/>
                  </a:lnTo>
                  <a:lnTo>
                    <a:pt x="168" y="56"/>
                  </a:lnTo>
                  <a:lnTo>
                    <a:pt x="162" y="54"/>
                  </a:lnTo>
                  <a:lnTo>
                    <a:pt x="156" y="54"/>
                  </a:lnTo>
                  <a:lnTo>
                    <a:pt x="150" y="52"/>
                  </a:lnTo>
                  <a:lnTo>
                    <a:pt x="152" y="46"/>
                  </a:lnTo>
                  <a:lnTo>
                    <a:pt x="154" y="40"/>
                  </a:lnTo>
                  <a:lnTo>
                    <a:pt x="156" y="38"/>
                  </a:lnTo>
                  <a:lnTo>
                    <a:pt x="156" y="32"/>
                  </a:lnTo>
                  <a:lnTo>
                    <a:pt x="160" y="30"/>
                  </a:lnTo>
                  <a:lnTo>
                    <a:pt x="162" y="30"/>
                  </a:lnTo>
                  <a:lnTo>
                    <a:pt x="168" y="26"/>
                  </a:lnTo>
                  <a:lnTo>
                    <a:pt x="174" y="20"/>
                  </a:lnTo>
                  <a:lnTo>
                    <a:pt x="180" y="20"/>
                  </a:lnTo>
                  <a:lnTo>
                    <a:pt x="186" y="22"/>
                  </a:lnTo>
                  <a:lnTo>
                    <a:pt x="192" y="22"/>
                  </a:lnTo>
                  <a:lnTo>
                    <a:pt x="198" y="24"/>
                  </a:lnTo>
                  <a:lnTo>
                    <a:pt x="204" y="24"/>
                  </a:lnTo>
                  <a:lnTo>
                    <a:pt x="206" y="22"/>
                  </a:lnTo>
                  <a:lnTo>
                    <a:pt x="206" y="20"/>
                  </a:lnTo>
                  <a:lnTo>
                    <a:pt x="208" y="14"/>
                  </a:lnTo>
                  <a:lnTo>
                    <a:pt x="214" y="8"/>
                  </a:lnTo>
                  <a:lnTo>
                    <a:pt x="220" y="2"/>
                  </a:lnTo>
                  <a:lnTo>
                    <a:pt x="224" y="2"/>
                  </a:lnTo>
                  <a:lnTo>
                    <a:pt x="230" y="0"/>
                  </a:lnTo>
                  <a:lnTo>
                    <a:pt x="232" y="2"/>
                  </a:lnTo>
                  <a:lnTo>
                    <a:pt x="238" y="6"/>
                  </a:lnTo>
                  <a:lnTo>
                    <a:pt x="240" y="6"/>
                  </a:lnTo>
                  <a:lnTo>
                    <a:pt x="244" y="4"/>
                  </a:lnTo>
                  <a:lnTo>
                    <a:pt x="250" y="4"/>
                  </a:lnTo>
                  <a:lnTo>
                    <a:pt x="256" y="4"/>
                  </a:lnTo>
                  <a:lnTo>
                    <a:pt x="256" y="6"/>
                  </a:lnTo>
                  <a:lnTo>
                    <a:pt x="260" y="12"/>
                  </a:lnTo>
                  <a:lnTo>
                    <a:pt x="262" y="14"/>
                  </a:lnTo>
                  <a:lnTo>
                    <a:pt x="268" y="12"/>
                  </a:lnTo>
                  <a:lnTo>
                    <a:pt x="274" y="10"/>
                  </a:lnTo>
                  <a:lnTo>
                    <a:pt x="278" y="8"/>
                  </a:lnTo>
                  <a:lnTo>
                    <a:pt x="286" y="10"/>
                  </a:lnTo>
                  <a:lnTo>
                    <a:pt x="292" y="12"/>
                  </a:lnTo>
                  <a:lnTo>
                    <a:pt x="296" y="14"/>
                  </a:lnTo>
                  <a:lnTo>
                    <a:pt x="296" y="20"/>
                  </a:lnTo>
                  <a:lnTo>
                    <a:pt x="296" y="26"/>
                  </a:lnTo>
                  <a:lnTo>
                    <a:pt x="300" y="30"/>
                  </a:lnTo>
                  <a:lnTo>
                    <a:pt x="306" y="28"/>
                  </a:lnTo>
                  <a:lnTo>
                    <a:pt x="312" y="24"/>
                  </a:lnTo>
                  <a:lnTo>
                    <a:pt x="318" y="24"/>
                  </a:lnTo>
                  <a:lnTo>
                    <a:pt x="324" y="20"/>
                  </a:lnTo>
                  <a:lnTo>
                    <a:pt x="326" y="20"/>
                  </a:lnTo>
                  <a:lnTo>
                    <a:pt x="330" y="20"/>
                  </a:lnTo>
                  <a:lnTo>
                    <a:pt x="336" y="20"/>
                  </a:lnTo>
                  <a:lnTo>
                    <a:pt x="340" y="20"/>
                  </a:lnTo>
                  <a:lnTo>
                    <a:pt x="344" y="22"/>
                  </a:lnTo>
                  <a:lnTo>
                    <a:pt x="346" y="22"/>
                  </a:lnTo>
                  <a:lnTo>
                    <a:pt x="352" y="24"/>
                  </a:lnTo>
                  <a:lnTo>
                    <a:pt x="354" y="26"/>
                  </a:lnTo>
                  <a:lnTo>
                    <a:pt x="360" y="32"/>
                  </a:lnTo>
                  <a:lnTo>
                    <a:pt x="364" y="34"/>
                  </a:lnTo>
                  <a:lnTo>
                    <a:pt x="372" y="36"/>
                  </a:lnTo>
                  <a:lnTo>
                    <a:pt x="376" y="36"/>
                  </a:lnTo>
                  <a:lnTo>
                    <a:pt x="376" y="42"/>
                  </a:lnTo>
                  <a:lnTo>
                    <a:pt x="376" y="44"/>
                  </a:lnTo>
                  <a:lnTo>
                    <a:pt x="376" y="46"/>
                  </a:lnTo>
                  <a:lnTo>
                    <a:pt x="374" y="52"/>
                  </a:lnTo>
                  <a:lnTo>
                    <a:pt x="374" y="58"/>
                  </a:lnTo>
                  <a:lnTo>
                    <a:pt x="380" y="64"/>
                  </a:lnTo>
                  <a:lnTo>
                    <a:pt x="384" y="70"/>
                  </a:lnTo>
                  <a:lnTo>
                    <a:pt x="382" y="74"/>
                  </a:lnTo>
                  <a:lnTo>
                    <a:pt x="382" y="76"/>
                  </a:lnTo>
                  <a:lnTo>
                    <a:pt x="376" y="78"/>
                  </a:lnTo>
                  <a:lnTo>
                    <a:pt x="376" y="84"/>
                  </a:lnTo>
                  <a:lnTo>
                    <a:pt x="380" y="90"/>
                  </a:lnTo>
                  <a:lnTo>
                    <a:pt x="386" y="94"/>
                  </a:lnTo>
                  <a:lnTo>
                    <a:pt x="388" y="96"/>
                  </a:lnTo>
                  <a:lnTo>
                    <a:pt x="394" y="98"/>
                  </a:lnTo>
                  <a:lnTo>
                    <a:pt x="394" y="104"/>
                  </a:lnTo>
                  <a:lnTo>
                    <a:pt x="400" y="110"/>
                  </a:lnTo>
                  <a:lnTo>
                    <a:pt x="404" y="116"/>
                  </a:lnTo>
                  <a:lnTo>
                    <a:pt x="406" y="122"/>
                  </a:lnTo>
                  <a:lnTo>
                    <a:pt x="412" y="126"/>
                  </a:lnTo>
                  <a:lnTo>
                    <a:pt x="418" y="130"/>
                  </a:lnTo>
                  <a:lnTo>
                    <a:pt x="424" y="132"/>
                  </a:lnTo>
                  <a:lnTo>
                    <a:pt x="430" y="134"/>
                  </a:lnTo>
                  <a:lnTo>
                    <a:pt x="432" y="136"/>
                  </a:lnTo>
                  <a:lnTo>
                    <a:pt x="438" y="140"/>
                  </a:lnTo>
                  <a:lnTo>
                    <a:pt x="438" y="142"/>
                  </a:lnTo>
                  <a:lnTo>
                    <a:pt x="436" y="148"/>
                  </a:lnTo>
                  <a:lnTo>
                    <a:pt x="434" y="154"/>
                  </a:lnTo>
                  <a:lnTo>
                    <a:pt x="440" y="156"/>
                  </a:lnTo>
                  <a:lnTo>
                    <a:pt x="446" y="154"/>
                  </a:lnTo>
                  <a:lnTo>
                    <a:pt x="452" y="152"/>
                  </a:lnTo>
                  <a:lnTo>
                    <a:pt x="458" y="156"/>
                  </a:lnTo>
                  <a:lnTo>
                    <a:pt x="460" y="156"/>
                  </a:lnTo>
                  <a:lnTo>
                    <a:pt x="464" y="156"/>
                  </a:lnTo>
                  <a:lnTo>
                    <a:pt x="470" y="160"/>
                  </a:lnTo>
                  <a:lnTo>
                    <a:pt x="470" y="164"/>
                  </a:lnTo>
                  <a:lnTo>
                    <a:pt x="474" y="170"/>
                  </a:lnTo>
                  <a:lnTo>
                    <a:pt x="478" y="172"/>
                  </a:lnTo>
                  <a:lnTo>
                    <a:pt x="484" y="174"/>
                  </a:lnTo>
                  <a:lnTo>
                    <a:pt x="488" y="178"/>
                  </a:lnTo>
                  <a:lnTo>
                    <a:pt x="488" y="184"/>
                  </a:lnTo>
                  <a:lnTo>
                    <a:pt x="484" y="184"/>
                  </a:lnTo>
                  <a:lnTo>
                    <a:pt x="478" y="186"/>
                  </a:lnTo>
                  <a:lnTo>
                    <a:pt x="476" y="192"/>
                  </a:lnTo>
                  <a:lnTo>
                    <a:pt x="470" y="196"/>
                  </a:lnTo>
                  <a:lnTo>
                    <a:pt x="470" y="198"/>
                  </a:lnTo>
                  <a:lnTo>
                    <a:pt x="464" y="200"/>
                  </a:lnTo>
                  <a:lnTo>
                    <a:pt x="456" y="202"/>
                  </a:lnTo>
                  <a:lnTo>
                    <a:pt x="452" y="200"/>
                  </a:lnTo>
                  <a:lnTo>
                    <a:pt x="446" y="198"/>
                  </a:lnTo>
                  <a:lnTo>
                    <a:pt x="440" y="194"/>
                  </a:lnTo>
                  <a:lnTo>
                    <a:pt x="434" y="192"/>
                  </a:lnTo>
                  <a:lnTo>
                    <a:pt x="428" y="194"/>
                  </a:lnTo>
                  <a:lnTo>
                    <a:pt x="422" y="194"/>
                  </a:lnTo>
                  <a:lnTo>
                    <a:pt x="420" y="198"/>
                  </a:lnTo>
                  <a:lnTo>
                    <a:pt x="416" y="204"/>
                  </a:lnTo>
                  <a:lnTo>
                    <a:pt x="422" y="210"/>
                  </a:lnTo>
                  <a:lnTo>
                    <a:pt x="428" y="216"/>
                  </a:lnTo>
                  <a:lnTo>
                    <a:pt x="434" y="220"/>
                  </a:lnTo>
                  <a:lnTo>
                    <a:pt x="434" y="226"/>
                  </a:lnTo>
                  <a:lnTo>
                    <a:pt x="434" y="232"/>
                  </a:lnTo>
                  <a:lnTo>
                    <a:pt x="436" y="238"/>
                  </a:lnTo>
                  <a:lnTo>
                    <a:pt x="438" y="242"/>
                  </a:lnTo>
                  <a:lnTo>
                    <a:pt x="438" y="244"/>
                  </a:lnTo>
                  <a:lnTo>
                    <a:pt x="440" y="248"/>
                  </a:lnTo>
                  <a:lnTo>
                    <a:pt x="442" y="254"/>
                  </a:lnTo>
                  <a:lnTo>
                    <a:pt x="446" y="260"/>
                  </a:lnTo>
                  <a:lnTo>
                    <a:pt x="450" y="266"/>
                  </a:lnTo>
                  <a:lnTo>
                    <a:pt x="444" y="266"/>
                  </a:lnTo>
                  <a:lnTo>
                    <a:pt x="440" y="266"/>
                  </a:lnTo>
                  <a:lnTo>
                    <a:pt x="432" y="266"/>
                  </a:lnTo>
                  <a:lnTo>
                    <a:pt x="428" y="266"/>
                  </a:lnTo>
                  <a:lnTo>
                    <a:pt x="422" y="270"/>
                  </a:lnTo>
                  <a:lnTo>
                    <a:pt x="418" y="268"/>
                  </a:lnTo>
                  <a:lnTo>
                    <a:pt x="414" y="268"/>
                  </a:lnTo>
                  <a:lnTo>
                    <a:pt x="408" y="268"/>
                  </a:lnTo>
                  <a:lnTo>
                    <a:pt x="406" y="268"/>
                  </a:lnTo>
                  <a:lnTo>
                    <a:pt x="406" y="272"/>
                  </a:lnTo>
                  <a:lnTo>
                    <a:pt x="400" y="276"/>
                  </a:lnTo>
                  <a:lnTo>
                    <a:pt x="400" y="278"/>
                  </a:lnTo>
                  <a:lnTo>
                    <a:pt x="396" y="282"/>
                  </a:lnTo>
                  <a:lnTo>
                    <a:pt x="392" y="288"/>
                  </a:lnTo>
                  <a:lnTo>
                    <a:pt x="390" y="294"/>
                  </a:lnTo>
                  <a:lnTo>
                    <a:pt x="388" y="300"/>
                  </a:lnTo>
                  <a:lnTo>
                    <a:pt x="392" y="306"/>
                  </a:lnTo>
                  <a:lnTo>
                    <a:pt x="394" y="308"/>
                  </a:lnTo>
                  <a:lnTo>
                    <a:pt x="396" y="314"/>
                  </a:lnTo>
                  <a:lnTo>
                    <a:pt x="398" y="318"/>
                  </a:lnTo>
                  <a:lnTo>
                    <a:pt x="394" y="322"/>
                  </a:lnTo>
                  <a:lnTo>
                    <a:pt x="392" y="322"/>
                  </a:lnTo>
                  <a:lnTo>
                    <a:pt x="390" y="322"/>
                  </a:lnTo>
                  <a:lnTo>
                    <a:pt x="384" y="320"/>
                  </a:lnTo>
                  <a:lnTo>
                    <a:pt x="382" y="316"/>
                  </a:lnTo>
                  <a:lnTo>
                    <a:pt x="376" y="310"/>
                  </a:lnTo>
                  <a:lnTo>
                    <a:pt x="376" y="308"/>
                  </a:lnTo>
                  <a:lnTo>
                    <a:pt x="374" y="308"/>
                  </a:lnTo>
                  <a:lnTo>
                    <a:pt x="368" y="308"/>
                  </a:lnTo>
                  <a:lnTo>
                    <a:pt x="362" y="308"/>
                  </a:lnTo>
                  <a:lnTo>
                    <a:pt x="360" y="308"/>
                  </a:lnTo>
                  <a:lnTo>
                    <a:pt x="354" y="310"/>
                  </a:lnTo>
                  <a:lnTo>
                    <a:pt x="348" y="308"/>
                  </a:lnTo>
                  <a:lnTo>
                    <a:pt x="342" y="308"/>
                  </a:lnTo>
                  <a:lnTo>
                    <a:pt x="336" y="312"/>
                  </a:lnTo>
                  <a:lnTo>
                    <a:pt x="330" y="314"/>
                  </a:lnTo>
                  <a:lnTo>
                    <a:pt x="322" y="310"/>
                  </a:lnTo>
                  <a:lnTo>
                    <a:pt x="322" y="304"/>
                  </a:lnTo>
                  <a:lnTo>
                    <a:pt x="318" y="300"/>
                  </a:lnTo>
                  <a:lnTo>
                    <a:pt x="314" y="298"/>
                  </a:lnTo>
                  <a:lnTo>
                    <a:pt x="312" y="298"/>
                  </a:lnTo>
                  <a:lnTo>
                    <a:pt x="310" y="300"/>
                  </a:lnTo>
                  <a:lnTo>
                    <a:pt x="304" y="302"/>
                  </a:lnTo>
                  <a:lnTo>
                    <a:pt x="298" y="306"/>
                  </a:lnTo>
                  <a:lnTo>
                    <a:pt x="298" y="312"/>
                  </a:lnTo>
                  <a:lnTo>
                    <a:pt x="292" y="308"/>
                  </a:lnTo>
                  <a:lnTo>
                    <a:pt x="288" y="302"/>
                  </a:lnTo>
                  <a:lnTo>
                    <a:pt x="282" y="300"/>
                  </a:lnTo>
                  <a:lnTo>
                    <a:pt x="278" y="304"/>
                  </a:lnTo>
                  <a:lnTo>
                    <a:pt x="270" y="300"/>
                  </a:lnTo>
                  <a:lnTo>
                    <a:pt x="266" y="298"/>
                  </a:lnTo>
                  <a:lnTo>
                    <a:pt x="260" y="302"/>
                  </a:lnTo>
                  <a:lnTo>
                    <a:pt x="254" y="300"/>
                  </a:lnTo>
                  <a:lnTo>
                    <a:pt x="248" y="300"/>
                  </a:lnTo>
                  <a:lnTo>
                    <a:pt x="246" y="304"/>
                  </a:lnTo>
                  <a:lnTo>
                    <a:pt x="242" y="304"/>
                  </a:lnTo>
                  <a:lnTo>
                    <a:pt x="236" y="300"/>
                  </a:lnTo>
                  <a:lnTo>
                    <a:pt x="230" y="298"/>
                  </a:lnTo>
                  <a:lnTo>
                    <a:pt x="226" y="300"/>
                  </a:lnTo>
                  <a:lnTo>
                    <a:pt x="220" y="300"/>
                  </a:lnTo>
                  <a:lnTo>
                    <a:pt x="214" y="294"/>
                  </a:lnTo>
                  <a:lnTo>
                    <a:pt x="208" y="288"/>
                  </a:lnTo>
                  <a:lnTo>
                    <a:pt x="202" y="288"/>
                  </a:lnTo>
                  <a:lnTo>
                    <a:pt x="198" y="290"/>
                  </a:lnTo>
                  <a:lnTo>
                    <a:pt x="190" y="288"/>
                  </a:lnTo>
                  <a:lnTo>
                    <a:pt x="186" y="286"/>
                  </a:lnTo>
                  <a:lnTo>
                    <a:pt x="182" y="286"/>
                  </a:lnTo>
                  <a:lnTo>
                    <a:pt x="176" y="286"/>
                  </a:lnTo>
                  <a:lnTo>
                    <a:pt x="170" y="282"/>
                  </a:lnTo>
                  <a:lnTo>
                    <a:pt x="164" y="282"/>
                  </a:lnTo>
                  <a:lnTo>
                    <a:pt x="158" y="282"/>
                  </a:lnTo>
                  <a:lnTo>
                    <a:pt x="152" y="278"/>
                  </a:lnTo>
                  <a:lnTo>
                    <a:pt x="146" y="278"/>
                  </a:lnTo>
                  <a:lnTo>
                    <a:pt x="144" y="278"/>
                  </a:lnTo>
                  <a:lnTo>
                    <a:pt x="138" y="278"/>
                  </a:lnTo>
                  <a:lnTo>
                    <a:pt x="132" y="278"/>
                  </a:lnTo>
                  <a:lnTo>
                    <a:pt x="126" y="278"/>
                  </a:lnTo>
                  <a:lnTo>
                    <a:pt x="124" y="278"/>
                  </a:lnTo>
                  <a:lnTo>
                    <a:pt x="120" y="278"/>
                  </a:lnTo>
                  <a:lnTo>
                    <a:pt x="114" y="278"/>
                  </a:lnTo>
                  <a:lnTo>
                    <a:pt x="108" y="276"/>
                  </a:lnTo>
                  <a:lnTo>
                    <a:pt x="102" y="276"/>
                  </a:lnTo>
                  <a:lnTo>
                    <a:pt x="96" y="278"/>
                  </a:lnTo>
                  <a:lnTo>
                    <a:pt x="92" y="280"/>
                  </a:lnTo>
                  <a:lnTo>
                    <a:pt x="86" y="280"/>
                  </a:lnTo>
                  <a:lnTo>
                    <a:pt x="80" y="280"/>
                  </a:lnTo>
                  <a:lnTo>
                    <a:pt x="74" y="280"/>
                  </a:lnTo>
                  <a:lnTo>
                    <a:pt x="68" y="280"/>
                  </a:lnTo>
                  <a:lnTo>
                    <a:pt x="62" y="284"/>
                  </a:lnTo>
                  <a:lnTo>
                    <a:pt x="60" y="290"/>
                  </a:lnTo>
                  <a:lnTo>
                    <a:pt x="56" y="294"/>
                  </a:lnTo>
                  <a:lnTo>
                    <a:pt x="50" y="298"/>
                  </a:lnTo>
                  <a:lnTo>
                    <a:pt x="44" y="300"/>
                  </a:lnTo>
                  <a:lnTo>
                    <a:pt x="40" y="298"/>
                  </a:lnTo>
                  <a:lnTo>
                    <a:pt x="32" y="296"/>
                  </a:lnTo>
                  <a:lnTo>
                    <a:pt x="28" y="298"/>
                  </a:lnTo>
                  <a:lnTo>
                    <a:pt x="26" y="298"/>
                  </a:lnTo>
                  <a:lnTo>
                    <a:pt x="28" y="302"/>
                  </a:lnTo>
                  <a:lnTo>
                    <a:pt x="26" y="304"/>
                  </a:lnTo>
                  <a:lnTo>
                    <a:pt x="24" y="304"/>
                  </a:lnTo>
                  <a:lnTo>
                    <a:pt x="22" y="298"/>
                  </a:lnTo>
                  <a:lnTo>
                    <a:pt x="22" y="296"/>
                  </a:lnTo>
                  <a:lnTo>
                    <a:pt x="22" y="290"/>
                  </a:lnTo>
                  <a:lnTo>
                    <a:pt x="24" y="288"/>
                  </a:lnTo>
                  <a:lnTo>
                    <a:pt x="24" y="282"/>
                  </a:lnTo>
                  <a:lnTo>
                    <a:pt x="24" y="278"/>
                  </a:lnTo>
                  <a:lnTo>
                    <a:pt x="26" y="270"/>
                  </a:lnTo>
                  <a:lnTo>
                    <a:pt x="24" y="268"/>
                  </a:lnTo>
                  <a:lnTo>
                    <a:pt x="22" y="266"/>
                  </a:lnTo>
                  <a:lnTo>
                    <a:pt x="16" y="262"/>
                  </a:lnTo>
                  <a:lnTo>
                    <a:pt x="10" y="260"/>
                  </a:lnTo>
                  <a:lnTo>
                    <a:pt x="4" y="258"/>
                  </a:lnTo>
                  <a:lnTo>
                    <a:pt x="0" y="2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2" name="Freeform 19"/>
            <p:cNvSpPr>
              <a:spLocks/>
            </p:cNvSpPr>
            <p:nvPr/>
          </p:nvSpPr>
          <p:spPr bwMode="auto">
            <a:xfrm>
              <a:off x="4140200" y="2593975"/>
              <a:ext cx="165100" cy="233363"/>
            </a:xfrm>
            <a:custGeom>
              <a:avLst/>
              <a:gdLst>
                <a:gd name="T0" fmla="*/ 2147483647 w 404"/>
                <a:gd name="T1" fmla="*/ 2147483647 h 566"/>
                <a:gd name="T2" fmla="*/ 2147483647 w 404"/>
                <a:gd name="T3" fmla="*/ 2147483647 h 566"/>
                <a:gd name="T4" fmla="*/ 2147483647 w 404"/>
                <a:gd name="T5" fmla="*/ 2147483647 h 566"/>
                <a:gd name="T6" fmla="*/ 2147483647 w 404"/>
                <a:gd name="T7" fmla="*/ 2147483647 h 566"/>
                <a:gd name="T8" fmla="*/ 2147483647 w 404"/>
                <a:gd name="T9" fmla="*/ 2147483647 h 566"/>
                <a:gd name="T10" fmla="*/ 2147483647 w 404"/>
                <a:gd name="T11" fmla="*/ 2147483647 h 566"/>
                <a:gd name="T12" fmla="*/ 2147483647 w 404"/>
                <a:gd name="T13" fmla="*/ 2147483647 h 566"/>
                <a:gd name="T14" fmla="*/ 2147483647 w 404"/>
                <a:gd name="T15" fmla="*/ 2147483647 h 566"/>
                <a:gd name="T16" fmla="*/ 2147483647 w 404"/>
                <a:gd name="T17" fmla="*/ 2147483647 h 566"/>
                <a:gd name="T18" fmla="*/ 2147483647 w 404"/>
                <a:gd name="T19" fmla="*/ 2147483647 h 566"/>
                <a:gd name="T20" fmla="*/ 2147483647 w 404"/>
                <a:gd name="T21" fmla="*/ 2147483647 h 566"/>
                <a:gd name="T22" fmla="*/ 2147483647 w 404"/>
                <a:gd name="T23" fmla="*/ 2147483647 h 566"/>
                <a:gd name="T24" fmla="*/ 2147483647 w 404"/>
                <a:gd name="T25" fmla="*/ 2147483647 h 566"/>
                <a:gd name="T26" fmla="*/ 2147483647 w 404"/>
                <a:gd name="T27" fmla="*/ 2147483647 h 566"/>
                <a:gd name="T28" fmla="*/ 2147483647 w 404"/>
                <a:gd name="T29" fmla="*/ 2147483647 h 566"/>
                <a:gd name="T30" fmla="*/ 2147483647 w 404"/>
                <a:gd name="T31" fmla="*/ 2147483647 h 566"/>
                <a:gd name="T32" fmla="*/ 2147483647 w 404"/>
                <a:gd name="T33" fmla="*/ 2147483647 h 566"/>
                <a:gd name="T34" fmla="*/ 2147483647 w 404"/>
                <a:gd name="T35" fmla="*/ 2147483647 h 566"/>
                <a:gd name="T36" fmla="*/ 2147483647 w 404"/>
                <a:gd name="T37" fmla="*/ 2147483647 h 566"/>
                <a:gd name="T38" fmla="*/ 2147483647 w 404"/>
                <a:gd name="T39" fmla="*/ 2147483647 h 566"/>
                <a:gd name="T40" fmla="*/ 2147483647 w 404"/>
                <a:gd name="T41" fmla="*/ 2147483647 h 566"/>
                <a:gd name="T42" fmla="*/ 2147483647 w 404"/>
                <a:gd name="T43" fmla="*/ 2147483647 h 566"/>
                <a:gd name="T44" fmla="*/ 2147483647 w 404"/>
                <a:gd name="T45" fmla="*/ 2147483647 h 566"/>
                <a:gd name="T46" fmla="*/ 2147483647 w 404"/>
                <a:gd name="T47" fmla="*/ 2147483647 h 566"/>
                <a:gd name="T48" fmla="*/ 2147483647 w 404"/>
                <a:gd name="T49" fmla="*/ 2147483647 h 566"/>
                <a:gd name="T50" fmla="*/ 2147483647 w 404"/>
                <a:gd name="T51" fmla="*/ 2147483647 h 566"/>
                <a:gd name="T52" fmla="*/ 2147483647 w 404"/>
                <a:gd name="T53" fmla="*/ 2147483647 h 566"/>
                <a:gd name="T54" fmla="*/ 2147483647 w 404"/>
                <a:gd name="T55" fmla="*/ 2147483647 h 566"/>
                <a:gd name="T56" fmla="*/ 2147483647 w 404"/>
                <a:gd name="T57" fmla="*/ 2147483647 h 566"/>
                <a:gd name="T58" fmla="*/ 2147483647 w 404"/>
                <a:gd name="T59" fmla="*/ 2147483647 h 566"/>
                <a:gd name="T60" fmla="*/ 2147483647 w 404"/>
                <a:gd name="T61" fmla="*/ 2147483647 h 566"/>
                <a:gd name="T62" fmla="*/ 2147483647 w 404"/>
                <a:gd name="T63" fmla="*/ 2147483647 h 566"/>
                <a:gd name="T64" fmla="*/ 2147483647 w 404"/>
                <a:gd name="T65" fmla="*/ 2147483647 h 566"/>
                <a:gd name="T66" fmla="*/ 2147483647 w 404"/>
                <a:gd name="T67" fmla="*/ 2147483647 h 566"/>
                <a:gd name="T68" fmla="*/ 2147483647 w 404"/>
                <a:gd name="T69" fmla="*/ 2147483647 h 566"/>
                <a:gd name="T70" fmla="*/ 2147483647 w 404"/>
                <a:gd name="T71" fmla="*/ 2147483647 h 566"/>
                <a:gd name="T72" fmla="*/ 2147483647 w 404"/>
                <a:gd name="T73" fmla="*/ 2147483647 h 566"/>
                <a:gd name="T74" fmla="*/ 2147483647 w 404"/>
                <a:gd name="T75" fmla="*/ 2147483647 h 566"/>
                <a:gd name="T76" fmla="*/ 2147483647 w 404"/>
                <a:gd name="T77" fmla="*/ 2147483647 h 566"/>
                <a:gd name="T78" fmla="*/ 2147483647 w 404"/>
                <a:gd name="T79" fmla="*/ 2147483647 h 566"/>
                <a:gd name="T80" fmla="*/ 2147483647 w 404"/>
                <a:gd name="T81" fmla="*/ 2147483647 h 566"/>
                <a:gd name="T82" fmla="*/ 2147483647 w 404"/>
                <a:gd name="T83" fmla="*/ 2147483647 h 566"/>
                <a:gd name="T84" fmla="*/ 2147483647 w 404"/>
                <a:gd name="T85" fmla="*/ 2147483647 h 566"/>
                <a:gd name="T86" fmla="*/ 2147483647 w 404"/>
                <a:gd name="T87" fmla="*/ 2147483647 h 566"/>
                <a:gd name="T88" fmla="*/ 2147483647 w 404"/>
                <a:gd name="T89" fmla="*/ 2147483647 h 566"/>
                <a:gd name="T90" fmla="*/ 2147483647 w 404"/>
                <a:gd name="T91" fmla="*/ 2147483647 h 566"/>
                <a:gd name="T92" fmla="*/ 2147483647 w 404"/>
                <a:gd name="T93" fmla="*/ 2147483647 h 566"/>
                <a:gd name="T94" fmla="*/ 2147483647 w 404"/>
                <a:gd name="T95" fmla="*/ 2147483647 h 566"/>
                <a:gd name="T96" fmla="*/ 2147483647 w 404"/>
                <a:gd name="T97" fmla="*/ 2147483647 h 566"/>
                <a:gd name="T98" fmla="*/ 2147483647 w 404"/>
                <a:gd name="T99" fmla="*/ 2147483647 h 566"/>
                <a:gd name="T100" fmla="*/ 2147483647 w 404"/>
                <a:gd name="T101" fmla="*/ 2147483647 h 566"/>
                <a:gd name="T102" fmla="*/ 2147483647 w 404"/>
                <a:gd name="T103" fmla="*/ 2147483647 h 566"/>
                <a:gd name="T104" fmla="*/ 2147483647 w 404"/>
                <a:gd name="T105" fmla="*/ 2147483647 h 566"/>
                <a:gd name="T106" fmla="*/ 2147483647 w 404"/>
                <a:gd name="T107" fmla="*/ 2147483647 h 566"/>
                <a:gd name="T108" fmla="*/ 2147483647 w 404"/>
                <a:gd name="T109" fmla="*/ 2147483647 h 566"/>
                <a:gd name="T110" fmla="*/ 2147483647 w 404"/>
                <a:gd name="T111" fmla="*/ 2147483647 h 566"/>
                <a:gd name="T112" fmla="*/ 2147483647 w 404"/>
                <a:gd name="T113" fmla="*/ 2147483647 h 566"/>
                <a:gd name="T114" fmla="*/ 2147483647 w 404"/>
                <a:gd name="T115" fmla="*/ 2147483647 h 566"/>
                <a:gd name="T116" fmla="*/ 2147483647 w 404"/>
                <a:gd name="T117" fmla="*/ 2147483647 h 566"/>
                <a:gd name="T118" fmla="*/ 2147483647 w 404"/>
                <a:gd name="T119" fmla="*/ 2147483647 h 566"/>
                <a:gd name="T120" fmla="*/ 2147483647 w 404"/>
                <a:gd name="T121" fmla="*/ 2147483647 h 566"/>
                <a:gd name="T122" fmla="*/ 2147483647 w 404"/>
                <a:gd name="T123" fmla="*/ 2147483647 h 5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04"/>
                <a:gd name="T187" fmla="*/ 0 h 566"/>
                <a:gd name="T188" fmla="*/ 404 w 404"/>
                <a:gd name="T189" fmla="*/ 566 h 5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04" h="566">
                  <a:moveTo>
                    <a:pt x="24" y="566"/>
                  </a:moveTo>
                  <a:lnTo>
                    <a:pt x="30" y="566"/>
                  </a:lnTo>
                  <a:lnTo>
                    <a:pt x="34" y="564"/>
                  </a:lnTo>
                  <a:lnTo>
                    <a:pt x="34" y="560"/>
                  </a:lnTo>
                  <a:lnTo>
                    <a:pt x="38" y="556"/>
                  </a:lnTo>
                  <a:lnTo>
                    <a:pt x="40" y="556"/>
                  </a:lnTo>
                  <a:lnTo>
                    <a:pt x="46" y="552"/>
                  </a:lnTo>
                  <a:lnTo>
                    <a:pt x="52" y="546"/>
                  </a:lnTo>
                  <a:lnTo>
                    <a:pt x="58" y="546"/>
                  </a:lnTo>
                  <a:lnTo>
                    <a:pt x="64" y="544"/>
                  </a:lnTo>
                  <a:lnTo>
                    <a:pt x="70" y="544"/>
                  </a:lnTo>
                  <a:lnTo>
                    <a:pt x="76" y="542"/>
                  </a:lnTo>
                  <a:lnTo>
                    <a:pt x="82" y="540"/>
                  </a:lnTo>
                  <a:lnTo>
                    <a:pt x="82" y="538"/>
                  </a:lnTo>
                  <a:lnTo>
                    <a:pt x="84" y="536"/>
                  </a:lnTo>
                  <a:lnTo>
                    <a:pt x="84" y="540"/>
                  </a:lnTo>
                  <a:lnTo>
                    <a:pt x="88" y="544"/>
                  </a:lnTo>
                  <a:lnTo>
                    <a:pt x="94" y="546"/>
                  </a:lnTo>
                  <a:lnTo>
                    <a:pt x="100" y="548"/>
                  </a:lnTo>
                  <a:lnTo>
                    <a:pt x="106" y="552"/>
                  </a:lnTo>
                  <a:lnTo>
                    <a:pt x="110" y="548"/>
                  </a:lnTo>
                  <a:lnTo>
                    <a:pt x="116" y="544"/>
                  </a:lnTo>
                  <a:lnTo>
                    <a:pt x="118" y="540"/>
                  </a:lnTo>
                  <a:lnTo>
                    <a:pt x="120" y="532"/>
                  </a:lnTo>
                  <a:lnTo>
                    <a:pt x="122" y="526"/>
                  </a:lnTo>
                  <a:lnTo>
                    <a:pt x="124" y="522"/>
                  </a:lnTo>
                  <a:lnTo>
                    <a:pt x="126" y="526"/>
                  </a:lnTo>
                  <a:lnTo>
                    <a:pt x="128" y="526"/>
                  </a:lnTo>
                  <a:lnTo>
                    <a:pt x="132" y="522"/>
                  </a:lnTo>
                  <a:lnTo>
                    <a:pt x="138" y="520"/>
                  </a:lnTo>
                  <a:lnTo>
                    <a:pt x="144" y="518"/>
                  </a:lnTo>
                  <a:lnTo>
                    <a:pt x="150" y="518"/>
                  </a:lnTo>
                  <a:lnTo>
                    <a:pt x="154" y="518"/>
                  </a:lnTo>
                  <a:lnTo>
                    <a:pt x="160" y="518"/>
                  </a:lnTo>
                  <a:lnTo>
                    <a:pt x="166" y="522"/>
                  </a:lnTo>
                  <a:lnTo>
                    <a:pt x="172" y="524"/>
                  </a:lnTo>
                  <a:lnTo>
                    <a:pt x="178" y="530"/>
                  </a:lnTo>
                  <a:lnTo>
                    <a:pt x="180" y="524"/>
                  </a:lnTo>
                  <a:lnTo>
                    <a:pt x="186" y="524"/>
                  </a:lnTo>
                  <a:lnTo>
                    <a:pt x="192" y="524"/>
                  </a:lnTo>
                  <a:lnTo>
                    <a:pt x="198" y="526"/>
                  </a:lnTo>
                  <a:lnTo>
                    <a:pt x="204" y="522"/>
                  </a:lnTo>
                  <a:lnTo>
                    <a:pt x="196" y="518"/>
                  </a:lnTo>
                  <a:lnTo>
                    <a:pt x="200" y="518"/>
                  </a:lnTo>
                  <a:lnTo>
                    <a:pt x="202" y="518"/>
                  </a:lnTo>
                  <a:lnTo>
                    <a:pt x="208" y="518"/>
                  </a:lnTo>
                  <a:lnTo>
                    <a:pt x="214" y="518"/>
                  </a:lnTo>
                  <a:lnTo>
                    <a:pt x="218" y="518"/>
                  </a:lnTo>
                  <a:lnTo>
                    <a:pt x="220" y="518"/>
                  </a:lnTo>
                  <a:lnTo>
                    <a:pt x="226" y="516"/>
                  </a:lnTo>
                  <a:lnTo>
                    <a:pt x="232" y="514"/>
                  </a:lnTo>
                  <a:lnTo>
                    <a:pt x="238" y="512"/>
                  </a:lnTo>
                  <a:lnTo>
                    <a:pt x="234" y="506"/>
                  </a:lnTo>
                  <a:lnTo>
                    <a:pt x="240" y="510"/>
                  </a:lnTo>
                  <a:lnTo>
                    <a:pt x="246" y="510"/>
                  </a:lnTo>
                  <a:lnTo>
                    <a:pt x="252" y="512"/>
                  </a:lnTo>
                  <a:lnTo>
                    <a:pt x="258" y="510"/>
                  </a:lnTo>
                  <a:lnTo>
                    <a:pt x="260" y="516"/>
                  </a:lnTo>
                  <a:lnTo>
                    <a:pt x="266" y="514"/>
                  </a:lnTo>
                  <a:lnTo>
                    <a:pt x="272" y="514"/>
                  </a:lnTo>
                  <a:lnTo>
                    <a:pt x="278" y="514"/>
                  </a:lnTo>
                  <a:lnTo>
                    <a:pt x="284" y="512"/>
                  </a:lnTo>
                  <a:lnTo>
                    <a:pt x="290" y="512"/>
                  </a:lnTo>
                  <a:lnTo>
                    <a:pt x="296" y="510"/>
                  </a:lnTo>
                  <a:lnTo>
                    <a:pt x="300" y="512"/>
                  </a:lnTo>
                  <a:lnTo>
                    <a:pt x="306" y="514"/>
                  </a:lnTo>
                  <a:lnTo>
                    <a:pt x="312" y="516"/>
                  </a:lnTo>
                  <a:lnTo>
                    <a:pt x="318" y="516"/>
                  </a:lnTo>
                  <a:lnTo>
                    <a:pt x="324" y="514"/>
                  </a:lnTo>
                  <a:lnTo>
                    <a:pt x="330" y="510"/>
                  </a:lnTo>
                  <a:lnTo>
                    <a:pt x="336" y="510"/>
                  </a:lnTo>
                  <a:lnTo>
                    <a:pt x="342" y="508"/>
                  </a:lnTo>
                  <a:lnTo>
                    <a:pt x="348" y="504"/>
                  </a:lnTo>
                  <a:lnTo>
                    <a:pt x="352" y="504"/>
                  </a:lnTo>
                  <a:lnTo>
                    <a:pt x="358" y="504"/>
                  </a:lnTo>
                  <a:lnTo>
                    <a:pt x="360" y="498"/>
                  </a:lnTo>
                  <a:lnTo>
                    <a:pt x="366" y="494"/>
                  </a:lnTo>
                  <a:lnTo>
                    <a:pt x="372" y="492"/>
                  </a:lnTo>
                  <a:lnTo>
                    <a:pt x="376" y="492"/>
                  </a:lnTo>
                  <a:lnTo>
                    <a:pt x="382" y="486"/>
                  </a:lnTo>
                  <a:lnTo>
                    <a:pt x="382" y="480"/>
                  </a:lnTo>
                  <a:lnTo>
                    <a:pt x="380" y="474"/>
                  </a:lnTo>
                  <a:lnTo>
                    <a:pt x="374" y="474"/>
                  </a:lnTo>
                  <a:lnTo>
                    <a:pt x="368" y="476"/>
                  </a:lnTo>
                  <a:lnTo>
                    <a:pt x="362" y="476"/>
                  </a:lnTo>
                  <a:lnTo>
                    <a:pt x="356" y="476"/>
                  </a:lnTo>
                  <a:lnTo>
                    <a:pt x="350" y="476"/>
                  </a:lnTo>
                  <a:lnTo>
                    <a:pt x="344" y="474"/>
                  </a:lnTo>
                  <a:lnTo>
                    <a:pt x="338" y="472"/>
                  </a:lnTo>
                  <a:lnTo>
                    <a:pt x="342" y="472"/>
                  </a:lnTo>
                  <a:lnTo>
                    <a:pt x="348" y="468"/>
                  </a:lnTo>
                  <a:lnTo>
                    <a:pt x="342" y="468"/>
                  </a:lnTo>
                  <a:lnTo>
                    <a:pt x="336" y="468"/>
                  </a:lnTo>
                  <a:lnTo>
                    <a:pt x="330" y="470"/>
                  </a:lnTo>
                  <a:lnTo>
                    <a:pt x="336" y="466"/>
                  </a:lnTo>
                  <a:lnTo>
                    <a:pt x="340" y="464"/>
                  </a:lnTo>
                  <a:lnTo>
                    <a:pt x="346" y="464"/>
                  </a:lnTo>
                  <a:lnTo>
                    <a:pt x="348" y="464"/>
                  </a:lnTo>
                  <a:lnTo>
                    <a:pt x="352" y="464"/>
                  </a:lnTo>
                  <a:lnTo>
                    <a:pt x="358" y="458"/>
                  </a:lnTo>
                  <a:lnTo>
                    <a:pt x="356" y="452"/>
                  </a:lnTo>
                  <a:lnTo>
                    <a:pt x="350" y="454"/>
                  </a:lnTo>
                  <a:lnTo>
                    <a:pt x="348" y="450"/>
                  </a:lnTo>
                  <a:lnTo>
                    <a:pt x="354" y="450"/>
                  </a:lnTo>
                  <a:lnTo>
                    <a:pt x="360" y="446"/>
                  </a:lnTo>
                  <a:lnTo>
                    <a:pt x="366" y="448"/>
                  </a:lnTo>
                  <a:lnTo>
                    <a:pt x="372" y="448"/>
                  </a:lnTo>
                  <a:lnTo>
                    <a:pt x="378" y="444"/>
                  </a:lnTo>
                  <a:lnTo>
                    <a:pt x="374" y="438"/>
                  </a:lnTo>
                  <a:lnTo>
                    <a:pt x="368" y="436"/>
                  </a:lnTo>
                  <a:lnTo>
                    <a:pt x="372" y="436"/>
                  </a:lnTo>
                  <a:lnTo>
                    <a:pt x="378" y="434"/>
                  </a:lnTo>
                  <a:lnTo>
                    <a:pt x="372" y="432"/>
                  </a:lnTo>
                  <a:lnTo>
                    <a:pt x="378" y="434"/>
                  </a:lnTo>
                  <a:lnTo>
                    <a:pt x="384" y="436"/>
                  </a:lnTo>
                  <a:lnTo>
                    <a:pt x="390" y="430"/>
                  </a:lnTo>
                  <a:lnTo>
                    <a:pt x="394" y="426"/>
                  </a:lnTo>
                  <a:lnTo>
                    <a:pt x="398" y="420"/>
                  </a:lnTo>
                  <a:lnTo>
                    <a:pt x="398" y="414"/>
                  </a:lnTo>
                  <a:lnTo>
                    <a:pt x="402" y="408"/>
                  </a:lnTo>
                  <a:lnTo>
                    <a:pt x="404" y="402"/>
                  </a:lnTo>
                  <a:lnTo>
                    <a:pt x="404" y="398"/>
                  </a:lnTo>
                  <a:lnTo>
                    <a:pt x="404" y="394"/>
                  </a:lnTo>
                  <a:lnTo>
                    <a:pt x="402" y="388"/>
                  </a:lnTo>
                  <a:lnTo>
                    <a:pt x="400" y="382"/>
                  </a:lnTo>
                  <a:lnTo>
                    <a:pt x="394" y="378"/>
                  </a:lnTo>
                  <a:lnTo>
                    <a:pt x="388" y="374"/>
                  </a:lnTo>
                  <a:lnTo>
                    <a:pt x="382" y="372"/>
                  </a:lnTo>
                  <a:lnTo>
                    <a:pt x="376" y="370"/>
                  </a:lnTo>
                  <a:lnTo>
                    <a:pt x="370" y="370"/>
                  </a:lnTo>
                  <a:lnTo>
                    <a:pt x="364" y="370"/>
                  </a:lnTo>
                  <a:lnTo>
                    <a:pt x="358" y="370"/>
                  </a:lnTo>
                  <a:lnTo>
                    <a:pt x="352" y="368"/>
                  </a:lnTo>
                  <a:lnTo>
                    <a:pt x="348" y="370"/>
                  </a:lnTo>
                  <a:lnTo>
                    <a:pt x="340" y="370"/>
                  </a:lnTo>
                  <a:lnTo>
                    <a:pt x="338" y="376"/>
                  </a:lnTo>
                  <a:lnTo>
                    <a:pt x="334" y="382"/>
                  </a:lnTo>
                  <a:lnTo>
                    <a:pt x="328" y="380"/>
                  </a:lnTo>
                  <a:lnTo>
                    <a:pt x="326" y="380"/>
                  </a:lnTo>
                  <a:lnTo>
                    <a:pt x="320" y="374"/>
                  </a:lnTo>
                  <a:lnTo>
                    <a:pt x="314" y="374"/>
                  </a:lnTo>
                  <a:lnTo>
                    <a:pt x="316" y="372"/>
                  </a:lnTo>
                  <a:lnTo>
                    <a:pt x="322" y="368"/>
                  </a:lnTo>
                  <a:lnTo>
                    <a:pt x="328" y="364"/>
                  </a:lnTo>
                  <a:lnTo>
                    <a:pt x="334" y="358"/>
                  </a:lnTo>
                  <a:lnTo>
                    <a:pt x="334" y="354"/>
                  </a:lnTo>
                  <a:lnTo>
                    <a:pt x="332" y="348"/>
                  </a:lnTo>
                  <a:lnTo>
                    <a:pt x="330" y="342"/>
                  </a:lnTo>
                  <a:lnTo>
                    <a:pt x="324" y="336"/>
                  </a:lnTo>
                  <a:lnTo>
                    <a:pt x="318" y="332"/>
                  </a:lnTo>
                  <a:lnTo>
                    <a:pt x="312" y="328"/>
                  </a:lnTo>
                  <a:lnTo>
                    <a:pt x="306" y="324"/>
                  </a:lnTo>
                  <a:lnTo>
                    <a:pt x="300" y="320"/>
                  </a:lnTo>
                  <a:lnTo>
                    <a:pt x="296" y="322"/>
                  </a:lnTo>
                  <a:lnTo>
                    <a:pt x="294" y="320"/>
                  </a:lnTo>
                  <a:lnTo>
                    <a:pt x="288" y="320"/>
                  </a:lnTo>
                  <a:lnTo>
                    <a:pt x="282" y="322"/>
                  </a:lnTo>
                  <a:lnTo>
                    <a:pt x="280" y="320"/>
                  </a:lnTo>
                  <a:lnTo>
                    <a:pt x="284" y="320"/>
                  </a:lnTo>
                  <a:lnTo>
                    <a:pt x="290" y="320"/>
                  </a:lnTo>
                  <a:lnTo>
                    <a:pt x="296" y="320"/>
                  </a:lnTo>
                  <a:lnTo>
                    <a:pt x="300" y="320"/>
                  </a:lnTo>
                  <a:lnTo>
                    <a:pt x="300" y="318"/>
                  </a:lnTo>
                  <a:lnTo>
                    <a:pt x="306" y="320"/>
                  </a:lnTo>
                  <a:lnTo>
                    <a:pt x="312" y="324"/>
                  </a:lnTo>
                  <a:lnTo>
                    <a:pt x="318" y="324"/>
                  </a:lnTo>
                  <a:lnTo>
                    <a:pt x="326" y="328"/>
                  </a:lnTo>
                  <a:lnTo>
                    <a:pt x="322" y="322"/>
                  </a:lnTo>
                  <a:lnTo>
                    <a:pt x="318" y="316"/>
                  </a:lnTo>
                  <a:lnTo>
                    <a:pt x="316" y="314"/>
                  </a:lnTo>
                  <a:lnTo>
                    <a:pt x="312" y="308"/>
                  </a:lnTo>
                  <a:lnTo>
                    <a:pt x="310" y="302"/>
                  </a:lnTo>
                  <a:lnTo>
                    <a:pt x="310" y="296"/>
                  </a:lnTo>
                  <a:lnTo>
                    <a:pt x="316" y="294"/>
                  </a:lnTo>
                  <a:lnTo>
                    <a:pt x="310" y="290"/>
                  </a:lnTo>
                  <a:lnTo>
                    <a:pt x="306" y="286"/>
                  </a:lnTo>
                  <a:lnTo>
                    <a:pt x="300" y="282"/>
                  </a:lnTo>
                  <a:lnTo>
                    <a:pt x="298" y="276"/>
                  </a:lnTo>
                  <a:lnTo>
                    <a:pt x="294" y="270"/>
                  </a:lnTo>
                  <a:lnTo>
                    <a:pt x="288" y="268"/>
                  </a:lnTo>
                  <a:lnTo>
                    <a:pt x="282" y="264"/>
                  </a:lnTo>
                  <a:lnTo>
                    <a:pt x="280" y="264"/>
                  </a:lnTo>
                  <a:lnTo>
                    <a:pt x="274" y="262"/>
                  </a:lnTo>
                  <a:lnTo>
                    <a:pt x="268" y="260"/>
                  </a:lnTo>
                  <a:lnTo>
                    <a:pt x="262" y="262"/>
                  </a:lnTo>
                  <a:lnTo>
                    <a:pt x="262" y="256"/>
                  </a:lnTo>
                  <a:lnTo>
                    <a:pt x="258" y="254"/>
                  </a:lnTo>
                  <a:lnTo>
                    <a:pt x="258" y="252"/>
                  </a:lnTo>
                  <a:lnTo>
                    <a:pt x="256" y="248"/>
                  </a:lnTo>
                  <a:lnTo>
                    <a:pt x="254" y="242"/>
                  </a:lnTo>
                  <a:lnTo>
                    <a:pt x="252" y="236"/>
                  </a:lnTo>
                  <a:lnTo>
                    <a:pt x="250" y="234"/>
                  </a:lnTo>
                  <a:lnTo>
                    <a:pt x="250" y="230"/>
                  </a:lnTo>
                  <a:lnTo>
                    <a:pt x="248" y="226"/>
                  </a:lnTo>
                  <a:lnTo>
                    <a:pt x="246" y="226"/>
                  </a:lnTo>
                  <a:lnTo>
                    <a:pt x="246" y="220"/>
                  </a:lnTo>
                  <a:lnTo>
                    <a:pt x="246" y="214"/>
                  </a:lnTo>
                  <a:lnTo>
                    <a:pt x="244" y="210"/>
                  </a:lnTo>
                  <a:lnTo>
                    <a:pt x="246" y="204"/>
                  </a:lnTo>
                  <a:lnTo>
                    <a:pt x="242" y="198"/>
                  </a:lnTo>
                  <a:lnTo>
                    <a:pt x="238" y="194"/>
                  </a:lnTo>
                  <a:lnTo>
                    <a:pt x="232" y="190"/>
                  </a:lnTo>
                  <a:lnTo>
                    <a:pt x="226" y="184"/>
                  </a:lnTo>
                  <a:lnTo>
                    <a:pt x="224" y="182"/>
                  </a:lnTo>
                  <a:lnTo>
                    <a:pt x="220" y="176"/>
                  </a:lnTo>
                  <a:lnTo>
                    <a:pt x="214" y="176"/>
                  </a:lnTo>
                  <a:lnTo>
                    <a:pt x="208" y="174"/>
                  </a:lnTo>
                  <a:lnTo>
                    <a:pt x="204" y="172"/>
                  </a:lnTo>
                  <a:lnTo>
                    <a:pt x="198" y="170"/>
                  </a:lnTo>
                  <a:lnTo>
                    <a:pt x="192" y="166"/>
                  </a:lnTo>
                  <a:lnTo>
                    <a:pt x="186" y="166"/>
                  </a:lnTo>
                  <a:lnTo>
                    <a:pt x="180" y="172"/>
                  </a:lnTo>
                  <a:lnTo>
                    <a:pt x="174" y="174"/>
                  </a:lnTo>
                  <a:lnTo>
                    <a:pt x="168" y="172"/>
                  </a:lnTo>
                  <a:lnTo>
                    <a:pt x="162" y="172"/>
                  </a:lnTo>
                  <a:lnTo>
                    <a:pt x="158" y="172"/>
                  </a:lnTo>
                  <a:lnTo>
                    <a:pt x="156" y="172"/>
                  </a:lnTo>
                  <a:lnTo>
                    <a:pt x="150" y="170"/>
                  </a:lnTo>
                  <a:lnTo>
                    <a:pt x="144" y="170"/>
                  </a:lnTo>
                  <a:lnTo>
                    <a:pt x="140" y="166"/>
                  </a:lnTo>
                  <a:lnTo>
                    <a:pt x="134" y="162"/>
                  </a:lnTo>
                  <a:lnTo>
                    <a:pt x="138" y="166"/>
                  </a:lnTo>
                  <a:lnTo>
                    <a:pt x="140" y="166"/>
                  </a:lnTo>
                  <a:lnTo>
                    <a:pt x="144" y="166"/>
                  </a:lnTo>
                  <a:lnTo>
                    <a:pt x="150" y="168"/>
                  </a:lnTo>
                  <a:lnTo>
                    <a:pt x="156" y="170"/>
                  </a:lnTo>
                  <a:lnTo>
                    <a:pt x="158" y="168"/>
                  </a:lnTo>
                  <a:lnTo>
                    <a:pt x="164" y="166"/>
                  </a:lnTo>
                  <a:lnTo>
                    <a:pt x="170" y="162"/>
                  </a:lnTo>
                  <a:lnTo>
                    <a:pt x="176" y="158"/>
                  </a:lnTo>
                  <a:lnTo>
                    <a:pt x="178" y="158"/>
                  </a:lnTo>
                  <a:lnTo>
                    <a:pt x="184" y="158"/>
                  </a:lnTo>
                  <a:lnTo>
                    <a:pt x="190" y="158"/>
                  </a:lnTo>
                  <a:lnTo>
                    <a:pt x="196" y="154"/>
                  </a:lnTo>
                  <a:lnTo>
                    <a:pt x="194" y="150"/>
                  </a:lnTo>
                  <a:lnTo>
                    <a:pt x="188" y="148"/>
                  </a:lnTo>
                  <a:lnTo>
                    <a:pt x="188" y="142"/>
                  </a:lnTo>
                  <a:lnTo>
                    <a:pt x="182" y="142"/>
                  </a:lnTo>
                  <a:lnTo>
                    <a:pt x="180" y="142"/>
                  </a:lnTo>
                  <a:lnTo>
                    <a:pt x="176" y="144"/>
                  </a:lnTo>
                  <a:lnTo>
                    <a:pt x="170" y="146"/>
                  </a:lnTo>
                  <a:lnTo>
                    <a:pt x="164" y="148"/>
                  </a:lnTo>
                  <a:lnTo>
                    <a:pt x="162" y="148"/>
                  </a:lnTo>
                  <a:lnTo>
                    <a:pt x="162" y="146"/>
                  </a:lnTo>
                  <a:lnTo>
                    <a:pt x="168" y="146"/>
                  </a:lnTo>
                  <a:lnTo>
                    <a:pt x="174" y="142"/>
                  </a:lnTo>
                  <a:lnTo>
                    <a:pt x="180" y="142"/>
                  </a:lnTo>
                  <a:lnTo>
                    <a:pt x="180" y="140"/>
                  </a:lnTo>
                  <a:lnTo>
                    <a:pt x="182" y="140"/>
                  </a:lnTo>
                  <a:lnTo>
                    <a:pt x="186" y="140"/>
                  </a:lnTo>
                  <a:lnTo>
                    <a:pt x="192" y="138"/>
                  </a:lnTo>
                  <a:lnTo>
                    <a:pt x="198" y="134"/>
                  </a:lnTo>
                  <a:lnTo>
                    <a:pt x="204" y="130"/>
                  </a:lnTo>
                  <a:lnTo>
                    <a:pt x="208" y="124"/>
                  </a:lnTo>
                  <a:lnTo>
                    <a:pt x="208" y="122"/>
                  </a:lnTo>
                  <a:lnTo>
                    <a:pt x="214" y="118"/>
                  </a:lnTo>
                  <a:lnTo>
                    <a:pt x="220" y="114"/>
                  </a:lnTo>
                  <a:lnTo>
                    <a:pt x="222" y="108"/>
                  </a:lnTo>
                  <a:lnTo>
                    <a:pt x="226" y="102"/>
                  </a:lnTo>
                  <a:lnTo>
                    <a:pt x="230" y="96"/>
                  </a:lnTo>
                  <a:lnTo>
                    <a:pt x="230" y="90"/>
                  </a:lnTo>
                  <a:lnTo>
                    <a:pt x="236" y="84"/>
                  </a:lnTo>
                  <a:lnTo>
                    <a:pt x="242" y="80"/>
                  </a:lnTo>
                  <a:lnTo>
                    <a:pt x="246" y="74"/>
                  </a:lnTo>
                  <a:lnTo>
                    <a:pt x="244" y="70"/>
                  </a:lnTo>
                  <a:lnTo>
                    <a:pt x="240" y="64"/>
                  </a:lnTo>
                  <a:lnTo>
                    <a:pt x="234" y="60"/>
                  </a:lnTo>
                  <a:lnTo>
                    <a:pt x="228" y="60"/>
                  </a:lnTo>
                  <a:lnTo>
                    <a:pt x="222" y="62"/>
                  </a:lnTo>
                  <a:lnTo>
                    <a:pt x="216" y="62"/>
                  </a:lnTo>
                  <a:lnTo>
                    <a:pt x="210" y="62"/>
                  </a:lnTo>
                  <a:lnTo>
                    <a:pt x="204" y="60"/>
                  </a:lnTo>
                  <a:lnTo>
                    <a:pt x="198" y="62"/>
                  </a:lnTo>
                  <a:lnTo>
                    <a:pt x="192" y="60"/>
                  </a:lnTo>
                  <a:lnTo>
                    <a:pt x="186" y="62"/>
                  </a:lnTo>
                  <a:lnTo>
                    <a:pt x="180" y="62"/>
                  </a:lnTo>
                  <a:lnTo>
                    <a:pt x="174" y="60"/>
                  </a:lnTo>
                  <a:lnTo>
                    <a:pt x="168" y="58"/>
                  </a:lnTo>
                  <a:lnTo>
                    <a:pt x="162" y="60"/>
                  </a:lnTo>
                  <a:lnTo>
                    <a:pt x="156" y="62"/>
                  </a:lnTo>
                  <a:lnTo>
                    <a:pt x="154" y="62"/>
                  </a:lnTo>
                  <a:lnTo>
                    <a:pt x="148" y="66"/>
                  </a:lnTo>
                  <a:lnTo>
                    <a:pt x="142" y="68"/>
                  </a:lnTo>
                  <a:lnTo>
                    <a:pt x="136" y="68"/>
                  </a:lnTo>
                  <a:lnTo>
                    <a:pt x="128" y="72"/>
                  </a:lnTo>
                  <a:lnTo>
                    <a:pt x="124" y="74"/>
                  </a:lnTo>
                  <a:lnTo>
                    <a:pt x="124" y="70"/>
                  </a:lnTo>
                  <a:lnTo>
                    <a:pt x="130" y="68"/>
                  </a:lnTo>
                  <a:lnTo>
                    <a:pt x="132" y="62"/>
                  </a:lnTo>
                  <a:lnTo>
                    <a:pt x="128" y="62"/>
                  </a:lnTo>
                  <a:lnTo>
                    <a:pt x="120" y="64"/>
                  </a:lnTo>
                  <a:lnTo>
                    <a:pt x="114" y="66"/>
                  </a:lnTo>
                  <a:lnTo>
                    <a:pt x="120" y="62"/>
                  </a:lnTo>
                  <a:lnTo>
                    <a:pt x="128" y="62"/>
                  </a:lnTo>
                  <a:lnTo>
                    <a:pt x="134" y="58"/>
                  </a:lnTo>
                  <a:lnTo>
                    <a:pt x="140" y="58"/>
                  </a:lnTo>
                  <a:lnTo>
                    <a:pt x="142" y="52"/>
                  </a:lnTo>
                  <a:lnTo>
                    <a:pt x="136" y="52"/>
                  </a:lnTo>
                  <a:lnTo>
                    <a:pt x="130" y="52"/>
                  </a:lnTo>
                  <a:lnTo>
                    <a:pt x="124" y="50"/>
                  </a:lnTo>
                  <a:lnTo>
                    <a:pt x="118" y="48"/>
                  </a:lnTo>
                  <a:lnTo>
                    <a:pt x="120" y="48"/>
                  </a:lnTo>
                  <a:lnTo>
                    <a:pt x="126" y="50"/>
                  </a:lnTo>
                  <a:lnTo>
                    <a:pt x="132" y="50"/>
                  </a:lnTo>
                  <a:lnTo>
                    <a:pt x="132" y="44"/>
                  </a:lnTo>
                  <a:lnTo>
                    <a:pt x="134" y="44"/>
                  </a:lnTo>
                  <a:lnTo>
                    <a:pt x="138" y="44"/>
                  </a:lnTo>
                  <a:lnTo>
                    <a:pt x="144" y="42"/>
                  </a:lnTo>
                  <a:lnTo>
                    <a:pt x="150" y="38"/>
                  </a:lnTo>
                  <a:lnTo>
                    <a:pt x="156" y="34"/>
                  </a:lnTo>
                  <a:lnTo>
                    <a:pt x="160" y="32"/>
                  </a:lnTo>
                  <a:lnTo>
                    <a:pt x="166" y="28"/>
                  </a:lnTo>
                  <a:lnTo>
                    <a:pt x="172" y="22"/>
                  </a:lnTo>
                  <a:lnTo>
                    <a:pt x="178" y="22"/>
                  </a:lnTo>
                  <a:lnTo>
                    <a:pt x="184" y="18"/>
                  </a:lnTo>
                  <a:lnTo>
                    <a:pt x="188" y="12"/>
                  </a:lnTo>
                  <a:lnTo>
                    <a:pt x="186" y="6"/>
                  </a:lnTo>
                  <a:lnTo>
                    <a:pt x="186" y="0"/>
                  </a:lnTo>
                  <a:lnTo>
                    <a:pt x="180" y="0"/>
                  </a:lnTo>
                  <a:lnTo>
                    <a:pt x="174" y="0"/>
                  </a:lnTo>
                  <a:lnTo>
                    <a:pt x="170" y="2"/>
                  </a:lnTo>
                  <a:lnTo>
                    <a:pt x="166" y="2"/>
                  </a:lnTo>
                  <a:lnTo>
                    <a:pt x="158" y="2"/>
                  </a:lnTo>
                  <a:lnTo>
                    <a:pt x="154" y="4"/>
                  </a:lnTo>
                  <a:lnTo>
                    <a:pt x="146" y="6"/>
                  </a:lnTo>
                  <a:lnTo>
                    <a:pt x="140" y="4"/>
                  </a:lnTo>
                  <a:lnTo>
                    <a:pt x="136" y="4"/>
                  </a:lnTo>
                  <a:lnTo>
                    <a:pt x="128" y="8"/>
                  </a:lnTo>
                  <a:lnTo>
                    <a:pt x="126" y="6"/>
                  </a:lnTo>
                  <a:lnTo>
                    <a:pt x="120" y="10"/>
                  </a:lnTo>
                  <a:lnTo>
                    <a:pt x="118" y="10"/>
                  </a:lnTo>
                  <a:lnTo>
                    <a:pt x="116" y="4"/>
                  </a:lnTo>
                  <a:lnTo>
                    <a:pt x="110" y="8"/>
                  </a:lnTo>
                  <a:lnTo>
                    <a:pt x="104" y="10"/>
                  </a:lnTo>
                  <a:lnTo>
                    <a:pt x="106" y="6"/>
                  </a:lnTo>
                  <a:lnTo>
                    <a:pt x="100" y="8"/>
                  </a:lnTo>
                  <a:lnTo>
                    <a:pt x="98" y="2"/>
                  </a:lnTo>
                  <a:lnTo>
                    <a:pt x="92" y="2"/>
                  </a:lnTo>
                  <a:lnTo>
                    <a:pt x="90" y="6"/>
                  </a:lnTo>
                  <a:lnTo>
                    <a:pt x="90" y="12"/>
                  </a:lnTo>
                  <a:lnTo>
                    <a:pt x="90" y="14"/>
                  </a:lnTo>
                  <a:lnTo>
                    <a:pt x="88" y="16"/>
                  </a:lnTo>
                  <a:lnTo>
                    <a:pt x="82" y="20"/>
                  </a:lnTo>
                  <a:lnTo>
                    <a:pt x="88" y="24"/>
                  </a:lnTo>
                  <a:lnTo>
                    <a:pt x="90" y="24"/>
                  </a:lnTo>
                  <a:lnTo>
                    <a:pt x="90" y="26"/>
                  </a:lnTo>
                  <a:lnTo>
                    <a:pt x="84" y="24"/>
                  </a:lnTo>
                  <a:lnTo>
                    <a:pt x="78" y="24"/>
                  </a:lnTo>
                  <a:lnTo>
                    <a:pt x="72" y="30"/>
                  </a:lnTo>
                  <a:lnTo>
                    <a:pt x="74" y="36"/>
                  </a:lnTo>
                  <a:lnTo>
                    <a:pt x="68" y="40"/>
                  </a:lnTo>
                  <a:lnTo>
                    <a:pt x="76" y="44"/>
                  </a:lnTo>
                  <a:lnTo>
                    <a:pt x="78" y="48"/>
                  </a:lnTo>
                  <a:lnTo>
                    <a:pt x="72" y="50"/>
                  </a:lnTo>
                  <a:lnTo>
                    <a:pt x="68" y="48"/>
                  </a:lnTo>
                  <a:lnTo>
                    <a:pt x="62" y="50"/>
                  </a:lnTo>
                  <a:lnTo>
                    <a:pt x="56" y="50"/>
                  </a:lnTo>
                  <a:lnTo>
                    <a:pt x="54" y="56"/>
                  </a:lnTo>
                  <a:lnTo>
                    <a:pt x="52" y="50"/>
                  </a:lnTo>
                  <a:lnTo>
                    <a:pt x="46" y="54"/>
                  </a:lnTo>
                  <a:lnTo>
                    <a:pt x="46" y="60"/>
                  </a:lnTo>
                  <a:lnTo>
                    <a:pt x="48" y="66"/>
                  </a:lnTo>
                  <a:lnTo>
                    <a:pt x="54" y="72"/>
                  </a:lnTo>
                  <a:lnTo>
                    <a:pt x="48" y="70"/>
                  </a:lnTo>
                  <a:lnTo>
                    <a:pt x="42" y="70"/>
                  </a:lnTo>
                  <a:lnTo>
                    <a:pt x="42" y="76"/>
                  </a:lnTo>
                  <a:lnTo>
                    <a:pt x="48" y="82"/>
                  </a:lnTo>
                  <a:lnTo>
                    <a:pt x="54" y="82"/>
                  </a:lnTo>
                  <a:lnTo>
                    <a:pt x="60" y="82"/>
                  </a:lnTo>
                  <a:lnTo>
                    <a:pt x="54" y="84"/>
                  </a:lnTo>
                  <a:lnTo>
                    <a:pt x="48" y="88"/>
                  </a:lnTo>
                  <a:lnTo>
                    <a:pt x="50" y="86"/>
                  </a:lnTo>
                  <a:lnTo>
                    <a:pt x="56" y="86"/>
                  </a:lnTo>
                  <a:lnTo>
                    <a:pt x="58" y="88"/>
                  </a:lnTo>
                  <a:lnTo>
                    <a:pt x="62" y="92"/>
                  </a:lnTo>
                  <a:lnTo>
                    <a:pt x="56" y="88"/>
                  </a:lnTo>
                  <a:lnTo>
                    <a:pt x="50" y="90"/>
                  </a:lnTo>
                  <a:lnTo>
                    <a:pt x="50" y="96"/>
                  </a:lnTo>
                  <a:lnTo>
                    <a:pt x="56" y="98"/>
                  </a:lnTo>
                  <a:lnTo>
                    <a:pt x="60" y="98"/>
                  </a:lnTo>
                  <a:lnTo>
                    <a:pt x="56" y="100"/>
                  </a:lnTo>
                  <a:lnTo>
                    <a:pt x="50" y="98"/>
                  </a:lnTo>
                  <a:lnTo>
                    <a:pt x="44" y="104"/>
                  </a:lnTo>
                  <a:lnTo>
                    <a:pt x="50" y="108"/>
                  </a:lnTo>
                  <a:lnTo>
                    <a:pt x="44" y="104"/>
                  </a:lnTo>
                  <a:lnTo>
                    <a:pt x="38" y="108"/>
                  </a:lnTo>
                  <a:lnTo>
                    <a:pt x="38" y="112"/>
                  </a:lnTo>
                  <a:lnTo>
                    <a:pt x="44" y="116"/>
                  </a:lnTo>
                  <a:lnTo>
                    <a:pt x="38" y="116"/>
                  </a:lnTo>
                  <a:lnTo>
                    <a:pt x="36" y="122"/>
                  </a:lnTo>
                  <a:lnTo>
                    <a:pt x="34" y="120"/>
                  </a:lnTo>
                  <a:lnTo>
                    <a:pt x="30" y="120"/>
                  </a:lnTo>
                  <a:lnTo>
                    <a:pt x="22" y="120"/>
                  </a:lnTo>
                  <a:lnTo>
                    <a:pt x="18" y="124"/>
                  </a:lnTo>
                  <a:lnTo>
                    <a:pt x="22" y="126"/>
                  </a:lnTo>
                  <a:lnTo>
                    <a:pt x="30" y="126"/>
                  </a:lnTo>
                  <a:lnTo>
                    <a:pt x="34" y="126"/>
                  </a:lnTo>
                  <a:lnTo>
                    <a:pt x="42" y="124"/>
                  </a:lnTo>
                  <a:lnTo>
                    <a:pt x="48" y="126"/>
                  </a:lnTo>
                  <a:lnTo>
                    <a:pt x="42" y="124"/>
                  </a:lnTo>
                  <a:lnTo>
                    <a:pt x="36" y="128"/>
                  </a:lnTo>
                  <a:lnTo>
                    <a:pt x="30" y="128"/>
                  </a:lnTo>
                  <a:lnTo>
                    <a:pt x="32" y="134"/>
                  </a:lnTo>
                  <a:lnTo>
                    <a:pt x="38" y="136"/>
                  </a:lnTo>
                  <a:lnTo>
                    <a:pt x="44" y="138"/>
                  </a:lnTo>
                  <a:lnTo>
                    <a:pt x="50" y="134"/>
                  </a:lnTo>
                  <a:lnTo>
                    <a:pt x="56" y="130"/>
                  </a:lnTo>
                  <a:lnTo>
                    <a:pt x="62" y="126"/>
                  </a:lnTo>
                  <a:lnTo>
                    <a:pt x="68" y="120"/>
                  </a:lnTo>
                  <a:lnTo>
                    <a:pt x="74" y="118"/>
                  </a:lnTo>
                  <a:lnTo>
                    <a:pt x="72" y="120"/>
                  </a:lnTo>
                  <a:lnTo>
                    <a:pt x="72" y="126"/>
                  </a:lnTo>
                  <a:lnTo>
                    <a:pt x="74" y="124"/>
                  </a:lnTo>
                  <a:lnTo>
                    <a:pt x="78" y="124"/>
                  </a:lnTo>
                  <a:lnTo>
                    <a:pt x="72" y="126"/>
                  </a:lnTo>
                  <a:lnTo>
                    <a:pt x="70" y="126"/>
                  </a:lnTo>
                  <a:lnTo>
                    <a:pt x="64" y="128"/>
                  </a:lnTo>
                  <a:lnTo>
                    <a:pt x="58" y="134"/>
                  </a:lnTo>
                  <a:lnTo>
                    <a:pt x="58" y="136"/>
                  </a:lnTo>
                  <a:lnTo>
                    <a:pt x="64" y="134"/>
                  </a:lnTo>
                  <a:lnTo>
                    <a:pt x="58" y="140"/>
                  </a:lnTo>
                  <a:lnTo>
                    <a:pt x="64" y="140"/>
                  </a:lnTo>
                  <a:lnTo>
                    <a:pt x="70" y="140"/>
                  </a:lnTo>
                  <a:lnTo>
                    <a:pt x="64" y="142"/>
                  </a:lnTo>
                  <a:lnTo>
                    <a:pt x="58" y="142"/>
                  </a:lnTo>
                  <a:lnTo>
                    <a:pt x="56" y="142"/>
                  </a:lnTo>
                  <a:lnTo>
                    <a:pt x="54" y="146"/>
                  </a:lnTo>
                  <a:lnTo>
                    <a:pt x="48" y="148"/>
                  </a:lnTo>
                  <a:lnTo>
                    <a:pt x="50" y="154"/>
                  </a:lnTo>
                  <a:lnTo>
                    <a:pt x="48" y="160"/>
                  </a:lnTo>
                  <a:lnTo>
                    <a:pt x="44" y="166"/>
                  </a:lnTo>
                  <a:lnTo>
                    <a:pt x="42" y="168"/>
                  </a:lnTo>
                  <a:lnTo>
                    <a:pt x="40" y="174"/>
                  </a:lnTo>
                  <a:lnTo>
                    <a:pt x="46" y="168"/>
                  </a:lnTo>
                  <a:lnTo>
                    <a:pt x="40" y="174"/>
                  </a:lnTo>
                  <a:lnTo>
                    <a:pt x="40" y="180"/>
                  </a:lnTo>
                  <a:lnTo>
                    <a:pt x="42" y="186"/>
                  </a:lnTo>
                  <a:lnTo>
                    <a:pt x="50" y="182"/>
                  </a:lnTo>
                  <a:lnTo>
                    <a:pt x="44" y="186"/>
                  </a:lnTo>
                  <a:lnTo>
                    <a:pt x="38" y="192"/>
                  </a:lnTo>
                  <a:lnTo>
                    <a:pt x="34" y="198"/>
                  </a:lnTo>
                  <a:lnTo>
                    <a:pt x="34" y="204"/>
                  </a:lnTo>
                  <a:lnTo>
                    <a:pt x="30" y="210"/>
                  </a:lnTo>
                  <a:lnTo>
                    <a:pt x="32" y="216"/>
                  </a:lnTo>
                  <a:lnTo>
                    <a:pt x="38" y="216"/>
                  </a:lnTo>
                  <a:lnTo>
                    <a:pt x="44" y="210"/>
                  </a:lnTo>
                  <a:lnTo>
                    <a:pt x="44" y="204"/>
                  </a:lnTo>
                  <a:lnTo>
                    <a:pt x="48" y="198"/>
                  </a:lnTo>
                  <a:lnTo>
                    <a:pt x="48" y="192"/>
                  </a:lnTo>
                  <a:lnTo>
                    <a:pt x="52" y="188"/>
                  </a:lnTo>
                  <a:lnTo>
                    <a:pt x="56" y="182"/>
                  </a:lnTo>
                  <a:lnTo>
                    <a:pt x="52" y="176"/>
                  </a:lnTo>
                  <a:lnTo>
                    <a:pt x="52" y="170"/>
                  </a:lnTo>
                  <a:lnTo>
                    <a:pt x="58" y="166"/>
                  </a:lnTo>
                  <a:lnTo>
                    <a:pt x="64" y="162"/>
                  </a:lnTo>
                  <a:lnTo>
                    <a:pt x="70" y="158"/>
                  </a:lnTo>
                  <a:lnTo>
                    <a:pt x="74" y="156"/>
                  </a:lnTo>
                  <a:lnTo>
                    <a:pt x="68" y="162"/>
                  </a:lnTo>
                  <a:lnTo>
                    <a:pt x="62" y="166"/>
                  </a:lnTo>
                  <a:lnTo>
                    <a:pt x="58" y="172"/>
                  </a:lnTo>
                  <a:lnTo>
                    <a:pt x="58" y="178"/>
                  </a:lnTo>
                  <a:lnTo>
                    <a:pt x="64" y="180"/>
                  </a:lnTo>
                  <a:lnTo>
                    <a:pt x="64" y="178"/>
                  </a:lnTo>
                  <a:lnTo>
                    <a:pt x="66" y="182"/>
                  </a:lnTo>
                  <a:lnTo>
                    <a:pt x="72" y="188"/>
                  </a:lnTo>
                  <a:lnTo>
                    <a:pt x="72" y="182"/>
                  </a:lnTo>
                  <a:lnTo>
                    <a:pt x="66" y="176"/>
                  </a:lnTo>
                  <a:lnTo>
                    <a:pt x="70" y="172"/>
                  </a:lnTo>
                  <a:lnTo>
                    <a:pt x="74" y="180"/>
                  </a:lnTo>
                  <a:lnTo>
                    <a:pt x="76" y="176"/>
                  </a:lnTo>
                  <a:lnTo>
                    <a:pt x="80" y="172"/>
                  </a:lnTo>
                  <a:lnTo>
                    <a:pt x="82" y="164"/>
                  </a:lnTo>
                  <a:lnTo>
                    <a:pt x="80" y="158"/>
                  </a:lnTo>
                  <a:lnTo>
                    <a:pt x="86" y="160"/>
                  </a:lnTo>
                  <a:lnTo>
                    <a:pt x="82" y="166"/>
                  </a:lnTo>
                  <a:lnTo>
                    <a:pt x="84" y="172"/>
                  </a:lnTo>
                  <a:lnTo>
                    <a:pt x="84" y="166"/>
                  </a:lnTo>
                  <a:lnTo>
                    <a:pt x="90" y="172"/>
                  </a:lnTo>
                  <a:lnTo>
                    <a:pt x="96" y="174"/>
                  </a:lnTo>
                  <a:lnTo>
                    <a:pt x="96" y="176"/>
                  </a:lnTo>
                  <a:lnTo>
                    <a:pt x="90" y="174"/>
                  </a:lnTo>
                  <a:lnTo>
                    <a:pt x="84" y="174"/>
                  </a:lnTo>
                  <a:lnTo>
                    <a:pt x="82" y="174"/>
                  </a:lnTo>
                  <a:lnTo>
                    <a:pt x="80" y="180"/>
                  </a:lnTo>
                  <a:lnTo>
                    <a:pt x="80" y="186"/>
                  </a:lnTo>
                  <a:lnTo>
                    <a:pt x="80" y="192"/>
                  </a:lnTo>
                  <a:lnTo>
                    <a:pt x="86" y="196"/>
                  </a:lnTo>
                  <a:lnTo>
                    <a:pt x="90" y="200"/>
                  </a:lnTo>
                  <a:lnTo>
                    <a:pt x="88" y="206"/>
                  </a:lnTo>
                  <a:lnTo>
                    <a:pt x="82" y="210"/>
                  </a:lnTo>
                  <a:lnTo>
                    <a:pt x="78" y="216"/>
                  </a:lnTo>
                  <a:lnTo>
                    <a:pt x="76" y="222"/>
                  </a:lnTo>
                  <a:lnTo>
                    <a:pt x="68" y="226"/>
                  </a:lnTo>
                  <a:lnTo>
                    <a:pt x="68" y="230"/>
                  </a:lnTo>
                  <a:lnTo>
                    <a:pt x="66" y="236"/>
                  </a:lnTo>
                  <a:lnTo>
                    <a:pt x="68" y="238"/>
                  </a:lnTo>
                  <a:lnTo>
                    <a:pt x="68" y="242"/>
                  </a:lnTo>
                  <a:lnTo>
                    <a:pt x="66" y="242"/>
                  </a:lnTo>
                  <a:lnTo>
                    <a:pt x="64" y="236"/>
                  </a:lnTo>
                  <a:lnTo>
                    <a:pt x="60" y="236"/>
                  </a:lnTo>
                  <a:lnTo>
                    <a:pt x="58" y="240"/>
                  </a:lnTo>
                  <a:lnTo>
                    <a:pt x="60" y="246"/>
                  </a:lnTo>
                  <a:lnTo>
                    <a:pt x="66" y="252"/>
                  </a:lnTo>
                  <a:lnTo>
                    <a:pt x="68" y="254"/>
                  </a:lnTo>
                  <a:lnTo>
                    <a:pt x="72" y="260"/>
                  </a:lnTo>
                  <a:lnTo>
                    <a:pt x="74" y="260"/>
                  </a:lnTo>
                  <a:lnTo>
                    <a:pt x="70" y="254"/>
                  </a:lnTo>
                  <a:lnTo>
                    <a:pt x="70" y="248"/>
                  </a:lnTo>
                  <a:lnTo>
                    <a:pt x="76" y="244"/>
                  </a:lnTo>
                  <a:lnTo>
                    <a:pt x="82" y="248"/>
                  </a:lnTo>
                  <a:lnTo>
                    <a:pt x="88" y="250"/>
                  </a:lnTo>
                  <a:lnTo>
                    <a:pt x="94" y="256"/>
                  </a:lnTo>
                  <a:lnTo>
                    <a:pt x="100" y="252"/>
                  </a:lnTo>
                  <a:lnTo>
                    <a:pt x="98" y="248"/>
                  </a:lnTo>
                  <a:lnTo>
                    <a:pt x="98" y="242"/>
                  </a:lnTo>
                  <a:lnTo>
                    <a:pt x="104" y="246"/>
                  </a:lnTo>
                  <a:lnTo>
                    <a:pt x="110" y="248"/>
                  </a:lnTo>
                  <a:lnTo>
                    <a:pt x="114" y="246"/>
                  </a:lnTo>
                  <a:lnTo>
                    <a:pt x="116" y="250"/>
                  </a:lnTo>
                  <a:lnTo>
                    <a:pt x="118" y="250"/>
                  </a:lnTo>
                  <a:lnTo>
                    <a:pt x="124" y="248"/>
                  </a:lnTo>
                  <a:lnTo>
                    <a:pt x="128" y="244"/>
                  </a:lnTo>
                  <a:lnTo>
                    <a:pt x="136" y="244"/>
                  </a:lnTo>
                  <a:lnTo>
                    <a:pt x="140" y="242"/>
                  </a:lnTo>
                  <a:lnTo>
                    <a:pt x="142" y="236"/>
                  </a:lnTo>
                  <a:lnTo>
                    <a:pt x="144" y="236"/>
                  </a:lnTo>
                  <a:lnTo>
                    <a:pt x="150" y="236"/>
                  </a:lnTo>
                  <a:lnTo>
                    <a:pt x="156" y="238"/>
                  </a:lnTo>
                  <a:lnTo>
                    <a:pt x="162" y="238"/>
                  </a:lnTo>
                  <a:lnTo>
                    <a:pt x="168" y="236"/>
                  </a:lnTo>
                  <a:lnTo>
                    <a:pt x="170" y="238"/>
                  </a:lnTo>
                  <a:lnTo>
                    <a:pt x="168" y="238"/>
                  </a:lnTo>
                  <a:lnTo>
                    <a:pt x="162" y="240"/>
                  </a:lnTo>
                  <a:lnTo>
                    <a:pt x="156" y="242"/>
                  </a:lnTo>
                  <a:lnTo>
                    <a:pt x="154" y="244"/>
                  </a:lnTo>
                  <a:lnTo>
                    <a:pt x="148" y="246"/>
                  </a:lnTo>
                  <a:lnTo>
                    <a:pt x="146" y="252"/>
                  </a:lnTo>
                  <a:lnTo>
                    <a:pt x="140" y="258"/>
                  </a:lnTo>
                  <a:lnTo>
                    <a:pt x="138" y="264"/>
                  </a:lnTo>
                  <a:lnTo>
                    <a:pt x="136" y="268"/>
                  </a:lnTo>
                  <a:lnTo>
                    <a:pt x="142" y="274"/>
                  </a:lnTo>
                  <a:lnTo>
                    <a:pt x="146" y="280"/>
                  </a:lnTo>
                  <a:lnTo>
                    <a:pt x="148" y="286"/>
                  </a:lnTo>
                  <a:lnTo>
                    <a:pt x="154" y="286"/>
                  </a:lnTo>
                  <a:lnTo>
                    <a:pt x="156" y="286"/>
                  </a:lnTo>
                  <a:lnTo>
                    <a:pt x="154" y="290"/>
                  </a:lnTo>
                  <a:lnTo>
                    <a:pt x="158" y="296"/>
                  </a:lnTo>
                  <a:lnTo>
                    <a:pt x="158" y="294"/>
                  </a:lnTo>
                  <a:lnTo>
                    <a:pt x="164" y="288"/>
                  </a:lnTo>
                  <a:lnTo>
                    <a:pt x="164" y="286"/>
                  </a:lnTo>
                  <a:lnTo>
                    <a:pt x="164" y="288"/>
                  </a:lnTo>
                  <a:lnTo>
                    <a:pt x="168" y="292"/>
                  </a:lnTo>
                  <a:lnTo>
                    <a:pt x="174" y="288"/>
                  </a:lnTo>
                  <a:lnTo>
                    <a:pt x="176" y="288"/>
                  </a:lnTo>
                  <a:lnTo>
                    <a:pt x="174" y="288"/>
                  </a:lnTo>
                  <a:lnTo>
                    <a:pt x="174" y="290"/>
                  </a:lnTo>
                  <a:lnTo>
                    <a:pt x="174" y="296"/>
                  </a:lnTo>
                  <a:lnTo>
                    <a:pt x="174" y="302"/>
                  </a:lnTo>
                  <a:lnTo>
                    <a:pt x="168" y="304"/>
                  </a:lnTo>
                  <a:lnTo>
                    <a:pt x="162" y="306"/>
                  </a:lnTo>
                  <a:lnTo>
                    <a:pt x="162" y="314"/>
                  </a:lnTo>
                  <a:lnTo>
                    <a:pt x="162" y="318"/>
                  </a:lnTo>
                  <a:lnTo>
                    <a:pt x="168" y="320"/>
                  </a:lnTo>
                  <a:lnTo>
                    <a:pt x="166" y="320"/>
                  </a:lnTo>
                  <a:lnTo>
                    <a:pt x="164" y="322"/>
                  </a:lnTo>
                  <a:lnTo>
                    <a:pt x="158" y="328"/>
                  </a:lnTo>
                  <a:lnTo>
                    <a:pt x="160" y="334"/>
                  </a:lnTo>
                  <a:lnTo>
                    <a:pt x="162" y="340"/>
                  </a:lnTo>
                  <a:lnTo>
                    <a:pt x="166" y="344"/>
                  </a:lnTo>
                  <a:lnTo>
                    <a:pt x="170" y="346"/>
                  </a:lnTo>
                  <a:lnTo>
                    <a:pt x="174" y="344"/>
                  </a:lnTo>
                  <a:lnTo>
                    <a:pt x="176" y="344"/>
                  </a:lnTo>
                  <a:lnTo>
                    <a:pt x="174" y="344"/>
                  </a:lnTo>
                  <a:lnTo>
                    <a:pt x="170" y="348"/>
                  </a:lnTo>
                  <a:lnTo>
                    <a:pt x="166" y="346"/>
                  </a:lnTo>
                  <a:lnTo>
                    <a:pt x="162" y="340"/>
                  </a:lnTo>
                  <a:lnTo>
                    <a:pt x="158" y="338"/>
                  </a:lnTo>
                  <a:lnTo>
                    <a:pt x="152" y="342"/>
                  </a:lnTo>
                  <a:lnTo>
                    <a:pt x="156" y="348"/>
                  </a:lnTo>
                  <a:lnTo>
                    <a:pt x="156" y="350"/>
                  </a:lnTo>
                  <a:lnTo>
                    <a:pt x="156" y="352"/>
                  </a:lnTo>
                  <a:lnTo>
                    <a:pt x="152" y="348"/>
                  </a:lnTo>
                  <a:lnTo>
                    <a:pt x="146" y="344"/>
                  </a:lnTo>
                  <a:lnTo>
                    <a:pt x="140" y="344"/>
                  </a:lnTo>
                  <a:lnTo>
                    <a:pt x="134" y="346"/>
                  </a:lnTo>
                  <a:lnTo>
                    <a:pt x="128" y="348"/>
                  </a:lnTo>
                  <a:lnTo>
                    <a:pt x="122" y="346"/>
                  </a:lnTo>
                  <a:lnTo>
                    <a:pt x="118" y="346"/>
                  </a:lnTo>
                  <a:lnTo>
                    <a:pt x="112" y="348"/>
                  </a:lnTo>
                  <a:lnTo>
                    <a:pt x="106" y="352"/>
                  </a:lnTo>
                  <a:lnTo>
                    <a:pt x="102" y="352"/>
                  </a:lnTo>
                  <a:lnTo>
                    <a:pt x="100" y="352"/>
                  </a:lnTo>
                  <a:lnTo>
                    <a:pt x="104" y="346"/>
                  </a:lnTo>
                  <a:lnTo>
                    <a:pt x="98" y="346"/>
                  </a:lnTo>
                  <a:lnTo>
                    <a:pt x="92" y="340"/>
                  </a:lnTo>
                  <a:lnTo>
                    <a:pt x="86" y="340"/>
                  </a:lnTo>
                  <a:lnTo>
                    <a:pt x="82" y="342"/>
                  </a:lnTo>
                  <a:lnTo>
                    <a:pt x="80" y="348"/>
                  </a:lnTo>
                  <a:lnTo>
                    <a:pt x="80" y="350"/>
                  </a:lnTo>
                  <a:lnTo>
                    <a:pt x="84" y="356"/>
                  </a:lnTo>
                  <a:lnTo>
                    <a:pt x="90" y="358"/>
                  </a:lnTo>
                  <a:lnTo>
                    <a:pt x="92" y="358"/>
                  </a:lnTo>
                  <a:lnTo>
                    <a:pt x="98" y="354"/>
                  </a:lnTo>
                  <a:lnTo>
                    <a:pt x="94" y="358"/>
                  </a:lnTo>
                  <a:lnTo>
                    <a:pt x="90" y="364"/>
                  </a:lnTo>
                  <a:lnTo>
                    <a:pt x="84" y="368"/>
                  </a:lnTo>
                  <a:lnTo>
                    <a:pt x="78" y="372"/>
                  </a:lnTo>
                  <a:lnTo>
                    <a:pt x="72" y="374"/>
                  </a:lnTo>
                  <a:lnTo>
                    <a:pt x="66" y="380"/>
                  </a:lnTo>
                  <a:lnTo>
                    <a:pt x="70" y="380"/>
                  </a:lnTo>
                  <a:lnTo>
                    <a:pt x="76" y="380"/>
                  </a:lnTo>
                  <a:lnTo>
                    <a:pt x="82" y="376"/>
                  </a:lnTo>
                  <a:lnTo>
                    <a:pt x="88" y="374"/>
                  </a:lnTo>
                  <a:lnTo>
                    <a:pt x="94" y="372"/>
                  </a:lnTo>
                  <a:lnTo>
                    <a:pt x="100" y="374"/>
                  </a:lnTo>
                  <a:lnTo>
                    <a:pt x="98" y="380"/>
                  </a:lnTo>
                  <a:lnTo>
                    <a:pt x="104" y="386"/>
                  </a:lnTo>
                  <a:lnTo>
                    <a:pt x="100" y="392"/>
                  </a:lnTo>
                  <a:lnTo>
                    <a:pt x="102" y="396"/>
                  </a:lnTo>
                  <a:lnTo>
                    <a:pt x="108" y="398"/>
                  </a:lnTo>
                  <a:lnTo>
                    <a:pt x="102" y="400"/>
                  </a:lnTo>
                  <a:lnTo>
                    <a:pt x="100" y="406"/>
                  </a:lnTo>
                  <a:lnTo>
                    <a:pt x="98" y="412"/>
                  </a:lnTo>
                  <a:lnTo>
                    <a:pt x="90" y="416"/>
                  </a:lnTo>
                  <a:lnTo>
                    <a:pt x="86" y="420"/>
                  </a:lnTo>
                  <a:lnTo>
                    <a:pt x="80" y="422"/>
                  </a:lnTo>
                  <a:lnTo>
                    <a:pt x="72" y="424"/>
                  </a:lnTo>
                  <a:lnTo>
                    <a:pt x="68" y="426"/>
                  </a:lnTo>
                  <a:lnTo>
                    <a:pt x="62" y="430"/>
                  </a:lnTo>
                  <a:lnTo>
                    <a:pt x="56" y="432"/>
                  </a:lnTo>
                  <a:lnTo>
                    <a:pt x="50" y="432"/>
                  </a:lnTo>
                  <a:lnTo>
                    <a:pt x="48" y="432"/>
                  </a:lnTo>
                  <a:lnTo>
                    <a:pt x="42" y="436"/>
                  </a:lnTo>
                  <a:lnTo>
                    <a:pt x="38" y="442"/>
                  </a:lnTo>
                  <a:lnTo>
                    <a:pt x="42" y="446"/>
                  </a:lnTo>
                  <a:lnTo>
                    <a:pt x="40" y="452"/>
                  </a:lnTo>
                  <a:lnTo>
                    <a:pt x="46" y="452"/>
                  </a:lnTo>
                  <a:lnTo>
                    <a:pt x="48" y="452"/>
                  </a:lnTo>
                  <a:lnTo>
                    <a:pt x="52" y="452"/>
                  </a:lnTo>
                  <a:lnTo>
                    <a:pt x="56" y="448"/>
                  </a:lnTo>
                  <a:lnTo>
                    <a:pt x="52" y="454"/>
                  </a:lnTo>
                  <a:lnTo>
                    <a:pt x="48" y="454"/>
                  </a:lnTo>
                  <a:lnTo>
                    <a:pt x="42" y="454"/>
                  </a:lnTo>
                  <a:lnTo>
                    <a:pt x="48" y="460"/>
                  </a:lnTo>
                  <a:lnTo>
                    <a:pt x="52" y="460"/>
                  </a:lnTo>
                  <a:lnTo>
                    <a:pt x="58" y="458"/>
                  </a:lnTo>
                  <a:lnTo>
                    <a:pt x="64" y="454"/>
                  </a:lnTo>
                  <a:lnTo>
                    <a:pt x="70" y="450"/>
                  </a:lnTo>
                  <a:lnTo>
                    <a:pt x="76" y="450"/>
                  </a:lnTo>
                  <a:lnTo>
                    <a:pt x="82" y="448"/>
                  </a:lnTo>
                  <a:lnTo>
                    <a:pt x="84" y="454"/>
                  </a:lnTo>
                  <a:lnTo>
                    <a:pt x="90" y="454"/>
                  </a:lnTo>
                  <a:lnTo>
                    <a:pt x="96" y="456"/>
                  </a:lnTo>
                  <a:lnTo>
                    <a:pt x="96" y="454"/>
                  </a:lnTo>
                  <a:lnTo>
                    <a:pt x="96" y="456"/>
                  </a:lnTo>
                  <a:lnTo>
                    <a:pt x="92" y="458"/>
                  </a:lnTo>
                  <a:lnTo>
                    <a:pt x="86" y="458"/>
                  </a:lnTo>
                  <a:lnTo>
                    <a:pt x="90" y="464"/>
                  </a:lnTo>
                  <a:lnTo>
                    <a:pt x="96" y="462"/>
                  </a:lnTo>
                  <a:lnTo>
                    <a:pt x="98" y="462"/>
                  </a:lnTo>
                  <a:lnTo>
                    <a:pt x="104" y="460"/>
                  </a:lnTo>
                  <a:lnTo>
                    <a:pt x="108" y="458"/>
                  </a:lnTo>
                  <a:lnTo>
                    <a:pt x="112" y="464"/>
                  </a:lnTo>
                  <a:lnTo>
                    <a:pt x="116" y="468"/>
                  </a:lnTo>
                  <a:lnTo>
                    <a:pt x="122" y="472"/>
                  </a:lnTo>
                  <a:lnTo>
                    <a:pt x="126" y="474"/>
                  </a:lnTo>
                  <a:lnTo>
                    <a:pt x="132" y="474"/>
                  </a:lnTo>
                  <a:lnTo>
                    <a:pt x="136" y="474"/>
                  </a:lnTo>
                  <a:lnTo>
                    <a:pt x="142" y="472"/>
                  </a:lnTo>
                  <a:lnTo>
                    <a:pt x="148" y="466"/>
                  </a:lnTo>
                  <a:lnTo>
                    <a:pt x="154" y="462"/>
                  </a:lnTo>
                  <a:lnTo>
                    <a:pt x="156" y="464"/>
                  </a:lnTo>
                  <a:lnTo>
                    <a:pt x="162" y="464"/>
                  </a:lnTo>
                  <a:lnTo>
                    <a:pt x="166" y="460"/>
                  </a:lnTo>
                  <a:lnTo>
                    <a:pt x="170" y="460"/>
                  </a:lnTo>
                  <a:lnTo>
                    <a:pt x="170" y="458"/>
                  </a:lnTo>
                  <a:lnTo>
                    <a:pt x="174" y="456"/>
                  </a:lnTo>
                  <a:lnTo>
                    <a:pt x="178" y="452"/>
                  </a:lnTo>
                  <a:lnTo>
                    <a:pt x="184" y="448"/>
                  </a:lnTo>
                  <a:lnTo>
                    <a:pt x="182" y="450"/>
                  </a:lnTo>
                  <a:lnTo>
                    <a:pt x="178" y="454"/>
                  </a:lnTo>
                  <a:lnTo>
                    <a:pt x="172" y="460"/>
                  </a:lnTo>
                  <a:lnTo>
                    <a:pt x="170" y="464"/>
                  </a:lnTo>
                  <a:lnTo>
                    <a:pt x="166" y="466"/>
                  </a:lnTo>
                  <a:lnTo>
                    <a:pt x="162" y="468"/>
                  </a:lnTo>
                  <a:lnTo>
                    <a:pt x="156" y="472"/>
                  </a:lnTo>
                  <a:lnTo>
                    <a:pt x="152" y="478"/>
                  </a:lnTo>
                  <a:lnTo>
                    <a:pt x="150" y="480"/>
                  </a:lnTo>
                  <a:lnTo>
                    <a:pt x="150" y="484"/>
                  </a:lnTo>
                  <a:lnTo>
                    <a:pt x="148" y="486"/>
                  </a:lnTo>
                  <a:lnTo>
                    <a:pt x="142" y="486"/>
                  </a:lnTo>
                  <a:lnTo>
                    <a:pt x="136" y="488"/>
                  </a:lnTo>
                  <a:lnTo>
                    <a:pt x="130" y="488"/>
                  </a:lnTo>
                  <a:lnTo>
                    <a:pt x="124" y="484"/>
                  </a:lnTo>
                  <a:lnTo>
                    <a:pt x="118" y="484"/>
                  </a:lnTo>
                  <a:lnTo>
                    <a:pt x="112" y="484"/>
                  </a:lnTo>
                  <a:lnTo>
                    <a:pt x="110" y="484"/>
                  </a:lnTo>
                  <a:lnTo>
                    <a:pt x="104" y="484"/>
                  </a:lnTo>
                  <a:lnTo>
                    <a:pt x="98" y="484"/>
                  </a:lnTo>
                  <a:lnTo>
                    <a:pt x="92" y="486"/>
                  </a:lnTo>
                  <a:lnTo>
                    <a:pt x="86" y="488"/>
                  </a:lnTo>
                  <a:lnTo>
                    <a:pt x="86" y="494"/>
                  </a:lnTo>
                  <a:lnTo>
                    <a:pt x="84" y="498"/>
                  </a:lnTo>
                  <a:lnTo>
                    <a:pt x="78" y="500"/>
                  </a:lnTo>
                  <a:lnTo>
                    <a:pt x="72" y="498"/>
                  </a:lnTo>
                  <a:lnTo>
                    <a:pt x="68" y="498"/>
                  </a:lnTo>
                  <a:lnTo>
                    <a:pt x="68" y="504"/>
                  </a:lnTo>
                  <a:lnTo>
                    <a:pt x="66" y="510"/>
                  </a:lnTo>
                  <a:lnTo>
                    <a:pt x="64" y="516"/>
                  </a:lnTo>
                  <a:lnTo>
                    <a:pt x="58" y="520"/>
                  </a:lnTo>
                  <a:lnTo>
                    <a:pt x="52" y="526"/>
                  </a:lnTo>
                  <a:lnTo>
                    <a:pt x="48" y="532"/>
                  </a:lnTo>
                  <a:lnTo>
                    <a:pt x="42" y="530"/>
                  </a:lnTo>
                  <a:lnTo>
                    <a:pt x="38" y="532"/>
                  </a:lnTo>
                  <a:lnTo>
                    <a:pt x="36" y="538"/>
                  </a:lnTo>
                  <a:lnTo>
                    <a:pt x="30" y="544"/>
                  </a:lnTo>
                  <a:lnTo>
                    <a:pt x="24" y="548"/>
                  </a:lnTo>
                  <a:lnTo>
                    <a:pt x="18" y="550"/>
                  </a:lnTo>
                  <a:lnTo>
                    <a:pt x="14" y="552"/>
                  </a:lnTo>
                  <a:lnTo>
                    <a:pt x="8" y="554"/>
                  </a:lnTo>
                  <a:lnTo>
                    <a:pt x="0" y="558"/>
                  </a:lnTo>
                  <a:lnTo>
                    <a:pt x="4" y="564"/>
                  </a:lnTo>
                  <a:lnTo>
                    <a:pt x="10" y="562"/>
                  </a:lnTo>
                  <a:lnTo>
                    <a:pt x="16" y="558"/>
                  </a:lnTo>
                  <a:lnTo>
                    <a:pt x="22" y="560"/>
                  </a:lnTo>
                  <a:lnTo>
                    <a:pt x="24" y="56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3" name="Freeform 20"/>
            <p:cNvSpPr>
              <a:spLocks/>
            </p:cNvSpPr>
            <p:nvPr/>
          </p:nvSpPr>
          <p:spPr bwMode="auto">
            <a:xfrm>
              <a:off x="4100513" y="2684463"/>
              <a:ext cx="57150" cy="33337"/>
            </a:xfrm>
            <a:custGeom>
              <a:avLst/>
              <a:gdLst>
                <a:gd name="T0" fmla="*/ 2147483647 w 138"/>
                <a:gd name="T1" fmla="*/ 2147483647 h 78"/>
                <a:gd name="T2" fmla="*/ 2147483647 w 138"/>
                <a:gd name="T3" fmla="*/ 2147483647 h 78"/>
                <a:gd name="T4" fmla="*/ 2147483647 w 138"/>
                <a:gd name="T5" fmla="*/ 2147483647 h 78"/>
                <a:gd name="T6" fmla="*/ 2147483647 w 138"/>
                <a:gd name="T7" fmla="*/ 2147483647 h 78"/>
                <a:gd name="T8" fmla="*/ 2147483647 w 138"/>
                <a:gd name="T9" fmla="*/ 2147483647 h 78"/>
                <a:gd name="T10" fmla="*/ 2147483647 w 138"/>
                <a:gd name="T11" fmla="*/ 2147483647 h 78"/>
                <a:gd name="T12" fmla="*/ 2147483647 w 138"/>
                <a:gd name="T13" fmla="*/ 2147483647 h 78"/>
                <a:gd name="T14" fmla="*/ 2147483647 w 138"/>
                <a:gd name="T15" fmla="*/ 2147483647 h 78"/>
                <a:gd name="T16" fmla="*/ 2147483647 w 138"/>
                <a:gd name="T17" fmla="*/ 2147483647 h 78"/>
                <a:gd name="T18" fmla="*/ 2147483647 w 138"/>
                <a:gd name="T19" fmla="*/ 2147483647 h 78"/>
                <a:gd name="T20" fmla="*/ 2147483647 w 138"/>
                <a:gd name="T21" fmla="*/ 2147483647 h 78"/>
                <a:gd name="T22" fmla="*/ 2147483647 w 138"/>
                <a:gd name="T23" fmla="*/ 2147483647 h 78"/>
                <a:gd name="T24" fmla="*/ 2147483647 w 138"/>
                <a:gd name="T25" fmla="*/ 2147483647 h 78"/>
                <a:gd name="T26" fmla="*/ 2147483647 w 138"/>
                <a:gd name="T27" fmla="*/ 2147483647 h 78"/>
                <a:gd name="T28" fmla="*/ 2147483647 w 138"/>
                <a:gd name="T29" fmla="*/ 2147483647 h 78"/>
                <a:gd name="T30" fmla="*/ 2147483647 w 138"/>
                <a:gd name="T31" fmla="*/ 2147483647 h 78"/>
                <a:gd name="T32" fmla="*/ 2147483647 w 138"/>
                <a:gd name="T33" fmla="*/ 0 h 78"/>
                <a:gd name="T34" fmla="*/ 2147483647 w 138"/>
                <a:gd name="T35" fmla="*/ 2147483647 h 78"/>
                <a:gd name="T36" fmla="*/ 2147483647 w 138"/>
                <a:gd name="T37" fmla="*/ 2147483647 h 78"/>
                <a:gd name="T38" fmla="*/ 2147483647 w 138"/>
                <a:gd name="T39" fmla="*/ 2147483647 h 78"/>
                <a:gd name="T40" fmla="*/ 2147483647 w 138"/>
                <a:gd name="T41" fmla="*/ 2147483647 h 78"/>
                <a:gd name="T42" fmla="*/ 2147483647 w 138"/>
                <a:gd name="T43" fmla="*/ 2147483647 h 78"/>
                <a:gd name="T44" fmla="*/ 2147483647 w 138"/>
                <a:gd name="T45" fmla="*/ 2147483647 h 78"/>
                <a:gd name="T46" fmla="*/ 2147483647 w 138"/>
                <a:gd name="T47" fmla="*/ 2147483647 h 78"/>
                <a:gd name="T48" fmla="*/ 2147483647 w 138"/>
                <a:gd name="T49" fmla="*/ 2147483647 h 78"/>
                <a:gd name="T50" fmla="*/ 2147483647 w 138"/>
                <a:gd name="T51" fmla="*/ 2147483647 h 78"/>
                <a:gd name="T52" fmla="*/ 2147483647 w 138"/>
                <a:gd name="T53" fmla="*/ 2147483647 h 78"/>
                <a:gd name="T54" fmla="*/ 2147483647 w 138"/>
                <a:gd name="T55" fmla="*/ 2147483647 h 78"/>
                <a:gd name="T56" fmla="*/ 2147483647 w 138"/>
                <a:gd name="T57" fmla="*/ 2147483647 h 78"/>
                <a:gd name="T58" fmla="*/ 2147483647 w 138"/>
                <a:gd name="T59" fmla="*/ 2147483647 h 78"/>
                <a:gd name="T60" fmla="*/ 2147483647 w 138"/>
                <a:gd name="T61" fmla="*/ 2147483647 h 78"/>
                <a:gd name="T62" fmla="*/ 2147483647 w 138"/>
                <a:gd name="T63" fmla="*/ 2147483647 h 78"/>
                <a:gd name="T64" fmla="*/ 2147483647 w 138"/>
                <a:gd name="T65" fmla="*/ 2147483647 h 78"/>
                <a:gd name="T66" fmla="*/ 2147483647 w 138"/>
                <a:gd name="T67" fmla="*/ 2147483647 h 78"/>
                <a:gd name="T68" fmla="*/ 2147483647 w 138"/>
                <a:gd name="T69" fmla="*/ 2147483647 h 78"/>
                <a:gd name="T70" fmla="*/ 2147483647 w 138"/>
                <a:gd name="T71" fmla="*/ 2147483647 h 78"/>
                <a:gd name="T72" fmla="*/ 2147483647 w 138"/>
                <a:gd name="T73" fmla="*/ 2147483647 h 78"/>
                <a:gd name="T74" fmla="*/ 2147483647 w 138"/>
                <a:gd name="T75" fmla="*/ 2147483647 h 78"/>
                <a:gd name="T76" fmla="*/ 2147483647 w 138"/>
                <a:gd name="T77" fmla="*/ 2147483647 h 78"/>
                <a:gd name="T78" fmla="*/ 2147483647 w 138"/>
                <a:gd name="T79" fmla="*/ 2147483647 h 78"/>
                <a:gd name="T80" fmla="*/ 2147483647 w 138"/>
                <a:gd name="T81" fmla="*/ 2147483647 h 78"/>
                <a:gd name="T82" fmla="*/ 2147483647 w 138"/>
                <a:gd name="T83" fmla="*/ 2147483647 h 78"/>
                <a:gd name="T84" fmla="*/ 2147483647 w 138"/>
                <a:gd name="T85" fmla="*/ 2147483647 h 78"/>
                <a:gd name="T86" fmla="*/ 2147483647 w 138"/>
                <a:gd name="T87" fmla="*/ 2147483647 h 78"/>
                <a:gd name="T88" fmla="*/ 2147483647 w 138"/>
                <a:gd name="T89" fmla="*/ 2147483647 h 78"/>
                <a:gd name="T90" fmla="*/ 2147483647 w 138"/>
                <a:gd name="T91" fmla="*/ 2147483647 h 78"/>
                <a:gd name="T92" fmla="*/ 2147483647 w 138"/>
                <a:gd name="T93" fmla="*/ 2147483647 h 78"/>
                <a:gd name="T94" fmla="*/ 2147483647 w 138"/>
                <a:gd name="T95" fmla="*/ 2147483647 h 78"/>
                <a:gd name="T96" fmla="*/ 2147483647 w 138"/>
                <a:gd name="T97" fmla="*/ 2147483647 h 78"/>
                <a:gd name="T98" fmla="*/ 2147483647 w 138"/>
                <a:gd name="T99" fmla="*/ 2147483647 h 78"/>
                <a:gd name="T100" fmla="*/ 2147483647 w 138"/>
                <a:gd name="T101" fmla="*/ 2147483647 h 78"/>
                <a:gd name="T102" fmla="*/ 0 w 138"/>
                <a:gd name="T103" fmla="*/ 2147483647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78"/>
                <a:gd name="T158" fmla="*/ 138 w 138"/>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78">
                  <a:moveTo>
                    <a:pt x="0" y="52"/>
                  </a:moveTo>
                  <a:lnTo>
                    <a:pt x="2" y="50"/>
                  </a:lnTo>
                  <a:lnTo>
                    <a:pt x="4" y="48"/>
                  </a:lnTo>
                  <a:lnTo>
                    <a:pt x="10" y="46"/>
                  </a:lnTo>
                  <a:lnTo>
                    <a:pt x="16" y="44"/>
                  </a:lnTo>
                  <a:lnTo>
                    <a:pt x="22" y="40"/>
                  </a:lnTo>
                  <a:lnTo>
                    <a:pt x="20" y="40"/>
                  </a:lnTo>
                  <a:lnTo>
                    <a:pt x="16" y="34"/>
                  </a:lnTo>
                  <a:lnTo>
                    <a:pt x="20" y="36"/>
                  </a:lnTo>
                  <a:lnTo>
                    <a:pt x="26" y="32"/>
                  </a:lnTo>
                  <a:lnTo>
                    <a:pt x="34" y="28"/>
                  </a:lnTo>
                  <a:lnTo>
                    <a:pt x="36" y="26"/>
                  </a:lnTo>
                  <a:lnTo>
                    <a:pt x="38" y="24"/>
                  </a:lnTo>
                  <a:lnTo>
                    <a:pt x="40" y="18"/>
                  </a:lnTo>
                  <a:lnTo>
                    <a:pt x="42" y="18"/>
                  </a:lnTo>
                  <a:lnTo>
                    <a:pt x="42" y="16"/>
                  </a:lnTo>
                  <a:lnTo>
                    <a:pt x="44" y="14"/>
                  </a:lnTo>
                  <a:lnTo>
                    <a:pt x="50" y="10"/>
                  </a:lnTo>
                  <a:lnTo>
                    <a:pt x="50" y="12"/>
                  </a:lnTo>
                  <a:lnTo>
                    <a:pt x="54" y="12"/>
                  </a:lnTo>
                  <a:lnTo>
                    <a:pt x="60" y="12"/>
                  </a:lnTo>
                  <a:lnTo>
                    <a:pt x="64" y="6"/>
                  </a:lnTo>
                  <a:lnTo>
                    <a:pt x="66" y="2"/>
                  </a:lnTo>
                  <a:lnTo>
                    <a:pt x="72" y="4"/>
                  </a:lnTo>
                  <a:lnTo>
                    <a:pt x="76" y="4"/>
                  </a:lnTo>
                  <a:lnTo>
                    <a:pt x="82" y="2"/>
                  </a:lnTo>
                  <a:lnTo>
                    <a:pt x="88" y="2"/>
                  </a:lnTo>
                  <a:lnTo>
                    <a:pt x="92" y="0"/>
                  </a:lnTo>
                  <a:lnTo>
                    <a:pt x="98" y="0"/>
                  </a:lnTo>
                  <a:lnTo>
                    <a:pt x="106" y="2"/>
                  </a:lnTo>
                  <a:lnTo>
                    <a:pt x="110" y="2"/>
                  </a:lnTo>
                  <a:lnTo>
                    <a:pt x="112" y="8"/>
                  </a:lnTo>
                  <a:lnTo>
                    <a:pt x="114" y="12"/>
                  </a:lnTo>
                  <a:lnTo>
                    <a:pt x="114" y="16"/>
                  </a:lnTo>
                  <a:lnTo>
                    <a:pt x="120" y="22"/>
                  </a:lnTo>
                  <a:lnTo>
                    <a:pt x="122" y="28"/>
                  </a:lnTo>
                  <a:lnTo>
                    <a:pt x="128" y="28"/>
                  </a:lnTo>
                  <a:lnTo>
                    <a:pt x="128" y="30"/>
                  </a:lnTo>
                  <a:lnTo>
                    <a:pt x="122" y="34"/>
                  </a:lnTo>
                  <a:lnTo>
                    <a:pt x="118" y="36"/>
                  </a:lnTo>
                  <a:lnTo>
                    <a:pt x="116" y="38"/>
                  </a:lnTo>
                  <a:lnTo>
                    <a:pt x="118" y="40"/>
                  </a:lnTo>
                  <a:lnTo>
                    <a:pt x="122" y="36"/>
                  </a:lnTo>
                  <a:lnTo>
                    <a:pt x="130" y="36"/>
                  </a:lnTo>
                  <a:lnTo>
                    <a:pt x="134" y="36"/>
                  </a:lnTo>
                  <a:lnTo>
                    <a:pt x="136" y="42"/>
                  </a:lnTo>
                  <a:lnTo>
                    <a:pt x="138" y="48"/>
                  </a:lnTo>
                  <a:lnTo>
                    <a:pt x="138" y="54"/>
                  </a:lnTo>
                  <a:lnTo>
                    <a:pt x="132" y="56"/>
                  </a:lnTo>
                  <a:lnTo>
                    <a:pt x="134" y="52"/>
                  </a:lnTo>
                  <a:lnTo>
                    <a:pt x="130" y="46"/>
                  </a:lnTo>
                  <a:lnTo>
                    <a:pt x="124" y="46"/>
                  </a:lnTo>
                  <a:lnTo>
                    <a:pt x="128" y="48"/>
                  </a:lnTo>
                  <a:lnTo>
                    <a:pt x="128" y="50"/>
                  </a:lnTo>
                  <a:lnTo>
                    <a:pt x="126" y="56"/>
                  </a:lnTo>
                  <a:lnTo>
                    <a:pt x="132" y="56"/>
                  </a:lnTo>
                  <a:lnTo>
                    <a:pt x="130" y="64"/>
                  </a:lnTo>
                  <a:lnTo>
                    <a:pt x="124" y="66"/>
                  </a:lnTo>
                  <a:lnTo>
                    <a:pt x="118" y="66"/>
                  </a:lnTo>
                  <a:lnTo>
                    <a:pt x="114" y="70"/>
                  </a:lnTo>
                  <a:lnTo>
                    <a:pt x="112" y="74"/>
                  </a:lnTo>
                  <a:lnTo>
                    <a:pt x="106" y="78"/>
                  </a:lnTo>
                  <a:lnTo>
                    <a:pt x="100" y="76"/>
                  </a:lnTo>
                  <a:lnTo>
                    <a:pt x="94" y="74"/>
                  </a:lnTo>
                  <a:lnTo>
                    <a:pt x="90" y="74"/>
                  </a:lnTo>
                  <a:lnTo>
                    <a:pt x="88" y="76"/>
                  </a:lnTo>
                  <a:lnTo>
                    <a:pt x="82" y="78"/>
                  </a:lnTo>
                  <a:lnTo>
                    <a:pt x="76" y="78"/>
                  </a:lnTo>
                  <a:lnTo>
                    <a:pt x="74" y="74"/>
                  </a:lnTo>
                  <a:lnTo>
                    <a:pt x="74" y="70"/>
                  </a:lnTo>
                  <a:lnTo>
                    <a:pt x="70" y="70"/>
                  </a:lnTo>
                  <a:lnTo>
                    <a:pt x="64" y="64"/>
                  </a:lnTo>
                  <a:lnTo>
                    <a:pt x="64" y="60"/>
                  </a:lnTo>
                  <a:lnTo>
                    <a:pt x="60" y="54"/>
                  </a:lnTo>
                  <a:lnTo>
                    <a:pt x="54" y="56"/>
                  </a:lnTo>
                  <a:lnTo>
                    <a:pt x="48" y="58"/>
                  </a:lnTo>
                  <a:lnTo>
                    <a:pt x="46" y="60"/>
                  </a:lnTo>
                  <a:lnTo>
                    <a:pt x="50" y="64"/>
                  </a:lnTo>
                  <a:lnTo>
                    <a:pt x="44" y="70"/>
                  </a:lnTo>
                  <a:lnTo>
                    <a:pt x="42" y="70"/>
                  </a:lnTo>
                  <a:lnTo>
                    <a:pt x="42" y="72"/>
                  </a:lnTo>
                  <a:lnTo>
                    <a:pt x="40" y="72"/>
                  </a:lnTo>
                  <a:lnTo>
                    <a:pt x="40" y="74"/>
                  </a:lnTo>
                  <a:lnTo>
                    <a:pt x="38" y="74"/>
                  </a:lnTo>
                  <a:lnTo>
                    <a:pt x="34" y="72"/>
                  </a:lnTo>
                  <a:lnTo>
                    <a:pt x="28" y="72"/>
                  </a:lnTo>
                  <a:lnTo>
                    <a:pt x="22" y="70"/>
                  </a:lnTo>
                  <a:lnTo>
                    <a:pt x="20" y="68"/>
                  </a:lnTo>
                  <a:lnTo>
                    <a:pt x="14" y="68"/>
                  </a:lnTo>
                  <a:lnTo>
                    <a:pt x="12" y="62"/>
                  </a:lnTo>
                  <a:lnTo>
                    <a:pt x="8" y="62"/>
                  </a:lnTo>
                  <a:lnTo>
                    <a:pt x="6" y="58"/>
                  </a:lnTo>
                  <a:lnTo>
                    <a:pt x="0" y="54"/>
                  </a:lnTo>
                  <a:lnTo>
                    <a:pt x="0" y="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4" name="Freeform 21"/>
            <p:cNvSpPr>
              <a:spLocks/>
            </p:cNvSpPr>
            <p:nvPr/>
          </p:nvSpPr>
          <p:spPr bwMode="auto">
            <a:xfrm>
              <a:off x="4391025" y="2887663"/>
              <a:ext cx="100013" cy="55562"/>
            </a:xfrm>
            <a:custGeom>
              <a:avLst/>
              <a:gdLst>
                <a:gd name="T0" fmla="*/ 2147483647 w 246"/>
                <a:gd name="T1" fmla="*/ 2147483647 h 134"/>
                <a:gd name="T2" fmla="*/ 2147483647 w 246"/>
                <a:gd name="T3" fmla="*/ 2147483647 h 134"/>
                <a:gd name="T4" fmla="*/ 2147483647 w 246"/>
                <a:gd name="T5" fmla="*/ 2147483647 h 134"/>
                <a:gd name="T6" fmla="*/ 2147483647 w 246"/>
                <a:gd name="T7" fmla="*/ 2147483647 h 134"/>
                <a:gd name="T8" fmla="*/ 2147483647 w 246"/>
                <a:gd name="T9" fmla="*/ 2147483647 h 134"/>
                <a:gd name="T10" fmla="*/ 2147483647 w 246"/>
                <a:gd name="T11" fmla="*/ 2147483647 h 134"/>
                <a:gd name="T12" fmla="*/ 2147483647 w 246"/>
                <a:gd name="T13" fmla="*/ 2147483647 h 134"/>
                <a:gd name="T14" fmla="*/ 2147483647 w 246"/>
                <a:gd name="T15" fmla="*/ 2147483647 h 134"/>
                <a:gd name="T16" fmla="*/ 2147483647 w 246"/>
                <a:gd name="T17" fmla="*/ 2147483647 h 134"/>
                <a:gd name="T18" fmla="*/ 2147483647 w 246"/>
                <a:gd name="T19" fmla="*/ 2147483647 h 134"/>
                <a:gd name="T20" fmla="*/ 2147483647 w 246"/>
                <a:gd name="T21" fmla="*/ 2147483647 h 134"/>
                <a:gd name="T22" fmla="*/ 2147483647 w 246"/>
                <a:gd name="T23" fmla="*/ 2147483647 h 134"/>
                <a:gd name="T24" fmla="*/ 2147483647 w 246"/>
                <a:gd name="T25" fmla="*/ 2147483647 h 134"/>
                <a:gd name="T26" fmla="*/ 2147483647 w 246"/>
                <a:gd name="T27" fmla="*/ 2147483647 h 134"/>
                <a:gd name="T28" fmla="*/ 2147483647 w 246"/>
                <a:gd name="T29" fmla="*/ 2147483647 h 134"/>
                <a:gd name="T30" fmla="*/ 2147483647 w 246"/>
                <a:gd name="T31" fmla="*/ 2147483647 h 134"/>
                <a:gd name="T32" fmla="*/ 2147483647 w 246"/>
                <a:gd name="T33" fmla="*/ 2147483647 h 134"/>
                <a:gd name="T34" fmla="*/ 2147483647 w 246"/>
                <a:gd name="T35" fmla="*/ 2147483647 h 134"/>
                <a:gd name="T36" fmla="*/ 2147483647 w 246"/>
                <a:gd name="T37" fmla="*/ 2147483647 h 134"/>
                <a:gd name="T38" fmla="*/ 2147483647 w 246"/>
                <a:gd name="T39" fmla="*/ 2147483647 h 134"/>
                <a:gd name="T40" fmla="*/ 2147483647 w 246"/>
                <a:gd name="T41" fmla="*/ 2147483647 h 134"/>
                <a:gd name="T42" fmla="*/ 2147483647 w 246"/>
                <a:gd name="T43" fmla="*/ 2147483647 h 134"/>
                <a:gd name="T44" fmla="*/ 2147483647 w 246"/>
                <a:gd name="T45" fmla="*/ 2147483647 h 134"/>
                <a:gd name="T46" fmla="*/ 2147483647 w 246"/>
                <a:gd name="T47" fmla="*/ 2147483647 h 134"/>
                <a:gd name="T48" fmla="*/ 2147483647 w 246"/>
                <a:gd name="T49" fmla="*/ 2147483647 h 134"/>
                <a:gd name="T50" fmla="*/ 2147483647 w 246"/>
                <a:gd name="T51" fmla="*/ 2147483647 h 134"/>
                <a:gd name="T52" fmla="*/ 2147483647 w 246"/>
                <a:gd name="T53" fmla="*/ 2147483647 h 134"/>
                <a:gd name="T54" fmla="*/ 2147483647 w 246"/>
                <a:gd name="T55" fmla="*/ 2147483647 h 134"/>
                <a:gd name="T56" fmla="*/ 2147483647 w 246"/>
                <a:gd name="T57" fmla="*/ 2147483647 h 134"/>
                <a:gd name="T58" fmla="*/ 2147483647 w 246"/>
                <a:gd name="T59" fmla="*/ 2147483647 h 134"/>
                <a:gd name="T60" fmla="*/ 2147483647 w 246"/>
                <a:gd name="T61" fmla="*/ 2147483647 h 134"/>
                <a:gd name="T62" fmla="*/ 2147483647 w 246"/>
                <a:gd name="T63" fmla="*/ 2147483647 h 134"/>
                <a:gd name="T64" fmla="*/ 2147483647 w 246"/>
                <a:gd name="T65" fmla="*/ 2147483647 h 134"/>
                <a:gd name="T66" fmla="*/ 2147483647 w 246"/>
                <a:gd name="T67" fmla="*/ 2147483647 h 134"/>
                <a:gd name="T68" fmla="*/ 2147483647 w 246"/>
                <a:gd name="T69" fmla="*/ 2147483647 h 134"/>
                <a:gd name="T70" fmla="*/ 2147483647 w 246"/>
                <a:gd name="T71" fmla="*/ 2147483647 h 134"/>
                <a:gd name="T72" fmla="*/ 2147483647 w 246"/>
                <a:gd name="T73" fmla="*/ 2147483647 h 134"/>
                <a:gd name="T74" fmla="*/ 2147483647 w 246"/>
                <a:gd name="T75" fmla="*/ 2147483647 h 134"/>
                <a:gd name="T76" fmla="*/ 2147483647 w 246"/>
                <a:gd name="T77" fmla="*/ 2147483647 h 134"/>
                <a:gd name="T78" fmla="*/ 2147483647 w 246"/>
                <a:gd name="T79" fmla="*/ 2147483647 h 134"/>
                <a:gd name="T80" fmla="*/ 2147483647 w 246"/>
                <a:gd name="T81" fmla="*/ 2147483647 h 134"/>
                <a:gd name="T82" fmla="*/ 2147483647 w 246"/>
                <a:gd name="T83" fmla="*/ 2147483647 h 134"/>
                <a:gd name="T84" fmla="*/ 2147483647 w 246"/>
                <a:gd name="T85" fmla="*/ 2147483647 h 134"/>
                <a:gd name="T86" fmla="*/ 2147483647 w 246"/>
                <a:gd name="T87" fmla="*/ 2147483647 h 134"/>
                <a:gd name="T88" fmla="*/ 2147483647 w 246"/>
                <a:gd name="T89" fmla="*/ 2147483647 h 134"/>
                <a:gd name="T90" fmla="*/ 2147483647 w 246"/>
                <a:gd name="T91" fmla="*/ 2147483647 h 134"/>
                <a:gd name="T92" fmla="*/ 2147483647 w 246"/>
                <a:gd name="T93" fmla="*/ 2147483647 h 134"/>
                <a:gd name="T94" fmla="*/ 2147483647 w 246"/>
                <a:gd name="T95" fmla="*/ 2147483647 h 134"/>
                <a:gd name="T96" fmla="*/ 2147483647 w 246"/>
                <a:gd name="T97" fmla="*/ 2147483647 h 134"/>
                <a:gd name="T98" fmla="*/ 0 w 246"/>
                <a:gd name="T99" fmla="*/ 2147483647 h 13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6"/>
                <a:gd name="T151" fmla="*/ 0 h 134"/>
                <a:gd name="T152" fmla="*/ 246 w 246"/>
                <a:gd name="T153" fmla="*/ 134 h 13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6" h="134">
                  <a:moveTo>
                    <a:pt x="0" y="112"/>
                  </a:moveTo>
                  <a:lnTo>
                    <a:pt x="2" y="110"/>
                  </a:lnTo>
                  <a:lnTo>
                    <a:pt x="8" y="106"/>
                  </a:lnTo>
                  <a:lnTo>
                    <a:pt x="10" y="100"/>
                  </a:lnTo>
                  <a:lnTo>
                    <a:pt x="8" y="94"/>
                  </a:lnTo>
                  <a:lnTo>
                    <a:pt x="6" y="92"/>
                  </a:lnTo>
                  <a:lnTo>
                    <a:pt x="8" y="92"/>
                  </a:lnTo>
                  <a:lnTo>
                    <a:pt x="8" y="90"/>
                  </a:lnTo>
                  <a:lnTo>
                    <a:pt x="12" y="84"/>
                  </a:lnTo>
                  <a:lnTo>
                    <a:pt x="14" y="78"/>
                  </a:lnTo>
                  <a:lnTo>
                    <a:pt x="20" y="74"/>
                  </a:lnTo>
                  <a:lnTo>
                    <a:pt x="22" y="74"/>
                  </a:lnTo>
                  <a:lnTo>
                    <a:pt x="24" y="72"/>
                  </a:lnTo>
                  <a:lnTo>
                    <a:pt x="28" y="66"/>
                  </a:lnTo>
                  <a:lnTo>
                    <a:pt x="28" y="64"/>
                  </a:lnTo>
                  <a:lnTo>
                    <a:pt x="28" y="62"/>
                  </a:lnTo>
                  <a:lnTo>
                    <a:pt x="34" y="56"/>
                  </a:lnTo>
                  <a:lnTo>
                    <a:pt x="40" y="52"/>
                  </a:lnTo>
                  <a:lnTo>
                    <a:pt x="42" y="50"/>
                  </a:lnTo>
                  <a:lnTo>
                    <a:pt x="48" y="46"/>
                  </a:lnTo>
                  <a:lnTo>
                    <a:pt x="50" y="44"/>
                  </a:lnTo>
                  <a:lnTo>
                    <a:pt x="56" y="38"/>
                  </a:lnTo>
                  <a:lnTo>
                    <a:pt x="58" y="34"/>
                  </a:lnTo>
                  <a:lnTo>
                    <a:pt x="62" y="30"/>
                  </a:lnTo>
                  <a:lnTo>
                    <a:pt x="60" y="30"/>
                  </a:lnTo>
                  <a:lnTo>
                    <a:pt x="56" y="30"/>
                  </a:lnTo>
                  <a:lnTo>
                    <a:pt x="58" y="24"/>
                  </a:lnTo>
                  <a:lnTo>
                    <a:pt x="58" y="20"/>
                  </a:lnTo>
                  <a:lnTo>
                    <a:pt x="60" y="20"/>
                  </a:lnTo>
                  <a:lnTo>
                    <a:pt x="64" y="20"/>
                  </a:lnTo>
                  <a:lnTo>
                    <a:pt x="66" y="20"/>
                  </a:lnTo>
                  <a:lnTo>
                    <a:pt x="72" y="26"/>
                  </a:lnTo>
                  <a:lnTo>
                    <a:pt x="76" y="24"/>
                  </a:lnTo>
                  <a:lnTo>
                    <a:pt x="80" y="24"/>
                  </a:lnTo>
                  <a:lnTo>
                    <a:pt x="82" y="24"/>
                  </a:lnTo>
                  <a:lnTo>
                    <a:pt x="86" y="20"/>
                  </a:lnTo>
                  <a:lnTo>
                    <a:pt x="88" y="16"/>
                  </a:lnTo>
                  <a:lnTo>
                    <a:pt x="90" y="16"/>
                  </a:lnTo>
                  <a:lnTo>
                    <a:pt x="90" y="14"/>
                  </a:lnTo>
                  <a:lnTo>
                    <a:pt x="94" y="14"/>
                  </a:lnTo>
                  <a:lnTo>
                    <a:pt x="92" y="16"/>
                  </a:lnTo>
                  <a:lnTo>
                    <a:pt x="98" y="18"/>
                  </a:lnTo>
                  <a:lnTo>
                    <a:pt x="100" y="16"/>
                  </a:lnTo>
                  <a:lnTo>
                    <a:pt x="106" y="14"/>
                  </a:lnTo>
                  <a:lnTo>
                    <a:pt x="112" y="16"/>
                  </a:lnTo>
                  <a:lnTo>
                    <a:pt x="118" y="16"/>
                  </a:lnTo>
                  <a:lnTo>
                    <a:pt x="124" y="12"/>
                  </a:lnTo>
                  <a:lnTo>
                    <a:pt x="128" y="14"/>
                  </a:lnTo>
                  <a:lnTo>
                    <a:pt x="136" y="16"/>
                  </a:lnTo>
                  <a:lnTo>
                    <a:pt x="140" y="16"/>
                  </a:lnTo>
                  <a:lnTo>
                    <a:pt x="142" y="12"/>
                  </a:lnTo>
                  <a:lnTo>
                    <a:pt x="142" y="14"/>
                  </a:lnTo>
                  <a:lnTo>
                    <a:pt x="144" y="14"/>
                  </a:lnTo>
                  <a:lnTo>
                    <a:pt x="144" y="10"/>
                  </a:lnTo>
                  <a:lnTo>
                    <a:pt x="144" y="8"/>
                  </a:lnTo>
                  <a:lnTo>
                    <a:pt x="138" y="10"/>
                  </a:lnTo>
                  <a:lnTo>
                    <a:pt x="136" y="10"/>
                  </a:lnTo>
                  <a:lnTo>
                    <a:pt x="138" y="4"/>
                  </a:lnTo>
                  <a:lnTo>
                    <a:pt x="144" y="0"/>
                  </a:lnTo>
                  <a:lnTo>
                    <a:pt x="150" y="2"/>
                  </a:lnTo>
                  <a:lnTo>
                    <a:pt x="152" y="4"/>
                  </a:lnTo>
                  <a:lnTo>
                    <a:pt x="152" y="8"/>
                  </a:lnTo>
                  <a:lnTo>
                    <a:pt x="156" y="8"/>
                  </a:lnTo>
                  <a:lnTo>
                    <a:pt x="160" y="10"/>
                  </a:lnTo>
                  <a:lnTo>
                    <a:pt x="166" y="8"/>
                  </a:lnTo>
                  <a:lnTo>
                    <a:pt x="172" y="8"/>
                  </a:lnTo>
                  <a:lnTo>
                    <a:pt x="174" y="10"/>
                  </a:lnTo>
                  <a:lnTo>
                    <a:pt x="176" y="10"/>
                  </a:lnTo>
                  <a:lnTo>
                    <a:pt x="182" y="10"/>
                  </a:lnTo>
                  <a:lnTo>
                    <a:pt x="188" y="14"/>
                  </a:lnTo>
                  <a:lnTo>
                    <a:pt x="194" y="16"/>
                  </a:lnTo>
                  <a:lnTo>
                    <a:pt x="196" y="18"/>
                  </a:lnTo>
                  <a:lnTo>
                    <a:pt x="196" y="20"/>
                  </a:lnTo>
                  <a:lnTo>
                    <a:pt x="202" y="24"/>
                  </a:lnTo>
                  <a:lnTo>
                    <a:pt x="202" y="26"/>
                  </a:lnTo>
                  <a:lnTo>
                    <a:pt x="200" y="30"/>
                  </a:lnTo>
                  <a:lnTo>
                    <a:pt x="198" y="30"/>
                  </a:lnTo>
                  <a:lnTo>
                    <a:pt x="196" y="36"/>
                  </a:lnTo>
                  <a:lnTo>
                    <a:pt x="194" y="38"/>
                  </a:lnTo>
                  <a:lnTo>
                    <a:pt x="192" y="42"/>
                  </a:lnTo>
                  <a:lnTo>
                    <a:pt x="194" y="44"/>
                  </a:lnTo>
                  <a:lnTo>
                    <a:pt x="192" y="50"/>
                  </a:lnTo>
                  <a:lnTo>
                    <a:pt x="194" y="50"/>
                  </a:lnTo>
                  <a:lnTo>
                    <a:pt x="198" y="50"/>
                  </a:lnTo>
                  <a:lnTo>
                    <a:pt x="202" y="50"/>
                  </a:lnTo>
                  <a:lnTo>
                    <a:pt x="208" y="52"/>
                  </a:lnTo>
                  <a:lnTo>
                    <a:pt x="214" y="52"/>
                  </a:lnTo>
                  <a:lnTo>
                    <a:pt x="214" y="58"/>
                  </a:lnTo>
                  <a:lnTo>
                    <a:pt x="220" y="60"/>
                  </a:lnTo>
                  <a:lnTo>
                    <a:pt x="220" y="62"/>
                  </a:lnTo>
                  <a:lnTo>
                    <a:pt x="226" y="64"/>
                  </a:lnTo>
                  <a:lnTo>
                    <a:pt x="230" y="64"/>
                  </a:lnTo>
                  <a:lnTo>
                    <a:pt x="234" y="58"/>
                  </a:lnTo>
                  <a:lnTo>
                    <a:pt x="240" y="54"/>
                  </a:lnTo>
                  <a:lnTo>
                    <a:pt x="246" y="58"/>
                  </a:lnTo>
                  <a:lnTo>
                    <a:pt x="246" y="62"/>
                  </a:lnTo>
                  <a:lnTo>
                    <a:pt x="244" y="68"/>
                  </a:lnTo>
                  <a:lnTo>
                    <a:pt x="242" y="74"/>
                  </a:lnTo>
                  <a:lnTo>
                    <a:pt x="246" y="80"/>
                  </a:lnTo>
                  <a:lnTo>
                    <a:pt x="246" y="86"/>
                  </a:lnTo>
                  <a:lnTo>
                    <a:pt x="244" y="86"/>
                  </a:lnTo>
                  <a:lnTo>
                    <a:pt x="238" y="84"/>
                  </a:lnTo>
                  <a:lnTo>
                    <a:pt x="234" y="80"/>
                  </a:lnTo>
                  <a:lnTo>
                    <a:pt x="228" y="80"/>
                  </a:lnTo>
                  <a:lnTo>
                    <a:pt x="224" y="86"/>
                  </a:lnTo>
                  <a:lnTo>
                    <a:pt x="222" y="92"/>
                  </a:lnTo>
                  <a:lnTo>
                    <a:pt x="230" y="96"/>
                  </a:lnTo>
                  <a:lnTo>
                    <a:pt x="228" y="100"/>
                  </a:lnTo>
                  <a:lnTo>
                    <a:pt x="226" y="106"/>
                  </a:lnTo>
                  <a:lnTo>
                    <a:pt x="220" y="102"/>
                  </a:lnTo>
                  <a:lnTo>
                    <a:pt x="218" y="96"/>
                  </a:lnTo>
                  <a:lnTo>
                    <a:pt x="212" y="96"/>
                  </a:lnTo>
                  <a:lnTo>
                    <a:pt x="206" y="98"/>
                  </a:lnTo>
                  <a:lnTo>
                    <a:pt x="206" y="100"/>
                  </a:lnTo>
                  <a:lnTo>
                    <a:pt x="200" y="102"/>
                  </a:lnTo>
                  <a:lnTo>
                    <a:pt x="194" y="100"/>
                  </a:lnTo>
                  <a:lnTo>
                    <a:pt x="192" y="94"/>
                  </a:lnTo>
                  <a:lnTo>
                    <a:pt x="190" y="88"/>
                  </a:lnTo>
                  <a:lnTo>
                    <a:pt x="184" y="88"/>
                  </a:lnTo>
                  <a:lnTo>
                    <a:pt x="182" y="88"/>
                  </a:lnTo>
                  <a:lnTo>
                    <a:pt x="182" y="94"/>
                  </a:lnTo>
                  <a:lnTo>
                    <a:pt x="182" y="100"/>
                  </a:lnTo>
                  <a:lnTo>
                    <a:pt x="178" y="106"/>
                  </a:lnTo>
                  <a:lnTo>
                    <a:pt x="174" y="110"/>
                  </a:lnTo>
                  <a:lnTo>
                    <a:pt x="170" y="114"/>
                  </a:lnTo>
                  <a:lnTo>
                    <a:pt x="166" y="120"/>
                  </a:lnTo>
                  <a:lnTo>
                    <a:pt x="166" y="122"/>
                  </a:lnTo>
                  <a:lnTo>
                    <a:pt x="168" y="122"/>
                  </a:lnTo>
                  <a:lnTo>
                    <a:pt x="170" y="126"/>
                  </a:lnTo>
                  <a:lnTo>
                    <a:pt x="168" y="132"/>
                  </a:lnTo>
                  <a:lnTo>
                    <a:pt x="166" y="134"/>
                  </a:lnTo>
                  <a:lnTo>
                    <a:pt x="162" y="134"/>
                  </a:lnTo>
                  <a:lnTo>
                    <a:pt x="162" y="128"/>
                  </a:lnTo>
                  <a:lnTo>
                    <a:pt x="158" y="124"/>
                  </a:lnTo>
                  <a:lnTo>
                    <a:pt x="154" y="122"/>
                  </a:lnTo>
                  <a:lnTo>
                    <a:pt x="152" y="114"/>
                  </a:lnTo>
                  <a:lnTo>
                    <a:pt x="150" y="114"/>
                  </a:lnTo>
                  <a:lnTo>
                    <a:pt x="150" y="116"/>
                  </a:lnTo>
                  <a:lnTo>
                    <a:pt x="148" y="116"/>
                  </a:lnTo>
                  <a:lnTo>
                    <a:pt x="144" y="112"/>
                  </a:lnTo>
                  <a:lnTo>
                    <a:pt x="140" y="110"/>
                  </a:lnTo>
                  <a:lnTo>
                    <a:pt x="136" y="102"/>
                  </a:lnTo>
                  <a:lnTo>
                    <a:pt x="136" y="96"/>
                  </a:lnTo>
                  <a:lnTo>
                    <a:pt x="132" y="92"/>
                  </a:lnTo>
                  <a:lnTo>
                    <a:pt x="128" y="96"/>
                  </a:lnTo>
                  <a:lnTo>
                    <a:pt x="122" y="100"/>
                  </a:lnTo>
                  <a:lnTo>
                    <a:pt x="116" y="104"/>
                  </a:lnTo>
                  <a:lnTo>
                    <a:pt x="120" y="110"/>
                  </a:lnTo>
                  <a:lnTo>
                    <a:pt x="120" y="112"/>
                  </a:lnTo>
                  <a:lnTo>
                    <a:pt x="114" y="116"/>
                  </a:lnTo>
                  <a:lnTo>
                    <a:pt x="110" y="122"/>
                  </a:lnTo>
                  <a:lnTo>
                    <a:pt x="104" y="128"/>
                  </a:lnTo>
                  <a:lnTo>
                    <a:pt x="100" y="128"/>
                  </a:lnTo>
                  <a:lnTo>
                    <a:pt x="94" y="126"/>
                  </a:lnTo>
                  <a:lnTo>
                    <a:pt x="88" y="124"/>
                  </a:lnTo>
                  <a:lnTo>
                    <a:pt x="88" y="122"/>
                  </a:lnTo>
                  <a:lnTo>
                    <a:pt x="82" y="126"/>
                  </a:lnTo>
                  <a:lnTo>
                    <a:pt x="76" y="128"/>
                  </a:lnTo>
                  <a:lnTo>
                    <a:pt x="70" y="128"/>
                  </a:lnTo>
                  <a:lnTo>
                    <a:pt x="64" y="130"/>
                  </a:lnTo>
                  <a:lnTo>
                    <a:pt x="58" y="126"/>
                  </a:lnTo>
                  <a:lnTo>
                    <a:pt x="56" y="122"/>
                  </a:lnTo>
                  <a:lnTo>
                    <a:pt x="54" y="118"/>
                  </a:lnTo>
                  <a:lnTo>
                    <a:pt x="48" y="112"/>
                  </a:lnTo>
                  <a:lnTo>
                    <a:pt x="46" y="106"/>
                  </a:lnTo>
                  <a:lnTo>
                    <a:pt x="48" y="100"/>
                  </a:lnTo>
                  <a:lnTo>
                    <a:pt x="46" y="96"/>
                  </a:lnTo>
                  <a:lnTo>
                    <a:pt x="46" y="94"/>
                  </a:lnTo>
                  <a:lnTo>
                    <a:pt x="40" y="92"/>
                  </a:lnTo>
                  <a:lnTo>
                    <a:pt x="34" y="92"/>
                  </a:lnTo>
                  <a:lnTo>
                    <a:pt x="30" y="92"/>
                  </a:lnTo>
                  <a:lnTo>
                    <a:pt x="22" y="94"/>
                  </a:lnTo>
                  <a:lnTo>
                    <a:pt x="18" y="96"/>
                  </a:lnTo>
                  <a:lnTo>
                    <a:pt x="16" y="100"/>
                  </a:lnTo>
                  <a:lnTo>
                    <a:pt x="16" y="104"/>
                  </a:lnTo>
                  <a:lnTo>
                    <a:pt x="14" y="108"/>
                  </a:lnTo>
                  <a:lnTo>
                    <a:pt x="14" y="110"/>
                  </a:lnTo>
                  <a:lnTo>
                    <a:pt x="8" y="112"/>
                  </a:lnTo>
                  <a:lnTo>
                    <a:pt x="2" y="112"/>
                  </a:lnTo>
                  <a:lnTo>
                    <a:pt x="0" y="1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5" name="Freeform 22"/>
            <p:cNvSpPr>
              <a:spLocks/>
            </p:cNvSpPr>
            <p:nvPr/>
          </p:nvSpPr>
          <p:spPr bwMode="auto">
            <a:xfrm>
              <a:off x="4718050" y="3040063"/>
              <a:ext cx="57150" cy="42862"/>
            </a:xfrm>
            <a:custGeom>
              <a:avLst/>
              <a:gdLst>
                <a:gd name="T0" fmla="*/ 2147483647 w 140"/>
                <a:gd name="T1" fmla="*/ 2147483647 h 104"/>
                <a:gd name="T2" fmla="*/ 2147483647 w 140"/>
                <a:gd name="T3" fmla="*/ 2147483647 h 104"/>
                <a:gd name="T4" fmla="*/ 2147483647 w 140"/>
                <a:gd name="T5" fmla="*/ 2147483647 h 104"/>
                <a:gd name="T6" fmla="*/ 2147483647 w 140"/>
                <a:gd name="T7" fmla="*/ 2147483647 h 104"/>
                <a:gd name="T8" fmla="*/ 2147483647 w 140"/>
                <a:gd name="T9" fmla="*/ 2147483647 h 104"/>
                <a:gd name="T10" fmla="*/ 2147483647 w 140"/>
                <a:gd name="T11" fmla="*/ 2147483647 h 104"/>
                <a:gd name="T12" fmla="*/ 2147483647 w 140"/>
                <a:gd name="T13" fmla="*/ 2147483647 h 104"/>
                <a:gd name="T14" fmla="*/ 2147483647 w 140"/>
                <a:gd name="T15" fmla="*/ 2147483647 h 104"/>
                <a:gd name="T16" fmla="*/ 2147483647 w 140"/>
                <a:gd name="T17" fmla="*/ 2147483647 h 104"/>
                <a:gd name="T18" fmla="*/ 2147483647 w 140"/>
                <a:gd name="T19" fmla="*/ 2147483647 h 104"/>
                <a:gd name="T20" fmla="*/ 2147483647 w 140"/>
                <a:gd name="T21" fmla="*/ 2147483647 h 104"/>
                <a:gd name="T22" fmla="*/ 2147483647 w 140"/>
                <a:gd name="T23" fmla="*/ 2147483647 h 104"/>
                <a:gd name="T24" fmla="*/ 2147483647 w 140"/>
                <a:gd name="T25" fmla="*/ 2147483647 h 104"/>
                <a:gd name="T26" fmla="*/ 2147483647 w 140"/>
                <a:gd name="T27" fmla="*/ 2147483647 h 104"/>
                <a:gd name="T28" fmla="*/ 2147483647 w 140"/>
                <a:gd name="T29" fmla="*/ 2147483647 h 104"/>
                <a:gd name="T30" fmla="*/ 2147483647 w 140"/>
                <a:gd name="T31" fmla="*/ 0 h 104"/>
                <a:gd name="T32" fmla="*/ 2147483647 w 140"/>
                <a:gd name="T33" fmla="*/ 2147483647 h 104"/>
                <a:gd name="T34" fmla="*/ 2147483647 w 140"/>
                <a:gd name="T35" fmla="*/ 2147483647 h 104"/>
                <a:gd name="T36" fmla="*/ 2147483647 w 140"/>
                <a:gd name="T37" fmla="*/ 2147483647 h 104"/>
                <a:gd name="T38" fmla="*/ 2147483647 w 140"/>
                <a:gd name="T39" fmla="*/ 2147483647 h 104"/>
                <a:gd name="T40" fmla="*/ 2147483647 w 140"/>
                <a:gd name="T41" fmla="*/ 2147483647 h 104"/>
                <a:gd name="T42" fmla="*/ 2147483647 w 140"/>
                <a:gd name="T43" fmla="*/ 2147483647 h 104"/>
                <a:gd name="T44" fmla="*/ 2147483647 w 140"/>
                <a:gd name="T45" fmla="*/ 2147483647 h 104"/>
                <a:gd name="T46" fmla="*/ 2147483647 w 140"/>
                <a:gd name="T47" fmla="*/ 2147483647 h 104"/>
                <a:gd name="T48" fmla="*/ 2147483647 w 140"/>
                <a:gd name="T49" fmla="*/ 2147483647 h 104"/>
                <a:gd name="T50" fmla="*/ 2147483647 w 140"/>
                <a:gd name="T51" fmla="*/ 2147483647 h 104"/>
                <a:gd name="T52" fmla="*/ 2147483647 w 140"/>
                <a:gd name="T53" fmla="*/ 2147483647 h 104"/>
                <a:gd name="T54" fmla="*/ 2147483647 w 140"/>
                <a:gd name="T55" fmla="*/ 2147483647 h 104"/>
                <a:gd name="T56" fmla="*/ 2147483647 w 140"/>
                <a:gd name="T57" fmla="*/ 2147483647 h 104"/>
                <a:gd name="T58" fmla="*/ 2147483647 w 140"/>
                <a:gd name="T59" fmla="*/ 2147483647 h 104"/>
                <a:gd name="T60" fmla="*/ 2147483647 w 140"/>
                <a:gd name="T61" fmla="*/ 2147483647 h 104"/>
                <a:gd name="T62" fmla="*/ 2147483647 w 140"/>
                <a:gd name="T63" fmla="*/ 2147483647 h 104"/>
                <a:gd name="T64" fmla="*/ 2147483647 w 140"/>
                <a:gd name="T65" fmla="*/ 2147483647 h 104"/>
                <a:gd name="T66" fmla="*/ 2147483647 w 140"/>
                <a:gd name="T67" fmla="*/ 2147483647 h 104"/>
                <a:gd name="T68" fmla="*/ 2147483647 w 140"/>
                <a:gd name="T69" fmla="*/ 2147483647 h 104"/>
                <a:gd name="T70" fmla="*/ 2147483647 w 140"/>
                <a:gd name="T71" fmla="*/ 2147483647 h 104"/>
                <a:gd name="T72" fmla="*/ 2147483647 w 140"/>
                <a:gd name="T73" fmla="*/ 2147483647 h 104"/>
                <a:gd name="T74" fmla="*/ 2147483647 w 140"/>
                <a:gd name="T75" fmla="*/ 2147483647 h 104"/>
                <a:gd name="T76" fmla="*/ 2147483647 w 140"/>
                <a:gd name="T77" fmla="*/ 2147483647 h 104"/>
                <a:gd name="T78" fmla="*/ 2147483647 w 140"/>
                <a:gd name="T79" fmla="*/ 2147483647 h 104"/>
                <a:gd name="T80" fmla="*/ 2147483647 w 140"/>
                <a:gd name="T81" fmla="*/ 2147483647 h 104"/>
                <a:gd name="T82" fmla="*/ 2147483647 w 140"/>
                <a:gd name="T83" fmla="*/ 2147483647 h 104"/>
                <a:gd name="T84" fmla="*/ 2147483647 w 140"/>
                <a:gd name="T85" fmla="*/ 2147483647 h 104"/>
                <a:gd name="T86" fmla="*/ 2147483647 w 140"/>
                <a:gd name="T87" fmla="*/ 2147483647 h 104"/>
                <a:gd name="T88" fmla="*/ 2147483647 w 140"/>
                <a:gd name="T89" fmla="*/ 2147483647 h 104"/>
                <a:gd name="T90" fmla="*/ 2147483647 w 140"/>
                <a:gd name="T91" fmla="*/ 2147483647 h 104"/>
                <a:gd name="T92" fmla="*/ 2147483647 w 140"/>
                <a:gd name="T93" fmla="*/ 2147483647 h 104"/>
                <a:gd name="T94" fmla="*/ 2147483647 w 140"/>
                <a:gd name="T95" fmla="*/ 2147483647 h 104"/>
                <a:gd name="T96" fmla="*/ 0 w 140"/>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40"/>
                <a:gd name="T148" fmla="*/ 0 h 104"/>
                <a:gd name="T149" fmla="*/ 140 w 140"/>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40" h="104">
                  <a:moveTo>
                    <a:pt x="0" y="56"/>
                  </a:moveTo>
                  <a:lnTo>
                    <a:pt x="4" y="54"/>
                  </a:lnTo>
                  <a:lnTo>
                    <a:pt x="2" y="48"/>
                  </a:lnTo>
                  <a:lnTo>
                    <a:pt x="2" y="42"/>
                  </a:lnTo>
                  <a:lnTo>
                    <a:pt x="4" y="40"/>
                  </a:lnTo>
                  <a:lnTo>
                    <a:pt x="10" y="36"/>
                  </a:lnTo>
                  <a:lnTo>
                    <a:pt x="16" y="30"/>
                  </a:lnTo>
                  <a:lnTo>
                    <a:pt x="14" y="24"/>
                  </a:lnTo>
                  <a:lnTo>
                    <a:pt x="16" y="18"/>
                  </a:lnTo>
                  <a:lnTo>
                    <a:pt x="22" y="18"/>
                  </a:lnTo>
                  <a:lnTo>
                    <a:pt x="26" y="16"/>
                  </a:lnTo>
                  <a:lnTo>
                    <a:pt x="32" y="12"/>
                  </a:lnTo>
                  <a:lnTo>
                    <a:pt x="34" y="10"/>
                  </a:lnTo>
                  <a:lnTo>
                    <a:pt x="38" y="14"/>
                  </a:lnTo>
                  <a:lnTo>
                    <a:pt x="40" y="18"/>
                  </a:lnTo>
                  <a:lnTo>
                    <a:pt x="46" y="18"/>
                  </a:lnTo>
                  <a:lnTo>
                    <a:pt x="46" y="14"/>
                  </a:lnTo>
                  <a:lnTo>
                    <a:pt x="46" y="12"/>
                  </a:lnTo>
                  <a:lnTo>
                    <a:pt x="46" y="10"/>
                  </a:lnTo>
                  <a:lnTo>
                    <a:pt x="48" y="10"/>
                  </a:lnTo>
                  <a:lnTo>
                    <a:pt x="54" y="8"/>
                  </a:lnTo>
                  <a:lnTo>
                    <a:pt x="58" y="8"/>
                  </a:lnTo>
                  <a:lnTo>
                    <a:pt x="64" y="8"/>
                  </a:lnTo>
                  <a:lnTo>
                    <a:pt x="66" y="8"/>
                  </a:lnTo>
                  <a:lnTo>
                    <a:pt x="68" y="6"/>
                  </a:lnTo>
                  <a:lnTo>
                    <a:pt x="72" y="4"/>
                  </a:lnTo>
                  <a:lnTo>
                    <a:pt x="78" y="2"/>
                  </a:lnTo>
                  <a:lnTo>
                    <a:pt x="84" y="4"/>
                  </a:lnTo>
                  <a:lnTo>
                    <a:pt x="86" y="4"/>
                  </a:lnTo>
                  <a:lnTo>
                    <a:pt x="92" y="2"/>
                  </a:lnTo>
                  <a:lnTo>
                    <a:pt x="98" y="0"/>
                  </a:lnTo>
                  <a:lnTo>
                    <a:pt x="102" y="2"/>
                  </a:lnTo>
                  <a:lnTo>
                    <a:pt x="108" y="8"/>
                  </a:lnTo>
                  <a:lnTo>
                    <a:pt x="110" y="14"/>
                  </a:lnTo>
                  <a:lnTo>
                    <a:pt x="114" y="16"/>
                  </a:lnTo>
                  <a:lnTo>
                    <a:pt x="120" y="20"/>
                  </a:lnTo>
                  <a:lnTo>
                    <a:pt x="126" y="22"/>
                  </a:lnTo>
                  <a:lnTo>
                    <a:pt x="132" y="24"/>
                  </a:lnTo>
                  <a:lnTo>
                    <a:pt x="132" y="28"/>
                  </a:lnTo>
                  <a:lnTo>
                    <a:pt x="134" y="34"/>
                  </a:lnTo>
                  <a:lnTo>
                    <a:pt x="138" y="40"/>
                  </a:lnTo>
                  <a:lnTo>
                    <a:pt x="140" y="46"/>
                  </a:lnTo>
                  <a:lnTo>
                    <a:pt x="138" y="52"/>
                  </a:lnTo>
                  <a:lnTo>
                    <a:pt x="138" y="58"/>
                  </a:lnTo>
                  <a:lnTo>
                    <a:pt x="138" y="60"/>
                  </a:lnTo>
                  <a:lnTo>
                    <a:pt x="140" y="66"/>
                  </a:lnTo>
                  <a:lnTo>
                    <a:pt x="138" y="70"/>
                  </a:lnTo>
                  <a:lnTo>
                    <a:pt x="134" y="70"/>
                  </a:lnTo>
                  <a:lnTo>
                    <a:pt x="128" y="72"/>
                  </a:lnTo>
                  <a:lnTo>
                    <a:pt x="128" y="74"/>
                  </a:lnTo>
                  <a:lnTo>
                    <a:pt x="128" y="76"/>
                  </a:lnTo>
                  <a:lnTo>
                    <a:pt x="128" y="82"/>
                  </a:lnTo>
                  <a:lnTo>
                    <a:pt x="124" y="80"/>
                  </a:lnTo>
                  <a:lnTo>
                    <a:pt x="118" y="84"/>
                  </a:lnTo>
                  <a:lnTo>
                    <a:pt x="116" y="84"/>
                  </a:lnTo>
                  <a:lnTo>
                    <a:pt x="112" y="86"/>
                  </a:lnTo>
                  <a:lnTo>
                    <a:pt x="106" y="84"/>
                  </a:lnTo>
                  <a:lnTo>
                    <a:pt x="104" y="82"/>
                  </a:lnTo>
                  <a:lnTo>
                    <a:pt x="98" y="82"/>
                  </a:lnTo>
                  <a:lnTo>
                    <a:pt x="94" y="84"/>
                  </a:lnTo>
                  <a:lnTo>
                    <a:pt x="88" y="84"/>
                  </a:lnTo>
                  <a:lnTo>
                    <a:pt x="82" y="86"/>
                  </a:lnTo>
                  <a:lnTo>
                    <a:pt x="82" y="88"/>
                  </a:lnTo>
                  <a:lnTo>
                    <a:pt x="80" y="92"/>
                  </a:lnTo>
                  <a:lnTo>
                    <a:pt x="76" y="98"/>
                  </a:lnTo>
                  <a:lnTo>
                    <a:pt x="74" y="98"/>
                  </a:lnTo>
                  <a:lnTo>
                    <a:pt x="68" y="100"/>
                  </a:lnTo>
                  <a:lnTo>
                    <a:pt x="62" y="102"/>
                  </a:lnTo>
                  <a:lnTo>
                    <a:pt x="56" y="100"/>
                  </a:lnTo>
                  <a:lnTo>
                    <a:pt x="54" y="100"/>
                  </a:lnTo>
                  <a:lnTo>
                    <a:pt x="50" y="102"/>
                  </a:lnTo>
                  <a:lnTo>
                    <a:pt x="44" y="102"/>
                  </a:lnTo>
                  <a:lnTo>
                    <a:pt x="38" y="104"/>
                  </a:lnTo>
                  <a:lnTo>
                    <a:pt x="36" y="104"/>
                  </a:lnTo>
                  <a:lnTo>
                    <a:pt x="30" y="104"/>
                  </a:lnTo>
                  <a:lnTo>
                    <a:pt x="30" y="100"/>
                  </a:lnTo>
                  <a:lnTo>
                    <a:pt x="24" y="98"/>
                  </a:lnTo>
                  <a:lnTo>
                    <a:pt x="20" y="100"/>
                  </a:lnTo>
                  <a:lnTo>
                    <a:pt x="16" y="100"/>
                  </a:lnTo>
                  <a:lnTo>
                    <a:pt x="14" y="94"/>
                  </a:lnTo>
                  <a:lnTo>
                    <a:pt x="12" y="88"/>
                  </a:lnTo>
                  <a:lnTo>
                    <a:pt x="10" y="88"/>
                  </a:lnTo>
                  <a:lnTo>
                    <a:pt x="8" y="88"/>
                  </a:lnTo>
                  <a:lnTo>
                    <a:pt x="8" y="86"/>
                  </a:lnTo>
                  <a:lnTo>
                    <a:pt x="6" y="82"/>
                  </a:lnTo>
                  <a:lnTo>
                    <a:pt x="2" y="76"/>
                  </a:lnTo>
                  <a:lnTo>
                    <a:pt x="2" y="72"/>
                  </a:lnTo>
                  <a:lnTo>
                    <a:pt x="4" y="66"/>
                  </a:lnTo>
                  <a:lnTo>
                    <a:pt x="2" y="60"/>
                  </a:lnTo>
                  <a:lnTo>
                    <a:pt x="0" y="60"/>
                  </a:lnTo>
                  <a:lnTo>
                    <a:pt x="0" y="5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6" name="Freeform 23"/>
            <p:cNvSpPr>
              <a:spLocks/>
            </p:cNvSpPr>
            <p:nvPr/>
          </p:nvSpPr>
          <p:spPr bwMode="auto">
            <a:xfrm>
              <a:off x="4745038" y="2762250"/>
              <a:ext cx="390525" cy="222250"/>
            </a:xfrm>
            <a:custGeom>
              <a:avLst/>
              <a:gdLst>
                <a:gd name="T0" fmla="*/ 2147483647 w 958"/>
                <a:gd name="T1" fmla="*/ 2147483647 h 538"/>
                <a:gd name="T2" fmla="*/ 2147483647 w 958"/>
                <a:gd name="T3" fmla="*/ 2147483647 h 538"/>
                <a:gd name="T4" fmla="*/ 2147483647 w 958"/>
                <a:gd name="T5" fmla="*/ 2147483647 h 538"/>
                <a:gd name="T6" fmla="*/ 2147483647 w 958"/>
                <a:gd name="T7" fmla="*/ 2147483647 h 538"/>
                <a:gd name="T8" fmla="*/ 2147483647 w 958"/>
                <a:gd name="T9" fmla="*/ 2147483647 h 538"/>
                <a:gd name="T10" fmla="*/ 2147483647 w 958"/>
                <a:gd name="T11" fmla="*/ 2147483647 h 538"/>
                <a:gd name="T12" fmla="*/ 2147483647 w 958"/>
                <a:gd name="T13" fmla="*/ 2147483647 h 538"/>
                <a:gd name="T14" fmla="*/ 2147483647 w 958"/>
                <a:gd name="T15" fmla="*/ 2147483647 h 538"/>
                <a:gd name="T16" fmla="*/ 2147483647 w 958"/>
                <a:gd name="T17" fmla="*/ 2147483647 h 538"/>
                <a:gd name="T18" fmla="*/ 2147483647 w 958"/>
                <a:gd name="T19" fmla="*/ 2147483647 h 538"/>
                <a:gd name="T20" fmla="*/ 2147483647 w 958"/>
                <a:gd name="T21" fmla="*/ 2147483647 h 538"/>
                <a:gd name="T22" fmla="*/ 2147483647 w 958"/>
                <a:gd name="T23" fmla="*/ 2147483647 h 538"/>
                <a:gd name="T24" fmla="*/ 2147483647 w 958"/>
                <a:gd name="T25" fmla="*/ 2147483647 h 538"/>
                <a:gd name="T26" fmla="*/ 2147483647 w 958"/>
                <a:gd name="T27" fmla="*/ 2147483647 h 538"/>
                <a:gd name="T28" fmla="*/ 2147483647 w 958"/>
                <a:gd name="T29" fmla="*/ 2147483647 h 538"/>
                <a:gd name="T30" fmla="*/ 2147483647 w 958"/>
                <a:gd name="T31" fmla="*/ 2147483647 h 538"/>
                <a:gd name="T32" fmla="*/ 2147483647 w 958"/>
                <a:gd name="T33" fmla="*/ 2147483647 h 538"/>
                <a:gd name="T34" fmla="*/ 2147483647 w 958"/>
                <a:gd name="T35" fmla="*/ 2147483647 h 538"/>
                <a:gd name="T36" fmla="*/ 2147483647 w 958"/>
                <a:gd name="T37" fmla="*/ 2147483647 h 538"/>
                <a:gd name="T38" fmla="*/ 2147483647 w 958"/>
                <a:gd name="T39" fmla="*/ 2147483647 h 538"/>
                <a:gd name="T40" fmla="*/ 2147483647 w 958"/>
                <a:gd name="T41" fmla="*/ 2147483647 h 538"/>
                <a:gd name="T42" fmla="*/ 2147483647 w 958"/>
                <a:gd name="T43" fmla="*/ 2147483647 h 538"/>
                <a:gd name="T44" fmla="*/ 2147483647 w 958"/>
                <a:gd name="T45" fmla="*/ 2147483647 h 538"/>
                <a:gd name="T46" fmla="*/ 2147483647 w 958"/>
                <a:gd name="T47" fmla="*/ 2147483647 h 538"/>
                <a:gd name="T48" fmla="*/ 2147483647 w 958"/>
                <a:gd name="T49" fmla="*/ 2147483647 h 538"/>
                <a:gd name="T50" fmla="*/ 2147483647 w 958"/>
                <a:gd name="T51" fmla="*/ 2147483647 h 538"/>
                <a:gd name="T52" fmla="*/ 2147483647 w 958"/>
                <a:gd name="T53" fmla="*/ 2147483647 h 538"/>
                <a:gd name="T54" fmla="*/ 2147483647 w 958"/>
                <a:gd name="T55" fmla="*/ 2147483647 h 538"/>
                <a:gd name="T56" fmla="*/ 2147483647 w 958"/>
                <a:gd name="T57" fmla="*/ 2147483647 h 538"/>
                <a:gd name="T58" fmla="*/ 2147483647 w 958"/>
                <a:gd name="T59" fmla="*/ 2147483647 h 538"/>
                <a:gd name="T60" fmla="*/ 2147483647 w 958"/>
                <a:gd name="T61" fmla="*/ 2147483647 h 538"/>
                <a:gd name="T62" fmla="*/ 2147483647 w 958"/>
                <a:gd name="T63" fmla="*/ 2147483647 h 538"/>
                <a:gd name="T64" fmla="*/ 2147483647 w 958"/>
                <a:gd name="T65" fmla="*/ 2147483647 h 538"/>
                <a:gd name="T66" fmla="*/ 2147483647 w 958"/>
                <a:gd name="T67" fmla="*/ 2147483647 h 538"/>
                <a:gd name="T68" fmla="*/ 2147483647 w 958"/>
                <a:gd name="T69" fmla="*/ 2147483647 h 538"/>
                <a:gd name="T70" fmla="*/ 2147483647 w 958"/>
                <a:gd name="T71" fmla="*/ 2147483647 h 538"/>
                <a:gd name="T72" fmla="*/ 2147483647 w 958"/>
                <a:gd name="T73" fmla="*/ 2147483647 h 538"/>
                <a:gd name="T74" fmla="*/ 2147483647 w 958"/>
                <a:gd name="T75" fmla="*/ 2147483647 h 538"/>
                <a:gd name="T76" fmla="*/ 2147483647 w 958"/>
                <a:gd name="T77" fmla="*/ 2147483647 h 538"/>
                <a:gd name="T78" fmla="*/ 2147483647 w 958"/>
                <a:gd name="T79" fmla="*/ 2147483647 h 538"/>
                <a:gd name="T80" fmla="*/ 2147483647 w 958"/>
                <a:gd name="T81" fmla="*/ 2147483647 h 538"/>
                <a:gd name="T82" fmla="*/ 2147483647 w 958"/>
                <a:gd name="T83" fmla="*/ 2147483647 h 538"/>
                <a:gd name="T84" fmla="*/ 2147483647 w 958"/>
                <a:gd name="T85" fmla="*/ 2147483647 h 538"/>
                <a:gd name="T86" fmla="*/ 2147483647 w 958"/>
                <a:gd name="T87" fmla="*/ 2147483647 h 538"/>
                <a:gd name="T88" fmla="*/ 2147483647 w 958"/>
                <a:gd name="T89" fmla="*/ 2147483647 h 538"/>
                <a:gd name="T90" fmla="*/ 2147483647 w 958"/>
                <a:gd name="T91" fmla="*/ 2147483647 h 538"/>
                <a:gd name="T92" fmla="*/ 2147483647 w 958"/>
                <a:gd name="T93" fmla="*/ 2147483647 h 538"/>
                <a:gd name="T94" fmla="*/ 2147483647 w 958"/>
                <a:gd name="T95" fmla="*/ 2147483647 h 538"/>
                <a:gd name="T96" fmla="*/ 2147483647 w 958"/>
                <a:gd name="T97" fmla="*/ 2147483647 h 538"/>
                <a:gd name="T98" fmla="*/ 2147483647 w 958"/>
                <a:gd name="T99" fmla="*/ 2147483647 h 538"/>
                <a:gd name="T100" fmla="*/ 2147483647 w 958"/>
                <a:gd name="T101" fmla="*/ 2147483647 h 538"/>
                <a:gd name="T102" fmla="*/ 2147483647 w 958"/>
                <a:gd name="T103" fmla="*/ 2147483647 h 538"/>
                <a:gd name="T104" fmla="*/ 2147483647 w 958"/>
                <a:gd name="T105" fmla="*/ 2147483647 h 538"/>
                <a:gd name="T106" fmla="*/ 2147483647 w 958"/>
                <a:gd name="T107" fmla="*/ 2147483647 h 538"/>
                <a:gd name="T108" fmla="*/ 2147483647 w 958"/>
                <a:gd name="T109" fmla="*/ 2147483647 h 538"/>
                <a:gd name="T110" fmla="*/ 2147483647 w 958"/>
                <a:gd name="T111" fmla="*/ 2147483647 h 538"/>
                <a:gd name="T112" fmla="*/ 2147483647 w 958"/>
                <a:gd name="T113" fmla="*/ 2147483647 h 538"/>
                <a:gd name="T114" fmla="*/ 2147483647 w 958"/>
                <a:gd name="T115" fmla="*/ 2147483647 h 538"/>
                <a:gd name="T116" fmla="*/ 2147483647 w 958"/>
                <a:gd name="T117" fmla="*/ 2147483647 h 538"/>
                <a:gd name="T118" fmla="*/ 2147483647 w 958"/>
                <a:gd name="T119" fmla="*/ 2147483647 h 538"/>
                <a:gd name="T120" fmla="*/ 2147483647 w 958"/>
                <a:gd name="T121" fmla="*/ 2147483647 h 53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58"/>
                <a:gd name="T184" fmla="*/ 0 h 538"/>
                <a:gd name="T185" fmla="*/ 958 w 958"/>
                <a:gd name="T186" fmla="*/ 538 h 53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58" h="538">
                  <a:moveTo>
                    <a:pt x="0" y="266"/>
                  </a:moveTo>
                  <a:lnTo>
                    <a:pt x="0" y="264"/>
                  </a:lnTo>
                  <a:lnTo>
                    <a:pt x="0" y="258"/>
                  </a:lnTo>
                  <a:lnTo>
                    <a:pt x="0" y="254"/>
                  </a:lnTo>
                  <a:lnTo>
                    <a:pt x="4" y="250"/>
                  </a:lnTo>
                  <a:lnTo>
                    <a:pt x="4" y="248"/>
                  </a:lnTo>
                  <a:lnTo>
                    <a:pt x="10" y="242"/>
                  </a:lnTo>
                  <a:lnTo>
                    <a:pt x="10" y="238"/>
                  </a:lnTo>
                  <a:lnTo>
                    <a:pt x="12" y="230"/>
                  </a:lnTo>
                  <a:lnTo>
                    <a:pt x="18" y="224"/>
                  </a:lnTo>
                  <a:lnTo>
                    <a:pt x="18" y="220"/>
                  </a:lnTo>
                  <a:lnTo>
                    <a:pt x="24" y="222"/>
                  </a:lnTo>
                  <a:lnTo>
                    <a:pt x="30" y="222"/>
                  </a:lnTo>
                  <a:lnTo>
                    <a:pt x="36" y="224"/>
                  </a:lnTo>
                  <a:lnTo>
                    <a:pt x="36" y="220"/>
                  </a:lnTo>
                  <a:lnTo>
                    <a:pt x="30" y="216"/>
                  </a:lnTo>
                  <a:lnTo>
                    <a:pt x="26" y="210"/>
                  </a:lnTo>
                  <a:lnTo>
                    <a:pt x="28" y="204"/>
                  </a:lnTo>
                  <a:lnTo>
                    <a:pt x="26" y="200"/>
                  </a:lnTo>
                  <a:lnTo>
                    <a:pt x="24" y="194"/>
                  </a:lnTo>
                  <a:lnTo>
                    <a:pt x="22" y="188"/>
                  </a:lnTo>
                  <a:lnTo>
                    <a:pt x="24" y="186"/>
                  </a:lnTo>
                  <a:lnTo>
                    <a:pt x="28" y="180"/>
                  </a:lnTo>
                  <a:lnTo>
                    <a:pt x="30" y="178"/>
                  </a:lnTo>
                  <a:lnTo>
                    <a:pt x="34" y="174"/>
                  </a:lnTo>
                  <a:lnTo>
                    <a:pt x="36" y="172"/>
                  </a:lnTo>
                  <a:lnTo>
                    <a:pt x="40" y="166"/>
                  </a:lnTo>
                  <a:lnTo>
                    <a:pt x="44" y="162"/>
                  </a:lnTo>
                  <a:lnTo>
                    <a:pt x="48" y="158"/>
                  </a:lnTo>
                  <a:lnTo>
                    <a:pt x="52" y="152"/>
                  </a:lnTo>
                  <a:lnTo>
                    <a:pt x="54" y="152"/>
                  </a:lnTo>
                  <a:lnTo>
                    <a:pt x="60" y="146"/>
                  </a:lnTo>
                  <a:lnTo>
                    <a:pt x="64" y="142"/>
                  </a:lnTo>
                  <a:lnTo>
                    <a:pt x="66" y="142"/>
                  </a:lnTo>
                  <a:lnTo>
                    <a:pt x="68" y="140"/>
                  </a:lnTo>
                  <a:lnTo>
                    <a:pt x="74" y="134"/>
                  </a:lnTo>
                  <a:lnTo>
                    <a:pt x="80" y="132"/>
                  </a:lnTo>
                  <a:lnTo>
                    <a:pt x="86" y="132"/>
                  </a:lnTo>
                  <a:lnTo>
                    <a:pt x="90" y="126"/>
                  </a:lnTo>
                  <a:lnTo>
                    <a:pt x="90" y="124"/>
                  </a:lnTo>
                  <a:lnTo>
                    <a:pt x="92" y="124"/>
                  </a:lnTo>
                  <a:lnTo>
                    <a:pt x="94" y="120"/>
                  </a:lnTo>
                  <a:lnTo>
                    <a:pt x="94" y="116"/>
                  </a:lnTo>
                  <a:lnTo>
                    <a:pt x="90" y="110"/>
                  </a:lnTo>
                  <a:lnTo>
                    <a:pt x="84" y="106"/>
                  </a:lnTo>
                  <a:lnTo>
                    <a:pt x="90" y="102"/>
                  </a:lnTo>
                  <a:lnTo>
                    <a:pt x="94" y="102"/>
                  </a:lnTo>
                  <a:lnTo>
                    <a:pt x="88" y="98"/>
                  </a:lnTo>
                  <a:lnTo>
                    <a:pt x="84" y="92"/>
                  </a:lnTo>
                  <a:lnTo>
                    <a:pt x="82" y="92"/>
                  </a:lnTo>
                  <a:lnTo>
                    <a:pt x="78" y="86"/>
                  </a:lnTo>
                  <a:lnTo>
                    <a:pt x="74" y="80"/>
                  </a:lnTo>
                  <a:lnTo>
                    <a:pt x="68" y="74"/>
                  </a:lnTo>
                  <a:lnTo>
                    <a:pt x="66" y="68"/>
                  </a:lnTo>
                  <a:lnTo>
                    <a:pt x="64" y="62"/>
                  </a:lnTo>
                  <a:lnTo>
                    <a:pt x="62" y="56"/>
                  </a:lnTo>
                  <a:lnTo>
                    <a:pt x="64" y="54"/>
                  </a:lnTo>
                  <a:lnTo>
                    <a:pt x="62" y="50"/>
                  </a:lnTo>
                  <a:lnTo>
                    <a:pt x="64" y="50"/>
                  </a:lnTo>
                  <a:lnTo>
                    <a:pt x="68" y="48"/>
                  </a:lnTo>
                  <a:lnTo>
                    <a:pt x="76" y="50"/>
                  </a:lnTo>
                  <a:lnTo>
                    <a:pt x="80" y="52"/>
                  </a:lnTo>
                  <a:lnTo>
                    <a:pt x="86" y="50"/>
                  </a:lnTo>
                  <a:lnTo>
                    <a:pt x="92" y="46"/>
                  </a:lnTo>
                  <a:lnTo>
                    <a:pt x="96" y="42"/>
                  </a:lnTo>
                  <a:lnTo>
                    <a:pt x="98" y="36"/>
                  </a:lnTo>
                  <a:lnTo>
                    <a:pt x="104" y="32"/>
                  </a:lnTo>
                  <a:lnTo>
                    <a:pt x="110" y="32"/>
                  </a:lnTo>
                  <a:lnTo>
                    <a:pt x="116" y="32"/>
                  </a:lnTo>
                  <a:lnTo>
                    <a:pt x="122" y="32"/>
                  </a:lnTo>
                  <a:lnTo>
                    <a:pt x="128" y="32"/>
                  </a:lnTo>
                  <a:lnTo>
                    <a:pt x="132" y="30"/>
                  </a:lnTo>
                  <a:lnTo>
                    <a:pt x="138" y="28"/>
                  </a:lnTo>
                  <a:lnTo>
                    <a:pt x="144" y="28"/>
                  </a:lnTo>
                  <a:lnTo>
                    <a:pt x="150" y="30"/>
                  </a:lnTo>
                  <a:lnTo>
                    <a:pt x="156" y="30"/>
                  </a:lnTo>
                  <a:lnTo>
                    <a:pt x="160" y="30"/>
                  </a:lnTo>
                  <a:lnTo>
                    <a:pt x="162" y="30"/>
                  </a:lnTo>
                  <a:lnTo>
                    <a:pt x="168" y="30"/>
                  </a:lnTo>
                  <a:lnTo>
                    <a:pt x="174" y="30"/>
                  </a:lnTo>
                  <a:lnTo>
                    <a:pt x="180" y="30"/>
                  </a:lnTo>
                  <a:lnTo>
                    <a:pt x="182" y="30"/>
                  </a:lnTo>
                  <a:lnTo>
                    <a:pt x="188" y="30"/>
                  </a:lnTo>
                  <a:lnTo>
                    <a:pt x="194" y="34"/>
                  </a:lnTo>
                  <a:lnTo>
                    <a:pt x="200" y="34"/>
                  </a:lnTo>
                  <a:lnTo>
                    <a:pt x="206" y="34"/>
                  </a:lnTo>
                  <a:lnTo>
                    <a:pt x="212" y="38"/>
                  </a:lnTo>
                  <a:lnTo>
                    <a:pt x="218" y="38"/>
                  </a:lnTo>
                  <a:lnTo>
                    <a:pt x="222" y="38"/>
                  </a:lnTo>
                  <a:lnTo>
                    <a:pt x="226" y="40"/>
                  </a:lnTo>
                  <a:lnTo>
                    <a:pt x="234" y="42"/>
                  </a:lnTo>
                  <a:lnTo>
                    <a:pt x="238" y="40"/>
                  </a:lnTo>
                  <a:lnTo>
                    <a:pt x="244" y="40"/>
                  </a:lnTo>
                  <a:lnTo>
                    <a:pt x="250" y="46"/>
                  </a:lnTo>
                  <a:lnTo>
                    <a:pt x="256" y="52"/>
                  </a:lnTo>
                  <a:lnTo>
                    <a:pt x="262" y="52"/>
                  </a:lnTo>
                  <a:lnTo>
                    <a:pt x="266" y="50"/>
                  </a:lnTo>
                  <a:lnTo>
                    <a:pt x="272" y="52"/>
                  </a:lnTo>
                  <a:lnTo>
                    <a:pt x="278" y="56"/>
                  </a:lnTo>
                  <a:lnTo>
                    <a:pt x="282" y="56"/>
                  </a:lnTo>
                  <a:lnTo>
                    <a:pt x="284" y="52"/>
                  </a:lnTo>
                  <a:lnTo>
                    <a:pt x="290" y="52"/>
                  </a:lnTo>
                  <a:lnTo>
                    <a:pt x="296" y="54"/>
                  </a:lnTo>
                  <a:lnTo>
                    <a:pt x="302" y="50"/>
                  </a:lnTo>
                  <a:lnTo>
                    <a:pt x="306" y="52"/>
                  </a:lnTo>
                  <a:lnTo>
                    <a:pt x="314" y="56"/>
                  </a:lnTo>
                  <a:lnTo>
                    <a:pt x="318" y="52"/>
                  </a:lnTo>
                  <a:lnTo>
                    <a:pt x="324" y="54"/>
                  </a:lnTo>
                  <a:lnTo>
                    <a:pt x="328" y="60"/>
                  </a:lnTo>
                  <a:lnTo>
                    <a:pt x="334" y="64"/>
                  </a:lnTo>
                  <a:lnTo>
                    <a:pt x="334" y="58"/>
                  </a:lnTo>
                  <a:lnTo>
                    <a:pt x="340" y="54"/>
                  </a:lnTo>
                  <a:lnTo>
                    <a:pt x="346" y="52"/>
                  </a:lnTo>
                  <a:lnTo>
                    <a:pt x="348" y="50"/>
                  </a:lnTo>
                  <a:lnTo>
                    <a:pt x="350" y="50"/>
                  </a:lnTo>
                  <a:lnTo>
                    <a:pt x="354" y="52"/>
                  </a:lnTo>
                  <a:lnTo>
                    <a:pt x="358" y="56"/>
                  </a:lnTo>
                  <a:lnTo>
                    <a:pt x="358" y="62"/>
                  </a:lnTo>
                  <a:lnTo>
                    <a:pt x="366" y="66"/>
                  </a:lnTo>
                  <a:lnTo>
                    <a:pt x="372" y="64"/>
                  </a:lnTo>
                  <a:lnTo>
                    <a:pt x="378" y="60"/>
                  </a:lnTo>
                  <a:lnTo>
                    <a:pt x="384" y="60"/>
                  </a:lnTo>
                  <a:lnTo>
                    <a:pt x="390" y="62"/>
                  </a:lnTo>
                  <a:lnTo>
                    <a:pt x="396" y="60"/>
                  </a:lnTo>
                  <a:lnTo>
                    <a:pt x="398" y="60"/>
                  </a:lnTo>
                  <a:lnTo>
                    <a:pt x="404" y="60"/>
                  </a:lnTo>
                  <a:lnTo>
                    <a:pt x="410" y="60"/>
                  </a:lnTo>
                  <a:lnTo>
                    <a:pt x="412" y="60"/>
                  </a:lnTo>
                  <a:lnTo>
                    <a:pt x="412" y="62"/>
                  </a:lnTo>
                  <a:lnTo>
                    <a:pt x="418" y="68"/>
                  </a:lnTo>
                  <a:lnTo>
                    <a:pt x="420" y="72"/>
                  </a:lnTo>
                  <a:lnTo>
                    <a:pt x="426" y="74"/>
                  </a:lnTo>
                  <a:lnTo>
                    <a:pt x="428" y="74"/>
                  </a:lnTo>
                  <a:lnTo>
                    <a:pt x="430" y="74"/>
                  </a:lnTo>
                  <a:lnTo>
                    <a:pt x="434" y="70"/>
                  </a:lnTo>
                  <a:lnTo>
                    <a:pt x="432" y="66"/>
                  </a:lnTo>
                  <a:lnTo>
                    <a:pt x="430" y="60"/>
                  </a:lnTo>
                  <a:lnTo>
                    <a:pt x="428" y="58"/>
                  </a:lnTo>
                  <a:lnTo>
                    <a:pt x="424" y="52"/>
                  </a:lnTo>
                  <a:lnTo>
                    <a:pt x="426" y="46"/>
                  </a:lnTo>
                  <a:lnTo>
                    <a:pt x="428" y="40"/>
                  </a:lnTo>
                  <a:lnTo>
                    <a:pt x="432" y="34"/>
                  </a:lnTo>
                  <a:lnTo>
                    <a:pt x="436" y="30"/>
                  </a:lnTo>
                  <a:lnTo>
                    <a:pt x="436" y="28"/>
                  </a:lnTo>
                  <a:lnTo>
                    <a:pt x="442" y="24"/>
                  </a:lnTo>
                  <a:lnTo>
                    <a:pt x="442" y="20"/>
                  </a:lnTo>
                  <a:lnTo>
                    <a:pt x="444" y="20"/>
                  </a:lnTo>
                  <a:lnTo>
                    <a:pt x="450" y="20"/>
                  </a:lnTo>
                  <a:lnTo>
                    <a:pt x="454" y="20"/>
                  </a:lnTo>
                  <a:lnTo>
                    <a:pt x="458" y="22"/>
                  </a:lnTo>
                  <a:lnTo>
                    <a:pt x="464" y="18"/>
                  </a:lnTo>
                  <a:lnTo>
                    <a:pt x="468" y="18"/>
                  </a:lnTo>
                  <a:lnTo>
                    <a:pt x="476" y="18"/>
                  </a:lnTo>
                  <a:lnTo>
                    <a:pt x="480" y="18"/>
                  </a:lnTo>
                  <a:lnTo>
                    <a:pt x="486" y="18"/>
                  </a:lnTo>
                  <a:lnTo>
                    <a:pt x="492" y="18"/>
                  </a:lnTo>
                  <a:lnTo>
                    <a:pt x="498" y="22"/>
                  </a:lnTo>
                  <a:lnTo>
                    <a:pt x="504" y="22"/>
                  </a:lnTo>
                  <a:lnTo>
                    <a:pt x="510" y="20"/>
                  </a:lnTo>
                  <a:lnTo>
                    <a:pt x="514" y="14"/>
                  </a:lnTo>
                  <a:lnTo>
                    <a:pt x="514" y="10"/>
                  </a:lnTo>
                  <a:lnTo>
                    <a:pt x="516" y="8"/>
                  </a:lnTo>
                  <a:lnTo>
                    <a:pt x="516" y="4"/>
                  </a:lnTo>
                  <a:lnTo>
                    <a:pt x="522" y="4"/>
                  </a:lnTo>
                  <a:lnTo>
                    <a:pt x="526" y="4"/>
                  </a:lnTo>
                  <a:lnTo>
                    <a:pt x="532" y="8"/>
                  </a:lnTo>
                  <a:lnTo>
                    <a:pt x="538" y="8"/>
                  </a:lnTo>
                  <a:lnTo>
                    <a:pt x="544" y="8"/>
                  </a:lnTo>
                  <a:lnTo>
                    <a:pt x="550" y="4"/>
                  </a:lnTo>
                  <a:lnTo>
                    <a:pt x="556" y="2"/>
                  </a:lnTo>
                  <a:lnTo>
                    <a:pt x="560" y="0"/>
                  </a:lnTo>
                  <a:lnTo>
                    <a:pt x="566" y="0"/>
                  </a:lnTo>
                  <a:lnTo>
                    <a:pt x="570" y="2"/>
                  </a:lnTo>
                  <a:lnTo>
                    <a:pt x="572" y="2"/>
                  </a:lnTo>
                  <a:lnTo>
                    <a:pt x="574" y="0"/>
                  </a:lnTo>
                  <a:lnTo>
                    <a:pt x="574" y="2"/>
                  </a:lnTo>
                  <a:lnTo>
                    <a:pt x="578" y="6"/>
                  </a:lnTo>
                  <a:lnTo>
                    <a:pt x="582" y="2"/>
                  </a:lnTo>
                  <a:lnTo>
                    <a:pt x="588" y="0"/>
                  </a:lnTo>
                  <a:lnTo>
                    <a:pt x="594" y="4"/>
                  </a:lnTo>
                  <a:lnTo>
                    <a:pt x="600" y="10"/>
                  </a:lnTo>
                  <a:lnTo>
                    <a:pt x="602" y="10"/>
                  </a:lnTo>
                  <a:lnTo>
                    <a:pt x="606" y="18"/>
                  </a:lnTo>
                  <a:lnTo>
                    <a:pt x="606" y="22"/>
                  </a:lnTo>
                  <a:lnTo>
                    <a:pt x="614" y="28"/>
                  </a:lnTo>
                  <a:lnTo>
                    <a:pt x="620" y="32"/>
                  </a:lnTo>
                  <a:lnTo>
                    <a:pt x="622" y="34"/>
                  </a:lnTo>
                  <a:lnTo>
                    <a:pt x="624" y="36"/>
                  </a:lnTo>
                  <a:lnTo>
                    <a:pt x="628" y="42"/>
                  </a:lnTo>
                  <a:lnTo>
                    <a:pt x="624" y="44"/>
                  </a:lnTo>
                  <a:lnTo>
                    <a:pt x="618" y="46"/>
                  </a:lnTo>
                  <a:lnTo>
                    <a:pt x="616" y="46"/>
                  </a:lnTo>
                  <a:lnTo>
                    <a:pt x="612" y="46"/>
                  </a:lnTo>
                  <a:lnTo>
                    <a:pt x="612" y="48"/>
                  </a:lnTo>
                  <a:lnTo>
                    <a:pt x="618" y="54"/>
                  </a:lnTo>
                  <a:lnTo>
                    <a:pt x="620" y="60"/>
                  </a:lnTo>
                  <a:lnTo>
                    <a:pt x="620" y="64"/>
                  </a:lnTo>
                  <a:lnTo>
                    <a:pt x="624" y="68"/>
                  </a:lnTo>
                  <a:lnTo>
                    <a:pt x="624" y="72"/>
                  </a:lnTo>
                  <a:lnTo>
                    <a:pt x="622" y="74"/>
                  </a:lnTo>
                  <a:lnTo>
                    <a:pt x="624" y="76"/>
                  </a:lnTo>
                  <a:lnTo>
                    <a:pt x="628" y="74"/>
                  </a:lnTo>
                  <a:lnTo>
                    <a:pt x="634" y="76"/>
                  </a:lnTo>
                  <a:lnTo>
                    <a:pt x="636" y="76"/>
                  </a:lnTo>
                  <a:lnTo>
                    <a:pt x="642" y="76"/>
                  </a:lnTo>
                  <a:lnTo>
                    <a:pt x="648" y="80"/>
                  </a:lnTo>
                  <a:lnTo>
                    <a:pt x="654" y="80"/>
                  </a:lnTo>
                  <a:lnTo>
                    <a:pt x="660" y="76"/>
                  </a:lnTo>
                  <a:lnTo>
                    <a:pt x="664" y="76"/>
                  </a:lnTo>
                  <a:lnTo>
                    <a:pt x="664" y="78"/>
                  </a:lnTo>
                  <a:lnTo>
                    <a:pt x="670" y="80"/>
                  </a:lnTo>
                  <a:lnTo>
                    <a:pt x="672" y="84"/>
                  </a:lnTo>
                  <a:lnTo>
                    <a:pt x="678" y="88"/>
                  </a:lnTo>
                  <a:lnTo>
                    <a:pt x="684" y="88"/>
                  </a:lnTo>
                  <a:lnTo>
                    <a:pt x="682" y="94"/>
                  </a:lnTo>
                  <a:lnTo>
                    <a:pt x="686" y="98"/>
                  </a:lnTo>
                  <a:lnTo>
                    <a:pt x="688" y="104"/>
                  </a:lnTo>
                  <a:lnTo>
                    <a:pt x="692" y="110"/>
                  </a:lnTo>
                  <a:lnTo>
                    <a:pt x="692" y="114"/>
                  </a:lnTo>
                  <a:lnTo>
                    <a:pt x="692" y="120"/>
                  </a:lnTo>
                  <a:lnTo>
                    <a:pt x="696" y="126"/>
                  </a:lnTo>
                  <a:lnTo>
                    <a:pt x="702" y="130"/>
                  </a:lnTo>
                  <a:lnTo>
                    <a:pt x="702" y="132"/>
                  </a:lnTo>
                  <a:lnTo>
                    <a:pt x="708" y="136"/>
                  </a:lnTo>
                  <a:lnTo>
                    <a:pt x="710" y="134"/>
                  </a:lnTo>
                  <a:lnTo>
                    <a:pt x="716" y="130"/>
                  </a:lnTo>
                  <a:lnTo>
                    <a:pt x="718" y="130"/>
                  </a:lnTo>
                  <a:lnTo>
                    <a:pt x="724" y="128"/>
                  </a:lnTo>
                  <a:lnTo>
                    <a:pt x="730" y="130"/>
                  </a:lnTo>
                  <a:lnTo>
                    <a:pt x="736" y="136"/>
                  </a:lnTo>
                  <a:lnTo>
                    <a:pt x="740" y="140"/>
                  </a:lnTo>
                  <a:lnTo>
                    <a:pt x="744" y="138"/>
                  </a:lnTo>
                  <a:lnTo>
                    <a:pt x="750" y="138"/>
                  </a:lnTo>
                  <a:lnTo>
                    <a:pt x="756" y="144"/>
                  </a:lnTo>
                  <a:lnTo>
                    <a:pt x="762" y="140"/>
                  </a:lnTo>
                  <a:lnTo>
                    <a:pt x="768" y="138"/>
                  </a:lnTo>
                  <a:lnTo>
                    <a:pt x="770" y="136"/>
                  </a:lnTo>
                  <a:lnTo>
                    <a:pt x="774" y="136"/>
                  </a:lnTo>
                  <a:lnTo>
                    <a:pt x="778" y="136"/>
                  </a:lnTo>
                  <a:lnTo>
                    <a:pt x="784" y="136"/>
                  </a:lnTo>
                  <a:lnTo>
                    <a:pt x="790" y="134"/>
                  </a:lnTo>
                  <a:lnTo>
                    <a:pt x="796" y="130"/>
                  </a:lnTo>
                  <a:lnTo>
                    <a:pt x="802" y="130"/>
                  </a:lnTo>
                  <a:lnTo>
                    <a:pt x="806" y="136"/>
                  </a:lnTo>
                  <a:lnTo>
                    <a:pt x="810" y="140"/>
                  </a:lnTo>
                  <a:lnTo>
                    <a:pt x="814" y="146"/>
                  </a:lnTo>
                  <a:lnTo>
                    <a:pt x="818" y="152"/>
                  </a:lnTo>
                  <a:lnTo>
                    <a:pt x="824" y="154"/>
                  </a:lnTo>
                  <a:lnTo>
                    <a:pt x="830" y="156"/>
                  </a:lnTo>
                  <a:lnTo>
                    <a:pt x="832" y="158"/>
                  </a:lnTo>
                  <a:lnTo>
                    <a:pt x="836" y="166"/>
                  </a:lnTo>
                  <a:lnTo>
                    <a:pt x="838" y="164"/>
                  </a:lnTo>
                  <a:lnTo>
                    <a:pt x="844" y="158"/>
                  </a:lnTo>
                  <a:lnTo>
                    <a:pt x="844" y="156"/>
                  </a:lnTo>
                  <a:lnTo>
                    <a:pt x="848" y="154"/>
                  </a:lnTo>
                  <a:lnTo>
                    <a:pt x="852" y="158"/>
                  </a:lnTo>
                  <a:lnTo>
                    <a:pt x="856" y="160"/>
                  </a:lnTo>
                  <a:lnTo>
                    <a:pt x="862" y="162"/>
                  </a:lnTo>
                  <a:lnTo>
                    <a:pt x="868" y="162"/>
                  </a:lnTo>
                  <a:lnTo>
                    <a:pt x="874" y="166"/>
                  </a:lnTo>
                  <a:lnTo>
                    <a:pt x="880" y="166"/>
                  </a:lnTo>
                  <a:lnTo>
                    <a:pt x="886" y="172"/>
                  </a:lnTo>
                  <a:lnTo>
                    <a:pt x="892" y="170"/>
                  </a:lnTo>
                  <a:lnTo>
                    <a:pt x="898" y="166"/>
                  </a:lnTo>
                  <a:lnTo>
                    <a:pt x="902" y="172"/>
                  </a:lnTo>
                  <a:lnTo>
                    <a:pt x="908" y="176"/>
                  </a:lnTo>
                  <a:lnTo>
                    <a:pt x="914" y="174"/>
                  </a:lnTo>
                  <a:lnTo>
                    <a:pt x="920" y="176"/>
                  </a:lnTo>
                  <a:lnTo>
                    <a:pt x="924" y="182"/>
                  </a:lnTo>
                  <a:lnTo>
                    <a:pt x="928" y="186"/>
                  </a:lnTo>
                  <a:lnTo>
                    <a:pt x="934" y="188"/>
                  </a:lnTo>
                  <a:lnTo>
                    <a:pt x="940" y="188"/>
                  </a:lnTo>
                  <a:lnTo>
                    <a:pt x="944" y="184"/>
                  </a:lnTo>
                  <a:lnTo>
                    <a:pt x="950" y="184"/>
                  </a:lnTo>
                  <a:lnTo>
                    <a:pt x="952" y="186"/>
                  </a:lnTo>
                  <a:lnTo>
                    <a:pt x="948" y="190"/>
                  </a:lnTo>
                  <a:lnTo>
                    <a:pt x="950" y="196"/>
                  </a:lnTo>
                  <a:lnTo>
                    <a:pt x="954" y="200"/>
                  </a:lnTo>
                  <a:lnTo>
                    <a:pt x="956" y="206"/>
                  </a:lnTo>
                  <a:lnTo>
                    <a:pt x="954" y="212"/>
                  </a:lnTo>
                  <a:lnTo>
                    <a:pt x="950" y="216"/>
                  </a:lnTo>
                  <a:lnTo>
                    <a:pt x="948" y="222"/>
                  </a:lnTo>
                  <a:lnTo>
                    <a:pt x="942" y="222"/>
                  </a:lnTo>
                  <a:lnTo>
                    <a:pt x="936" y="224"/>
                  </a:lnTo>
                  <a:lnTo>
                    <a:pt x="938" y="228"/>
                  </a:lnTo>
                  <a:lnTo>
                    <a:pt x="940" y="232"/>
                  </a:lnTo>
                  <a:lnTo>
                    <a:pt x="946" y="234"/>
                  </a:lnTo>
                  <a:lnTo>
                    <a:pt x="952" y="234"/>
                  </a:lnTo>
                  <a:lnTo>
                    <a:pt x="954" y="240"/>
                  </a:lnTo>
                  <a:lnTo>
                    <a:pt x="948" y="238"/>
                  </a:lnTo>
                  <a:lnTo>
                    <a:pt x="942" y="238"/>
                  </a:lnTo>
                  <a:lnTo>
                    <a:pt x="938" y="244"/>
                  </a:lnTo>
                  <a:lnTo>
                    <a:pt x="938" y="250"/>
                  </a:lnTo>
                  <a:lnTo>
                    <a:pt x="938" y="254"/>
                  </a:lnTo>
                  <a:lnTo>
                    <a:pt x="944" y="254"/>
                  </a:lnTo>
                  <a:lnTo>
                    <a:pt x="950" y="260"/>
                  </a:lnTo>
                  <a:lnTo>
                    <a:pt x="952" y="266"/>
                  </a:lnTo>
                  <a:lnTo>
                    <a:pt x="954" y="268"/>
                  </a:lnTo>
                  <a:lnTo>
                    <a:pt x="950" y="272"/>
                  </a:lnTo>
                  <a:lnTo>
                    <a:pt x="952" y="272"/>
                  </a:lnTo>
                  <a:lnTo>
                    <a:pt x="954" y="274"/>
                  </a:lnTo>
                  <a:lnTo>
                    <a:pt x="956" y="274"/>
                  </a:lnTo>
                  <a:lnTo>
                    <a:pt x="958" y="272"/>
                  </a:lnTo>
                  <a:lnTo>
                    <a:pt x="958" y="276"/>
                  </a:lnTo>
                  <a:lnTo>
                    <a:pt x="958" y="278"/>
                  </a:lnTo>
                  <a:lnTo>
                    <a:pt x="954" y="284"/>
                  </a:lnTo>
                  <a:lnTo>
                    <a:pt x="952" y="288"/>
                  </a:lnTo>
                  <a:lnTo>
                    <a:pt x="954" y="290"/>
                  </a:lnTo>
                  <a:lnTo>
                    <a:pt x="950" y="292"/>
                  </a:lnTo>
                  <a:lnTo>
                    <a:pt x="952" y="298"/>
                  </a:lnTo>
                  <a:lnTo>
                    <a:pt x="952" y="304"/>
                  </a:lnTo>
                  <a:lnTo>
                    <a:pt x="950" y="304"/>
                  </a:lnTo>
                  <a:lnTo>
                    <a:pt x="946" y="304"/>
                  </a:lnTo>
                  <a:lnTo>
                    <a:pt x="940" y="304"/>
                  </a:lnTo>
                  <a:lnTo>
                    <a:pt x="934" y="304"/>
                  </a:lnTo>
                  <a:lnTo>
                    <a:pt x="928" y="302"/>
                  </a:lnTo>
                  <a:lnTo>
                    <a:pt x="922" y="302"/>
                  </a:lnTo>
                  <a:lnTo>
                    <a:pt x="916" y="304"/>
                  </a:lnTo>
                  <a:lnTo>
                    <a:pt x="912" y="302"/>
                  </a:lnTo>
                  <a:lnTo>
                    <a:pt x="906" y="302"/>
                  </a:lnTo>
                  <a:lnTo>
                    <a:pt x="900" y="304"/>
                  </a:lnTo>
                  <a:lnTo>
                    <a:pt x="898" y="310"/>
                  </a:lnTo>
                  <a:lnTo>
                    <a:pt x="896" y="314"/>
                  </a:lnTo>
                  <a:lnTo>
                    <a:pt x="892" y="314"/>
                  </a:lnTo>
                  <a:lnTo>
                    <a:pt x="886" y="318"/>
                  </a:lnTo>
                  <a:lnTo>
                    <a:pt x="882" y="318"/>
                  </a:lnTo>
                  <a:lnTo>
                    <a:pt x="876" y="322"/>
                  </a:lnTo>
                  <a:lnTo>
                    <a:pt x="874" y="328"/>
                  </a:lnTo>
                  <a:lnTo>
                    <a:pt x="876" y="334"/>
                  </a:lnTo>
                  <a:lnTo>
                    <a:pt x="872" y="340"/>
                  </a:lnTo>
                  <a:lnTo>
                    <a:pt x="878" y="340"/>
                  </a:lnTo>
                  <a:lnTo>
                    <a:pt x="874" y="346"/>
                  </a:lnTo>
                  <a:lnTo>
                    <a:pt x="874" y="352"/>
                  </a:lnTo>
                  <a:lnTo>
                    <a:pt x="876" y="352"/>
                  </a:lnTo>
                  <a:lnTo>
                    <a:pt x="872" y="356"/>
                  </a:lnTo>
                  <a:lnTo>
                    <a:pt x="866" y="354"/>
                  </a:lnTo>
                  <a:lnTo>
                    <a:pt x="860" y="354"/>
                  </a:lnTo>
                  <a:lnTo>
                    <a:pt x="854" y="354"/>
                  </a:lnTo>
                  <a:lnTo>
                    <a:pt x="848" y="356"/>
                  </a:lnTo>
                  <a:lnTo>
                    <a:pt x="844" y="356"/>
                  </a:lnTo>
                  <a:lnTo>
                    <a:pt x="836" y="356"/>
                  </a:lnTo>
                  <a:lnTo>
                    <a:pt x="834" y="360"/>
                  </a:lnTo>
                  <a:lnTo>
                    <a:pt x="830" y="366"/>
                  </a:lnTo>
                  <a:lnTo>
                    <a:pt x="824" y="366"/>
                  </a:lnTo>
                  <a:lnTo>
                    <a:pt x="818" y="366"/>
                  </a:lnTo>
                  <a:lnTo>
                    <a:pt x="812" y="368"/>
                  </a:lnTo>
                  <a:lnTo>
                    <a:pt x="810" y="370"/>
                  </a:lnTo>
                  <a:lnTo>
                    <a:pt x="804" y="376"/>
                  </a:lnTo>
                  <a:lnTo>
                    <a:pt x="802" y="382"/>
                  </a:lnTo>
                  <a:lnTo>
                    <a:pt x="796" y="376"/>
                  </a:lnTo>
                  <a:lnTo>
                    <a:pt x="790" y="376"/>
                  </a:lnTo>
                  <a:lnTo>
                    <a:pt x="784" y="378"/>
                  </a:lnTo>
                  <a:lnTo>
                    <a:pt x="778" y="380"/>
                  </a:lnTo>
                  <a:lnTo>
                    <a:pt x="772" y="386"/>
                  </a:lnTo>
                  <a:lnTo>
                    <a:pt x="768" y="384"/>
                  </a:lnTo>
                  <a:lnTo>
                    <a:pt x="762" y="382"/>
                  </a:lnTo>
                  <a:lnTo>
                    <a:pt x="756" y="384"/>
                  </a:lnTo>
                  <a:lnTo>
                    <a:pt x="750" y="386"/>
                  </a:lnTo>
                  <a:lnTo>
                    <a:pt x="744" y="390"/>
                  </a:lnTo>
                  <a:lnTo>
                    <a:pt x="738" y="396"/>
                  </a:lnTo>
                  <a:lnTo>
                    <a:pt x="732" y="398"/>
                  </a:lnTo>
                  <a:lnTo>
                    <a:pt x="726" y="404"/>
                  </a:lnTo>
                  <a:lnTo>
                    <a:pt x="722" y="412"/>
                  </a:lnTo>
                  <a:lnTo>
                    <a:pt x="720" y="416"/>
                  </a:lnTo>
                  <a:lnTo>
                    <a:pt x="714" y="420"/>
                  </a:lnTo>
                  <a:lnTo>
                    <a:pt x="708" y="424"/>
                  </a:lnTo>
                  <a:lnTo>
                    <a:pt x="708" y="422"/>
                  </a:lnTo>
                  <a:lnTo>
                    <a:pt x="712" y="418"/>
                  </a:lnTo>
                  <a:lnTo>
                    <a:pt x="718" y="416"/>
                  </a:lnTo>
                  <a:lnTo>
                    <a:pt x="722" y="410"/>
                  </a:lnTo>
                  <a:lnTo>
                    <a:pt x="722" y="404"/>
                  </a:lnTo>
                  <a:lnTo>
                    <a:pt x="722" y="398"/>
                  </a:lnTo>
                  <a:lnTo>
                    <a:pt x="716" y="396"/>
                  </a:lnTo>
                  <a:lnTo>
                    <a:pt x="718" y="402"/>
                  </a:lnTo>
                  <a:lnTo>
                    <a:pt x="714" y="408"/>
                  </a:lnTo>
                  <a:lnTo>
                    <a:pt x="708" y="412"/>
                  </a:lnTo>
                  <a:lnTo>
                    <a:pt x="704" y="412"/>
                  </a:lnTo>
                  <a:lnTo>
                    <a:pt x="700" y="414"/>
                  </a:lnTo>
                  <a:lnTo>
                    <a:pt x="700" y="420"/>
                  </a:lnTo>
                  <a:lnTo>
                    <a:pt x="700" y="426"/>
                  </a:lnTo>
                  <a:lnTo>
                    <a:pt x="702" y="428"/>
                  </a:lnTo>
                  <a:lnTo>
                    <a:pt x="704" y="434"/>
                  </a:lnTo>
                  <a:lnTo>
                    <a:pt x="708" y="440"/>
                  </a:lnTo>
                  <a:lnTo>
                    <a:pt x="710" y="444"/>
                  </a:lnTo>
                  <a:lnTo>
                    <a:pt x="712" y="446"/>
                  </a:lnTo>
                  <a:lnTo>
                    <a:pt x="716" y="452"/>
                  </a:lnTo>
                  <a:lnTo>
                    <a:pt x="722" y="458"/>
                  </a:lnTo>
                  <a:lnTo>
                    <a:pt x="726" y="464"/>
                  </a:lnTo>
                  <a:lnTo>
                    <a:pt x="732" y="470"/>
                  </a:lnTo>
                  <a:lnTo>
                    <a:pt x="738" y="474"/>
                  </a:lnTo>
                  <a:lnTo>
                    <a:pt x="744" y="476"/>
                  </a:lnTo>
                  <a:lnTo>
                    <a:pt x="750" y="474"/>
                  </a:lnTo>
                  <a:lnTo>
                    <a:pt x="756" y="470"/>
                  </a:lnTo>
                  <a:lnTo>
                    <a:pt x="758" y="466"/>
                  </a:lnTo>
                  <a:lnTo>
                    <a:pt x="764" y="470"/>
                  </a:lnTo>
                  <a:lnTo>
                    <a:pt x="766" y="470"/>
                  </a:lnTo>
                  <a:lnTo>
                    <a:pt x="772" y="472"/>
                  </a:lnTo>
                  <a:lnTo>
                    <a:pt x="776" y="466"/>
                  </a:lnTo>
                  <a:lnTo>
                    <a:pt x="780" y="464"/>
                  </a:lnTo>
                  <a:lnTo>
                    <a:pt x="788" y="466"/>
                  </a:lnTo>
                  <a:lnTo>
                    <a:pt x="794" y="466"/>
                  </a:lnTo>
                  <a:lnTo>
                    <a:pt x="798" y="468"/>
                  </a:lnTo>
                  <a:lnTo>
                    <a:pt x="804" y="472"/>
                  </a:lnTo>
                  <a:lnTo>
                    <a:pt x="802" y="474"/>
                  </a:lnTo>
                  <a:lnTo>
                    <a:pt x="798" y="474"/>
                  </a:lnTo>
                  <a:lnTo>
                    <a:pt x="794" y="480"/>
                  </a:lnTo>
                  <a:lnTo>
                    <a:pt x="794" y="488"/>
                  </a:lnTo>
                  <a:lnTo>
                    <a:pt x="794" y="492"/>
                  </a:lnTo>
                  <a:lnTo>
                    <a:pt x="788" y="494"/>
                  </a:lnTo>
                  <a:lnTo>
                    <a:pt x="782" y="496"/>
                  </a:lnTo>
                  <a:lnTo>
                    <a:pt x="778" y="494"/>
                  </a:lnTo>
                  <a:lnTo>
                    <a:pt x="772" y="496"/>
                  </a:lnTo>
                  <a:lnTo>
                    <a:pt x="770" y="496"/>
                  </a:lnTo>
                  <a:lnTo>
                    <a:pt x="768" y="496"/>
                  </a:lnTo>
                  <a:lnTo>
                    <a:pt x="764" y="496"/>
                  </a:lnTo>
                  <a:lnTo>
                    <a:pt x="758" y="490"/>
                  </a:lnTo>
                  <a:lnTo>
                    <a:pt x="752" y="488"/>
                  </a:lnTo>
                  <a:lnTo>
                    <a:pt x="746" y="488"/>
                  </a:lnTo>
                  <a:lnTo>
                    <a:pt x="740" y="492"/>
                  </a:lnTo>
                  <a:lnTo>
                    <a:pt x="742" y="496"/>
                  </a:lnTo>
                  <a:lnTo>
                    <a:pt x="736" y="498"/>
                  </a:lnTo>
                  <a:lnTo>
                    <a:pt x="730" y="502"/>
                  </a:lnTo>
                  <a:lnTo>
                    <a:pt x="726" y="508"/>
                  </a:lnTo>
                  <a:lnTo>
                    <a:pt x="720" y="508"/>
                  </a:lnTo>
                  <a:lnTo>
                    <a:pt x="714" y="508"/>
                  </a:lnTo>
                  <a:lnTo>
                    <a:pt x="708" y="508"/>
                  </a:lnTo>
                  <a:lnTo>
                    <a:pt x="702" y="510"/>
                  </a:lnTo>
                  <a:lnTo>
                    <a:pt x="696" y="512"/>
                  </a:lnTo>
                  <a:lnTo>
                    <a:pt x="690" y="516"/>
                  </a:lnTo>
                  <a:lnTo>
                    <a:pt x="688" y="522"/>
                  </a:lnTo>
                  <a:lnTo>
                    <a:pt x="686" y="528"/>
                  </a:lnTo>
                  <a:lnTo>
                    <a:pt x="678" y="530"/>
                  </a:lnTo>
                  <a:lnTo>
                    <a:pt x="674" y="536"/>
                  </a:lnTo>
                  <a:lnTo>
                    <a:pt x="668" y="538"/>
                  </a:lnTo>
                  <a:lnTo>
                    <a:pt x="662" y="538"/>
                  </a:lnTo>
                  <a:lnTo>
                    <a:pt x="656" y="538"/>
                  </a:lnTo>
                  <a:lnTo>
                    <a:pt x="650" y="536"/>
                  </a:lnTo>
                  <a:lnTo>
                    <a:pt x="644" y="530"/>
                  </a:lnTo>
                  <a:lnTo>
                    <a:pt x="642" y="530"/>
                  </a:lnTo>
                  <a:lnTo>
                    <a:pt x="636" y="528"/>
                  </a:lnTo>
                  <a:lnTo>
                    <a:pt x="632" y="524"/>
                  </a:lnTo>
                  <a:lnTo>
                    <a:pt x="634" y="524"/>
                  </a:lnTo>
                  <a:lnTo>
                    <a:pt x="640" y="522"/>
                  </a:lnTo>
                  <a:lnTo>
                    <a:pt x="640" y="516"/>
                  </a:lnTo>
                  <a:lnTo>
                    <a:pt x="640" y="510"/>
                  </a:lnTo>
                  <a:lnTo>
                    <a:pt x="644" y="504"/>
                  </a:lnTo>
                  <a:lnTo>
                    <a:pt x="642" y="498"/>
                  </a:lnTo>
                  <a:lnTo>
                    <a:pt x="640" y="496"/>
                  </a:lnTo>
                  <a:lnTo>
                    <a:pt x="638" y="490"/>
                  </a:lnTo>
                  <a:lnTo>
                    <a:pt x="632" y="486"/>
                  </a:lnTo>
                  <a:lnTo>
                    <a:pt x="628" y="484"/>
                  </a:lnTo>
                  <a:lnTo>
                    <a:pt x="624" y="484"/>
                  </a:lnTo>
                  <a:lnTo>
                    <a:pt x="618" y="484"/>
                  </a:lnTo>
                  <a:lnTo>
                    <a:pt x="612" y="480"/>
                  </a:lnTo>
                  <a:lnTo>
                    <a:pt x="606" y="474"/>
                  </a:lnTo>
                  <a:lnTo>
                    <a:pt x="600" y="472"/>
                  </a:lnTo>
                  <a:lnTo>
                    <a:pt x="594" y="472"/>
                  </a:lnTo>
                  <a:lnTo>
                    <a:pt x="588" y="474"/>
                  </a:lnTo>
                  <a:lnTo>
                    <a:pt x="582" y="474"/>
                  </a:lnTo>
                  <a:lnTo>
                    <a:pt x="578" y="468"/>
                  </a:lnTo>
                  <a:lnTo>
                    <a:pt x="582" y="462"/>
                  </a:lnTo>
                  <a:lnTo>
                    <a:pt x="590" y="460"/>
                  </a:lnTo>
                  <a:lnTo>
                    <a:pt x="594" y="458"/>
                  </a:lnTo>
                  <a:lnTo>
                    <a:pt x="598" y="452"/>
                  </a:lnTo>
                  <a:lnTo>
                    <a:pt x="604" y="450"/>
                  </a:lnTo>
                  <a:lnTo>
                    <a:pt x="610" y="446"/>
                  </a:lnTo>
                  <a:lnTo>
                    <a:pt x="616" y="446"/>
                  </a:lnTo>
                  <a:lnTo>
                    <a:pt x="622" y="442"/>
                  </a:lnTo>
                  <a:lnTo>
                    <a:pt x="628" y="440"/>
                  </a:lnTo>
                  <a:lnTo>
                    <a:pt x="632" y="438"/>
                  </a:lnTo>
                  <a:lnTo>
                    <a:pt x="640" y="438"/>
                  </a:lnTo>
                  <a:lnTo>
                    <a:pt x="642" y="432"/>
                  </a:lnTo>
                  <a:lnTo>
                    <a:pt x="636" y="432"/>
                  </a:lnTo>
                  <a:lnTo>
                    <a:pt x="634" y="426"/>
                  </a:lnTo>
                  <a:lnTo>
                    <a:pt x="634" y="420"/>
                  </a:lnTo>
                  <a:lnTo>
                    <a:pt x="628" y="422"/>
                  </a:lnTo>
                  <a:lnTo>
                    <a:pt x="628" y="426"/>
                  </a:lnTo>
                  <a:lnTo>
                    <a:pt x="622" y="424"/>
                  </a:lnTo>
                  <a:lnTo>
                    <a:pt x="616" y="422"/>
                  </a:lnTo>
                  <a:lnTo>
                    <a:pt x="612" y="416"/>
                  </a:lnTo>
                  <a:lnTo>
                    <a:pt x="606" y="420"/>
                  </a:lnTo>
                  <a:lnTo>
                    <a:pt x="600" y="420"/>
                  </a:lnTo>
                  <a:lnTo>
                    <a:pt x="594" y="420"/>
                  </a:lnTo>
                  <a:lnTo>
                    <a:pt x="588" y="420"/>
                  </a:lnTo>
                  <a:lnTo>
                    <a:pt x="582" y="420"/>
                  </a:lnTo>
                  <a:lnTo>
                    <a:pt x="576" y="422"/>
                  </a:lnTo>
                  <a:lnTo>
                    <a:pt x="570" y="422"/>
                  </a:lnTo>
                  <a:lnTo>
                    <a:pt x="564" y="420"/>
                  </a:lnTo>
                  <a:lnTo>
                    <a:pt x="558" y="416"/>
                  </a:lnTo>
                  <a:lnTo>
                    <a:pt x="552" y="414"/>
                  </a:lnTo>
                  <a:lnTo>
                    <a:pt x="546" y="410"/>
                  </a:lnTo>
                  <a:lnTo>
                    <a:pt x="544" y="410"/>
                  </a:lnTo>
                  <a:lnTo>
                    <a:pt x="538" y="406"/>
                  </a:lnTo>
                  <a:lnTo>
                    <a:pt x="532" y="408"/>
                  </a:lnTo>
                  <a:lnTo>
                    <a:pt x="538" y="406"/>
                  </a:lnTo>
                  <a:lnTo>
                    <a:pt x="544" y="404"/>
                  </a:lnTo>
                  <a:lnTo>
                    <a:pt x="544" y="398"/>
                  </a:lnTo>
                  <a:lnTo>
                    <a:pt x="538" y="398"/>
                  </a:lnTo>
                  <a:lnTo>
                    <a:pt x="532" y="396"/>
                  </a:lnTo>
                  <a:lnTo>
                    <a:pt x="528" y="394"/>
                  </a:lnTo>
                  <a:lnTo>
                    <a:pt x="522" y="394"/>
                  </a:lnTo>
                  <a:lnTo>
                    <a:pt x="516" y="390"/>
                  </a:lnTo>
                  <a:lnTo>
                    <a:pt x="522" y="392"/>
                  </a:lnTo>
                  <a:lnTo>
                    <a:pt x="528" y="390"/>
                  </a:lnTo>
                  <a:lnTo>
                    <a:pt x="534" y="392"/>
                  </a:lnTo>
                  <a:lnTo>
                    <a:pt x="536" y="394"/>
                  </a:lnTo>
                  <a:lnTo>
                    <a:pt x="542" y="394"/>
                  </a:lnTo>
                  <a:lnTo>
                    <a:pt x="548" y="394"/>
                  </a:lnTo>
                  <a:lnTo>
                    <a:pt x="554" y="394"/>
                  </a:lnTo>
                  <a:lnTo>
                    <a:pt x="560" y="396"/>
                  </a:lnTo>
                  <a:lnTo>
                    <a:pt x="566" y="394"/>
                  </a:lnTo>
                  <a:lnTo>
                    <a:pt x="564" y="392"/>
                  </a:lnTo>
                  <a:lnTo>
                    <a:pt x="570" y="388"/>
                  </a:lnTo>
                  <a:lnTo>
                    <a:pt x="576" y="384"/>
                  </a:lnTo>
                  <a:lnTo>
                    <a:pt x="572" y="386"/>
                  </a:lnTo>
                  <a:lnTo>
                    <a:pt x="566" y="390"/>
                  </a:lnTo>
                  <a:lnTo>
                    <a:pt x="560" y="390"/>
                  </a:lnTo>
                  <a:lnTo>
                    <a:pt x="554" y="388"/>
                  </a:lnTo>
                  <a:lnTo>
                    <a:pt x="548" y="386"/>
                  </a:lnTo>
                  <a:lnTo>
                    <a:pt x="542" y="384"/>
                  </a:lnTo>
                  <a:lnTo>
                    <a:pt x="540" y="378"/>
                  </a:lnTo>
                  <a:lnTo>
                    <a:pt x="536" y="374"/>
                  </a:lnTo>
                  <a:lnTo>
                    <a:pt x="540" y="368"/>
                  </a:lnTo>
                  <a:lnTo>
                    <a:pt x="536" y="362"/>
                  </a:lnTo>
                  <a:lnTo>
                    <a:pt x="532" y="356"/>
                  </a:lnTo>
                  <a:lnTo>
                    <a:pt x="536" y="362"/>
                  </a:lnTo>
                  <a:lnTo>
                    <a:pt x="534" y="362"/>
                  </a:lnTo>
                  <a:lnTo>
                    <a:pt x="538" y="368"/>
                  </a:lnTo>
                  <a:lnTo>
                    <a:pt x="534" y="374"/>
                  </a:lnTo>
                  <a:lnTo>
                    <a:pt x="536" y="380"/>
                  </a:lnTo>
                  <a:lnTo>
                    <a:pt x="534" y="386"/>
                  </a:lnTo>
                  <a:lnTo>
                    <a:pt x="528" y="386"/>
                  </a:lnTo>
                  <a:lnTo>
                    <a:pt x="522" y="384"/>
                  </a:lnTo>
                  <a:lnTo>
                    <a:pt x="518" y="386"/>
                  </a:lnTo>
                  <a:lnTo>
                    <a:pt x="516" y="380"/>
                  </a:lnTo>
                  <a:lnTo>
                    <a:pt x="518" y="374"/>
                  </a:lnTo>
                  <a:lnTo>
                    <a:pt x="512" y="378"/>
                  </a:lnTo>
                  <a:lnTo>
                    <a:pt x="512" y="384"/>
                  </a:lnTo>
                  <a:lnTo>
                    <a:pt x="506" y="388"/>
                  </a:lnTo>
                  <a:lnTo>
                    <a:pt x="504" y="386"/>
                  </a:lnTo>
                  <a:lnTo>
                    <a:pt x="498" y="386"/>
                  </a:lnTo>
                  <a:lnTo>
                    <a:pt x="492" y="386"/>
                  </a:lnTo>
                  <a:lnTo>
                    <a:pt x="486" y="388"/>
                  </a:lnTo>
                  <a:lnTo>
                    <a:pt x="480" y="390"/>
                  </a:lnTo>
                  <a:lnTo>
                    <a:pt x="474" y="394"/>
                  </a:lnTo>
                  <a:lnTo>
                    <a:pt x="476" y="400"/>
                  </a:lnTo>
                  <a:lnTo>
                    <a:pt x="472" y="406"/>
                  </a:lnTo>
                  <a:lnTo>
                    <a:pt x="472" y="412"/>
                  </a:lnTo>
                  <a:lnTo>
                    <a:pt x="468" y="418"/>
                  </a:lnTo>
                  <a:lnTo>
                    <a:pt x="462" y="422"/>
                  </a:lnTo>
                  <a:lnTo>
                    <a:pt x="460" y="416"/>
                  </a:lnTo>
                  <a:lnTo>
                    <a:pt x="456" y="410"/>
                  </a:lnTo>
                  <a:lnTo>
                    <a:pt x="450" y="406"/>
                  </a:lnTo>
                  <a:lnTo>
                    <a:pt x="448" y="404"/>
                  </a:lnTo>
                  <a:lnTo>
                    <a:pt x="448" y="402"/>
                  </a:lnTo>
                  <a:lnTo>
                    <a:pt x="442" y="404"/>
                  </a:lnTo>
                  <a:lnTo>
                    <a:pt x="446" y="410"/>
                  </a:lnTo>
                  <a:lnTo>
                    <a:pt x="450" y="412"/>
                  </a:lnTo>
                  <a:lnTo>
                    <a:pt x="456" y="418"/>
                  </a:lnTo>
                  <a:lnTo>
                    <a:pt x="462" y="424"/>
                  </a:lnTo>
                  <a:lnTo>
                    <a:pt x="460" y="426"/>
                  </a:lnTo>
                  <a:lnTo>
                    <a:pt x="454" y="432"/>
                  </a:lnTo>
                  <a:lnTo>
                    <a:pt x="450" y="436"/>
                  </a:lnTo>
                  <a:lnTo>
                    <a:pt x="446" y="440"/>
                  </a:lnTo>
                  <a:lnTo>
                    <a:pt x="440" y="446"/>
                  </a:lnTo>
                  <a:lnTo>
                    <a:pt x="434" y="450"/>
                  </a:lnTo>
                  <a:lnTo>
                    <a:pt x="428" y="454"/>
                  </a:lnTo>
                  <a:lnTo>
                    <a:pt x="434" y="450"/>
                  </a:lnTo>
                  <a:lnTo>
                    <a:pt x="440" y="446"/>
                  </a:lnTo>
                  <a:lnTo>
                    <a:pt x="442" y="442"/>
                  </a:lnTo>
                  <a:lnTo>
                    <a:pt x="444" y="436"/>
                  </a:lnTo>
                  <a:lnTo>
                    <a:pt x="438" y="438"/>
                  </a:lnTo>
                  <a:lnTo>
                    <a:pt x="434" y="444"/>
                  </a:lnTo>
                  <a:lnTo>
                    <a:pt x="428" y="446"/>
                  </a:lnTo>
                  <a:lnTo>
                    <a:pt x="430" y="452"/>
                  </a:lnTo>
                  <a:lnTo>
                    <a:pt x="424" y="452"/>
                  </a:lnTo>
                  <a:lnTo>
                    <a:pt x="422" y="444"/>
                  </a:lnTo>
                  <a:lnTo>
                    <a:pt x="418" y="452"/>
                  </a:lnTo>
                  <a:lnTo>
                    <a:pt x="418" y="458"/>
                  </a:lnTo>
                  <a:lnTo>
                    <a:pt x="424" y="456"/>
                  </a:lnTo>
                  <a:lnTo>
                    <a:pt x="420" y="462"/>
                  </a:lnTo>
                  <a:lnTo>
                    <a:pt x="426" y="464"/>
                  </a:lnTo>
                  <a:lnTo>
                    <a:pt x="428" y="466"/>
                  </a:lnTo>
                  <a:lnTo>
                    <a:pt x="428" y="472"/>
                  </a:lnTo>
                  <a:lnTo>
                    <a:pt x="428" y="478"/>
                  </a:lnTo>
                  <a:lnTo>
                    <a:pt x="428" y="480"/>
                  </a:lnTo>
                  <a:lnTo>
                    <a:pt x="424" y="482"/>
                  </a:lnTo>
                  <a:lnTo>
                    <a:pt x="424" y="478"/>
                  </a:lnTo>
                  <a:lnTo>
                    <a:pt x="422" y="474"/>
                  </a:lnTo>
                  <a:lnTo>
                    <a:pt x="420" y="470"/>
                  </a:lnTo>
                  <a:lnTo>
                    <a:pt x="416" y="470"/>
                  </a:lnTo>
                  <a:lnTo>
                    <a:pt x="416" y="468"/>
                  </a:lnTo>
                  <a:lnTo>
                    <a:pt x="414" y="468"/>
                  </a:lnTo>
                  <a:lnTo>
                    <a:pt x="410" y="466"/>
                  </a:lnTo>
                  <a:lnTo>
                    <a:pt x="406" y="466"/>
                  </a:lnTo>
                  <a:lnTo>
                    <a:pt x="400" y="466"/>
                  </a:lnTo>
                  <a:lnTo>
                    <a:pt x="398" y="468"/>
                  </a:lnTo>
                  <a:lnTo>
                    <a:pt x="394" y="470"/>
                  </a:lnTo>
                  <a:lnTo>
                    <a:pt x="392" y="472"/>
                  </a:lnTo>
                  <a:lnTo>
                    <a:pt x="386" y="474"/>
                  </a:lnTo>
                  <a:lnTo>
                    <a:pt x="382" y="476"/>
                  </a:lnTo>
                  <a:lnTo>
                    <a:pt x="376" y="474"/>
                  </a:lnTo>
                  <a:lnTo>
                    <a:pt x="374" y="480"/>
                  </a:lnTo>
                  <a:lnTo>
                    <a:pt x="372" y="480"/>
                  </a:lnTo>
                  <a:lnTo>
                    <a:pt x="366" y="480"/>
                  </a:lnTo>
                  <a:lnTo>
                    <a:pt x="360" y="478"/>
                  </a:lnTo>
                  <a:lnTo>
                    <a:pt x="354" y="476"/>
                  </a:lnTo>
                  <a:lnTo>
                    <a:pt x="348" y="472"/>
                  </a:lnTo>
                  <a:lnTo>
                    <a:pt x="344" y="466"/>
                  </a:lnTo>
                  <a:lnTo>
                    <a:pt x="344" y="464"/>
                  </a:lnTo>
                  <a:lnTo>
                    <a:pt x="344" y="462"/>
                  </a:lnTo>
                  <a:lnTo>
                    <a:pt x="350" y="460"/>
                  </a:lnTo>
                  <a:lnTo>
                    <a:pt x="354" y="462"/>
                  </a:lnTo>
                  <a:lnTo>
                    <a:pt x="360" y="460"/>
                  </a:lnTo>
                  <a:lnTo>
                    <a:pt x="360" y="454"/>
                  </a:lnTo>
                  <a:lnTo>
                    <a:pt x="358" y="448"/>
                  </a:lnTo>
                  <a:lnTo>
                    <a:pt x="362" y="448"/>
                  </a:lnTo>
                  <a:lnTo>
                    <a:pt x="362" y="444"/>
                  </a:lnTo>
                  <a:lnTo>
                    <a:pt x="368" y="440"/>
                  </a:lnTo>
                  <a:lnTo>
                    <a:pt x="370" y="436"/>
                  </a:lnTo>
                  <a:lnTo>
                    <a:pt x="374" y="430"/>
                  </a:lnTo>
                  <a:lnTo>
                    <a:pt x="378" y="428"/>
                  </a:lnTo>
                  <a:lnTo>
                    <a:pt x="380" y="424"/>
                  </a:lnTo>
                  <a:lnTo>
                    <a:pt x="382" y="418"/>
                  </a:lnTo>
                  <a:lnTo>
                    <a:pt x="380" y="412"/>
                  </a:lnTo>
                  <a:lnTo>
                    <a:pt x="378" y="406"/>
                  </a:lnTo>
                  <a:lnTo>
                    <a:pt x="378" y="404"/>
                  </a:lnTo>
                  <a:lnTo>
                    <a:pt x="378" y="398"/>
                  </a:lnTo>
                  <a:lnTo>
                    <a:pt x="378" y="396"/>
                  </a:lnTo>
                  <a:lnTo>
                    <a:pt x="384" y="394"/>
                  </a:lnTo>
                  <a:lnTo>
                    <a:pt x="390" y="392"/>
                  </a:lnTo>
                  <a:lnTo>
                    <a:pt x="392" y="396"/>
                  </a:lnTo>
                  <a:lnTo>
                    <a:pt x="394" y="402"/>
                  </a:lnTo>
                  <a:lnTo>
                    <a:pt x="400" y="396"/>
                  </a:lnTo>
                  <a:lnTo>
                    <a:pt x="404" y="394"/>
                  </a:lnTo>
                  <a:lnTo>
                    <a:pt x="412" y="400"/>
                  </a:lnTo>
                  <a:lnTo>
                    <a:pt x="416" y="402"/>
                  </a:lnTo>
                  <a:lnTo>
                    <a:pt x="418" y="398"/>
                  </a:lnTo>
                  <a:lnTo>
                    <a:pt x="424" y="398"/>
                  </a:lnTo>
                  <a:lnTo>
                    <a:pt x="428" y="404"/>
                  </a:lnTo>
                  <a:lnTo>
                    <a:pt x="434" y="402"/>
                  </a:lnTo>
                  <a:lnTo>
                    <a:pt x="440" y="402"/>
                  </a:lnTo>
                  <a:lnTo>
                    <a:pt x="442" y="400"/>
                  </a:lnTo>
                  <a:lnTo>
                    <a:pt x="436" y="398"/>
                  </a:lnTo>
                  <a:lnTo>
                    <a:pt x="434" y="394"/>
                  </a:lnTo>
                  <a:lnTo>
                    <a:pt x="428" y="392"/>
                  </a:lnTo>
                  <a:lnTo>
                    <a:pt x="428" y="390"/>
                  </a:lnTo>
                  <a:lnTo>
                    <a:pt x="432" y="388"/>
                  </a:lnTo>
                  <a:lnTo>
                    <a:pt x="430" y="382"/>
                  </a:lnTo>
                  <a:lnTo>
                    <a:pt x="430" y="378"/>
                  </a:lnTo>
                  <a:lnTo>
                    <a:pt x="430" y="376"/>
                  </a:lnTo>
                  <a:lnTo>
                    <a:pt x="424" y="370"/>
                  </a:lnTo>
                  <a:lnTo>
                    <a:pt x="420" y="370"/>
                  </a:lnTo>
                  <a:lnTo>
                    <a:pt x="414" y="366"/>
                  </a:lnTo>
                  <a:lnTo>
                    <a:pt x="408" y="360"/>
                  </a:lnTo>
                  <a:lnTo>
                    <a:pt x="404" y="354"/>
                  </a:lnTo>
                  <a:lnTo>
                    <a:pt x="406" y="348"/>
                  </a:lnTo>
                  <a:lnTo>
                    <a:pt x="408" y="344"/>
                  </a:lnTo>
                  <a:lnTo>
                    <a:pt x="402" y="336"/>
                  </a:lnTo>
                  <a:lnTo>
                    <a:pt x="396" y="340"/>
                  </a:lnTo>
                  <a:lnTo>
                    <a:pt x="390" y="334"/>
                  </a:lnTo>
                  <a:lnTo>
                    <a:pt x="386" y="330"/>
                  </a:lnTo>
                  <a:lnTo>
                    <a:pt x="382" y="326"/>
                  </a:lnTo>
                  <a:lnTo>
                    <a:pt x="382" y="320"/>
                  </a:lnTo>
                  <a:lnTo>
                    <a:pt x="384" y="314"/>
                  </a:lnTo>
                  <a:lnTo>
                    <a:pt x="384" y="308"/>
                  </a:lnTo>
                  <a:lnTo>
                    <a:pt x="382" y="306"/>
                  </a:lnTo>
                  <a:lnTo>
                    <a:pt x="382" y="300"/>
                  </a:lnTo>
                  <a:lnTo>
                    <a:pt x="376" y="294"/>
                  </a:lnTo>
                  <a:lnTo>
                    <a:pt x="370" y="296"/>
                  </a:lnTo>
                  <a:lnTo>
                    <a:pt x="364" y="292"/>
                  </a:lnTo>
                  <a:lnTo>
                    <a:pt x="360" y="288"/>
                  </a:lnTo>
                  <a:lnTo>
                    <a:pt x="356" y="284"/>
                  </a:lnTo>
                  <a:lnTo>
                    <a:pt x="350" y="282"/>
                  </a:lnTo>
                  <a:lnTo>
                    <a:pt x="344" y="282"/>
                  </a:lnTo>
                  <a:lnTo>
                    <a:pt x="340" y="288"/>
                  </a:lnTo>
                  <a:lnTo>
                    <a:pt x="338" y="282"/>
                  </a:lnTo>
                  <a:lnTo>
                    <a:pt x="332" y="282"/>
                  </a:lnTo>
                  <a:lnTo>
                    <a:pt x="332" y="276"/>
                  </a:lnTo>
                  <a:lnTo>
                    <a:pt x="326" y="278"/>
                  </a:lnTo>
                  <a:lnTo>
                    <a:pt x="320" y="278"/>
                  </a:lnTo>
                  <a:lnTo>
                    <a:pt x="314" y="272"/>
                  </a:lnTo>
                  <a:lnTo>
                    <a:pt x="308" y="268"/>
                  </a:lnTo>
                  <a:lnTo>
                    <a:pt x="302" y="264"/>
                  </a:lnTo>
                  <a:lnTo>
                    <a:pt x="302" y="262"/>
                  </a:lnTo>
                  <a:lnTo>
                    <a:pt x="300" y="262"/>
                  </a:lnTo>
                  <a:lnTo>
                    <a:pt x="294" y="262"/>
                  </a:lnTo>
                  <a:lnTo>
                    <a:pt x="288" y="262"/>
                  </a:lnTo>
                  <a:lnTo>
                    <a:pt x="284" y="262"/>
                  </a:lnTo>
                  <a:lnTo>
                    <a:pt x="280" y="262"/>
                  </a:lnTo>
                  <a:lnTo>
                    <a:pt x="276" y="264"/>
                  </a:lnTo>
                  <a:lnTo>
                    <a:pt x="270" y="268"/>
                  </a:lnTo>
                  <a:lnTo>
                    <a:pt x="268" y="268"/>
                  </a:lnTo>
                  <a:lnTo>
                    <a:pt x="262" y="268"/>
                  </a:lnTo>
                  <a:lnTo>
                    <a:pt x="260" y="268"/>
                  </a:lnTo>
                  <a:lnTo>
                    <a:pt x="254" y="268"/>
                  </a:lnTo>
                  <a:lnTo>
                    <a:pt x="248" y="268"/>
                  </a:lnTo>
                  <a:lnTo>
                    <a:pt x="248" y="274"/>
                  </a:lnTo>
                  <a:lnTo>
                    <a:pt x="246" y="272"/>
                  </a:lnTo>
                  <a:lnTo>
                    <a:pt x="242" y="274"/>
                  </a:lnTo>
                  <a:lnTo>
                    <a:pt x="242" y="276"/>
                  </a:lnTo>
                  <a:lnTo>
                    <a:pt x="236" y="278"/>
                  </a:lnTo>
                  <a:lnTo>
                    <a:pt x="230" y="280"/>
                  </a:lnTo>
                  <a:lnTo>
                    <a:pt x="224" y="280"/>
                  </a:lnTo>
                  <a:lnTo>
                    <a:pt x="224" y="282"/>
                  </a:lnTo>
                  <a:lnTo>
                    <a:pt x="222" y="288"/>
                  </a:lnTo>
                  <a:lnTo>
                    <a:pt x="218" y="292"/>
                  </a:lnTo>
                  <a:lnTo>
                    <a:pt x="214" y="294"/>
                  </a:lnTo>
                  <a:lnTo>
                    <a:pt x="212" y="294"/>
                  </a:lnTo>
                  <a:lnTo>
                    <a:pt x="210" y="294"/>
                  </a:lnTo>
                  <a:lnTo>
                    <a:pt x="208" y="294"/>
                  </a:lnTo>
                  <a:lnTo>
                    <a:pt x="200" y="296"/>
                  </a:lnTo>
                  <a:lnTo>
                    <a:pt x="196" y="296"/>
                  </a:lnTo>
                  <a:lnTo>
                    <a:pt x="190" y="298"/>
                  </a:lnTo>
                  <a:lnTo>
                    <a:pt x="184" y="296"/>
                  </a:lnTo>
                  <a:lnTo>
                    <a:pt x="178" y="298"/>
                  </a:lnTo>
                  <a:lnTo>
                    <a:pt x="172" y="298"/>
                  </a:lnTo>
                  <a:lnTo>
                    <a:pt x="166" y="304"/>
                  </a:lnTo>
                  <a:lnTo>
                    <a:pt x="162" y="310"/>
                  </a:lnTo>
                  <a:lnTo>
                    <a:pt x="156" y="312"/>
                  </a:lnTo>
                  <a:lnTo>
                    <a:pt x="152" y="312"/>
                  </a:lnTo>
                  <a:lnTo>
                    <a:pt x="150" y="310"/>
                  </a:lnTo>
                  <a:lnTo>
                    <a:pt x="144" y="306"/>
                  </a:lnTo>
                  <a:lnTo>
                    <a:pt x="138" y="302"/>
                  </a:lnTo>
                  <a:lnTo>
                    <a:pt x="132" y="296"/>
                  </a:lnTo>
                  <a:lnTo>
                    <a:pt x="128" y="296"/>
                  </a:lnTo>
                  <a:lnTo>
                    <a:pt x="124" y="296"/>
                  </a:lnTo>
                  <a:lnTo>
                    <a:pt x="118" y="298"/>
                  </a:lnTo>
                  <a:lnTo>
                    <a:pt x="112" y="298"/>
                  </a:lnTo>
                  <a:lnTo>
                    <a:pt x="110" y="298"/>
                  </a:lnTo>
                  <a:lnTo>
                    <a:pt x="104" y="296"/>
                  </a:lnTo>
                  <a:lnTo>
                    <a:pt x="98" y="296"/>
                  </a:lnTo>
                  <a:lnTo>
                    <a:pt x="96" y="298"/>
                  </a:lnTo>
                  <a:lnTo>
                    <a:pt x="90" y="294"/>
                  </a:lnTo>
                  <a:lnTo>
                    <a:pt x="88" y="294"/>
                  </a:lnTo>
                  <a:lnTo>
                    <a:pt x="82" y="292"/>
                  </a:lnTo>
                  <a:lnTo>
                    <a:pt x="76" y="292"/>
                  </a:lnTo>
                  <a:lnTo>
                    <a:pt x="74" y="294"/>
                  </a:lnTo>
                  <a:lnTo>
                    <a:pt x="70" y="294"/>
                  </a:lnTo>
                  <a:lnTo>
                    <a:pt x="64" y="290"/>
                  </a:lnTo>
                  <a:lnTo>
                    <a:pt x="60" y="286"/>
                  </a:lnTo>
                  <a:lnTo>
                    <a:pt x="54" y="288"/>
                  </a:lnTo>
                  <a:lnTo>
                    <a:pt x="48" y="294"/>
                  </a:lnTo>
                  <a:lnTo>
                    <a:pt x="42" y="296"/>
                  </a:lnTo>
                  <a:lnTo>
                    <a:pt x="40" y="290"/>
                  </a:lnTo>
                  <a:lnTo>
                    <a:pt x="38" y="288"/>
                  </a:lnTo>
                  <a:lnTo>
                    <a:pt x="36" y="286"/>
                  </a:lnTo>
                  <a:lnTo>
                    <a:pt x="30" y="286"/>
                  </a:lnTo>
                  <a:lnTo>
                    <a:pt x="26" y="286"/>
                  </a:lnTo>
                  <a:lnTo>
                    <a:pt x="24" y="282"/>
                  </a:lnTo>
                  <a:lnTo>
                    <a:pt x="18" y="276"/>
                  </a:lnTo>
                  <a:lnTo>
                    <a:pt x="12" y="276"/>
                  </a:lnTo>
                  <a:lnTo>
                    <a:pt x="10" y="270"/>
                  </a:lnTo>
                  <a:lnTo>
                    <a:pt x="6" y="268"/>
                  </a:lnTo>
                  <a:lnTo>
                    <a:pt x="2" y="266"/>
                  </a:lnTo>
                  <a:lnTo>
                    <a:pt x="0" y="26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7" name="Freeform 24"/>
            <p:cNvSpPr>
              <a:spLocks/>
            </p:cNvSpPr>
            <p:nvPr/>
          </p:nvSpPr>
          <p:spPr bwMode="auto">
            <a:xfrm>
              <a:off x="4403725" y="2908300"/>
              <a:ext cx="271463" cy="258763"/>
            </a:xfrm>
            <a:custGeom>
              <a:avLst/>
              <a:gdLst>
                <a:gd name="T0" fmla="*/ 2147483647 w 664"/>
                <a:gd name="T1" fmla="*/ 2147483647 h 628"/>
                <a:gd name="T2" fmla="*/ 2147483647 w 664"/>
                <a:gd name="T3" fmla="*/ 2147483647 h 628"/>
                <a:gd name="T4" fmla="*/ 2147483647 w 664"/>
                <a:gd name="T5" fmla="*/ 2147483647 h 628"/>
                <a:gd name="T6" fmla="*/ 2147483647 w 664"/>
                <a:gd name="T7" fmla="*/ 2147483647 h 628"/>
                <a:gd name="T8" fmla="*/ 2147483647 w 664"/>
                <a:gd name="T9" fmla="*/ 2147483647 h 628"/>
                <a:gd name="T10" fmla="*/ 2147483647 w 664"/>
                <a:gd name="T11" fmla="*/ 2147483647 h 628"/>
                <a:gd name="T12" fmla="*/ 2147483647 w 664"/>
                <a:gd name="T13" fmla="*/ 2147483647 h 628"/>
                <a:gd name="T14" fmla="*/ 2147483647 w 664"/>
                <a:gd name="T15" fmla="*/ 2147483647 h 628"/>
                <a:gd name="T16" fmla="*/ 2147483647 w 664"/>
                <a:gd name="T17" fmla="*/ 2147483647 h 628"/>
                <a:gd name="T18" fmla="*/ 2147483647 w 664"/>
                <a:gd name="T19" fmla="*/ 2147483647 h 628"/>
                <a:gd name="T20" fmla="*/ 2147483647 w 664"/>
                <a:gd name="T21" fmla="*/ 2147483647 h 628"/>
                <a:gd name="T22" fmla="*/ 2147483647 w 664"/>
                <a:gd name="T23" fmla="*/ 2147483647 h 628"/>
                <a:gd name="T24" fmla="*/ 2147483647 w 664"/>
                <a:gd name="T25" fmla="*/ 2147483647 h 628"/>
                <a:gd name="T26" fmla="*/ 2147483647 w 664"/>
                <a:gd name="T27" fmla="*/ 2147483647 h 628"/>
                <a:gd name="T28" fmla="*/ 2147483647 w 664"/>
                <a:gd name="T29" fmla="*/ 2147483647 h 628"/>
                <a:gd name="T30" fmla="*/ 2147483647 w 664"/>
                <a:gd name="T31" fmla="*/ 2147483647 h 628"/>
                <a:gd name="T32" fmla="*/ 2147483647 w 664"/>
                <a:gd name="T33" fmla="*/ 2147483647 h 628"/>
                <a:gd name="T34" fmla="*/ 2147483647 w 664"/>
                <a:gd name="T35" fmla="*/ 2147483647 h 628"/>
                <a:gd name="T36" fmla="*/ 2147483647 w 664"/>
                <a:gd name="T37" fmla="*/ 2147483647 h 628"/>
                <a:gd name="T38" fmla="*/ 2147483647 w 664"/>
                <a:gd name="T39" fmla="*/ 2147483647 h 628"/>
                <a:gd name="T40" fmla="*/ 2147483647 w 664"/>
                <a:gd name="T41" fmla="*/ 2147483647 h 628"/>
                <a:gd name="T42" fmla="*/ 2147483647 w 664"/>
                <a:gd name="T43" fmla="*/ 2147483647 h 628"/>
                <a:gd name="T44" fmla="*/ 2147483647 w 664"/>
                <a:gd name="T45" fmla="*/ 2147483647 h 628"/>
                <a:gd name="T46" fmla="*/ 2147483647 w 664"/>
                <a:gd name="T47" fmla="*/ 2147483647 h 628"/>
                <a:gd name="T48" fmla="*/ 2147483647 w 664"/>
                <a:gd name="T49" fmla="*/ 2147483647 h 628"/>
                <a:gd name="T50" fmla="*/ 2147483647 w 664"/>
                <a:gd name="T51" fmla="*/ 2147483647 h 628"/>
                <a:gd name="T52" fmla="*/ 2147483647 w 664"/>
                <a:gd name="T53" fmla="*/ 2147483647 h 628"/>
                <a:gd name="T54" fmla="*/ 2147483647 w 664"/>
                <a:gd name="T55" fmla="*/ 2147483647 h 628"/>
                <a:gd name="T56" fmla="*/ 2147483647 w 664"/>
                <a:gd name="T57" fmla="*/ 2147483647 h 628"/>
                <a:gd name="T58" fmla="*/ 2147483647 w 664"/>
                <a:gd name="T59" fmla="*/ 2147483647 h 628"/>
                <a:gd name="T60" fmla="*/ 2147483647 w 664"/>
                <a:gd name="T61" fmla="*/ 2147483647 h 628"/>
                <a:gd name="T62" fmla="*/ 2147483647 w 664"/>
                <a:gd name="T63" fmla="*/ 2147483647 h 628"/>
                <a:gd name="T64" fmla="*/ 2147483647 w 664"/>
                <a:gd name="T65" fmla="*/ 2147483647 h 628"/>
                <a:gd name="T66" fmla="*/ 2147483647 w 664"/>
                <a:gd name="T67" fmla="*/ 2147483647 h 628"/>
                <a:gd name="T68" fmla="*/ 2147483647 w 664"/>
                <a:gd name="T69" fmla="*/ 2147483647 h 628"/>
                <a:gd name="T70" fmla="*/ 2147483647 w 664"/>
                <a:gd name="T71" fmla="*/ 2147483647 h 628"/>
                <a:gd name="T72" fmla="*/ 2147483647 w 664"/>
                <a:gd name="T73" fmla="*/ 2147483647 h 628"/>
                <a:gd name="T74" fmla="*/ 2147483647 w 664"/>
                <a:gd name="T75" fmla="*/ 2147483647 h 628"/>
                <a:gd name="T76" fmla="*/ 2147483647 w 664"/>
                <a:gd name="T77" fmla="*/ 2147483647 h 628"/>
                <a:gd name="T78" fmla="*/ 2147483647 w 664"/>
                <a:gd name="T79" fmla="*/ 2147483647 h 628"/>
                <a:gd name="T80" fmla="*/ 2147483647 w 664"/>
                <a:gd name="T81" fmla="*/ 2147483647 h 628"/>
                <a:gd name="T82" fmla="*/ 2147483647 w 664"/>
                <a:gd name="T83" fmla="*/ 2147483647 h 628"/>
                <a:gd name="T84" fmla="*/ 2147483647 w 664"/>
                <a:gd name="T85" fmla="*/ 2147483647 h 628"/>
                <a:gd name="T86" fmla="*/ 2147483647 w 664"/>
                <a:gd name="T87" fmla="*/ 2147483647 h 628"/>
                <a:gd name="T88" fmla="*/ 2147483647 w 664"/>
                <a:gd name="T89" fmla="*/ 2147483647 h 628"/>
                <a:gd name="T90" fmla="*/ 2147483647 w 664"/>
                <a:gd name="T91" fmla="*/ 2147483647 h 628"/>
                <a:gd name="T92" fmla="*/ 2147483647 w 664"/>
                <a:gd name="T93" fmla="*/ 2147483647 h 628"/>
                <a:gd name="T94" fmla="*/ 2147483647 w 664"/>
                <a:gd name="T95" fmla="*/ 2147483647 h 628"/>
                <a:gd name="T96" fmla="*/ 2147483647 w 664"/>
                <a:gd name="T97" fmla="*/ 2147483647 h 628"/>
                <a:gd name="T98" fmla="*/ 2147483647 w 664"/>
                <a:gd name="T99" fmla="*/ 2147483647 h 628"/>
                <a:gd name="T100" fmla="*/ 2147483647 w 664"/>
                <a:gd name="T101" fmla="*/ 2147483647 h 628"/>
                <a:gd name="T102" fmla="*/ 2147483647 w 664"/>
                <a:gd name="T103" fmla="*/ 2147483647 h 628"/>
                <a:gd name="T104" fmla="*/ 2147483647 w 664"/>
                <a:gd name="T105" fmla="*/ 2147483647 h 628"/>
                <a:gd name="T106" fmla="*/ 2147483647 w 664"/>
                <a:gd name="T107" fmla="*/ 2147483647 h 628"/>
                <a:gd name="T108" fmla="*/ 2147483647 w 664"/>
                <a:gd name="T109" fmla="*/ 2147483647 h 628"/>
                <a:gd name="T110" fmla="*/ 2147483647 w 664"/>
                <a:gd name="T111" fmla="*/ 2147483647 h 628"/>
                <a:gd name="T112" fmla="*/ 2147483647 w 664"/>
                <a:gd name="T113" fmla="*/ 2147483647 h 628"/>
                <a:gd name="T114" fmla="*/ 2147483647 w 664"/>
                <a:gd name="T115" fmla="*/ 2147483647 h 628"/>
                <a:gd name="T116" fmla="*/ 2147483647 w 664"/>
                <a:gd name="T117" fmla="*/ 2147483647 h 628"/>
                <a:gd name="T118" fmla="*/ 2147483647 w 664"/>
                <a:gd name="T119" fmla="*/ 2147483647 h 62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64"/>
                <a:gd name="T181" fmla="*/ 0 h 628"/>
                <a:gd name="T182" fmla="*/ 664 w 664"/>
                <a:gd name="T183" fmla="*/ 628 h 62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64" h="628">
                  <a:moveTo>
                    <a:pt x="0" y="134"/>
                  </a:moveTo>
                  <a:lnTo>
                    <a:pt x="2" y="134"/>
                  </a:lnTo>
                  <a:lnTo>
                    <a:pt x="4" y="132"/>
                  </a:lnTo>
                  <a:lnTo>
                    <a:pt x="10" y="132"/>
                  </a:lnTo>
                  <a:lnTo>
                    <a:pt x="16" y="132"/>
                  </a:lnTo>
                  <a:lnTo>
                    <a:pt x="20" y="128"/>
                  </a:lnTo>
                  <a:lnTo>
                    <a:pt x="26" y="126"/>
                  </a:lnTo>
                  <a:lnTo>
                    <a:pt x="28" y="120"/>
                  </a:lnTo>
                  <a:lnTo>
                    <a:pt x="32" y="114"/>
                  </a:lnTo>
                  <a:lnTo>
                    <a:pt x="26" y="110"/>
                  </a:lnTo>
                  <a:lnTo>
                    <a:pt x="22" y="104"/>
                  </a:lnTo>
                  <a:lnTo>
                    <a:pt x="22" y="98"/>
                  </a:lnTo>
                  <a:lnTo>
                    <a:pt x="16" y="96"/>
                  </a:lnTo>
                  <a:lnTo>
                    <a:pt x="12" y="90"/>
                  </a:lnTo>
                  <a:lnTo>
                    <a:pt x="18" y="84"/>
                  </a:lnTo>
                  <a:lnTo>
                    <a:pt x="24" y="80"/>
                  </a:lnTo>
                  <a:lnTo>
                    <a:pt x="24" y="78"/>
                  </a:lnTo>
                  <a:lnTo>
                    <a:pt x="30" y="82"/>
                  </a:lnTo>
                  <a:lnTo>
                    <a:pt x="36" y="80"/>
                  </a:lnTo>
                  <a:lnTo>
                    <a:pt x="42" y="80"/>
                  </a:lnTo>
                  <a:lnTo>
                    <a:pt x="48" y="78"/>
                  </a:lnTo>
                  <a:lnTo>
                    <a:pt x="54" y="74"/>
                  </a:lnTo>
                  <a:lnTo>
                    <a:pt x="54" y="76"/>
                  </a:lnTo>
                  <a:lnTo>
                    <a:pt x="60" y="78"/>
                  </a:lnTo>
                  <a:lnTo>
                    <a:pt x="66" y="80"/>
                  </a:lnTo>
                  <a:lnTo>
                    <a:pt x="70" y="80"/>
                  </a:lnTo>
                  <a:lnTo>
                    <a:pt x="76" y="74"/>
                  </a:lnTo>
                  <a:lnTo>
                    <a:pt x="80" y="68"/>
                  </a:lnTo>
                  <a:lnTo>
                    <a:pt x="86" y="64"/>
                  </a:lnTo>
                  <a:lnTo>
                    <a:pt x="86" y="62"/>
                  </a:lnTo>
                  <a:lnTo>
                    <a:pt x="82" y="56"/>
                  </a:lnTo>
                  <a:lnTo>
                    <a:pt x="88" y="52"/>
                  </a:lnTo>
                  <a:lnTo>
                    <a:pt x="94" y="48"/>
                  </a:lnTo>
                  <a:lnTo>
                    <a:pt x="98" y="44"/>
                  </a:lnTo>
                  <a:lnTo>
                    <a:pt x="102" y="48"/>
                  </a:lnTo>
                  <a:lnTo>
                    <a:pt x="102" y="54"/>
                  </a:lnTo>
                  <a:lnTo>
                    <a:pt x="106" y="62"/>
                  </a:lnTo>
                  <a:lnTo>
                    <a:pt x="110" y="64"/>
                  </a:lnTo>
                  <a:lnTo>
                    <a:pt x="114" y="68"/>
                  </a:lnTo>
                  <a:lnTo>
                    <a:pt x="116" y="68"/>
                  </a:lnTo>
                  <a:lnTo>
                    <a:pt x="116" y="66"/>
                  </a:lnTo>
                  <a:lnTo>
                    <a:pt x="118" y="66"/>
                  </a:lnTo>
                  <a:lnTo>
                    <a:pt x="120" y="74"/>
                  </a:lnTo>
                  <a:lnTo>
                    <a:pt x="124" y="76"/>
                  </a:lnTo>
                  <a:lnTo>
                    <a:pt x="128" y="80"/>
                  </a:lnTo>
                  <a:lnTo>
                    <a:pt x="128" y="86"/>
                  </a:lnTo>
                  <a:lnTo>
                    <a:pt x="132" y="86"/>
                  </a:lnTo>
                  <a:lnTo>
                    <a:pt x="134" y="84"/>
                  </a:lnTo>
                  <a:lnTo>
                    <a:pt x="136" y="78"/>
                  </a:lnTo>
                  <a:lnTo>
                    <a:pt x="134" y="74"/>
                  </a:lnTo>
                  <a:lnTo>
                    <a:pt x="132" y="74"/>
                  </a:lnTo>
                  <a:lnTo>
                    <a:pt x="132" y="72"/>
                  </a:lnTo>
                  <a:lnTo>
                    <a:pt x="136" y="66"/>
                  </a:lnTo>
                  <a:lnTo>
                    <a:pt x="140" y="62"/>
                  </a:lnTo>
                  <a:lnTo>
                    <a:pt x="144" y="58"/>
                  </a:lnTo>
                  <a:lnTo>
                    <a:pt x="148" y="52"/>
                  </a:lnTo>
                  <a:lnTo>
                    <a:pt x="148" y="46"/>
                  </a:lnTo>
                  <a:lnTo>
                    <a:pt x="148" y="40"/>
                  </a:lnTo>
                  <a:lnTo>
                    <a:pt x="150" y="40"/>
                  </a:lnTo>
                  <a:lnTo>
                    <a:pt x="156" y="40"/>
                  </a:lnTo>
                  <a:lnTo>
                    <a:pt x="158" y="46"/>
                  </a:lnTo>
                  <a:lnTo>
                    <a:pt x="160" y="52"/>
                  </a:lnTo>
                  <a:lnTo>
                    <a:pt x="166" y="54"/>
                  </a:lnTo>
                  <a:lnTo>
                    <a:pt x="172" y="52"/>
                  </a:lnTo>
                  <a:lnTo>
                    <a:pt x="172" y="50"/>
                  </a:lnTo>
                  <a:lnTo>
                    <a:pt x="178" y="48"/>
                  </a:lnTo>
                  <a:lnTo>
                    <a:pt x="184" y="48"/>
                  </a:lnTo>
                  <a:lnTo>
                    <a:pt x="186" y="54"/>
                  </a:lnTo>
                  <a:lnTo>
                    <a:pt x="192" y="58"/>
                  </a:lnTo>
                  <a:lnTo>
                    <a:pt x="194" y="52"/>
                  </a:lnTo>
                  <a:lnTo>
                    <a:pt x="196" y="48"/>
                  </a:lnTo>
                  <a:lnTo>
                    <a:pt x="188" y="44"/>
                  </a:lnTo>
                  <a:lnTo>
                    <a:pt x="190" y="38"/>
                  </a:lnTo>
                  <a:lnTo>
                    <a:pt x="194" y="32"/>
                  </a:lnTo>
                  <a:lnTo>
                    <a:pt x="200" y="32"/>
                  </a:lnTo>
                  <a:lnTo>
                    <a:pt x="204" y="36"/>
                  </a:lnTo>
                  <a:lnTo>
                    <a:pt x="210" y="38"/>
                  </a:lnTo>
                  <a:lnTo>
                    <a:pt x="212" y="38"/>
                  </a:lnTo>
                  <a:lnTo>
                    <a:pt x="212" y="32"/>
                  </a:lnTo>
                  <a:lnTo>
                    <a:pt x="208" y="26"/>
                  </a:lnTo>
                  <a:lnTo>
                    <a:pt x="210" y="20"/>
                  </a:lnTo>
                  <a:lnTo>
                    <a:pt x="212" y="14"/>
                  </a:lnTo>
                  <a:lnTo>
                    <a:pt x="214" y="16"/>
                  </a:lnTo>
                  <a:lnTo>
                    <a:pt x="220" y="16"/>
                  </a:lnTo>
                  <a:lnTo>
                    <a:pt x="226" y="18"/>
                  </a:lnTo>
                  <a:lnTo>
                    <a:pt x="232" y="20"/>
                  </a:lnTo>
                  <a:lnTo>
                    <a:pt x="234" y="22"/>
                  </a:lnTo>
                  <a:lnTo>
                    <a:pt x="240" y="22"/>
                  </a:lnTo>
                  <a:lnTo>
                    <a:pt x="244" y="16"/>
                  </a:lnTo>
                  <a:lnTo>
                    <a:pt x="248" y="10"/>
                  </a:lnTo>
                  <a:lnTo>
                    <a:pt x="254" y="8"/>
                  </a:lnTo>
                  <a:lnTo>
                    <a:pt x="260" y="8"/>
                  </a:lnTo>
                  <a:lnTo>
                    <a:pt x="266" y="6"/>
                  </a:lnTo>
                  <a:lnTo>
                    <a:pt x="268" y="6"/>
                  </a:lnTo>
                  <a:lnTo>
                    <a:pt x="274" y="6"/>
                  </a:lnTo>
                  <a:lnTo>
                    <a:pt x="280" y="6"/>
                  </a:lnTo>
                  <a:lnTo>
                    <a:pt x="284" y="6"/>
                  </a:lnTo>
                  <a:lnTo>
                    <a:pt x="292" y="4"/>
                  </a:lnTo>
                  <a:lnTo>
                    <a:pt x="298" y="2"/>
                  </a:lnTo>
                  <a:lnTo>
                    <a:pt x="302" y="0"/>
                  </a:lnTo>
                  <a:lnTo>
                    <a:pt x="306" y="2"/>
                  </a:lnTo>
                  <a:lnTo>
                    <a:pt x="302" y="6"/>
                  </a:lnTo>
                  <a:lnTo>
                    <a:pt x="306" y="12"/>
                  </a:lnTo>
                  <a:lnTo>
                    <a:pt x="310" y="16"/>
                  </a:lnTo>
                  <a:lnTo>
                    <a:pt x="314" y="22"/>
                  </a:lnTo>
                  <a:lnTo>
                    <a:pt x="314" y="24"/>
                  </a:lnTo>
                  <a:lnTo>
                    <a:pt x="320" y="28"/>
                  </a:lnTo>
                  <a:lnTo>
                    <a:pt x="322" y="28"/>
                  </a:lnTo>
                  <a:lnTo>
                    <a:pt x="326" y="30"/>
                  </a:lnTo>
                  <a:lnTo>
                    <a:pt x="330" y="30"/>
                  </a:lnTo>
                  <a:lnTo>
                    <a:pt x="336" y="30"/>
                  </a:lnTo>
                  <a:lnTo>
                    <a:pt x="342" y="32"/>
                  </a:lnTo>
                  <a:lnTo>
                    <a:pt x="346" y="32"/>
                  </a:lnTo>
                  <a:lnTo>
                    <a:pt x="352" y="34"/>
                  </a:lnTo>
                  <a:lnTo>
                    <a:pt x="358" y="34"/>
                  </a:lnTo>
                  <a:lnTo>
                    <a:pt x="364" y="36"/>
                  </a:lnTo>
                  <a:lnTo>
                    <a:pt x="370" y="36"/>
                  </a:lnTo>
                  <a:lnTo>
                    <a:pt x="376" y="36"/>
                  </a:lnTo>
                  <a:lnTo>
                    <a:pt x="382" y="36"/>
                  </a:lnTo>
                  <a:lnTo>
                    <a:pt x="384" y="38"/>
                  </a:lnTo>
                  <a:lnTo>
                    <a:pt x="388" y="38"/>
                  </a:lnTo>
                  <a:lnTo>
                    <a:pt x="388" y="40"/>
                  </a:lnTo>
                  <a:lnTo>
                    <a:pt x="386" y="44"/>
                  </a:lnTo>
                  <a:lnTo>
                    <a:pt x="380" y="44"/>
                  </a:lnTo>
                  <a:lnTo>
                    <a:pt x="374" y="50"/>
                  </a:lnTo>
                  <a:lnTo>
                    <a:pt x="370" y="56"/>
                  </a:lnTo>
                  <a:lnTo>
                    <a:pt x="378" y="58"/>
                  </a:lnTo>
                  <a:lnTo>
                    <a:pt x="382" y="62"/>
                  </a:lnTo>
                  <a:lnTo>
                    <a:pt x="386" y="62"/>
                  </a:lnTo>
                  <a:lnTo>
                    <a:pt x="380" y="68"/>
                  </a:lnTo>
                  <a:lnTo>
                    <a:pt x="376" y="70"/>
                  </a:lnTo>
                  <a:lnTo>
                    <a:pt x="378" y="76"/>
                  </a:lnTo>
                  <a:lnTo>
                    <a:pt x="384" y="78"/>
                  </a:lnTo>
                  <a:lnTo>
                    <a:pt x="382" y="86"/>
                  </a:lnTo>
                  <a:lnTo>
                    <a:pt x="388" y="90"/>
                  </a:lnTo>
                  <a:lnTo>
                    <a:pt x="394" y="92"/>
                  </a:lnTo>
                  <a:lnTo>
                    <a:pt x="396" y="94"/>
                  </a:lnTo>
                  <a:lnTo>
                    <a:pt x="398" y="100"/>
                  </a:lnTo>
                  <a:lnTo>
                    <a:pt x="394" y="102"/>
                  </a:lnTo>
                  <a:lnTo>
                    <a:pt x="390" y="102"/>
                  </a:lnTo>
                  <a:lnTo>
                    <a:pt x="390" y="96"/>
                  </a:lnTo>
                  <a:lnTo>
                    <a:pt x="384" y="90"/>
                  </a:lnTo>
                  <a:lnTo>
                    <a:pt x="382" y="88"/>
                  </a:lnTo>
                  <a:lnTo>
                    <a:pt x="376" y="94"/>
                  </a:lnTo>
                  <a:lnTo>
                    <a:pt x="372" y="96"/>
                  </a:lnTo>
                  <a:lnTo>
                    <a:pt x="372" y="92"/>
                  </a:lnTo>
                  <a:lnTo>
                    <a:pt x="370" y="92"/>
                  </a:lnTo>
                  <a:lnTo>
                    <a:pt x="364" y="90"/>
                  </a:lnTo>
                  <a:lnTo>
                    <a:pt x="360" y="90"/>
                  </a:lnTo>
                  <a:lnTo>
                    <a:pt x="358" y="96"/>
                  </a:lnTo>
                  <a:lnTo>
                    <a:pt x="356" y="98"/>
                  </a:lnTo>
                  <a:lnTo>
                    <a:pt x="350" y="98"/>
                  </a:lnTo>
                  <a:lnTo>
                    <a:pt x="344" y="102"/>
                  </a:lnTo>
                  <a:lnTo>
                    <a:pt x="338" y="104"/>
                  </a:lnTo>
                  <a:lnTo>
                    <a:pt x="334" y="106"/>
                  </a:lnTo>
                  <a:lnTo>
                    <a:pt x="328" y="108"/>
                  </a:lnTo>
                  <a:lnTo>
                    <a:pt x="322" y="110"/>
                  </a:lnTo>
                  <a:lnTo>
                    <a:pt x="318" y="110"/>
                  </a:lnTo>
                  <a:lnTo>
                    <a:pt x="324" y="106"/>
                  </a:lnTo>
                  <a:lnTo>
                    <a:pt x="318" y="108"/>
                  </a:lnTo>
                  <a:lnTo>
                    <a:pt x="312" y="108"/>
                  </a:lnTo>
                  <a:lnTo>
                    <a:pt x="310" y="110"/>
                  </a:lnTo>
                  <a:lnTo>
                    <a:pt x="310" y="116"/>
                  </a:lnTo>
                  <a:lnTo>
                    <a:pt x="306" y="122"/>
                  </a:lnTo>
                  <a:lnTo>
                    <a:pt x="304" y="120"/>
                  </a:lnTo>
                  <a:lnTo>
                    <a:pt x="304" y="122"/>
                  </a:lnTo>
                  <a:lnTo>
                    <a:pt x="306" y="124"/>
                  </a:lnTo>
                  <a:lnTo>
                    <a:pt x="308" y="128"/>
                  </a:lnTo>
                  <a:lnTo>
                    <a:pt x="310" y="128"/>
                  </a:lnTo>
                  <a:lnTo>
                    <a:pt x="314" y="130"/>
                  </a:lnTo>
                  <a:lnTo>
                    <a:pt x="312" y="138"/>
                  </a:lnTo>
                  <a:lnTo>
                    <a:pt x="318" y="138"/>
                  </a:lnTo>
                  <a:lnTo>
                    <a:pt x="320" y="142"/>
                  </a:lnTo>
                  <a:lnTo>
                    <a:pt x="326" y="144"/>
                  </a:lnTo>
                  <a:lnTo>
                    <a:pt x="324" y="148"/>
                  </a:lnTo>
                  <a:lnTo>
                    <a:pt x="322" y="154"/>
                  </a:lnTo>
                  <a:lnTo>
                    <a:pt x="318" y="154"/>
                  </a:lnTo>
                  <a:lnTo>
                    <a:pt x="318" y="156"/>
                  </a:lnTo>
                  <a:lnTo>
                    <a:pt x="312" y="152"/>
                  </a:lnTo>
                  <a:lnTo>
                    <a:pt x="310" y="154"/>
                  </a:lnTo>
                  <a:lnTo>
                    <a:pt x="310" y="160"/>
                  </a:lnTo>
                  <a:lnTo>
                    <a:pt x="310" y="164"/>
                  </a:lnTo>
                  <a:lnTo>
                    <a:pt x="310" y="168"/>
                  </a:lnTo>
                  <a:lnTo>
                    <a:pt x="312" y="168"/>
                  </a:lnTo>
                  <a:lnTo>
                    <a:pt x="312" y="174"/>
                  </a:lnTo>
                  <a:lnTo>
                    <a:pt x="312" y="180"/>
                  </a:lnTo>
                  <a:lnTo>
                    <a:pt x="314" y="186"/>
                  </a:lnTo>
                  <a:lnTo>
                    <a:pt x="316" y="192"/>
                  </a:lnTo>
                  <a:lnTo>
                    <a:pt x="318" y="194"/>
                  </a:lnTo>
                  <a:lnTo>
                    <a:pt x="322" y="200"/>
                  </a:lnTo>
                  <a:lnTo>
                    <a:pt x="328" y="206"/>
                  </a:lnTo>
                  <a:lnTo>
                    <a:pt x="334" y="210"/>
                  </a:lnTo>
                  <a:lnTo>
                    <a:pt x="338" y="212"/>
                  </a:lnTo>
                  <a:lnTo>
                    <a:pt x="344" y="214"/>
                  </a:lnTo>
                  <a:lnTo>
                    <a:pt x="350" y="218"/>
                  </a:lnTo>
                  <a:lnTo>
                    <a:pt x="356" y="222"/>
                  </a:lnTo>
                  <a:lnTo>
                    <a:pt x="360" y="226"/>
                  </a:lnTo>
                  <a:lnTo>
                    <a:pt x="368" y="232"/>
                  </a:lnTo>
                  <a:lnTo>
                    <a:pt x="374" y="234"/>
                  </a:lnTo>
                  <a:lnTo>
                    <a:pt x="378" y="236"/>
                  </a:lnTo>
                  <a:lnTo>
                    <a:pt x="384" y="240"/>
                  </a:lnTo>
                  <a:lnTo>
                    <a:pt x="386" y="246"/>
                  </a:lnTo>
                  <a:lnTo>
                    <a:pt x="388" y="248"/>
                  </a:lnTo>
                  <a:lnTo>
                    <a:pt x="392" y="254"/>
                  </a:lnTo>
                  <a:lnTo>
                    <a:pt x="392" y="256"/>
                  </a:lnTo>
                  <a:lnTo>
                    <a:pt x="394" y="258"/>
                  </a:lnTo>
                  <a:lnTo>
                    <a:pt x="396" y="264"/>
                  </a:lnTo>
                  <a:lnTo>
                    <a:pt x="396" y="266"/>
                  </a:lnTo>
                  <a:lnTo>
                    <a:pt x="400" y="272"/>
                  </a:lnTo>
                  <a:lnTo>
                    <a:pt x="400" y="278"/>
                  </a:lnTo>
                  <a:lnTo>
                    <a:pt x="402" y="284"/>
                  </a:lnTo>
                  <a:lnTo>
                    <a:pt x="402" y="286"/>
                  </a:lnTo>
                  <a:lnTo>
                    <a:pt x="404" y="292"/>
                  </a:lnTo>
                  <a:lnTo>
                    <a:pt x="406" y="294"/>
                  </a:lnTo>
                  <a:lnTo>
                    <a:pt x="410" y="300"/>
                  </a:lnTo>
                  <a:lnTo>
                    <a:pt x="410" y="302"/>
                  </a:lnTo>
                  <a:lnTo>
                    <a:pt x="414" y="306"/>
                  </a:lnTo>
                  <a:lnTo>
                    <a:pt x="416" y="312"/>
                  </a:lnTo>
                  <a:lnTo>
                    <a:pt x="424" y="316"/>
                  </a:lnTo>
                  <a:lnTo>
                    <a:pt x="428" y="320"/>
                  </a:lnTo>
                  <a:lnTo>
                    <a:pt x="434" y="326"/>
                  </a:lnTo>
                  <a:lnTo>
                    <a:pt x="440" y="330"/>
                  </a:lnTo>
                  <a:lnTo>
                    <a:pt x="446" y="334"/>
                  </a:lnTo>
                  <a:lnTo>
                    <a:pt x="450" y="340"/>
                  </a:lnTo>
                  <a:lnTo>
                    <a:pt x="452" y="342"/>
                  </a:lnTo>
                  <a:lnTo>
                    <a:pt x="458" y="346"/>
                  </a:lnTo>
                  <a:lnTo>
                    <a:pt x="464" y="346"/>
                  </a:lnTo>
                  <a:lnTo>
                    <a:pt x="466" y="346"/>
                  </a:lnTo>
                  <a:lnTo>
                    <a:pt x="470" y="352"/>
                  </a:lnTo>
                  <a:lnTo>
                    <a:pt x="472" y="352"/>
                  </a:lnTo>
                  <a:lnTo>
                    <a:pt x="480" y="352"/>
                  </a:lnTo>
                  <a:lnTo>
                    <a:pt x="484" y="354"/>
                  </a:lnTo>
                  <a:lnTo>
                    <a:pt x="490" y="354"/>
                  </a:lnTo>
                  <a:lnTo>
                    <a:pt x="496" y="352"/>
                  </a:lnTo>
                  <a:lnTo>
                    <a:pt x="502" y="352"/>
                  </a:lnTo>
                  <a:lnTo>
                    <a:pt x="508" y="352"/>
                  </a:lnTo>
                  <a:lnTo>
                    <a:pt x="514" y="352"/>
                  </a:lnTo>
                  <a:lnTo>
                    <a:pt x="520" y="350"/>
                  </a:lnTo>
                  <a:lnTo>
                    <a:pt x="526" y="352"/>
                  </a:lnTo>
                  <a:lnTo>
                    <a:pt x="532" y="358"/>
                  </a:lnTo>
                  <a:lnTo>
                    <a:pt x="530" y="364"/>
                  </a:lnTo>
                  <a:lnTo>
                    <a:pt x="524" y="368"/>
                  </a:lnTo>
                  <a:lnTo>
                    <a:pt x="518" y="372"/>
                  </a:lnTo>
                  <a:lnTo>
                    <a:pt x="516" y="378"/>
                  </a:lnTo>
                  <a:lnTo>
                    <a:pt x="518" y="384"/>
                  </a:lnTo>
                  <a:lnTo>
                    <a:pt x="524" y="388"/>
                  </a:lnTo>
                  <a:lnTo>
                    <a:pt x="530" y="390"/>
                  </a:lnTo>
                  <a:lnTo>
                    <a:pt x="534" y="390"/>
                  </a:lnTo>
                  <a:lnTo>
                    <a:pt x="538" y="394"/>
                  </a:lnTo>
                  <a:lnTo>
                    <a:pt x="544" y="396"/>
                  </a:lnTo>
                  <a:lnTo>
                    <a:pt x="550" y="398"/>
                  </a:lnTo>
                  <a:lnTo>
                    <a:pt x="556" y="402"/>
                  </a:lnTo>
                  <a:lnTo>
                    <a:pt x="562" y="404"/>
                  </a:lnTo>
                  <a:lnTo>
                    <a:pt x="568" y="406"/>
                  </a:lnTo>
                  <a:lnTo>
                    <a:pt x="574" y="408"/>
                  </a:lnTo>
                  <a:lnTo>
                    <a:pt x="580" y="410"/>
                  </a:lnTo>
                  <a:lnTo>
                    <a:pt x="586" y="412"/>
                  </a:lnTo>
                  <a:lnTo>
                    <a:pt x="592" y="416"/>
                  </a:lnTo>
                  <a:lnTo>
                    <a:pt x="598" y="420"/>
                  </a:lnTo>
                  <a:lnTo>
                    <a:pt x="600" y="422"/>
                  </a:lnTo>
                  <a:lnTo>
                    <a:pt x="606" y="428"/>
                  </a:lnTo>
                  <a:lnTo>
                    <a:pt x="612" y="430"/>
                  </a:lnTo>
                  <a:lnTo>
                    <a:pt x="618" y="432"/>
                  </a:lnTo>
                  <a:lnTo>
                    <a:pt x="624" y="436"/>
                  </a:lnTo>
                  <a:lnTo>
                    <a:pt x="630" y="438"/>
                  </a:lnTo>
                  <a:lnTo>
                    <a:pt x="632" y="440"/>
                  </a:lnTo>
                  <a:lnTo>
                    <a:pt x="638" y="446"/>
                  </a:lnTo>
                  <a:lnTo>
                    <a:pt x="640" y="448"/>
                  </a:lnTo>
                  <a:lnTo>
                    <a:pt x="646" y="452"/>
                  </a:lnTo>
                  <a:lnTo>
                    <a:pt x="652" y="456"/>
                  </a:lnTo>
                  <a:lnTo>
                    <a:pt x="658" y="462"/>
                  </a:lnTo>
                  <a:lnTo>
                    <a:pt x="662" y="468"/>
                  </a:lnTo>
                  <a:lnTo>
                    <a:pt x="664" y="474"/>
                  </a:lnTo>
                  <a:lnTo>
                    <a:pt x="664" y="480"/>
                  </a:lnTo>
                  <a:lnTo>
                    <a:pt x="662" y="484"/>
                  </a:lnTo>
                  <a:lnTo>
                    <a:pt x="660" y="490"/>
                  </a:lnTo>
                  <a:lnTo>
                    <a:pt x="660" y="496"/>
                  </a:lnTo>
                  <a:lnTo>
                    <a:pt x="654" y="496"/>
                  </a:lnTo>
                  <a:lnTo>
                    <a:pt x="648" y="494"/>
                  </a:lnTo>
                  <a:lnTo>
                    <a:pt x="642" y="490"/>
                  </a:lnTo>
                  <a:lnTo>
                    <a:pt x="636" y="484"/>
                  </a:lnTo>
                  <a:lnTo>
                    <a:pt x="638" y="484"/>
                  </a:lnTo>
                  <a:lnTo>
                    <a:pt x="638" y="478"/>
                  </a:lnTo>
                  <a:lnTo>
                    <a:pt x="632" y="472"/>
                  </a:lnTo>
                  <a:lnTo>
                    <a:pt x="630" y="466"/>
                  </a:lnTo>
                  <a:lnTo>
                    <a:pt x="624" y="464"/>
                  </a:lnTo>
                  <a:lnTo>
                    <a:pt x="616" y="464"/>
                  </a:lnTo>
                  <a:lnTo>
                    <a:pt x="610" y="464"/>
                  </a:lnTo>
                  <a:lnTo>
                    <a:pt x="606" y="462"/>
                  </a:lnTo>
                  <a:lnTo>
                    <a:pt x="600" y="460"/>
                  </a:lnTo>
                  <a:lnTo>
                    <a:pt x="594" y="456"/>
                  </a:lnTo>
                  <a:lnTo>
                    <a:pt x="594" y="452"/>
                  </a:lnTo>
                  <a:lnTo>
                    <a:pt x="592" y="452"/>
                  </a:lnTo>
                  <a:lnTo>
                    <a:pt x="594" y="452"/>
                  </a:lnTo>
                  <a:lnTo>
                    <a:pt x="594" y="450"/>
                  </a:lnTo>
                  <a:lnTo>
                    <a:pt x="592" y="450"/>
                  </a:lnTo>
                  <a:lnTo>
                    <a:pt x="586" y="448"/>
                  </a:lnTo>
                  <a:lnTo>
                    <a:pt x="580" y="450"/>
                  </a:lnTo>
                  <a:lnTo>
                    <a:pt x="574" y="456"/>
                  </a:lnTo>
                  <a:lnTo>
                    <a:pt x="572" y="458"/>
                  </a:lnTo>
                  <a:lnTo>
                    <a:pt x="568" y="464"/>
                  </a:lnTo>
                  <a:lnTo>
                    <a:pt x="566" y="468"/>
                  </a:lnTo>
                  <a:lnTo>
                    <a:pt x="566" y="470"/>
                  </a:lnTo>
                  <a:lnTo>
                    <a:pt x="560" y="476"/>
                  </a:lnTo>
                  <a:lnTo>
                    <a:pt x="558" y="482"/>
                  </a:lnTo>
                  <a:lnTo>
                    <a:pt x="558" y="484"/>
                  </a:lnTo>
                  <a:lnTo>
                    <a:pt x="558" y="490"/>
                  </a:lnTo>
                  <a:lnTo>
                    <a:pt x="554" y="496"/>
                  </a:lnTo>
                  <a:lnTo>
                    <a:pt x="552" y="502"/>
                  </a:lnTo>
                  <a:lnTo>
                    <a:pt x="556" y="508"/>
                  </a:lnTo>
                  <a:lnTo>
                    <a:pt x="560" y="510"/>
                  </a:lnTo>
                  <a:lnTo>
                    <a:pt x="566" y="510"/>
                  </a:lnTo>
                  <a:lnTo>
                    <a:pt x="572" y="514"/>
                  </a:lnTo>
                  <a:lnTo>
                    <a:pt x="578" y="518"/>
                  </a:lnTo>
                  <a:lnTo>
                    <a:pt x="582" y="520"/>
                  </a:lnTo>
                  <a:lnTo>
                    <a:pt x="588" y="524"/>
                  </a:lnTo>
                  <a:lnTo>
                    <a:pt x="588" y="532"/>
                  </a:lnTo>
                  <a:lnTo>
                    <a:pt x="590" y="536"/>
                  </a:lnTo>
                  <a:lnTo>
                    <a:pt x="590" y="540"/>
                  </a:lnTo>
                  <a:lnTo>
                    <a:pt x="590" y="544"/>
                  </a:lnTo>
                  <a:lnTo>
                    <a:pt x="592" y="550"/>
                  </a:lnTo>
                  <a:lnTo>
                    <a:pt x="592" y="556"/>
                  </a:lnTo>
                  <a:lnTo>
                    <a:pt x="586" y="558"/>
                  </a:lnTo>
                  <a:lnTo>
                    <a:pt x="580" y="558"/>
                  </a:lnTo>
                  <a:lnTo>
                    <a:pt x="574" y="558"/>
                  </a:lnTo>
                  <a:lnTo>
                    <a:pt x="568" y="562"/>
                  </a:lnTo>
                  <a:lnTo>
                    <a:pt x="562" y="566"/>
                  </a:lnTo>
                  <a:lnTo>
                    <a:pt x="558" y="570"/>
                  </a:lnTo>
                  <a:lnTo>
                    <a:pt x="558" y="576"/>
                  </a:lnTo>
                  <a:lnTo>
                    <a:pt x="558" y="582"/>
                  </a:lnTo>
                  <a:lnTo>
                    <a:pt x="560" y="588"/>
                  </a:lnTo>
                  <a:lnTo>
                    <a:pt x="560" y="590"/>
                  </a:lnTo>
                  <a:lnTo>
                    <a:pt x="556" y="596"/>
                  </a:lnTo>
                  <a:lnTo>
                    <a:pt x="550" y="600"/>
                  </a:lnTo>
                  <a:lnTo>
                    <a:pt x="544" y="604"/>
                  </a:lnTo>
                  <a:lnTo>
                    <a:pt x="540" y="610"/>
                  </a:lnTo>
                  <a:lnTo>
                    <a:pt x="536" y="616"/>
                  </a:lnTo>
                  <a:lnTo>
                    <a:pt x="534" y="622"/>
                  </a:lnTo>
                  <a:lnTo>
                    <a:pt x="528" y="628"/>
                  </a:lnTo>
                  <a:lnTo>
                    <a:pt x="522" y="628"/>
                  </a:lnTo>
                  <a:lnTo>
                    <a:pt x="518" y="628"/>
                  </a:lnTo>
                  <a:lnTo>
                    <a:pt x="512" y="626"/>
                  </a:lnTo>
                  <a:lnTo>
                    <a:pt x="506" y="620"/>
                  </a:lnTo>
                  <a:lnTo>
                    <a:pt x="506" y="614"/>
                  </a:lnTo>
                  <a:lnTo>
                    <a:pt x="506" y="608"/>
                  </a:lnTo>
                  <a:lnTo>
                    <a:pt x="512" y="604"/>
                  </a:lnTo>
                  <a:lnTo>
                    <a:pt x="518" y="598"/>
                  </a:lnTo>
                  <a:lnTo>
                    <a:pt x="520" y="592"/>
                  </a:lnTo>
                  <a:lnTo>
                    <a:pt x="522" y="586"/>
                  </a:lnTo>
                  <a:lnTo>
                    <a:pt x="518" y="580"/>
                  </a:lnTo>
                  <a:lnTo>
                    <a:pt x="522" y="574"/>
                  </a:lnTo>
                  <a:lnTo>
                    <a:pt x="528" y="572"/>
                  </a:lnTo>
                  <a:lnTo>
                    <a:pt x="534" y="572"/>
                  </a:lnTo>
                  <a:lnTo>
                    <a:pt x="538" y="566"/>
                  </a:lnTo>
                  <a:lnTo>
                    <a:pt x="538" y="562"/>
                  </a:lnTo>
                  <a:lnTo>
                    <a:pt x="534" y="556"/>
                  </a:lnTo>
                  <a:lnTo>
                    <a:pt x="532" y="550"/>
                  </a:lnTo>
                  <a:lnTo>
                    <a:pt x="530" y="550"/>
                  </a:lnTo>
                  <a:lnTo>
                    <a:pt x="530" y="544"/>
                  </a:lnTo>
                  <a:lnTo>
                    <a:pt x="528" y="538"/>
                  </a:lnTo>
                  <a:lnTo>
                    <a:pt x="528" y="532"/>
                  </a:lnTo>
                  <a:lnTo>
                    <a:pt x="526" y="526"/>
                  </a:lnTo>
                  <a:lnTo>
                    <a:pt x="522" y="520"/>
                  </a:lnTo>
                  <a:lnTo>
                    <a:pt x="518" y="514"/>
                  </a:lnTo>
                  <a:lnTo>
                    <a:pt x="516" y="508"/>
                  </a:lnTo>
                  <a:lnTo>
                    <a:pt x="514" y="502"/>
                  </a:lnTo>
                  <a:lnTo>
                    <a:pt x="512" y="498"/>
                  </a:lnTo>
                  <a:lnTo>
                    <a:pt x="512" y="492"/>
                  </a:lnTo>
                  <a:lnTo>
                    <a:pt x="510" y="490"/>
                  </a:lnTo>
                  <a:lnTo>
                    <a:pt x="506" y="484"/>
                  </a:lnTo>
                  <a:lnTo>
                    <a:pt x="504" y="480"/>
                  </a:lnTo>
                  <a:lnTo>
                    <a:pt x="498" y="480"/>
                  </a:lnTo>
                  <a:lnTo>
                    <a:pt x="492" y="484"/>
                  </a:lnTo>
                  <a:lnTo>
                    <a:pt x="490" y="484"/>
                  </a:lnTo>
                  <a:lnTo>
                    <a:pt x="488" y="484"/>
                  </a:lnTo>
                  <a:lnTo>
                    <a:pt x="482" y="478"/>
                  </a:lnTo>
                  <a:lnTo>
                    <a:pt x="476" y="474"/>
                  </a:lnTo>
                  <a:lnTo>
                    <a:pt x="470" y="472"/>
                  </a:lnTo>
                  <a:lnTo>
                    <a:pt x="468" y="470"/>
                  </a:lnTo>
                  <a:lnTo>
                    <a:pt x="464" y="464"/>
                  </a:lnTo>
                  <a:lnTo>
                    <a:pt x="466" y="458"/>
                  </a:lnTo>
                  <a:lnTo>
                    <a:pt x="464" y="452"/>
                  </a:lnTo>
                  <a:lnTo>
                    <a:pt x="462" y="446"/>
                  </a:lnTo>
                  <a:lnTo>
                    <a:pt x="458" y="440"/>
                  </a:lnTo>
                  <a:lnTo>
                    <a:pt x="452" y="438"/>
                  </a:lnTo>
                  <a:lnTo>
                    <a:pt x="446" y="440"/>
                  </a:lnTo>
                  <a:lnTo>
                    <a:pt x="440" y="442"/>
                  </a:lnTo>
                  <a:lnTo>
                    <a:pt x="436" y="442"/>
                  </a:lnTo>
                  <a:lnTo>
                    <a:pt x="430" y="444"/>
                  </a:lnTo>
                  <a:lnTo>
                    <a:pt x="434" y="438"/>
                  </a:lnTo>
                  <a:lnTo>
                    <a:pt x="436" y="434"/>
                  </a:lnTo>
                  <a:lnTo>
                    <a:pt x="430" y="430"/>
                  </a:lnTo>
                  <a:lnTo>
                    <a:pt x="424" y="428"/>
                  </a:lnTo>
                  <a:lnTo>
                    <a:pt x="418" y="428"/>
                  </a:lnTo>
                  <a:lnTo>
                    <a:pt x="412" y="424"/>
                  </a:lnTo>
                  <a:lnTo>
                    <a:pt x="412" y="422"/>
                  </a:lnTo>
                  <a:lnTo>
                    <a:pt x="410" y="420"/>
                  </a:lnTo>
                  <a:lnTo>
                    <a:pt x="406" y="414"/>
                  </a:lnTo>
                  <a:lnTo>
                    <a:pt x="402" y="408"/>
                  </a:lnTo>
                  <a:lnTo>
                    <a:pt x="398" y="402"/>
                  </a:lnTo>
                  <a:lnTo>
                    <a:pt x="396" y="400"/>
                  </a:lnTo>
                  <a:lnTo>
                    <a:pt x="390" y="398"/>
                  </a:lnTo>
                  <a:lnTo>
                    <a:pt x="386" y="402"/>
                  </a:lnTo>
                  <a:lnTo>
                    <a:pt x="380" y="400"/>
                  </a:lnTo>
                  <a:lnTo>
                    <a:pt x="374" y="396"/>
                  </a:lnTo>
                  <a:lnTo>
                    <a:pt x="368" y="396"/>
                  </a:lnTo>
                  <a:lnTo>
                    <a:pt x="362" y="398"/>
                  </a:lnTo>
                  <a:lnTo>
                    <a:pt x="356" y="400"/>
                  </a:lnTo>
                  <a:lnTo>
                    <a:pt x="354" y="394"/>
                  </a:lnTo>
                  <a:lnTo>
                    <a:pt x="348" y="388"/>
                  </a:lnTo>
                  <a:lnTo>
                    <a:pt x="342" y="388"/>
                  </a:lnTo>
                  <a:lnTo>
                    <a:pt x="336" y="384"/>
                  </a:lnTo>
                  <a:lnTo>
                    <a:pt x="330" y="380"/>
                  </a:lnTo>
                  <a:lnTo>
                    <a:pt x="326" y="374"/>
                  </a:lnTo>
                  <a:lnTo>
                    <a:pt x="324" y="374"/>
                  </a:lnTo>
                  <a:lnTo>
                    <a:pt x="318" y="368"/>
                  </a:lnTo>
                  <a:lnTo>
                    <a:pt x="312" y="366"/>
                  </a:lnTo>
                  <a:lnTo>
                    <a:pt x="310" y="364"/>
                  </a:lnTo>
                  <a:lnTo>
                    <a:pt x="310" y="358"/>
                  </a:lnTo>
                  <a:lnTo>
                    <a:pt x="306" y="354"/>
                  </a:lnTo>
                  <a:lnTo>
                    <a:pt x="300" y="350"/>
                  </a:lnTo>
                  <a:lnTo>
                    <a:pt x="294" y="346"/>
                  </a:lnTo>
                  <a:lnTo>
                    <a:pt x="288" y="346"/>
                  </a:lnTo>
                  <a:lnTo>
                    <a:pt x="286" y="340"/>
                  </a:lnTo>
                  <a:lnTo>
                    <a:pt x="284" y="340"/>
                  </a:lnTo>
                  <a:lnTo>
                    <a:pt x="284" y="336"/>
                  </a:lnTo>
                  <a:lnTo>
                    <a:pt x="280" y="330"/>
                  </a:lnTo>
                  <a:lnTo>
                    <a:pt x="274" y="324"/>
                  </a:lnTo>
                  <a:lnTo>
                    <a:pt x="268" y="322"/>
                  </a:lnTo>
                  <a:lnTo>
                    <a:pt x="260" y="320"/>
                  </a:lnTo>
                  <a:lnTo>
                    <a:pt x="254" y="318"/>
                  </a:lnTo>
                  <a:lnTo>
                    <a:pt x="250" y="320"/>
                  </a:lnTo>
                  <a:lnTo>
                    <a:pt x="252" y="316"/>
                  </a:lnTo>
                  <a:lnTo>
                    <a:pt x="250" y="310"/>
                  </a:lnTo>
                  <a:lnTo>
                    <a:pt x="246" y="304"/>
                  </a:lnTo>
                  <a:lnTo>
                    <a:pt x="242" y="302"/>
                  </a:lnTo>
                  <a:lnTo>
                    <a:pt x="238" y="296"/>
                  </a:lnTo>
                  <a:lnTo>
                    <a:pt x="232" y="294"/>
                  </a:lnTo>
                  <a:lnTo>
                    <a:pt x="228" y="288"/>
                  </a:lnTo>
                  <a:lnTo>
                    <a:pt x="226" y="284"/>
                  </a:lnTo>
                  <a:lnTo>
                    <a:pt x="220" y="282"/>
                  </a:lnTo>
                  <a:lnTo>
                    <a:pt x="216" y="282"/>
                  </a:lnTo>
                  <a:lnTo>
                    <a:pt x="216" y="276"/>
                  </a:lnTo>
                  <a:lnTo>
                    <a:pt x="216" y="270"/>
                  </a:lnTo>
                  <a:lnTo>
                    <a:pt x="216" y="264"/>
                  </a:lnTo>
                  <a:lnTo>
                    <a:pt x="214" y="260"/>
                  </a:lnTo>
                  <a:lnTo>
                    <a:pt x="210" y="252"/>
                  </a:lnTo>
                  <a:lnTo>
                    <a:pt x="206" y="248"/>
                  </a:lnTo>
                  <a:lnTo>
                    <a:pt x="202" y="242"/>
                  </a:lnTo>
                  <a:lnTo>
                    <a:pt x="202" y="238"/>
                  </a:lnTo>
                  <a:lnTo>
                    <a:pt x="202" y="232"/>
                  </a:lnTo>
                  <a:lnTo>
                    <a:pt x="202" y="226"/>
                  </a:lnTo>
                  <a:lnTo>
                    <a:pt x="200" y="226"/>
                  </a:lnTo>
                  <a:lnTo>
                    <a:pt x="200" y="222"/>
                  </a:lnTo>
                  <a:lnTo>
                    <a:pt x="198" y="216"/>
                  </a:lnTo>
                  <a:lnTo>
                    <a:pt x="194" y="212"/>
                  </a:lnTo>
                  <a:lnTo>
                    <a:pt x="188" y="208"/>
                  </a:lnTo>
                  <a:lnTo>
                    <a:pt x="186" y="206"/>
                  </a:lnTo>
                  <a:lnTo>
                    <a:pt x="182" y="206"/>
                  </a:lnTo>
                  <a:lnTo>
                    <a:pt x="176" y="202"/>
                  </a:lnTo>
                  <a:lnTo>
                    <a:pt x="170" y="204"/>
                  </a:lnTo>
                  <a:lnTo>
                    <a:pt x="166" y="200"/>
                  </a:lnTo>
                  <a:lnTo>
                    <a:pt x="160" y="196"/>
                  </a:lnTo>
                  <a:lnTo>
                    <a:pt x="158" y="196"/>
                  </a:lnTo>
                  <a:lnTo>
                    <a:pt x="154" y="192"/>
                  </a:lnTo>
                  <a:lnTo>
                    <a:pt x="148" y="188"/>
                  </a:lnTo>
                  <a:lnTo>
                    <a:pt x="142" y="188"/>
                  </a:lnTo>
                  <a:lnTo>
                    <a:pt x="136" y="184"/>
                  </a:lnTo>
                  <a:lnTo>
                    <a:pt x="130" y="184"/>
                  </a:lnTo>
                  <a:lnTo>
                    <a:pt x="124" y="182"/>
                  </a:lnTo>
                  <a:lnTo>
                    <a:pt x="118" y="180"/>
                  </a:lnTo>
                  <a:lnTo>
                    <a:pt x="112" y="184"/>
                  </a:lnTo>
                  <a:lnTo>
                    <a:pt x="110" y="184"/>
                  </a:lnTo>
                  <a:lnTo>
                    <a:pt x="104" y="188"/>
                  </a:lnTo>
                  <a:lnTo>
                    <a:pt x="102" y="190"/>
                  </a:lnTo>
                  <a:lnTo>
                    <a:pt x="98" y="196"/>
                  </a:lnTo>
                  <a:lnTo>
                    <a:pt x="96" y="198"/>
                  </a:lnTo>
                  <a:lnTo>
                    <a:pt x="90" y="202"/>
                  </a:lnTo>
                  <a:lnTo>
                    <a:pt x="88" y="206"/>
                  </a:lnTo>
                  <a:lnTo>
                    <a:pt x="88" y="208"/>
                  </a:lnTo>
                  <a:lnTo>
                    <a:pt x="86" y="214"/>
                  </a:lnTo>
                  <a:lnTo>
                    <a:pt x="82" y="214"/>
                  </a:lnTo>
                  <a:lnTo>
                    <a:pt x="76" y="218"/>
                  </a:lnTo>
                  <a:lnTo>
                    <a:pt x="72" y="222"/>
                  </a:lnTo>
                  <a:lnTo>
                    <a:pt x="68" y="222"/>
                  </a:lnTo>
                  <a:lnTo>
                    <a:pt x="62" y="224"/>
                  </a:lnTo>
                  <a:lnTo>
                    <a:pt x="56" y="226"/>
                  </a:lnTo>
                  <a:lnTo>
                    <a:pt x="50" y="226"/>
                  </a:lnTo>
                  <a:lnTo>
                    <a:pt x="50" y="224"/>
                  </a:lnTo>
                  <a:lnTo>
                    <a:pt x="50" y="218"/>
                  </a:lnTo>
                  <a:lnTo>
                    <a:pt x="56" y="212"/>
                  </a:lnTo>
                  <a:lnTo>
                    <a:pt x="60" y="206"/>
                  </a:lnTo>
                  <a:lnTo>
                    <a:pt x="60" y="204"/>
                  </a:lnTo>
                  <a:lnTo>
                    <a:pt x="58" y="198"/>
                  </a:lnTo>
                  <a:lnTo>
                    <a:pt x="52" y="198"/>
                  </a:lnTo>
                  <a:lnTo>
                    <a:pt x="46" y="202"/>
                  </a:lnTo>
                  <a:lnTo>
                    <a:pt x="40" y="202"/>
                  </a:lnTo>
                  <a:lnTo>
                    <a:pt x="34" y="198"/>
                  </a:lnTo>
                  <a:lnTo>
                    <a:pt x="30" y="196"/>
                  </a:lnTo>
                  <a:lnTo>
                    <a:pt x="22" y="194"/>
                  </a:lnTo>
                  <a:lnTo>
                    <a:pt x="18" y="188"/>
                  </a:lnTo>
                  <a:lnTo>
                    <a:pt x="16" y="186"/>
                  </a:lnTo>
                  <a:lnTo>
                    <a:pt x="14" y="182"/>
                  </a:lnTo>
                  <a:lnTo>
                    <a:pt x="14" y="176"/>
                  </a:lnTo>
                  <a:lnTo>
                    <a:pt x="18" y="170"/>
                  </a:lnTo>
                  <a:lnTo>
                    <a:pt x="18" y="166"/>
                  </a:lnTo>
                  <a:lnTo>
                    <a:pt x="24" y="162"/>
                  </a:lnTo>
                  <a:lnTo>
                    <a:pt x="26" y="160"/>
                  </a:lnTo>
                  <a:lnTo>
                    <a:pt x="22" y="154"/>
                  </a:lnTo>
                  <a:lnTo>
                    <a:pt x="16" y="152"/>
                  </a:lnTo>
                  <a:lnTo>
                    <a:pt x="10" y="148"/>
                  </a:lnTo>
                  <a:lnTo>
                    <a:pt x="8" y="146"/>
                  </a:lnTo>
                  <a:lnTo>
                    <a:pt x="8" y="142"/>
                  </a:lnTo>
                  <a:lnTo>
                    <a:pt x="2" y="136"/>
                  </a:lnTo>
                  <a:lnTo>
                    <a:pt x="0" y="1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8" name="Freeform 25"/>
            <p:cNvSpPr>
              <a:spLocks/>
            </p:cNvSpPr>
            <p:nvPr/>
          </p:nvSpPr>
          <p:spPr bwMode="auto">
            <a:xfrm>
              <a:off x="4681538" y="2682875"/>
              <a:ext cx="66675" cy="26988"/>
            </a:xfrm>
            <a:custGeom>
              <a:avLst/>
              <a:gdLst>
                <a:gd name="T0" fmla="*/ 2147483647 w 164"/>
                <a:gd name="T1" fmla="*/ 2147483647 h 64"/>
                <a:gd name="T2" fmla="*/ 2147483647 w 164"/>
                <a:gd name="T3" fmla="*/ 2147483647 h 64"/>
                <a:gd name="T4" fmla="*/ 2147483647 w 164"/>
                <a:gd name="T5" fmla="*/ 2147483647 h 64"/>
                <a:gd name="T6" fmla="*/ 2147483647 w 164"/>
                <a:gd name="T7" fmla="*/ 2147483647 h 64"/>
                <a:gd name="T8" fmla="*/ 2147483647 w 164"/>
                <a:gd name="T9" fmla="*/ 2147483647 h 64"/>
                <a:gd name="T10" fmla="*/ 2147483647 w 164"/>
                <a:gd name="T11" fmla="*/ 2147483647 h 64"/>
                <a:gd name="T12" fmla="*/ 2147483647 w 164"/>
                <a:gd name="T13" fmla="*/ 2147483647 h 64"/>
                <a:gd name="T14" fmla="*/ 2147483647 w 164"/>
                <a:gd name="T15" fmla="*/ 2147483647 h 64"/>
                <a:gd name="T16" fmla="*/ 2147483647 w 164"/>
                <a:gd name="T17" fmla="*/ 2147483647 h 64"/>
                <a:gd name="T18" fmla="*/ 2147483647 w 164"/>
                <a:gd name="T19" fmla="*/ 2147483647 h 64"/>
                <a:gd name="T20" fmla="*/ 2147483647 w 164"/>
                <a:gd name="T21" fmla="*/ 2147483647 h 64"/>
                <a:gd name="T22" fmla="*/ 2147483647 w 164"/>
                <a:gd name="T23" fmla="*/ 2147483647 h 64"/>
                <a:gd name="T24" fmla="*/ 2147483647 w 164"/>
                <a:gd name="T25" fmla="*/ 2147483647 h 64"/>
                <a:gd name="T26" fmla="*/ 2147483647 w 164"/>
                <a:gd name="T27" fmla="*/ 2147483647 h 64"/>
                <a:gd name="T28" fmla="*/ 2147483647 w 164"/>
                <a:gd name="T29" fmla="*/ 2147483647 h 64"/>
                <a:gd name="T30" fmla="*/ 2147483647 w 164"/>
                <a:gd name="T31" fmla="*/ 2147483647 h 64"/>
                <a:gd name="T32" fmla="*/ 2147483647 w 164"/>
                <a:gd name="T33" fmla="*/ 0 h 64"/>
                <a:gd name="T34" fmla="*/ 2147483647 w 164"/>
                <a:gd name="T35" fmla="*/ 2147483647 h 64"/>
                <a:gd name="T36" fmla="*/ 2147483647 w 164"/>
                <a:gd name="T37" fmla="*/ 2147483647 h 64"/>
                <a:gd name="T38" fmla="*/ 2147483647 w 164"/>
                <a:gd name="T39" fmla="*/ 2147483647 h 64"/>
                <a:gd name="T40" fmla="*/ 2147483647 w 164"/>
                <a:gd name="T41" fmla="*/ 2147483647 h 64"/>
                <a:gd name="T42" fmla="*/ 2147483647 w 164"/>
                <a:gd name="T43" fmla="*/ 2147483647 h 64"/>
                <a:gd name="T44" fmla="*/ 2147483647 w 164"/>
                <a:gd name="T45" fmla="*/ 2147483647 h 64"/>
                <a:gd name="T46" fmla="*/ 2147483647 w 164"/>
                <a:gd name="T47" fmla="*/ 2147483647 h 64"/>
                <a:gd name="T48" fmla="*/ 2147483647 w 164"/>
                <a:gd name="T49" fmla="*/ 2147483647 h 64"/>
                <a:gd name="T50" fmla="*/ 2147483647 w 164"/>
                <a:gd name="T51" fmla="*/ 2147483647 h 64"/>
                <a:gd name="T52" fmla="*/ 2147483647 w 164"/>
                <a:gd name="T53" fmla="*/ 2147483647 h 64"/>
                <a:gd name="T54" fmla="*/ 2147483647 w 164"/>
                <a:gd name="T55" fmla="*/ 2147483647 h 64"/>
                <a:gd name="T56" fmla="*/ 2147483647 w 164"/>
                <a:gd name="T57" fmla="*/ 2147483647 h 64"/>
                <a:gd name="T58" fmla="*/ 2147483647 w 164"/>
                <a:gd name="T59" fmla="*/ 2147483647 h 64"/>
                <a:gd name="T60" fmla="*/ 2147483647 w 164"/>
                <a:gd name="T61" fmla="*/ 2147483647 h 64"/>
                <a:gd name="T62" fmla="*/ 2147483647 w 164"/>
                <a:gd name="T63" fmla="*/ 2147483647 h 64"/>
                <a:gd name="T64" fmla="*/ 2147483647 w 164"/>
                <a:gd name="T65" fmla="*/ 2147483647 h 64"/>
                <a:gd name="T66" fmla="*/ 2147483647 w 164"/>
                <a:gd name="T67" fmla="*/ 2147483647 h 64"/>
                <a:gd name="T68" fmla="*/ 2147483647 w 164"/>
                <a:gd name="T69" fmla="*/ 2147483647 h 64"/>
                <a:gd name="T70" fmla="*/ 2147483647 w 164"/>
                <a:gd name="T71" fmla="*/ 2147483647 h 64"/>
                <a:gd name="T72" fmla="*/ 2147483647 w 164"/>
                <a:gd name="T73" fmla="*/ 2147483647 h 64"/>
                <a:gd name="T74" fmla="*/ 2147483647 w 164"/>
                <a:gd name="T75" fmla="*/ 2147483647 h 64"/>
                <a:gd name="T76" fmla="*/ 2147483647 w 164"/>
                <a:gd name="T77" fmla="*/ 2147483647 h 64"/>
                <a:gd name="T78" fmla="*/ 2147483647 w 164"/>
                <a:gd name="T79" fmla="*/ 2147483647 h 64"/>
                <a:gd name="T80" fmla="*/ 2147483647 w 164"/>
                <a:gd name="T81" fmla="*/ 2147483647 h 64"/>
                <a:gd name="T82" fmla="*/ 2147483647 w 164"/>
                <a:gd name="T83" fmla="*/ 2147483647 h 64"/>
                <a:gd name="T84" fmla="*/ 2147483647 w 164"/>
                <a:gd name="T85" fmla="*/ 2147483647 h 64"/>
                <a:gd name="T86" fmla="*/ 2147483647 w 164"/>
                <a:gd name="T87" fmla="*/ 2147483647 h 64"/>
                <a:gd name="T88" fmla="*/ 2147483647 w 164"/>
                <a:gd name="T89" fmla="*/ 2147483647 h 64"/>
                <a:gd name="T90" fmla="*/ 2147483647 w 164"/>
                <a:gd name="T91" fmla="*/ 2147483647 h 64"/>
                <a:gd name="T92" fmla="*/ 2147483647 w 164"/>
                <a:gd name="T93" fmla="*/ 2147483647 h 64"/>
                <a:gd name="T94" fmla="*/ 2147483647 w 164"/>
                <a:gd name="T95" fmla="*/ 2147483647 h 64"/>
                <a:gd name="T96" fmla="*/ 2147483647 w 164"/>
                <a:gd name="T97" fmla="*/ 2147483647 h 64"/>
                <a:gd name="T98" fmla="*/ 2147483647 w 164"/>
                <a:gd name="T99" fmla="*/ 2147483647 h 64"/>
                <a:gd name="T100" fmla="*/ 2147483647 w 164"/>
                <a:gd name="T101" fmla="*/ 2147483647 h 64"/>
                <a:gd name="T102" fmla="*/ 2147483647 w 164"/>
                <a:gd name="T103" fmla="*/ 2147483647 h 64"/>
                <a:gd name="T104" fmla="*/ 2147483647 w 164"/>
                <a:gd name="T105" fmla="*/ 2147483647 h 64"/>
                <a:gd name="T106" fmla="*/ 2147483647 w 164"/>
                <a:gd name="T107" fmla="*/ 2147483647 h 64"/>
                <a:gd name="T108" fmla="*/ 2147483647 w 164"/>
                <a:gd name="T109" fmla="*/ 2147483647 h 64"/>
                <a:gd name="T110" fmla="*/ 2147483647 w 164"/>
                <a:gd name="T111" fmla="*/ 2147483647 h 64"/>
                <a:gd name="T112" fmla="*/ 2147483647 w 164"/>
                <a:gd name="T113" fmla="*/ 2147483647 h 64"/>
                <a:gd name="T114" fmla="*/ 0 w 164"/>
                <a:gd name="T115" fmla="*/ 2147483647 h 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4"/>
                <a:gd name="T175" fmla="*/ 0 h 64"/>
                <a:gd name="T176" fmla="*/ 164 w 164"/>
                <a:gd name="T177" fmla="*/ 64 h 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4" h="64">
                  <a:moveTo>
                    <a:pt x="0" y="54"/>
                  </a:moveTo>
                  <a:lnTo>
                    <a:pt x="6" y="50"/>
                  </a:lnTo>
                  <a:lnTo>
                    <a:pt x="10" y="44"/>
                  </a:lnTo>
                  <a:lnTo>
                    <a:pt x="12" y="44"/>
                  </a:lnTo>
                  <a:lnTo>
                    <a:pt x="14" y="36"/>
                  </a:lnTo>
                  <a:lnTo>
                    <a:pt x="16" y="32"/>
                  </a:lnTo>
                  <a:lnTo>
                    <a:pt x="14" y="26"/>
                  </a:lnTo>
                  <a:lnTo>
                    <a:pt x="16" y="22"/>
                  </a:lnTo>
                  <a:lnTo>
                    <a:pt x="22" y="22"/>
                  </a:lnTo>
                  <a:lnTo>
                    <a:pt x="28" y="22"/>
                  </a:lnTo>
                  <a:lnTo>
                    <a:pt x="34" y="22"/>
                  </a:lnTo>
                  <a:lnTo>
                    <a:pt x="40" y="22"/>
                  </a:lnTo>
                  <a:lnTo>
                    <a:pt x="44" y="20"/>
                  </a:lnTo>
                  <a:lnTo>
                    <a:pt x="48" y="18"/>
                  </a:lnTo>
                  <a:lnTo>
                    <a:pt x="54" y="12"/>
                  </a:lnTo>
                  <a:lnTo>
                    <a:pt x="58" y="6"/>
                  </a:lnTo>
                  <a:lnTo>
                    <a:pt x="64" y="0"/>
                  </a:lnTo>
                  <a:lnTo>
                    <a:pt x="66" y="2"/>
                  </a:lnTo>
                  <a:lnTo>
                    <a:pt x="62" y="4"/>
                  </a:lnTo>
                  <a:lnTo>
                    <a:pt x="58" y="10"/>
                  </a:lnTo>
                  <a:lnTo>
                    <a:pt x="52" y="16"/>
                  </a:lnTo>
                  <a:lnTo>
                    <a:pt x="46" y="20"/>
                  </a:lnTo>
                  <a:lnTo>
                    <a:pt x="44" y="22"/>
                  </a:lnTo>
                  <a:lnTo>
                    <a:pt x="50" y="22"/>
                  </a:lnTo>
                  <a:lnTo>
                    <a:pt x="56" y="22"/>
                  </a:lnTo>
                  <a:lnTo>
                    <a:pt x="62" y="26"/>
                  </a:lnTo>
                  <a:lnTo>
                    <a:pt x="68" y="26"/>
                  </a:lnTo>
                  <a:lnTo>
                    <a:pt x="74" y="26"/>
                  </a:lnTo>
                  <a:lnTo>
                    <a:pt x="78" y="20"/>
                  </a:lnTo>
                  <a:lnTo>
                    <a:pt x="78" y="14"/>
                  </a:lnTo>
                  <a:lnTo>
                    <a:pt x="76" y="8"/>
                  </a:lnTo>
                  <a:lnTo>
                    <a:pt x="80" y="2"/>
                  </a:lnTo>
                  <a:lnTo>
                    <a:pt x="82" y="2"/>
                  </a:lnTo>
                  <a:lnTo>
                    <a:pt x="86" y="0"/>
                  </a:lnTo>
                  <a:lnTo>
                    <a:pt x="92" y="6"/>
                  </a:lnTo>
                  <a:lnTo>
                    <a:pt x="98" y="6"/>
                  </a:lnTo>
                  <a:lnTo>
                    <a:pt x="104" y="10"/>
                  </a:lnTo>
                  <a:lnTo>
                    <a:pt x="108" y="12"/>
                  </a:lnTo>
                  <a:lnTo>
                    <a:pt x="112" y="14"/>
                  </a:lnTo>
                  <a:lnTo>
                    <a:pt x="114" y="14"/>
                  </a:lnTo>
                  <a:lnTo>
                    <a:pt x="120" y="14"/>
                  </a:lnTo>
                  <a:lnTo>
                    <a:pt x="126" y="16"/>
                  </a:lnTo>
                  <a:lnTo>
                    <a:pt x="130" y="14"/>
                  </a:lnTo>
                  <a:lnTo>
                    <a:pt x="138" y="16"/>
                  </a:lnTo>
                  <a:lnTo>
                    <a:pt x="142" y="16"/>
                  </a:lnTo>
                  <a:lnTo>
                    <a:pt x="148" y="14"/>
                  </a:lnTo>
                  <a:lnTo>
                    <a:pt x="150" y="14"/>
                  </a:lnTo>
                  <a:lnTo>
                    <a:pt x="150" y="20"/>
                  </a:lnTo>
                  <a:lnTo>
                    <a:pt x="156" y="22"/>
                  </a:lnTo>
                  <a:lnTo>
                    <a:pt x="162" y="26"/>
                  </a:lnTo>
                  <a:lnTo>
                    <a:pt x="164" y="32"/>
                  </a:lnTo>
                  <a:lnTo>
                    <a:pt x="158" y="36"/>
                  </a:lnTo>
                  <a:lnTo>
                    <a:pt x="158" y="42"/>
                  </a:lnTo>
                  <a:lnTo>
                    <a:pt x="158" y="44"/>
                  </a:lnTo>
                  <a:lnTo>
                    <a:pt x="158" y="48"/>
                  </a:lnTo>
                  <a:lnTo>
                    <a:pt x="158" y="54"/>
                  </a:lnTo>
                  <a:lnTo>
                    <a:pt x="158" y="56"/>
                  </a:lnTo>
                  <a:lnTo>
                    <a:pt x="162" y="60"/>
                  </a:lnTo>
                  <a:lnTo>
                    <a:pt x="156" y="62"/>
                  </a:lnTo>
                  <a:lnTo>
                    <a:pt x="150" y="62"/>
                  </a:lnTo>
                  <a:lnTo>
                    <a:pt x="144" y="62"/>
                  </a:lnTo>
                  <a:lnTo>
                    <a:pt x="138" y="62"/>
                  </a:lnTo>
                  <a:lnTo>
                    <a:pt x="132" y="62"/>
                  </a:lnTo>
                  <a:lnTo>
                    <a:pt x="130" y="62"/>
                  </a:lnTo>
                  <a:lnTo>
                    <a:pt x="124" y="62"/>
                  </a:lnTo>
                  <a:lnTo>
                    <a:pt x="122" y="64"/>
                  </a:lnTo>
                  <a:lnTo>
                    <a:pt x="116" y="64"/>
                  </a:lnTo>
                  <a:lnTo>
                    <a:pt x="108" y="64"/>
                  </a:lnTo>
                  <a:lnTo>
                    <a:pt x="104" y="64"/>
                  </a:lnTo>
                  <a:lnTo>
                    <a:pt x="102" y="64"/>
                  </a:lnTo>
                  <a:lnTo>
                    <a:pt x="100" y="64"/>
                  </a:lnTo>
                  <a:lnTo>
                    <a:pt x="94" y="64"/>
                  </a:lnTo>
                  <a:lnTo>
                    <a:pt x="88" y="64"/>
                  </a:lnTo>
                  <a:lnTo>
                    <a:pt x="86" y="64"/>
                  </a:lnTo>
                  <a:lnTo>
                    <a:pt x="80" y="62"/>
                  </a:lnTo>
                  <a:lnTo>
                    <a:pt x="74" y="62"/>
                  </a:lnTo>
                  <a:lnTo>
                    <a:pt x="68" y="62"/>
                  </a:lnTo>
                  <a:lnTo>
                    <a:pt x="62" y="62"/>
                  </a:lnTo>
                  <a:lnTo>
                    <a:pt x="58" y="62"/>
                  </a:lnTo>
                  <a:lnTo>
                    <a:pt x="56" y="62"/>
                  </a:lnTo>
                  <a:lnTo>
                    <a:pt x="54" y="60"/>
                  </a:lnTo>
                  <a:lnTo>
                    <a:pt x="50" y="60"/>
                  </a:lnTo>
                  <a:lnTo>
                    <a:pt x="44" y="60"/>
                  </a:lnTo>
                  <a:lnTo>
                    <a:pt x="40" y="60"/>
                  </a:lnTo>
                  <a:lnTo>
                    <a:pt x="36" y="60"/>
                  </a:lnTo>
                  <a:lnTo>
                    <a:pt x="34" y="58"/>
                  </a:lnTo>
                  <a:lnTo>
                    <a:pt x="28" y="58"/>
                  </a:lnTo>
                  <a:lnTo>
                    <a:pt x="22" y="58"/>
                  </a:lnTo>
                  <a:lnTo>
                    <a:pt x="20" y="58"/>
                  </a:lnTo>
                  <a:lnTo>
                    <a:pt x="14" y="56"/>
                  </a:lnTo>
                  <a:lnTo>
                    <a:pt x="12" y="56"/>
                  </a:lnTo>
                  <a:lnTo>
                    <a:pt x="8" y="56"/>
                  </a:lnTo>
                  <a:lnTo>
                    <a:pt x="14" y="52"/>
                  </a:lnTo>
                  <a:lnTo>
                    <a:pt x="18" y="48"/>
                  </a:lnTo>
                  <a:lnTo>
                    <a:pt x="20" y="48"/>
                  </a:lnTo>
                  <a:lnTo>
                    <a:pt x="24" y="46"/>
                  </a:lnTo>
                  <a:lnTo>
                    <a:pt x="32" y="44"/>
                  </a:lnTo>
                  <a:lnTo>
                    <a:pt x="36" y="40"/>
                  </a:lnTo>
                  <a:lnTo>
                    <a:pt x="30" y="40"/>
                  </a:lnTo>
                  <a:lnTo>
                    <a:pt x="24" y="40"/>
                  </a:lnTo>
                  <a:lnTo>
                    <a:pt x="18" y="38"/>
                  </a:lnTo>
                  <a:lnTo>
                    <a:pt x="14" y="44"/>
                  </a:lnTo>
                  <a:lnTo>
                    <a:pt x="12" y="44"/>
                  </a:lnTo>
                  <a:lnTo>
                    <a:pt x="6" y="50"/>
                  </a:lnTo>
                  <a:lnTo>
                    <a:pt x="2" y="56"/>
                  </a:lnTo>
                  <a:lnTo>
                    <a:pt x="0"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09" name="Freeform 26"/>
            <p:cNvSpPr>
              <a:spLocks/>
            </p:cNvSpPr>
            <p:nvPr/>
          </p:nvSpPr>
          <p:spPr bwMode="auto">
            <a:xfrm>
              <a:off x="4470400" y="2854325"/>
              <a:ext cx="166688" cy="73025"/>
            </a:xfrm>
            <a:custGeom>
              <a:avLst/>
              <a:gdLst>
                <a:gd name="T0" fmla="*/ 2147483647 w 410"/>
                <a:gd name="T1" fmla="*/ 2147483647 h 178"/>
                <a:gd name="T2" fmla="*/ 2147483647 w 410"/>
                <a:gd name="T3" fmla="*/ 2147483647 h 178"/>
                <a:gd name="T4" fmla="*/ 2147483647 w 410"/>
                <a:gd name="T5" fmla="*/ 2147483647 h 178"/>
                <a:gd name="T6" fmla="*/ 2147483647 w 410"/>
                <a:gd name="T7" fmla="*/ 2147483647 h 178"/>
                <a:gd name="T8" fmla="*/ 2147483647 w 410"/>
                <a:gd name="T9" fmla="*/ 2147483647 h 178"/>
                <a:gd name="T10" fmla="*/ 2147483647 w 410"/>
                <a:gd name="T11" fmla="*/ 2147483647 h 178"/>
                <a:gd name="T12" fmla="*/ 2147483647 w 410"/>
                <a:gd name="T13" fmla="*/ 2147483647 h 178"/>
                <a:gd name="T14" fmla="*/ 2147483647 w 410"/>
                <a:gd name="T15" fmla="*/ 2147483647 h 178"/>
                <a:gd name="T16" fmla="*/ 2147483647 w 410"/>
                <a:gd name="T17" fmla="*/ 2147483647 h 178"/>
                <a:gd name="T18" fmla="*/ 2147483647 w 410"/>
                <a:gd name="T19" fmla="*/ 2147483647 h 178"/>
                <a:gd name="T20" fmla="*/ 2147483647 w 410"/>
                <a:gd name="T21" fmla="*/ 2147483647 h 178"/>
                <a:gd name="T22" fmla="*/ 2147483647 w 410"/>
                <a:gd name="T23" fmla="*/ 2147483647 h 178"/>
                <a:gd name="T24" fmla="*/ 2147483647 w 410"/>
                <a:gd name="T25" fmla="*/ 2147483647 h 178"/>
                <a:gd name="T26" fmla="*/ 2147483647 w 410"/>
                <a:gd name="T27" fmla="*/ 2147483647 h 178"/>
                <a:gd name="T28" fmla="*/ 2147483647 w 410"/>
                <a:gd name="T29" fmla="*/ 2147483647 h 178"/>
                <a:gd name="T30" fmla="*/ 2147483647 w 410"/>
                <a:gd name="T31" fmla="*/ 2147483647 h 178"/>
                <a:gd name="T32" fmla="*/ 2147483647 w 410"/>
                <a:gd name="T33" fmla="*/ 2147483647 h 178"/>
                <a:gd name="T34" fmla="*/ 2147483647 w 410"/>
                <a:gd name="T35" fmla="*/ 2147483647 h 178"/>
                <a:gd name="T36" fmla="*/ 2147483647 w 410"/>
                <a:gd name="T37" fmla="*/ 2147483647 h 178"/>
                <a:gd name="T38" fmla="*/ 2147483647 w 410"/>
                <a:gd name="T39" fmla="*/ 2147483647 h 178"/>
                <a:gd name="T40" fmla="*/ 2147483647 w 410"/>
                <a:gd name="T41" fmla="*/ 2147483647 h 178"/>
                <a:gd name="T42" fmla="*/ 2147483647 w 410"/>
                <a:gd name="T43" fmla="*/ 0 h 178"/>
                <a:gd name="T44" fmla="*/ 2147483647 w 410"/>
                <a:gd name="T45" fmla="*/ 2147483647 h 178"/>
                <a:gd name="T46" fmla="*/ 2147483647 w 410"/>
                <a:gd name="T47" fmla="*/ 2147483647 h 178"/>
                <a:gd name="T48" fmla="*/ 2147483647 w 410"/>
                <a:gd name="T49" fmla="*/ 2147483647 h 178"/>
                <a:gd name="T50" fmla="*/ 2147483647 w 410"/>
                <a:gd name="T51" fmla="*/ 2147483647 h 178"/>
                <a:gd name="T52" fmla="*/ 2147483647 w 410"/>
                <a:gd name="T53" fmla="*/ 2147483647 h 178"/>
                <a:gd name="T54" fmla="*/ 2147483647 w 410"/>
                <a:gd name="T55" fmla="*/ 2147483647 h 178"/>
                <a:gd name="T56" fmla="*/ 2147483647 w 410"/>
                <a:gd name="T57" fmla="*/ 2147483647 h 178"/>
                <a:gd name="T58" fmla="*/ 2147483647 w 410"/>
                <a:gd name="T59" fmla="*/ 2147483647 h 178"/>
                <a:gd name="T60" fmla="*/ 2147483647 w 410"/>
                <a:gd name="T61" fmla="*/ 2147483647 h 178"/>
                <a:gd name="T62" fmla="*/ 2147483647 w 410"/>
                <a:gd name="T63" fmla="*/ 2147483647 h 178"/>
                <a:gd name="T64" fmla="*/ 2147483647 w 410"/>
                <a:gd name="T65" fmla="*/ 2147483647 h 178"/>
                <a:gd name="T66" fmla="*/ 2147483647 w 410"/>
                <a:gd name="T67" fmla="*/ 2147483647 h 178"/>
                <a:gd name="T68" fmla="*/ 2147483647 w 410"/>
                <a:gd name="T69" fmla="*/ 2147483647 h 178"/>
                <a:gd name="T70" fmla="*/ 2147483647 w 410"/>
                <a:gd name="T71" fmla="*/ 2147483647 h 178"/>
                <a:gd name="T72" fmla="*/ 2147483647 w 410"/>
                <a:gd name="T73" fmla="*/ 2147483647 h 178"/>
                <a:gd name="T74" fmla="*/ 2147483647 w 410"/>
                <a:gd name="T75" fmla="*/ 2147483647 h 178"/>
                <a:gd name="T76" fmla="*/ 2147483647 w 410"/>
                <a:gd name="T77" fmla="*/ 2147483647 h 178"/>
                <a:gd name="T78" fmla="*/ 2147483647 w 410"/>
                <a:gd name="T79" fmla="*/ 2147483647 h 178"/>
                <a:gd name="T80" fmla="*/ 2147483647 w 410"/>
                <a:gd name="T81" fmla="*/ 2147483647 h 178"/>
                <a:gd name="T82" fmla="*/ 2147483647 w 410"/>
                <a:gd name="T83" fmla="*/ 2147483647 h 178"/>
                <a:gd name="T84" fmla="*/ 2147483647 w 410"/>
                <a:gd name="T85" fmla="*/ 2147483647 h 178"/>
                <a:gd name="T86" fmla="*/ 2147483647 w 410"/>
                <a:gd name="T87" fmla="*/ 2147483647 h 178"/>
                <a:gd name="T88" fmla="*/ 2147483647 w 410"/>
                <a:gd name="T89" fmla="*/ 2147483647 h 178"/>
                <a:gd name="T90" fmla="*/ 2147483647 w 410"/>
                <a:gd name="T91" fmla="*/ 2147483647 h 178"/>
                <a:gd name="T92" fmla="*/ 2147483647 w 410"/>
                <a:gd name="T93" fmla="*/ 2147483647 h 178"/>
                <a:gd name="T94" fmla="*/ 2147483647 w 410"/>
                <a:gd name="T95" fmla="*/ 2147483647 h 178"/>
                <a:gd name="T96" fmla="*/ 2147483647 w 410"/>
                <a:gd name="T97" fmla="*/ 2147483647 h 178"/>
                <a:gd name="T98" fmla="*/ 2147483647 w 410"/>
                <a:gd name="T99" fmla="*/ 2147483647 h 178"/>
                <a:gd name="T100" fmla="*/ 2147483647 w 410"/>
                <a:gd name="T101" fmla="*/ 2147483647 h 178"/>
                <a:gd name="T102" fmla="*/ 2147483647 w 410"/>
                <a:gd name="T103" fmla="*/ 2147483647 h 178"/>
                <a:gd name="T104" fmla="*/ 2147483647 w 410"/>
                <a:gd name="T105" fmla="*/ 2147483647 h 178"/>
                <a:gd name="T106" fmla="*/ 2147483647 w 410"/>
                <a:gd name="T107" fmla="*/ 2147483647 h 178"/>
                <a:gd name="T108" fmla="*/ 0 w 410"/>
                <a:gd name="T109" fmla="*/ 2147483647 h 1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10"/>
                <a:gd name="T166" fmla="*/ 0 h 178"/>
                <a:gd name="T167" fmla="*/ 410 w 410"/>
                <a:gd name="T168" fmla="*/ 178 h 1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10" h="178">
                  <a:moveTo>
                    <a:pt x="0" y="118"/>
                  </a:moveTo>
                  <a:lnTo>
                    <a:pt x="2" y="112"/>
                  </a:lnTo>
                  <a:lnTo>
                    <a:pt x="4" y="112"/>
                  </a:lnTo>
                  <a:lnTo>
                    <a:pt x="6" y="108"/>
                  </a:lnTo>
                  <a:lnTo>
                    <a:pt x="6" y="106"/>
                  </a:lnTo>
                  <a:lnTo>
                    <a:pt x="0" y="102"/>
                  </a:lnTo>
                  <a:lnTo>
                    <a:pt x="0" y="100"/>
                  </a:lnTo>
                  <a:lnTo>
                    <a:pt x="6" y="100"/>
                  </a:lnTo>
                  <a:lnTo>
                    <a:pt x="10" y="100"/>
                  </a:lnTo>
                  <a:lnTo>
                    <a:pt x="10" y="98"/>
                  </a:lnTo>
                  <a:lnTo>
                    <a:pt x="16" y="100"/>
                  </a:lnTo>
                  <a:lnTo>
                    <a:pt x="22" y="100"/>
                  </a:lnTo>
                  <a:lnTo>
                    <a:pt x="24" y="102"/>
                  </a:lnTo>
                  <a:lnTo>
                    <a:pt x="24" y="104"/>
                  </a:lnTo>
                  <a:lnTo>
                    <a:pt x="28" y="110"/>
                  </a:lnTo>
                  <a:lnTo>
                    <a:pt x="34" y="110"/>
                  </a:lnTo>
                  <a:lnTo>
                    <a:pt x="34" y="116"/>
                  </a:lnTo>
                  <a:lnTo>
                    <a:pt x="34" y="118"/>
                  </a:lnTo>
                  <a:lnTo>
                    <a:pt x="40" y="116"/>
                  </a:lnTo>
                  <a:lnTo>
                    <a:pt x="46" y="110"/>
                  </a:lnTo>
                  <a:lnTo>
                    <a:pt x="50" y="106"/>
                  </a:lnTo>
                  <a:lnTo>
                    <a:pt x="48" y="102"/>
                  </a:lnTo>
                  <a:lnTo>
                    <a:pt x="50" y="96"/>
                  </a:lnTo>
                  <a:lnTo>
                    <a:pt x="54" y="100"/>
                  </a:lnTo>
                  <a:lnTo>
                    <a:pt x="56" y="98"/>
                  </a:lnTo>
                  <a:lnTo>
                    <a:pt x="60" y="98"/>
                  </a:lnTo>
                  <a:lnTo>
                    <a:pt x="62" y="98"/>
                  </a:lnTo>
                  <a:lnTo>
                    <a:pt x="68" y="102"/>
                  </a:lnTo>
                  <a:lnTo>
                    <a:pt x="74" y="102"/>
                  </a:lnTo>
                  <a:lnTo>
                    <a:pt x="72" y="102"/>
                  </a:lnTo>
                  <a:lnTo>
                    <a:pt x="74" y="104"/>
                  </a:lnTo>
                  <a:lnTo>
                    <a:pt x="80" y="110"/>
                  </a:lnTo>
                  <a:lnTo>
                    <a:pt x="86" y="108"/>
                  </a:lnTo>
                  <a:lnTo>
                    <a:pt x="92" y="110"/>
                  </a:lnTo>
                  <a:lnTo>
                    <a:pt x="98" y="106"/>
                  </a:lnTo>
                  <a:lnTo>
                    <a:pt x="100" y="102"/>
                  </a:lnTo>
                  <a:lnTo>
                    <a:pt x="106" y="102"/>
                  </a:lnTo>
                  <a:lnTo>
                    <a:pt x="112" y="98"/>
                  </a:lnTo>
                  <a:lnTo>
                    <a:pt x="118" y="96"/>
                  </a:lnTo>
                  <a:lnTo>
                    <a:pt x="124" y="98"/>
                  </a:lnTo>
                  <a:lnTo>
                    <a:pt x="130" y="94"/>
                  </a:lnTo>
                  <a:lnTo>
                    <a:pt x="136" y="94"/>
                  </a:lnTo>
                  <a:lnTo>
                    <a:pt x="142" y="94"/>
                  </a:lnTo>
                  <a:lnTo>
                    <a:pt x="142" y="96"/>
                  </a:lnTo>
                  <a:lnTo>
                    <a:pt x="144" y="94"/>
                  </a:lnTo>
                  <a:lnTo>
                    <a:pt x="142" y="90"/>
                  </a:lnTo>
                  <a:lnTo>
                    <a:pt x="148" y="90"/>
                  </a:lnTo>
                  <a:lnTo>
                    <a:pt x="154" y="90"/>
                  </a:lnTo>
                  <a:lnTo>
                    <a:pt x="160" y="94"/>
                  </a:lnTo>
                  <a:lnTo>
                    <a:pt x="162" y="94"/>
                  </a:lnTo>
                  <a:lnTo>
                    <a:pt x="168" y="90"/>
                  </a:lnTo>
                  <a:lnTo>
                    <a:pt x="174" y="90"/>
                  </a:lnTo>
                  <a:lnTo>
                    <a:pt x="174" y="96"/>
                  </a:lnTo>
                  <a:lnTo>
                    <a:pt x="180" y="102"/>
                  </a:lnTo>
                  <a:lnTo>
                    <a:pt x="182" y="102"/>
                  </a:lnTo>
                  <a:lnTo>
                    <a:pt x="186" y="104"/>
                  </a:lnTo>
                  <a:lnTo>
                    <a:pt x="190" y="102"/>
                  </a:lnTo>
                  <a:lnTo>
                    <a:pt x="188" y="96"/>
                  </a:lnTo>
                  <a:lnTo>
                    <a:pt x="190" y="90"/>
                  </a:lnTo>
                  <a:lnTo>
                    <a:pt x="184" y="88"/>
                  </a:lnTo>
                  <a:lnTo>
                    <a:pt x="182" y="84"/>
                  </a:lnTo>
                  <a:lnTo>
                    <a:pt x="186" y="80"/>
                  </a:lnTo>
                  <a:lnTo>
                    <a:pt x="186" y="78"/>
                  </a:lnTo>
                  <a:lnTo>
                    <a:pt x="182" y="72"/>
                  </a:lnTo>
                  <a:lnTo>
                    <a:pt x="178" y="70"/>
                  </a:lnTo>
                  <a:lnTo>
                    <a:pt x="174" y="64"/>
                  </a:lnTo>
                  <a:lnTo>
                    <a:pt x="176" y="58"/>
                  </a:lnTo>
                  <a:lnTo>
                    <a:pt x="182" y="54"/>
                  </a:lnTo>
                  <a:lnTo>
                    <a:pt x="186" y="52"/>
                  </a:lnTo>
                  <a:lnTo>
                    <a:pt x="188" y="50"/>
                  </a:lnTo>
                  <a:lnTo>
                    <a:pt x="194" y="48"/>
                  </a:lnTo>
                  <a:lnTo>
                    <a:pt x="200" y="48"/>
                  </a:lnTo>
                  <a:lnTo>
                    <a:pt x="206" y="44"/>
                  </a:lnTo>
                  <a:lnTo>
                    <a:pt x="208" y="42"/>
                  </a:lnTo>
                  <a:lnTo>
                    <a:pt x="208" y="38"/>
                  </a:lnTo>
                  <a:lnTo>
                    <a:pt x="208" y="32"/>
                  </a:lnTo>
                  <a:lnTo>
                    <a:pt x="208" y="30"/>
                  </a:lnTo>
                  <a:lnTo>
                    <a:pt x="210" y="30"/>
                  </a:lnTo>
                  <a:lnTo>
                    <a:pt x="212" y="30"/>
                  </a:lnTo>
                  <a:lnTo>
                    <a:pt x="218" y="30"/>
                  </a:lnTo>
                  <a:lnTo>
                    <a:pt x="224" y="34"/>
                  </a:lnTo>
                  <a:lnTo>
                    <a:pt x="228" y="28"/>
                  </a:lnTo>
                  <a:lnTo>
                    <a:pt x="228" y="22"/>
                  </a:lnTo>
                  <a:lnTo>
                    <a:pt x="230" y="16"/>
                  </a:lnTo>
                  <a:lnTo>
                    <a:pt x="236" y="20"/>
                  </a:lnTo>
                  <a:lnTo>
                    <a:pt x="240" y="24"/>
                  </a:lnTo>
                  <a:lnTo>
                    <a:pt x="246" y="28"/>
                  </a:lnTo>
                  <a:lnTo>
                    <a:pt x="254" y="30"/>
                  </a:lnTo>
                  <a:lnTo>
                    <a:pt x="258" y="30"/>
                  </a:lnTo>
                  <a:lnTo>
                    <a:pt x="262" y="28"/>
                  </a:lnTo>
                  <a:lnTo>
                    <a:pt x="264" y="26"/>
                  </a:lnTo>
                  <a:lnTo>
                    <a:pt x="270" y="28"/>
                  </a:lnTo>
                  <a:lnTo>
                    <a:pt x="274" y="30"/>
                  </a:lnTo>
                  <a:lnTo>
                    <a:pt x="276" y="30"/>
                  </a:lnTo>
                  <a:lnTo>
                    <a:pt x="276" y="24"/>
                  </a:lnTo>
                  <a:lnTo>
                    <a:pt x="282" y="18"/>
                  </a:lnTo>
                  <a:lnTo>
                    <a:pt x="288" y="16"/>
                  </a:lnTo>
                  <a:lnTo>
                    <a:pt x="290" y="16"/>
                  </a:lnTo>
                  <a:lnTo>
                    <a:pt x="290" y="14"/>
                  </a:lnTo>
                  <a:lnTo>
                    <a:pt x="292" y="8"/>
                  </a:lnTo>
                  <a:lnTo>
                    <a:pt x="292" y="2"/>
                  </a:lnTo>
                  <a:lnTo>
                    <a:pt x="292" y="0"/>
                  </a:lnTo>
                  <a:lnTo>
                    <a:pt x="298" y="0"/>
                  </a:lnTo>
                  <a:lnTo>
                    <a:pt x="304" y="4"/>
                  </a:lnTo>
                  <a:lnTo>
                    <a:pt x="310" y="2"/>
                  </a:lnTo>
                  <a:lnTo>
                    <a:pt x="312" y="4"/>
                  </a:lnTo>
                  <a:lnTo>
                    <a:pt x="318" y="4"/>
                  </a:lnTo>
                  <a:lnTo>
                    <a:pt x="320" y="8"/>
                  </a:lnTo>
                  <a:lnTo>
                    <a:pt x="326" y="10"/>
                  </a:lnTo>
                  <a:lnTo>
                    <a:pt x="332" y="10"/>
                  </a:lnTo>
                  <a:lnTo>
                    <a:pt x="336" y="10"/>
                  </a:lnTo>
                  <a:lnTo>
                    <a:pt x="342" y="14"/>
                  </a:lnTo>
                  <a:lnTo>
                    <a:pt x="346" y="16"/>
                  </a:lnTo>
                  <a:lnTo>
                    <a:pt x="350" y="18"/>
                  </a:lnTo>
                  <a:lnTo>
                    <a:pt x="356" y="18"/>
                  </a:lnTo>
                  <a:lnTo>
                    <a:pt x="360" y="18"/>
                  </a:lnTo>
                  <a:lnTo>
                    <a:pt x="364" y="18"/>
                  </a:lnTo>
                  <a:lnTo>
                    <a:pt x="370" y="14"/>
                  </a:lnTo>
                  <a:lnTo>
                    <a:pt x="376" y="14"/>
                  </a:lnTo>
                  <a:lnTo>
                    <a:pt x="380" y="16"/>
                  </a:lnTo>
                  <a:lnTo>
                    <a:pt x="384" y="18"/>
                  </a:lnTo>
                  <a:lnTo>
                    <a:pt x="390" y="20"/>
                  </a:lnTo>
                  <a:lnTo>
                    <a:pt x="392" y="20"/>
                  </a:lnTo>
                  <a:lnTo>
                    <a:pt x="396" y="26"/>
                  </a:lnTo>
                  <a:lnTo>
                    <a:pt x="396" y="32"/>
                  </a:lnTo>
                  <a:lnTo>
                    <a:pt x="392" y="38"/>
                  </a:lnTo>
                  <a:lnTo>
                    <a:pt x="392" y="44"/>
                  </a:lnTo>
                  <a:lnTo>
                    <a:pt x="398" y="50"/>
                  </a:lnTo>
                  <a:lnTo>
                    <a:pt x="398" y="52"/>
                  </a:lnTo>
                  <a:lnTo>
                    <a:pt x="398" y="56"/>
                  </a:lnTo>
                  <a:lnTo>
                    <a:pt x="404" y="60"/>
                  </a:lnTo>
                  <a:lnTo>
                    <a:pt x="406" y="62"/>
                  </a:lnTo>
                  <a:lnTo>
                    <a:pt x="410" y="68"/>
                  </a:lnTo>
                  <a:lnTo>
                    <a:pt x="406" y="72"/>
                  </a:lnTo>
                  <a:lnTo>
                    <a:pt x="406" y="74"/>
                  </a:lnTo>
                  <a:lnTo>
                    <a:pt x="404" y="76"/>
                  </a:lnTo>
                  <a:lnTo>
                    <a:pt x="404" y="82"/>
                  </a:lnTo>
                  <a:lnTo>
                    <a:pt x="402" y="90"/>
                  </a:lnTo>
                  <a:lnTo>
                    <a:pt x="396" y="90"/>
                  </a:lnTo>
                  <a:lnTo>
                    <a:pt x="392" y="90"/>
                  </a:lnTo>
                  <a:lnTo>
                    <a:pt x="390" y="90"/>
                  </a:lnTo>
                  <a:lnTo>
                    <a:pt x="384" y="86"/>
                  </a:lnTo>
                  <a:lnTo>
                    <a:pt x="376" y="86"/>
                  </a:lnTo>
                  <a:lnTo>
                    <a:pt x="376" y="88"/>
                  </a:lnTo>
                  <a:lnTo>
                    <a:pt x="374" y="90"/>
                  </a:lnTo>
                  <a:lnTo>
                    <a:pt x="376" y="92"/>
                  </a:lnTo>
                  <a:lnTo>
                    <a:pt x="382" y="94"/>
                  </a:lnTo>
                  <a:lnTo>
                    <a:pt x="384" y="96"/>
                  </a:lnTo>
                  <a:lnTo>
                    <a:pt x="384" y="102"/>
                  </a:lnTo>
                  <a:lnTo>
                    <a:pt x="384" y="106"/>
                  </a:lnTo>
                  <a:lnTo>
                    <a:pt x="382" y="106"/>
                  </a:lnTo>
                  <a:lnTo>
                    <a:pt x="376" y="108"/>
                  </a:lnTo>
                  <a:lnTo>
                    <a:pt x="372" y="112"/>
                  </a:lnTo>
                  <a:lnTo>
                    <a:pt x="374" y="118"/>
                  </a:lnTo>
                  <a:lnTo>
                    <a:pt x="374" y="124"/>
                  </a:lnTo>
                  <a:lnTo>
                    <a:pt x="374" y="130"/>
                  </a:lnTo>
                  <a:lnTo>
                    <a:pt x="376" y="136"/>
                  </a:lnTo>
                  <a:lnTo>
                    <a:pt x="370" y="136"/>
                  </a:lnTo>
                  <a:lnTo>
                    <a:pt x="364" y="138"/>
                  </a:lnTo>
                  <a:lnTo>
                    <a:pt x="362" y="138"/>
                  </a:lnTo>
                  <a:lnTo>
                    <a:pt x="362" y="140"/>
                  </a:lnTo>
                  <a:lnTo>
                    <a:pt x="360" y="140"/>
                  </a:lnTo>
                  <a:lnTo>
                    <a:pt x="356" y="144"/>
                  </a:lnTo>
                  <a:lnTo>
                    <a:pt x="352" y="148"/>
                  </a:lnTo>
                  <a:lnTo>
                    <a:pt x="348" y="154"/>
                  </a:lnTo>
                  <a:lnTo>
                    <a:pt x="352" y="158"/>
                  </a:lnTo>
                  <a:lnTo>
                    <a:pt x="352" y="160"/>
                  </a:lnTo>
                  <a:lnTo>
                    <a:pt x="348" y="158"/>
                  </a:lnTo>
                  <a:lnTo>
                    <a:pt x="342" y="156"/>
                  </a:lnTo>
                  <a:lnTo>
                    <a:pt x="336" y="156"/>
                  </a:lnTo>
                  <a:lnTo>
                    <a:pt x="330" y="156"/>
                  </a:lnTo>
                  <a:lnTo>
                    <a:pt x="330" y="158"/>
                  </a:lnTo>
                  <a:lnTo>
                    <a:pt x="324" y="162"/>
                  </a:lnTo>
                  <a:lnTo>
                    <a:pt x="318" y="160"/>
                  </a:lnTo>
                  <a:lnTo>
                    <a:pt x="310" y="160"/>
                  </a:lnTo>
                  <a:lnTo>
                    <a:pt x="304" y="160"/>
                  </a:lnTo>
                  <a:lnTo>
                    <a:pt x="300" y="160"/>
                  </a:lnTo>
                  <a:lnTo>
                    <a:pt x="296" y="162"/>
                  </a:lnTo>
                  <a:lnTo>
                    <a:pt x="294" y="162"/>
                  </a:lnTo>
                  <a:lnTo>
                    <a:pt x="292" y="162"/>
                  </a:lnTo>
                  <a:lnTo>
                    <a:pt x="286" y="166"/>
                  </a:lnTo>
                  <a:lnTo>
                    <a:pt x="280" y="170"/>
                  </a:lnTo>
                  <a:lnTo>
                    <a:pt x="278" y="174"/>
                  </a:lnTo>
                  <a:lnTo>
                    <a:pt x="272" y="178"/>
                  </a:lnTo>
                  <a:lnTo>
                    <a:pt x="266" y="176"/>
                  </a:lnTo>
                  <a:lnTo>
                    <a:pt x="260" y="174"/>
                  </a:lnTo>
                  <a:lnTo>
                    <a:pt x="256" y="174"/>
                  </a:lnTo>
                  <a:lnTo>
                    <a:pt x="254" y="174"/>
                  </a:lnTo>
                  <a:lnTo>
                    <a:pt x="248" y="172"/>
                  </a:lnTo>
                  <a:lnTo>
                    <a:pt x="242" y="170"/>
                  </a:lnTo>
                  <a:lnTo>
                    <a:pt x="236" y="168"/>
                  </a:lnTo>
                  <a:lnTo>
                    <a:pt x="230" y="170"/>
                  </a:lnTo>
                  <a:lnTo>
                    <a:pt x="226" y="168"/>
                  </a:lnTo>
                  <a:lnTo>
                    <a:pt x="222" y="168"/>
                  </a:lnTo>
                  <a:lnTo>
                    <a:pt x="220" y="166"/>
                  </a:lnTo>
                  <a:lnTo>
                    <a:pt x="214" y="166"/>
                  </a:lnTo>
                  <a:lnTo>
                    <a:pt x="208" y="166"/>
                  </a:lnTo>
                  <a:lnTo>
                    <a:pt x="202" y="166"/>
                  </a:lnTo>
                  <a:lnTo>
                    <a:pt x="196" y="164"/>
                  </a:lnTo>
                  <a:lnTo>
                    <a:pt x="190" y="164"/>
                  </a:lnTo>
                  <a:lnTo>
                    <a:pt x="184" y="162"/>
                  </a:lnTo>
                  <a:lnTo>
                    <a:pt x="180" y="162"/>
                  </a:lnTo>
                  <a:lnTo>
                    <a:pt x="174" y="160"/>
                  </a:lnTo>
                  <a:lnTo>
                    <a:pt x="168" y="160"/>
                  </a:lnTo>
                  <a:lnTo>
                    <a:pt x="164" y="160"/>
                  </a:lnTo>
                  <a:lnTo>
                    <a:pt x="160" y="158"/>
                  </a:lnTo>
                  <a:lnTo>
                    <a:pt x="158" y="158"/>
                  </a:lnTo>
                  <a:lnTo>
                    <a:pt x="152" y="154"/>
                  </a:lnTo>
                  <a:lnTo>
                    <a:pt x="152" y="152"/>
                  </a:lnTo>
                  <a:lnTo>
                    <a:pt x="148" y="146"/>
                  </a:lnTo>
                  <a:lnTo>
                    <a:pt x="144" y="142"/>
                  </a:lnTo>
                  <a:lnTo>
                    <a:pt x="140" y="136"/>
                  </a:lnTo>
                  <a:lnTo>
                    <a:pt x="144" y="132"/>
                  </a:lnTo>
                  <a:lnTo>
                    <a:pt x="140" y="130"/>
                  </a:lnTo>
                  <a:lnTo>
                    <a:pt x="136" y="132"/>
                  </a:lnTo>
                  <a:lnTo>
                    <a:pt x="130" y="134"/>
                  </a:lnTo>
                  <a:lnTo>
                    <a:pt x="122" y="136"/>
                  </a:lnTo>
                  <a:lnTo>
                    <a:pt x="118" y="136"/>
                  </a:lnTo>
                  <a:lnTo>
                    <a:pt x="112" y="136"/>
                  </a:lnTo>
                  <a:lnTo>
                    <a:pt x="106" y="136"/>
                  </a:lnTo>
                  <a:lnTo>
                    <a:pt x="104" y="136"/>
                  </a:lnTo>
                  <a:lnTo>
                    <a:pt x="98" y="138"/>
                  </a:lnTo>
                  <a:lnTo>
                    <a:pt x="92" y="138"/>
                  </a:lnTo>
                  <a:lnTo>
                    <a:pt x="86" y="140"/>
                  </a:lnTo>
                  <a:lnTo>
                    <a:pt x="82" y="146"/>
                  </a:lnTo>
                  <a:lnTo>
                    <a:pt x="78" y="152"/>
                  </a:lnTo>
                  <a:lnTo>
                    <a:pt x="72" y="152"/>
                  </a:lnTo>
                  <a:lnTo>
                    <a:pt x="70" y="150"/>
                  </a:lnTo>
                  <a:lnTo>
                    <a:pt x="64" y="148"/>
                  </a:lnTo>
                  <a:lnTo>
                    <a:pt x="58" y="146"/>
                  </a:lnTo>
                  <a:lnTo>
                    <a:pt x="52" y="146"/>
                  </a:lnTo>
                  <a:lnTo>
                    <a:pt x="50" y="144"/>
                  </a:lnTo>
                  <a:lnTo>
                    <a:pt x="50" y="140"/>
                  </a:lnTo>
                  <a:lnTo>
                    <a:pt x="44" y="136"/>
                  </a:lnTo>
                  <a:lnTo>
                    <a:pt x="38" y="140"/>
                  </a:lnTo>
                  <a:lnTo>
                    <a:pt x="34" y="146"/>
                  </a:lnTo>
                  <a:lnTo>
                    <a:pt x="30" y="146"/>
                  </a:lnTo>
                  <a:lnTo>
                    <a:pt x="24" y="144"/>
                  </a:lnTo>
                  <a:lnTo>
                    <a:pt x="24" y="142"/>
                  </a:lnTo>
                  <a:lnTo>
                    <a:pt x="18" y="140"/>
                  </a:lnTo>
                  <a:lnTo>
                    <a:pt x="18" y="134"/>
                  </a:lnTo>
                  <a:lnTo>
                    <a:pt x="12" y="134"/>
                  </a:lnTo>
                  <a:lnTo>
                    <a:pt x="6" y="132"/>
                  </a:lnTo>
                  <a:lnTo>
                    <a:pt x="2" y="132"/>
                  </a:lnTo>
                  <a:lnTo>
                    <a:pt x="4" y="126"/>
                  </a:lnTo>
                  <a:lnTo>
                    <a:pt x="2" y="122"/>
                  </a:lnTo>
                  <a:lnTo>
                    <a:pt x="0" y="122"/>
                  </a:lnTo>
                  <a:lnTo>
                    <a:pt x="0" y="1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0" name="Freeform 27"/>
            <p:cNvSpPr>
              <a:spLocks/>
            </p:cNvSpPr>
            <p:nvPr/>
          </p:nvSpPr>
          <p:spPr bwMode="auto">
            <a:xfrm>
              <a:off x="4502150" y="2332038"/>
              <a:ext cx="244475" cy="350837"/>
            </a:xfrm>
            <a:custGeom>
              <a:avLst/>
              <a:gdLst>
                <a:gd name="T0" fmla="*/ 2147483647 w 598"/>
                <a:gd name="T1" fmla="*/ 2147483647 h 852"/>
                <a:gd name="T2" fmla="*/ 2147483647 w 598"/>
                <a:gd name="T3" fmla="*/ 2147483647 h 852"/>
                <a:gd name="T4" fmla="*/ 2147483647 w 598"/>
                <a:gd name="T5" fmla="*/ 2147483647 h 852"/>
                <a:gd name="T6" fmla="*/ 2147483647 w 598"/>
                <a:gd name="T7" fmla="*/ 2147483647 h 852"/>
                <a:gd name="T8" fmla="*/ 2147483647 w 598"/>
                <a:gd name="T9" fmla="*/ 2147483647 h 852"/>
                <a:gd name="T10" fmla="*/ 2147483647 w 598"/>
                <a:gd name="T11" fmla="*/ 2147483647 h 852"/>
                <a:gd name="T12" fmla="*/ 2147483647 w 598"/>
                <a:gd name="T13" fmla="*/ 2147483647 h 852"/>
                <a:gd name="T14" fmla="*/ 2147483647 w 598"/>
                <a:gd name="T15" fmla="*/ 2147483647 h 852"/>
                <a:gd name="T16" fmla="*/ 2147483647 w 598"/>
                <a:gd name="T17" fmla="*/ 2147483647 h 852"/>
                <a:gd name="T18" fmla="*/ 2147483647 w 598"/>
                <a:gd name="T19" fmla="*/ 2147483647 h 852"/>
                <a:gd name="T20" fmla="*/ 2147483647 w 598"/>
                <a:gd name="T21" fmla="*/ 2147483647 h 852"/>
                <a:gd name="T22" fmla="*/ 2147483647 w 598"/>
                <a:gd name="T23" fmla="*/ 2147483647 h 852"/>
                <a:gd name="T24" fmla="*/ 2147483647 w 598"/>
                <a:gd name="T25" fmla="*/ 2147483647 h 852"/>
                <a:gd name="T26" fmla="*/ 2147483647 w 598"/>
                <a:gd name="T27" fmla="*/ 2147483647 h 852"/>
                <a:gd name="T28" fmla="*/ 2147483647 w 598"/>
                <a:gd name="T29" fmla="*/ 0 h 852"/>
                <a:gd name="T30" fmla="*/ 2147483647 w 598"/>
                <a:gd name="T31" fmla="*/ 2147483647 h 852"/>
                <a:gd name="T32" fmla="*/ 2147483647 w 598"/>
                <a:gd name="T33" fmla="*/ 2147483647 h 852"/>
                <a:gd name="T34" fmla="*/ 2147483647 w 598"/>
                <a:gd name="T35" fmla="*/ 2147483647 h 852"/>
                <a:gd name="T36" fmla="*/ 2147483647 w 598"/>
                <a:gd name="T37" fmla="*/ 2147483647 h 852"/>
                <a:gd name="T38" fmla="*/ 2147483647 w 598"/>
                <a:gd name="T39" fmla="*/ 2147483647 h 852"/>
                <a:gd name="T40" fmla="*/ 2147483647 w 598"/>
                <a:gd name="T41" fmla="*/ 2147483647 h 852"/>
                <a:gd name="T42" fmla="*/ 2147483647 w 598"/>
                <a:gd name="T43" fmla="*/ 2147483647 h 852"/>
                <a:gd name="T44" fmla="*/ 2147483647 w 598"/>
                <a:gd name="T45" fmla="*/ 2147483647 h 852"/>
                <a:gd name="T46" fmla="*/ 2147483647 w 598"/>
                <a:gd name="T47" fmla="*/ 2147483647 h 852"/>
                <a:gd name="T48" fmla="*/ 2147483647 w 598"/>
                <a:gd name="T49" fmla="*/ 2147483647 h 852"/>
                <a:gd name="T50" fmla="*/ 2147483647 w 598"/>
                <a:gd name="T51" fmla="*/ 2147483647 h 852"/>
                <a:gd name="T52" fmla="*/ 2147483647 w 598"/>
                <a:gd name="T53" fmla="*/ 2147483647 h 852"/>
                <a:gd name="T54" fmla="*/ 2147483647 w 598"/>
                <a:gd name="T55" fmla="*/ 2147483647 h 852"/>
                <a:gd name="T56" fmla="*/ 2147483647 w 598"/>
                <a:gd name="T57" fmla="*/ 2147483647 h 852"/>
                <a:gd name="T58" fmla="*/ 2147483647 w 598"/>
                <a:gd name="T59" fmla="*/ 2147483647 h 852"/>
                <a:gd name="T60" fmla="*/ 2147483647 w 598"/>
                <a:gd name="T61" fmla="*/ 2147483647 h 852"/>
                <a:gd name="T62" fmla="*/ 2147483647 w 598"/>
                <a:gd name="T63" fmla="*/ 2147483647 h 852"/>
                <a:gd name="T64" fmla="*/ 2147483647 w 598"/>
                <a:gd name="T65" fmla="*/ 2147483647 h 852"/>
                <a:gd name="T66" fmla="*/ 2147483647 w 598"/>
                <a:gd name="T67" fmla="*/ 2147483647 h 852"/>
                <a:gd name="T68" fmla="*/ 2147483647 w 598"/>
                <a:gd name="T69" fmla="*/ 2147483647 h 852"/>
                <a:gd name="T70" fmla="*/ 2147483647 w 598"/>
                <a:gd name="T71" fmla="*/ 2147483647 h 852"/>
                <a:gd name="T72" fmla="*/ 2147483647 w 598"/>
                <a:gd name="T73" fmla="*/ 2147483647 h 852"/>
                <a:gd name="T74" fmla="*/ 2147483647 w 598"/>
                <a:gd name="T75" fmla="*/ 2147483647 h 852"/>
                <a:gd name="T76" fmla="*/ 2147483647 w 598"/>
                <a:gd name="T77" fmla="*/ 2147483647 h 852"/>
                <a:gd name="T78" fmla="*/ 2147483647 w 598"/>
                <a:gd name="T79" fmla="*/ 2147483647 h 852"/>
                <a:gd name="T80" fmla="*/ 2147483647 w 598"/>
                <a:gd name="T81" fmla="*/ 2147483647 h 852"/>
                <a:gd name="T82" fmla="*/ 2147483647 w 598"/>
                <a:gd name="T83" fmla="*/ 2147483647 h 852"/>
                <a:gd name="T84" fmla="*/ 2147483647 w 598"/>
                <a:gd name="T85" fmla="*/ 2147483647 h 852"/>
                <a:gd name="T86" fmla="*/ 2147483647 w 598"/>
                <a:gd name="T87" fmla="*/ 2147483647 h 852"/>
                <a:gd name="T88" fmla="*/ 2147483647 w 598"/>
                <a:gd name="T89" fmla="*/ 2147483647 h 852"/>
                <a:gd name="T90" fmla="*/ 2147483647 w 598"/>
                <a:gd name="T91" fmla="*/ 2147483647 h 852"/>
                <a:gd name="T92" fmla="*/ 2147483647 w 598"/>
                <a:gd name="T93" fmla="*/ 2147483647 h 852"/>
                <a:gd name="T94" fmla="*/ 2147483647 w 598"/>
                <a:gd name="T95" fmla="*/ 2147483647 h 852"/>
                <a:gd name="T96" fmla="*/ 2147483647 w 598"/>
                <a:gd name="T97" fmla="*/ 2147483647 h 852"/>
                <a:gd name="T98" fmla="*/ 2147483647 w 598"/>
                <a:gd name="T99" fmla="*/ 2147483647 h 852"/>
                <a:gd name="T100" fmla="*/ 2147483647 w 598"/>
                <a:gd name="T101" fmla="*/ 2147483647 h 852"/>
                <a:gd name="T102" fmla="*/ 2147483647 w 598"/>
                <a:gd name="T103" fmla="*/ 2147483647 h 852"/>
                <a:gd name="T104" fmla="*/ 2147483647 w 598"/>
                <a:gd name="T105" fmla="*/ 2147483647 h 852"/>
                <a:gd name="T106" fmla="*/ 2147483647 w 598"/>
                <a:gd name="T107" fmla="*/ 2147483647 h 852"/>
                <a:gd name="T108" fmla="*/ 2147483647 w 598"/>
                <a:gd name="T109" fmla="*/ 2147483647 h 852"/>
                <a:gd name="T110" fmla="*/ 2147483647 w 598"/>
                <a:gd name="T111" fmla="*/ 2147483647 h 852"/>
                <a:gd name="T112" fmla="*/ 2147483647 w 598"/>
                <a:gd name="T113" fmla="*/ 2147483647 h 85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98"/>
                <a:gd name="T172" fmla="*/ 0 h 852"/>
                <a:gd name="T173" fmla="*/ 598 w 598"/>
                <a:gd name="T174" fmla="*/ 852 h 85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98" h="852">
                  <a:moveTo>
                    <a:pt x="6" y="608"/>
                  </a:moveTo>
                  <a:lnTo>
                    <a:pt x="8" y="608"/>
                  </a:lnTo>
                  <a:lnTo>
                    <a:pt x="12" y="610"/>
                  </a:lnTo>
                  <a:lnTo>
                    <a:pt x="16" y="616"/>
                  </a:lnTo>
                  <a:lnTo>
                    <a:pt x="22" y="622"/>
                  </a:lnTo>
                  <a:lnTo>
                    <a:pt x="28" y="620"/>
                  </a:lnTo>
                  <a:lnTo>
                    <a:pt x="28" y="618"/>
                  </a:lnTo>
                  <a:lnTo>
                    <a:pt x="30" y="612"/>
                  </a:lnTo>
                  <a:lnTo>
                    <a:pt x="30" y="606"/>
                  </a:lnTo>
                  <a:lnTo>
                    <a:pt x="34" y="600"/>
                  </a:lnTo>
                  <a:lnTo>
                    <a:pt x="34" y="598"/>
                  </a:lnTo>
                  <a:lnTo>
                    <a:pt x="34" y="594"/>
                  </a:lnTo>
                  <a:lnTo>
                    <a:pt x="32" y="590"/>
                  </a:lnTo>
                  <a:lnTo>
                    <a:pt x="30" y="584"/>
                  </a:lnTo>
                  <a:lnTo>
                    <a:pt x="28" y="580"/>
                  </a:lnTo>
                  <a:lnTo>
                    <a:pt x="32" y="574"/>
                  </a:lnTo>
                  <a:lnTo>
                    <a:pt x="38" y="570"/>
                  </a:lnTo>
                  <a:lnTo>
                    <a:pt x="38" y="564"/>
                  </a:lnTo>
                  <a:lnTo>
                    <a:pt x="36" y="558"/>
                  </a:lnTo>
                  <a:lnTo>
                    <a:pt x="42" y="556"/>
                  </a:lnTo>
                  <a:lnTo>
                    <a:pt x="48" y="558"/>
                  </a:lnTo>
                  <a:lnTo>
                    <a:pt x="54" y="554"/>
                  </a:lnTo>
                  <a:lnTo>
                    <a:pt x="60" y="550"/>
                  </a:lnTo>
                  <a:lnTo>
                    <a:pt x="64" y="548"/>
                  </a:lnTo>
                  <a:lnTo>
                    <a:pt x="68" y="542"/>
                  </a:lnTo>
                  <a:lnTo>
                    <a:pt x="68" y="536"/>
                  </a:lnTo>
                  <a:lnTo>
                    <a:pt x="68" y="530"/>
                  </a:lnTo>
                  <a:lnTo>
                    <a:pt x="72" y="524"/>
                  </a:lnTo>
                  <a:lnTo>
                    <a:pt x="70" y="518"/>
                  </a:lnTo>
                  <a:lnTo>
                    <a:pt x="66" y="512"/>
                  </a:lnTo>
                  <a:lnTo>
                    <a:pt x="62" y="506"/>
                  </a:lnTo>
                  <a:lnTo>
                    <a:pt x="58" y="500"/>
                  </a:lnTo>
                  <a:lnTo>
                    <a:pt x="56" y="492"/>
                  </a:lnTo>
                  <a:lnTo>
                    <a:pt x="56" y="486"/>
                  </a:lnTo>
                  <a:lnTo>
                    <a:pt x="62" y="486"/>
                  </a:lnTo>
                  <a:lnTo>
                    <a:pt x="70" y="484"/>
                  </a:lnTo>
                  <a:lnTo>
                    <a:pt x="72" y="484"/>
                  </a:lnTo>
                  <a:lnTo>
                    <a:pt x="76" y="484"/>
                  </a:lnTo>
                  <a:lnTo>
                    <a:pt x="78" y="478"/>
                  </a:lnTo>
                  <a:lnTo>
                    <a:pt x="82" y="472"/>
                  </a:lnTo>
                  <a:lnTo>
                    <a:pt x="84" y="466"/>
                  </a:lnTo>
                  <a:lnTo>
                    <a:pt x="76" y="458"/>
                  </a:lnTo>
                  <a:lnTo>
                    <a:pt x="70" y="452"/>
                  </a:lnTo>
                  <a:lnTo>
                    <a:pt x="62" y="452"/>
                  </a:lnTo>
                  <a:lnTo>
                    <a:pt x="56" y="448"/>
                  </a:lnTo>
                  <a:lnTo>
                    <a:pt x="48" y="442"/>
                  </a:lnTo>
                  <a:lnTo>
                    <a:pt x="50" y="432"/>
                  </a:lnTo>
                  <a:lnTo>
                    <a:pt x="52" y="426"/>
                  </a:lnTo>
                  <a:lnTo>
                    <a:pt x="52" y="422"/>
                  </a:lnTo>
                  <a:lnTo>
                    <a:pt x="54" y="416"/>
                  </a:lnTo>
                  <a:lnTo>
                    <a:pt x="56" y="408"/>
                  </a:lnTo>
                  <a:lnTo>
                    <a:pt x="54" y="404"/>
                  </a:lnTo>
                  <a:lnTo>
                    <a:pt x="48" y="394"/>
                  </a:lnTo>
                  <a:lnTo>
                    <a:pt x="46" y="386"/>
                  </a:lnTo>
                  <a:lnTo>
                    <a:pt x="46" y="374"/>
                  </a:lnTo>
                  <a:lnTo>
                    <a:pt x="44" y="368"/>
                  </a:lnTo>
                  <a:lnTo>
                    <a:pt x="50" y="362"/>
                  </a:lnTo>
                  <a:lnTo>
                    <a:pt x="46" y="356"/>
                  </a:lnTo>
                  <a:lnTo>
                    <a:pt x="44" y="350"/>
                  </a:lnTo>
                  <a:lnTo>
                    <a:pt x="42" y="342"/>
                  </a:lnTo>
                  <a:lnTo>
                    <a:pt x="50" y="332"/>
                  </a:lnTo>
                  <a:lnTo>
                    <a:pt x="48" y="326"/>
                  </a:lnTo>
                  <a:lnTo>
                    <a:pt x="54" y="320"/>
                  </a:lnTo>
                  <a:lnTo>
                    <a:pt x="56" y="318"/>
                  </a:lnTo>
                  <a:lnTo>
                    <a:pt x="62" y="312"/>
                  </a:lnTo>
                  <a:lnTo>
                    <a:pt x="68" y="306"/>
                  </a:lnTo>
                  <a:lnTo>
                    <a:pt x="74" y="302"/>
                  </a:lnTo>
                  <a:lnTo>
                    <a:pt x="82" y="298"/>
                  </a:lnTo>
                  <a:lnTo>
                    <a:pt x="90" y="296"/>
                  </a:lnTo>
                  <a:lnTo>
                    <a:pt x="96" y="296"/>
                  </a:lnTo>
                  <a:lnTo>
                    <a:pt x="108" y="296"/>
                  </a:lnTo>
                  <a:lnTo>
                    <a:pt x="116" y="298"/>
                  </a:lnTo>
                  <a:lnTo>
                    <a:pt x="134" y="296"/>
                  </a:lnTo>
                  <a:lnTo>
                    <a:pt x="136" y="296"/>
                  </a:lnTo>
                  <a:lnTo>
                    <a:pt x="136" y="294"/>
                  </a:lnTo>
                  <a:lnTo>
                    <a:pt x="140" y="290"/>
                  </a:lnTo>
                  <a:lnTo>
                    <a:pt x="138" y="278"/>
                  </a:lnTo>
                  <a:lnTo>
                    <a:pt x="136" y="272"/>
                  </a:lnTo>
                  <a:lnTo>
                    <a:pt x="128" y="272"/>
                  </a:lnTo>
                  <a:lnTo>
                    <a:pt x="122" y="268"/>
                  </a:lnTo>
                  <a:lnTo>
                    <a:pt x="114" y="266"/>
                  </a:lnTo>
                  <a:lnTo>
                    <a:pt x="122" y="258"/>
                  </a:lnTo>
                  <a:lnTo>
                    <a:pt x="132" y="246"/>
                  </a:lnTo>
                  <a:lnTo>
                    <a:pt x="140" y="238"/>
                  </a:lnTo>
                  <a:lnTo>
                    <a:pt x="146" y="234"/>
                  </a:lnTo>
                  <a:lnTo>
                    <a:pt x="148" y="224"/>
                  </a:lnTo>
                  <a:lnTo>
                    <a:pt x="154" y="222"/>
                  </a:lnTo>
                  <a:lnTo>
                    <a:pt x="154" y="212"/>
                  </a:lnTo>
                  <a:lnTo>
                    <a:pt x="154" y="206"/>
                  </a:lnTo>
                  <a:lnTo>
                    <a:pt x="154" y="200"/>
                  </a:lnTo>
                  <a:lnTo>
                    <a:pt x="160" y="190"/>
                  </a:lnTo>
                  <a:lnTo>
                    <a:pt x="156" y="184"/>
                  </a:lnTo>
                  <a:lnTo>
                    <a:pt x="156" y="178"/>
                  </a:lnTo>
                  <a:lnTo>
                    <a:pt x="154" y="172"/>
                  </a:lnTo>
                  <a:lnTo>
                    <a:pt x="160" y="172"/>
                  </a:lnTo>
                  <a:lnTo>
                    <a:pt x="174" y="170"/>
                  </a:lnTo>
                  <a:lnTo>
                    <a:pt x="176" y="170"/>
                  </a:lnTo>
                  <a:lnTo>
                    <a:pt x="186" y="166"/>
                  </a:lnTo>
                  <a:lnTo>
                    <a:pt x="196" y="162"/>
                  </a:lnTo>
                  <a:lnTo>
                    <a:pt x="196" y="158"/>
                  </a:lnTo>
                  <a:lnTo>
                    <a:pt x="192" y="150"/>
                  </a:lnTo>
                  <a:lnTo>
                    <a:pt x="202" y="144"/>
                  </a:lnTo>
                  <a:lnTo>
                    <a:pt x="210" y="136"/>
                  </a:lnTo>
                  <a:lnTo>
                    <a:pt x="212" y="134"/>
                  </a:lnTo>
                  <a:lnTo>
                    <a:pt x="222" y="124"/>
                  </a:lnTo>
                  <a:lnTo>
                    <a:pt x="230" y="120"/>
                  </a:lnTo>
                  <a:lnTo>
                    <a:pt x="236" y="116"/>
                  </a:lnTo>
                  <a:lnTo>
                    <a:pt x="238" y="108"/>
                  </a:lnTo>
                  <a:lnTo>
                    <a:pt x="232" y="102"/>
                  </a:lnTo>
                  <a:lnTo>
                    <a:pt x="222" y="94"/>
                  </a:lnTo>
                  <a:lnTo>
                    <a:pt x="236" y="88"/>
                  </a:lnTo>
                  <a:lnTo>
                    <a:pt x="242" y="82"/>
                  </a:lnTo>
                  <a:lnTo>
                    <a:pt x="246" y="76"/>
                  </a:lnTo>
                  <a:lnTo>
                    <a:pt x="248" y="70"/>
                  </a:lnTo>
                  <a:lnTo>
                    <a:pt x="258" y="62"/>
                  </a:lnTo>
                  <a:lnTo>
                    <a:pt x="264" y="60"/>
                  </a:lnTo>
                  <a:lnTo>
                    <a:pt x="272" y="56"/>
                  </a:lnTo>
                  <a:lnTo>
                    <a:pt x="280" y="56"/>
                  </a:lnTo>
                  <a:lnTo>
                    <a:pt x="290" y="58"/>
                  </a:lnTo>
                  <a:lnTo>
                    <a:pt x="296" y="60"/>
                  </a:lnTo>
                  <a:lnTo>
                    <a:pt x="302" y="60"/>
                  </a:lnTo>
                  <a:lnTo>
                    <a:pt x="312" y="48"/>
                  </a:lnTo>
                  <a:lnTo>
                    <a:pt x="310" y="38"/>
                  </a:lnTo>
                  <a:lnTo>
                    <a:pt x="310" y="34"/>
                  </a:lnTo>
                  <a:lnTo>
                    <a:pt x="310" y="28"/>
                  </a:lnTo>
                  <a:lnTo>
                    <a:pt x="322" y="26"/>
                  </a:lnTo>
                  <a:lnTo>
                    <a:pt x="332" y="30"/>
                  </a:lnTo>
                  <a:lnTo>
                    <a:pt x="346" y="30"/>
                  </a:lnTo>
                  <a:lnTo>
                    <a:pt x="366" y="34"/>
                  </a:lnTo>
                  <a:lnTo>
                    <a:pt x="390" y="40"/>
                  </a:lnTo>
                  <a:lnTo>
                    <a:pt x="398" y="36"/>
                  </a:lnTo>
                  <a:lnTo>
                    <a:pt x="402" y="32"/>
                  </a:lnTo>
                  <a:lnTo>
                    <a:pt x="398" y="30"/>
                  </a:lnTo>
                  <a:lnTo>
                    <a:pt x="390" y="28"/>
                  </a:lnTo>
                  <a:lnTo>
                    <a:pt x="402" y="22"/>
                  </a:lnTo>
                  <a:lnTo>
                    <a:pt x="406" y="14"/>
                  </a:lnTo>
                  <a:lnTo>
                    <a:pt x="406" y="12"/>
                  </a:lnTo>
                  <a:lnTo>
                    <a:pt x="406" y="6"/>
                  </a:lnTo>
                  <a:lnTo>
                    <a:pt x="398" y="2"/>
                  </a:lnTo>
                  <a:lnTo>
                    <a:pt x="404" y="0"/>
                  </a:lnTo>
                  <a:lnTo>
                    <a:pt x="410" y="0"/>
                  </a:lnTo>
                  <a:lnTo>
                    <a:pt x="416" y="0"/>
                  </a:lnTo>
                  <a:lnTo>
                    <a:pt x="424" y="0"/>
                  </a:lnTo>
                  <a:lnTo>
                    <a:pt x="428" y="2"/>
                  </a:lnTo>
                  <a:lnTo>
                    <a:pt x="430" y="6"/>
                  </a:lnTo>
                  <a:lnTo>
                    <a:pt x="436" y="8"/>
                  </a:lnTo>
                  <a:lnTo>
                    <a:pt x="444" y="12"/>
                  </a:lnTo>
                  <a:lnTo>
                    <a:pt x="448" y="14"/>
                  </a:lnTo>
                  <a:lnTo>
                    <a:pt x="456" y="18"/>
                  </a:lnTo>
                  <a:lnTo>
                    <a:pt x="462" y="22"/>
                  </a:lnTo>
                  <a:lnTo>
                    <a:pt x="468" y="22"/>
                  </a:lnTo>
                  <a:lnTo>
                    <a:pt x="474" y="26"/>
                  </a:lnTo>
                  <a:lnTo>
                    <a:pt x="482" y="28"/>
                  </a:lnTo>
                  <a:lnTo>
                    <a:pt x="488" y="32"/>
                  </a:lnTo>
                  <a:lnTo>
                    <a:pt x="494" y="32"/>
                  </a:lnTo>
                  <a:lnTo>
                    <a:pt x="498" y="34"/>
                  </a:lnTo>
                  <a:lnTo>
                    <a:pt x="504" y="34"/>
                  </a:lnTo>
                  <a:lnTo>
                    <a:pt x="508" y="36"/>
                  </a:lnTo>
                  <a:lnTo>
                    <a:pt x="514" y="38"/>
                  </a:lnTo>
                  <a:lnTo>
                    <a:pt x="520" y="38"/>
                  </a:lnTo>
                  <a:lnTo>
                    <a:pt x="528" y="42"/>
                  </a:lnTo>
                  <a:lnTo>
                    <a:pt x="534" y="46"/>
                  </a:lnTo>
                  <a:lnTo>
                    <a:pt x="536" y="52"/>
                  </a:lnTo>
                  <a:lnTo>
                    <a:pt x="542" y="52"/>
                  </a:lnTo>
                  <a:lnTo>
                    <a:pt x="548" y="58"/>
                  </a:lnTo>
                  <a:lnTo>
                    <a:pt x="554" y="60"/>
                  </a:lnTo>
                  <a:lnTo>
                    <a:pt x="560" y="64"/>
                  </a:lnTo>
                  <a:lnTo>
                    <a:pt x="560" y="66"/>
                  </a:lnTo>
                  <a:lnTo>
                    <a:pt x="552" y="68"/>
                  </a:lnTo>
                  <a:lnTo>
                    <a:pt x="554" y="76"/>
                  </a:lnTo>
                  <a:lnTo>
                    <a:pt x="554" y="80"/>
                  </a:lnTo>
                  <a:lnTo>
                    <a:pt x="554" y="86"/>
                  </a:lnTo>
                  <a:lnTo>
                    <a:pt x="556" y="94"/>
                  </a:lnTo>
                  <a:lnTo>
                    <a:pt x="562" y="94"/>
                  </a:lnTo>
                  <a:lnTo>
                    <a:pt x="568" y="94"/>
                  </a:lnTo>
                  <a:lnTo>
                    <a:pt x="568" y="100"/>
                  </a:lnTo>
                  <a:lnTo>
                    <a:pt x="564" y="104"/>
                  </a:lnTo>
                  <a:lnTo>
                    <a:pt x="560" y="110"/>
                  </a:lnTo>
                  <a:lnTo>
                    <a:pt x="566" y="114"/>
                  </a:lnTo>
                  <a:lnTo>
                    <a:pt x="572" y="120"/>
                  </a:lnTo>
                  <a:lnTo>
                    <a:pt x="580" y="128"/>
                  </a:lnTo>
                  <a:lnTo>
                    <a:pt x="582" y="130"/>
                  </a:lnTo>
                  <a:lnTo>
                    <a:pt x="578" y="138"/>
                  </a:lnTo>
                  <a:lnTo>
                    <a:pt x="578" y="144"/>
                  </a:lnTo>
                  <a:lnTo>
                    <a:pt x="574" y="150"/>
                  </a:lnTo>
                  <a:lnTo>
                    <a:pt x="572" y="156"/>
                  </a:lnTo>
                  <a:lnTo>
                    <a:pt x="572" y="162"/>
                  </a:lnTo>
                  <a:lnTo>
                    <a:pt x="578" y="168"/>
                  </a:lnTo>
                  <a:lnTo>
                    <a:pt x="584" y="172"/>
                  </a:lnTo>
                  <a:lnTo>
                    <a:pt x="588" y="178"/>
                  </a:lnTo>
                  <a:lnTo>
                    <a:pt x="594" y="184"/>
                  </a:lnTo>
                  <a:lnTo>
                    <a:pt x="596" y="190"/>
                  </a:lnTo>
                  <a:lnTo>
                    <a:pt x="598" y="190"/>
                  </a:lnTo>
                  <a:lnTo>
                    <a:pt x="590" y="192"/>
                  </a:lnTo>
                  <a:lnTo>
                    <a:pt x="584" y="194"/>
                  </a:lnTo>
                  <a:lnTo>
                    <a:pt x="578" y="192"/>
                  </a:lnTo>
                  <a:lnTo>
                    <a:pt x="572" y="192"/>
                  </a:lnTo>
                  <a:lnTo>
                    <a:pt x="568" y="192"/>
                  </a:lnTo>
                  <a:lnTo>
                    <a:pt x="560" y="194"/>
                  </a:lnTo>
                  <a:lnTo>
                    <a:pt x="554" y="192"/>
                  </a:lnTo>
                  <a:lnTo>
                    <a:pt x="552" y="190"/>
                  </a:lnTo>
                  <a:lnTo>
                    <a:pt x="556" y="194"/>
                  </a:lnTo>
                  <a:lnTo>
                    <a:pt x="550" y="194"/>
                  </a:lnTo>
                  <a:lnTo>
                    <a:pt x="544" y="194"/>
                  </a:lnTo>
                  <a:lnTo>
                    <a:pt x="538" y="192"/>
                  </a:lnTo>
                  <a:lnTo>
                    <a:pt x="532" y="188"/>
                  </a:lnTo>
                  <a:lnTo>
                    <a:pt x="532" y="194"/>
                  </a:lnTo>
                  <a:lnTo>
                    <a:pt x="526" y="192"/>
                  </a:lnTo>
                  <a:lnTo>
                    <a:pt x="520" y="190"/>
                  </a:lnTo>
                  <a:lnTo>
                    <a:pt x="512" y="190"/>
                  </a:lnTo>
                  <a:lnTo>
                    <a:pt x="514" y="198"/>
                  </a:lnTo>
                  <a:lnTo>
                    <a:pt x="516" y="202"/>
                  </a:lnTo>
                  <a:lnTo>
                    <a:pt x="518" y="208"/>
                  </a:lnTo>
                  <a:lnTo>
                    <a:pt x="512" y="208"/>
                  </a:lnTo>
                  <a:lnTo>
                    <a:pt x="506" y="204"/>
                  </a:lnTo>
                  <a:lnTo>
                    <a:pt x="502" y="204"/>
                  </a:lnTo>
                  <a:lnTo>
                    <a:pt x="508" y="206"/>
                  </a:lnTo>
                  <a:lnTo>
                    <a:pt x="502" y="210"/>
                  </a:lnTo>
                  <a:lnTo>
                    <a:pt x="496" y="208"/>
                  </a:lnTo>
                  <a:lnTo>
                    <a:pt x="502" y="212"/>
                  </a:lnTo>
                  <a:lnTo>
                    <a:pt x="496" y="216"/>
                  </a:lnTo>
                  <a:lnTo>
                    <a:pt x="490" y="216"/>
                  </a:lnTo>
                  <a:lnTo>
                    <a:pt x="482" y="216"/>
                  </a:lnTo>
                  <a:lnTo>
                    <a:pt x="478" y="216"/>
                  </a:lnTo>
                  <a:lnTo>
                    <a:pt x="478" y="220"/>
                  </a:lnTo>
                  <a:lnTo>
                    <a:pt x="484" y="220"/>
                  </a:lnTo>
                  <a:lnTo>
                    <a:pt x="486" y="226"/>
                  </a:lnTo>
                  <a:lnTo>
                    <a:pt x="484" y="232"/>
                  </a:lnTo>
                  <a:lnTo>
                    <a:pt x="482" y="236"/>
                  </a:lnTo>
                  <a:lnTo>
                    <a:pt x="476" y="240"/>
                  </a:lnTo>
                  <a:lnTo>
                    <a:pt x="474" y="240"/>
                  </a:lnTo>
                  <a:lnTo>
                    <a:pt x="470" y="244"/>
                  </a:lnTo>
                  <a:lnTo>
                    <a:pt x="466" y="250"/>
                  </a:lnTo>
                  <a:lnTo>
                    <a:pt x="460" y="248"/>
                  </a:lnTo>
                  <a:lnTo>
                    <a:pt x="466" y="254"/>
                  </a:lnTo>
                  <a:lnTo>
                    <a:pt x="472" y="256"/>
                  </a:lnTo>
                  <a:lnTo>
                    <a:pt x="466" y="258"/>
                  </a:lnTo>
                  <a:lnTo>
                    <a:pt x="470" y="264"/>
                  </a:lnTo>
                  <a:lnTo>
                    <a:pt x="476" y="264"/>
                  </a:lnTo>
                  <a:lnTo>
                    <a:pt x="484" y="268"/>
                  </a:lnTo>
                  <a:lnTo>
                    <a:pt x="488" y="274"/>
                  </a:lnTo>
                  <a:lnTo>
                    <a:pt x="482" y="278"/>
                  </a:lnTo>
                  <a:lnTo>
                    <a:pt x="476" y="282"/>
                  </a:lnTo>
                  <a:lnTo>
                    <a:pt x="470" y="284"/>
                  </a:lnTo>
                  <a:lnTo>
                    <a:pt x="464" y="288"/>
                  </a:lnTo>
                  <a:lnTo>
                    <a:pt x="458" y="294"/>
                  </a:lnTo>
                  <a:lnTo>
                    <a:pt x="458" y="300"/>
                  </a:lnTo>
                  <a:lnTo>
                    <a:pt x="452" y="306"/>
                  </a:lnTo>
                  <a:lnTo>
                    <a:pt x="446" y="312"/>
                  </a:lnTo>
                  <a:lnTo>
                    <a:pt x="440" y="316"/>
                  </a:lnTo>
                  <a:lnTo>
                    <a:pt x="436" y="316"/>
                  </a:lnTo>
                  <a:lnTo>
                    <a:pt x="436" y="322"/>
                  </a:lnTo>
                  <a:lnTo>
                    <a:pt x="432" y="316"/>
                  </a:lnTo>
                  <a:lnTo>
                    <a:pt x="426" y="322"/>
                  </a:lnTo>
                  <a:lnTo>
                    <a:pt x="420" y="322"/>
                  </a:lnTo>
                  <a:lnTo>
                    <a:pt x="416" y="326"/>
                  </a:lnTo>
                  <a:lnTo>
                    <a:pt x="410" y="326"/>
                  </a:lnTo>
                  <a:lnTo>
                    <a:pt x="406" y="334"/>
                  </a:lnTo>
                  <a:lnTo>
                    <a:pt x="400" y="336"/>
                  </a:lnTo>
                  <a:lnTo>
                    <a:pt x="394" y="330"/>
                  </a:lnTo>
                  <a:lnTo>
                    <a:pt x="396" y="336"/>
                  </a:lnTo>
                  <a:lnTo>
                    <a:pt x="390" y="334"/>
                  </a:lnTo>
                  <a:lnTo>
                    <a:pt x="384" y="334"/>
                  </a:lnTo>
                  <a:lnTo>
                    <a:pt x="382" y="340"/>
                  </a:lnTo>
                  <a:lnTo>
                    <a:pt x="376" y="344"/>
                  </a:lnTo>
                  <a:lnTo>
                    <a:pt x="376" y="350"/>
                  </a:lnTo>
                  <a:lnTo>
                    <a:pt x="370" y="350"/>
                  </a:lnTo>
                  <a:lnTo>
                    <a:pt x="366" y="348"/>
                  </a:lnTo>
                  <a:lnTo>
                    <a:pt x="360" y="350"/>
                  </a:lnTo>
                  <a:lnTo>
                    <a:pt x="356" y="352"/>
                  </a:lnTo>
                  <a:lnTo>
                    <a:pt x="348" y="358"/>
                  </a:lnTo>
                  <a:lnTo>
                    <a:pt x="342" y="360"/>
                  </a:lnTo>
                  <a:lnTo>
                    <a:pt x="336" y="362"/>
                  </a:lnTo>
                  <a:lnTo>
                    <a:pt x="342" y="364"/>
                  </a:lnTo>
                  <a:lnTo>
                    <a:pt x="348" y="364"/>
                  </a:lnTo>
                  <a:lnTo>
                    <a:pt x="348" y="368"/>
                  </a:lnTo>
                  <a:lnTo>
                    <a:pt x="342" y="372"/>
                  </a:lnTo>
                  <a:lnTo>
                    <a:pt x="336" y="370"/>
                  </a:lnTo>
                  <a:lnTo>
                    <a:pt x="332" y="376"/>
                  </a:lnTo>
                  <a:lnTo>
                    <a:pt x="326" y="376"/>
                  </a:lnTo>
                  <a:lnTo>
                    <a:pt x="332" y="374"/>
                  </a:lnTo>
                  <a:lnTo>
                    <a:pt x="326" y="372"/>
                  </a:lnTo>
                  <a:lnTo>
                    <a:pt x="320" y="372"/>
                  </a:lnTo>
                  <a:lnTo>
                    <a:pt x="322" y="368"/>
                  </a:lnTo>
                  <a:lnTo>
                    <a:pt x="314" y="364"/>
                  </a:lnTo>
                  <a:lnTo>
                    <a:pt x="314" y="358"/>
                  </a:lnTo>
                  <a:lnTo>
                    <a:pt x="314" y="364"/>
                  </a:lnTo>
                  <a:lnTo>
                    <a:pt x="318" y="370"/>
                  </a:lnTo>
                  <a:lnTo>
                    <a:pt x="320" y="372"/>
                  </a:lnTo>
                  <a:lnTo>
                    <a:pt x="324" y="380"/>
                  </a:lnTo>
                  <a:lnTo>
                    <a:pt x="322" y="386"/>
                  </a:lnTo>
                  <a:lnTo>
                    <a:pt x="322" y="392"/>
                  </a:lnTo>
                  <a:lnTo>
                    <a:pt x="316" y="394"/>
                  </a:lnTo>
                  <a:lnTo>
                    <a:pt x="310" y="398"/>
                  </a:lnTo>
                  <a:lnTo>
                    <a:pt x="304" y="396"/>
                  </a:lnTo>
                  <a:lnTo>
                    <a:pt x="298" y="392"/>
                  </a:lnTo>
                  <a:lnTo>
                    <a:pt x="298" y="396"/>
                  </a:lnTo>
                  <a:lnTo>
                    <a:pt x="296" y="398"/>
                  </a:lnTo>
                  <a:lnTo>
                    <a:pt x="296" y="404"/>
                  </a:lnTo>
                  <a:lnTo>
                    <a:pt x="298" y="406"/>
                  </a:lnTo>
                  <a:lnTo>
                    <a:pt x="304" y="410"/>
                  </a:lnTo>
                  <a:lnTo>
                    <a:pt x="310" y="410"/>
                  </a:lnTo>
                  <a:lnTo>
                    <a:pt x="304" y="412"/>
                  </a:lnTo>
                  <a:lnTo>
                    <a:pt x="304" y="416"/>
                  </a:lnTo>
                  <a:lnTo>
                    <a:pt x="302" y="422"/>
                  </a:lnTo>
                  <a:lnTo>
                    <a:pt x="298" y="428"/>
                  </a:lnTo>
                  <a:lnTo>
                    <a:pt x="296" y="434"/>
                  </a:lnTo>
                  <a:lnTo>
                    <a:pt x="300" y="440"/>
                  </a:lnTo>
                  <a:lnTo>
                    <a:pt x="306" y="442"/>
                  </a:lnTo>
                  <a:lnTo>
                    <a:pt x="304" y="450"/>
                  </a:lnTo>
                  <a:lnTo>
                    <a:pt x="300" y="444"/>
                  </a:lnTo>
                  <a:lnTo>
                    <a:pt x="294" y="442"/>
                  </a:lnTo>
                  <a:lnTo>
                    <a:pt x="288" y="442"/>
                  </a:lnTo>
                  <a:lnTo>
                    <a:pt x="294" y="446"/>
                  </a:lnTo>
                  <a:lnTo>
                    <a:pt x="288" y="448"/>
                  </a:lnTo>
                  <a:lnTo>
                    <a:pt x="294" y="450"/>
                  </a:lnTo>
                  <a:lnTo>
                    <a:pt x="286" y="450"/>
                  </a:lnTo>
                  <a:lnTo>
                    <a:pt x="292" y="454"/>
                  </a:lnTo>
                  <a:lnTo>
                    <a:pt x="286" y="454"/>
                  </a:lnTo>
                  <a:lnTo>
                    <a:pt x="290" y="456"/>
                  </a:lnTo>
                  <a:lnTo>
                    <a:pt x="292" y="462"/>
                  </a:lnTo>
                  <a:lnTo>
                    <a:pt x="286" y="462"/>
                  </a:lnTo>
                  <a:lnTo>
                    <a:pt x="292" y="466"/>
                  </a:lnTo>
                  <a:lnTo>
                    <a:pt x="290" y="470"/>
                  </a:lnTo>
                  <a:lnTo>
                    <a:pt x="290" y="474"/>
                  </a:lnTo>
                  <a:lnTo>
                    <a:pt x="290" y="480"/>
                  </a:lnTo>
                  <a:lnTo>
                    <a:pt x="292" y="486"/>
                  </a:lnTo>
                  <a:lnTo>
                    <a:pt x="292" y="492"/>
                  </a:lnTo>
                  <a:lnTo>
                    <a:pt x="298" y="498"/>
                  </a:lnTo>
                  <a:lnTo>
                    <a:pt x="302" y="504"/>
                  </a:lnTo>
                  <a:lnTo>
                    <a:pt x="296" y="506"/>
                  </a:lnTo>
                  <a:lnTo>
                    <a:pt x="300" y="508"/>
                  </a:lnTo>
                  <a:lnTo>
                    <a:pt x="302" y="510"/>
                  </a:lnTo>
                  <a:lnTo>
                    <a:pt x="306" y="510"/>
                  </a:lnTo>
                  <a:lnTo>
                    <a:pt x="312" y="510"/>
                  </a:lnTo>
                  <a:lnTo>
                    <a:pt x="316" y="516"/>
                  </a:lnTo>
                  <a:lnTo>
                    <a:pt x="322" y="518"/>
                  </a:lnTo>
                  <a:lnTo>
                    <a:pt x="328" y="514"/>
                  </a:lnTo>
                  <a:lnTo>
                    <a:pt x="334" y="512"/>
                  </a:lnTo>
                  <a:lnTo>
                    <a:pt x="334" y="518"/>
                  </a:lnTo>
                  <a:lnTo>
                    <a:pt x="338" y="522"/>
                  </a:lnTo>
                  <a:lnTo>
                    <a:pt x="344" y="526"/>
                  </a:lnTo>
                  <a:lnTo>
                    <a:pt x="350" y="530"/>
                  </a:lnTo>
                  <a:lnTo>
                    <a:pt x="356" y="530"/>
                  </a:lnTo>
                  <a:lnTo>
                    <a:pt x="362" y="534"/>
                  </a:lnTo>
                  <a:lnTo>
                    <a:pt x="356" y="536"/>
                  </a:lnTo>
                  <a:lnTo>
                    <a:pt x="362" y="542"/>
                  </a:lnTo>
                  <a:lnTo>
                    <a:pt x="364" y="542"/>
                  </a:lnTo>
                  <a:lnTo>
                    <a:pt x="370" y="544"/>
                  </a:lnTo>
                  <a:lnTo>
                    <a:pt x="376" y="544"/>
                  </a:lnTo>
                  <a:lnTo>
                    <a:pt x="378" y="550"/>
                  </a:lnTo>
                  <a:lnTo>
                    <a:pt x="380" y="554"/>
                  </a:lnTo>
                  <a:lnTo>
                    <a:pt x="386" y="560"/>
                  </a:lnTo>
                  <a:lnTo>
                    <a:pt x="380" y="556"/>
                  </a:lnTo>
                  <a:lnTo>
                    <a:pt x="386" y="562"/>
                  </a:lnTo>
                  <a:lnTo>
                    <a:pt x="390" y="568"/>
                  </a:lnTo>
                  <a:lnTo>
                    <a:pt x="382" y="570"/>
                  </a:lnTo>
                  <a:lnTo>
                    <a:pt x="380" y="570"/>
                  </a:lnTo>
                  <a:lnTo>
                    <a:pt x="374" y="572"/>
                  </a:lnTo>
                  <a:lnTo>
                    <a:pt x="372" y="572"/>
                  </a:lnTo>
                  <a:lnTo>
                    <a:pt x="368" y="578"/>
                  </a:lnTo>
                  <a:lnTo>
                    <a:pt x="360" y="582"/>
                  </a:lnTo>
                  <a:lnTo>
                    <a:pt x="354" y="586"/>
                  </a:lnTo>
                  <a:lnTo>
                    <a:pt x="348" y="588"/>
                  </a:lnTo>
                  <a:lnTo>
                    <a:pt x="354" y="590"/>
                  </a:lnTo>
                  <a:lnTo>
                    <a:pt x="348" y="590"/>
                  </a:lnTo>
                  <a:lnTo>
                    <a:pt x="344" y="588"/>
                  </a:lnTo>
                  <a:lnTo>
                    <a:pt x="344" y="594"/>
                  </a:lnTo>
                  <a:lnTo>
                    <a:pt x="350" y="594"/>
                  </a:lnTo>
                  <a:lnTo>
                    <a:pt x="356" y="592"/>
                  </a:lnTo>
                  <a:lnTo>
                    <a:pt x="362" y="594"/>
                  </a:lnTo>
                  <a:lnTo>
                    <a:pt x="362" y="588"/>
                  </a:lnTo>
                  <a:lnTo>
                    <a:pt x="368" y="594"/>
                  </a:lnTo>
                  <a:lnTo>
                    <a:pt x="368" y="598"/>
                  </a:lnTo>
                  <a:lnTo>
                    <a:pt x="362" y="598"/>
                  </a:lnTo>
                  <a:lnTo>
                    <a:pt x="368" y="600"/>
                  </a:lnTo>
                  <a:lnTo>
                    <a:pt x="364" y="602"/>
                  </a:lnTo>
                  <a:lnTo>
                    <a:pt x="360" y="598"/>
                  </a:lnTo>
                  <a:lnTo>
                    <a:pt x="352" y="596"/>
                  </a:lnTo>
                  <a:lnTo>
                    <a:pt x="356" y="602"/>
                  </a:lnTo>
                  <a:lnTo>
                    <a:pt x="362" y="606"/>
                  </a:lnTo>
                  <a:lnTo>
                    <a:pt x="356" y="608"/>
                  </a:lnTo>
                  <a:lnTo>
                    <a:pt x="350" y="608"/>
                  </a:lnTo>
                  <a:lnTo>
                    <a:pt x="348" y="610"/>
                  </a:lnTo>
                  <a:lnTo>
                    <a:pt x="342" y="612"/>
                  </a:lnTo>
                  <a:lnTo>
                    <a:pt x="338" y="618"/>
                  </a:lnTo>
                  <a:lnTo>
                    <a:pt x="334" y="624"/>
                  </a:lnTo>
                  <a:lnTo>
                    <a:pt x="330" y="622"/>
                  </a:lnTo>
                  <a:lnTo>
                    <a:pt x="326" y="618"/>
                  </a:lnTo>
                  <a:lnTo>
                    <a:pt x="326" y="612"/>
                  </a:lnTo>
                  <a:lnTo>
                    <a:pt x="320" y="610"/>
                  </a:lnTo>
                  <a:lnTo>
                    <a:pt x="326" y="616"/>
                  </a:lnTo>
                  <a:lnTo>
                    <a:pt x="326" y="622"/>
                  </a:lnTo>
                  <a:lnTo>
                    <a:pt x="320" y="618"/>
                  </a:lnTo>
                  <a:lnTo>
                    <a:pt x="320" y="624"/>
                  </a:lnTo>
                  <a:lnTo>
                    <a:pt x="314" y="624"/>
                  </a:lnTo>
                  <a:lnTo>
                    <a:pt x="316" y="630"/>
                  </a:lnTo>
                  <a:lnTo>
                    <a:pt x="310" y="632"/>
                  </a:lnTo>
                  <a:lnTo>
                    <a:pt x="304" y="634"/>
                  </a:lnTo>
                  <a:lnTo>
                    <a:pt x="298" y="632"/>
                  </a:lnTo>
                  <a:lnTo>
                    <a:pt x="292" y="632"/>
                  </a:lnTo>
                  <a:lnTo>
                    <a:pt x="298" y="636"/>
                  </a:lnTo>
                  <a:lnTo>
                    <a:pt x="292" y="640"/>
                  </a:lnTo>
                  <a:lnTo>
                    <a:pt x="286" y="640"/>
                  </a:lnTo>
                  <a:lnTo>
                    <a:pt x="280" y="640"/>
                  </a:lnTo>
                  <a:lnTo>
                    <a:pt x="276" y="638"/>
                  </a:lnTo>
                  <a:lnTo>
                    <a:pt x="270" y="638"/>
                  </a:lnTo>
                  <a:lnTo>
                    <a:pt x="264" y="638"/>
                  </a:lnTo>
                  <a:lnTo>
                    <a:pt x="258" y="640"/>
                  </a:lnTo>
                  <a:lnTo>
                    <a:pt x="264" y="640"/>
                  </a:lnTo>
                  <a:lnTo>
                    <a:pt x="270" y="640"/>
                  </a:lnTo>
                  <a:lnTo>
                    <a:pt x="276" y="640"/>
                  </a:lnTo>
                  <a:lnTo>
                    <a:pt x="282" y="644"/>
                  </a:lnTo>
                  <a:lnTo>
                    <a:pt x="286" y="648"/>
                  </a:lnTo>
                  <a:lnTo>
                    <a:pt x="280" y="652"/>
                  </a:lnTo>
                  <a:lnTo>
                    <a:pt x="276" y="652"/>
                  </a:lnTo>
                  <a:lnTo>
                    <a:pt x="268" y="650"/>
                  </a:lnTo>
                  <a:lnTo>
                    <a:pt x="262" y="648"/>
                  </a:lnTo>
                  <a:lnTo>
                    <a:pt x="268" y="650"/>
                  </a:lnTo>
                  <a:lnTo>
                    <a:pt x="274" y="652"/>
                  </a:lnTo>
                  <a:lnTo>
                    <a:pt x="278" y="658"/>
                  </a:lnTo>
                  <a:lnTo>
                    <a:pt x="284" y="664"/>
                  </a:lnTo>
                  <a:lnTo>
                    <a:pt x="284" y="670"/>
                  </a:lnTo>
                  <a:lnTo>
                    <a:pt x="282" y="676"/>
                  </a:lnTo>
                  <a:lnTo>
                    <a:pt x="276" y="680"/>
                  </a:lnTo>
                  <a:lnTo>
                    <a:pt x="280" y="680"/>
                  </a:lnTo>
                  <a:lnTo>
                    <a:pt x="280" y="686"/>
                  </a:lnTo>
                  <a:lnTo>
                    <a:pt x="274" y="684"/>
                  </a:lnTo>
                  <a:lnTo>
                    <a:pt x="268" y="686"/>
                  </a:lnTo>
                  <a:lnTo>
                    <a:pt x="270" y="688"/>
                  </a:lnTo>
                  <a:lnTo>
                    <a:pt x="276" y="692"/>
                  </a:lnTo>
                  <a:lnTo>
                    <a:pt x="278" y="694"/>
                  </a:lnTo>
                  <a:lnTo>
                    <a:pt x="280" y="698"/>
                  </a:lnTo>
                  <a:lnTo>
                    <a:pt x="274" y="702"/>
                  </a:lnTo>
                  <a:lnTo>
                    <a:pt x="274" y="708"/>
                  </a:lnTo>
                  <a:lnTo>
                    <a:pt x="280" y="712"/>
                  </a:lnTo>
                  <a:lnTo>
                    <a:pt x="278" y="718"/>
                  </a:lnTo>
                  <a:lnTo>
                    <a:pt x="272" y="720"/>
                  </a:lnTo>
                  <a:lnTo>
                    <a:pt x="268" y="726"/>
                  </a:lnTo>
                  <a:lnTo>
                    <a:pt x="270" y="728"/>
                  </a:lnTo>
                  <a:lnTo>
                    <a:pt x="270" y="734"/>
                  </a:lnTo>
                  <a:lnTo>
                    <a:pt x="272" y="736"/>
                  </a:lnTo>
                  <a:lnTo>
                    <a:pt x="274" y="736"/>
                  </a:lnTo>
                  <a:lnTo>
                    <a:pt x="274" y="742"/>
                  </a:lnTo>
                  <a:lnTo>
                    <a:pt x="268" y="744"/>
                  </a:lnTo>
                  <a:lnTo>
                    <a:pt x="270" y="750"/>
                  </a:lnTo>
                  <a:lnTo>
                    <a:pt x="268" y="756"/>
                  </a:lnTo>
                  <a:lnTo>
                    <a:pt x="266" y="762"/>
                  </a:lnTo>
                  <a:lnTo>
                    <a:pt x="262" y="766"/>
                  </a:lnTo>
                  <a:lnTo>
                    <a:pt x="258" y="772"/>
                  </a:lnTo>
                  <a:lnTo>
                    <a:pt x="256" y="774"/>
                  </a:lnTo>
                  <a:lnTo>
                    <a:pt x="254" y="780"/>
                  </a:lnTo>
                  <a:lnTo>
                    <a:pt x="252" y="786"/>
                  </a:lnTo>
                  <a:lnTo>
                    <a:pt x="252" y="788"/>
                  </a:lnTo>
                  <a:lnTo>
                    <a:pt x="250" y="792"/>
                  </a:lnTo>
                  <a:lnTo>
                    <a:pt x="244" y="798"/>
                  </a:lnTo>
                  <a:lnTo>
                    <a:pt x="238" y="798"/>
                  </a:lnTo>
                  <a:lnTo>
                    <a:pt x="232" y="796"/>
                  </a:lnTo>
                  <a:lnTo>
                    <a:pt x="226" y="796"/>
                  </a:lnTo>
                  <a:lnTo>
                    <a:pt x="220" y="796"/>
                  </a:lnTo>
                  <a:lnTo>
                    <a:pt x="214" y="798"/>
                  </a:lnTo>
                  <a:lnTo>
                    <a:pt x="208" y="798"/>
                  </a:lnTo>
                  <a:lnTo>
                    <a:pt x="204" y="798"/>
                  </a:lnTo>
                  <a:lnTo>
                    <a:pt x="196" y="798"/>
                  </a:lnTo>
                  <a:lnTo>
                    <a:pt x="192" y="798"/>
                  </a:lnTo>
                  <a:lnTo>
                    <a:pt x="186" y="798"/>
                  </a:lnTo>
                  <a:lnTo>
                    <a:pt x="184" y="800"/>
                  </a:lnTo>
                  <a:lnTo>
                    <a:pt x="186" y="806"/>
                  </a:lnTo>
                  <a:lnTo>
                    <a:pt x="180" y="808"/>
                  </a:lnTo>
                  <a:lnTo>
                    <a:pt x="174" y="804"/>
                  </a:lnTo>
                  <a:lnTo>
                    <a:pt x="170" y="808"/>
                  </a:lnTo>
                  <a:lnTo>
                    <a:pt x="164" y="812"/>
                  </a:lnTo>
                  <a:lnTo>
                    <a:pt x="160" y="816"/>
                  </a:lnTo>
                  <a:lnTo>
                    <a:pt x="158" y="822"/>
                  </a:lnTo>
                  <a:lnTo>
                    <a:pt x="162" y="828"/>
                  </a:lnTo>
                  <a:lnTo>
                    <a:pt x="166" y="834"/>
                  </a:lnTo>
                  <a:lnTo>
                    <a:pt x="166" y="840"/>
                  </a:lnTo>
                  <a:lnTo>
                    <a:pt x="160" y="846"/>
                  </a:lnTo>
                  <a:lnTo>
                    <a:pt x="160" y="848"/>
                  </a:lnTo>
                  <a:lnTo>
                    <a:pt x="158" y="848"/>
                  </a:lnTo>
                  <a:lnTo>
                    <a:pt x="152" y="848"/>
                  </a:lnTo>
                  <a:lnTo>
                    <a:pt x="146" y="846"/>
                  </a:lnTo>
                  <a:lnTo>
                    <a:pt x="140" y="846"/>
                  </a:lnTo>
                  <a:lnTo>
                    <a:pt x="138" y="846"/>
                  </a:lnTo>
                  <a:lnTo>
                    <a:pt x="132" y="846"/>
                  </a:lnTo>
                  <a:lnTo>
                    <a:pt x="126" y="848"/>
                  </a:lnTo>
                  <a:lnTo>
                    <a:pt x="120" y="850"/>
                  </a:lnTo>
                  <a:lnTo>
                    <a:pt x="114" y="852"/>
                  </a:lnTo>
                  <a:lnTo>
                    <a:pt x="108" y="850"/>
                  </a:lnTo>
                  <a:lnTo>
                    <a:pt x="102" y="850"/>
                  </a:lnTo>
                  <a:lnTo>
                    <a:pt x="96" y="848"/>
                  </a:lnTo>
                  <a:lnTo>
                    <a:pt x="90" y="848"/>
                  </a:lnTo>
                  <a:lnTo>
                    <a:pt x="96" y="846"/>
                  </a:lnTo>
                  <a:lnTo>
                    <a:pt x="92" y="838"/>
                  </a:lnTo>
                  <a:lnTo>
                    <a:pt x="96" y="834"/>
                  </a:lnTo>
                  <a:lnTo>
                    <a:pt x="100" y="828"/>
                  </a:lnTo>
                  <a:lnTo>
                    <a:pt x="94" y="822"/>
                  </a:lnTo>
                  <a:lnTo>
                    <a:pt x="92" y="818"/>
                  </a:lnTo>
                  <a:lnTo>
                    <a:pt x="86" y="812"/>
                  </a:lnTo>
                  <a:lnTo>
                    <a:pt x="82" y="806"/>
                  </a:lnTo>
                  <a:lnTo>
                    <a:pt x="78" y="800"/>
                  </a:lnTo>
                  <a:lnTo>
                    <a:pt x="74" y="796"/>
                  </a:lnTo>
                  <a:lnTo>
                    <a:pt x="74" y="790"/>
                  </a:lnTo>
                  <a:lnTo>
                    <a:pt x="80" y="792"/>
                  </a:lnTo>
                  <a:lnTo>
                    <a:pt x="86" y="794"/>
                  </a:lnTo>
                  <a:lnTo>
                    <a:pt x="88" y="790"/>
                  </a:lnTo>
                  <a:lnTo>
                    <a:pt x="82" y="784"/>
                  </a:lnTo>
                  <a:lnTo>
                    <a:pt x="80" y="778"/>
                  </a:lnTo>
                  <a:lnTo>
                    <a:pt x="86" y="778"/>
                  </a:lnTo>
                  <a:lnTo>
                    <a:pt x="92" y="778"/>
                  </a:lnTo>
                  <a:lnTo>
                    <a:pt x="94" y="772"/>
                  </a:lnTo>
                  <a:lnTo>
                    <a:pt x="88" y="766"/>
                  </a:lnTo>
                  <a:lnTo>
                    <a:pt x="82" y="766"/>
                  </a:lnTo>
                  <a:lnTo>
                    <a:pt x="76" y="760"/>
                  </a:lnTo>
                  <a:lnTo>
                    <a:pt x="74" y="754"/>
                  </a:lnTo>
                  <a:lnTo>
                    <a:pt x="70" y="750"/>
                  </a:lnTo>
                  <a:lnTo>
                    <a:pt x="68" y="750"/>
                  </a:lnTo>
                  <a:lnTo>
                    <a:pt x="64" y="744"/>
                  </a:lnTo>
                  <a:lnTo>
                    <a:pt x="58" y="740"/>
                  </a:lnTo>
                  <a:lnTo>
                    <a:pt x="56" y="734"/>
                  </a:lnTo>
                  <a:lnTo>
                    <a:pt x="52" y="728"/>
                  </a:lnTo>
                  <a:lnTo>
                    <a:pt x="52" y="722"/>
                  </a:lnTo>
                  <a:lnTo>
                    <a:pt x="46" y="716"/>
                  </a:lnTo>
                  <a:lnTo>
                    <a:pt x="40" y="718"/>
                  </a:lnTo>
                  <a:lnTo>
                    <a:pt x="42" y="712"/>
                  </a:lnTo>
                  <a:lnTo>
                    <a:pt x="42" y="706"/>
                  </a:lnTo>
                  <a:lnTo>
                    <a:pt x="40" y="704"/>
                  </a:lnTo>
                  <a:lnTo>
                    <a:pt x="38" y="698"/>
                  </a:lnTo>
                  <a:lnTo>
                    <a:pt x="32" y="694"/>
                  </a:lnTo>
                  <a:lnTo>
                    <a:pt x="38" y="692"/>
                  </a:lnTo>
                  <a:lnTo>
                    <a:pt x="32" y="692"/>
                  </a:lnTo>
                  <a:lnTo>
                    <a:pt x="30" y="686"/>
                  </a:lnTo>
                  <a:lnTo>
                    <a:pt x="34" y="680"/>
                  </a:lnTo>
                  <a:lnTo>
                    <a:pt x="36" y="676"/>
                  </a:lnTo>
                  <a:lnTo>
                    <a:pt x="38" y="670"/>
                  </a:lnTo>
                  <a:lnTo>
                    <a:pt x="38" y="664"/>
                  </a:lnTo>
                  <a:lnTo>
                    <a:pt x="38" y="656"/>
                  </a:lnTo>
                  <a:lnTo>
                    <a:pt x="32" y="656"/>
                  </a:lnTo>
                  <a:lnTo>
                    <a:pt x="26" y="662"/>
                  </a:lnTo>
                  <a:lnTo>
                    <a:pt x="20" y="662"/>
                  </a:lnTo>
                  <a:lnTo>
                    <a:pt x="24" y="656"/>
                  </a:lnTo>
                  <a:lnTo>
                    <a:pt x="30" y="650"/>
                  </a:lnTo>
                  <a:lnTo>
                    <a:pt x="24" y="650"/>
                  </a:lnTo>
                  <a:lnTo>
                    <a:pt x="24" y="656"/>
                  </a:lnTo>
                  <a:lnTo>
                    <a:pt x="16" y="660"/>
                  </a:lnTo>
                  <a:lnTo>
                    <a:pt x="14" y="654"/>
                  </a:lnTo>
                  <a:lnTo>
                    <a:pt x="8" y="656"/>
                  </a:lnTo>
                  <a:lnTo>
                    <a:pt x="10" y="650"/>
                  </a:lnTo>
                  <a:lnTo>
                    <a:pt x="8" y="644"/>
                  </a:lnTo>
                  <a:lnTo>
                    <a:pt x="8" y="638"/>
                  </a:lnTo>
                  <a:lnTo>
                    <a:pt x="8" y="632"/>
                  </a:lnTo>
                  <a:lnTo>
                    <a:pt x="6" y="626"/>
                  </a:lnTo>
                  <a:lnTo>
                    <a:pt x="4" y="620"/>
                  </a:lnTo>
                  <a:lnTo>
                    <a:pt x="0" y="614"/>
                  </a:lnTo>
                  <a:lnTo>
                    <a:pt x="6" y="6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1" name="Freeform 28"/>
            <p:cNvSpPr>
              <a:spLocks/>
            </p:cNvSpPr>
            <p:nvPr/>
          </p:nvSpPr>
          <p:spPr bwMode="auto">
            <a:xfrm>
              <a:off x="4392613" y="2690813"/>
              <a:ext cx="195262" cy="212725"/>
            </a:xfrm>
            <a:custGeom>
              <a:avLst/>
              <a:gdLst>
                <a:gd name="T0" fmla="*/ 2147483647 w 478"/>
                <a:gd name="T1" fmla="*/ 2147483647 h 514"/>
                <a:gd name="T2" fmla="*/ 2147483647 w 478"/>
                <a:gd name="T3" fmla="*/ 2147483647 h 514"/>
                <a:gd name="T4" fmla="*/ 2147483647 w 478"/>
                <a:gd name="T5" fmla="*/ 2147483647 h 514"/>
                <a:gd name="T6" fmla="*/ 2147483647 w 478"/>
                <a:gd name="T7" fmla="*/ 2147483647 h 514"/>
                <a:gd name="T8" fmla="*/ 2147483647 w 478"/>
                <a:gd name="T9" fmla="*/ 2147483647 h 514"/>
                <a:gd name="T10" fmla="*/ 2147483647 w 478"/>
                <a:gd name="T11" fmla="*/ 2147483647 h 514"/>
                <a:gd name="T12" fmla="*/ 2147483647 w 478"/>
                <a:gd name="T13" fmla="*/ 2147483647 h 514"/>
                <a:gd name="T14" fmla="*/ 2147483647 w 478"/>
                <a:gd name="T15" fmla="*/ 2147483647 h 514"/>
                <a:gd name="T16" fmla="*/ 2147483647 w 478"/>
                <a:gd name="T17" fmla="*/ 2147483647 h 514"/>
                <a:gd name="T18" fmla="*/ 2147483647 w 478"/>
                <a:gd name="T19" fmla="*/ 2147483647 h 514"/>
                <a:gd name="T20" fmla="*/ 2147483647 w 478"/>
                <a:gd name="T21" fmla="*/ 2147483647 h 514"/>
                <a:gd name="T22" fmla="*/ 2147483647 w 478"/>
                <a:gd name="T23" fmla="*/ 2147483647 h 514"/>
                <a:gd name="T24" fmla="*/ 2147483647 w 478"/>
                <a:gd name="T25" fmla="*/ 2147483647 h 514"/>
                <a:gd name="T26" fmla="*/ 2147483647 w 478"/>
                <a:gd name="T27" fmla="*/ 2147483647 h 514"/>
                <a:gd name="T28" fmla="*/ 2147483647 w 478"/>
                <a:gd name="T29" fmla="*/ 2147483647 h 514"/>
                <a:gd name="T30" fmla="*/ 2147483647 w 478"/>
                <a:gd name="T31" fmla="*/ 2147483647 h 514"/>
                <a:gd name="T32" fmla="*/ 2147483647 w 478"/>
                <a:gd name="T33" fmla="*/ 2147483647 h 514"/>
                <a:gd name="T34" fmla="*/ 2147483647 w 478"/>
                <a:gd name="T35" fmla="*/ 2147483647 h 514"/>
                <a:gd name="T36" fmla="*/ 2147483647 w 478"/>
                <a:gd name="T37" fmla="*/ 2147483647 h 514"/>
                <a:gd name="T38" fmla="*/ 2147483647 w 478"/>
                <a:gd name="T39" fmla="*/ 2147483647 h 514"/>
                <a:gd name="T40" fmla="*/ 2147483647 w 478"/>
                <a:gd name="T41" fmla="*/ 2147483647 h 514"/>
                <a:gd name="T42" fmla="*/ 2147483647 w 478"/>
                <a:gd name="T43" fmla="*/ 2147483647 h 514"/>
                <a:gd name="T44" fmla="*/ 2147483647 w 478"/>
                <a:gd name="T45" fmla="*/ 2147483647 h 514"/>
                <a:gd name="T46" fmla="*/ 2147483647 w 478"/>
                <a:gd name="T47" fmla="*/ 2147483647 h 514"/>
                <a:gd name="T48" fmla="*/ 2147483647 w 478"/>
                <a:gd name="T49" fmla="*/ 2147483647 h 514"/>
                <a:gd name="T50" fmla="*/ 2147483647 w 478"/>
                <a:gd name="T51" fmla="*/ 2147483647 h 514"/>
                <a:gd name="T52" fmla="*/ 2147483647 w 478"/>
                <a:gd name="T53" fmla="*/ 2147483647 h 514"/>
                <a:gd name="T54" fmla="*/ 2147483647 w 478"/>
                <a:gd name="T55" fmla="*/ 2147483647 h 514"/>
                <a:gd name="T56" fmla="*/ 2147483647 w 478"/>
                <a:gd name="T57" fmla="*/ 2147483647 h 514"/>
                <a:gd name="T58" fmla="*/ 2147483647 w 478"/>
                <a:gd name="T59" fmla="*/ 2147483647 h 514"/>
                <a:gd name="T60" fmla="*/ 2147483647 w 478"/>
                <a:gd name="T61" fmla="*/ 2147483647 h 514"/>
                <a:gd name="T62" fmla="*/ 2147483647 w 478"/>
                <a:gd name="T63" fmla="*/ 2147483647 h 514"/>
                <a:gd name="T64" fmla="*/ 2147483647 w 478"/>
                <a:gd name="T65" fmla="*/ 2147483647 h 514"/>
                <a:gd name="T66" fmla="*/ 2147483647 w 478"/>
                <a:gd name="T67" fmla="*/ 2147483647 h 514"/>
                <a:gd name="T68" fmla="*/ 2147483647 w 478"/>
                <a:gd name="T69" fmla="*/ 2147483647 h 514"/>
                <a:gd name="T70" fmla="*/ 2147483647 w 478"/>
                <a:gd name="T71" fmla="*/ 2147483647 h 514"/>
                <a:gd name="T72" fmla="*/ 2147483647 w 478"/>
                <a:gd name="T73" fmla="*/ 2147483647 h 514"/>
                <a:gd name="T74" fmla="*/ 2147483647 w 478"/>
                <a:gd name="T75" fmla="*/ 2147483647 h 514"/>
                <a:gd name="T76" fmla="*/ 2147483647 w 478"/>
                <a:gd name="T77" fmla="*/ 2147483647 h 514"/>
                <a:gd name="T78" fmla="*/ 2147483647 w 478"/>
                <a:gd name="T79" fmla="*/ 2147483647 h 514"/>
                <a:gd name="T80" fmla="*/ 2147483647 w 478"/>
                <a:gd name="T81" fmla="*/ 2147483647 h 514"/>
                <a:gd name="T82" fmla="*/ 2147483647 w 478"/>
                <a:gd name="T83" fmla="*/ 2147483647 h 514"/>
                <a:gd name="T84" fmla="*/ 2147483647 w 478"/>
                <a:gd name="T85" fmla="*/ 2147483647 h 514"/>
                <a:gd name="T86" fmla="*/ 2147483647 w 478"/>
                <a:gd name="T87" fmla="*/ 2147483647 h 514"/>
                <a:gd name="T88" fmla="*/ 2147483647 w 478"/>
                <a:gd name="T89" fmla="*/ 2147483647 h 514"/>
                <a:gd name="T90" fmla="*/ 2147483647 w 478"/>
                <a:gd name="T91" fmla="*/ 2147483647 h 514"/>
                <a:gd name="T92" fmla="*/ 2147483647 w 478"/>
                <a:gd name="T93" fmla="*/ 2147483647 h 514"/>
                <a:gd name="T94" fmla="*/ 2147483647 w 478"/>
                <a:gd name="T95" fmla="*/ 2147483647 h 514"/>
                <a:gd name="T96" fmla="*/ 2147483647 w 478"/>
                <a:gd name="T97" fmla="*/ 2147483647 h 514"/>
                <a:gd name="T98" fmla="*/ 2147483647 w 478"/>
                <a:gd name="T99" fmla="*/ 2147483647 h 514"/>
                <a:gd name="T100" fmla="*/ 2147483647 w 478"/>
                <a:gd name="T101" fmla="*/ 2147483647 h 514"/>
                <a:gd name="T102" fmla="*/ 2147483647 w 478"/>
                <a:gd name="T103" fmla="*/ 2147483647 h 514"/>
                <a:gd name="T104" fmla="*/ 2147483647 w 478"/>
                <a:gd name="T105" fmla="*/ 2147483647 h 514"/>
                <a:gd name="T106" fmla="*/ 2147483647 w 478"/>
                <a:gd name="T107" fmla="*/ 2147483647 h 514"/>
                <a:gd name="T108" fmla="*/ 2147483647 w 478"/>
                <a:gd name="T109" fmla="*/ 2147483647 h 514"/>
                <a:gd name="T110" fmla="*/ 2147483647 w 478"/>
                <a:gd name="T111" fmla="*/ 2147483647 h 514"/>
                <a:gd name="T112" fmla="*/ 2147483647 w 478"/>
                <a:gd name="T113" fmla="*/ 2147483647 h 514"/>
                <a:gd name="T114" fmla="*/ 2147483647 w 478"/>
                <a:gd name="T115" fmla="*/ 2147483647 h 5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78"/>
                <a:gd name="T175" fmla="*/ 0 h 514"/>
                <a:gd name="T176" fmla="*/ 478 w 478"/>
                <a:gd name="T177" fmla="*/ 514 h 51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78" h="514">
                  <a:moveTo>
                    <a:pt x="478" y="242"/>
                  </a:moveTo>
                  <a:lnTo>
                    <a:pt x="476" y="240"/>
                  </a:lnTo>
                  <a:lnTo>
                    <a:pt x="476" y="236"/>
                  </a:lnTo>
                  <a:lnTo>
                    <a:pt x="470" y="232"/>
                  </a:lnTo>
                  <a:lnTo>
                    <a:pt x="464" y="228"/>
                  </a:lnTo>
                  <a:lnTo>
                    <a:pt x="462" y="228"/>
                  </a:lnTo>
                  <a:lnTo>
                    <a:pt x="464" y="222"/>
                  </a:lnTo>
                  <a:lnTo>
                    <a:pt x="464" y="218"/>
                  </a:lnTo>
                  <a:lnTo>
                    <a:pt x="458" y="214"/>
                  </a:lnTo>
                  <a:lnTo>
                    <a:pt x="456" y="208"/>
                  </a:lnTo>
                  <a:lnTo>
                    <a:pt x="460" y="202"/>
                  </a:lnTo>
                  <a:lnTo>
                    <a:pt x="460" y="200"/>
                  </a:lnTo>
                  <a:lnTo>
                    <a:pt x="460" y="198"/>
                  </a:lnTo>
                  <a:lnTo>
                    <a:pt x="464" y="192"/>
                  </a:lnTo>
                  <a:lnTo>
                    <a:pt x="460" y="188"/>
                  </a:lnTo>
                  <a:lnTo>
                    <a:pt x="460" y="182"/>
                  </a:lnTo>
                  <a:lnTo>
                    <a:pt x="460" y="180"/>
                  </a:lnTo>
                  <a:lnTo>
                    <a:pt x="454" y="178"/>
                  </a:lnTo>
                  <a:lnTo>
                    <a:pt x="454" y="176"/>
                  </a:lnTo>
                  <a:lnTo>
                    <a:pt x="452" y="176"/>
                  </a:lnTo>
                  <a:lnTo>
                    <a:pt x="452" y="174"/>
                  </a:lnTo>
                  <a:lnTo>
                    <a:pt x="454" y="168"/>
                  </a:lnTo>
                  <a:lnTo>
                    <a:pt x="456" y="164"/>
                  </a:lnTo>
                  <a:lnTo>
                    <a:pt x="456" y="160"/>
                  </a:lnTo>
                  <a:lnTo>
                    <a:pt x="456" y="158"/>
                  </a:lnTo>
                  <a:lnTo>
                    <a:pt x="454" y="158"/>
                  </a:lnTo>
                  <a:lnTo>
                    <a:pt x="448" y="154"/>
                  </a:lnTo>
                  <a:lnTo>
                    <a:pt x="446" y="152"/>
                  </a:lnTo>
                  <a:lnTo>
                    <a:pt x="440" y="146"/>
                  </a:lnTo>
                  <a:lnTo>
                    <a:pt x="434" y="144"/>
                  </a:lnTo>
                  <a:lnTo>
                    <a:pt x="430" y="140"/>
                  </a:lnTo>
                  <a:lnTo>
                    <a:pt x="430" y="138"/>
                  </a:lnTo>
                  <a:lnTo>
                    <a:pt x="432" y="132"/>
                  </a:lnTo>
                  <a:lnTo>
                    <a:pt x="438" y="130"/>
                  </a:lnTo>
                  <a:lnTo>
                    <a:pt x="438" y="128"/>
                  </a:lnTo>
                  <a:lnTo>
                    <a:pt x="440" y="126"/>
                  </a:lnTo>
                  <a:lnTo>
                    <a:pt x="442" y="124"/>
                  </a:lnTo>
                  <a:lnTo>
                    <a:pt x="442" y="122"/>
                  </a:lnTo>
                  <a:lnTo>
                    <a:pt x="440" y="120"/>
                  </a:lnTo>
                  <a:lnTo>
                    <a:pt x="444" y="114"/>
                  </a:lnTo>
                  <a:lnTo>
                    <a:pt x="444" y="112"/>
                  </a:lnTo>
                  <a:lnTo>
                    <a:pt x="442" y="108"/>
                  </a:lnTo>
                  <a:lnTo>
                    <a:pt x="440" y="104"/>
                  </a:lnTo>
                  <a:lnTo>
                    <a:pt x="440" y="100"/>
                  </a:lnTo>
                  <a:lnTo>
                    <a:pt x="436" y="94"/>
                  </a:lnTo>
                  <a:lnTo>
                    <a:pt x="436" y="88"/>
                  </a:lnTo>
                  <a:lnTo>
                    <a:pt x="436" y="84"/>
                  </a:lnTo>
                  <a:lnTo>
                    <a:pt x="428" y="82"/>
                  </a:lnTo>
                  <a:lnTo>
                    <a:pt x="422" y="82"/>
                  </a:lnTo>
                  <a:lnTo>
                    <a:pt x="418" y="78"/>
                  </a:lnTo>
                  <a:lnTo>
                    <a:pt x="412" y="74"/>
                  </a:lnTo>
                  <a:lnTo>
                    <a:pt x="410" y="74"/>
                  </a:lnTo>
                  <a:lnTo>
                    <a:pt x="412" y="74"/>
                  </a:lnTo>
                  <a:lnTo>
                    <a:pt x="412" y="66"/>
                  </a:lnTo>
                  <a:lnTo>
                    <a:pt x="410" y="62"/>
                  </a:lnTo>
                  <a:lnTo>
                    <a:pt x="406" y="56"/>
                  </a:lnTo>
                  <a:lnTo>
                    <a:pt x="406" y="54"/>
                  </a:lnTo>
                  <a:lnTo>
                    <a:pt x="400" y="56"/>
                  </a:lnTo>
                  <a:lnTo>
                    <a:pt x="392" y="58"/>
                  </a:lnTo>
                  <a:lnTo>
                    <a:pt x="394" y="60"/>
                  </a:lnTo>
                  <a:lnTo>
                    <a:pt x="388" y="56"/>
                  </a:lnTo>
                  <a:lnTo>
                    <a:pt x="384" y="50"/>
                  </a:lnTo>
                  <a:lnTo>
                    <a:pt x="376" y="48"/>
                  </a:lnTo>
                  <a:lnTo>
                    <a:pt x="376" y="46"/>
                  </a:lnTo>
                  <a:lnTo>
                    <a:pt x="374" y="44"/>
                  </a:lnTo>
                  <a:lnTo>
                    <a:pt x="370" y="38"/>
                  </a:lnTo>
                  <a:lnTo>
                    <a:pt x="364" y="38"/>
                  </a:lnTo>
                  <a:lnTo>
                    <a:pt x="358" y="40"/>
                  </a:lnTo>
                  <a:lnTo>
                    <a:pt x="352" y="38"/>
                  </a:lnTo>
                  <a:lnTo>
                    <a:pt x="346" y="40"/>
                  </a:lnTo>
                  <a:lnTo>
                    <a:pt x="342" y="42"/>
                  </a:lnTo>
                  <a:lnTo>
                    <a:pt x="336" y="48"/>
                  </a:lnTo>
                  <a:lnTo>
                    <a:pt x="338" y="42"/>
                  </a:lnTo>
                  <a:lnTo>
                    <a:pt x="342" y="40"/>
                  </a:lnTo>
                  <a:lnTo>
                    <a:pt x="348" y="38"/>
                  </a:lnTo>
                  <a:lnTo>
                    <a:pt x="354" y="36"/>
                  </a:lnTo>
                  <a:lnTo>
                    <a:pt x="360" y="38"/>
                  </a:lnTo>
                  <a:lnTo>
                    <a:pt x="354" y="36"/>
                  </a:lnTo>
                  <a:lnTo>
                    <a:pt x="348" y="36"/>
                  </a:lnTo>
                  <a:lnTo>
                    <a:pt x="342" y="34"/>
                  </a:lnTo>
                  <a:lnTo>
                    <a:pt x="338" y="40"/>
                  </a:lnTo>
                  <a:lnTo>
                    <a:pt x="334" y="46"/>
                  </a:lnTo>
                  <a:lnTo>
                    <a:pt x="328" y="48"/>
                  </a:lnTo>
                  <a:lnTo>
                    <a:pt x="322" y="54"/>
                  </a:lnTo>
                  <a:lnTo>
                    <a:pt x="322" y="58"/>
                  </a:lnTo>
                  <a:lnTo>
                    <a:pt x="322" y="52"/>
                  </a:lnTo>
                  <a:lnTo>
                    <a:pt x="316" y="54"/>
                  </a:lnTo>
                  <a:lnTo>
                    <a:pt x="310" y="56"/>
                  </a:lnTo>
                  <a:lnTo>
                    <a:pt x="304" y="54"/>
                  </a:lnTo>
                  <a:lnTo>
                    <a:pt x="298" y="58"/>
                  </a:lnTo>
                  <a:lnTo>
                    <a:pt x="292" y="62"/>
                  </a:lnTo>
                  <a:lnTo>
                    <a:pt x="298" y="58"/>
                  </a:lnTo>
                  <a:lnTo>
                    <a:pt x="292" y="64"/>
                  </a:lnTo>
                  <a:lnTo>
                    <a:pt x="290" y="70"/>
                  </a:lnTo>
                  <a:lnTo>
                    <a:pt x="288" y="72"/>
                  </a:lnTo>
                  <a:lnTo>
                    <a:pt x="282" y="68"/>
                  </a:lnTo>
                  <a:lnTo>
                    <a:pt x="278" y="66"/>
                  </a:lnTo>
                  <a:lnTo>
                    <a:pt x="272" y="64"/>
                  </a:lnTo>
                  <a:lnTo>
                    <a:pt x="268" y="64"/>
                  </a:lnTo>
                  <a:lnTo>
                    <a:pt x="262" y="66"/>
                  </a:lnTo>
                  <a:lnTo>
                    <a:pt x="260" y="68"/>
                  </a:lnTo>
                  <a:lnTo>
                    <a:pt x="260" y="66"/>
                  </a:lnTo>
                  <a:lnTo>
                    <a:pt x="254" y="64"/>
                  </a:lnTo>
                  <a:lnTo>
                    <a:pt x="260" y="58"/>
                  </a:lnTo>
                  <a:lnTo>
                    <a:pt x="266" y="54"/>
                  </a:lnTo>
                  <a:lnTo>
                    <a:pt x="270" y="50"/>
                  </a:lnTo>
                  <a:lnTo>
                    <a:pt x="270" y="42"/>
                  </a:lnTo>
                  <a:lnTo>
                    <a:pt x="270" y="40"/>
                  </a:lnTo>
                  <a:lnTo>
                    <a:pt x="264" y="40"/>
                  </a:lnTo>
                  <a:lnTo>
                    <a:pt x="258" y="42"/>
                  </a:lnTo>
                  <a:lnTo>
                    <a:pt x="252" y="44"/>
                  </a:lnTo>
                  <a:lnTo>
                    <a:pt x="246" y="42"/>
                  </a:lnTo>
                  <a:lnTo>
                    <a:pt x="240" y="40"/>
                  </a:lnTo>
                  <a:lnTo>
                    <a:pt x="234" y="36"/>
                  </a:lnTo>
                  <a:lnTo>
                    <a:pt x="228" y="38"/>
                  </a:lnTo>
                  <a:lnTo>
                    <a:pt x="224" y="44"/>
                  </a:lnTo>
                  <a:lnTo>
                    <a:pt x="222" y="40"/>
                  </a:lnTo>
                  <a:lnTo>
                    <a:pt x="224" y="34"/>
                  </a:lnTo>
                  <a:lnTo>
                    <a:pt x="218" y="32"/>
                  </a:lnTo>
                  <a:lnTo>
                    <a:pt x="214" y="34"/>
                  </a:lnTo>
                  <a:lnTo>
                    <a:pt x="208" y="36"/>
                  </a:lnTo>
                  <a:lnTo>
                    <a:pt x="214" y="30"/>
                  </a:lnTo>
                  <a:lnTo>
                    <a:pt x="216" y="24"/>
                  </a:lnTo>
                  <a:lnTo>
                    <a:pt x="214" y="20"/>
                  </a:lnTo>
                  <a:lnTo>
                    <a:pt x="210" y="22"/>
                  </a:lnTo>
                  <a:lnTo>
                    <a:pt x="214" y="20"/>
                  </a:lnTo>
                  <a:lnTo>
                    <a:pt x="214" y="18"/>
                  </a:lnTo>
                  <a:lnTo>
                    <a:pt x="210" y="12"/>
                  </a:lnTo>
                  <a:lnTo>
                    <a:pt x="204" y="14"/>
                  </a:lnTo>
                  <a:lnTo>
                    <a:pt x="192" y="10"/>
                  </a:lnTo>
                  <a:lnTo>
                    <a:pt x="186" y="10"/>
                  </a:lnTo>
                  <a:lnTo>
                    <a:pt x="184" y="10"/>
                  </a:lnTo>
                  <a:lnTo>
                    <a:pt x="182" y="12"/>
                  </a:lnTo>
                  <a:lnTo>
                    <a:pt x="180" y="12"/>
                  </a:lnTo>
                  <a:lnTo>
                    <a:pt x="176" y="12"/>
                  </a:lnTo>
                  <a:lnTo>
                    <a:pt x="170" y="8"/>
                  </a:lnTo>
                  <a:lnTo>
                    <a:pt x="164" y="8"/>
                  </a:lnTo>
                  <a:lnTo>
                    <a:pt x="158" y="6"/>
                  </a:lnTo>
                  <a:lnTo>
                    <a:pt x="156" y="4"/>
                  </a:lnTo>
                  <a:lnTo>
                    <a:pt x="150" y="6"/>
                  </a:lnTo>
                  <a:lnTo>
                    <a:pt x="146" y="4"/>
                  </a:lnTo>
                  <a:lnTo>
                    <a:pt x="142" y="6"/>
                  </a:lnTo>
                  <a:lnTo>
                    <a:pt x="136" y="8"/>
                  </a:lnTo>
                  <a:lnTo>
                    <a:pt x="130" y="6"/>
                  </a:lnTo>
                  <a:lnTo>
                    <a:pt x="132" y="0"/>
                  </a:lnTo>
                  <a:lnTo>
                    <a:pt x="130" y="0"/>
                  </a:lnTo>
                  <a:lnTo>
                    <a:pt x="128" y="2"/>
                  </a:lnTo>
                  <a:lnTo>
                    <a:pt x="126" y="8"/>
                  </a:lnTo>
                  <a:lnTo>
                    <a:pt x="128" y="14"/>
                  </a:lnTo>
                  <a:lnTo>
                    <a:pt x="128" y="8"/>
                  </a:lnTo>
                  <a:lnTo>
                    <a:pt x="134" y="8"/>
                  </a:lnTo>
                  <a:lnTo>
                    <a:pt x="140" y="8"/>
                  </a:lnTo>
                  <a:lnTo>
                    <a:pt x="146" y="8"/>
                  </a:lnTo>
                  <a:lnTo>
                    <a:pt x="146" y="14"/>
                  </a:lnTo>
                  <a:lnTo>
                    <a:pt x="152" y="20"/>
                  </a:lnTo>
                  <a:lnTo>
                    <a:pt x="156" y="26"/>
                  </a:lnTo>
                  <a:lnTo>
                    <a:pt x="162" y="30"/>
                  </a:lnTo>
                  <a:lnTo>
                    <a:pt x="160" y="36"/>
                  </a:lnTo>
                  <a:lnTo>
                    <a:pt x="154" y="38"/>
                  </a:lnTo>
                  <a:lnTo>
                    <a:pt x="148" y="38"/>
                  </a:lnTo>
                  <a:lnTo>
                    <a:pt x="142" y="44"/>
                  </a:lnTo>
                  <a:lnTo>
                    <a:pt x="148" y="46"/>
                  </a:lnTo>
                  <a:lnTo>
                    <a:pt x="154" y="46"/>
                  </a:lnTo>
                  <a:lnTo>
                    <a:pt x="160" y="44"/>
                  </a:lnTo>
                  <a:lnTo>
                    <a:pt x="154" y="48"/>
                  </a:lnTo>
                  <a:lnTo>
                    <a:pt x="154" y="54"/>
                  </a:lnTo>
                  <a:lnTo>
                    <a:pt x="160" y="56"/>
                  </a:lnTo>
                  <a:lnTo>
                    <a:pt x="164" y="62"/>
                  </a:lnTo>
                  <a:lnTo>
                    <a:pt x="158" y="62"/>
                  </a:lnTo>
                  <a:lnTo>
                    <a:pt x="156" y="68"/>
                  </a:lnTo>
                  <a:lnTo>
                    <a:pt x="164" y="72"/>
                  </a:lnTo>
                  <a:lnTo>
                    <a:pt x="168" y="72"/>
                  </a:lnTo>
                  <a:lnTo>
                    <a:pt x="170" y="72"/>
                  </a:lnTo>
                  <a:lnTo>
                    <a:pt x="176" y="72"/>
                  </a:lnTo>
                  <a:lnTo>
                    <a:pt x="182" y="76"/>
                  </a:lnTo>
                  <a:lnTo>
                    <a:pt x="186" y="82"/>
                  </a:lnTo>
                  <a:lnTo>
                    <a:pt x="190" y="86"/>
                  </a:lnTo>
                  <a:lnTo>
                    <a:pt x="196" y="92"/>
                  </a:lnTo>
                  <a:lnTo>
                    <a:pt x="200" y="94"/>
                  </a:lnTo>
                  <a:lnTo>
                    <a:pt x="206" y="94"/>
                  </a:lnTo>
                  <a:lnTo>
                    <a:pt x="206" y="96"/>
                  </a:lnTo>
                  <a:lnTo>
                    <a:pt x="202" y="96"/>
                  </a:lnTo>
                  <a:lnTo>
                    <a:pt x="196" y="94"/>
                  </a:lnTo>
                  <a:lnTo>
                    <a:pt x="190" y="90"/>
                  </a:lnTo>
                  <a:lnTo>
                    <a:pt x="186" y="84"/>
                  </a:lnTo>
                  <a:lnTo>
                    <a:pt x="180" y="78"/>
                  </a:lnTo>
                  <a:lnTo>
                    <a:pt x="174" y="74"/>
                  </a:lnTo>
                  <a:lnTo>
                    <a:pt x="168" y="74"/>
                  </a:lnTo>
                  <a:lnTo>
                    <a:pt x="164" y="76"/>
                  </a:lnTo>
                  <a:lnTo>
                    <a:pt x="158" y="76"/>
                  </a:lnTo>
                  <a:lnTo>
                    <a:pt x="152" y="76"/>
                  </a:lnTo>
                  <a:lnTo>
                    <a:pt x="150" y="74"/>
                  </a:lnTo>
                  <a:lnTo>
                    <a:pt x="144" y="72"/>
                  </a:lnTo>
                  <a:lnTo>
                    <a:pt x="138" y="78"/>
                  </a:lnTo>
                  <a:lnTo>
                    <a:pt x="136" y="84"/>
                  </a:lnTo>
                  <a:lnTo>
                    <a:pt x="138" y="90"/>
                  </a:lnTo>
                  <a:lnTo>
                    <a:pt x="140" y="96"/>
                  </a:lnTo>
                  <a:lnTo>
                    <a:pt x="136" y="102"/>
                  </a:lnTo>
                  <a:lnTo>
                    <a:pt x="136" y="108"/>
                  </a:lnTo>
                  <a:lnTo>
                    <a:pt x="136" y="106"/>
                  </a:lnTo>
                  <a:lnTo>
                    <a:pt x="136" y="104"/>
                  </a:lnTo>
                  <a:lnTo>
                    <a:pt x="138" y="98"/>
                  </a:lnTo>
                  <a:lnTo>
                    <a:pt x="132" y="92"/>
                  </a:lnTo>
                  <a:lnTo>
                    <a:pt x="126" y="90"/>
                  </a:lnTo>
                  <a:lnTo>
                    <a:pt x="122" y="96"/>
                  </a:lnTo>
                  <a:lnTo>
                    <a:pt x="126" y="102"/>
                  </a:lnTo>
                  <a:lnTo>
                    <a:pt x="120" y="102"/>
                  </a:lnTo>
                  <a:lnTo>
                    <a:pt x="114" y="100"/>
                  </a:lnTo>
                  <a:lnTo>
                    <a:pt x="118" y="94"/>
                  </a:lnTo>
                  <a:lnTo>
                    <a:pt x="114" y="88"/>
                  </a:lnTo>
                  <a:lnTo>
                    <a:pt x="108" y="84"/>
                  </a:lnTo>
                  <a:lnTo>
                    <a:pt x="102" y="84"/>
                  </a:lnTo>
                  <a:lnTo>
                    <a:pt x="100" y="84"/>
                  </a:lnTo>
                  <a:lnTo>
                    <a:pt x="94" y="84"/>
                  </a:lnTo>
                  <a:lnTo>
                    <a:pt x="88" y="86"/>
                  </a:lnTo>
                  <a:lnTo>
                    <a:pt x="82" y="86"/>
                  </a:lnTo>
                  <a:lnTo>
                    <a:pt x="76" y="86"/>
                  </a:lnTo>
                  <a:lnTo>
                    <a:pt x="70" y="88"/>
                  </a:lnTo>
                  <a:lnTo>
                    <a:pt x="66" y="92"/>
                  </a:lnTo>
                  <a:lnTo>
                    <a:pt x="64" y="96"/>
                  </a:lnTo>
                  <a:lnTo>
                    <a:pt x="60" y="102"/>
                  </a:lnTo>
                  <a:lnTo>
                    <a:pt x="62" y="108"/>
                  </a:lnTo>
                  <a:lnTo>
                    <a:pt x="68" y="108"/>
                  </a:lnTo>
                  <a:lnTo>
                    <a:pt x="74" y="110"/>
                  </a:lnTo>
                  <a:lnTo>
                    <a:pt x="78" y="112"/>
                  </a:lnTo>
                  <a:lnTo>
                    <a:pt x="72" y="110"/>
                  </a:lnTo>
                  <a:lnTo>
                    <a:pt x="70" y="114"/>
                  </a:lnTo>
                  <a:lnTo>
                    <a:pt x="70" y="118"/>
                  </a:lnTo>
                  <a:lnTo>
                    <a:pt x="70" y="120"/>
                  </a:lnTo>
                  <a:lnTo>
                    <a:pt x="70" y="130"/>
                  </a:lnTo>
                  <a:lnTo>
                    <a:pt x="66" y="136"/>
                  </a:lnTo>
                  <a:lnTo>
                    <a:pt x="62" y="142"/>
                  </a:lnTo>
                  <a:lnTo>
                    <a:pt x="62" y="148"/>
                  </a:lnTo>
                  <a:lnTo>
                    <a:pt x="60" y="154"/>
                  </a:lnTo>
                  <a:lnTo>
                    <a:pt x="54" y="154"/>
                  </a:lnTo>
                  <a:lnTo>
                    <a:pt x="50" y="154"/>
                  </a:lnTo>
                  <a:lnTo>
                    <a:pt x="46" y="154"/>
                  </a:lnTo>
                  <a:lnTo>
                    <a:pt x="44" y="156"/>
                  </a:lnTo>
                  <a:lnTo>
                    <a:pt x="42" y="162"/>
                  </a:lnTo>
                  <a:lnTo>
                    <a:pt x="42" y="164"/>
                  </a:lnTo>
                  <a:lnTo>
                    <a:pt x="48" y="166"/>
                  </a:lnTo>
                  <a:lnTo>
                    <a:pt x="54" y="168"/>
                  </a:lnTo>
                  <a:lnTo>
                    <a:pt x="60" y="170"/>
                  </a:lnTo>
                  <a:lnTo>
                    <a:pt x="60" y="176"/>
                  </a:lnTo>
                  <a:lnTo>
                    <a:pt x="60" y="182"/>
                  </a:lnTo>
                  <a:lnTo>
                    <a:pt x="56" y="182"/>
                  </a:lnTo>
                  <a:lnTo>
                    <a:pt x="50" y="190"/>
                  </a:lnTo>
                  <a:lnTo>
                    <a:pt x="46" y="190"/>
                  </a:lnTo>
                  <a:lnTo>
                    <a:pt x="44" y="196"/>
                  </a:lnTo>
                  <a:lnTo>
                    <a:pt x="46" y="202"/>
                  </a:lnTo>
                  <a:lnTo>
                    <a:pt x="40" y="202"/>
                  </a:lnTo>
                  <a:lnTo>
                    <a:pt x="34" y="204"/>
                  </a:lnTo>
                  <a:lnTo>
                    <a:pt x="28" y="206"/>
                  </a:lnTo>
                  <a:lnTo>
                    <a:pt x="22" y="206"/>
                  </a:lnTo>
                  <a:lnTo>
                    <a:pt x="16" y="206"/>
                  </a:lnTo>
                  <a:lnTo>
                    <a:pt x="12" y="204"/>
                  </a:lnTo>
                  <a:lnTo>
                    <a:pt x="14" y="208"/>
                  </a:lnTo>
                  <a:lnTo>
                    <a:pt x="8" y="206"/>
                  </a:lnTo>
                  <a:lnTo>
                    <a:pt x="2" y="208"/>
                  </a:lnTo>
                  <a:lnTo>
                    <a:pt x="2" y="210"/>
                  </a:lnTo>
                  <a:lnTo>
                    <a:pt x="4" y="212"/>
                  </a:lnTo>
                  <a:lnTo>
                    <a:pt x="2" y="214"/>
                  </a:lnTo>
                  <a:lnTo>
                    <a:pt x="6" y="216"/>
                  </a:lnTo>
                  <a:lnTo>
                    <a:pt x="10" y="222"/>
                  </a:lnTo>
                  <a:lnTo>
                    <a:pt x="14" y="228"/>
                  </a:lnTo>
                  <a:lnTo>
                    <a:pt x="16" y="234"/>
                  </a:lnTo>
                  <a:lnTo>
                    <a:pt x="16" y="236"/>
                  </a:lnTo>
                  <a:lnTo>
                    <a:pt x="16" y="238"/>
                  </a:lnTo>
                  <a:lnTo>
                    <a:pt x="14" y="240"/>
                  </a:lnTo>
                  <a:lnTo>
                    <a:pt x="14" y="242"/>
                  </a:lnTo>
                  <a:lnTo>
                    <a:pt x="8" y="248"/>
                  </a:lnTo>
                  <a:lnTo>
                    <a:pt x="8" y="250"/>
                  </a:lnTo>
                  <a:lnTo>
                    <a:pt x="8" y="256"/>
                  </a:lnTo>
                  <a:lnTo>
                    <a:pt x="0" y="262"/>
                  </a:lnTo>
                  <a:lnTo>
                    <a:pt x="4" y="266"/>
                  </a:lnTo>
                  <a:lnTo>
                    <a:pt x="6" y="270"/>
                  </a:lnTo>
                  <a:lnTo>
                    <a:pt x="8" y="272"/>
                  </a:lnTo>
                  <a:lnTo>
                    <a:pt x="4" y="274"/>
                  </a:lnTo>
                  <a:lnTo>
                    <a:pt x="4" y="276"/>
                  </a:lnTo>
                  <a:lnTo>
                    <a:pt x="4" y="278"/>
                  </a:lnTo>
                  <a:lnTo>
                    <a:pt x="4" y="280"/>
                  </a:lnTo>
                  <a:lnTo>
                    <a:pt x="4" y="282"/>
                  </a:lnTo>
                  <a:lnTo>
                    <a:pt x="8" y="282"/>
                  </a:lnTo>
                  <a:lnTo>
                    <a:pt x="12" y="288"/>
                  </a:lnTo>
                  <a:lnTo>
                    <a:pt x="16" y="288"/>
                  </a:lnTo>
                  <a:lnTo>
                    <a:pt x="16" y="290"/>
                  </a:lnTo>
                  <a:lnTo>
                    <a:pt x="14" y="296"/>
                  </a:lnTo>
                  <a:lnTo>
                    <a:pt x="20" y="296"/>
                  </a:lnTo>
                  <a:lnTo>
                    <a:pt x="22" y="304"/>
                  </a:lnTo>
                  <a:lnTo>
                    <a:pt x="20" y="304"/>
                  </a:lnTo>
                  <a:lnTo>
                    <a:pt x="24" y="308"/>
                  </a:lnTo>
                  <a:lnTo>
                    <a:pt x="18" y="310"/>
                  </a:lnTo>
                  <a:lnTo>
                    <a:pt x="12" y="314"/>
                  </a:lnTo>
                  <a:lnTo>
                    <a:pt x="10" y="320"/>
                  </a:lnTo>
                  <a:lnTo>
                    <a:pt x="10" y="322"/>
                  </a:lnTo>
                  <a:lnTo>
                    <a:pt x="8" y="328"/>
                  </a:lnTo>
                  <a:lnTo>
                    <a:pt x="10" y="330"/>
                  </a:lnTo>
                  <a:lnTo>
                    <a:pt x="10" y="332"/>
                  </a:lnTo>
                  <a:lnTo>
                    <a:pt x="14" y="338"/>
                  </a:lnTo>
                  <a:lnTo>
                    <a:pt x="18" y="340"/>
                  </a:lnTo>
                  <a:lnTo>
                    <a:pt x="24" y="342"/>
                  </a:lnTo>
                  <a:lnTo>
                    <a:pt x="28" y="348"/>
                  </a:lnTo>
                  <a:lnTo>
                    <a:pt x="28" y="350"/>
                  </a:lnTo>
                  <a:lnTo>
                    <a:pt x="24" y="352"/>
                  </a:lnTo>
                  <a:lnTo>
                    <a:pt x="20" y="358"/>
                  </a:lnTo>
                  <a:lnTo>
                    <a:pt x="20" y="360"/>
                  </a:lnTo>
                  <a:lnTo>
                    <a:pt x="20" y="362"/>
                  </a:lnTo>
                  <a:lnTo>
                    <a:pt x="20" y="366"/>
                  </a:lnTo>
                  <a:lnTo>
                    <a:pt x="22" y="366"/>
                  </a:lnTo>
                  <a:lnTo>
                    <a:pt x="28" y="368"/>
                  </a:lnTo>
                  <a:lnTo>
                    <a:pt x="32" y="374"/>
                  </a:lnTo>
                  <a:lnTo>
                    <a:pt x="36" y="380"/>
                  </a:lnTo>
                  <a:lnTo>
                    <a:pt x="38" y="382"/>
                  </a:lnTo>
                  <a:lnTo>
                    <a:pt x="44" y="388"/>
                  </a:lnTo>
                  <a:lnTo>
                    <a:pt x="50" y="382"/>
                  </a:lnTo>
                  <a:lnTo>
                    <a:pt x="50" y="384"/>
                  </a:lnTo>
                  <a:lnTo>
                    <a:pt x="52" y="384"/>
                  </a:lnTo>
                  <a:lnTo>
                    <a:pt x="54" y="384"/>
                  </a:lnTo>
                  <a:lnTo>
                    <a:pt x="56" y="390"/>
                  </a:lnTo>
                  <a:lnTo>
                    <a:pt x="62" y="388"/>
                  </a:lnTo>
                  <a:lnTo>
                    <a:pt x="68" y="390"/>
                  </a:lnTo>
                  <a:lnTo>
                    <a:pt x="74" y="386"/>
                  </a:lnTo>
                  <a:lnTo>
                    <a:pt x="80" y="386"/>
                  </a:lnTo>
                  <a:lnTo>
                    <a:pt x="80" y="388"/>
                  </a:lnTo>
                  <a:lnTo>
                    <a:pt x="86" y="392"/>
                  </a:lnTo>
                  <a:lnTo>
                    <a:pt x="88" y="394"/>
                  </a:lnTo>
                  <a:lnTo>
                    <a:pt x="104" y="394"/>
                  </a:lnTo>
                  <a:lnTo>
                    <a:pt x="106" y="396"/>
                  </a:lnTo>
                  <a:lnTo>
                    <a:pt x="112" y="398"/>
                  </a:lnTo>
                  <a:lnTo>
                    <a:pt x="116" y="400"/>
                  </a:lnTo>
                  <a:lnTo>
                    <a:pt x="118" y="400"/>
                  </a:lnTo>
                  <a:lnTo>
                    <a:pt x="120" y="400"/>
                  </a:lnTo>
                  <a:lnTo>
                    <a:pt x="116" y="402"/>
                  </a:lnTo>
                  <a:lnTo>
                    <a:pt x="114" y="408"/>
                  </a:lnTo>
                  <a:lnTo>
                    <a:pt x="108" y="414"/>
                  </a:lnTo>
                  <a:lnTo>
                    <a:pt x="102" y="418"/>
                  </a:lnTo>
                  <a:lnTo>
                    <a:pt x="96" y="424"/>
                  </a:lnTo>
                  <a:lnTo>
                    <a:pt x="96" y="426"/>
                  </a:lnTo>
                  <a:lnTo>
                    <a:pt x="96" y="432"/>
                  </a:lnTo>
                  <a:lnTo>
                    <a:pt x="94" y="436"/>
                  </a:lnTo>
                  <a:lnTo>
                    <a:pt x="94" y="442"/>
                  </a:lnTo>
                  <a:lnTo>
                    <a:pt x="90" y="444"/>
                  </a:lnTo>
                  <a:lnTo>
                    <a:pt x="88" y="450"/>
                  </a:lnTo>
                  <a:lnTo>
                    <a:pt x="86" y="454"/>
                  </a:lnTo>
                  <a:lnTo>
                    <a:pt x="84" y="458"/>
                  </a:lnTo>
                  <a:lnTo>
                    <a:pt x="84" y="462"/>
                  </a:lnTo>
                  <a:lnTo>
                    <a:pt x="84" y="464"/>
                  </a:lnTo>
                  <a:lnTo>
                    <a:pt x="86" y="464"/>
                  </a:lnTo>
                  <a:lnTo>
                    <a:pt x="86" y="466"/>
                  </a:lnTo>
                  <a:lnTo>
                    <a:pt x="82" y="478"/>
                  </a:lnTo>
                  <a:lnTo>
                    <a:pt x="82" y="480"/>
                  </a:lnTo>
                  <a:lnTo>
                    <a:pt x="80" y="486"/>
                  </a:lnTo>
                  <a:lnTo>
                    <a:pt x="84" y="490"/>
                  </a:lnTo>
                  <a:lnTo>
                    <a:pt x="84" y="492"/>
                  </a:lnTo>
                  <a:lnTo>
                    <a:pt x="84" y="494"/>
                  </a:lnTo>
                  <a:lnTo>
                    <a:pt x="84" y="492"/>
                  </a:lnTo>
                  <a:lnTo>
                    <a:pt x="88" y="492"/>
                  </a:lnTo>
                  <a:lnTo>
                    <a:pt x="86" y="494"/>
                  </a:lnTo>
                  <a:lnTo>
                    <a:pt x="92" y="496"/>
                  </a:lnTo>
                  <a:lnTo>
                    <a:pt x="94" y="494"/>
                  </a:lnTo>
                  <a:lnTo>
                    <a:pt x="100" y="492"/>
                  </a:lnTo>
                  <a:lnTo>
                    <a:pt x="106" y="494"/>
                  </a:lnTo>
                  <a:lnTo>
                    <a:pt x="112" y="494"/>
                  </a:lnTo>
                  <a:lnTo>
                    <a:pt x="118" y="490"/>
                  </a:lnTo>
                  <a:lnTo>
                    <a:pt x="122" y="492"/>
                  </a:lnTo>
                  <a:lnTo>
                    <a:pt x="130" y="494"/>
                  </a:lnTo>
                  <a:lnTo>
                    <a:pt x="134" y="494"/>
                  </a:lnTo>
                  <a:lnTo>
                    <a:pt x="136" y="490"/>
                  </a:lnTo>
                  <a:lnTo>
                    <a:pt x="136" y="492"/>
                  </a:lnTo>
                  <a:lnTo>
                    <a:pt x="138" y="492"/>
                  </a:lnTo>
                  <a:lnTo>
                    <a:pt x="138" y="488"/>
                  </a:lnTo>
                  <a:lnTo>
                    <a:pt x="138" y="486"/>
                  </a:lnTo>
                  <a:lnTo>
                    <a:pt x="132" y="488"/>
                  </a:lnTo>
                  <a:lnTo>
                    <a:pt x="130" y="488"/>
                  </a:lnTo>
                  <a:lnTo>
                    <a:pt x="132" y="482"/>
                  </a:lnTo>
                  <a:lnTo>
                    <a:pt x="138" y="478"/>
                  </a:lnTo>
                  <a:lnTo>
                    <a:pt x="144" y="480"/>
                  </a:lnTo>
                  <a:lnTo>
                    <a:pt x="146" y="482"/>
                  </a:lnTo>
                  <a:lnTo>
                    <a:pt x="146" y="486"/>
                  </a:lnTo>
                  <a:lnTo>
                    <a:pt x="150" y="486"/>
                  </a:lnTo>
                  <a:lnTo>
                    <a:pt x="154" y="488"/>
                  </a:lnTo>
                  <a:lnTo>
                    <a:pt x="160" y="486"/>
                  </a:lnTo>
                  <a:lnTo>
                    <a:pt x="166" y="486"/>
                  </a:lnTo>
                  <a:lnTo>
                    <a:pt x="168" y="488"/>
                  </a:lnTo>
                  <a:lnTo>
                    <a:pt x="170" y="488"/>
                  </a:lnTo>
                  <a:lnTo>
                    <a:pt x="176" y="488"/>
                  </a:lnTo>
                  <a:lnTo>
                    <a:pt x="182" y="492"/>
                  </a:lnTo>
                  <a:lnTo>
                    <a:pt x="188" y="494"/>
                  </a:lnTo>
                  <a:lnTo>
                    <a:pt x="190" y="496"/>
                  </a:lnTo>
                  <a:lnTo>
                    <a:pt x="196" y="496"/>
                  </a:lnTo>
                  <a:lnTo>
                    <a:pt x="200" y="496"/>
                  </a:lnTo>
                  <a:lnTo>
                    <a:pt x="200" y="494"/>
                  </a:lnTo>
                  <a:lnTo>
                    <a:pt x="206" y="496"/>
                  </a:lnTo>
                  <a:lnTo>
                    <a:pt x="212" y="496"/>
                  </a:lnTo>
                  <a:lnTo>
                    <a:pt x="214" y="498"/>
                  </a:lnTo>
                  <a:lnTo>
                    <a:pt x="214" y="500"/>
                  </a:lnTo>
                  <a:lnTo>
                    <a:pt x="218" y="506"/>
                  </a:lnTo>
                  <a:lnTo>
                    <a:pt x="224" y="506"/>
                  </a:lnTo>
                  <a:lnTo>
                    <a:pt x="224" y="512"/>
                  </a:lnTo>
                  <a:lnTo>
                    <a:pt x="224" y="514"/>
                  </a:lnTo>
                  <a:lnTo>
                    <a:pt x="230" y="512"/>
                  </a:lnTo>
                  <a:lnTo>
                    <a:pt x="236" y="506"/>
                  </a:lnTo>
                  <a:lnTo>
                    <a:pt x="240" y="502"/>
                  </a:lnTo>
                  <a:lnTo>
                    <a:pt x="238" y="498"/>
                  </a:lnTo>
                  <a:lnTo>
                    <a:pt x="240" y="492"/>
                  </a:lnTo>
                  <a:lnTo>
                    <a:pt x="244" y="496"/>
                  </a:lnTo>
                  <a:lnTo>
                    <a:pt x="246" y="494"/>
                  </a:lnTo>
                  <a:lnTo>
                    <a:pt x="250" y="494"/>
                  </a:lnTo>
                  <a:lnTo>
                    <a:pt x="252" y="494"/>
                  </a:lnTo>
                  <a:lnTo>
                    <a:pt x="258" y="498"/>
                  </a:lnTo>
                  <a:lnTo>
                    <a:pt x="264" y="498"/>
                  </a:lnTo>
                  <a:lnTo>
                    <a:pt x="262" y="498"/>
                  </a:lnTo>
                  <a:lnTo>
                    <a:pt x="264" y="500"/>
                  </a:lnTo>
                  <a:lnTo>
                    <a:pt x="270" y="506"/>
                  </a:lnTo>
                  <a:lnTo>
                    <a:pt x="276" y="504"/>
                  </a:lnTo>
                  <a:lnTo>
                    <a:pt x="282" y="506"/>
                  </a:lnTo>
                  <a:lnTo>
                    <a:pt x="288" y="502"/>
                  </a:lnTo>
                  <a:lnTo>
                    <a:pt x="290" y="498"/>
                  </a:lnTo>
                  <a:lnTo>
                    <a:pt x="296" y="498"/>
                  </a:lnTo>
                  <a:lnTo>
                    <a:pt x="302" y="494"/>
                  </a:lnTo>
                  <a:lnTo>
                    <a:pt x="308" y="492"/>
                  </a:lnTo>
                  <a:lnTo>
                    <a:pt x="314" y="494"/>
                  </a:lnTo>
                  <a:lnTo>
                    <a:pt x="320" y="490"/>
                  </a:lnTo>
                  <a:lnTo>
                    <a:pt x="326" y="490"/>
                  </a:lnTo>
                  <a:lnTo>
                    <a:pt x="332" y="490"/>
                  </a:lnTo>
                  <a:lnTo>
                    <a:pt x="332" y="492"/>
                  </a:lnTo>
                  <a:lnTo>
                    <a:pt x="334" y="490"/>
                  </a:lnTo>
                  <a:lnTo>
                    <a:pt x="332" y="486"/>
                  </a:lnTo>
                  <a:lnTo>
                    <a:pt x="338" y="486"/>
                  </a:lnTo>
                  <a:lnTo>
                    <a:pt x="344" y="486"/>
                  </a:lnTo>
                  <a:lnTo>
                    <a:pt x="350" y="490"/>
                  </a:lnTo>
                  <a:lnTo>
                    <a:pt x="352" y="490"/>
                  </a:lnTo>
                  <a:lnTo>
                    <a:pt x="358" y="486"/>
                  </a:lnTo>
                  <a:lnTo>
                    <a:pt x="364" y="486"/>
                  </a:lnTo>
                  <a:lnTo>
                    <a:pt x="364" y="492"/>
                  </a:lnTo>
                  <a:lnTo>
                    <a:pt x="370" y="498"/>
                  </a:lnTo>
                  <a:lnTo>
                    <a:pt x="372" y="498"/>
                  </a:lnTo>
                  <a:lnTo>
                    <a:pt x="376" y="500"/>
                  </a:lnTo>
                  <a:lnTo>
                    <a:pt x="380" y="498"/>
                  </a:lnTo>
                  <a:lnTo>
                    <a:pt x="378" y="492"/>
                  </a:lnTo>
                  <a:lnTo>
                    <a:pt x="380" y="486"/>
                  </a:lnTo>
                  <a:lnTo>
                    <a:pt x="374" y="484"/>
                  </a:lnTo>
                  <a:lnTo>
                    <a:pt x="372" y="480"/>
                  </a:lnTo>
                  <a:lnTo>
                    <a:pt x="376" y="476"/>
                  </a:lnTo>
                  <a:lnTo>
                    <a:pt x="376" y="474"/>
                  </a:lnTo>
                  <a:lnTo>
                    <a:pt x="372" y="468"/>
                  </a:lnTo>
                  <a:lnTo>
                    <a:pt x="368" y="466"/>
                  </a:lnTo>
                  <a:lnTo>
                    <a:pt x="364" y="460"/>
                  </a:lnTo>
                  <a:lnTo>
                    <a:pt x="366" y="454"/>
                  </a:lnTo>
                  <a:lnTo>
                    <a:pt x="372" y="450"/>
                  </a:lnTo>
                  <a:lnTo>
                    <a:pt x="376" y="448"/>
                  </a:lnTo>
                  <a:lnTo>
                    <a:pt x="378" y="446"/>
                  </a:lnTo>
                  <a:lnTo>
                    <a:pt x="384" y="444"/>
                  </a:lnTo>
                  <a:lnTo>
                    <a:pt x="390" y="444"/>
                  </a:lnTo>
                  <a:lnTo>
                    <a:pt x="396" y="440"/>
                  </a:lnTo>
                  <a:lnTo>
                    <a:pt x="398" y="438"/>
                  </a:lnTo>
                  <a:lnTo>
                    <a:pt x="398" y="434"/>
                  </a:lnTo>
                  <a:lnTo>
                    <a:pt x="398" y="428"/>
                  </a:lnTo>
                  <a:lnTo>
                    <a:pt x="398" y="426"/>
                  </a:lnTo>
                  <a:lnTo>
                    <a:pt x="400" y="426"/>
                  </a:lnTo>
                  <a:lnTo>
                    <a:pt x="402" y="426"/>
                  </a:lnTo>
                  <a:lnTo>
                    <a:pt x="408" y="426"/>
                  </a:lnTo>
                  <a:lnTo>
                    <a:pt x="414" y="430"/>
                  </a:lnTo>
                  <a:lnTo>
                    <a:pt x="418" y="424"/>
                  </a:lnTo>
                  <a:lnTo>
                    <a:pt x="418" y="418"/>
                  </a:lnTo>
                  <a:lnTo>
                    <a:pt x="420" y="412"/>
                  </a:lnTo>
                  <a:lnTo>
                    <a:pt x="416" y="410"/>
                  </a:lnTo>
                  <a:lnTo>
                    <a:pt x="412" y="406"/>
                  </a:lnTo>
                  <a:lnTo>
                    <a:pt x="406" y="400"/>
                  </a:lnTo>
                  <a:lnTo>
                    <a:pt x="402" y="398"/>
                  </a:lnTo>
                  <a:lnTo>
                    <a:pt x="396" y="398"/>
                  </a:lnTo>
                  <a:lnTo>
                    <a:pt x="396" y="396"/>
                  </a:lnTo>
                  <a:lnTo>
                    <a:pt x="392" y="390"/>
                  </a:lnTo>
                  <a:lnTo>
                    <a:pt x="386" y="390"/>
                  </a:lnTo>
                  <a:lnTo>
                    <a:pt x="384" y="390"/>
                  </a:lnTo>
                  <a:lnTo>
                    <a:pt x="384" y="388"/>
                  </a:lnTo>
                  <a:lnTo>
                    <a:pt x="378" y="382"/>
                  </a:lnTo>
                  <a:lnTo>
                    <a:pt x="374" y="376"/>
                  </a:lnTo>
                  <a:lnTo>
                    <a:pt x="368" y="376"/>
                  </a:lnTo>
                  <a:lnTo>
                    <a:pt x="366" y="374"/>
                  </a:lnTo>
                  <a:lnTo>
                    <a:pt x="360" y="370"/>
                  </a:lnTo>
                  <a:lnTo>
                    <a:pt x="354" y="366"/>
                  </a:lnTo>
                  <a:lnTo>
                    <a:pt x="352" y="360"/>
                  </a:lnTo>
                  <a:lnTo>
                    <a:pt x="348" y="354"/>
                  </a:lnTo>
                  <a:lnTo>
                    <a:pt x="348" y="352"/>
                  </a:lnTo>
                  <a:lnTo>
                    <a:pt x="342" y="346"/>
                  </a:lnTo>
                  <a:lnTo>
                    <a:pt x="346" y="342"/>
                  </a:lnTo>
                  <a:lnTo>
                    <a:pt x="348" y="336"/>
                  </a:lnTo>
                  <a:lnTo>
                    <a:pt x="342" y="330"/>
                  </a:lnTo>
                  <a:lnTo>
                    <a:pt x="340" y="328"/>
                  </a:lnTo>
                  <a:lnTo>
                    <a:pt x="334" y="324"/>
                  </a:lnTo>
                  <a:lnTo>
                    <a:pt x="332" y="324"/>
                  </a:lnTo>
                  <a:lnTo>
                    <a:pt x="330" y="322"/>
                  </a:lnTo>
                  <a:lnTo>
                    <a:pt x="330" y="316"/>
                  </a:lnTo>
                  <a:lnTo>
                    <a:pt x="326" y="314"/>
                  </a:lnTo>
                  <a:lnTo>
                    <a:pt x="326" y="308"/>
                  </a:lnTo>
                  <a:lnTo>
                    <a:pt x="328" y="308"/>
                  </a:lnTo>
                  <a:lnTo>
                    <a:pt x="334" y="312"/>
                  </a:lnTo>
                  <a:lnTo>
                    <a:pt x="336" y="320"/>
                  </a:lnTo>
                  <a:lnTo>
                    <a:pt x="338" y="320"/>
                  </a:lnTo>
                  <a:lnTo>
                    <a:pt x="338" y="318"/>
                  </a:lnTo>
                  <a:lnTo>
                    <a:pt x="338" y="316"/>
                  </a:lnTo>
                  <a:lnTo>
                    <a:pt x="342" y="310"/>
                  </a:lnTo>
                  <a:lnTo>
                    <a:pt x="346" y="304"/>
                  </a:lnTo>
                  <a:lnTo>
                    <a:pt x="352" y="304"/>
                  </a:lnTo>
                  <a:lnTo>
                    <a:pt x="358" y="304"/>
                  </a:lnTo>
                  <a:lnTo>
                    <a:pt x="364" y="300"/>
                  </a:lnTo>
                  <a:lnTo>
                    <a:pt x="370" y="304"/>
                  </a:lnTo>
                  <a:lnTo>
                    <a:pt x="372" y="302"/>
                  </a:lnTo>
                  <a:lnTo>
                    <a:pt x="378" y="296"/>
                  </a:lnTo>
                  <a:lnTo>
                    <a:pt x="384" y="292"/>
                  </a:lnTo>
                  <a:lnTo>
                    <a:pt x="388" y="292"/>
                  </a:lnTo>
                  <a:lnTo>
                    <a:pt x="394" y="290"/>
                  </a:lnTo>
                  <a:lnTo>
                    <a:pt x="400" y="286"/>
                  </a:lnTo>
                  <a:lnTo>
                    <a:pt x="406" y="282"/>
                  </a:lnTo>
                  <a:lnTo>
                    <a:pt x="414" y="282"/>
                  </a:lnTo>
                  <a:lnTo>
                    <a:pt x="420" y="280"/>
                  </a:lnTo>
                  <a:lnTo>
                    <a:pt x="424" y="276"/>
                  </a:lnTo>
                  <a:lnTo>
                    <a:pt x="430" y="276"/>
                  </a:lnTo>
                  <a:lnTo>
                    <a:pt x="436" y="274"/>
                  </a:lnTo>
                  <a:lnTo>
                    <a:pt x="438" y="272"/>
                  </a:lnTo>
                  <a:lnTo>
                    <a:pt x="440" y="270"/>
                  </a:lnTo>
                  <a:lnTo>
                    <a:pt x="444" y="268"/>
                  </a:lnTo>
                  <a:lnTo>
                    <a:pt x="440" y="262"/>
                  </a:lnTo>
                  <a:lnTo>
                    <a:pt x="444" y="262"/>
                  </a:lnTo>
                  <a:lnTo>
                    <a:pt x="450" y="262"/>
                  </a:lnTo>
                  <a:lnTo>
                    <a:pt x="452" y="260"/>
                  </a:lnTo>
                  <a:lnTo>
                    <a:pt x="452" y="262"/>
                  </a:lnTo>
                  <a:lnTo>
                    <a:pt x="456" y="264"/>
                  </a:lnTo>
                  <a:lnTo>
                    <a:pt x="456" y="270"/>
                  </a:lnTo>
                  <a:lnTo>
                    <a:pt x="458" y="270"/>
                  </a:lnTo>
                  <a:lnTo>
                    <a:pt x="462" y="274"/>
                  </a:lnTo>
                  <a:lnTo>
                    <a:pt x="468" y="274"/>
                  </a:lnTo>
                  <a:lnTo>
                    <a:pt x="470" y="272"/>
                  </a:lnTo>
                  <a:lnTo>
                    <a:pt x="470" y="270"/>
                  </a:lnTo>
                  <a:lnTo>
                    <a:pt x="472" y="268"/>
                  </a:lnTo>
                  <a:lnTo>
                    <a:pt x="474" y="262"/>
                  </a:lnTo>
                  <a:lnTo>
                    <a:pt x="476" y="260"/>
                  </a:lnTo>
                  <a:lnTo>
                    <a:pt x="478" y="254"/>
                  </a:lnTo>
                  <a:lnTo>
                    <a:pt x="478" y="252"/>
                  </a:lnTo>
                  <a:lnTo>
                    <a:pt x="478" y="246"/>
                  </a:lnTo>
                  <a:lnTo>
                    <a:pt x="478" y="244"/>
                  </a:lnTo>
                  <a:lnTo>
                    <a:pt x="478" y="2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2" name="Freeform 29"/>
            <p:cNvSpPr>
              <a:spLocks/>
            </p:cNvSpPr>
            <p:nvPr/>
          </p:nvSpPr>
          <p:spPr bwMode="auto">
            <a:xfrm>
              <a:off x="4557713" y="2924175"/>
              <a:ext cx="131762" cy="100013"/>
            </a:xfrm>
            <a:custGeom>
              <a:avLst/>
              <a:gdLst>
                <a:gd name="T0" fmla="*/ 2147483647 w 322"/>
                <a:gd name="T1" fmla="*/ 2147483647 h 244"/>
                <a:gd name="T2" fmla="*/ 2147483647 w 322"/>
                <a:gd name="T3" fmla="*/ 2147483647 h 244"/>
                <a:gd name="T4" fmla="*/ 2147483647 w 322"/>
                <a:gd name="T5" fmla="*/ 2147483647 h 244"/>
                <a:gd name="T6" fmla="*/ 2147483647 w 322"/>
                <a:gd name="T7" fmla="*/ 2147483647 h 244"/>
                <a:gd name="T8" fmla="*/ 2147483647 w 322"/>
                <a:gd name="T9" fmla="*/ 2147483647 h 244"/>
                <a:gd name="T10" fmla="*/ 2147483647 w 322"/>
                <a:gd name="T11" fmla="*/ 2147483647 h 244"/>
                <a:gd name="T12" fmla="*/ 2147483647 w 322"/>
                <a:gd name="T13" fmla="*/ 2147483647 h 244"/>
                <a:gd name="T14" fmla="*/ 2147483647 w 322"/>
                <a:gd name="T15" fmla="*/ 2147483647 h 244"/>
                <a:gd name="T16" fmla="*/ 2147483647 w 322"/>
                <a:gd name="T17" fmla="*/ 2147483647 h 244"/>
                <a:gd name="T18" fmla="*/ 2147483647 w 322"/>
                <a:gd name="T19" fmla="*/ 2147483647 h 244"/>
                <a:gd name="T20" fmla="*/ 2147483647 w 322"/>
                <a:gd name="T21" fmla="*/ 2147483647 h 244"/>
                <a:gd name="T22" fmla="*/ 2147483647 w 322"/>
                <a:gd name="T23" fmla="*/ 2147483647 h 244"/>
                <a:gd name="T24" fmla="*/ 2147483647 w 322"/>
                <a:gd name="T25" fmla="*/ 2147483647 h 244"/>
                <a:gd name="T26" fmla="*/ 2147483647 w 322"/>
                <a:gd name="T27" fmla="*/ 2147483647 h 244"/>
                <a:gd name="T28" fmla="*/ 2147483647 w 322"/>
                <a:gd name="T29" fmla="*/ 2147483647 h 244"/>
                <a:gd name="T30" fmla="*/ 2147483647 w 322"/>
                <a:gd name="T31" fmla="*/ 2147483647 h 244"/>
                <a:gd name="T32" fmla="*/ 2147483647 w 322"/>
                <a:gd name="T33" fmla="*/ 2147483647 h 244"/>
                <a:gd name="T34" fmla="*/ 2147483647 w 322"/>
                <a:gd name="T35" fmla="*/ 2147483647 h 244"/>
                <a:gd name="T36" fmla="*/ 2147483647 w 322"/>
                <a:gd name="T37" fmla="*/ 2147483647 h 244"/>
                <a:gd name="T38" fmla="*/ 2147483647 w 322"/>
                <a:gd name="T39" fmla="*/ 2147483647 h 244"/>
                <a:gd name="T40" fmla="*/ 2147483647 w 322"/>
                <a:gd name="T41" fmla="*/ 2147483647 h 244"/>
                <a:gd name="T42" fmla="*/ 2147483647 w 322"/>
                <a:gd name="T43" fmla="*/ 2147483647 h 244"/>
                <a:gd name="T44" fmla="*/ 2147483647 w 322"/>
                <a:gd name="T45" fmla="*/ 2147483647 h 244"/>
                <a:gd name="T46" fmla="*/ 2147483647 w 322"/>
                <a:gd name="T47" fmla="*/ 2147483647 h 244"/>
                <a:gd name="T48" fmla="*/ 2147483647 w 322"/>
                <a:gd name="T49" fmla="*/ 2147483647 h 244"/>
                <a:gd name="T50" fmla="*/ 2147483647 w 322"/>
                <a:gd name="T51" fmla="*/ 2147483647 h 244"/>
                <a:gd name="T52" fmla="*/ 2147483647 w 322"/>
                <a:gd name="T53" fmla="*/ 2147483647 h 244"/>
                <a:gd name="T54" fmla="*/ 2147483647 w 322"/>
                <a:gd name="T55" fmla="*/ 2147483647 h 244"/>
                <a:gd name="T56" fmla="*/ 2147483647 w 322"/>
                <a:gd name="T57" fmla="*/ 2147483647 h 244"/>
                <a:gd name="T58" fmla="*/ 2147483647 w 322"/>
                <a:gd name="T59" fmla="*/ 2147483647 h 244"/>
                <a:gd name="T60" fmla="*/ 2147483647 w 322"/>
                <a:gd name="T61" fmla="*/ 2147483647 h 244"/>
                <a:gd name="T62" fmla="*/ 2147483647 w 322"/>
                <a:gd name="T63" fmla="*/ 2147483647 h 244"/>
                <a:gd name="T64" fmla="*/ 2147483647 w 322"/>
                <a:gd name="T65" fmla="*/ 2147483647 h 244"/>
                <a:gd name="T66" fmla="*/ 2147483647 w 322"/>
                <a:gd name="T67" fmla="*/ 2147483647 h 244"/>
                <a:gd name="T68" fmla="*/ 2147483647 w 322"/>
                <a:gd name="T69" fmla="*/ 2147483647 h 244"/>
                <a:gd name="T70" fmla="*/ 2147483647 w 322"/>
                <a:gd name="T71" fmla="*/ 2147483647 h 244"/>
                <a:gd name="T72" fmla="*/ 2147483647 w 322"/>
                <a:gd name="T73" fmla="*/ 2147483647 h 244"/>
                <a:gd name="T74" fmla="*/ 2147483647 w 322"/>
                <a:gd name="T75" fmla="*/ 2147483647 h 244"/>
                <a:gd name="T76" fmla="*/ 2147483647 w 322"/>
                <a:gd name="T77" fmla="*/ 2147483647 h 244"/>
                <a:gd name="T78" fmla="*/ 2147483647 w 322"/>
                <a:gd name="T79" fmla="*/ 2147483647 h 244"/>
                <a:gd name="T80" fmla="*/ 2147483647 w 322"/>
                <a:gd name="T81" fmla="*/ 2147483647 h 244"/>
                <a:gd name="T82" fmla="*/ 2147483647 w 322"/>
                <a:gd name="T83" fmla="*/ 2147483647 h 244"/>
                <a:gd name="T84" fmla="*/ 2147483647 w 322"/>
                <a:gd name="T85" fmla="*/ 2147483647 h 244"/>
                <a:gd name="T86" fmla="*/ 2147483647 w 322"/>
                <a:gd name="T87" fmla="*/ 2147483647 h 244"/>
                <a:gd name="T88" fmla="*/ 2147483647 w 322"/>
                <a:gd name="T89" fmla="*/ 2147483647 h 244"/>
                <a:gd name="T90" fmla="*/ 2147483647 w 322"/>
                <a:gd name="T91" fmla="*/ 2147483647 h 244"/>
                <a:gd name="T92" fmla="*/ 2147483647 w 322"/>
                <a:gd name="T93" fmla="*/ 2147483647 h 244"/>
                <a:gd name="T94" fmla="*/ 2147483647 w 322"/>
                <a:gd name="T95" fmla="*/ 2147483647 h 244"/>
                <a:gd name="T96" fmla="*/ 2147483647 w 322"/>
                <a:gd name="T97" fmla="*/ 2147483647 h 244"/>
                <a:gd name="T98" fmla="*/ 2147483647 w 322"/>
                <a:gd name="T99" fmla="*/ 2147483647 h 244"/>
                <a:gd name="T100" fmla="*/ 2147483647 w 322"/>
                <a:gd name="T101" fmla="*/ 2147483647 h 244"/>
                <a:gd name="T102" fmla="*/ 2147483647 w 322"/>
                <a:gd name="T103" fmla="*/ 2147483647 h 244"/>
                <a:gd name="T104" fmla="*/ 2147483647 w 322"/>
                <a:gd name="T105" fmla="*/ 2147483647 h 244"/>
                <a:gd name="T106" fmla="*/ 2147483647 w 322"/>
                <a:gd name="T107" fmla="*/ 2147483647 h 2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2"/>
                <a:gd name="T163" fmla="*/ 0 h 244"/>
                <a:gd name="T164" fmla="*/ 322 w 322"/>
                <a:gd name="T165" fmla="*/ 244 h 2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2" h="244">
                  <a:moveTo>
                    <a:pt x="4" y="72"/>
                  </a:moveTo>
                  <a:lnTo>
                    <a:pt x="6" y="72"/>
                  </a:lnTo>
                  <a:lnTo>
                    <a:pt x="10" y="72"/>
                  </a:lnTo>
                  <a:lnTo>
                    <a:pt x="14" y="72"/>
                  </a:lnTo>
                  <a:lnTo>
                    <a:pt x="20" y="74"/>
                  </a:lnTo>
                  <a:lnTo>
                    <a:pt x="24" y="74"/>
                  </a:lnTo>
                  <a:lnTo>
                    <a:pt x="24" y="72"/>
                  </a:lnTo>
                  <a:lnTo>
                    <a:pt x="28" y="68"/>
                  </a:lnTo>
                  <a:lnTo>
                    <a:pt x="34" y="72"/>
                  </a:lnTo>
                  <a:lnTo>
                    <a:pt x="38" y="70"/>
                  </a:lnTo>
                  <a:lnTo>
                    <a:pt x="40" y="70"/>
                  </a:lnTo>
                  <a:lnTo>
                    <a:pt x="42" y="70"/>
                  </a:lnTo>
                  <a:lnTo>
                    <a:pt x="44" y="70"/>
                  </a:lnTo>
                  <a:lnTo>
                    <a:pt x="46" y="70"/>
                  </a:lnTo>
                  <a:lnTo>
                    <a:pt x="52" y="68"/>
                  </a:lnTo>
                  <a:lnTo>
                    <a:pt x="54" y="64"/>
                  </a:lnTo>
                  <a:lnTo>
                    <a:pt x="58" y="60"/>
                  </a:lnTo>
                  <a:lnTo>
                    <a:pt x="58" y="58"/>
                  </a:lnTo>
                  <a:lnTo>
                    <a:pt x="60" y="60"/>
                  </a:lnTo>
                  <a:lnTo>
                    <a:pt x="60" y="62"/>
                  </a:lnTo>
                  <a:lnTo>
                    <a:pt x="66" y="68"/>
                  </a:lnTo>
                  <a:lnTo>
                    <a:pt x="68" y="70"/>
                  </a:lnTo>
                  <a:lnTo>
                    <a:pt x="76" y="72"/>
                  </a:lnTo>
                  <a:lnTo>
                    <a:pt x="82" y="70"/>
                  </a:lnTo>
                  <a:lnTo>
                    <a:pt x="84" y="70"/>
                  </a:lnTo>
                  <a:lnTo>
                    <a:pt x="86" y="72"/>
                  </a:lnTo>
                  <a:lnTo>
                    <a:pt x="92" y="74"/>
                  </a:lnTo>
                  <a:lnTo>
                    <a:pt x="94" y="74"/>
                  </a:lnTo>
                  <a:lnTo>
                    <a:pt x="100" y="70"/>
                  </a:lnTo>
                  <a:lnTo>
                    <a:pt x="98" y="68"/>
                  </a:lnTo>
                  <a:lnTo>
                    <a:pt x="98" y="66"/>
                  </a:lnTo>
                  <a:lnTo>
                    <a:pt x="98" y="62"/>
                  </a:lnTo>
                  <a:lnTo>
                    <a:pt x="100" y="60"/>
                  </a:lnTo>
                  <a:lnTo>
                    <a:pt x="102" y="60"/>
                  </a:lnTo>
                  <a:lnTo>
                    <a:pt x="102" y="58"/>
                  </a:lnTo>
                  <a:lnTo>
                    <a:pt x="96" y="58"/>
                  </a:lnTo>
                  <a:lnTo>
                    <a:pt x="94" y="56"/>
                  </a:lnTo>
                  <a:lnTo>
                    <a:pt x="98" y="52"/>
                  </a:lnTo>
                  <a:lnTo>
                    <a:pt x="104" y="52"/>
                  </a:lnTo>
                  <a:lnTo>
                    <a:pt x="106" y="50"/>
                  </a:lnTo>
                  <a:lnTo>
                    <a:pt x="110" y="48"/>
                  </a:lnTo>
                  <a:lnTo>
                    <a:pt x="118" y="46"/>
                  </a:lnTo>
                  <a:lnTo>
                    <a:pt x="118" y="44"/>
                  </a:lnTo>
                  <a:lnTo>
                    <a:pt x="118" y="40"/>
                  </a:lnTo>
                  <a:lnTo>
                    <a:pt x="118" y="34"/>
                  </a:lnTo>
                  <a:lnTo>
                    <a:pt x="116" y="32"/>
                  </a:lnTo>
                  <a:lnTo>
                    <a:pt x="114" y="26"/>
                  </a:lnTo>
                  <a:lnTo>
                    <a:pt x="116" y="22"/>
                  </a:lnTo>
                  <a:lnTo>
                    <a:pt x="122" y="22"/>
                  </a:lnTo>
                  <a:lnTo>
                    <a:pt x="124" y="20"/>
                  </a:lnTo>
                  <a:lnTo>
                    <a:pt x="126" y="18"/>
                  </a:lnTo>
                  <a:lnTo>
                    <a:pt x="130" y="18"/>
                  </a:lnTo>
                  <a:lnTo>
                    <a:pt x="138" y="14"/>
                  </a:lnTo>
                  <a:lnTo>
                    <a:pt x="138" y="10"/>
                  </a:lnTo>
                  <a:lnTo>
                    <a:pt x="144" y="8"/>
                  </a:lnTo>
                  <a:lnTo>
                    <a:pt x="144" y="10"/>
                  </a:lnTo>
                  <a:lnTo>
                    <a:pt x="150" y="10"/>
                  </a:lnTo>
                  <a:lnTo>
                    <a:pt x="148" y="4"/>
                  </a:lnTo>
                  <a:lnTo>
                    <a:pt x="150" y="0"/>
                  </a:lnTo>
                  <a:lnTo>
                    <a:pt x="156" y="0"/>
                  </a:lnTo>
                  <a:lnTo>
                    <a:pt x="158" y="2"/>
                  </a:lnTo>
                  <a:lnTo>
                    <a:pt x="164" y="4"/>
                  </a:lnTo>
                  <a:lnTo>
                    <a:pt x="166" y="4"/>
                  </a:lnTo>
                  <a:lnTo>
                    <a:pt x="172" y="8"/>
                  </a:lnTo>
                  <a:lnTo>
                    <a:pt x="178" y="10"/>
                  </a:lnTo>
                  <a:lnTo>
                    <a:pt x="180" y="12"/>
                  </a:lnTo>
                  <a:lnTo>
                    <a:pt x="182" y="14"/>
                  </a:lnTo>
                  <a:lnTo>
                    <a:pt x="182" y="16"/>
                  </a:lnTo>
                  <a:lnTo>
                    <a:pt x="186" y="20"/>
                  </a:lnTo>
                  <a:lnTo>
                    <a:pt x="190" y="22"/>
                  </a:lnTo>
                  <a:lnTo>
                    <a:pt x="196" y="24"/>
                  </a:lnTo>
                  <a:lnTo>
                    <a:pt x="198" y="28"/>
                  </a:lnTo>
                  <a:lnTo>
                    <a:pt x="200" y="28"/>
                  </a:lnTo>
                  <a:lnTo>
                    <a:pt x="202" y="30"/>
                  </a:lnTo>
                  <a:lnTo>
                    <a:pt x="202" y="32"/>
                  </a:lnTo>
                  <a:lnTo>
                    <a:pt x="204" y="34"/>
                  </a:lnTo>
                  <a:lnTo>
                    <a:pt x="204" y="36"/>
                  </a:lnTo>
                  <a:lnTo>
                    <a:pt x="206" y="36"/>
                  </a:lnTo>
                  <a:lnTo>
                    <a:pt x="210" y="40"/>
                  </a:lnTo>
                  <a:lnTo>
                    <a:pt x="212" y="40"/>
                  </a:lnTo>
                  <a:lnTo>
                    <a:pt x="216" y="40"/>
                  </a:lnTo>
                  <a:lnTo>
                    <a:pt x="222" y="40"/>
                  </a:lnTo>
                  <a:lnTo>
                    <a:pt x="226" y="46"/>
                  </a:lnTo>
                  <a:lnTo>
                    <a:pt x="226" y="48"/>
                  </a:lnTo>
                  <a:lnTo>
                    <a:pt x="232" y="48"/>
                  </a:lnTo>
                  <a:lnTo>
                    <a:pt x="238" y="50"/>
                  </a:lnTo>
                  <a:lnTo>
                    <a:pt x="240" y="50"/>
                  </a:lnTo>
                  <a:lnTo>
                    <a:pt x="246" y="50"/>
                  </a:lnTo>
                  <a:lnTo>
                    <a:pt x="250" y="50"/>
                  </a:lnTo>
                  <a:lnTo>
                    <a:pt x="256" y="50"/>
                  </a:lnTo>
                  <a:lnTo>
                    <a:pt x="260" y="52"/>
                  </a:lnTo>
                  <a:lnTo>
                    <a:pt x="262" y="52"/>
                  </a:lnTo>
                  <a:lnTo>
                    <a:pt x="270" y="52"/>
                  </a:lnTo>
                  <a:lnTo>
                    <a:pt x="274" y="50"/>
                  </a:lnTo>
                  <a:lnTo>
                    <a:pt x="278" y="48"/>
                  </a:lnTo>
                  <a:lnTo>
                    <a:pt x="280" y="42"/>
                  </a:lnTo>
                  <a:lnTo>
                    <a:pt x="284" y="42"/>
                  </a:lnTo>
                  <a:lnTo>
                    <a:pt x="288" y="42"/>
                  </a:lnTo>
                  <a:lnTo>
                    <a:pt x="292" y="46"/>
                  </a:lnTo>
                  <a:lnTo>
                    <a:pt x="296" y="50"/>
                  </a:lnTo>
                  <a:lnTo>
                    <a:pt x="294" y="56"/>
                  </a:lnTo>
                  <a:lnTo>
                    <a:pt x="296" y="62"/>
                  </a:lnTo>
                  <a:lnTo>
                    <a:pt x="296" y="66"/>
                  </a:lnTo>
                  <a:lnTo>
                    <a:pt x="302" y="66"/>
                  </a:lnTo>
                  <a:lnTo>
                    <a:pt x="304" y="68"/>
                  </a:lnTo>
                  <a:lnTo>
                    <a:pt x="302" y="70"/>
                  </a:lnTo>
                  <a:lnTo>
                    <a:pt x="300" y="74"/>
                  </a:lnTo>
                  <a:lnTo>
                    <a:pt x="302" y="80"/>
                  </a:lnTo>
                  <a:lnTo>
                    <a:pt x="308" y="84"/>
                  </a:lnTo>
                  <a:lnTo>
                    <a:pt x="310" y="86"/>
                  </a:lnTo>
                  <a:lnTo>
                    <a:pt x="312" y="86"/>
                  </a:lnTo>
                  <a:lnTo>
                    <a:pt x="314" y="86"/>
                  </a:lnTo>
                  <a:lnTo>
                    <a:pt x="316" y="86"/>
                  </a:lnTo>
                  <a:lnTo>
                    <a:pt x="314" y="86"/>
                  </a:lnTo>
                  <a:lnTo>
                    <a:pt x="320" y="88"/>
                  </a:lnTo>
                  <a:lnTo>
                    <a:pt x="322" y="88"/>
                  </a:lnTo>
                  <a:lnTo>
                    <a:pt x="322" y="92"/>
                  </a:lnTo>
                  <a:lnTo>
                    <a:pt x="316" y="92"/>
                  </a:lnTo>
                  <a:lnTo>
                    <a:pt x="310" y="94"/>
                  </a:lnTo>
                  <a:lnTo>
                    <a:pt x="308" y="94"/>
                  </a:lnTo>
                  <a:lnTo>
                    <a:pt x="304" y="96"/>
                  </a:lnTo>
                  <a:lnTo>
                    <a:pt x="308" y="100"/>
                  </a:lnTo>
                  <a:lnTo>
                    <a:pt x="308" y="104"/>
                  </a:lnTo>
                  <a:lnTo>
                    <a:pt x="308" y="106"/>
                  </a:lnTo>
                  <a:lnTo>
                    <a:pt x="302" y="112"/>
                  </a:lnTo>
                  <a:lnTo>
                    <a:pt x="304" y="114"/>
                  </a:lnTo>
                  <a:lnTo>
                    <a:pt x="300" y="114"/>
                  </a:lnTo>
                  <a:lnTo>
                    <a:pt x="294" y="114"/>
                  </a:lnTo>
                  <a:lnTo>
                    <a:pt x="288" y="108"/>
                  </a:lnTo>
                  <a:lnTo>
                    <a:pt x="290" y="104"/>
                  </a:lnTo>
                  <a:lnTo>
                    <a:pt x="288" y="104"/>
                  </a:lnTo>
                  <a:lnTo>
                    <a:pt x="286" y="104"/>
                  </a:lnTo>
                  <a:lnTo>
                    <a:pt x="286" y="102"/>
                  </a:lnTo>
                  <a:lnTo>
                    <a:pt x="280" y="100"/>
                  </a:lnTo>
                  <a:lnTo>
                    <a:pt x="276" y="100"/>
                  </a:lnTo>
                  <a:lnTo>
                    <a:pt x="274" y="100"/>
                  </a:lnTo>
                  <a:lnTo>
                    <a:pt x="272" y="100"/>
                  </a:lnTo>
                  <a:lnTo>
                    <a:pt x="270" y="98"/>
                  </a:lnTo>
                  <a:lnTo>
                    <a:pt x="264" y="96"/>
                  </a:lnTo>
                  <a:lnTo>
                    <a:pt x="258" y="98"/>
                  </a:lnTo>
                  <a:lnTo>
                    <a:pt x="254" y="98"/>
                  </a:lnTo>
                  <a:lnTo>
                    <a:pt x="246" y="94"/>
                  </a:lnTo>
                  <a:lnTo>
                    <a:pt x="246" y="96"/>
                  </a:lnTo>
                  <a:lnTo>
                    <a:pt x="244" y="96"/>
                  </a:lnTo>
                  <a:lnTo>
                    <a:pt x="242" y="100"/>
                  </a:lnTo>
                  <a:lnTo>
                    <a:pt x="236" y="100"/>
                  </a:lnTo>
                  <a:lnTo>
                    <a:pt x="234" y="98"/>
                  </a:lnTo>
                  <a:lnTo>
                    <a:pt x="228" y="94"/>
                  </a:lnTo>
                  <a:lnTo>
                    <a:pt x="226" y="96"/>
                  </a:lnTo>
                  <a:lnTo>
                    <a:pt x="220" y="96"/>
                  </a:lnTo>
                  <a:lnTo>
                    <a:pt x="216" y="96"/>
                  </a:lnTo>
                  <a:lnTo>
                    <a:pt x="210" y="94"/>
                  </a:lnTo>
                  <a:lnTo>
                    <a:pt x="204" y="94"/>
                  </a:lnTo>
                  <a:lnTo>
                    <a:pt x="198" y="92"/>
                  </a:lnTo>
                  <a:lnTo>
                    <a:pt x="192" y="90"/>
                  </a:lnTo>
                  <a:lnTo>
                    <a:pt x="192" y="88"/>
                  </a:lnTo>
                  <a:lnTo>
                    <a:pt x="186" y="86"/>
                  </a:lnTo>
                  <a:lnTo>
                    <a:pt x="182" y="88"/>
                  </a:lnTo>
                  <a:lnTo>
                    <a:pt x="182" y="92"/>
                  </a:lnTo>
                  <a:lnTo>
                    <a:pt x="178" y="90"/>
                  </a:lnTo>
                  <a:lnTo>
                    <a:pt x="170" y="88"/>
                  </a:lnTo>
                  <a:lnTo>
                    <a:pt x="164" y="88"/>
                  </a:lnTo>
                  <a:lnTo>
                    <a:pt x="164" y="90"/>
                  </a:lnTo>
                  <a:lnTo>
                    <a:pt x="164" y="92"/>
                  </a:lnTo>
                  <a:lnTo>
                    <a:pt x="162" y="94"/>
                  </a:lnTo>
                  <a:lnTo>
                    <a:pt x="158" y="100"/>
                  </a:lnTo>
                  <a:lnTo>
                    <a:pt x="154" y="104"/>
                  </a:lnTo>
                  <a:lnTo>
                    <a:pt x="152" y="104"/>
                  </a:lnTo>
                  <a:lnTo>
                    <a:pt x="148" y="100"/>
                  </a:lnTo>
                  <a:lnTo>
                    <a:pt x="142" y="94"/>
                  </a:lnTo>
                  <a:lnTo>
                    <a:pt x="140" y="92"/>
                  </a:lnTo>
                  <a:lnTo>
                    <a:pt x="136" y="88"/>
                  </a:lnTo>
                  <a:lnTo>
                    <a:pt x="130" y="88"/>
                  </a:lnTo>
                  <a:lnTo>
                    <a:pt x="128" y="90"/>
                  </a:lnTo>
                  <a:lnTo>
                    <a:pt x="126" y="92"/>
                  </a:lnTo>
                  <a:lnTo>
                    <a:pt x="124" y="98"/>
                  </a:lnTo>
                  <a:lnTo>
                    <a:pt x="124" y="100"/>
                  </a:lnTo>
                  <a:lnTo>
                    <a:pt x="126" y="104"/>
                  </a:lnTo>
                  <a:lnTo>
                    <a:pt x="124" y="108"/>
                  </a:lnTo>
                  <a:lnTo>
                    <a:pt x="126" y="114"/>
                  </a:lnTo>
                  <a:lnTo>
                    <a:pt x="124" y="118"/>
                  </a:lnTo>
                  <a:lnTo>
                    <a:pt x="130" y="124"/>
                  </a:lnTo>
                  <a:lnTo>
                    <a:pt x="134" y="124"/>
                  </a:lnTo>
                  <a:lnTo>
                    <a:pt x="136" y="126"/>
                  </a:lnTo>
                  <a:lnTo>
                    <a:pt x="138" y="130"/>
                  </a:lnTo>
                  <a:lnTo>
                    <a:pt x="142" y="136"/>
                  </a:lnTo>
                  <a:lnTo>
                    <a:pt x="146" y="140"/>
                  </a:lnTo>
                  <a:lnTo>
                    <a:pt x="146" y="142"/>
                  </a:lnTo>
                  <a:lnTo>
                    <a:pt x="148" y="146"/>
                  </a:lnTo>
                  <a:lnTo>
                    <a:pt x="150" y="148"/>
                  </a:lnTo>
                  <a:lnTo>
                    <a:pt x="150" y="150"/>
                  </a:lnTo>
                  <a:lnTo>
                    <a:pt x="150" y="154"/>
                  </a:lnTo>
                  <a:lnTo>
                    <a:pt x="150" y="156"/>
                  </a:lnTo>
                  <a:lnTo>
                    <a:pt x="150" y="158"/>
                  </a:lnTo>
                  <a:lnTo>
                    <a:pt x="152" y="158"/>
                  </a:lnTo>
                  <a:lnTo>
                    <a:pt x="156" y="162"/>
                  </a:lnTo>
                  <a:lnTo>
                    <a:pt x="160" y="168"/>
                  </a:lnTo>
                  <a:lnTo>
                    <a:pt x="164" y="170"/>
                  </a:lnTo>
                  <a:lnTo>
                    <a:pt x="170" y="174"/>
                  </a:lnTo>
                  <a:lnTo>
                    <a:pt x="172" y="176"/>
                  </a:lnTo>
                  <a:lnTo>
                    <a:pt x="178" y="182"/>
                  </a:lnTo>
                  <a:lnTo>
                    <a:pt x="180" y="188"/>
                  </a:lnTo>
                  <a:lnTo>
                    <a:pt x="184" y="190"/>
                  </a:lnTo>
                  <a:lnTo>
                    <a:pt x="190" y="196"/>
                  </a:lnTo>
                  <a:lnTo>
                    <a:pt x="194" y="200"/>
                  </a:lnTo>
                  <a:lnTo>
                    <a:pt x="198" y="204"/>
                  </a:lnTo>
                  <a:lnTo>
                    <a:pt x="204" y="206"/>
                  </a:lnTo>
                  <a:lnTo>
                    <a:pt x="210" y="210"/>
                  </a:lnTo>
                  <a:lnTo>
                    <a:pt x="210" y="212"/>
                  </a:lnTo>
                  <a:lnTo>
                    <a:pt x="212" y="218"/>
                  </a:lnTo>
                  <a:lnTo>
                    <a:pt x="212" y="222"/>
                  </a:lnTo>
                  <a:lnTo>
                    <a:pt x="214" y="222"/>
                  </a:lnTo>
                  <a:lnTo>
                    <a:pt x="220" y="228"/>
                  </a:lnTo>
                  <a:lnTo>
                    <a:pt x="224" y="230"/>
                  </a:lnTo>
                  <a:lnTo>
                    <a:pt x="228" y="234"/>
                  </a:lnTo>
                  <a:lnTo>
                    <a:pt x="232" y="236"/>
                  </a:lnTo>
                  <a:lnTo>
                    <a:pt x="232" y="238"/>
                  </a:lnTo>
                  <a:lnTo>
                    <a:pt x="234" y="242"/>
                  </a:lnTo>
                  <a:lnTo>
                    <a:pt x="228" y="244"/>
                  </a:lnTo>
                  <a:lnTo>
                    <a:pt x="222" y="242"/>
                  </a:lnTo>
                  <a:lnTo>
                    <a:pt x="222" y="238"/>
                  </a:lnTo>
                  <a:lnTo>
                    <a:pt x="220" y="238"/>
                  </a:lnTo>
                  <a:lnTo>
                    <a:pt x="220" y="236"/>
                  </a:lnTo>
                  <a:lnTo>
                    <a:pt x="214" y="232"/>
                  </a:lnTo>
                  <a:lnTo>
                    <a:pt x="212" y="230"/>
                  </a:lnTo>
                  <a:lnTo>
                    <a:pt x="206" y="228"/>
                  </a:lnTo>
                  <a:lnTo>
                    <a:pt x="200" y="224"/>
                  </a:lnTo>
                  <a:lnTo>
                    <a:pt x="194" y="218"/>
                  </a:lnTo>
                  <a:lnTo>
                    <a:pt x="190" y="214"/>
                  </a:lnTo>
                  <a:lnTo>
                    <a:pt x="184" y="212"/>
                  </a:lnTo>
                  <a:lnTo>
                    <a:pt x="178" y="210"/>
                  </a:lnTo>
                  <a:lnTo>
                    <a:pt x="172" y="208"/>
                  </a:lnTo>
                  <a:lnTo>
                    <a:pt x="166" y="206"/>
                  </a:lnTo>
                  <a:lnTo>
                    <a:pt x="160" y="202"/>
                  </a:lnTo>
                  <a:lnTo>
                    <a:pt x="156" y="204"/>
                  </a:lnTo>
                  <a:lnTo>
                    <a:pt x="152" y="206"/>
                  </a:lnTo>
                  <a:lnTo>
                    <a:pt x="146" y="208"/>
                  </a:lnTo>
                  <a:lnTo>
                    <a:pt x="140" y="206"/>
                  </a:lnTo>
                  <a:lnTo>
                    <a:pt x="136" y="200"/>
                  </a:lnTo>
                  <a:lnTo>
                    <a:pt x="136" y="194"/>
                  </a:lnTo>
                  <a:lnTo>
                    <a:pt x="132" y="192"/>
                  </a:lnTo>
                  <a:lnTo>
                    <a:pt x="126" y="188"/>
                  </a:lnTo>
                  <a:lnTo>
                    <a:pt x="120" y="186"/>
                  </a:lnTo>
                  <a:lnTo>
                    <a:pt x="114" y="182"/>
                  </a:lnTo>
                  <a:lnTo>
                    <a:pt x="108" y="176"/>
                  </a:lnTo>
                  <a:lnTo>
                    <a:pt x="104" y="172"/>
                  </a:lnTo>
                  <a:lnTo>
                    <a:pt x="98" y="166"/>
                  </a:lnTo>
                  <a:lnTo>
                    <a:pt x="92" y="160"/>
                  </a:lnTo>
                  <a:lnTo>
                    <a:pt x="90" y="154"/>
                  </a:lnTo>
                  <a:lnTo>
                    <a:pt x="96" y="152"/>
                  </a:lnTo>
                  <a:lnTo>
                    <a:pt x="102" y="152"/>
                  </a:lnTo>
                  <a:lnTo>
                    <a:pt x="108" y="154"/>
                  </a:lnTo>
                  <a:lnTo>
                    <a:pt x="112" y="154"/>
                  </a:lnTo>
                  <a:lnTo>
                    <a:pt x="106" y="152"/>
                  </a:lnTo>
                  <a:lnTo>
                    <a:pt x="100" y="148"/>
                  </a:lnTo>
                  <a:lnTo>
                    <a:pt x="98" y="146"/>
                  </a:lnTo>
                  <a:lnTo>
                    <a:pt x="92" y="142"/>
                  </a:lnTo>
                  <a:lnTo>
                    <a:pt x="86" y="136"/>
                  </a:lnTo>
                  <a:lnTo>
                    <a:pt x="82" y="134"/>
                  </a:lnTo>
                  <a:lnTo>
                    <a:pt x="78" y="128"/>
                  </a:lnTo>
                  <a:lnTo>
                    <a:pt x="76" y="122"/>
                  </a:lnTo>
                  <a:lnTo>
                    <a:pt x="76" y="116"/>
                  </a:lnTo>
                  <a:lnTo>
                    <a:pt x="78" y="110"/>
                  </a:lnTo>
                  <a:lnTo>
                    <a:pt x="76" y="104"/>
                  </a:lnTo>
                  <a:lnTo>
                    <a:pt x="76" y="102"/>
                  </a:lnTo>
                  <a:lnTo>
                    <a:pt x="74" y="96"/>
                  </a:lnTo>
                  <a:lnTo>
                    <a:pt x="68" y="94"/>
                  </a:lnTo>
                  <a:lnTo>
                    <a:pt x="62" y="90"/>
                  </a:lnTo>
                  <a:lnTo>
                    <a:pt x="60" y="88"/>
                  </a:lnTo>
                  <a:lnTo>
                    <a:pt x="54" y="84"/>
                  </a:lnTo>
                  <a:lnTo>
                    <a:pt x="48" y="82"/>
                  </a:lnTo>
                  <a:lnTo>
                    <a:pt x="46" y="80"/>
                  </a:lnTo>
                  <a:lnTo>
                    <a:pt x="42" y="86"/>
                  </a:lnTo>
                  <a:lnTo>
                    <a:pt x="40" y="92"/>
                  </a:lnTo>
                  <a:lnTo>
                    <a:pt x="40" y="94"/>
                  </a:lnTo>
                  <a:lnTo>
                    <a:pt x="36" y="100"/>
                  </a:lnTo>
                  <a:lnTo>
                    <a:pt x="36" y="104"/>
                  </a:lnTo>
                  <a:lnTo>
                    <a:pt x="32" y="104"/>
                  </a:lnTo>
                  <a:lnTo>
                    <a:pt x="30" y="102"/>
                  </a:lnTo>
                  <a:lnTo>
                    <a:pt x="30" y="104"/>
                  </a:lnTo>
                  <a:lnTo>
                    <a:pt x="28" y="110"/>
                  </a:lnTo>
                  <a:lnTo>
                    <a:pt x="26" y="116"/>
                  </a:lnTo>
                  <a:lnTo>
                    <a:pt x="22" y="120"/>
                  </a:lnTo>
                  <a:lnTo>
                    <a:pt x="18" y="114"/>
                  </a:lnTo>
                  <a:lnTo>
                    <a:pt x="16" y="108"/>
                  </a:lnTo>
                  <a:lnTo>
                    <a:pt x="12" y="104"/>
                  </a:lnTo>
                  <a:lnTo>
                    <a:pt x="8" y="100"/>
                  </a:lnTo>
                  <a:lnTo>
                    <a:pt x="12" y="96"/>
                  </a:lnTo>
                  <a:lnTo>
                    <a:pt x="6" y="96"/>
                  </a:lnTo>
                  <a:lnTo>
                    <a:pt x="4" y="88"/>
                  </a:lnTo>
                  <a:lnTo>
                    <a:pt x="4" y="82"/>
                  </a:lnTo>
                  <a:lnTo>
                    <a:pt x="6" y="82"/>
                  </a:lnTo>
                  <a:lnTo>
                    <a:pt x="2" y="76"/>
                  </a:lnTo>
                  <a:lnTo>
                    <a:pt x="0" y="70"/>
                  </a:lnTo>
                  <a:lnTo>
                    <a:pt x="4" y="7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3" name="Freeform 30"/>
            <p:cNvSpPr>
              <a:spLocks/>
            </p:cNvSpPr>
            <p:nvPr/>
          </p:nvSpPr>
          <p:spPr bwMode="auto">
            <a:xfrm>
              <a:off x="4705350" y="2609850"/>
              <a:ext cx="149225" cy="63500"/>
            </a:xfrm>
            <a:custGeom>
              <a:avLst/>
              <a:gdLst>
                <a:gd name="T0" fmla="*/ 2147483647 w 366"/>
                <a:gd name="T1" fmla="*/ 2147483647 h 156"/>
                <a:gd name="T2" fmla="*/ 2147483647 w 366"/>
                <a:gd name="T3" fmla="*/ 2147483647 h 156"/>
                <a:gd name="T4" fmla="*/ 2147483647 w 366"/>
                <a:gd name="T5" fmla="*/ 2147483647 h 156"/>
                <a:gd name="T6" fmla="*/ 2147483647 w 366"/>
                <a:gd name="T7" fmla="*/ 2147483647 h 156"/>
                <a:gd name="T8" fmla="*/ 2147483647 w 366"/>
                <a:gd name="T9" fmla="*/ 2147483647 h 156"/>
                <a:gd name="T10" fmla="*/ 2147483647 w 366"/>
                <a:gd name="T11" fmla="*/ 2147483647 h 156"/>
                <a:gd name="T12" fmla="*/ 2147483647 w 366"/>
                <a:gd name="T13" fmla="*/ 2147483647 h 156"/>
                <a:gd name="T14" fmla="*/ 2147483647 w 366"/>
                <a:gd name="T15" fmla="*/ 2147483647 h 156"/>
                <a:gd name="T16" fmla="*/ 2147483647 w 366"/>
                <a:gd name="T17" fmla="*/ 2147483647 h 156"/>
                <a:gd name="T18" fmla="*/ 2147483647 w 366"/>
                <a:gd name="T19" fmla="*/ 2147483647 h 156"/>
                <a:gd name="T20" fmla="*/ 2147483647 w 366"/>
                <a:gd name="T21" fmla="*/ 2147483647 h 156"/>
                <a:gd name="T22" fmla="*/ 2147483647 w 366"/>
                <a:gd name="T23" fmla="*/ 2147483647 h 156"/>
                <a:gd name="T24" fmla="*/ 2147483647 w 366"/>
                <a:gd name="T25" fmla="*/ 2147483647 h 156"/>
                <a:gd name="T26" fmla="*/ 2147483647 w 366"/>
                <a:gd name="T27" fmla="*/ 2147483647 h 156"/>
                <a:gd name="T28" fmla="*/ 2147483647 w 366"/>
                <a:gd name="T29" fmla="*/ 2147483647 h 156"/>
                <a:gd name="T30" fmla="*/ 2147483647 w 366"/>
                <a:gd name="T31" fmla="*/ 2147483647 h 156"/>
                <a:gd name="T32" fmla="*/ 2147483647 w 366"/>
                <a:gd name="T33" fmla="*/ 2147483647 h 156"/>
                <a:gd name="T34" fmla="*/ 2147483647 w 366"/>
                <a:gd name="T35" fmla="*/ 2147483647 h 156"/>
                <a:gd name="T36" fmla="*/ 2147483647 w 366"/>
                <a:gd name="T37" fmla="*/ 2147483647 h 156"/>
                <a:gd name="T38" fmla="*/ 2147483647 w 366"/>
                <a:gd name="T39" fmla="*/ 2147483647 h 156"/>
                <a:gd name="T40" fmla="*/ 2147483647 w 366"/>
                <a:gd name="T41" fmla="*/ 2147483647 h 156"/>
                <a:gd name="T42" fmla="*/ 2147483647 w 366"/>
                <a:gd name="T43" fmla="*/ 2147483647 h 156"/>
                <a:gd name="T44" fmla="*/ 2147483647 w 366"/>
                <a:gd name="T45" fmla="*/ 2147483647 h 156"/>
                <a:gd name="T46" fmla="*/ 2147483647 w 366"/>
                <a:gd name="T47" fmla="*/ 2147483647 h 156"/>
                <a:gd name="T48" fmla="*/ 2147483647 w 366"/>
                <a:gd name="T49" fmla="*/ 2147483647 h 156"/>
                <a:gd name="T50" fmla="*/ 2147483647 w 366"/>
                <a:gd name="T51" fmla="*/ 2147483647 h 156"/>
                <a:gd name="T52" fmla="*/ 2147483647 w 366"/>
                <a:gd name="T53" fmla="*/ 2147483647 h 156"/>
                <a:gd name="T54" fmla="*/ 2147483647 w 366"/>
                <a:gd name="T55" fmla="*/ 2147483647 h 156"/>
                <a:gd name="T56" fmla="*/ 2147483647 w 366"/>
                <a:gd name="T57" fmla="*/ 2147483647 h 156"/>
                <a:gd name="T58" fmla="*/ 2147483647 w 366"/>
                <a:gd name="T59" fmla="*/ 2147483647 h 156"/>
                <a:gd name="T60" fmla="*/ 2147483647 w 366"/>
                <a:gd name="T61" fmla="*/ 2147483647 h 156"/>
                <a:gd name="T62" fmla="*/ 2147483647 w 366"/>
                <a:gd name="T63" fmla="*/ 2147483647 h 156"/>
                <a:gd name="T64" fmla="*/ 2147483647 w 366"/>
                <a:gd name="T65" fmla="*/ 2147483647 h 156"/>
                <a:gd name="T66" fmla="*/ 2147483647 w 366"/>
                <a:gd name="T67" fmla="*/ 2147483647 h 156"/>
                <a:gd name="T68" fmla="*/ 2147483647 w 366"/>
                <a:gd name="T69" fmla="*/ 2147483647 h 156"/>
                <a:gd name="T70" fmla="*/ 2147483647 w 366"/>
                <a:gd name="T71" fmla="*/ 2147483647 h 156"/>
                <a:gd name="T72" fmla="*/ 2147483647 w 366"/>
                <a:gd name="T73" fmla="*/ 2147483647 h 156"/>
                <a:gd name="T74" fmla="*/ 2147483647 w 366"/>
                <a:gd name="T75" fmla="*/ 2147483647 h 156"/>
                <a:gd name="T76" fmla="*/ 2147483647 w 366"/>
                <a:gd name="T77" fmla="*/ 2147483647 h 156"/>
                <a:gd name="T78" fmla="*/ 2147483647 w 366"/>
                <a:gd name="T79" fmla="*/ 2147483647 h 156"/>
                <a:gd name="T80" fmla="*/ 2147483647 w 366"/>
                <a:gd name="T81" fmla="*/ 2147483647 h 156"/>
                <a:gd name="T82" fmla="*/ 2147483647 w 366"/>
                <a:gd name="T83" fmla="*/ 2147483647 h 156"/>
                <a:gd name="T84" fmla="*/ 2147483647 w 366"/>
                <a:gd name="T85" fmla="*/ 2147483647 h 156"/>
                <a:gd name="T86" fmla="*/ 2147483647 w 366"/>
                <a:gd name="T87" fmla="*/ 2147483647 h 156"/>
                <a:gd name="T88" fmla="*/ 2147483647 w 366"/>
                <a:gd name="T89" fmla="*/ 2147483647 h 156"/>
                <a:gd name="T90" fmla="*/ 2147483647 w 366"/>
                <a:gd name="T91" fmla="*/ 2147483647 h 156"/>
                <a:gd name="T92" fmla="*/ 2147483647 w 366"/>
                <a:gd name="T93" fmla="*/ 2147483647 h 156"/>
                <a:gd name="T94" fmla="*/ 2147483647 w 366"/>
                <a:gd name="T95" fmla="*/ 2147483647 h 15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6"/>
                <a:gd name="T145" fmla="*/ 0 h 156"/>
                <a:gd name="T146" fmla="*/ 366 w 366"/>
                <a:gd name="T147" fmla="*/ 156 h 15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6" h="156">
                  <a:moveTo>
                    <a:pt x="2" y="102"/>
                  </a:moveTo>
                  <a:lnTo>
                    <a:pt x="4" y="106"/>
                  </a:lnTo>
                  <a:lnTo>
                    <a:pt x="4" y="102"/>
                  </a:lnTo>
                  <a:lnTo>
                    <a:pt x="2" y="100"/>
                  </a:lnTo>
                  <a:lnTo>
                    <a:pt x="2" y="94"/>
                  </a:lnTo>
                  <a:lnTo>
                    <a:pt x="2" y="88"/>
                  </a:lnTo>
                  <a:lnTo>
                    <a:pt x="2" y="82"/>
                  </a:lnTo>
                  <a:lnTo>
                    <a:pt x="8" y="76"/>
                  </a:lnTo>
                  <a:lnTo>
                    <a:pt x="14" y="72"/>
                  </a:lnTo>
                  <a:lnTo>
                    <a:pt x="18" y="66"/>
                  </a:lnTo>
                  <a:lnTo>
                    <a:pt x="18" y="60"/>
                  </a:lnTo>
                  <a:lnTo>
                    <a:pt x="18" y="54"/>
                  </a:lnTo>
                  <a:lnTo>
                    <a:pt x="20" y="50"/>
                  </a:lnTo>
                  <a:lnTo>
                    <a:pt x="24" y="42"/>
                  </a:lnTo>
                  <a:lnTo>
                    <a:pt x="28" y="38"/>
                  </a:lnTo>
                  <a:lnTo>
                    <a:pt x="34" y="32"/>
                  </a:lnTo>
                  <a:lnTo>
                    <a:pt x="40" y="30"/>
                  </a:lnTo>
                  <a:lnTo>
                    <a:pt x="46" y="30"/>
                  </a:lnTo>
                  <a:lnTo>
                    <a:pt x="52" y="28"/>
                  </a:lnTo>
                  <a:lnTo>
                    <a:pt x="58" y="26"/>
                  </a:lnTo>
                  <a:lnTo>
                    <a:pt x="60" y="24"/>
                  </a:lnTo>
                  <a:lnTo>
                    <a:pt x="66" y="22"/>
                  </a:lnTo>
                  <a:lnTo>
                    <a:pt x="72" y="20"/>
                  </a:lnTo>
                  <a:lnTo>
                    <a:pt x="74" y="26"/>
                  </a:lnTo>
                  <a:lnTo>
                    <a:pt x="80" y="34"/>
                  </a:lnTo>
                  <a:lnTo>
                    <a:pt x="86" y="36"/>
                  </a:lnTo>
                  <a:lnTo>
                    <a:pt x="92" y="40"/>
                  </a:lnTo>
                  <a:lnTo>
                    <a:pt x="98" y="44"/>
                  </a:lnTo>
                  <a:lnTo>
                    <a:pt x="104" y="46"/>
                  </a:lnTo>
                  <a:lnTo>
                    <a:pt x="106" y="52"/>
                  </a:lnTo>
                  <a:lnTo>
                    <a:pt x="108" y="58"/>
                  </a:lnTo>
                  <a:lnTo>
                    <a:pt x="112" y="64"/>
                  </a:lnTo>
                  <a:lnTo>
                    <a:pt x="118" y="66"/>
                  </a:lnTo>
                  <a:lnTo>
                    <a:pt x="124" y="68"/>
                  </a:lnTo>
                  <a:lnTo>
                    <a:pt x="130" y="72"/>
                  </a:lnTo>
                  <a:lnTo>
                    <a:pt x="136" y="72"/>
                  </a:lnTo>
                  <a:lnTo>
                    <a:pt x="142" y="70"/>
                  </a:lnTo>
                  <a:lnTo>
                    <a:pt x="146" y="68"/>
                  </a:lnTo>
                  <a:lnTo>
                    <a:pt x="150" y="64"/>
                  </a:lnTo>
                  <a:lnTo>
                    <a:pt x="156" y="62"/>
                  </a:lnTo>
                  <a:lnTo>
                    <a:pt x="162" y="58"/>
                  </a:lnTo>
                  <a:lnTo>
                    <a:pt x="168" y="52"/>
                  </a:lnTo>
                  <a:lnTo>
                    <a:pt x="166" y="46"/>
                  </a:lnTo>
                  <a:lnTo>
                    <a:pt x="166" y="40"/>
                  </a:lnTo>
                  <a:lnTo>
                    <a:pt x="164" y="34"/>
                  </a:lnTo>
                  <a:lnTo>
                    <a:pt x="164" y="30"/>
                  </a:lnTo>
                  <a:lnTo>
                    <a:pt x="160" y="24"/>
                  </a:lnTo>
                  <a:lnTo>
                    <a:pt x="158" y="16"/>
                  </a:lnTo>
                  <a:lnTo>
                    <a:pt x="158" y="12"/>
                  </a:lnTo>
                  <a:lnTo>
                    <a:pt x="162" y="14"/>
                  </a:lnTo>
                  <a:lnTo>
                    <a:pt x="168" y="8"/>
                  </a:lnTo>
                  <a:lnTo>
                    <a:pt x="174" y="8"/>
                  </a:lnTo>
                  <a:lnTo>
                    <a:pt x="180" y="4"/>
                  </a:lnTo>
                  <a:lnTo>
                    <a:pt x="186" y="4"/>
                  </a:lnTo>
                  <a:lnTo>
                    <a:pt x="192" y="4"/>
                  </a:lnTo>
                  <a:lnTo>
                    <a:pt x="196" y="0"/>
                  </a:lnTo>
                  <a:lnTo>
                    <a:pt x="202" y="4"/>
                  </a:lnTo>
                  <a:lnTo>
                    <a:pt x="206" y="4"/>
                  </a:lnTo>
                  <a:lnTo>
                    <a:pt x="212" y="2"/>
                  </a:lnTo>
                  <a:lnTo>
                    <a:pt x="218" y="6"/>
                  </a:lnTo>
                  <a:lnTo>
                    <a:pt x="224" y="10"/>
                  </a:lnTo>
                  <a:lnTo>
                    <a:pt x="230" y="10"/>
                  </a:lnTo>
                  <a:lnTo>
                    <a:pt x="236" y="14"/>
                  </a:lnTo>
                  <a:lnTo>
                    <a:pt x="242" y="14"/>
                  </a:lnTo>
                  <a:lnTo>
                    <a:pt x="246" y="18"/>
                  </a:lnTo>
                  <a:lnTo>
                    <a:pt x="246" y="20"/>
                  </a:lnTo>
                  <a:lnTo>
                    <a:pt x="248" y="20"/>
                  </a:lnTo>
                  <a:lnTo>
                    <a:pt x="252" y="22"/>
                  </a:lnTo>
                  <a:lnTo>
                    <a:pt x="258" y="28"/>
                  </a:lnTo>
                  <a:lnTo>
                    <a:pt x="264" y="32"/>
                  </a:lnTo>
                  <a:lnTo>
                    <a:pt x="270" y="34"/>
                  </a:lnTo>
                  <a:lnTo>
                    <a:pt x="276" y="36"/>
                  </a:lnTo>
                  <a:lnTo>
                    <a:pt x="276" y="34"/>
                  </a:lnTo>
                  <a:lnTo>
                    <a:pt x="282" y="32"/>
                  </a:lnTo>
                  <a:lnTo>
                    <a:pt x="288" y="28"/>
                  </a:lnTo>
                  <a:lnTo>
                    <a:pt x="294" y="30"/>
                  </a:lnTo>
                  <a:lnTo>
                    <a:pt x="298" y="32"/>
                  </a:lnTo>
                  <a:lnTo>
                    <a:pt x="304" y="34"/>
                  </a:lnTo>
                  <a:lnTo>
                    <a:pt x="310" y="34"/>
                  </a:lnTo>
                  <a:lnTo>
                    <a:pt x="314" y="34"/>
                  </a:lnTo>
                  <a:lnTo>
                    <a:pt x="320" y="36"/>
                  </a:lnTo>
                  <a:lnTo>
                    <a:pt x="322" y="42"/>
                  </a:lnTo>
                  <a:lnTo>
                    <a:pt x="328" y="44"/>
                  </a:lnTo>
                  <a:lnTo>
                    <a:pt x="334" y="46"/>
                  </a:lnTo>
                  <a:lnTo>
                    <a:pt x="340" y="50"/>
                  </a:lnTo>
                  <a:lnTo>
                    <a:pt x="340" y="56"/>
                  </a:lnTo>
                  <a:lnTo>
                    <a:pt x="340" y="60"/>
                  </a:lnTo>
                  <a:lnTo>
                    <a:pt x="336" y="60"/>
                  </a:lnTo>
                  <a:lnTo>
                    <a:pt x="338" y="66"/>
                  </a:lnTo>
                  <a:lnTo>
                    <a:pt x="336" y="72"/>
                  </a:lnTo>
                  <a:lnTo>
                    <a:pt x="332" y="78"/>
                  </a:lnTo>
                  <a:lnTo>
                    <a:pt x="338" y="78"/>
                  </a:lnTo>
                  <a:lnTo>
                    <a:pt x="342" y="78"/>
                  </a:lnTo>
                  <a:lnTo>
                    <a:pt x="348" y="80"/>
                  </a:lnTo>
                  <a:lnTo>
                    <a:pt x="346" y="86"/>
                  </a:lnTo>
                  <a:lnTo>
                    <a:pt x="352" y="90"/>
                  </a:lnTo>
                  <a:lnTo>
                    <a:pt x="354" y="94"/>
                  </a:lnTo>
                  <a:lnTo>
                    <a:pt x="354" y="96"/>
                  </a:lnTo>
                  <a:lnTo>
                    <a:pt x="360" y="98"/>
                  </a:lnTo>
                  <a:lnTo>
                    <a:pt x="362" y="104"/>
                  </a:lnTo>
                  <a:lnTo>
                    <a:pt x="364" y="108"/>
                  </a:lnTo>
                  <a:lnTo>
                    <a:pt x="364" y="110"/>
                  </a:lnTo>
                  <a:lnTo>
                    <a:pt x="366" y="116"/>
                  </a:lnTo>
                  <a:lnTo>
                    <a:pt x="366" y="122"/>
                  </a:lnTo>
                  <a:lnTo>
                    <a:pt x="364" y="124"/>
                  </a:lnTo>
                  <a:lnTo>
                    <a:pt x="358" y="126"/>
                  </a:lnTo>
                  <a:lnTo>
                    <a:pt x="354" y="126"/>
                  </a:lnTo>
                  <a:lnTo>
                    <a:pt x="348" y="132"/>
                  </a:lnTo>
                  <a:lnTo>
                    <a:pt x="342" y="138"/>
                  </a:lnTo>
                  <a:lnTo>
                    <a:pt x="340" y="144"/>
                  </a:lnTo>
                  <a:lnTo>
                    <a:pt x="340" y="146"/>
                  </a:lnTo>
                  <a:lnTo>
                    <a:pt x="338" y="148"/>
                  </a:lnTo>
                  <a:lnTo>
                    <a:pt x="332" y="148"/>
                  </a:lnTo>
                  <a:lnTo>
                    <a:pt x="326" y="146"/>
                  </a:lnTo>
                  <a:lnTo>
                    <a:pt x="320" y="146"/>
                  </a:lnTo>
                  <a:lnTo>
                    <a:pt x="314" y="144"/>
                  </a:lnTo>
                  <a:lnTo>
                    <a:pt x="308" y="144"/>
                  </a:lnTo>
                  <a:lnTo>
                    <a:pt x="302" y="150"/>
                  </a:lnTo>
                  <a:lnTo>
                    <a:pt x="296" y="154"/>
                  </a:lnTo>
                  <a:lnTo>
                    <a:pt x="294" y="154"/>
                  </a:lnTo>
                  <a:lnTo>
                    <a:pt x="290" y="156"/>
                  </a:lnTo>
                  <a:lnTo>
                    <a:pt x="288" y="156"/>
                  </a:lnTo>
                  <a:lnTo>
                    <a:pt x="282" y="154"/>
                  </a:lnTo>
                  <a:lnTo>
                    <a:pt x="280" y="152"/>
                  </a:lnTo>
                  <a:lnTo>
                    <a:pt x="274" y="150"/>
                  </a:lnTo>
                  <a:lnTo>
                    <a:pt x="270" y="148"/>
                  </a:lnTo>
                  <a:lnTo>
                    <a:pt x="264" y="142"/>
                  </a:lnTo>
                  <a:lnTo>
                    <a:pt x="260" y="138"/>
                  </a:lnTo>
                  <a:lnTo>
                    <a:pt x="258" y="138"/>
                  </a:lnTo>
                  <a:lnTo>
                    <a:pt x="252" y="134"/>
                  </a:lnTo>
                  <a:lnTo>
                    <a:pt x="250" y="134"/>
                  </a:lnTo>
                  <a:lnTo>
                    <a:pt x="244" y="130"/>
                  </a:lnTo>
                  <a:lnTo>
                    <a:pt x="238" y="124"/>
                  </a:lnTo>
                  <a:lnTo>
                    <a:pt x="232" y="124"/>
                  </a:lnTo>
                  <a:lnTo>
                    <a:pt x="226" y="124"/>
                  </a:lnTo>
                  <a:lnTo>
                    <a:pt x="222" y="122"/>
                  </a:lnTo>
                  <a:lnTo>
                    <a:pt x="218" y="122"/>
                  </a:lnTo>
                  <a:lnTo>
                    <a:pt x="212" y="122"/>
                  </a:lnTo>
                  <a:lnTo>
                    <a:pt x="206" y="116"/>
                  </a:lnTo>
                  <a:lnTo>
                    <a:pt x="204" y="114"/>
                  </a:lnTo>
                  <a:lnTo>
                    <a:pt x="200" y="110"/>
                  </a:lnTo>
                  <a:lnTo>
                    <a:pt x="196" y="106"/>
                  </a:lnTo>
                  <a:lnTo>
                    <a:pt x="192" y="108"/>
                  </a:lnTo>
                  <a:lnTo>
                    <a:pt x="186" y="110"/>
                  </a:lnTo>
                  <a:lnTo>
                    <a:pt x="180" y="116"/>
                  </a:lnTo>
                  <a:lnTo>
                    <a:pt x="176" y="116"/>
                  </a:lnTo>
                  <a:lnTo>
                    <a:pt x="168" y="114"/>
                  </a:lnTo>
                  <a:lnTo>
                    <a:pt x="166" y="116"/>
                  </a:lnTo>
                  <a:lnTo>
                    <a:pt x="160" y="116"/>
                  </a:lnTo>
                  <a:lnTo>
                    <a:pt x="154" y="114"/>
                  </a:lnTo>
                  <a:lnTo>
                    <a:pt x="148" y="112"/>
                  </a:lnTo>
                  <a:lnTo>
                    <a:pt x="142" y="112"/>
                  </a:lnTo>
                  <a:lnTo>
                    <a:pt x="136" y="110"/>
                  </a:lnTo>
                  <a:lnTo>
                    <a:pt x="134" y="110"/>
                  </a:lnTo>
                  <a:lnTo>
                    <a:pt x="128" y="112"/>
                  </a:lnTo>
                  <a:lnTo>
                    <a:pt x="122" y="110"/>
                  </a:lnTo>
                  <a:lnTo>
                    <a:pt x="116" y="110"/>
                  </a:lnTo>
                  <a:lnTo>
                    <a:pt x="112" y="110"/>
                  </a:lnTo>
                  <a:lnTo>
                    <a:pt x="106" y="114"/>
                  </a:lnTo>
                  <a:lnTo>
                    <a:pt x="102" y="108"/>
                  </a:lnTo>
                  <a:lnTo>
                    <a:pt x="94" y="108"/>
                  </a:lnTo>
                  <a:lnTo>
                    <a:pt x="90" y="110"/>
                  </a:lnTo>
                  <a:lnTo>
                    <a:pt x="84" y="110"/>
                  </a:lnTo>
                  <a:lnTo>
                    <a:pt x="82" y="108"/>
                  </a:lnTo>
                  <a:lnTo>
                    <a:pt x="76" y="108"/>
                  </a:lnTo>
                  <a:lnTo>
                    <a:pt x="70" y="108"/>
                  </a:lnTo>
                  <a:lnTo>
                    <a:pt x="62" y="108"/>
                  </a:lnTo>
                  <a:lnTo>
                    <a:pt x="56" y="106"/>
                  </a:lnTo>
                  <a:lnTo>
                    <a:pt x="50" y="110"/>
                  </a:lnTo>
                  <a:lnTo>
                    <a:pt x="48" y="110"/>
                  </a:lnTo>
                  <a:lnTo>
                    <a:pt x="46" y="110"/>
                  </a:lnTo>
                  <a:lnTo>
                    <a:pt x="40" y="112"/>
                  </a:lnTo>
                  <a:lnTo>
                    <a:pt x="36" y="114"/>
                  </a:lnTo>
                  <a:lnTo>
                    <a:pt x="28" y="116"/>
                  </a:lnTo>
                  <a:lnTo>
                    <a:pt x="26" y="116"/>
                  </a:lnTo>
                  <a:lnTo>
                    <a:pt x="20" y="118"/>
                  </a:lnTo>
                  <a:lnTo>
                    <a:pt x="14" y="122"/>
                  </a:lnTo>
                  <a:lnTo>
                    <a:pt x="12" y="128"/>
                  </a:lnTo>
                  <a:lnTo>
                    <a:pt x="6" y="128"/>
                  </a:lnTo>
                  <a:lnTo>
                    <a:pt x="6" y="130"/>
                  </a:lnTo>
                  <a:lnTo>
                    <a:pt x="2" y="122"/>
                  </a:lnTo>
                  <a:lnTo>
                    <a:pt x="0" y="118"/>
                  </a:lnTo>
                  <a:lnTo>
                    <a:pt x="0" y="112"/>
                  </a:lnTo>
                  <a:lnTo>
                    <a:pt x="2" y="106"/>
                  </a:lnTo>
                  <a:lnTo>
                    <a:pt x="2" y="10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4" name="Freeform 31"/>
            <p:cNvSpPr>
              <a:spLocks/>
            </p:cNvSpPr>
            <p:nvPr/>
          </p:nvSpPr>
          <p:spPr bwMode="auto">
            <a:xfrm>
              <a:off x="4706938" y="2876550"/>
              <a:ext cx="211137" cy="128588"/>
            </a:xfrm>
            <a:custGeom>
              <a:avLst/>
              <a:gdLst>
                <a:gd name="T0" fmla="*/ 2147483647 w 520"/>
                <a:gd name="T1" fmla="*/ 2147483647 h 314"/>
                <a:gd name="T2" fmla="*/ 2147483647 w 520"/>
                <a:gd name="T3" fmla="*/ 2147483647 h 314"/>
                <a:gd name="T4" fmla="*/ 2147483647 w 520"/>
                <a:gd name="T5" fmla="*/ 2147483647 h 314"/>
                <a:gd name="T6" fmla="*/ 2147483647 w 520"/>
                <a:gd name="T7" fmla="*/ 2147483647 h 314"/>
                <a:gd name="T8" fmla="*/ 2147483647 w 520"/>
                <a:gd name="T9" fmla="*/ 2147483647 h 314"/>
                <a:gd name="T10" fmla="*/ 2147483647 w 520"/>
                <a:gd name="T11" fmla="*/ 2147483647 h 314"/>
                <a:gd name="T12" fmla="*/ 2147483647 w 520"/>
                <a:gd name="T13" fmla="*/ 2147483647 h 314"/>
                <a:gd name="T14" fmla="*/ 2147483647 w 520"/>
                <a:gd name="T15" fmla="*/ 2147483647 h 314"/>
                <a:gd name="T16" fmla="*/ 2147483647 w 520"/>
                <a:gd name="T17" fmla="*/ 2147483647 h 314"/>
                <a:gd name="T18" fmla="*/ 2147483647 w 520"/>
                <a:gd name="T19" fmla="*/ 2147483647 h 314"/>
                <a:gd name="T20" fmla="*/ 2147483647 w 520"/>
                <a:gd name="T21" fmla="*/ 2147483647 h 314"/>
                <a:gd name="T22" fmla="*/ 2147483647 w 520"/>
                <a:gd name="T23" fmla="*/ 2147483647 h 314"/>
                <a:gd name="T24" fmla="*/ 2147483647 w 520"/>
                <a:gd name="T25" fmla="*/ 2147483647 h 314"/>
                <a:gd name="T26" fmla="*/ 2147483647 w 520"/>
                <a:gd name="T27" fmla="*/ 2147483647 h 314"/>
                <a:gd name="T28" fmla="*/ 2147483647 w 520"/>
                <a:gd name="T29" fmla="*/ 0 h 314"/>
                <a:gd name="T30" fmla="*/ 2147483647 w 520"/>
                <a:gd name="T31" fmla="*/ 2147483647 h 314"/>
                <a:gd name="T32" fmla="*/ 2147483647 w 520"/>
                <a:gd name="T33" fmla="*/ 2147483647 h 314"/>
                <a:gd name="T34" fmla="*/ 2147483647 w 520"/>
                <a:gd name="T35" fmla="*/ 2147483647 h 314"/>
                <a:gd name="T36" fmla="*/ 2147483647 w 520"/>
                <a:gd name="T37" fmla="*/ 2147483647 h 314"/>
                <a:gd name="T38" fmla="*/ 2147483647 w 520"/>
                <a:gd name="T39" fmla="*/ 2147483647 h 314"/>
                <a:gd name="T40" fmla="*/ 2147483647 w 520"/>
                <a:gd name="T41" fmla="*/ 2147483647 h 314"/>
                <a:gd name="T42" fmla="*/ 2147483647 w 520"/>
                <a:gd name="T43" fmla="*/ 2147483647 h 314"/>
                <a:gd name="T44" fmla="*/ 2147483647 w 520"/>
                <a:gd name="T45" fmla="*/ 2147483647 h 314"/>
                <a:gd name="T46" fmla="*/ 2147483647 w 520"/>
                <a:gd name="T47" fmla="*/ 2147483647 h 314"/>
                <a:gd name="T48" fmla="*/ 2147483647 w 520"/>
                <a:gd name="T49" fmla="*/ 2147483647 h 314"/>
                <a:gd name="T50" fmla="*/ 2147483647 w 520"/>
                <a:gd name="T51" fmla="*/ 2147483647 h 314"/>
                <a:gd name="T52" fmla="*/ 2147483647 w 520"/>
                <a:gd name="T53" fmla="*/ 2147483647 h 314"/>
                <a:gd name="T54" fmla="*/ 2147483647 w 520"/>
                <a:gd name="T55" fmla="*/ 2147483647 h 314"/>
                <a:gd name="T56" fmla="*/ 2147483647 w 520"/>
                <a:gd name="T57" fmla="*/ 2147483647 h 314"/>
                <a:gd name="T58" fmla="*/ 2147483647 w 520"/>
                <a:gd name="T59" fmla="*/ 2147483647 h 314"/>
                <a:gd name="T60" fmla="*/ 2147483647 w 520"/>
                <a:gd name="T61" fmla="*/ 2147483647 h 314"/>
                <a:gd name="T62" fmla="*/ 2147483647 w 520"/>
                <a:gd name="T63" fmla="*/ 2147483647 h 314"/>
                <a:gd name="T64" fmla="*/ 2147483647 w 520"/>
                <a:gd name="T65" fmla="*/ 2147483647 h 314"/>
                <a:gd name="T66" fmla="*/ 2147483647 w 520"/>
                <a:gd name="T67" fmla="*/ 2147483647 h 314"/>
                <a:gd name="T68" fmla="*/ 2147483647 w 520"/>
                <a:gd name="T69" fmla="*/ 2147483647 h 314"/>
                <a:gd name="T70" fmla="*/ 2147483647 w 520"/>
                <a:gd name="T71" fmla="*/ 2147483647 h 314"/>
                <a:gd name="T72" fmla="*/ 2147483647 w 520"/>
                <a:gd name="T73" fmla="*/ 2147483647 h 314"/>
                <a:gd name="T74" fmla="*/ 2147483647 w 520"/>
                <a:gd name="T75" fmla="*/ 2147483647 h 314"/>
                <a:gd name="T76" fmla="*/ 2147483647 w 520"/>
                <a:gd name="T77" fmla="*/ 2147483647 h 314"/>
                <a:gd name="T78" fmla="*/ 2147483647 w 520"/>
                <a:gd name="T79" fmla="*/ 2147483647 h 314"/>
                <a:gd name="T80" fmla="*/ 2147483647 w 520"/>
                <a:gd name="T81" fmla="*/ 2147483647 h 314"/>
                <a:gd name="T82" fmla="*/ 2147483647 w 520"/>
                <a:gd name="T83" fmla="*/ 2147483647 h 314"/>
                <a:gd name="T84" fmla="*/ 2147483647 w 520"/>
                <a:gd name="T85" fmla="*/ 2147483647 h 314"/>
                <a:gd name="T86" fmla="*/ 2147483647 w 520"/>
                <a:gd name="T87" fmla="*/ 2147483647 h 314"/>
                <a:gd name="T88" fmla="*/ 2147483647 w 520"/>
                <a:gd name="T89" fmla="*/ 2147483647 h 314"/>
                <a:gd name="T90" fmla="*/ 2147483647 w 520"/>
                <a:gd name="T91" fmla="*/ 2147483647 h 314"/>
                <a:gd name="T92" fmla="*/ 2147483647 w 520"/>
                <a:gd name="T93" fmla="*/ 2147483647 h 314"/>
                <a:gd name="T94" fmla="*/ 2147483647 w 520"/>
                <a:gd name="T95" fmla="*/ 2147483647 h 314"/>
                <a:gd name="T96" fmla="*/ 2147483647 w 520"/>
                <a:gd name="T97" fmla="*/ 2147483647 h 314"/>
                <a:gd name="T98" fmla="*/ 2147483647 w 520"/>
                <a:gd name="T99" fmla="*/ 2147483647 h 314"/>
                <a:gd name="T100" fmla="*/ 2147483647 w 520"/>
                <a:gd name="T101" fmla="*/ 2147483647 h 314"/>
                <a:gd name="T102" fmla="*/ 2147483647 w 520"/>
                <a:gd name="T103" fmla="*/ 2147483647 h 314"/>
                <a:gd name="T104" fmla="*/ 2147483647 w 520"/>
                <a:gd name="T105" fmla="*/ 2147483647 h 314"/>
                <a:gd name="T106" fmla="*/ 2147483647 w 520"/>
                <a:gd name="T107" fmla="*/ 2147483647 h 314"/>
                <a:gd name="T108" fmla="*/ 2147483647 w 520"/>
                <a:gd name="T109" fmla="*/ 2147483647 h 314"/>
                <a:gd name="T110" fmla="*/ 2147483647 w 520"/>
                <a:gd name="T111" fmla="*/ 2147483647 h 314"/>
                <a:gd name="T112" fmla="*/ 2147483647 w 520"/>
                <a:gd name="T113" fmla="*/ 2147483647 h 314"/>
                <a:gd name="T114" fmla="*/ 2147483647 w 520"/>
                <a:gd name="T115" fmla="*/ 2147483647 h 314"/>
                <a:gd name="T116" fmla="*/ 2147483647 w 520"/>
                <a:gd name="T117" fmla="*/ 2147483647 h 314"/>
                <a:gd name="T118" fmla="*/ 2147483647 w 520"/>
                <a:gd name="T119" fmla="*/ 2147483647 h 314"/>
                <a:gd name="T120" fmla="*/ 2147483647 w 520"/>
                <a:gd name="T121" fmla="*/ 2147483647 h 3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20"/>
                <a:gd name="T184" fmla="*/ 0 h 314"/>
                <a:gd name="T185" fmla="*/ 520 w 520"/>
                <a:gd name="T186" fmla="*/ 314 h 3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20" h="314">
                  <a:moveTo>
                    <a:pt x="0" y="144"/>
                  </a:moveTo>
                  <a:lnTo>
                    <a:pt x="6" y="142"/>
                  </a:lnTo>
                  <a:lnTo>
                    <a:pt x="12" y="142"/>
                  </a:lnTo>
                  <a:lnTo>
                    <a:pt x="12" y="140"/>
                  </a:lnTo>
                  <a:lnTo>
                    <a:pt x="18" y="142"/>
                  </a:lnTo>
                  <a:lnTo>
                    <a:pt x="24" y="142"/>
                  </a:lnTo>
                  <a:lnTo>
                    <a:pt x="26" y="140"/>
                  </a:lnTo>
                  <a:lnTo>
                    <a:pt x="28" y="134"/>
                  </a:lnTo>
                  <a:lnTo>
                    <a:pt x="30" y="134"/>
                  </a:lnTo>
                  <a:lnTo>
                    <a:pt x="36" y="134"/>
                  </a:lnTo>
                  <a:lnTo>
                    <a:pt x="40" y="134"/>
                  </a:lnTo>
                  <a:lnTo>
                    <a:pt x="46" y="132"/>
                  </a:lnTo>
                  <a:lnTo>
                    <a:pt x="50" y="126"/>
                  </a:lnTo>
                  <a:lnTo>
                    <a:pt x="52" y="124"/>
                  </a:lnTo>
                  <a:lnTo>
                    <a:pt x="54" y="118"/>
                  </a:lnTo>
                  <a:lnTo>
                    <a:pt x="56" y="112"/>
                  </a:lnTo>
                  <a:lnTo>
                    <a:pt x="56" y="110"/>
                  </a:lnTo>
                  <a:lnTo>
                    <a:pt x="58" y="110"/>
                  </a:lnTo>
                  <a:lnTo>
                    <a:pt x="62" y="108"/>
                  </a:lnTo>
                  <a:lnTo>
                    <a:pt x="66" y="106"/>
                  </a:lnTo>
                  <a:lnTo>
                    <a:pt x="66" y="102"/>
                  </a:lnTo>
                  <a:lnTo>
                    <a:pt x="68" y="96"/>
                  </a:lnTo>
                  <a:lnTo>
                    <a:pt x="72" y="90"/>
                  </a:lnTo>
                  <a:lnTo>
                    <a:pt x="74" y="84"/>
                  </a:lnTo>
                  <a:lnTo>
                    <a:pt x="78" y="78"/>
                  </a:lnTo>
                  <a:lnTo>
                    <a:pt x="80" y="76"/>
                  </a:lnTo>
                  <a:lnTo>
                    <a:pt x="82" y="70"/>
                  </a:lnTo>
                  <a:lnTo>
                    <a:pt x="84" y="64"/>
                  </a:lnTo>
                  <a:lnTo>
                    <a:pt x="90" y="58"/>
                  </a:lnTo>
                  <a:lnTo>
                    <a:pt x="90" y="54"/>
                  </a:lnTo>
                  <a:lnTo>
                    <a:pt x="90" y="50"/>
                  </a:lnTo>
                  <a:lnTo>
                    <a:pt x="96" y="46"/>
                  </a:lnTo>
                  <a:lnTo>
                    <a:pt x="100" y="44"/>
                  </a:lnTo>
                  <a:lnTo>
                    <a:pt x="102" y="38"/>
                  </a:lnTo>
                  <a:lnTo>
                    <a:pt x="108" y="34"/>
                  </a:lnTo>
                  <a:lnTo>
                    <a:pt x="112" y="34"/>
                  </a:lnTo>
                  <a:lnTo>
                    <a:pt x="118" y="32"/>
                  </a:lnTo>
                  <a:lnTo>
                    <a:pt x="124" y="32"/>
                  </a:lnTo>
                  <a:lnTo>
                    <a:pt x="126" y="28"/>
                  </a:lnTo>
                  <a:lnTo>
                    <a:pt x="132" y="24"/>
                  </a:lnTo>
                  <a:lnTo>
                    <a:pt x="136" y="20"/>
                  </a:lnTo>
                  <a:lnTo>
                    <a:pt x="142" y="18"/>
                  </a:lnTo>
                  <a:lnTo>
                    <a:pt x="148" y="12"/>
                  </a:lnTo>
                  <a:lnTo>
                    <a:pt x="154" y="10"/>
                  </a:lnTo>
                  <a:lnTo>
                    <a:pt x="158" y="14"/>
                  </a:lnTo>
                  <a:lnTo>
                    <a:pt x="164" y="18"/>
                  </a:lnTo>
                  <a:lnTo>
                    <a:pt x="168" y="18"/>
                  </a:lnTo>
                  <a:lnTo>
                    <a:pt x="170" y="16"/>
                  </a:lnTo>
                  <a:lnTo>
                    <a:pt x="176" y="16"/>
                  </a:lnTo>
                  <a:lnTo>
                    <a:pt x="182" y="18"/>
                  </a:lnTo>
                  <a:lnTo>
                    <a:pt x="184" y="18"/>
                  </a:lnTo>
                  <a:lnTo>
                    <a:pt x="190" y="22"/>
                  </a:lnTo>
                  <a:lnTo>
                    <a:pt x="192" y="20"/>
                  </a:lnTo>
                  <a:lnTo>
                    <a:pt x="198" y="20"/>
                  </a:lnTo>
                  <a:lnTo>
                    <a:pt x="204" y="22"/>
                  </a:lnTo>
                  <a:lnTo>
                    <a:pt x="206" y="22"/>
                  </a:lnTo>
                  <a:lnTo>
                    <a:pt x="212" y="22"/>
                  </a:lnTo>
                  <a:lnTo>
                    <a:pt x="218" y="20"/>
                  </a:lnTo>
                  <a:lnTo>
                    <a:pt x="222" y="20"/>
                  </a:lnTo>
                  <a:lnTo>
                    <a:pt x="226" y="20"/>
                  </a:lnTo>
                  <a:lnTo>
                    <a:pt x="232" y="26"/>
                  </a:lnTo>
                  <a:lnTo>
                    <a:pt x="238" y="30"/>
                  </a:lnTo>
                  <a:lnTo>
                    <a:pt x="244" y="34"/>
                  </a:lnTo>
                  <a:lnTo>
                    <a:pt x="246" y="36"/>
                  </a:lnTo>
                  <a:lnTo>
                    <a:pt x="250" y="36"/>
                  </a:lnTo>
                  <a:lnTo>
                    <a:pt x="256" y="34"/>
                  </a:lnTo>
                  <a:lnTo>
                    <a:pt x="260" y="28"/>
                  </a:lnTo>
                  <a:lnTo>
                    <a:pt x="266" y="22"/>
                  </a:lnTo>
                  <a:lnTo>
                    <a:pt x="272" y="22"/>
                  </a:lnTo>
                  <a:lnTo>
                    <a:pt x="278" y="20"/>
                  </a:lnTo>
                  <a:lnTo>
                    <a:pt x="284" y="22"/>
                  </a:lnTo>
                  <a:lnTo>
                    <a:pt x="290" y="20"/>
                  </a:lnTo>
                  <a:lnTo>
                    <a:pt x="294" y="20"/>
                  </a:lnTo>
                  <a:lnTo>
                    <a:pt x="302" y="18"/>
                  </a:lnTo>
                  <a:lnTo>
                    <a:pt x="304" y="18"/>
                  </a:lnTo>
                  <a:lnTo>
                    <a:pt x="306" y="18"/>
                  </a:lnTo>
                  <a:lnTo>
                    <a:pt x="308" y="18"/>
                  </a:lnTo>
                  <a:lnTo>
                    <a:pt x="312" y="16"/>
                  </a:lnTo>
                  <a:lnTo>
                    <a:pt x="316" y="12"/>
                  </a:lnTo>
                  <a:lnTo>
                    <a:pt x="318" y="6"/>
                  </a:lnTo>
                  <a:lnTo>
                    <a:pt x="318" y="4"/>
                  </a:lnTo>
                  <a:lnTo>
                    <a:pt x="324" y="4"/>
                  </a:lnTo>
                  <a:lnTo>
                    <a:pt x="330" y="2"/>
                  </a:lnTo>
                  <a:lnTo>
                    <a:pt x="336" y="0"/>
                  </a:lnTo>
                  <a:lnTo>
                    <a:pt x="340" y="0"/>
                  </a:lnTo>
                  <a:lnTo>
                    <a:pt x="348" y="2"/>
                  </a:lnTo>
                  <a:lnTo>
                    <a:pt x="354" y="6"/>
                  </a:lnTo>
                  <a:lnTo>
                    <a:pt x="358" y="12"/>
                  </a:lnTo>
                  <a:lnTo>
                    <a:pt x="364" y="16"/>
                  </a:lnTo>
                  <a:lnTo>
                    <a:pt x="366" y="20"/>
                  </a:lnTo>
                  <a:lnTo>
                    <a:pt x="368" y="24"/>
                  </a:lnTo>
                  <a:lnTo>
                    <a:pt x="370" y="30"/>
                  </a:lnTo>
                  <a:lnTo>
                    <a:pt x="372" y="36"/>
                  </a:lnTo>
                  <a:lnTo>
                    <a:pt x="378" y="42"/>
                  </a:lnTo>
                  <a:lnTo>
                    <a:pt x="380" y="44"/>
                  </a:lnTo>
                  <a:lnTo>
                    <a:pt x="384" y="50"/>
                  </a:lnTo>
                  <a:lnTo>
                    <a:pt x="386" y="52"/>
                  </a:lnTo>
                  <a:lnTo>
                    <a:pt x="392" y="54"/>
                  </a:lnTo>
                  <a:lnTo>
                    <a:pt x="392" y="60"/>
                  </a:lnTo>
                  <a:lnTo>
                    <a:pt x="398" y="64"/>
                  </a:lnTo>
                  <a:lnTo>
                    <a:pt x="404" y="70"/>
                  </a:lnTo>
                  <a:lnTo>
                    <a:pt x="404" y="72"/>
                  </a:lnTo>
                  <a:lnTo>
                    <a:pt x="404" y="74"/>
                  </a:lnTo>
                  <a:lnTo>
                    <a:pt x="410" y="80"/>
                  </a:lnTo>
                  <a:lnTo>
                    <a:pt x="416" y="82"/>
                  </a:lnTo>
                  <a:lnTo>
                    <a:pt x="422" y="88"/>
                  </a:lnTo>
                  <a:lnTo>
                    <a:pt x="424" y="94"/>
                  </a:lnTo>
                  <a:lnTo>
                    <a:pt x="426" y="98"/>
                  </a:lnTo>
                  <a:lnTo>
                    <a:pt x="430" y="104"/>
                  </a:lnTo>
                  <a:lnTo>
                    <a:pt x="432" y="110"/>
                  </a:lnTo>
                  <a:lnTo>
                    <a:pt x="432" y="116"/>
                  </a:lnTo>
                  <a:lnTo>
                    <a:pt x="434" y="122"/>
                  </a:lnTo>
                  <a:lnTo>
                    <a:pt x="432" y="128"/>
                  </a:lnTo>
                  <a:lnTo>
                    <a:pt x="430" y="134"/>
                  </a:lnTo>
                  <a:lnTo>
                    <a:pt x="428" y="136"/>
                  </a:lnTo>
                  <a:lnTo>
                    <a:pt x="428" y="138"/>
                  </a:lnTo>
                  <a:lnTo>
                    <a:pt x="428" y="144"/>
                  </a:lnTo>
                  <a:lnTo>
                    <a:pt x="428" y="146"/>
                  </a:lnTo>
                  <a:lnTo>
                    <a:pt x="428" y="152"/>
                  </a:lnTo>
                  <a:lnTo>
                    <a:pt x="430" y="158"/>
                  </a:lnTo>
                  <a:lnTo>
                    <a:pt x="430" y="164"/>
                  </a:lnTo>
                  <a:lnTo>
                    <a:pt x="432" y="170"/>
                  </a:lnTo>
                  <a:lnTo>
                    <a:pt x="434" y="176"/>
                  </a:lnTo>
                  <a:lnTo>
                    <a:pt x="430" y="182"/>
                  </a:lnTo>
                  <a:lnTo>
                    <a:pt x="434" y="186"/>
                  </a:lnTo>
                  <a:lnTo>
                    <a:pt x="436" y="188"/>
                  </a:lnTo>
                  <a:lnTo>
                    <a:pt x="438" y="190"/>
                  </a:lnTo>
                  <a:lnTo>
                    <a:pt x="442" y="196"/>
                  </a:lnTo>
                  <a:lnTo>
                    <a:pt x="448" y="200"/>
                  </a:lnTo>
                  <a:lnTo>
                    <a:pt x="454" y="202"/>
                  </a:lnTo>
                  <a:lnTo>
                    <a:pt x="460" y="204"/>
                  </a:lnTo>
                  <a:lnTo>
                    <a:pt x="466" y="204"/>
                  </a:lnTo>
                  <a:lnTo>
                    <a:pt x="468" y="204"/>
                  </a:lnTo>
                  <a:lnTo>
                    <a:pt x="470" y="198"/>
                  </a:lnTo>
                  <a:lnTo>
                    <a:pt x="476" y="200"/>
                  </a:lnTo>
                  <a:lnTo>
                    <a:pt x="480" y="198"/>
                  </a:lnTo>
                  <a:lnTo>
                    <a:pt x="486" y="196"/>
                  </a:lnTo>
                  <a:lnTo>
                    <a:pt x="488" y="194"/>
                  </a:lnTo>
                  <a:lnTo>
                    <a:pt x="492" y="192"/>
                  </a:lnTo>
                  <a:lnTo>
                    <a:pt x="494" y="190"/>
                  </a:lnTo>
                  <a:lnTo>
                    <a:pt x="500" y="190"/>
                  </a:lnTo>
                  <a:lnTo>
                    <a:pt x="504" y="190"/>
                  </a:lnTo>
                  <a:lnTo>
                    <a:pt x="508" y="192"/>
                  </a:lnTo>
                  <a:lnTo>
                    <a:pt x="510" y="192"/>
                  </a:lnTo>
                  <a:lnTo>
                    <a:pt x="510" y="194"/>
                  </a:lnTo>
                  <a:lnTo>
                    <a:pt x="514" y="194"/>
                  </a:lnTo>
                  <a:lnTo>
                    <a:pt x="516" y="198"/>
                  </a:lnTo>
                  <a:lnTo>
                    <a:pt x="518" y="202"/>
                  </a:lnTo>
                  <a:lnTo>
                    <a:pt x="518" y="206"/>
                  </a:lnTo>
                  <a:lnTo>
                    <a:pt x="520" y="210"/>
                  </a:lnTo>
                  <a:lnTo>
                    <a:pt x="518" y="214"/>
                  </a:lnTo>
                  <a:lnTo>
                    <a:pt x="518" y="220"/>
                  </a:lnTo>
                  <a:lnTo>
                    <a:pt x="518" y="222"/>
                  </a:lnTo>
                  <a:lnTo>
                    <a:pt x="518" y="228"/>
                  </a:lnTo>
                  <a:lnTo>
                    <a:pt x="514" y="232"/>
                  </a:lnTo>
                  <a:lnTo>
                    <a:pt x="508" y="232"/>
                  </a:lnTo>
                  <a:lnTo>
                    <a:pt x="502" y="234"/>
                  </a:lnTo>
                  <a:lnTo>
                    <a:pt x="496" y="234"/>
                  </a:lnTo>
                  <a:lnTo>
                    <a:pt x="490" y="236"/>
                  </a:lnTo>
                  <a:lnTo>
                    <a:pt x="484" y="238"/>
                  </a:lnTo>
                  <a:lnTo>
                    <a:pt x="488" y="232"/>
                  </a:lnTo>
                  <a:lnTo>
                    <a:pt x="486" y="226"/>
                  </a:lnTo>
                  <a:lnTo>
                    <a:pt x="486" y="220"/>
                  </a:lnTo>
                  <a:lnTo>
                    <a:pt x="484" y="220"/>
                  </a:lnTo>
                  <a:lnTo>
                    <a:pt x="482" y="220"/>
                  </a:lnTo>
                  <a:lnTo>
                    <a:pt x="476" y="224"/>
                  </a:lnTo>
                  <a:lnTo>
                    <a:pt x="480" y="230"/>
                  </a:lnTo>
                  <a:lnTo>
                    <a:pt x="480" y="236"/>
                  </a:lnTo>
                  <a:lnTo>
                    <a:pt x="474" y="242"/>
                  </a:lnTo>
                  <a:lnTo>
                    <a:pt x="474" y="244"/>
                  </a:lnTo>
                  <a:lnTo>
                    <a:pt x="480" y="242"/>
                  </a:lnTo>
                  <a:lnTo>
                    <a:pt x="484" y="242"/>
                  </a:lnTo>
                  <a:lnTo>
                    <a:pt x="478" y="244"/>
                  </a:lnTo>
                  <a:lnTo>
                    <a:pt x="472" y="246"/>
                  </a:lnTo>
                  <a:lnTo>
                    <a:pt x="476" y="252"/>
                  </a:lnTo>
                  <a:lnTo>
                    <a:pt x="482" y="246"/>
                  </a:lnTo>
                  <a:lnTo>
                    <a:pt x="480" y="252"/>
                  </a:lnTo>
                  <a:lnTo>
                    <a:pt x="474" y="258"/>
                  </a:lnTo>
                  <a:lnTo>
                    <a:pt x="470" y="264"/>
                  </a:lnTo>
                  <a:lnTo>
                    <a:pt x="468" y="270"/>
                  </a:lnTo>
                  <a:lnTo>
                    <a:pt x="470" y="276"/>
                  </a:lnTo>
                  <a:lnTo>
                    <a:pt x="470" y="282"/>
                  </a:lnTo>
                  <a:lnTo>
                    <a:pt x="472" y="288"/>
                  </a:lnTo>
                  <a:lnTo>
                    <a:pt x="470" y="294"/>
                  </a:lnTo>
                  <a:lnTo>
                    <a:pt x="468" y="300"/>
                  </a:lnTo>
                  <a:lnTo>
                    <a:pt x="468" y="306"/>
                  </a:lnTo>
                  <a:lnTo>
                    <a:pt x="466" y="306"/>
                  </a:lnTo>
                  <a:lnTo>
                    <a:pt x="462" y="306"/>
                  </a:lnTo>
                  <a:lnTo>
                    <a:pt x="456" y="304"/>
                  </a:lnTo>
                  <a:lnTo>
                    <a:pt x="450" y="304"/>
                  </a:lnTo>
                  <a:lnTo>
                    <a:pt x="444" y="302"/>
                  </a:lnTo>
                  <a:lnTo>
                    <a:pt x="438" y="300"/>
                  </a:lnTo>
                  <a:lnTo>
                    <a:pt x="434" y="294"/>
                  </a:lnTo>
                  <a:lnTo>
                    <a:pt x="430" y="288"/>
                  </a:lnTo>
                  <a:lnTo>
                    <a:pt x="424" y="290"/>
                  </a:lnTo>
                  <a:lnTo>
                    <a:pt x="418" y="288"/>
                  </a:lnTo>
                  <a:lnTo>
                    <a:pt x="412" y="286"/>
                  </a:lnTo>
                  <a:lnTo>
                    <a:pt x="406" y="288"/>
                  </a:lnTo>
                  <a:lnTo>
                    <a:pt x="400" y="286"/>
                  </a:lnTo>
                  <a:lnTo>
                    <a:pt x="394" y="280"/>
                  </a:lnTo>
                  <a:lnTo>
                    <a:pt x="388" y="280"/>
                  </a:lnTo>
                  <a:lnTo>
                    <a:pt x="384" y="278"/>
                  </a:lnTo>
                  <a:lnTo>
                    <a:pt x="380" y="278"/>
                  </a:lnTo>
                  <a:lnTo>
                    <a:pt x="374" y="280"/>
                  </a:lnTo>
                  <a:lnTo>
                    <a:pt x="372" y="280"/>
                  </a:lnTo>
                  <a:lnTo>
                    <a:pt x="366" y="282"/>
                  </a:lnTo>
                  <a:lnTo>
                    <a:pt x="364" y="282"/>
                  </a:lnTo>
                  <a:lnTo>
                    <a:pt x="360" y="284"/>
                  </a:lnTo>
                  <a:lnTo>
                    <a:pt x="358" y="284"/>
                  </a:lnTo>
                  <a:lnTo>
                    <a:pt x="352" y="284"/>
                  </a:lnTo>
                  <a:lnTo>
                    <a:pt x="348" y="286"/>
                  </a:lnTo>
                  <a:lnTo>
                    <a:pt x="346" y="286"/>
                  </a:lnTo>
                  <a:lnTo>
                    <a:pt x="344" y="286"/>
                  </a:lnTo>
                  <a:lnTo>
                    <a:pt x="342" y="286"/>
                  </a:lnTo>
                  <a:lnTo>
                    <a:pt x="340" y="288"/>
                  </a:lnTo>
                  <a:lnTo>
                    <a:pt x="338" y="288"/>
                  </a:lnTo>
                  <a:lnTo>
                    <a:pt x="336" y="288"/>
                  </a:lnTo>
                  <a:lnTo>
                    <a:pt x="334" y="288"/>
                  </a:lnTo>
                  <a:lnTo>
                    <a:pt x="328" y="292"/>
                  </a:lnTo>
                  <a:lnTo>
                    <a:pt x="328" y="294"/>
                  </a:lnTo>
                  <a:lnTo>
                    <a:pt x="326" y="296"/>
                  </a:lnTo>
                  <a:lnTo>
                    <a:pt x="324" y="296"/>
                  </a:lnTo>
                  <a:lnTo>
                    <a:pt x="324" y="298"/>
                  </a:lnTo>
                  <a:lnTo>
                    <a:pt x="320" y="300"/>
                  </a:lnTo>
                  <a:lnTo>
                    <a:pt x="318" y="302"/>
                  </a:lnTo>
                  <a:lnTo>
                    <a:pt x="318" y="304"/>
                  </a:lnTo>
                  <a:lnTo>
                    <a:pt x="316" y="306"/>
                  </a:lnTo>
                  <a:lnTo>
                    <a:pt x="312" y="308"/>
                  </a:lnTo>
                  <a:lnTo>
                    <a:pt x="308" y="310"/>
                  </a:lnTo>
                  <a:lnTo>
                    <a:pt x="306" y="310"/>
                  </a:lnTo>
                  <a:lnTo>
                    <a:pt x="302" y="312"/>
                  </a:lnTo>
                  <a:lnTo>
                    <a:pt x="298" y="312"/>
                  </a:lnTo>
                  <a:lnTo>
                    <a:pt x="296" y="312"/>
                  </a:lnTo>
                  <a:lnTo>
                    <a:pt x="296" y="314"/>
                  </a:lnTo>
                  <a:lnTo>
                    <a:pt x="290" y="314"/>
                  </a:lnTo>
                  <a:lnTo>
                    <a:pt x="286" y="312"/>
                  </a:lnTo>
                  <a:lnTo>
                    <a:pt x="282" y="310"/>
                  </a:lnTo>
                  <a:lnTo>
                    <a:pt x="278" y="310"/>
                  </a:lnTo>
                  <a:lnTo>
                    <a:pt x="276" y="310"/>
                  </a:lnTo>
                  <a:lnTo>
                    <a:pt x="272" y="308"/>
                  </a:lnTo>
                  <a:lnTo>
                    <a:pt x="270" y="308"/>
                  </a:lnTo>
                  <a:lnTo>
                    <a:pt x="266" y="308"/>
                  </a:lnTo>
                  <a:lnTo>
                    <a:pt x="260" y="308"/>
                  </a:lnTo>
                  <a:lnTo>
                    <a:pt x="254" y="308"/>
                  </a:lnTo>
                  <a:lnTo>
                    <a:pt x="252" y="308"/>
                  </a:lnTo>
                  <a:lnTo>
                    <a:pt x="246" y="304"/>
                  </a:lnTo>
                  <a:lnTo>
                    <a:pt x="242" y="304"/>
                  </a:lnTo>
                  <a:lnTo>
                    <a:pt x="240" y="306"/>
                  </a:lnTo>
                  <a:lnTo>
                    <a:pt x="236" y="308"/>
                  </a:lnTo>
                  <a:lnTo>
                    <a:pt x="234" y="308"/>
                  </a:lnTo>
                  <a:lnTo>
                    <a:pt x="230" y="308"/>
                  </a:lnTo>
                  <a:lnTo>
                    <a:pt x="224" y="310"/>
                  </a:lnTo>
                  <a:lnTo>
                    <a:pt x="222" y="308"/>
                  </a:lnTo>
                  <a:lnTo>
                    <a:pt x="220" y="308"/>
                  </a:lnTo>
                  <a:lnTo>
                    <a:pt x="216" y="306"/>
                  </a:lnTo>
                  <a:lnTo>
                    <a:pt x="212" y="306"/>
                  </a:lnTo>
                  <a:lnTo>
                    <a:pt x="206" y="304"/>
                  </a:lnTo>
                  <a:lnTo>
                    <a:pt x="204" y="304"/>
                  </a:lnTo>
                  <a:lnTo>
                    <a:pt x="202" y="302"/>
                  </a:lnTo>
                  <a:lnTo>
                    <a:pt x="198" y="302"/>
                  </a:lnTo>
                  <a:lnTo>
                    <a:pt x="194" y="302"/>
                  </a:lnTo>
                  <a:lnTo>
                    <a:pt x="188" y="300"/>
                  </a:lnTo>
                  <a:lnTo>
                    <a:pt x="186" y="300"/>
                  </a:lnTo>
                  <a:lnTo>
                    <a:pt x="184" y="298"/>
                  </a:lnTo>
                  <a:lnTo>
                    <a:pt x="180" y="298"/>
                  </a:lnTo>
                  <a:lnTo>
                    <a:pt x="174" y="298"/>
                  </a:lnTo>
                  <a:lnTo>
                    <a:pt x="172" y="300"/>
                  </a:lnTo>
                  <a:lnTo>
                    <a:pt x="168" y="300"/>
                  </a:lnTo>
                  <a:lnTo>
                    <a:pt x="164" y="302"/>
                  </a:lnTo>
                  <a:lnTo>
                    <a:pt x="162" y="302"/>
                  </a:lnTo>
                  <a:lnTo>
                    <a:pt x="160" y="300"/>
                  </a:lnTo>
                  <a:lnTo>
                    <a:pt x="156" y="300"/>
                  </a:lnTo>
                  <a:lnTo>
                    <a:pt x="152" y="298"/>
                  </a:lnTo>
                  <a:lnTo>
                    <a:pt x="150" y="296"/>
                  </a:lnTo>
                  <a:lnTo>
                    <a:pt x="150" y="294"/>
                  </a:lnTo>
                  <a:lnTo>
                    <a:pt x="152" y="292"/>
                  </a:lnTo>
                  <a:lnTo>
                    <a:pt x="152" y="290"/>
                  </a:lnTo>
                  <a:lnTo>
                    <a:pt x="154" y="288"/>
                  </a:lnTo>
                  <a:lnTo>
                    <a:pt x="156" y="288"/>
                  </a:lnTo>
                  <a:lnTo>
                    <a:pt x="160" y="286"/>
                  </a:lnTo>
                  <a:lnTo>
                    <a:pt x="158" y="282"/>
                  </a:lnTo>
                  <a:lnTo>
                    <a:pt x="152" y="280"/>
                  </a:lnTo>
                  <a:lnTo>
                    <a:pt x="146" y="276"/>
                  </a:lnTo>
                  <a:lnTo>
                    <a:pt x="140" y="272"/>
                  </a:lnTo>
                  <a:lnTo>
                    <a:pt x="136" y="268"/>
                  </a:lnTo>
                  <a:lnTo>
                    <a:pt x="134" y="268"/>
                  </a:lnTo>
                  <a:lnTo>
                    <a:pt x="130" y="262"/>
                  </a:lnTo>
                  <a:lnTo>
                    <a:pt x="130" y="260"/>
                  </a:lnTo>
                  <a:lnTo>
                    <a:pt x="130" y="258"/>
                  </a:lnTo>
                  <a:lnTo>
                    <a:pt x="128" y="256"/>
                  </a:lnTo>
                  <a:lnTo>
                    <a:pt x="128" y="254"/>
                  </a:lnTo>
                  <a:lnTo>
                    <a:pt x="134" y="250"/>
                  </a:lnTo>
                  <a:lnTo>
                    <a:pt x="140" y="252"/>
                  </a:lnTo>
                  <a:lnTo>
                    <a:pt x="144" y="250"/>
                  </a:lnTo>
                  <a:lnTo>
                    <a:pt x="138" y="246"/>
                  </a:lnTo>
                  <a:lnTo>
                    <a:pt x="134" y="246"/>
                  </a:lnTo>
                  <a:lnTo>
                    <a:pt x="128" y="240"/>
                  </a:lnTo>
                  <a:lnTo>
                    <a:pt x="122" y="242"/>
                  </a:lnTo>
                  <a:lnTo>
                    <a:pt x="116" y="246"/>
                  </a:lnTo>
                  <a:lnTo>
                    <a:pt x="116" y="248"/>
                  </a:lnTo>
                  <a:lnTo>
                    <a:pt x="112" y="254"/>
                  </a:lnTo>
                  <a:lnTo>
                    <a:pt x="106" y="254"/>
                  </a:lnTo>
                  <a:lnTo>
                    <a:pt x="104" y="248"/>
                  </a:lnTo>
                  <a:lnTo>
                    <a:pt x="102" y="248"/>
                  </a:lnTo>
                  <a:lnTo>
                    <a:pt x="102" y="246"/>
                  </a:lnTo>
                  <a:lnTo>
                    <a:pt x="96" y="244"/>
                  </a:lnTo>
                  <a:lnTo>
                    <a:pt x="90" y="244"/>
                  </a:lnTo>
                  <a:lnTo>
                    <a:pt x="84" y="242"/>
                  </a:lnTo>
                  <a:lnTo>
                    <a:pt x="80" y="238"/>
                  </a:lnTo>
                  <a:lnTo>
                    <a:pt x="78" y="236"/>
                  </a:lnTo>
                  <a:lnTo>
                    <a:pt x="74" y="236"/>
                  </a:lnTo>
                  <a:lnTo>
                    <a:pt x="68" y="234"/>
                  </a:lnTo>
                  <a:lnTo>
                    <a:pt x="66" y="232"/>
                  </a:lnTo>
                  <a:lnTo>
                    <a:pt x="72" y="228"/>
                  </a:lnTo>
                  <a:lnTo>
                    <a:pt x="72" y="222"/>
                  </a:lnTo>
                  <a:lnTo>
                    <a:pt x="66" y="220"/>
                  </a:lnTo>
                  <a:lnTo>
                    <a:pt x="70" y="214"/>
                  </a:lnTo>
                  <a:lnTo>
                    <a:pt x="70" y="208"/>
                  </a:lnTo>
                  <a:lnTo>
                    <a:pt x="64" y="206"/>
                  </a:lnTo>
                  <a:lnTo>
                    <a:pt x="60" y="204"/>
                  </a:lnTo>
                  <a:lnTo>
                    <a:pt x="58" y="204"/>
                  </a:lnTo>
                  <a:lnTo>
                    <a:pt x="56" y="202"/>
                  </a:lnTo>
                  <a:lnTo>
                    <a:pt x="50" y="200"/>
                  </a:lnTo>
                  <a:lnTo>
                    <a:pt x="46" y="198"/>
                  </a:lnTo>
                  <a:lnTo>
                    <a:pt x="40" y="194"/>
                  </a:lnTo>
                  <a:lnTo>
                    <a:pt x="36" y="190"/>
                  </a:lnTo>
                  <a:lnTo>
                    <a:pt x="36" y="188"/>
                  </a:lnTo>
                  <a:lnTo>
                    <a:pt x="32" y="186"/>
                  </a:lnTo>
                  <a:lnTo>
                    <a:pt x="34" y="184"/>
                  </a:lnTo>
                  <a:lnTo>
                    <a:pt x="30" y="178"/>
                  </a:lnTo>
                  <a:lnTo>
                    <a:pt x="32" y="174"/>
                  </a:lnTo>
                  <a:lnTo>
                    <a:pt x="32" y="168"/>
                  </a:lnTo>
                  <a:lnTo>
                    <a:pt x="26" y="168"/>
                  </a:lnTo>
                  <a:lnTo>
                    <a:pt x="24" y="166"/>
                  </a:lnTo>
                  <a:lnTo>
                    <a:pt x="20" y="160"/>
                  </a:lnTo>
                  <a:lnTo>
                    <a:pt x="14" y="158"/>
                  </a:lnTo>
                  <a:lnTo>
                    <a:pt x="8" y="154"/>
                  </a:lnTo>
                  <a:lnTo>
                    <a:pt x="4" y="148"/>
                  </a:lnTo>
                  <a:lnTo>
                    <a:pt x="0" y="1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5" name="Freeform 32"/>
            <p:cNvSpPr>
              <a:spLocks/>
            </p:cNvSpPr>
            <p:nvPr/>
          </p:nvSpPr>
          <p:spPr bwMode="auto">
            <a:xfrm>
              <a:off x="4525963" y="2798763"/>
              <a:ext cx="146050" cy="68262"/>
            </a:xfrm>
            <a:custGeom>
              <a:avLst/>
              <a:gdLst>
                <a:gd name="T0" fmla="*/ 2147483647 w 360"/>
                <a:gd name="T1" fmla="*/ 2147483647 h 166"/>
                <a:gd name="T2" fmla="*/ 2147483647 w 360"/>
                <a:gd name="T3" fmla="*/ 2147483647 h 166"/>
                <a:gd name="T4" fmla="*/ 2147483647 w 360"/>
                <a:gd name="T5" fmla="*/ 2147483647 h 166"/>
                <a:gd name="T6" fmla="*/ 2147483647 w 360"/>
                <a:gd name="T7" fmla="*/ 2147483647 h 166"/>
                <a:gd name="T8" fmla="*/ 2147483647 w 360"/>
                <a:gd name="T9" fmla="*/ 2147483647 h 166"/>
                <a:gd name="T10" fmla="*/ 2147483647 w 360"/>
                <a:gd name="T11" fmla="*/ 2147483647 h 166"/>
                <a:gd name="T12" fmla="*/ 2147483647 w 360"/>
                <a:gd name="T13" fmla="*/ 2147483647 h 166"/>
                <a:gd name="T14" fmla="*/ 2147483647 w 360"/>
                <a:gd name="T15" fmla="*/ 2147483647 h 166"/>
                <a:gd name="T16" fmla="*/ 2147483647 w 360"/>
                <a:gd name="T17" fmla="*/ 0 h 166"/>
                <a:gd name="T18" fmla="*/ 2147483647 w 360"/>
                <a:gd name="T19" fmla="*/ 2147483647 h 166"/>
                <a:gd name="T20" fmla="*/ 2147483647 w 360"/>
                <a:gd name="T21" fmla="*/ 2147483647 h 166"/>
                <a:gd name="T22" fmla="*/ 2147483647 w 360"/>
                <a:gd name="T23" fmla="*/ 2147483647 h 166"/>
                <a:gd name="T24" fmla="*/ 2147483647 w 360"/>
                <a:gd name="T25" fmla="*/ 2147483647 h 166"/>
                <a:gd name="T26" fmla="*/ 2147483647 w 360"/>
                <a:gd name="T27" fmla="*/ 2147483647 h 166"/>
                <a:gd name="T28" fmla="*/ 2147483647 w 360"/>
                <a:gd name="T29" fmla="*/ 2147483647 h 166"/>
                <a:gd name="T30" fmla="*/ 2147483647 w 360"/>
                <a:gd name="T31" fmla="*/ 2147483647 h 166"/>
                <a:gd name="T32" fmla="*/ 2147483647 w 360"/>
                <a:gd name="T33" fmla="*/ 2147483647 h 166"/>
                <a:gd name="T34" fmla="*/ 2147483647 w 360"/>
                <a:gd name="T35" fmla="*/ 2147483647 h 166"/>
                <a:gd name="T36" fmla="*/ 2147483647 w 360"/>
                <a:gd name="T37" fmla="*/ 2147483647 h 166"/>
                <a:gd name="T38" fmla="*/ 2147483647 w 360"/>
                <a:gd name="T39" fmla="*/ 2147483647 h 166"/>
                <a:gd name="T40" fmla="*/ 2147483647 w 360"/>
                <a:gd name="T41" fmla="*/ 2147483647 h 166"/>
                <a:gd name="T42" fmla="*/ 2147483647 w 360"/>
                <a:gd name="T43" fmla="*/ 2147483647 h 166"/>
                <a:gd name="T44" fmla="*/ 2147483647 w 360"/>
                <a:gd name="T45" fmla="*/ 2147483647 h 166"/>
                <a:gd name="T46" fmla="*/ 2147483647 w 360"/>
                <a:gd name="T47" fmla="*/ 2147483647 h 166"/>
                <a:gd name="T48" fmla="*/ 2147483647 w 360"/>
                <a:gd name="T49" fmla="*/ 2147483647 h 166"/>
                <a:gd name="T50" fmla="*/ 2147483647 w 360"/>
                <a:gd name="T51" fmla="*/ 2147483647 h 166"/>
                <a:gd name="T52" fmla="*/ 2147483647 w 360"/>
                <a:gd name="T53" fmla="*/ 2147483647 h 166"/>
                <a:gd name="T54" fmla="*/ 2147483647 w 360"/>
                <a:gd name="T55" fmla="*/ 2147483647 h 166"/>
                <a:gd name="T56" fmla="*/ 2147483647 w 360"/>
                <a:gd name="T57" fmla="*/ 2147483647 h 166"/>
                <a:gd name="T58" fmla="*/ 2147483647 w 360"/>
                <a:gd name="T59" fmla="*/ 2147483647 h 166"/>
                <a:gd name="T60" fmla="*/ 2147483647 w 360"/>
                <a:gd name="T61" fmla="*/ 2147483647 h 166"/>
                <a:gd name="T62" fmla="*/ 2147483647 w 360"/>
                <a:gd name="T63" fmla="*/ 2147483647 h 166"/>
                <a:gd name="T64" fmla="*/ 2147483647 w 360"/>
                <a:gd name="T65" fmla="*/ 2147483647 h 166"/>
                <a:gd name="T66" fmla="*/ 2147483647 w 360"/>
                <a:gd name="T67" fmla="*/ 2147483647 h 166"/>
                <a:gd name="T68" fmla="*/ 2147483647 w 360"/>
                <a:gd name="T69" fmla="*/ 2147483647 h 166"/>
                <a:gd name="T70" fmla="*/ 2147483647 w 360"/>
                <a:gd name="T71" fmla="*/ 2147483647 h 166"/>
                <a:gd name="T72" fmla="*/ 2147483647 w 360"/>
                <a:gd name="T73" fmla="*/ 2147483647 h 166"/>
                <a:gd name="T74" fmla="*/ 2147483647 w 360"/>
                <a:gd name="T75" fmla="*/ 2147483647 h 166"/>
                <a:gd name="T76" fmla="*/ 2147483647 w 360"/>
                <a:gd name="T77" fmla="*/ 2147483647 h 166"/>
                <a:gd name="T78" fmla="*/ 2147483647 w 360"/>
                <a:gd name="T79" fmla="*/ 2147483647 h 166"/>
                <a:gd name="T80" fmla="*/ 2147483647 w 360"/>
                <a:gd name="T81" fmla="*/ 2147483647 h 166"/>
                <a:gd name="T82" fmla="*/ 2147483647 w 360"/>
                <a:gd name="T83" fmla="*/ 2147483647 h 166"/>
                <a:gd name="T84" fmla="*/ 2147483647 w 360"/>
                <a:gd name="T85" fmla="*/ 2147483647 h 166"/>
                <a:gd name="T86" fmla="*/ 2147483647 w 360"/>
                <a:gd name="T87" fmla="*/ 2147483647 h 166"/>
                <a:gd name="T88" fmla="*/ 2147483647 w 360"/>
                <a:gd name="T89" fmla="*/ 2147483647 h 166"/>
                <a:gd name="T90" fmla="*/ 2147483647 w 360"/>
                <a:gd name="T91" fmla="*/ 2147483647 h 166"/>
                <a:gd name="T92" fmla="*/ 2147483647 w 360"/>
                <a:gd name="T93" fmla="*/ 2147483647 h 166"/>
                <a:gd name="T94" fmla="*/ 2147483647 w 360"/>
                <a:gd name="T95" fmla="*/ 2147483647 h 166"/>
                <a:gd name="T96" fmla="*/ 2147483647 w 360"/>
                <a:gd name="T97" fmla="*/ 2147483647 h 166"/>
                <a:gd name="T98" fmla="*/ 2147483647 w 360"/>
                <a:gd name="T99" fmla="*/ 2147483647 h 166"/>
                <a:gd name="T100" fmla="*/ 2147483647 w 360"/>
                <a:gd name="T101" fmla="*/ 2147483647 h 166"/>
                <a:gd name="T102" fmla="*/ 2147483647 w 360"/>
                <a:gd name="T103" fmla="*/ 2147483647 h 166"/>
                <a:gd name="T104" fmla="*/ 2147483647 w 360"/>
                <a:gd name="T105" fmla="*/ 2147483647 h 166"/>
                <a:gd name="T106" fmla="*/ 2147483647 w 360"/>
                <a:gd name="T107" fmla="*/ 2147483647 h 166"/>
                <a:gd name="T108" fmla="*/ 2147483647 w 360"/>
                <a:gd name="T109" fmla="*/ 2147483647 h 166"/>
                <a:gd name="T110" fmla="*/ 0 w 360"/>
                <a:gd name="T111" fmla="*/ 2147483647 h 16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0"/>
                <a:gd name="T169" fmla="*/ 0 h 166"/>
                <a:gd name="T170" fmla="*/ 360 w 360"/>
                <a:gd name="T171" fmla="*/ 166 h 16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0" h="166">
                  <a:moveTo>
                    <a:pt x="0" y="48"/>
                  </a:moveTo>
                  <a:lnTo>
                    <a:pt x="2" y="48"/>
                  </a:lnTo>
                  <a:lnTo>
                    <a:pt x="8" y="52"/>
                  </a:lnTo>
                  <a:lnTo>
                    <a:pt x="10" y="60"/>
                  </a:lnTo>
                  <a:lnTo>
                    <a:pt x="12" y="60"/>
                  </a:lnTo>
                  <a:lnTo>
                    <a:pt x="12" y="58"/>
                  </a:lnTo>
                  <a:lnTo>
                    <a:pt x="12" y="56"/>
                  </a:lnTo>
                  <a:lnTo>
                    <a:pt x="16" y="50"/>
                  </a:lnTo>
                  <a:lnTo>
                    <a:pt x="20" y="44"/>
                  </a:lnTo>
                  <a:lnTo>
                    <a:pt x="26" y="44"/>
                  </a:lnTo>
                  <a:lnTo>
                    <a:pt x="32" y="44"/>
                  </a:lnTo>
                  <a:lnTo>
                    <a:pt x="38" y="40"/>
                  </a:lnTo>
                  <a:lnTo>
                    <a:pt x="44" y="44"/>
                  </a:lnTo>
                  <a:lnTo>
                    <a:pt x="46" y="42"/>
                  </a:lnTo>
                  <a:lnTo>
                    <a:pt x="52" y="36"/>
                  </a:lnTo>
                  <a:lnTo>
                    <a:pt x="58" y="32"/>
                  </a:lnTo>
                  <a:lnTo>
                    <a:pt x="62" y="32"/>
                  </a:lnTo>
                  <a:lnTo>
                    <a:pt x="68" y="30"/>
                  </a:lnTo>
                  <a:lnTo>
                    <a:pt x="74" y="26"/>
                  </a:lnTo>
                  <a:lnTo>
                    <a:pt x="80" y="22"/>
                  </a:lnTo>
                  <a:lnTo>
                    <a:pt x="88" y="22"/>
                  </a:lnTo>
                  <a:lnTo>
                    <a:pt x="94" y="20"/>
                  </a:lnTo>
                  <a:lnTo>
                    <a:pt x="98" y="16"/>
                  </a:lnTo>
                  <a:lnTo>
                    <a:pt x="104" y="16"/>
                  </a:lnTo>
                  <a:lnTo>
                    <a:pt x="110" y="14"/>
                  </a:lnTo>
                  <a:lnTo>
                    <a:pt x="112" y="12"/>
                  </a:lnTo>
                  <a:lnTo>
                    <a:pt x="114" y="10"/>
                  </a:lnTo>
                  <a:lnTo>
                    <a:pt x="118" y="8"/>
                  </a:lnTo>
                  <a:lnTo>
                    <a:pt x="114" y="2"/>
                  </a:lnTo>
                  <a:lnTo>
                    <a:pt x="118" y="2"/>
                  </a:lnTo>
                  <a:lnTo>
                    <a:pt x="124" y="2"/>
                  </a:lnTo>
                  <a:lnTo>
                    <a:pt x="126" y="0"/>
                  </a:lnTo>
                  <a:lnTo>
                    <a:pt x="126" y="2"/>
                  </a:lnTo>
                  <a:lnTo>
                    <a:pt x="130" y="4"/>
                  </a:lnTo>
                  <a:lnTo>
                    <a:pt x="130" y="10"/>
                  </a:lnTo>
                  <a:lnTo>
                    <a:pt x="132" y="10"/>
                  </a:lnTo>
                  <a:lnTo>
                    <a:pt x="136" y="14"/>
                  </a:lnTo>
                  <a:lnTo>
                    <a:pt x="142" y="14"/>
                  </a:lnTo>
                  <a:lnTo>
                    <a:pt x="144" y="12"/>
                  </a:lnTo>
                  <a:lnTo>
                    <a:pt x="146" y="12"/>
                  </a:lnTo>
                  <a:lnTo>
                    <a:pt x="152" y="12"/>
                  </a:lnTo>
                  <a:lnTo>
                    <a:pt x="152" y="10"/>
                  </a:lnTo>
                  <a:lnTo>
                    <a:pt x="152" y="8"/>
                  </a:lnTo>
                  <a:lnTo>
                    <a:pt x="152" y="4"/>
                  </a:lnTo>
                  <a:lnTo>
                    <a:pt x="152" y="2"/>
                  </a:lnTo>
                  <a:lnTo>
                    <a:pt x="154" y="2"/>
                  </a:lnTo>
                  <a:lnTo>
                    <a:pt x="156" y="2"/>
                  </a:lnTo>
                  <a:lnTo>
                    <a:pt x="158" y="4"/>
                  </a:lnTo>
                  <a:lnTo>
                    <a:pt x="164" y="4"/>
                  </a:lnTo>
                  <a:lnTo>
                    <a:pt x="168" y="6"/>
                  </a:lnTo>
                  <a:lnTo>
                    <a:pt x="168" y="12"/>
                  </a:lnTo>
                  <a:lnTo>
                    <a:pt x="172" y="18"/>
                  </a:lnTo>
                  <a:lnTo>
                    <a:pt x="176" y="16"/>
                  </a:lnTo>
                  <a:lnTo>
                    <a:pt x="182" y="18"/>
                  </a:lnTo>
                  <a:lnTo>
                    <a:pt x="188" y="20"/>
                  </a:lnTo>
                  <a:lnTo>
                    <a:pt x="194" y="20"/>
                  </a:lnTo>
                  <a:lnTo>
                    <a:pt x="198" y="24"/>
                  </a:lnTo>
                  <a:lnTo>
                    <a:pt x="204" y="24"/>
                  </a:lnTo>
                  <a:lnTo>
                    <a:pt x="206" y="30"/>
                  </a:lnTo>
                  <a:lnTo>
                    <a:pt x="212" y="26"/>
                  </a:lnTo>
                  <a:lnTo>
                    <a:pt x="216" y="28"/>
                  </a:lnTo>
                  <a:lnTo>
                    <a:pt x="220" y="26"/>
                  </a:lnTo>
                  <a:lnTo>
                    <a:pt x="226" y="28"/>
                  </a:lnTo>
                  <a:lnTo>
                    <a:pt x="226" y="34"/>
                  </a:lnTo>
                  <a:lnTo>
                    <a:pt x="222" y="36"/>
                  </a:lnTo>
                  <a:lnTo>
                    <a:pt x="216" y="42"/>
                  </a:lnTo>
                  <a:lnTo>
                    <a:pt x="218" y="44"/>
                  </a:lnTo>
                  <a:lnTo>
                    <a:pt x="224" y="44"/>
                  </a:lnTo>
                  <a:lnTo>
                    <a:pt x="230" y="50"/>
                  </a:lnTo>
                  <a:lnTo>
                    <a:pt x="236" y="56"/>
                  </a:lnTo>
                  <a:lnTo>
                    <a:pt x="238" y="60"/>
                  </a:lnTo>
                  <a:lnTo>
                    <a:pt x="244" y="64"/>
                  </a:lnTo>
                  <a:lnTo>
                    <a:pt x="246" y="62"/>
                  </a:lnTo>
                  <a:lnTo>
                    <a:pt x="252" y="58"/>
                  </a:lnTo>
                  <a:lnTo>
                    <a:pt x="254" y="56"/>
                  </a:lnTo>
                  <a:lnTo>
                    <a:pt x="260" y="52"/>
                  </a:lnTo>
                  <a:lnTo>
                    <a:pt x="254" y="46"/>
                  </a:lnTo>
                  <a:lnTo>
                    <a:pt x="254" y="40"/>
                  </a:lnTo>
                  <a:lnTo>
                    <a:pt x="260" y="42"/>
                  </a:lnTo>
                  <a:lnTo>
                    <a:pt x="266" y="44"/>
                  </a:lnTo>
                  <a:lnTo>
                    <a:pt x="272" y="48"/>
                  </a:lnTo>
                  <a:lnTo>
                    <a:pt x="278" y="50"/>
                  </a:lnTo>
                  <a:lnTo>
                    <a:pt x="280" y="52"/>
                  </a:lnTo>
                  <a:lnTo>
                    <a:pt x="286" y="52"/>
                  </a:lnTo>
                  <a:lnTo>
                    <a:pt x="288" y="52"/>
                  </a:lnTo>
                  <a:lnTo>
                    <a:pt x="292" y="52"/>
                  </a:lnTo>
                  <a:lnTo>
                    <a:pt x="298" y="52"/>
                  </a:lnTo>
                  <a:lnTo>
                    <a:pt x="298" y="56"/>
                  </a:lnTo>
                  <a:lnTo>
                    <a:pt x="296" y="62"/>
                  </a:lnTo>
                  <a:lnTo>
                    <a:pt x="298" y="64"/>
                  </a:lnTo>
                  <a:lnTo>
                    <a:pt x="304" y="70"/>
                  </a:lnTo>
                  <a:lnTo>
                    <a:pt x="304" y="72"/>
                  </a:lnTo>
                  <a:lnTo>
                    <a:pt x="310" y="70"/>
                  </a:lnTo>
                  <a:lnTo>
                    <a:pt x="316" y="66"/>
                  </a:lnTo>
                  <a:lnTo>
                    <a:pt x="318" y="70"/>
                  </a:lnTo>
                  <a:lnTo>
                    <a:pt x="324" y="72"/>
                  </a:lnTo>
                  <a:lnTo>
                    <a:pt x="330" y="76"/>
                  </a:lnTo>
                  <a:lnTo>
                    <a:pt x="332" y="74"/>
                  </a:lnTo>
                  <a:lnTo>
                    <a:pt x="338" y="76"/>
                  </a:lnTo>
                  <a:lnTo>
                    <a:pt x="344" y="78"/>
                  </a:lnTo>
                  <a:lnTo>
                    <a:pt x="344" y="82"/>
                  </a:lnTo>
                  <a:lnTo>
                    <a:pt x="346" y="86"/>
                  </a:lnTo>
                  <a:lnTo>
                    <a:pt x="346" y="88"/>
                  </a:lnTo>
                  <a:lnTo>
                    <a:pt x="346" y="90"/>
                  </a:lnTo>
                  <a:lnTo>
                    <a:pt x="352" y="92"/>
                  </a:lnTo>
                  <a:lnTo>
                    <a:pt x="358" y="96"/>
                  </a:lnTo>
                  <a:lnTo>
                    <a:pt x="360" y="102"/>
                  </a:lnTo>
                  <a:lnTo>
                    <a:pt x="354" y="104"/>
                  </a:lnTo>
                  <a:lnTo>
                    <a:pt x="350" y="104"/>
                  </a:lnTo>
                  <a:lnTo>
                    <a:pt x="342" y="108"/>
                  </a:lnTo>
                  <a:lnTo>
                    <a:pt x="338" y="112"/>
                  </a:lnTo>
                  <a:lnTo>
                    <a:pt x="336" y="112"/>
                  </a:lnTo>
                  <a:lnTo>
                    <a:pt x="332" y="116"/>
                  </a:lnTo>
                  <a:lnTo>
                    <a:pt x="324" y="120"/>
                  </a:lnTo>
                  <a:lnTo>
                    <a:pt x="322" y="126"/>
                  </a:lnTo>
                  <a:lnTo>
                    <a:pt x="322" y="128"/>
                  </a:lnTo>
                  <a:lnTo>
                    <a:pt x="320" y="134"/>
                  </a:lnTo>
                  <a:lnTo>
                    <a:pt x="318" y="136"/>
                  </a:lnTo>
                  <a:lnTo>
                    <a:pt x="312" y="136"/>
                  </a:lnTo>
                  <a:lnTo>
                    <a:pt x="310" y="140"/>
                  </a:lnTo>
                  <a:lnTo>
                    <a:pt x="304" y="144"/>
                  </a:lnTo>
                  <a:lnTo>
                    <a:pt x="298" y="148"/>
                  </a:lnTo>
                  <a:lnTo>
                    <a:pt x="292" y="150"/>
                  </a:lnTo>
                  <a:lnTo>
                    <a:pt x="290" y="150"/>
                  </a:lnTo>
                  <a:lnTo>
                    <a:pt x="284" y="150"/>
                  </a:lnTo>
                  <a:lnTo>
                    <a:pt x="278" y="148"/>
                  </a:lnTo>
                  <a:lnTo>
                    <a:pt x="276" y="146"/>
                  </a:lnTo>
                  <a:lnTo>
                    <a:pt x="272" y="146"/>
                  </a:lnTo>
                  <a:lnTo>
                    <a:pt x="270" y="148"/>
                  </a:lnTo>
                  <a:lnTo>
                    <a:pt x="264" y="154"/>
                  </a:lnTo>
                  <a:lnTo>
                    <a:pt x="264" y="156"/>
                  </a:lnTo>
                  <a:lnTo>
                    <a:pt x="262" y="160"/>
                  </a:lnTo>
                  <a:lnTo>
                    <a:pt x="260" y="162"/>
                  </a:lnTo>
                  <a:lnTo>
                    <a:pt x="256" y="156"/>
                  </a:lnTo>
                  <a:lnTo>
                    <a:pt x="254" y="156"/>
                  </a:lnTo>
                  <a:lnTo>
                    <a:pt x="248" y="154"/>
                  </a:lnTo>
                  <a:lnTo>
                    <a:pt x="244" y="152"/>
                  </a:lnTo>
                  <a:lnTo>
                    <a:pt x="240" y="150"/>
                  </a:lnTo>
                  <a:lnTo>
                    <a:pt x="234" y="150"/>
                  </a:lnTo>
                  <a:lnTo>
                    <a:pt x="228" y="154"/>
                  </a:lnTo>
                  <a:lnTo>
                    <a:pt x="224" y="154"/>
                  </a:lnTo>
                  <a:lnTo>
                    <a:pt x="220" y="154"/>
                  </a:lnTo>
                  <a:lnTo>
                    <a:pt x="214" y="154"/>
                  </a:lnTo>
                  <a:lnTo>
                    <a:pt x="210" y="152"/>
                  </a:lnTo>
                  <a:lnTo>
                    <a:pt x="206" y="150"/>
                  </a:lnTo>
                  <a:lnTo>
                    <a:pt x="200" y="146"/>
                  </a:lnTo>
                  <a:lnTo>
                    <a:pt x="196" y="146"/>
                  </a:lnTo>
                  <a:lnTo>
                    <a:pt x="190" y="146"/>
                  </a:lnTo>
                  <a:lnTo>
                    <a:pt x="184" y="144"/>
                  </a:lnTo>
                  <a:lnTo>
                    <a:pt x="182" y="140"/>
                  </a:lnTo>
                  <a:lnTo>
                    <a:pt x="176" y="140"/>
                  </a:lnTo>
                  <a:lnTo>
                    <a:pt x="174" y="138"/>
                  </a:lnTo>
                  <a:lnTo>
                    <a:pt x="168" y="140"/>
                  </a:lnTo>
                  <a:lnTo>
                    <a:pt x="162" y="136"/>
                  </a:lnTo>
                  <a:lnTo>
                    <a:pt x="156" y="136"/>
                  </a:lnTo>
                  <a:lnTo>
                    <a:pt x="156" y="138"/>
                  </a:lnTo>
                  <a:lnTo>
                    <a:pt x="156" y="144"/>
                  </a:lnTo>
                  <a:lnTo>
                    <a:pt x="154" y="150"/>
                  </a:lnTo>
                  <a:lnTo>
                    <a:pt x="154" y="152"/>
                  </a:lnTo>
                  <a:lnTo>
                    <a:pt x="152" y="152"/>
                  </a:lnTo>
                  <a:lnTo>
                    <a:pt x="146" y="154"/>
                  </a:lnTo>
                  <a:lnTo>
                    <a:pt x="140" y="160"/>
                  </a:lnTo>
                  <a:lnTo>
                    <a:pt x="140" y="166"/>
                  </a:lnTo>
                  <a:lnTo>
                    <a:pt x="138" y="166"/>
                  </a:lnTo>
                  <a:lnTo>
                    <a:pt x="134" y="164"/>
                  </a:lnTo>
                  <a:lnTo>
                    <a:pt x="128" y="162"/>
                  </a:lnTo>
                  <a:lnTo>
                    <a:pt x="126" y="164"/>
                  </a:lnTo>
                  <a:lnTo>
                    <a:pt x="122" y="166"/>
                  </a:lnTo>
                  <a:lnTo>
                    <a:pt x="118" y="166"/>
                  </a:lnTo>
                  <a:lnTo>
                    <a:pt x="110" y="164"/>
                  </a:lnTo>
                  <a:lnTo>
                    <a:pt x="104" y="160"/>
                  </a:lnTo>
                  <a:lnTo>
                    <a:pt x="100" y="156"/>
                  </a:lnTo>
                  <a:lnTo>
                    <a:pt x="94" y="152"/>
                  </a:lnTo>
                  <a:lnTo>
                    <a:pt x="90" y="150"/>
                  </a:lnTo>
                  <a:lnTo>
                    <a:pt x="86" y="146"/>
                  </a:lnTo>
                  <a:lnTo>
                    <a:pt x="80" y="140"/>
                  </a:lnTo>
                  <a:lnTo>
                    <a:pt x="76" y="138"/>
                  </a:lnTo>
                  <a:lnTo>
                    <a:pt x="70" y="138"/>
                  </a:lnTo>
                  <a:lnTo>
                    <a:pt x="70" y="136"/>
                  </a:lnTo>
                  <a:lnTo>
                    <a:pt x="66" y="130"/>
                  </a:lnTo>
                  <a:lnTo>
                    <a:pt x="60" y="130"/>
                  </a:lnTo>
                  <a:lnTo>
                    <a:pt x="58" y="130"/>
                  </a:lnTo>
                  <a:lnTo>
                    <a:pt x="58" y="128"/>
                  </a:lnTo>
                  <a:lnTo>
                    <a:pt x="52" y="122"/>
                  </a:lnTo>
                  <a:lnTo>
                    <a:pt x="48" y="116"/>
                  </a:lnTo>
                  <a:lnTo>
                    <a:pt x="42" y="116"/>
                  </a:lnTo>
                  <a:lnTo>
                    <a:pt x="40" y="114"/>
                  </a:lnTo>
                  <a:lnTo>
                    <a:pt x="34" y="110"/>
                  </a:lnTo>
                  <a:lnTo>
                    <a:pt x="28" y="106"/>
                  </a:lnTo>
                  <a:lnTo>
                    <a:pt x="26" y="100"/>
                  </a:lnTo>
                  <a:lnTo>
                    <a:pt x="22" y="94"/>
                  </a:lnTo>
                  <a:lnTo>
                    <a:pt x="22" y="92"/>
                  </a:lnTo>
                  <a:lnTo>
                    <a:pt x="16" y="86"/>
                  </a:lnTo>
                  <a:lnTo>
                    <a:pt x="20" y="82"/>
                  </a:lnTo>
                  <a:lnTo>
                    <a:pt x="22" y="76"/>
                  </a:lnTo>
                  <a:lnTo>
                    <a:pt x="16" y="70"/>
                  </a:lnTo>
                  <a:lnTo>
                    <a:pt x="14" y="68"/>
                  </a:lnTo>
                  <a:lnTo>
                    <a:pt x="8" y="64"/>
                  </a:lnTo>
                  <a:lnTo>
                    <a:pt x="6" y="64"/>
                  </a:lnTo>
                  <a:lnTo>
                    <a:pt x="4" y="62"/>
                  </a:lnTo>
                  <a:lnTo>
                    <a:pt x="4" y="56"/>
                  </a:lnTo>
                  <a:lnTo>
                    <a:pt x="0" y="54"/>
                  </a:lnTo>
                  <a:lnTo>
                    <a:pt x="0" y="4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6" name="Freeform 33"/>
            <p:cNvSpPr>
              <a:spLocks/>
            </p:cNvSpPr>
            <p:nvPr/>
          </p:nvSpPr>
          <p:spPr bwMode="auto">
            <a:xfrm>
              <a:off x="4672013" y="2306638"/>
              <a:ext cx="225425" cy="257175"/>
            </a:xfrm>
            <a:custGeom>
              <a:avLst/>
              <a:gdLst>
                <a:gd name="T0" fmla="*/ 2147483647 w 552"/>
                <a:gd name="T1" fmla="*/ 2147483647 h 626"/>
                <a:gd name="T2" fmla="*/ 2147483647 w 552"/>
                <a:gd name="T3" fmla="*/ 2147483647 h 626"/>
                <a:gd name="T4" fmla="*/ 2147483647 w 552"/>
                <a:gd name="T5" fmla="*/ 2147483647 h 626"/>
                <a:gd name="T6" fmla="*/ 2147483647 w 552"/>
                <a:gd name="T7" fmla="*/ 2147483647 h 626"/>
                <a:gd name="T8" fmla="*/ 2147483647 w 552"/>
                <a:gd name="T9" fmla="*/ 2147483647 h 626"/>
                <a:gd name="T10" fmla="*/ 2147483647 w 552"/>
                <a:gd name="T11" fmla="*/ 2147483647 h 626"/>
                <a:gd name="T12" fmla="*/ 2147483647 w 552"/>
                <a:gd name="T13" fmla="*/ 2147483647 h 626"/>
                <a:gd name="T14" fmla="*/ 2147483647 w 552"/>
                <a:gd name="T15" fmla="*/ 2147483647 h 626"/>
                <a:gd name="T16" fmla="*/ 2147483647 w 552"/>
                <a:gd name="T17" fmla="*/ 2147483647 h 626"/>
                <a:gd name="T18" fmla="*/ 2147483647 w 552"/>
                <a:gd name="T19" fmla="*/ 2147483647 h 626"/>
                <a:gd name="T20" fmla="*/ 2147483647 w 552"/>
                <a:gd name="T21" fmla="*/ 2147483647 h 626"/>
                <a:gd name="T22" fmla="*/ 2147483647 w 552"/>
                <a:gd name="T23" fmla="*/ 2147483647 h 626"/>
                <a:gd name="T24" fmla="*/ 2147483647 w 552"/>
                <a:gd name="T25" fmla="*/ 2147483647 h 626"/>
                <a:gd name="T26" fmla="*/ 2147483647 w 552"/>
                <a:gd name="T27" fmla="*/ 2147483647 h 626"/>
                <a:gd name="T28" fmla="*/ 2147483647 w 552"/>
                <a:gd name="T29" fmla="*/ 2147483647 h 626"/>
                <a:gd name="T30" fmla="*/ 2147483647 w 552"/>
                <a:gd name="T31" fmla="*/ 2147483647 h 626"/>
                <a:gd name="T32" fmla="*/ 2147483647 w 552"/>
                <a:gd name="T33" fmla="*/ 2147483647 h 626"/>
                <a:gd name="T34" fmla="*/ 2147483647 w 552"/>
                <a:gd name="T35" fmla="*/ 2147483647 h 626"/>
                <a:gd name="T36" fmla="*/ 2147483647 w 552"/>
                <a:gd name="T37" fmla="*/ 2147483647 h 626"/>
                <a:gd name="T38" fmla="*/ 2147483647 w 552"/>
                <a:gd name="T39" fmla="*/ 2147483647 h 626"/>
                <a:gd name="T40" fmla="*/ 2147483647 w 552"/>
                <a:gd name="T41" fmla="*/ 2147483647 h 626"/>
                <a:gd name="T42" fmla="*/ 2147483647 w 552"/>
                <a:gd name="T43" fmla="*/ 2147483647 h 626"/>
                <a:gd name="T44" fmla="*/ 2147483647 w 552"/>
                <a:gd name="T45" fmla="*/ 2147483647 h 626"/>
                <a:gd name="T46" fmla="*/ 2147483647 w 552"/>
                <a:gd name="T47" fmla="*/ 2147483647 h 626"/>
                <a:gd name="T48" fmla="*/ 2147483647 w 552"/>
                <a:gd name="T49" fmla="*/ 2147483647 h 626"/>
                <a:gd name="T50" fmla="*/ 2147483647 w 552"/>
                <a:gd name="T51" fmla="*/ 2147483647 h 626"/>
                <a:gd name="T52" fmla="*/ 2147483647 w 552"/>
                <a:gd name="T53" fmla="*/ 2147483647 h 626"/>
                <a:gd name="T54" fmla="*/ 2147483647 w 552"/>
                <a:gd name="T55" fmla="*/ 2147483647 h 626"/>
                <a:gd name="T56" fmla="*/ 2147483647 w 552"/>
                <a:gd name="T57" fmla="*/ 2147483647 h 626"/>
                <a:gd name="T58" fmla="*/ 2147483647 w 552"/>
                <a:gd name="T59" fmla="*/ 2147483647 h 626"/>
                <a:gd name="T60" fmla="*/ 2147483647 w 552"/>
                <a:gd name="T61" fmla="*/ 2147483647 h 626"/>
                <a:gd name="T62" fmla="*/ 2147483647 w 552"/>
                <a:gd name="T63" fmla="*/ 2147483647 h 626"/>
                <a:gd name="T64" fmla="*/ 2147483647 w 552"/>
                <a:gd name="T65" fmla="*/ 2147483647 h 626"/>
                <a:gd name="T66" fmla="*/ 2147483647 w 552"/>
                <a:gd name="T67" fmla="*/ 2147483647 h 626"/>
                <a:gd name="T68" fmla="*/ 2147483647 w 552"/>
                <a:gd name="T69" fmla="*/ 2147483647 h 626"/>
                <a:gd name="T70" fmla="*/ 2147483647 w 552"/>
                <a:gd name="T71" fmla="*/ 2147483647 h 626"/>
                <a:gd name="T72" fmla="*/ 2147483647 w 552"/>
                <a:gd name="T73" fmla="*/ 2147483647 h 626"/>
                <a:gd name="T74" fmla="*/ 2147483647 w 552"/>
                <a:gd name="T75" fmla="*/ 2147483647 h 626"/>
                <a:gd name="T76" fmla="*/ 2147483647 w 552"/>
                <a:gd name="T77" fmla="*/ 2147483647 h 626"/>
                <a:gd name="T78" fmla="*/ 2147483647 w 552"/>
                <a:gd name="T79" fmla="*/ 2147483647 h 626"/>
                <a:gd name="T80" fmla="*/ 2147483647 w 552"/>
                <a:gd name="T81" fmla="*/ 2147483647 h 626"/>
                <a:gd name="T82" fmla="*/ 2147483647 w 552"/>
                <a:gd name="T83" fmla="*/ 2147483647 h 626"/>
                <a:gd name="T84" fmla="*/ 2147483647 w 552"/>
                <a:gd name="T85" fmla="*/ 2147483647 h 626"/>
                <a:gd name="T86" fmla="*/ 2147483647 w 552"/>
                <a:gd name="T87" fmla="*/ 2147483647 h 626"/>
                <a:gd name="T88" fmla="*/ 2147483647 w 552"/>
                <a:gd name="T89" fmla="*/ 2147483647 h 626"/>
                <a:gd name="T90" fmla="*/ 2147483647 w 552"/>
                <a:gd name="T91" fmla="*/ 2147483647 h 626"/>
                <a:gd name="T92" fmla="*/ 2147483647 w 552"/>
                <a:gd name="T93" fmla="*/ 2147483647 h 626"/>
                <a:gd name="T94" fmla="*/ 2147483647 w 552"/>
                <a:gd name="T95" fmla="*/ 2147483647 h 626"/>
                <a:gd name="T96" fmla="*/ 2147483647 w 552"/>
                <a:gd name="T97" fmla="*/ 2147483647 h 626"/>
                <a:gd name="T98" fmla="*/ 2147483647 w 552"/>
                <a:gd name="T99" fmla="*/ 2147483647 h 626"/>
                <a:gd name="T100" fmla="*/ 2147483647 w 552"/>
                <a:gd name="T101" fmla="*/ 2147483647 h 626"/>
                <a:gd name="T102" fmla="*/ 2147483647 w 552"/>
                <a:gd name="T103" fmla="*/ 2147483647 h 626"/>
                <a:gd name="T104" fmla="*/ 2147483647 w 552"/>
                <a:gd name="T105" fmla="*/ 2147483647 h 626"/>
                <a:gd name="T106" fmla="*/ 2147483647 w 552"/>
                <a:gd name="T107" fmla="*/ 2147483647 h 626"/>
                <a:gd name="T108" fmla="*/ 2147483647 w 552"/>
                <a:gd name="T109" fmla="*/ 2147483647 h 626"/>
                <a:gd name="T110" fmla="*/ 2147483647 w 552"/>
                <a:gd name="T111" fmla="*/ 2147483647 h 626"/>
                <a:gd name="T112" fmla="*/ 2147483647 w 552"/>
                <a:gd name="T113" fmla="*/ 2147483647 h 626"/>
                <a:gd name="T114" fmla="*/ 2147483647 w 552"/>
                <a:gd name="T115" fmla="*/ 2147483647 h 6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2"/>
                <a:gd name="T175" fmla="*/ 0 h 626"/>
                <a:gd name="T176" fmla="*/ 552 w 552"/>
                <a:gd name="T177" fmla="*/ 626 h 6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2" h="626">
                  <a:moveTo>
                    <a:pt x="0" y="62"/>
                  </a:moveTo>
                  <a:lnTo>
                    <a:pt x="8" y="58"/>
                  </a:lnTo>
                  <a:lnTo>
                    <a:pt x="16" y="60"/>
                  </a:lnTo>
                  <a:lnTo>
                    <a:pt x="24" y="58"/>
                  </a:lnTo>
                  <a:lnTo>
                    <a:pt x="18" y="52"/>
                  </a:lnTo>
                  <a:lnTo>
                    <a:pt x="30" y="46"/>
                  </a:lnTo>
                  <a:lnTo>
                    <a:pt x="38" y="46"/>
                  </a:lnTo>
                  <a:lnTo>
                    <a:pt x="46" y="48"/>
                  </a:lnTo>
                  <a:lnTo>
                    <a:pt x="58" y="58"/>
                  </a:lnTo>
                  <a:lnTo>
                    <a:pt x="60" y="60"/>
                  </a:lnTo>
                  <a:lnTo>
                    <a:pt x="64" y="62"/>
                  </a:lnTo>
                  <a:lnTo>
                    <a:pt x="70" y="66"/>
                  </a:lnTo>
                  <a:lnTo>
                    <a:pt x="78" y="72"/>
                  </a:lnTo>
                  <a:lnTo>
                    <a:pt x="82" y="80"/>
                  </a:lnTo>
                  <a:lnTo>
                    <a:pt x="90" y="80"/>
                  </a:lnTo>
                  <a:lnTo>
                    <a:pt x="102" y="82"/>
                  </a:lnTo>
                  <a:lnTo>
                    <a:pt x="108" y="82"/>
                  </a:lnTo>
                  <a:lnTo>
                    <a:pt x="118" y="86"/>
                  </a:lnTo>
                  <a:lnTo>
                    <a:pt x="124" y="84"/>
                  </a:lnTo>
                  <a:lnTo>
                    <a:pt x="130" y="82"/>
                  </a:lnTo>
                  <a:lnTo>
                    <a:pt x="138" y="80"/>
                  </a:lnTo>
                  <a:lnTo>
                    <a:pt x="144" y="74"/>
                  </a:lnTo>
                  <a:lnTo>
                    <a:pt x="152" y="74"/>
                  </a:lnTo>
                  <a:lnTo>
                    <a:pt x="156" y="76"/>
                  </a:lnTo>
                  <a:lnTo>
                    <a:pt x="164" y="80"/>
                  </a:lnTo>
                  <a:lnTo>
                    <a:pt x="172" y="80"/>
                  </a:lnTo>
                  <a:lnTo>
                    <a:pt x="178" y="82"/>
                  </a:lnTo>
                  <a:lnTo>
                    <a:pt x="184" y="84"/>
                  </a:lnTo>
                  <a:lnTo>
                    <a:pt x="190" y="86"/>
                  </a:lnTo>
                  <a:lnTo>
                    <a:pt x="196" y="88"/>
                  </a:lnTo>
                  <a:lnTo>
                    <a:pt x="198" y="86"/>
                  </a:lnTo>
                  <a:lnTo>
                    <a:pt x="204" y="84"/>
                  </a:lnTo>
                  <a:lnTo>
                    <a:pt x="204" y="78"/>
                  </a:lnTo>
                  <a:lnTo>
                    <a:pt x="208" y="72"/>
                  </a:lnTo>
                  <a:lnTo>
                    <a:pt x="214" y="70"/>
                  </a:lnTo>
                  <a:lnTo>
                    <a:pt x="216" y="70"/>
                  </a:lnTo>
                  <a:lnTo>
                    <a:pt x="224" y="70"/>
                  </a:lnTo>
                  <a:lnTo>
                    <a:pt x="228" y="66"/>
                  </a:lnTo>
                  <a:lnTo>
                    <a:pt x="228" y="58"/>
                  </a:lnTo>
                  <a:lnTo>
                    <a:pt x="228" y="54"/>
                  </a:lnTo>
                  <a:lnTo>
                    <a:pt x="228" y="46"/>
                  </a:lnTo>
                  <a:lnTo>
                    <a:pt x="232" y="40"/>
                  </a:lnTo>
                  <a:lnTo>
                    <a:pt x="230" y="38"/>
                  </a:lnTo>
                  <a:lnTo>
                    <a:pt x="230" y="32"/>
                  </a:lnTo>
                  <a:lnTo>
                    <a:pt x="234" y="26"/>
                  </a:lnTo>
                  <a:lnTo>
                    <a:pt x="240" y="22"/>
                  </a:lnTo>
                  <a:lnTo>
                    <a:pt x="246" y="20"/>
                  </a:lnTo>
                  <a:lnTo>
                    <a:pt x="252" y="14"/>
                  </a:lnTo>
                  <a:lnTo>
                    <a:pt x="258" y="10"/>
                  </a:lnTo>
                  <a:lnTo>
                    <a:pt x="264" y="8"/>
                  </a:lnTo>
                  <a:lnTo>
                    <a:pt x="270" y="8"/>
                  </a:lnTo>
                  <a:lnTo>
                    <a:pt x="276" y="10"/>
                  </a:lnTo>
                  <a:lnTo>
                    <a:pt x="282" y="10"/>
                  </a:lnTo>
                  <a:lnTo>
                    <a:pt x="288" y="10"/>
                  </a:lnTo>
                  <a:lnTo>
                    <a:pt x="294" y="6"/>
                  </a:lnTo>
                  <a:lnTo>
                    <a:pt x="296" y="4"/>
                  </a:lnTo>
                  <a:lnTo>
                    <a:pt x="302" y="2"/>
                  </a:lnTo>
                  <a:lnTo>
                    <a:pt x="308" y="2"/>
                  </a:lnTo>
                  <a:lnTo>
                    <a:pt x="314" y="0"/>
                  </a:lnTo>
                  <a:lnTo>
                    <a:pt x="320" y="6"/>
                  </a:lnTo>
                  <a:lnTo>
                    <a:pt x="328" y="12"/>
                  </a:lnTo>
                  <a:lnTo>
                    <a:pt x="338" y="14"/>
                  </a:lnTo>
                  <a:lnTo>
                    <a:pt x="350" y="20"/>
                  </a:lnTo>
                  <a:lnTo>
                    <a:pt x="362" y="22"/>
                  </a:lnTo>
                  <a:lnTo>
                    <a:pt x="374" y="24"/>
                  </a:lnTo>
                  <a:lnTo>
                    <a:pt x="380" y="32"/>
                  </a:lnTo>
                  <a:lnTo>
                    <a:pt x="382" y="38"/>
                  </a:lnTo>
                  <a:lnTo>
                    <a:pt x="372" y="46"/>
                  </a:lnTo>
                  <a:lnTo>
                    <a:pt x="364" y="50"/>
                  </a:lnTo>
                  <a:lnTo>
                    <a:pt x="364" y="58"/>
                  </a:lnTo>
                  <a:lnTo>
                    <a:pt x="372" y="62"/>
                  </a:lnTo>
                  <a:lnTo>
                    <a:pt x="374" y="62"/>
                  </a:lnTo>
                  <a:lnTo>
                    <a:pt x="368" y="64"/>
                  </a:lnTo>
                  <a:lnTo>
                    <a:pt x="362" y="66"/>
                  </a:lnTo>
                  <a:lnTo>
                    <a:pt x="354" y="68"/>
                  </a:lnTo>
                  <a:lnTo>
                    <a:pt x="350" y="70"/>
                  </a:lnTo>
                  <a:lnTo>
                    <a:pt x="348" y="70"/>
                  </a:lnTo>
                  <a:lnTo>
                    <a:pt x="354" y="70"/>
                  </a:lnTo>
                  <a:lnTo>
                    <a:pt x="360" y="70"/>
                  </a:lnTo>
                  <a:lnTo>
                    <a:pt x="364" y="76"/>
                  </a:lnTo>
                  <a:lnTo>
                    <a:pt x="360" y="82"/>
                  </a:lnTo>
                  <a:lnTo>
                    <a:pt x="354" y="88"/>
                  </a:lnTo>
                  <a:lnTo>
                    <a:pt x="354" y="92"/>
                  </a:lnTo>
                  <a:lnTo>
                    <a:pt x="354" y="94"/>
                  </a:lnTo>
                  <a:lnTo>
                    <a:pt x="360" y="100"/>
                  </a:lnTo>
                  <a:lnTo>
                    <a:pt x="364" y="106"/>
                  </a:lnTo>
                  <a:lnTo>
                    <a:pt x="372" y="112"/>
                  </a:lnTo>
                  <a:lnTo>
                    <a:pt x="376" y="112"/>
                  </a:lnTo>
                  <a:lnTo>
                    <a:pt x="382" y="114"/>
                  </a:lnTo>
                  <a:lnTo>
                    <a:pt x="388" y="116"/>
                  </a:lnTo>
                  <a:lnTo>
                    <a:pt x="394" y="118"/>
                  </a:lnTo>
                  <a:lnTo>
                    <a:pt x="400" y="120"/>
                  </a:lnTo>
                  <a:lnTo>
                    <a:pt x="408" y="126"/>
                  </a:lnTo>
                  <a:lnTo>
                    <a:pt x="414" y="132"/>
                  </a:lnTo>
                  <a:lnTo>
                    <a:pt x="420" y="136"/>
                  </a:lnTo>
                  <a:lnTo>
                    <a:pt x="426" y="138"/>
                  </a:lnTo>
                  <a:lnTo>
                    <a:pt x="430" y="140"/>
                  </a:lnTo>
                  <a:lnTo>
                    <a:pt x="430" y="142"/>
                  </a:lnTo>
                  <a:lnTo>
                    <a:pt x="430" y="148"/>
                  </a:lnTo>
                  <a:lnTo>
                    <a:pt x="426" y="154"/>
                  </a:lnTo>
                  <a:lnTo>
                    <a:pt x="420" y="158"/>
                  </a:lnTo>
                  <a:lnTo>
                    <a:pt x="414" y="162"/>
                  </a:lnTo>
                  <a:lnTo>
                    <a:pt x="410" y="168"/>
                  </a:lnTo>
                  <a:lnTo>
                    <a:pt x="404" y="174"/>
                  </a:lnTo>
                  <a:lnTo>
                    <a:pt x="398" y="180"/>
                  </a:lnTo>
                  <a:lnTo>
                    <a:pt x="396" y="184"/>
                  </a:lnTo>
                  <a:lnTo>
                    <a:pt x="398" y="190"/>
                  </a:lnTo>
                  <a:lnTo>
                    <a:pt x="404" y="196"/>
                  </a:lnTo>
                  <a:lnTo>
                    <a:pt x="410" y="200"/>
                  </a:lnTo>
                  <a:lnTo>
                    <a:pt x="414" y="204"/>
                  </a:lnTo>
                  <a:lnTo>
                    <a:pt x="418" y="210"/>
                  </a:lnTo>
                  <a:lnTo>
                    <a:pt x="422" y="214"/>
                  </a:lnTo>
                  <a:lnTo>
                    <a:pt x="426" y="220"/>
                  </a:lnTo>
                  <a:lnTo>
                    <a:pt x="432" y="226"/>
                  </a:lnTo>
                  <a:lnTo>
                    <a:pt x="438" y="232"/>
                  </a:lnTo>
                  <a:lnTo>
                    <a:pt x="444" y="238"/>
                  </a:lnTo>
                  <a:lnTo>
                    <a:pt x="446" y="244"/>
                  </a:lnTo>
                  <a:lnTo>
                    <a:pt x="448" y="244"/>
                  </a:lnTo>
                  <a:lnTo>
                    <a:pt x="452" y="250"/>
                  </a:lnTo>
                  <a:lnTo>
                    <a:pt x="454" y="254"/>
                  </a:lnTo>
                  <a:lnTo>
                    <a:pt x="456" y="260"/>
                  </a:lnTo>
                  <a:lnTo>
                    <a:pt x="450" y="260"/>
                  </a:lnTo>
                  <a:lnTo>
                    <a:pt x="444" y="262"/>
                  </a:lnTo>
                  <a:lnTo>
                    <a:pt x="438" y="264"/>
                  </a:lnTo>
                  <a:lnTo>
                    <a:pt x="444" y="266"/>
                  </a:lnTo>
                  <a:lnTo>
                    <a:pt x="440" y="272"/>
                  </a:lnTo>
                  <a:lnTo>
                    <a:pt x="442" y="278"/>
                  </a:lnTo>
                  <a:lnTo>
                    <a:pt x="438" y="284"/>
                  </a:lnTo>
                  <a:lnTo>
                    <a:pt x="440" y="288"/>
                  </a:lnTo>
                  <a:lnTo>
                    <a:pt x="444" y="288"/>
                  </a:lnTo>
                  <a:lnTo>
                    <a:pt x="450" y="294"/>
                  </a:lnTo>
                  <a:lnTo>
                    <a:pt x="444" y="296"/>
                  </a:lnTo>
                  <a:lnTo>
                    <a:pt x="440" y="302"/>
                  </a:lnTo>
                  <a:lnTo>
                    <a:pt x="442" y="308"/>
                  </a:lnTo>
                  <a:lnTo>
                    <a:pt x="448" y="314"/>
                  </a:lnTo>
                  <a:lnTo>
                    <a:pt x="454" y="316"/>
                  </a:lnTo>
                  <a:lnTo>
                    <a:pt x="460" y="314"/>
                  </a:lnTo>
                  <a:lnTo>
                    <a:pt x="464" y="316"/>
                  </a:lnTo>
                  <a:lnTo>
                    <a:pt x="470" y="322"/>
                  </a:lnTo>
                  <a:lnTo>
                    <a:pt x="462" y="326"/>
                  </a:lnTo>
                  <a:lnTo>
                    <a:pt x="460" y="328"/>
                  </a:lnTo>
                  <a:lnTo>
                    <a:pt x="462" y="332"/>
                  </a:lnTo>
                  <a:lnTo>
                    <a:pt x="466" y="338"/>
                  </a:lnTo>
                  <a:lnTo>
                    <a:pt x="472" y="342"/>
                  </a:lnTo>
                  <a:lnTo>
                    <a:pt x="478" y="342"/>
                  </a:lnTo>
                  <a:lnTo>
                    <a:pt x="484" y="346"/>
                  </a:lnTo>
                  <a:lnTo>
                    <a:pt x="490" y="348"/>
                  </a:lnTo>
                  <a:lnTo>
                    <a:pt x="492" y="354"/>
                  </a:lnTo>
                  <a:lnTo>
                    <a:pt x="494" y="360"/>
                  </a:lnTo>
                  <a:lnTo>
                    <a:pt x="490" y="366"/>
                  </a:lnTo>
                  <a:lnTo>
                    <a:pt x="484" y="370"/>
                  </a:lnTo>
                  <a:lnTo>
                    <a:pt x="478" y="376"/>
                  </a:lnTo>
                  <a:lnTo>
                    <a:pt x="472" y="378"/>
                  </a:lnTo>
                  <a:lnTo>
                    <a:pt x="470" y="380"/>
                  </a:lnTo>
                  <a:lnTo>
                    <a:pt x="476" y="384"/>
                  </a:lnTo>
                  <a:lnTo>
                    <a:pt x="482" y="388"/>
                  </a:lnTo>
                  <a:lnTo>
                    <a:pt x="484" y="390"/>
                  </a:lnTo>
                  <a:lnTo>
                    <a:pt x="490" y="392"/>
                  </a:lnTo>
                  <a:lnTo>
                    <a:pt x="496" y="396"/>
                  </a:lnTo>
                  <a:lnTo>
                    <a:pt x="502" y="398"/>
                  </a:lnTo>
                  <a:lnTo>
                    <a:pt x="508" y="400"/>
                  </a:lnTo>
                  <a:lnTo>
                    <a:pt x="514" y="402"/>
                  </a:lnTo>
                  <a:lnTo>
                    <a:pt x="520" y="406"/>
                  </a:lnTo>
                  <a:lnTo>
                    <a:pt x="526" y="410"/>
                  </a:lnTo>
                  <a:lnTo>
                    <a:pt x="532" y="412"/>
                  </a:lnTo>
                  <a:lnTo>
                    <a:pt x="536" y="418"/>
                  </a:lnTo>
                  <a:lnTo>
                    <a:pt x="542" y="422"/>
                  </a:lnTo>
                  <a:lnTo>
                    <a:pt x="548" y="426"/>
                  </a:lnTo>
                  <a:lnTo>
                    <a:pt x="552" y="430"/>
                  </a:lnTo>
                  <a:lnTo>
                    <a:pt x="548" y="436"/>
                  </a:lnTo>
                  <a:lnTo>
                    <a:pt x="546" y="442"/>
                  </a:lnTo>
                  <a:lnTo>
                    <a:pt x="544" y="448"/>
                  </a:lnTo>
                  <a:lnTo>
                    <a:pt x="542" y="454"/>
                  </a:lnTo>
                  <a:lnTo>
                    <a:pt x="536" y="460"/>
                  </a:lnTo>
                  <a:lnTo>
                    <a:pt x="530" y="464"/>
                  </a:lnTo>
                  <a:lnTo>
                    <a:pt x="524" y="470"/>
                  </a:lnTo>
                  <a:lnTo>
                    <a:pt x="518" y="474"/>
                  </a:lnTo>
                  <a:lnTo>
                    <a:pt x="514" y="478"/>
                  </a:lnTo>
                  <a:lnTo>
                    <a:pt x="508" y="484"/>
                  </a:lnTo>
                  <a:lnTo>
                    <a:pt x="504" y="488"/>
                  </a:lnTo>
                  <a:lnTo>
                    <a:pt x="498" y="494"/>
                  </a:lnTo>
                  <a:lnTo>
                    <a:pt x="494" y="496"/>
                  </a:lnTo>
                  <a:lnTo>
                    <a:pt x="490" y="502"/>
                  </a:lnTo>
                  <a:lnTo>
                    <a:pt x="488" y="504"/>
                  </a:lnTo>
                  <a:lnTo>
                    <a:pt x="482" y="508"/>
                  </a:lnTo>
                  <a:lnTo>
                    <a:pt x="478" y="514"/>
                  </a:lnTo>
                  <a:lnTo>
                    <a:pt x="472" y="518"/>
                  </a:lnTo>
                  <a:lnTo>
                    <a:pt x="470" y="520"/>
                  </a:lnTo>
                  <a:lnTo>
                    <a:pt x="468" y="520"/>
                  </a:lnTo>
                  <a:lnTo>
                    <a:pt x="468" y="522"/>
                  </a:lnTo>
                  <a:lnTo>
                    <a:pt x="462" y="528"/>
                  </a:lnTo>
                  <a:lnTo>
                    <a:pt x="458" y="532"/>
                  </a:lnTo>
                  <a:lnTo>
                    <a:pt x="452" y="536"/>
                  </a:lnTo>
                  <a:lnTo>
                    <a:pt x="446" y="538"/>
                  </a:lnTo>
                  <a:lnTo>
                    <a:pt x="440" y="542"/>
                  </a:lnTo>
                  <a:lnTo>
                    <a:pt x="438" y="544"/>
                  </a:lnTo>
                  <a:lnTo>
                    <a:pt x="432" y="548"/>
                  </a:lnTo>
                  <a:lnTo>
                    <a:pt x="426" y="552"/>
                  </a:lnTo>
                  <a:lnTo>
                    <a:pt x="424" y="554"/>
                  </a:lnTo>
                  <a:lnTo>
                    <a:pt x="418" y="558"/>
                  </a:lnTo>
                  <a:lnTo>
                    <a:pt x="416" y="558"/>
                  </a:lnTo>
                  <a:lnTo>
                    <a:pt x="410" y="564"/>
                  </a:lnTo>
                  <a:lnTo>
                    <a:pt x="408" y="566"/>
                  </a:lnTo>
                  <a:lnTo>
                    <a:pt x="402" y="572"/>
                  </a:lnTo>
                  <a:lnTo>
                    <a:pt x="396" y="576"/>
                  </a:lnTo>
                  <a:lnTo>
                    <a:pt x="392" y="578"/>
                  </a:lnTo>
                  <a:lnTo>
                    <a:pt x="392" y="582"/>
                  </a:lnTo>
                  <a:lnTo>
                    <a:pt x="386" y="584"/>
                  </a:lnTo>
                  <a:lnTo>
                    <a:pt x="380" y="582"/>
                  </a:lnTo>
                  <a:lnTo>
                    <a:pt x="374" y="582"/>
                  </a:lnTo>
                  <a:lnTo>
                    <a:pt x="368" y="580"/>
                  </a:lnTo>
                  <a:lnTo>
                    <a:pt x="364" y="578"/>
                  </a:lnTo>
                  <a:lnTo>
                    <a:pt x="356" y="580"/>
                  </a:lnTo>
                  <a:lnTo>
                    <a:pt x="350" y="584"/>
                  </a:lnTo>
                  <a:lnTo>
                    <a:pt x="344" y="584"/>
                  </a:lnTo>
                  <a:lnTo>
                    <a:pt x="338" y="586"/>
                  </a:lnTo>
                  <a:lnTo>
                    <a:pt x="334" y="586"/>
                  </a:lnTo>
                  <a:lnTo>
                    <a:pt x="330" y="584"/>
                  </a:lnTo>
                  <a:lnTo>
                    <a:pt x="328" y="586"/>
                  </a:lnTo>
                  <a:lnTo>
                    <a:pt x="322" y="590"/>
                  </a:lnTo>
                  <a:lnTo>
                    <a:pt x="316" y="588"/>
                  </a:lnTo>
                  <a:lnTo>
                    <a:pt x="310" y="586"/>
                  </a:lnTo>
                  <a:lnTo>
                    <a:pt x="304" y="584"/>
                  </a:lnTo>
                  <a:lnTo>
                    <a:pt x="308" y="590"/>
                  </a:lnTo>
                  <a:lnTo>
                    <a:pt x="302" y="592"/>
                  </a:lnTo>
                  <a:lnTo>
                    <a:pt x="304" y="598"/>
                  </a:lnTo>
                  <a:lnTo>
                    <a:pt x="298" y="598"/>
                  </a:lnTo>
                  <a:lnTo>
                    <a:pt x="292" y="596"/>
                  </a:lnTo>
                  <a:lnTo>
                    <a:pt x="292" y="590"/>
                  </a:lnTo>
                  <a:lnTo>
                    <a:pt x="290" y="592"/>
                  </a:lnTo>
                  <a:lnTo>
                    <a:pt x="282" y="596"/>
                  </a:lnTo>
                  <a:lnTo>
                    <a:pt x="278" y="596"/>
                  </a:lnTo>
                  <a:lnTo>
                    <a:pt x="270" y="596"/>
                  </a:lnTo>
                  <a:lnTo>
                    <a:pt x="266" y="600"/>
                  </a:lnTo>
                  <a:lnTo>
                    <a:pt x="260" y="600"/>
                  </a:lnTo>
                  <a:lnTo>
                    <a:pt x="254" y="602"/>
                  </a:lnTo>
                  <a:lnTo>
                    <a:pt x="248" y="604"/>
                  </a:lnTo>
                  <a:lnTo>
                    <a:pt x="242" y="604"/>
                  </a:lnTo>
                  <a:lnTo>
                    <a:pt x="240" y="604"/>
                  </a:lnTo>
                  <a:lnTo>
                    <a:pt x="238" y="610"/>
                  </a:lnTo>
                  <a:lnTo>
                    <a:pt x="236" y="612"/>
                  </a:lnTo>
                  <a:lnTo>
                    <a:pt x="232" y="612"/>
                  </a:lnTo>
                  <a:lnTo>
                    <a:pt x="228" y="612"/>
                  </a:lnTo>
                  <a:lnTo>
                    <a:pt x="226" y="610"/>
                  </a:lnTo>
                  <a:lnTo>
                    <a:pt x="220" y="610"/>
                  </a:lnTo>
                  <a:lnTo>
                    <a:pt x="214" y="612"/>
                  </a:lnTo>
                  <a:lnTo>
                    <a:pt x="208" y="612"/>
                  </a:lnTo>
                  <a:lnTo>
                    <a:pt x="206" y="612"/>
                  </a:lnTo>
                  <a:lnTo>
                    <a:pt x="200" y="616"/>
                  </a:lnTo>
                  <a:lnTo>
                    <a:pt x="194" y="616"/>
                  </a:lnTo>
                  <a:lnTo>
                    <a:pt x="188" y="618"/>
                  </a:lnTo>
                  <a:lnTo>
                    <a:pt x="182" y="618"/>
                  </a:lnTo>
                  <a:lnTo>
                    <a:pt x="188" y="614"/>
                  </a:lnTo>
                  <a:lnTo>
                    <a:pt x="188" y="612"/>
                  </a:lnTo>
                  <a:lnTo>
                    <a:pt x="186" y="612"/>
                  </a:lnTo>
                  <a:lnTo>
                    <a:pt x="186" y="614"/>
                  </a:lnTo>
                  <a:lnTo>
                    <a:pt x="178" y="618"/>
                  </a:lnTo>
                  <a:lnTo>
                    <a:pt x="172" y="624"/>
                  </a:lnTo>
                  <a:lnTo>
                    <a:pt x="168" y="624"/>
                  </a:lnTo>
                  <a:lnTo>
                    <a:pt x="160" y="626"/>
                  </a:lnTo>
                  <a:lnTo>
                    <a:pt x="168" y="622"/>
                  </a:lnTo>
                  <a:lnTo>
                    <a:pt x="172" y="620"/>
                  </a:lnTo>
                  <a:lnTo>
                    <a:pt x="172" y="612"/>
                  </a:lnTo>
                  <a:lnTo>
                    <a:pt x="170" y="612"/>
                  </a:lnTo>
                  <a:lnTo>
                    <a:pt x="176" y="610"/>
                  </a:lnTo>
                  <a:lnTo>
                    <a:pt x="170" y="610"/>
                  </a:lnTo>
                  <a:lnTo>
                    <a:pt x="164" y="608"/>
                  </a:lnTo>
                  <a:lnTo>
                    <a:pt x="164" y="606"/>
                  </a:lnTo>
                  <a:lnTo>
                    <a:pt x="158" y="602"/>
                  </a:lnTo>
                  <a:lnTo>
                    <a:pt x="160" y="596"/>
                  </a:lnTo>
                  <a:lnTo>
                    <a:pt x="166" y="590"/>
                  </a:lnTo>
                  <a:lnTo>
                    <a:pt x="160" y="592"/>
                  </a:lnTo>
                  <a:lnTo>
                    <a:pt x="154" y="596"/>
                  </a:lnTo>
                  <a:lnTo>
                    <a:pt x="148" y="598"/>
                  </a:lnTo>
                  <a:lnTo>
                    <a:pt x="142" y="598"/>
                  </a:lnTo>
                  <a:lnTo>
                    <a:pt x="138" y="594"/>
                  </a:lnTo>
                  <a:lnTo>
                    <a:pt x="140" y="588"/>
                  </a:lnTo>
                  <a:lnTo>
                    <a:pt x="134" y="588"/>
                  </a:lnTo>
                  <a:lnTo>
                    <a:pt x="126" y="588"/>
                  </a:lnTo>
                  <a:lnTo>
                    <a:pt x="120" y="586"/>
                  </a:lnTo>
                  <a:lnTo>
                    <a:pt x="114" y="584"/>
                  </a:lnTo>
                  <a:lnTo>
                    <a:pt x="110" y="580"/>
                  </a:lnTo>
                  <a:lnTo>
                    <a:pt x="104" y="580"/>
                  </a:lnTo>
                  <a:lnTo>
                    <a:pt x="104" y="574"/>
                  </a:lnTo>
                  <a:lnTo>
                    <a:pt x="98" y="574"/>
                  </a:lnTo>
                  <a:lnTo>
                    <a:pt x="96" y="574"/>
                  </a:lnTo>
                  <a:lnTo>
                    <a:pt x="96" y="580"/>
                  </a:lnTo>
                  <a:lnTo>
                    <a:pt x="90" y="578"/>
                  </a:lnTo>
                  <a:lnTo>
                    <a:pt x="92" y="576"/>
                  </a:lnTo>
                  <a:lnTo>
                    <a:pt x="90" y="576"/>
                  </a:lnTo>
                  <a:lnTo>
                    <a:pt x="84" y="574"/>
                  </a:lnTo>
                  <a:lnTo>
                    <a:pt x="86" y="568"/>
                  </a:lnTo>
                  <a:lnTo>
                    <a:pt x="80" y="562"/>
                  </a:lnTo>
                  <a:lnTo>
                    <a:pt x="82" y="556"/>
                  </a:lnTo>
                  <a:lnTo>
                    <a:pt x="80" y="550"/>
                  </a:lnTo>
                  <a:lnTo>
                    <a:pt x="76" y="544"/>
                  </a:lnTo>
                  <a:lnTo>
                    <a:pt x="84" y="544"/>
                  </a:lnTo>
                  <a:lnTo>
                    <a:pt x="84" y="538"/>
                  </a:lnTo>
                  <a:lnTo>
                    <a:pt x="86" y="532"/>
                  </a:lnTo>
                  <a:lnTo>
                    <a:pt x="84" y="526"/>
                  </a:lnTo>
                  <a:lnTo>
                    <a:pt x="82" y="520"/>
                  </a:lnTo>
                  <a:lnTo>
                    <a:pt x="84" y="514"/>
                  </a:lnTo>
                  <a:lnTo>
                    <a:pt x="86" y="514"/>
                  </a:lnTo>
                  <a:lnTo>
                    <a:pt x="92" y="516"/>
                  </a:lnTo>
                  <a:lnTo>
                    <a:pt x="88" y="512"/>
                  </a:lnTo>
                  <a:lnTo>
                    <a:pt x="86" y="504"/>
                  </a:lnTo>
                  <a:lnTo>
                    <a:pt x="80" y="498"/>
                  </a:lnTo>
                  <a:lnTo>
                    <a:pt x="76" y="494"/>
                  </a:lnTo>
                  <a:lnTo>
                    <a:pt x="72" y="490"/>
                  </a:lnTo>
                  <a:lnTo>
                    <a:pt x="70" y="488"/>
                  </a:lnTo>
                  <a:lnTo>
                    <a:pt x="72" y="482"/>
                  </a:lnTo>
                  <a:lnTo>
                    <a:pt x="72" y="476"/>
                  </a:lnTo>
                  <a:lnTo>
                    <a:pt x="74" y="470"/>
                  </a:lnTo>
                  <a:lnTo>
                    <a:pt x="72" y="468"/>
                  </a:lnTo>
                  <a:lnTo>
                    <a:pt x="68" y="462"/>
                  </a:lnTo>
                  <a:lnTo>
                    <a:pt x="66" y="462"/>
                  </a:lnTo>
                  <a:lnTo>
                    <a:pt x="60" y="456"/>
                  </a:lnTo>
                  <a:lnTo>
                    <a:pt x="62" y="450"/>
                  </a:lnTo>
                  <a:lnTo>
                    <a:pt x="58" y="448"/>
                  </a:lnTo>
                  <a:lnTo>
                    <a:pt x="62" y="442"/>
                  </a:lnTo>
                  <a:lnTo>
                    <a:pt x="62" y="436"/>
                  </a:lnTo>
                  <a:lnTo>
                    <a:pt x="68" y="434"/>
                  </a:lnTo>
                  <a:lnTo>
                    <a:pt x="74" y="428"/>
                  </a:lnTo>
                  <a:lnTo>
                    <a:pt x="76" y="422"/>
                  </a:lnTo>
                  <a:lnTo>
                    <a:pt x="82" y="422"/>
                  </a:lnTo>
                  <a:lnTo>
                    <a:pt x="76" y="418"/>
                  </a:lnTo>
                  <a:lnTo>
                    <a:pt x="76" y="410"/>
                  </a:lnTo>
                  <a:lnTo>
                    <a:pt x="76" y="408"/>
                  </a:lnTo>
                  <a:lnTo>
                    <a:pt x="84" y="412"/>
                  </a:lnTo>
                  <a:lnTo>
                    <a:pt x="88" y="412"/>
                  </a:lnTo>
                  <a:lnTo>
                    <a:pt x="94" y="410"/>
                  </a:lnTo>
                  <a:lnTo>
                    <a:pt x="94" y="412"/>
                  </a:lnTo>
                  <a:lnTo>
                    <a:pt x="100" y="410"/>
                  </a:lnTo>
                  <a:lnTo>
                    <a:pt x="106" y="410"/>
                  </a:lnTo>
                  <a:lnTo>
                    <a:pt x="112" y="406"/>
                  </a:lnTo>
                  <a:lnTo>
                    <a:pt x="116" y="406"/>
                  </a:lnTo>
                  <a:lnTo>
                    <a:pt x="112" y="402"/>
                  </a:lnTo>
                  <a:lnTo>
                    <a:pt x="110" y="396"/>
                  </a:lnTo>
                  <a:lnTo>
                    <a:pt x="116" y="398"/>
                  </a:lnTo>
                  <a:lnTo>
                    <a:pt x="110" y="392"/>
                  </a:lnTo>
                  <a:lnTo>
                    <a:pt x="116" y="396"/>
                  </a:lnTo>
                  <a:lnTo>
                    <a:pt x="118" y="390"/>
                  </a:lnTo>
                  <a:lnTo>
                    <a:pt x="122" y="384"/>
                  </a:lnTo>
                  <a:lnTo>
                    <a:pt x="126" y="382"/>
                  </a:lnTo>
                  <a:lnTo>
                    <a:pt x="134" y="386"/>
                  </a:lnTo>
                  <a:lnTo>
                    <a:pt x="134" y="380"/>
                  </a:lnTo>
                  <a:lnTo>
                    <a:pt x="140" y="378"/>
                  </a:lnTo>
                  <a:lnTo>
                    <a:pt x="144" y="372"/>
                  </a:lnTo>
                  <a:lnTo>
                    <a:pt x="148" y="372"/>
                  </a:lnTo>
                  <a:lnTo>
                    <a:pt x="152" y="370"/>
                  </a:lnTo>
                  <a:lnTo>
                    <a:pt x="160" y="368"/>
                  </a:lnTo>
                  <a:lnTo>
                    <a:pt x="158" y="362"/>
                  </a:lnTo>
                  <a:lnTo>
                    <a:pt x="164" y="360"/>
                  </a:lnTo>
                  <a:lnTo>
                    <a:pt x="168" y="360"/>
                  </a:lnTo>
                  <a:lnTo>
                    <a:pt x="170" y="354"/>
                  </a:lnTo>
                  <a:lnTo>
                    <a:pt x="172" y="354"/>
                  </a:lnTo>
                  <a:lnTo>
                    <a:pt x="176" y="348"/>
                  </a:lnTo>
                  <a:lnTo>
                    <a:pt x="184" y="342"/>
                  </a:lnTo>
                  <a:lnTo>
                    <a:pt x="188" y="338"/>
                  </a:lnTo>
                  <a:lnTo>
                    <a:pt x="194" y="334"/>
                  </a:lnTo>
                  <a:lnTo>
                    <a:pt x="200" y="330"/>
                  </a:lnTo>
                  <a:lnTo>
                    <a:pt x="200" y="324"/>
                  </a:lnTo>
                  <a:lnTo>
                    <a:pt x="208" y="318"/>
                  </a:lnTo>
                  <a:lnTo>
                    <a:pt x="212" y="312"/>
                  </a:lnTo>
                  <a:lnTo>
                    <a:pt x="218" y="310"/>
                  </a:lnTo>
                  <a:lnTo>
                    <a:pt x="226" y="310"/>
                  </a:lnTo>
                  <a:lnTo>
                    <a:pt x="226" y="308"/>
                  </a:lnTo>
                  <a:lnTo>
                    <a:pt x="232" y="308"/>
                  </a:lnTo>
                  <a:lnTo>
                    <a:pt x="238" y="312"/>
                  </a:lnTo>
                  <a:lnTo>
                    <a:pt x="244" y="312"/>
                  </a:lnTo>
                  <a:lnTo>
                    <a:pt x="240" y="308"/>
                  </a:lnTo>
                  <a:lnTo>
                    <a:pt x="244" y="304"/>
                  </a:lnTo>
                  <a:lnTo>
                    <a:pt x="246" y="302"/>
                  </a:lnTo>
                  <a:lnTo>
                    <a:pt x="248" y="302"/>
                  </a:lnTo>
                  <a:lnTo>
                    <a:pt x="240" y="296"/>
                  </a:lnTo>
                  <a:lnTo>
                    <a:pt x="236" y="294"/>
                  </a:lnTo>
                  <a:lnTo>
                    <a:pt x="238" y="288"/>
                  </a:lnTo>
                  <a:lnTo>
                    <a:pt x="236" y="282"/>
                  </a:lnTo>
                  <a:lnTo>
                    <a:pt x="238" y="278"/>
                  </a:lnTo>
                  <a:lnTo>
                    <a:pt x="234" y="272"/>
                  </a:lnTo>
                  <a:lnTo>
                    <a:pt x="228" y="270"/>
                  </a:lnTo>
                  <a:lnTo>
                    <a:pt x="226" y="268"/>
                  </a:lnTo>
                  <a:lnTo>
                    <a:pt x="220" y="266"/>
                  </a:lnTo>
                  <a:lnTo>
                    <a:pt x="214" y="262"/>
                  </a:lnTo>
                  <a:lnTo>
                    <a:pt x="208" y="264"/>
                  </a:lnTo>
                  <a:lnTo>
                    <a:pt x="202" y="260"/>
                  </a:lnTo>
                  <a:lnTo>
                    <a:pt x="200" y="256"/>
                  </a:lnTo>
                  <a:lnTo>
                    <a:pt x="200" y="254"/>
                  </a:lnTo>
                  <a:lnTo>
                    <a:pt x="198" y="256"/>
                  </a:lnTo>
                  <a:lnTo>
                    <a:pt x="192" y="256"/>
                  </a:lnTo>
                  <a:lnTo>
                    <a:pt x="186" y="254"/>
                  </a:lnTo>
                  <a:lnTo>
                    <a:pt x="182" y="254"/>
                  </a:lnTo>
                  <a:lnTo>
                    <a:pt x="182" y="252"/>
                  </a:lnTo>
                  <a:lnTo>
                    <a:pt x="180" y="252"/>
                  </a:lnTo>
                  <a:lnTo>
                    <a:pt x="178" y="246"/>
                  </a:lnTo>
                  <a:lnTo>
                    <a:pt x="172" y="240"/>
                  </a:lnTo>
                  <a:lnTo>
                    <a:pt x="168" y="234"/>
                  </a:lnTo>
                  <a:lnTo>
                    <a:pt x="162" y="230"/>
                  </a:lnTo>
                  <a:lnTo>
                    <a:pt x="156" y="224"/>
                  </a:lnTo>
                  <a:lnTo>
                    <a:pt x="156" y="218"/>
                  </a:lnTo>
                  <a:lnTo>
                    <a:pt x="158" y="212"/>
                  </a:lnTo>
                  <a:lnTo>
                    <a:pt x="162" y="206"/>
                  </a:lnTo>
                  <a:lnTo>
                    <a:pt x="162" y="200"/>
                  </a:lnTo>
                  <a:lnTo>
                    <a:pt x="166" y="192"/>
                  </a:lnTo>
                  <a:lnTo>
                    <a:pt x="164" y="190"/>
                  </a:lnTo>
                  <a:lnTo>
                    <a:pt x="156" y="182"/>
                  </a:lnTo>
                  <a:lnTo>
                    <a:pt x="150" y="176"/>
                  </a:lnTo>
                  <a:lnTo>
                    <a:pt x="144" y="172"/>
                  </a:lnTo>
                  <a:lnTo>
                    <a:pt x="148" y="166"/>
                  </a:lnTo>
                  <a:lnTo>
                    <a:pt x="152" y="162"/>
                  </a:lnTo>
                  <a:lnTo>
                    <a:pt x="152" y="156"/>
                  </a:lnTo>
                  <a:lnTo>
                    <a:pt x="146" y="156"/>
                  </a:lnTo>
                  <a:lnTo>
                    <a:pt x="140" y="156"/>
                  </a:lnTo>
                  <a:lnTo>
                    <a:pt x="138" y="148"/>
                  </a:lnTo>
                  <a:lnTo>
                    <a:pt x="138" y="142"/>
                  </a:lnTo>
                  <a:lnTo>
                    <a:pt x="138" y="138"/>
                  </a:lnTo>
                  <a:lnTo>
                    <a:pt x="136" y="130"/>
                  </a:lnTo>
                  <a:lnTo>
                    <a:pt x="144" y="128"/>
                  </a:lnTo>
                  <a:lnTo>
                    <a:pt x="144" y="126"/>
                  </a:lnTo>
                  <a:lnTo>
                    <a:pt x="138" y="122"/>
                  </a:lnTo>
                  <a:lnTo>
                    <a:pt x="132" y="120"/>
                  </a:lnTo>
                  <a:lnTo>
                    <a:pt x="126" y="114"/>
                  </a:lnTo>
                  <a:lnTo>
                    <a:pt x="120" y="114"/>
                  </a:lnTo>
                  <a:lnTo>
                    <a:pt x="118" y="108"/>
                  </a:lnTo>
                  <a:lnTo>
                    <a:pt x="112" y="104"/>
                  </a:lnTo>
                  <a:lnTo>
                    <a:pt x="104" y="100"/>
                  </a:lnTo>
                  <a:lnTo>
                    <a:pt x="98" y="100"/>
                  </a:lnTo>
                  <a:lnTo>
                    <a:pt x="92" y="98"/>
                  </a:lnTo>
                  <a:lnTo>
                    <a:pt x="88" y="96"/>
                  </a:lnTo>
                  <a:lnTo>
                    <a:pt x="82" y="96"/>
                  </a:lnTo>
                  <a:lnTo>
                    <a:pt x="78" y="94"/>
                  </a:lnTo>
                  <a:lnTo>
                    <a:pt x="72" y="94"/>
                  </a:lnTo>
                  <a:lnTo>
                    <a:pt x="66" y="90"/>
                  </a:lnTo>
                  <a:lnTo>
                    <a:pt x="58" y="88"/>
                  </a:lnTo>
                  <a:lnTo>
                    <a:pt x="52" y="84"/>
                  </a:lnTo>
                  <a:lnTo>
                    <a:pt x="46" y="84"/>
                  </a:lnTo>
                  <a:lnTo>
                    <a:pt x="40" y="80"/>
                  </a:lnTo>
                  <a:lnTo>
                    <a:pt x="32" y="76"/>
                  </a:lnTo>
                  <a:lnTo>
                    <a:pt x="28" y="74"/>
                  </a:lnTo>
                  <a:lnTo>
                    <a:pt x="20" y="70"/>
                  </a:lnTo>
                  <a:lnTo>
                    <a:pt x="14" y="68"/>
                  </a:lnTo>
                  <a:lnTo>
                    <a:pt x="12" y="64"/>
                  </a:lnTo>
                  <a:lnTo>
                    <a:pt x="8" y="62"/>
                  </a:lnTo>
                  <a:lnTo>
                    <a:pt x="0" y="6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7" name="Freeform 34"/>
            <p:cNvSpPr>
              <a:spLocks/>
            </p:cNvSpPr>
            <p:nvPr/>
          </p:nvSpPr>
          <p:spPr bwMode="auto">
            <a:xfrm>
              <a:off x="4691063" y="3033713"/>
              <a:ext cx="41275" cy="82550"/>
            </a:xfrm>
            <a:custGeom>
              <a:avLst/>
              <a:gdLst>
                <a:gd name="T0" fmla="*/ 2147483647 w 100"/>
                <a:gd name="T1" fmla="*/ 2147483647 h 204"/>
                <a:gd name="T2" fmla="*/ 2147483647 w 100"/>
                <a:gd name="T3" fmla="*/ 2147483647 h 204"/>
                <a:gd name="T4" fmla="*/ 2147483647 w 100"/>
                <a:gd name="T5" fmla="*/ 2147483647 h 204"/>
                <a:gd name="T6" fmla="*/ 2147483647 w 100"/>
                <a:gd name="T7" fmla="*/ 2147483647 h 204"/>
                <a:gd name="T8" fmla="*/ 2147483647 w 100"/>
                <a:gd name="T9" fmla="*/ 2147483647 h 204"/>
                <a:gd name="T10" fmla="*/ 2147483647 w 100"/>
                <a:gd name="T11" fmla="*/ 2147483647 h 204"/>
                <a:gd name="T12" fmla="*/ 2147483647 w 100"/>
                <a:gd name="T13" fmla="*/ 2147483647 h 204"/>
                <a:gd name="T14" fmla="*/ 2147483647 w 100"/>
                <a:gd name="T15" fmla="*/ 2147483647 h 204"/>
                <a:gd name="T16" fmla="*/ 2147483647 w 100"/>
                <a:gd name="T17" fmla="*/ 2147483647 h 204"/>
                <a:gd name="T18" fmla="*/ 2147483647 w 100"/>
                <a:gd name="T19" fmla="*/ 2147483647 h 204"/>
                <a:gd name="T20" fmla="*/ 2147483647 w 100"/>
                <a:gd name="T21" fmla="*/ 0 h 204"/>
                <a:gd name="T22" fmla="*/ 2147483647 w 100"/>
                <a:gd name="T23" fmla="*/ 2147483647 h 204"/>
                <a:gd name="T24" fmla="*/ 2147483647 w 100"/>
                <a:gd name="T25" fmla="*/ 2147483647 h 204"/>
                <a:gd name="T26" fmla="*/ 2147483647 w 100"/>
                <a:gd name="T27" fmla="*/ 2147483647 h 204"/>
                <a:gd name="T28" fmla="*/ 2147483647 w 100"/>
                <a:gd name="T29" fmla="*/ 2147483647 h 204"/>
                <a:gd name="T30" fmla="*/ 2147483647 w 100"/>
                <a:gd name="T31" fmla="*/ 2147483647 h 204"/>
                <a:gd name="T32" fmla="*/ 2147483647 w 100"/>
                <a:gd name="T33" fmla="*/ 2147483647 h 204"/>
                <a:gd name="T34" fmla="*/ 2147483647 w 100"/>
                <a:gd name="T35" fmla="*/ 2147483647 h 204"/>
                <a:gd name="T36" fmla="*/ 2147483647 w 100"/>
                <a:gd name="T37" fmla="*/ 2147483647 h 204"/>
                <a:gd name="T38" fmla="*/ 2147483647 w 100"/>
                <a:gd name="T39" fmla="*/ 2147483647 h 204"/>
                <a:gd name="T40" fmla="*/ 2147483647 w 100"/>
                <a:gd name="T41" fmla="*/ 2147483647 h 204"/>
                <a:gd name="T42" fmla="*/ 2147483647 w 100"/>
                <a:gd name="T43" fmla="*/ 2147483647 h 204"/>
                <a:gd name="T44" fmla="*/ 2147483647 w 100"/>
                <a:gd name="T45" fmla="*/ 2147483647 h 204"/>
                <a:gd name="T46" fmla="*/ 2147483647 w 100"/>
                <a:gd name="T47" fmla="*/ 2147483647 h 204"/>
                <a:gd name="T48" fmla="*/ 2147483647 w 100"/>
                <a:gd name="T49" fmla="*/ 2147483647 h 204"/>
                <a:gd name="T50" fmla="*/ 2147483647 w 100"/>
                <a:gd name="T51" fmla="*/ 2147483647 h 204"/>
                <a:gd name="T52" fmla="*/ 2147483647 w 100"/>
                <a:gd name="T53" fmla="*/ 2147483647 h 204"/>
                <a:gd name="T54" fmla="*/ 2147483647 w 100"/>
                <a:gd name="T55" fmla="*/ 2147483647 h 204"/>
                <a:gd name="T56" fmla="*/ 2147483647 w 100"/>
                <a:gd name="T57" fmla="*/ 2147483647 h 204"/>
                <a:gd name="T58" fmla="*/ 2147483647 w 100"/>
                <a:gd name="T59" fmla="*/ 2147483647 h 204"/>
                <a:gd name="T60" fmla="*/ 2147483647 w 100"/>
                <a:gd name="T61" fmla="*/ 2147483647 h 204"/>
                <a:gd name="T62" fmla="*/ 2147483647 w 100"/>
                <a:gd name="T63" fmla="*/ 2147483647 h 204"/>
                <a:gd name="T64" fmla="*/ 2147483647 w 100"/>
                <a:gd name="T65" fmla="*/ 2147483647 h 204"/>
                <a:gd name="T66" fmla="*/ 2147483647 w 100"/>
                <a:gd name="T67" fmla="*/ 2147483647 h 204"/>
                <a:gd name="T68" fmla="*/ 2147483647 w 100"/>
                <a:gd name="T69" fmla="*/ 2147483647 h 204"/>
                <a:gd name="T70" fmla="*/ 2147483647 w 100"/>
                <a:gd name="T71" fmla="*/ 2147483647 h 204"/>
                <a:gd name="T72" fmla="*/ 2147483647 w 100"/>
                <a:gd name="T73" fmla="*/ 2147483647 h 204"/>
                <a:gd name="T74" fmla="*/ 2147483647 w 100"/>
                <a:gd name="T75" fmla="*/ 2147483647 h 204"/>
                <a:gd name="T76" fmla="*/ 2147483647 w 100"/>
                <a:gd name="T77" fmla="*/ 2147483647 h 204"/>
                <a:gd name="T78" fmla="*/ 2147483647 w 100"/>
                <a:gd name="T79" fmla="*/ 2147483647 h 204"/>
                <a:gd name="T80" fmla="*/ 2147483647 w 100"/>
                <a:gd name="T81" fmla="*/ 2147483647 h 204"/>
                <a:gd name="T82" fmla="*/ 2147483647 w 100"/>
                <a:gd name="T83" fmla="*/ 2147483647 h 20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00"/>
                <a:gd name="T127" fmla="*/ 0 h 204"/>
                <a:gd name="T128" fmla="*/ 100 w 100"/>
                <a:gd name="T129" fmla="*/ 204 h 20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00" h="204">
                  <a:moveTo>
                    <a:pt x="2" y="136"/>
                  </a:moveTo>
                  <a:lnTo>
                    <a:pt x="6" y="130"/>
                  </a:lnTo>
                  <a:lnTo>
                    <a:pt x="8" y="124"/>
                  </a:lnTo>
                  <a:lnTo>
                    <a:pt x="6" y="118"/>
                  </a:lnTo>
                  <a:lnTo>
                    <a:pt x="10" y="120"/>
                  </a:lnTo>
                  <a:lnTo>
                    <a:pt x="14" y="114"/>
                  </a:lnTo>
                  <a:lnTo>
                    <a:pt x="10" y="110"/>
                  </a:lnTo>
                  <a:lnTo>
                    <a:pt x="10" y="104"/>
                  </a:lnTo>
                  <a:lnTo>
                    <a:pt x="10" y="98"/>
                  </a:lnTo>
                  <a:lnTo>
                    <a:pt x="12" y="92"/>
                  </a:lnTo>
                  <a:lnTo>
                    <a:pt x="6" y="86"/>
                  </a:lnTo>
                  <a:lnTo>
                    <a:pt x="10" y="80"/>
                  </a:lnTo>
                  <a:lnTo>
                    <a:pt x="12" y="74"/>
                  </a:lnTo>
                  <a:lnTo>
                    <a:pt x="14" y="72"/>
                  </a:lnTo>
                  <a:lnTo>
                    <a:pt x="14" y="66"/>
                  </a:lnTo>
                  <a:lnTo>
                    <a:pt x="14" y="60"/>
                  </a:lnTo>
                  <a:lnTo>
                    <a:pt x="12" y="54"/>
                  </a:lnTo>
                  <a:lnTo>
                    <a:pt x="6" y="52"/>
                  </a:lnTo>
                  <a:lnTo>
                    <a:pt x="2" y="54"/>
                  </a:lnTo>
                  <a:lnTo>
                    <a:pt x="2" y="52"/>
                  </a:lnTo>
                  <a:lnTo>
                    <a:pt x="2" y="50"/>
                  </a:lnTo>
                  <a:lnTo>
                    <a:pt x="4" y="42"/>
                  </a:lnTo>
                  <a:lnTo>
                    <a:pt x="2" y="40"/>
                  </a:lnTo>
                  <a:lnTo>
                    <a:pt x="2" y="38"/>
                  </a:lnTo>
                  <a:lnTo>
                    <a:pt x="0" y="32"/>
                  </a:lnTo>
                  <a:lnTo>
                    <a:pt x="0" y="26"/>
                  </a:lnTo>
                  <a:lnTo>
                    <a:pt x="4" y="20"/>
                  </a:lnTo>
                  <a:lnTo>
                    <a:pt x="4" y="18"/>
                  </a:lnTo>
                  <a:lnTo>
                    <a:pt x="10" y="12"/>
                  </a:lnTo>
                  <a:lnTo>
                    <a:pt x="14" y="6"/>
                  </a:lnTo>
                  <a:lnTo>
                    <a:pt x="16" y="0"/>
                  </a:lnTo>
                  <a:lnTo>
                    <a:pt x="18" y="0"/>
                  </a:lnTo>
                  <a:lnTo>
                    <a:pt x="24" y="2"/>
                  </a:lnTo>
                  <a:lnTo>
                    <a:pt x="22" y="4"/>
                  </a:lnTo>
                  <a:lnTo>
                    <a:pt x="26" y="10"/>
                  </a:lnTo>
                  <a:lnTo>
                    <a:pt x="30" y="10"/>
                  </a:lnTo>
                  <a:lnTo>
                    <a:pt x="36" y="8"/>
                  </a:lnTo>
                  <a:lnTo>
                    <a:pt x="40" y="6"/>
                  </a:lnTo>
                  <a:lnTo>
                    <a:pt x="46" y="10"/>
                  </a:lnTo>
                  <a:lnTo>
                    <a:pt x="48" y="16"/>
                  </a:lnTo>
                  <a:lnTo>
                    <a:pt x="50" y="20"/>
                  </a:lnTo>
                  <a:lnTo>
                    <a:pt x="56" y="22"/>
                  </a:lnTo>
                  <a:lnTo>
                    <a:pt x="58" y="22"/>
                  </a:lnTo>
                  <a:lnTo>
                    <a:pt x="64" y="26"/>
                  </a:lnTo>
                  <a:lnTo>
                    <a:pt x="68" y="32"/>
                  </a:lnTo>
                  <a:lnTo>
                    <a:pt x="70" y="36"/>
                  </a:lnTo>
                  <a:lnTo>
                    <a:pt x="70" y="40"/>
                  </a:lnTo>
                  <a:lnTo>
                    <a:pt x="72" y="46"/>
                  </a:lnTo>
                  <a:lnTo>
                    <a:pt x="70" y="52"/>
                  </a:lnTo>
                  <a:lnTo>
                    <a:pt x="70" y="58"/>
                  </a:lnTo>
                  <a:lnTo>
                    <a:pt x="68" y="60"/>
                  </a:lnTo>
                  <a:lnTo>
                    <a:pt x="68" y="66"/>
                  </a:lnTo>
                  <a:lnTo>
                    <a:pt x="70" y="72"/>
                  </a:lnTo>
                  <a:lnTo>
                    <a:pt x="66" y="74"/>
                  </a:lnTo>
                  <a:lnTo>
                    <a:pt x="66" y="78"/>
                  </a:lnTo>
                  <a:lnTo>
                    <a:pt x="68" y="78"/>
                  </a:lnTo>
                  <a:lnTo>
                    <a:pt x="70" y="84"/>
                  </a:lnTo>
                  <a:lnTo>
                    <a:pt x="68" y="90"/>
                  </a:lnTo>
                  <a:lnTo>
                    <a:pt x="68" y="94"/>
                  </a:lnTo>
                  <a:lnTo>
                    <a:pt x="72" y="100"/>
                  </a:lnTo>
                  <a:lnTo>
                    <a:pt x="74" y="104"/>
                  </a:lnTo>
                  <a:lnTo>
                    <a:pt x="74" y="106"/>
                  </a:lnTo>
                  <a:lnTo>
                    <a:pt x="76" y="106"/>
                  </a:lnTo>
                  <a:lnTo>
                    <a:pt x="78" y="106"/>
                  </a:lnTo>
                  <a:lnTo>
                    <a:pt x="80" y="112"/>
                  </a:lnTo>
                  <a:lnTo>
                    <a:pt x="82" y="118"/>
                  </a:lnTo>
                  <a:lnTo>
                    <a:pt x="86" y="118"/>
                  </a:lnTo>
                  <a:lnTo>
                    <a:pt x="90" y="116"/>
                  </a:lnTo>
                  <a:lnTo>
                    <a:pt x="96" y="118"/>
                  </a:lnTo>
                  <a:lnTo>
                    <a:pt x="96" y="122"/>
                  </a:lnTo>
                  <a:lnTo>
                    <a:pt x="96" y="126"/>
                  </a:lnTo>
                  <a:lnTo>
                    <a:pt x="100" y="132"/>
                  </a:lnTo>
                  <a:lnTo>
                    <a:pt x="100" y="134"/>
                  </a:lnTo>
                  <a:lnTo>
                    <a:pt x="100" y="138"/>
                  </a:lnTo>
                  <a:lnTo>
                    <a:pt x="98" y="142"/>
                  </a:lnTo>
                  <a:lnTo>
                    <a:pt x="92" y="148"/>
                  </a:lnTo>
                  <a:lnTo>
                    <a:pt x="86" y="150"/>
                  </a:lnTo>
                  <a:lnTo>
                    <a:pt x="86" y="152"/>
                  </a:lnTo>
                  <a:lnTo>
                    <a:pt x="86" y="156"/>
                  </a:lnTo>
                  <a:lnTo>
                    <a:pt x="82" y="162"/>
                  </a:lnTo>
                  <a:lnTo>
                    <a:pt x="82" y="168"/>
                  </a:lnTo>
                  <a:lnTo>
                    <a:pt x="78" y="174"/>
                  </a:lnTo>
                  <a:lnTo>
                    <a:pt x="76" y="176"/>
                  </a:lnTo>
                  <a:lnTo>
                    <a:pt x="70" y="176"/>
                  </a:lnTo>
                  <a:lnTo>
                    <a:pt x="66" y="180"/>
                  </a:lnTo>
                  <a:lnTo>
                    <a:pt x="62" y="180"/>
                  </a:lnTo>
                  <a:lnTo>
                    <a:pt x="64" y="188"/>
                  </a:lnTo>
                  <a:lnTo>
                    <a:pt x="66" y="188"/>
                  </a:lnTo>
                  <a:lnTo>
                    <a:pt x="68" y="194"/>
                  </a:lnTo>
                  <a:lnTo>
                    <a:pt x="62" y="194"/>
                  </a:lnTo>
                  <a:lnTo>
                    <a:pt x="62" y="198"/>
                  </a:lnTo>
                  <a:lnTo>
                    <a:pt x="56" y="204"/>
                  </a:lnTo>
                  <a:lnTo>
                    <a:pt x="52" y="204"/>
                  </a:lnTo>
                  <a:lnTo>
                    <a:pt x="46" y="202"/>
                  </a:lnTo>
                  <a:lnTo>
                    <a:pt x="44" y="202"/>
                  </a:lnTo>
                  <a:lnTo>
                    <a:pt x="44" y="196"/>
                  </a:lnTo>
                  <a:lnTo>
                    <a:pt x="44" y="194"/>
                  </a:lnTo>
                  <a:lnTo>
                    <a:pt x="44" y="190"/>
                  </a:lnTo>
                  <a:lnTo>
                    <a:pt x="40" y="184"/>
                  </a:lnTo>
                  <a:lnTo>
                    <a:pt x="38" y="180"/>
                  </a:lnTo>
                  <a:lnTo>
                    <a:pt x="34" y="176"/>
                  </a:lnTo>
                  <a:lnTo>
                    <a:pt x="28" y="172"/>
                  </a:lnTo>
                  <a:lnTo>
                    <a:pt x="24" y="170"/>
                  </a:lnTo>
                  <a:lnTo>
                    <a:pt x="18" y="168"/>
                  </a:lnTo>
                  <a:lnTo>
                    <a:pt x="10" y="164"/>
                  </a:lnTo>
                  <a:lnTo>
                    <a:pt x="6" y="158"/>
                  </a:lnTo>
                  <a:lnTo>
                    <a:pt x="2" y="152"/>
                  </a:lnTo>
                  <a:lnTo>
                    <a:pt x="8" y="154"/>
                  </a:lnTo>
                  <a:lnTo>
                    <a:pt x="10" y="158"/>
                  </a:lnTo>
                  <a:lnTo>
                    <a:pt x="12" y="158"/>
                  </a:lnTo>
                  <a:lnTo>
                    <a:pt x="14" y="152"/>
                  </a:lnTo>
                  <a:lnTo>
                    <a:pt x="8" y="146"/>
                  </a:lnTo>
                  <a:lnTo>
                    <a:pt x="12" y="144"/>
                  </a:lnTo>
                  <a:lnTo>
                    <a:pt x="6" y="140"/>
                  </a:lnTo>
                  <a:lnTo>
                    <a:pt x="2" y="13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8" name="Freeform 35"/>
            <p:cNvSpPr>
              <a:spLocks/>
            </p:cNvSpPr>
            <p:nvPr/>
          </p:nvSpPr>
          <p:spPr bwMode="auto">
            <a:xfrm>
              <a:off x="4044950" y="2682875"/>
              <a:ext cx="96838" cy="104775"/>
            </a:xfrm>
            <a:custGeom>
              <a:avLst/>
              <a:gdLst>
                <a:gd name="T0" fmla="*/ 2147483647 w 238"/>
                <a:gd name="T1" fmla="*/ 2147483647 h 254"/>
                <a:gd name="T2" fmla="*/ 2147483647 w 238"/>
                <a:gd name="T3" fmla="*/ 2147483647 h 254"/>
                <a:gd name="T4" fmla="*/ 2147483647 w 238"/>
                <a:gd name="T5" fmla="*/ 2147483647 h 254"/>
                <a:gd name="T6" fmla="*/ 2147483647 w 238"/>
                <a:gd name="T7" fmla="*/ 2147483647 h 254"/>
                <a:gd name="T8" fmla="*/ 0 w 238"/>
                <a:gd name="T9" fmla="*/ 2147483647 h 254"/>
                <a:gd name="T10" fmla="*/ 2147483647 w 238"/>
                <a:gd name="T11" fmla="*/ 2147483647 h 254"/>
                <a:gd name="T12" fmla="*/ 2147483647 w 238"/>
                <a:gd name="T13" fmla="*/ 2147483647 h 254"/>
                <a:gd name="T14" fmla="*/ 2147483647 w 238"/>
                <a:gd name="T15" fmla="*/ 2147483647 h 254"/>
                <a:gd name="T16" fmla="*/ 2147483647 w 238"/>
                <a:gd name="T17" fmla="*/ 2147483647 h 254"/>
                <a:gd name="T18" fmla="*/ 2147483647 w 238"/>
                <a:gd name="T19" fmla="*/ 2147483647 h 254"/>
                <a:gd name="T20" fmla="*/ 2147483647 w 238"/>
                <a:gd name="T21" fmla="*/ 2147483647 h 254"/>
                <a:gd name="T22" fmla="*/ 2147483647 w 238"/>
                <a:gd name="T23" fmla="*/ 2147483647 h 254"/>
                <a:gd name="T24" fmla="*/ 2147483647 w 238"/>
                <a:gd name="T25" fmla="*/ 2147483647 h 254"/>
                <a:gd name="T26" fmla="*/ 2147483647 w 238"/>
                <a:gd name="T27" fmla="*/ 2147483647 h 254"/>
                <a:gd name="T28" fmla="*/ 2147483647 w 238"/>
                <a:gd name="T29" fmla="*/ 2147483647 h 254"/>
                <a:gd name="T30" fmla="*/ 2147483647 w 238"/>
                <a:gd name="T31" fmla="*/ 2147483647 h 254"/>
                <a:gd name="T32" fmla="*/ 2147483647 w 238"/>
                <a:gd name="T33" fmla="*/ 2147483647 h 254"/>
                <a:gd name="T34" fmla="*/ 2147483647 w 238"/>
                <a:gd name="T35" fmla="*/ 2147483647 h 254"/>
                <a:gd name="T36" fmla="*/ 2147483647 w 238"/>
                <a:gd name="T37" fmla="*/ 2147483647 h 254"/>
                <a:gd name="T38" fmla="*/ 2147483647 w 238"/>
                <a:gd name="T39" fmla="*/ 2147483647 h 254"/>
                <a:gd name="T40" fmla="*/ 2147483647 w 238"/>
                <a:gd name="T41" fmla="*/ 2147483647 h 254"/>
                <a:gd name="T42" fmla="*/ 2147483647 w 238"/>
                <a:gd name="T43" fmla="*/ 2147483647 h 254"/>
                <a:gd name="T44" fmla="*/ 2147483647 w 238"/>
                <a:gd name="T45" fmla="*/ 2147483647 h 254"/>
                <a:gd name="T46" fmla="*/ 2147483647 w 238"/>
                <a:gd name="T47" fmla="*/ 2147483647 h 254"/>
                <a:gd name="T48" fmla="*/ 2147483647 w 238"/>
                <a:gd name="T49" fmla="*/ 2147483647 h 254"/>
                <a:gd name="T50" fmla="*/ 2147483647 w 238"/>
                <a:gd name="T51" fmla="*/ 2147483647 h 254"/>
                <a:gd name="T52" fmla="*/ 2147483647 w 238"/>
                <a:gd name="T53" fmla="*/ 2147483647 h 254"/>
                <a:gd name="T54" fmla="*/ 2147483647 w 238"/>
                <a:gd name="T55" fmla="*/ 2147483647 h 254"/>
                <a:gd name="T56" fmla="*/ 2147483647 w 238"/>
                <a:gd name="T57" fmla="*/ 2147483647 h 254"/>
                <a:gd name="T58" fmla="*/ 2147483647 w 238"/>
                <a:gd name="T59" fmla="*/ 2147483647 h 254"/>
                <a:gd name="T60" fmla="*/ 2147483647 w 238"/>
                <a:gd name="T61" fmla="*/ 2147483647 h 254"/>
                <a:gd name="T62" fmla="*/ 2147483647 w 238"/>
                <a:gd name="T63" fmla="*/ 2147483647 h 254"/>
                <a:gd name="T64" fmla="*/ 2147483647 w 238"/>
                <a:gd name="T65" fmla="*/ 2147483647 h 254"/>
                <a:gd name="T66" fmla="*/ 2147483647 w 238"/>
                <a:gd name="T67" fmla="*/ 2147483647 h 254"/>
                <a:gd name="T68" fmla="*/ 2147483647 w 238"/>
                <a:gd name="T69" fmla="*/ 2147483647 h 254"/>
                <a:gd name="T70" fmla="*/ 2147483647 w 238"/>
                <a:gd name="T71" fmla="*/ 2147483647 h 254"/>
                <a:gd name="T72" fmla="*/ 2147483647 w 238"/>
                <a:gd name="T73" fmla="*/ 2147483647 h 254"/>
                <a:gd name="T74" fmla="*/ 2147483647 w 238"/>
                <a:gd name="T75" fmla="*/ 2147483647 h 254"/>
                <a:gd name="T76" fmla="*/ 2147483647 w 238"/>
                <a:gd name="T77" fmla="*/ 2147483647 h 254"/>
                <a:gd name="T78" fmla="*/ 2147483647 w 238"/>
                <a:gd name="T79" fmla="*/ 2147483647 h 254"/>
                <a:gd name="T80" fmla="*/ 2147483647 w 238"/>
                <a:gd name="T81" fmla="*/ 2147483647 h 254"/>
                <a:gd name="T82" fmla="*/ 2147483647 w 238"/>
                <a:gd name="T83" fmla="*/ 2147483647 h 254"/>
                <a:gd name="T84" fmla="*/ 2147483647 w 238"/>
                <a:gd name="T85" fmla="*/ 2147483647 h 254"/>
                <a:gd name="T86" fmla="*/ 2147483647 w 238"/>
                <a:gd name="T87" fmla="*/ 2147483647 h 254"/>
                <a:gd name="T88" fmla="*/ 2147483647 w 238"/>
                <a:gd name="T89" fmla="*/ 2147483647 h 254"/>
                <a:gd name="T90" fmla="*/ 2147483647 w 238"/>
                <a:gd name="T91" fmla="*/ 2147483647 h 254"/>
                <a:gd name="T92" fmla="*/ 2147483647 w 238"/>
                <a:gd name="T93" fmla="*/ 2147483647 h 254"/>
                <a:gd name="T94" fmla="*/ 2147483647 w 238"/>
                <a:gd name="T95" fmla="*/ 2147483647 h 254"/>
                <a:gd name="T96" fmla="*/ 2147483647 w 238"/>
                <a:gd name="T97" fmla="*/ 2147483647 h 254"/>
                <a:gd name="T98" fmla="*/ 2147483647 w 238"/>
                <a:gd name="T99" fmla="*/ 2147483647 h 254"/>
                <a:gd name="T100" fmla="*/ 2147483647 w 238"/>
                <a:gd name="T101" fmla="*/ 2147483647 h 254"/>
                <a:gd name="T102" fmla="*/ 2147483647 w 238"/>
                <a:gd name="T103" fmla="*/ 2147483647 h 254"/>
                <a:gd name="T104" fmla="*/ 2147483647 w 238"/>
                <a:gd name="T105" fmla="*/ 2147483647 h 254"/>
                <a:gd name="T106" fmla="*/ 2147483647 w 238"/>
                <a:gd name="T107" fmla="*/ 2147483647 h 25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8"/>
                <a:gd name="T163" fmla="*/ 0 h 254"/>
                <a:gd name="T164" fmla="*/ 238 w 238"/>
                <a:gd name="T165" fmla="*/ 254 h 25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8" h="254">
                  <a:moveTo>
                    <a:pt x="18" y="246"/>
                  </a:moveTo>
                  <a:lnTo>
                    <a:pt x="14" y="246"/>
                  </a:lnTo>
                  <a:lnTo>
                    <a:pt x="18" y="240"/>
                  </a:lnTo>
                  <a:lnTo>
                    <a:pt x="20" y="240"/>
                  </a:lnTo>
                  <a:lnTo>
                    <a:pt x="26" y="236"/>
                  </a:lnTo>
                  <a:lnTo>
                    <a:pt x="28" y="236"/>
                  </a:lnTo>
                  <a:lnTo>
                    <a:pt x="34" y="232"/>
                  </a:lnTo>
                  <a:lnTo>
                    <a:pt x="40" y="230"/>
                  </a:lnTo>
                  <a:lnTo>
                    <a:pt x="34" y="230"/>
                  </a:lnTo>
                  <a:lnTo>
                    <a:pt x="28" y="232"/>
                  </a:lnTo>
                  <a:lnTo>
                    <a:pt x="22" y="234"/>
                  </a:lnTo>
                  <a:lnTo>
                    <a:pt x="20" y="234"/>
                  </a:lnTo>
                  <a:lnTo>
                    <a:pt x="14" y="236"/>
                  </a:lnTo>
                  <a:lnTo>
                    <a:pt x="8" y="234"/>
                  </a:lnTo>
                  <a:lnTo>
                    <a:pt x="2" y="234"/>
                  </a:lnTo>
                  <a:lnTo>
                    <a:pt x="2" y="228"/>
                  </a:lnTo>
                  <a:lnTo>
                    <a:pt x="6" y="226"/>
                  </a:lnTo>
                  <a:lnTo>
                    <a:pt x="10" y="220"/>
                  </a:lnTo>
                  <a:lnTo>
                    <a:pt x="16" y="218"/>
                  </a:lnTo>
                  <a:lnTo>
                    <a:pt x="22" y="216"/>
                  </a:lnTo>
                  <a:lnTo>
                    <a:pt x="28" y="210"/>
                  </a:lnTo>
                  <a:lnTo>
                    <a:pt x="34" y="212"/>
                  </a:lnTo>
                  <a:lnTo>
                    <a:pt x="28" y="210"/>
                  </a:lnTo>
                  <a:lnTo>
                    <a:pt x="24" y="210"/>
                  </a:lnTo>
                  <a:lnTo>
                    <a:pt x="18" y="212"/>
                  </a:lnTo>
                  <a:lnTo>
                    <a:pt x="12" y="212"/>
                  </a:lnTo>
                  <a:lnTo>
                    <a:pt x="6" y="212"/>
                  </a:lnTo>
                  <a:lnTo>
                    <a:pt x="0" y="212"/>
                  </a:lnTo>
                  <a:lnTo>
                    <a:pt x="0" y="206"/>
                  </a:lnTo>
                  <a:lnTo>
                    <a:pt x="6" y="204"/>
                  </a:lnTo>
                  <a:lnTo>
                    <a:pt x="12" y="202"/>
                  </a:lnTo>
                  <a:lnTo>
                    <a:pt x="18" y="204"/>
                  </a:lnTo>
                  <a:lnTo>
                    <a:pt x="22" y="198"/>
                  </a:lnTo>
                  <a:lnTo>
                    <a:pt x="24" y="202"/>
                  </a:lnTo>
                  <a:lnTo>
                    <a:pt x="30" y="204"/>
                  </a:lnTo>
                  <a:lnTo>
                    <a:pt x="36" y="202"/>
                  </a:lnTo>
                  <a:lnTo>
                    <a:pt x="34" y="198"/>
                  </a:lnTo>
                  <a:lnTo>
                    <a:pt x="30" y="190"/>
                  </a:lnTo>
                  <a:lnTo>
                    <a:pt x="36" y="190"/>
                  </a:lnTo>
                  <a:lnTo>
                    <a:pt x="40" y="188"/>
                  </a:lnTo>
                  <a:lnTo>
                    <a:pt x="44" y="182"/>
                  </a:lnTo>
                  <a:lnTo>
                    <a:pt x="52" y="182"/>
                  </a:lnTo>
                  <a:lnTo>
                    <a:pt x="56" y="182"/>
                  </a:lnTo>
                  <a:lnTo>
                    <a:pt x="60" y="182"/>
                  </a:lnTo>
                  <a:lnTo>
                    <a:pt x="66" y="182"/>
                  </a:lnTo>
                  <a:lnTo>
                    <a:pt x="72" y="178"/>
                  </a:lnTo>
                  <a:lnTo>
                    <a:pt x="78" y="178"/>
                  </a:lnTo>
                  <a:lnTo>
                    <a:pt x="84" y="176"/>
                  </a:lnTo>
                  <a:lnTo>
                    <a:pt x="90" y="176"/>
                  </a:lnTo>
                  <a:lnTo>
                    <a:pt x="94" y="174"/>
                  </a:lnTo>
                  <a:lnTo>
                    <a:pt x="86" y="174"/>
                  </a:lnTo>
                  <a:lnTo>
                    <a:pt x="84" y="168"/>
                  </a:lnTo>
                  <a:lnTo>
                    <a:pt x="78" y="172"/>
                  </a:lnTo>
                  <a:lnTo>
                    <a:pt x="72" y="178"/>
                  </a:lnTo>
                  <a:lnTo>
                    <a:pt x="66" y="180"/>
                  </a:lnTo>
                  <a:lnTo>
                    <a:pt x="60" y="178"/>
                  </a:lnTo>
                  <a:lnTo>
                    <a:pt x="54" y="178"/>
                  </a:lnTo>
                  <a:lnTo>
                    <a:pt x="48" y="178"/>
                  </a:lnTo>
                  <a:lnTo>
                    <a:pt x="46" y="178"/>
                  </a:lnTo>
                  <a:lnTo>
                    <a:pt x="40" y="180"/>
                  </a:lnTo>
                  <a:lnTo>
                    <a:pt x="34" y="182"/>
                  </a:lnTo>
                  <a:lnTo>
                    <a:pt x="40" y="178"/>
                  </a:lnTo>
                  <a:lnTo>
                    <a:pt x="46" y="172"/>
                  </a:lnTo>
                  <a:lnTo>
                    <a:pt x="52" y="170"/>
                  </a:lnTo>
                  <a:lnTo>
                    <a:pt x="58" y="164"/>
                  </a:lnTo>
                  <a:lnTo>
                    <a:pt x="62" y="158"/>
                  </a:lnTo>
                  <a:lnTo>
                    <a:pt x="62" y="152"/>
                  </a:lnTo>
                  <a:lnTo>
                    <a:pt x="66" y="148"/>
                  </a:lnTo>
                  <a:lnTo>
                    <a:pt x="72" y="144"/>
                  </a:lnTo>
                  <a:lnTo>
                    <a:pt x="78" y="144"/>
                  </a:lnTo>
                  <a:lnTo>
                    <a:pt x="84" y="144"/>
                  </a:lnTo>
                  <a:lnTo>
                    <a:pt x="90" y="138"/>
                  </a:lnTo>
                  <a:lnTo>
                    <a:pt x="82" y="138"/>
                  </a:lnTo>
                  <a:lnTo>
                    <a:pt x="80" y="136"/>
                  </a:lnTo>
                  <a:lnTo>
                    <a:pt x="74" y="136"/>
                  </a:lnTo>
                  <a:lnTo>
                    <a:pt x="70" y="136"/>
                  </a:lnTo>
                  <a:lnTo>
                    <a:pt x="62" y="138"/>
                  </a:lnTo>
                  <a:lnTo>
                    <a:pt x="56" y="138"/>
                  </a:lnTo>
                  <a:lnTo>
                    <a:pt x="52" y="132"/>
                  </a:lnTo>
                  <a:lnTo>
                    <a:pt x="46" y="132"/>
                  </a:lnTo>
                  <a:lnTo>
                    <a:pt x="40" y="132"/>
                  </a:lnTo>
                  <a:lnTo>
                    <a:pt x="44" y="126"/>
                  </a:lnTo>
                  <a:lnTo>
                    <a:pt x="38" y="126"/>
                  </a:lnTo>
                  <a:lnTo>
                    <a:pt x="34" y="128"/>
                  </a:lnTo>
                  <a:lnTo>
                    <a:pt x="28" y="126"/>
                  </a:lnTo>
                  <a:lnTo>
                    <a:pt x="34" y="122"/>
                  </a:lnTo>
                  <a:lnTo>
                    <a:pt x="28" y="118"/>
                  </a:lnTo>
                  <a:lnTo>
                    <a:pt x="34" y="116"/>
                  </a:lnTo>
                  <a:lnTo>
                    <a:pt x="34" y="118"/>
                  </a:lnTo>
                  <a:lnTo>
                    <a:pt x="36" y="116"/>
                  </a:lnTo>
                  <a:lnTo>
                    <a:pt x="36" y="114"/>
                  </a:lnTo>
                  <a:lnTo>
                    <a:pt x="42" y="112"/>
                  </a:lnTo>
                  <a:lnTo>
                    <a:pt x="48" y="114"/>
                  </a:lnTo>
                  <a:lnTo>
                    <a:pt x="50" y="114"/>
                  </a:lnTo>
                  <a:lnTo>
                    <a:pt x="44" y="112"/>
                  </a:lnTo>
                  <a:lnTo>
                    <a:pt x="40" y="106"/>
                  </a:lnTo>
                  <a:lnTo>
                    <a:pt x="46" y="102"/>
                  </a:lnTo>
                  <a:lnTo>
                    <a:pt x="52" y="102"/>
                  </a:lnTo>
                  <a:lnTo>
                    <a:pt x="58" y="102"/>
                  </a:lnTo>
                  <a:lnTo>
                    <a:pt x="60" y="96"/>
                  </a:lnTo>
                  <a:lnTo>
                    <a:pt x="54" y="94"/>
                  </a:lnTo>
                  <a:lnTo>
                    <a:pt x="48" y="96"/>
                  </a:lnTo>
                  <a:lnTo>
                    <a:pt x="42" y="96"/>
                  </a:lnTo>
                  <a:lnTo>
                    <a:pt x="42" y="94"/>
                  </a:lnTo>
                  <a:lnTo>
                    <a:pt x="48" y="90"/>
                  </a:lnTo>
                  <a:lnTo>
                    <a:pt x="48" y="92"/>
                  </a:lnTo>
                  <a:lnTo>
                    <a:pt x="46" y="88"/>
                  </a:lnTo>
                  <a:lnTo>
                    <a:pt x="46" y="80"/>
                  </a:lnTo>
                  <a:lnTo>
                    <a:pt x="40" y="82"/>
                  </a:lnTo>
                  <a:lnTo>
                    <a:pt x="44" y="76"/>
                  </a:lnTo>
                  <a:lnTo>
                    <a:pt x="40" y="72"/>
                  </a:lnTo>
                  <a:lnTo>
                    <a:pt x="36" y="78"/>
                  </a:lnTo>
                  <a:lnTo>
                    <a:pt x="38" y="72"/>
                  </a:lnTo>
                  <a:lnTo>
                    <a:pt x="40" y="68"/>
                  </a:lnTo>
                  <a:lnTo>
                    <a:pt x="42" y="72"/>
                  </a:lnTo>
                  <a:lnTo>
                    <a:pt x="48" y="70"/>
                  </a:lnTo>
                  <a:lnTo>
                    <a:pt x="52" y="70"/>
                  </a:lnTo>
                  <a:lnTo>
                    <a:pt x="58" y="66"/>
                  </a:lnTo>
                  <a:lnTo>
                    <a:pt x="64" y="66"/>
                  </a:lnTo>
                  <a:lnTo>
                    <a:pt x="70" y="68"/>
                  </a:lnTo>
                  <a:lnTo>
                    <a:pt x="76" y="66"/>
                  </a:lnTo>
                  <a:lnTo>
                    <a:pt x="82" y="72"/>
                  </a:lnTo>
                  <a:lnTo>
                    <a:pt x="84" y="76"/>
                  </a:lnTo>
                  <a:lnTo>
                    <a:pt x="84" y="78"/>
                  </a:lnTo>
                  <a:lnTo>
                    <a:pt x="84" y="76"/>
                  </a:lnTo>
                  <a:lnTo>
                    <a:pt x="88" y="70"/>
                  </a:lnTo>
                  <a:lnTo>
                    <a:pt x="94" y="68"/>
                  </a:lnTo>
                  <a:lnTo>
                    <a:pt x="100" y="70"/>
                  </a:lnTo>
                  <a:lnTo>
                    <a:pt x="106" y="70"/>
                  </a:lnTo>
                  <a:lnTo>
                    <a:pt x="112" y="72"/>
                  </a:lnTo>
                  <a:lnTo>
                    <a:pt x="118" y="68"/>
                  </a:lnTo>
                  <a:lnTo>
                    <a:pt x="112" y="66"/>
                  </a:lnTo>
                  <a:lnTo>
                    <a:pt x="116" y="60"/>
                  </a:lnTo>
                  <a:lnTo>
                    <a:pt x="122" y="56"/>
                  </a:lnTo>
                  <a:lnTo>
                    <a:pt x="126" y="56"/>
                  </a:lnTo>
                  <a:lnTo>
                    <a:pt x="132" y="56"/>
                  </a:lnTo>
                  <a:lnTo>
                    <a:pt x="134" y="54"/>
                  </a:lnTo>
                  <a:lnTo>
                    <a:pt x="138" y="48"/>
                  </a:lnTo>
                  <a:lnTo>
                    <a:pt x="132" y="48"/>
                  </a:lnTo>
                  <a:lnTo>
                    <a:pt x="126" y="48"/>
                  </a:lnTo>
                  <a:lnTo>
                    <a:pt x="120" y="46"/>
                  </a:lnTo>
                  <a:lnTo>
                    <a:pt x="114" y="46"/>
                  </a:lnTo>
                  <a:lnTo>
                    <a:pt x="108" y="44"/>
                  </a:lnTo>
                  <a:lnTo>
                    <a:pt x="112" y="38"/>
                  </a:lnTo>
                  <a:lnTo>
                    <a:pt x="118" y="36"/>
                  </a:lnTo>
                  <a:lnTo>
                    <a:pt x="124" y="38"/>
                  </a:lnTo>
                  <a:lnTo>
                    <a:pt x="122" y="32"/>
                  </a:lnTo>
                  <a:lnTo>
                    <a:pt x="128" y="32"/>
                  </a:lnTo>
                  <a:lnTo>
                    <a:pt x="126" y="26"/>
                  </a:lnTo>
                  <a:lnTo>
                    <a:pt x="126" y="22"/>
                  </a:lnTo>
                  <a:lnTo>
                    <a:pt x="132" y="18"/>
                  </a:lnTo>
                  <a:lnTo>
                    <a:pt x="136" y="12"/>
                  </a:lnTo>
                  <a:lnTo>
                    <a:pt x="142" y="12"/>
                  </a:lnTo>
                  <a:lnTo>
                    <a:pt x="148" y="10"/>
                  </a:lnTo>
                  <a:lnTo>
                    <a:pt x="154" y="8"/>
                  </a:lnTo>
                  <a:lnTo>
                    <a:pt x="158" y="10"/>
                  </a:lnTo>
                  <a:lnTo>
                    <a:pt x="164" y="10"/>
                  </a:lnTo>
                  <a:lnTo>
                    <a:pt x="162" y="4"/>
                  </a:lnTo>
                  <a:lnTo>
                    <a:pt x="168" y="4"/>
                  </a:lnTo>
                  <a:lnTo>
                    <a:pt x="172" y="10"/>
                  </a:lnTo>
                  <a:lnTo>
                    <a:pt x="174" y="16"/>
                  </a:lnTo>
                  <a:lnTo>
                    <a:pt x="168" y="18"/>
                  </a:lnTo>
                  <a:lnTo>
                    <a:pt x="168" y="22"/>
                  </a:lnTo>
                  <a:lnTo>
                    <a:pt x="170" y="22"/>
                  </a:lnTo>
                  <a:lnTo>
                    <a:pt x="176" y="18"/>
                  </a:lnTo>
                  <a:lnTo>
                    <a:pt x="178" y="12"/>
                  </a:lnTo>
                  <a:lnTo>
                    <a:pt x="174" y="6"/>
                  </a:lnTo>
                  <a:lnTo>
                    <a:pt x="180" y="4"/>
                  </a:lnTo>
                  <a:lnTo>
                    <a:pt x="186" y="2"/>
                  </a:lnTo>
                  <a:lnTo>
                    <a:pt x="192" y="0"/>
                  </a:lnTo>
                  <a:lnTo>
                    <a:pt x="198" y="4"/>
                  </a:lnTo>
                  <a:lnTo>
                    <a:pt x="204" y="4"/>
                  </a:lnTo>
                  <a:lnTo>
                    <a:pt x="198" y="10"/>
                  </a:lnTo>
                  <a:lnTo>
                    <a:pt x="192" y="12"/>
                  </a:lnTo>
                  <a:lnTo>
                    <a:pt x="188" y="16"/>
                  </a:lnTo>
                  <a:lnTo>
                    <a:pt x="182" y="20"/>
                  </a:lnTo>
                  <a:lnTo>
                    <a:pt x="180" y="22"/>
                  </a:lnTo>
                  <a:lnTo>
                    <a:pt x="180" y="24"/>
                  </a:lnTo>
                  <a:lnTo>
                    <a:pt x="178" y="24"/>
                  </a:lnTo>
                  <a:lnTo>
                    <a:pt x="176" y="30"/>
                  </a:lnTo>
                  <a:lnTo>
                    <a:pt x="174" y="32"/>
                  </a:lnTo>
                  <a:lnTo>
                    <a:pt x="172" y="34"/>
                  </a:lnTo>
                  <a:lnTo>
                    <a:pt x="164" y="38"/>
                  </a:lnTo>
                  <a:lnTo>
                    <a:pt x="158" y="42"/>
                  </a:lnTo>
                  <a:lnTo>
                    <a:pt x="154" y="40"/>
                  </a:lnTo>
                  <a:lnTo>
                    <a:pt x="158" y="46"/>
                  </a:lnTo>
                  <a:lnTo>
                    <a:pt x="160" y="46"/>
                  </a:lnTo>
                  <a:lnTo>
                    <a:pt x="154" y="50"/>
                  </a:lnTo>
                  <a:lnTo>
                    <a:pt x="148" y="52"/>
                  </a:lnTo>
                  <a:lnTo>
                    <a:pt x="142" y="54"/>
                  </a:lnTo>
                  <a:lnTo>
                    <a:pt x="140" y="56"/>
                  </a:lnTo>
                  <a:lnTo>
                    <a:pt x="138" y="58"/>
                  </a:lnTo>
                  <a:lnTo>
                    <a:pt x="138" y="60"/>
                  </a:lnTo>
                  <a:lnTo>
                    <a:pt x="144" y="64"/>
                  </a:lnTo>
                  <a:lnTo>
                    <a:pt x="146" y="68"/>
                  </a:lnTo>
                  <a:lnTo>
                    <a:pt x="150" y="68"/>
                  </a:lnTo>
                  <a:lnTo>
                    <a:pt x="152" y="74"/>
                  </a:lnTo>
                  <a:lnTo>
                    <a:pt x="158" y="74"/>
                  </a:lnTo>
                  <a:lnTo>
                    <a:pt x="160" y="76"/>
                  </a:lnTo>
                  <a:lnTo>
                    <a:pt x="166" y="78"/>
                  </a:lnTo>
                  <a:lnTo>
                    <a:pt x="172" y="78"/>
                  </a:lnTo>
                  <a:lnTo>
                    <a:pt x="176" y="80"/>
                  </a:lnTo>
                  <a:lnTo>
                    <a:pt x="178" y="80"/>
                  </a:lnTo>
                  <a:lnTo>
                    <a:pt x="178" y="78"/>
                  </a:lnTo>
                  <a:lnTo>
                    <a:pt x="180" y="78"/>
                  </a:lnTo>
                  <a:lnTo>
                    <a:pt x="180" y="76"/>
                  </a:lnTo>
                  <a:lnTo>
                    <a:pt x="182" y="76"/>
                  </a:lnTo>
                  <a:lnTo>
                    <a:pt x="188" y="70"/>
                  </a:lnTo>
                  <a:lnTo>
                    <a:pt x="184" y="66"/>
                  </a:lnTo>
                  <a:lnTo>
                    <a:pt x="186" y="64"/>
                  </a:lnTo>
                  <a:lnTo>
                    <a:pt x="192" y="62"/>
                  </a:lnTo>
                  <a:lnTo>
                    <a:pt x="198" y="60"/>
                  </a:lnTo>
                  <a:lnTo>
                    <a:pt x="202" y="66"/>
                  </a:lnTo>
                  <a:lnTo>
                    <a:pt x="202" y="70"/>
                  </a:lnTo>
                  <a:lnTo>
                    <a:pt x="208" y="76"/>
                  </a:lnTo>
                  <a:lnTo>
                    <a:pt x="212" y="76"/>
                  </a:lnTo>
                  <a:lnTo>
                    <a:pt x="212" y="80"/>
                  </a:lnTo>
                  <a:lnTo>
                    <a:pt x="214" y="84"/>
                  </a:lnTo>
                  <a:lnTo>
                    <a:pt x="220" y="84"/>
                  </a:lnTo>
                  <a:lnTo>
                    <a:pt x="226" y="82"/>
                  </a:lnTo>
                  <a:lnTo>
                    <a:pt x="228" y="80"/>
                  </a:lnTo>
                  <a:lnTo>
                    <a:pt x="232" y="80"/>
                  </a:lnTo>
                  <a:lnTo>
                    <a:pt x="238" y="84"/>
                  </a:lnTo>
                  <a:lnTo>
                    <a:pt x="232" y="88"/>
                  </a:lnTo>
                  <a:lnTo>
                    <a:pt x="226" y="88"/>
                  </a:lnTo>
                  <a:lnTo>
                    <a:pt x="224" y="94"/>
                  </a:lnTo>
                  <a:lnTo>
                    <a:pt x="230" y="96"/>
                  </a:lnTo>
                  <a:lnTo>
                    <a:pt x="230" y="102"/>
                  </a:lnTo>
                  <a:lnTo>
                    <a:pt x="230" y="106"/>
                  </a:lnTo>
                  <a:lnTo>
                    <a:pt x="230" y="108"/>
                  </a:lnTo>
                  <a:lnTo>
                    <a:pt x="232" y="112"/>
                  </a:lnTo>
                  <a:lnTo>
                    <a:pt x="238" y="116"/>
                  </a:lnTo>
                  <a:lnTo>
                    <a:pt x="236" y="120"/>
                  </a:lnTo>
                  <a:lnTo>
                    <a:pt x="234" y="122"/>
                  </a:lnTo>
                  <a:lnTo>
                    <a:pt x="234" y="124"/>
                  </a:lnTo>
                  <a:lnTo>
                    <a:pt x="234" y="126"/>
                  </a:lnTo>
                  <a:lnTo>
                    <a:pt x="228" y="130"/>
                  </a:lnTo>
                  <a:lnTo>
                    <a:pt x="230" y="132"/>
                  </a:lnTo>
                  <a:lnTo>
                    <a:pt x="234" y="138"/>
                  </a:lnTo>
                  <a:lnTo>
                    <a:pt x="234" y="140"/>
                  </a:lnTo>
                  <a:lnTo>
                    <a:pt x="236" y="146"/>
                  </a:lnTo>
                  <a:lnTo>
                    <a:pt x="236" y="152"/>
                  </a:lnTo>
                  <a:lnTo>
                    <a:pt x="236" y="158"/>
                  </a:lnTo>
                  <a:lnTo>
                    <a:pt x="232" y="164"/>
                  </a:lnTo>
                  <a:lnTo>
                    <a:pt x="228" y="168"/>
                  </a:lnTo>
                  <a:lnTo>
                    <a:pt x="228" y="170"/>
                  </a:lnTo>
                  <a:lnTo>
                    <a:pt x="224" y="176"/>
                  </a:lnTo>
                  <a:lnTo>
                    <a:pt x="224" y="182"/>
                  </a:lnTo>
                  <a:lnTo>
                    <a:pt x="220" y="188"/>
                  </a:lnTo>
                  <a:lnTo>
                    <a:pt x="214" y="194"/>
                  </a:lnTo>
                  <a:lnTo>
                    <a:pt x="212" y="196"/>
                  </a:lnTo>
                  <a:lnTo>
                    <a:pt x="208" y="196"/>
                  </a:lnTo>
                  <a:lnTo>
                    <a:pt x="214" y="198"/>
                  </a:lnTo>
                  <a:lnTo>
                    <a:pt x="216" y="204"/>
                  </a:lnTo>
                  <a:lnTo>
                    <a:pt x="210" y="206"/>
                  </a:lnTo>
                  <a:lnTo>
                    <a:pt x="204" y="206"/>
                  </a:lnTo>
                  <a:lnTo>
                    <a:pt x="198" y="206"/>
                  </a:lnTo>
                  <a:lnTo>
                    <a:pt x="192" y="206"/>
                  </a:lnTo>
                  <a:lnTo>
                    <a:pt x="186" y="208"/>
                  </a:lnTo>
                  <a:lnTo>
                    <a:pt x="182" y="202"/>
                  </a:lnTo>
                  <a:lnTo>
                    <a:pt x="182" y="200"/>
                  </a:lnTo>
                  <a:lnTo>
                    <a:pt x="180" y="200"/>
                  </a:lnTo>
                  <a:lnTo>
                    <a:pt x="182" y="202"/>
                  </a:lnTo>
                  <a:lnTo>
                    <a:pt x="182" y="206"/>
                  </a:lnTo>
                  <a:lnTo>
                    <a:pt x="176" y="210"/>
                  </a:lnTo>
                  <a:lnTo>
                    <a:pt x="170" y="210"/>
                  </a:lnTo>
                  <a:lnTo>
                    <a:pt x="164" y="210"/>
                  </a:lnTo>
                  <a:lnTo>
                    <a:pt x="158" y="212"/>
                  </a:lnTo>
                  <a:lnTo>
                    <a:pt x="152" y="212"/>
                  </a:lnTo>
                  <a:lnTo>
                    <a:pt x="150" y="212"/>
                  </a:lnTo>
                  <a:lnTo>
                    <a:pt x="148" y="214"/>
                  </a:lnTo>
                  <a:lnTo>
                    <a:pt x="148" y="220"/>
                  </a:lnTo>
                  <a:lnTo>
                    <a:pt x="142" y="220"/>
                  </a:lnTo>
                  <a:lnTo>
                    <a:pt x="138" y="222"/>
                  </a:lnTo>
                  <a:lnTo>
                    <a:pt x="134" y="220"/>
                  </a:lnTo>
                  <a:lnTo>
                    <a:pt x="132" y="226"/>
                  </a:lnTo>
                  <a:lnTo>
                    <a:pt x="126" y="228"/>
                  </a:lnTo>
                  <a:lnTo>
                    <a:pt x="120" y="232"/>
                  </a:lnTo>
                  <a:lnTo>
                    <a:pt x="114" y="232"/>
                  </a:lnTo>
                  <a:lnTo>
                    <a:pt x="116" y="226"/>
                  </a:lnTo>
                  <a:lnTo>
                    <a:pt x="110" y="226"/>
                  </a:lnTo>
                  <a:lnTo>
                    <a:pt x="106" y="226"/>
                  </a:lnTo>
                  <a:lnTo>
                    <a:pt x="104" y="228"/>
                  </a:lnTo>
                  <a:lnTo>
                    <a:pt x="110" y="230"/>
                  </a:lnTo>
                  <a:lnTo>
                    <a:pt x="108" y="236"/>
                  </a:lnTo>
                  <a:lnTo>
                    <a:pt x="104" y="238"/>
                  </a:lnTo>
                  <a:lnTo>
                    <a:pt x="100" y="240"/>
                  </a:lnTo>
                  <a:lnTo>
                    <a:pt x="96" y="246"/>
                  </a:lnTo>
                  <a:lnTo>
                    <a:pt x="90" y="244"/>
                  </a:lnTo>
                  <a:lnTo>
                    <a:pt x="84" y="248"/>
                  </a:lnTo>
                  <a:lnTo>
                    <a:pt x="78" y="246"/>
                  </a:lnTo>
                  <a:lnTo>
                    <a:pt x="72" y="248"/>
                  </a:lnTo>
                  <a:lnTo>
                    <a:pt x="66" y="250"/>
                  </a:lnTo>
                  <a:lnTo>
                    <a:pt x="60" y="250"/>
                  </a:lnTo>
                  <a:lnTo>
                    <a:pt x="56" y="252"/>
                  </a:lnTo>
                  <a:lnTo>
                    <a:pt x="50" y="252"/>
                  </a:lnTo>
                  <a:lnTo>
                    <a:pt x="44" y="252"/>
                  </a:lnTo>
                  <a:lnTo>
                    <a:pt x="38" y="252"/>
                  </a:lnTo>
                  <a:lnTo>
                    <a:pt x="32" y="254"/>
                  </a:lnTo>
                  <a:lnTo>
                    <a:pt x="36" y="250"/>
                  </a:lnTo>
                  <a:lnTo>
                    <a:pt x="42" y="246"/>
                  </a:lnTo>
                  <a:lnTo>
                    <a:pt x="36" y="246"/>
                  </a:lnTo>
                  <a:lnTo>
                    <a:pt x="30" y="250"/>
                  </a:lnTo>
                  <a:lnTo>
                    <a:pt x="36" y="244"/>
                  </a:lnTo>
                  <a:lnTo>
                    <a:pt x="42" y="242"/>
                  </a:lnTo>
                  <a:lnTo>
                    <a:pt x="48" y="240"/>
                  </a:lnTo>
                  <a:lnTo>
                    <a:pt x="42" y="238"/>
                  </a:lnTo>
                  <a:lnTo>
                    <a:pt x="36" y="240"/>
                  </a:lnTo>
                  <a:lnTo>
                    <a:pt x="30" y="242"/>
                  </a:lnTo>
                  <a:lnTo>
                    <a:pt x="24" y="242"/>
                  </a:lnTo>
                  <a:lnTo>
                    <a:pt x="18" y="2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19" name="Freeform 36"/>
            <p:cNvSpPr>
              <a:spLocks/>
            </p:cNvSpPr>
            <p:nvPr/>
          </p:nvSpPr>
          <p:spPr bwMode="auto">
            <a:xfrm>
              <a:off x="4567238" y="2695575"/>
              <a:ext cx="215900" cy="158750"/>
            </a:xfrm>
            <a:custGeom>
              <a:avLst/>
              <a:gdLst>
                <a:gd name="T0" fmla="*/ 2147483647 w 530"/>
                <a:gd name="T1" fmla="*/ 2147483647 h 386"/>
                <a:gd name="T2" fmla="*/ 2147483647 w 530"/>
                <a:gd name="T3" fmla="*/ 2147483647 h 386"/>
                <a:gd name="T4" fmla="*/ 2147483647 w 530"/>
                <a:gd name="T5" fmla="*/ 2147483647 h 386"/>
                <a:gd name="T6" fmla="*/ 2147483647 w 530"/>
                <a:gd name="T7" fmla="*/ 2147483647 h 386"/>
                <a:gd name="T8" fmla="*/ 2147483647 w 530"/>
                <a:gd name="T9" fmla="*/ 2147483647 h 386"/>
                <a:gd name="T10" fmla="*/ 2147483647 w 530"/>
                <a:gd name="T11" fmla="*/ 2147483647 h 386"/>
                <a:gd name="T12" fmla="*/ 2147483647 w 530"/>
                <a:gd name="T13" fmla="*/ 2147483647 h 386"/>
                <a:gd name="T14" fmla="*/ 2147483647 w 530"/>
                <a:gd name="T15" fmla="*/ 2147483647 h 386"/>
                <a:gd name="T16" fmla="*/ 2147483647 w 530"/>
                <a:gd name="T17" fmla="*/ 2147483647 h 386"/>
                <a:gd name="T18" fmla="*/ 2147483647 w 530"/>
                <a:gd name="T19" fmla="*/ 2147483647 h 386"/>
                <a:gd name="T20" fmla="*/ 2147483647 w 530"/>
                <a:gd name="T21" fmla="*/ 0 h 386"/>
                <a:gd name="T22" fmla="*/ 2147483647 w 530"/>
                <a:gd name="T23" fmla="*/ 2147483647 h 386"/>
                <a:gd name="T24" fmla="*/ 2147483647 w 530"/>
                <a:gd name="T25" fmla="*/ 2147483647 h 386"/>
                <a:gd name="T26" fmla="*/ 2147483647 w 530"/>
                <a:gd name="T27" fmla="*/ 2147483647 h 386"/>
                <a:gd name="T28" fmla="*/ 2147483647 w 530"/>
                <a:gd name="T29" fmla="*/ 2147483647 h 386"/>
                <a:gd name="T30" fmla="*/ 2147483647 w 530"/>
                <a:gd name="T31" fmla="*/ 2147483647 h 386"/>
                <a:gd name="T32" fmla="*/ 2147483647 w 530"/>
                <a:gd name="T33" fmla="*/ 2147483647 h 386"/>
                <a:gd name="T34" fmla="*/ 2147483647 w 530"/>
                <a:gd name="T35" fmla="*/ 2147483647 h 386"/>
                <a:gd name="T36" fmla="*/ 2147483647 w 530"/>
                <a:gd name="T37" fmla="*/ 2147483647 h 386"/>
                <a:gd name="T38" fmla="*/ 2147483647 w 530"/>
                <a:gd name="T39" fmla="*/ 2147483647 h 386"/>
                <a:gd name="T40" fmla="*/ 2147483647 w 530"/>
                <a:gd name="T41" fmla="*/ 2147483647 h 386"/>
                <a:gd name="T42" fmla="*/ 2147483647 w 530"/>
                <a:gd name="T43" fmla="*/ 2147483647 h 386"/>
                <a:gd name="T44" fmla="*/ 2147483647 w 530"/>
                <a:gd name="T45" fmla="*/ 2147483647 h 386"/>
                <a:gd name="T46" fmla="*/ 2147483647 w 530"/>
                <a:gd name="T47" fmla="*/ 2147483647 h 386"/>
                <a:gd name="T48" fmla="*/ 2147483647 w 530"/>
                <a:gd name="T49" fmla="*/ 2147483647 h 386"/>
                <a:gd name="T50" fmla="*/ 2147483647 w 530"/>
                <a:gd name="T51" fmla="*/ 2147483647 h 386"/>
                <a:gd name="T52" fmla="*/ 2147483647 w 530"/>
                <a:gd name="T53" fmla="*/ 2147483647 h 386"/>
                <a:gd name="T54" fmla="*/ 2147483647 w 530"/>
                <a:gd name="T55" fmla="*/ 2147483647 h 386"/>
                <a:gd name="T56" fmla="*/ 2147483647 w 530"/>
                <a:gd name="T57" fmla="*/ 2147483647 h 386"/>
                <a:gd name="T58" fmla="*/ 2147483647 w 530"/>
                <a:gd name="T59" fmla="*/ 2147483647 h 386"/>
                <a:gd name="T60" fmla="*/ 2147483647 w 530"/>
                <a:gd name="T61" fmla="*/ 2147483647 h 386"/>
                <a:gd name="T62" fmla="*/ 2147483647 w 530"/>
                <a:gd name="T63" fmla="*/ 2147483647 h 386"/>
                <a:gd name="T64" fmla="*/ 2147483647 w 530"/>
                <a:gd name="T65" fmla="*/ 2147483647 h 386"/>
                <a:gd name="T66" fmla="*/ 2147483647 w 530"/>
                <a:gd name="T67" fmla="*/ 2147483647 h 386"/>
                <a:gd name="T68" fmla="*/ 2147483647 w 530"/>
                <a:gd name="T69" fmla="*/ 2147483647 h 386"/>
                <a:gd name="T70" fmla="*/ 2147483647 w 530"/>
                <a:gd name="T71" fmla="*/ 2147483647 h 386"/>
                <a:gd name="T72" fmla="*/ 2147483647 w 530"/>
                <a:gd name="T73" fmla="*/ 2147483647 h 386"/>
                <a:gd name="T74" fmla="*/ 2147483647 w 530"/>
                <a:gd name="T75" fmla="*/ 2147483647 h 386"/>
                <a:gd name="T76" fmla="*/ 2147483647 w 530"/>
                <a:gd name="T77" fmla="*/ 2147483647 h 386"/>
                <a:gd name="T78" fmla="*/ 2147483647 w 530"/>
                <a:gd name="T79" fmla="*/ 2147483647 h 386"/>
                <a:gd name="T80" fmla="*/ 2147483647 w 530"/>
                <a:gd name="T81" fmla="*/ 2147483647 h 386"/>
                <a:gd name="T82" fmla="*/ 2147483647 w 530"/>
                <a:gd name="T83" fmla="*/ 2147483647 h 386"/>
                <a:gd name="T84" fmla="*/ 2147483647 w 530"/>
                <a:gd name="T85" fmla="*/ 2147483647 h 386"/>
                <a:gd name="T86" fmla="*/ 2147483647 w 530"/>
                <a:gd name="T87" fmla="*/ 2147483647 h 386"/>
                <a:gd name="T88" fmla="*/ 2147483647 w 530"/>
                <a:gd name="T89" fmla="*/ 2147483647 h 386"/>
                <a:gd name="T90" fmla="*/ 2147483647 w 530"/>
                <a:gd name="T91" fmla="*/ 2147483647 h 386"/>
                <a:gd name="T92" fmla="*/ 2147483647 w 530"/>
                <a:gd name="T93" fmla="*/ 2147483647 h 386"/>
                <a:gd name="T94" fmla="*/ 2147483647 w 530"/>
                <a:gd name="T95" fmla="*/ 2147483647 h 386"/>
                <a:gd name="T96" fmla="*/ 2147483647 w 530"/>
                <a:gd name="T97" fmla="*/ 2147483647 h 386"/>
                <a:gd name="T98" fmla="*/ 2147483647 w 530"/>
                <a:gd name="T99" fmla="*/ 2147483647 h 386"/>
                <a:gd name="T100" fmla="*/ 2147483647 w 530"/>
                <a:gd name="T101" fmla="*/ 2147483647 h 386"/>
                <a:gd name="T102" fmla="*/ 2147483647 w 530"/>
                <a:gd name="T103" fmla="*/ 2147483647 h 386"/>
                <a:gd name="T104" fmla="*/ 2147483647 w 530"/>
                <a:gd name="T105" fmla="*/ 2147483647 h 386"/>
                <a:gd name="T106" fmla="*/ 2147483647 w 530"/>
                <a:gd name="T107" fmla="*/ 2147483647 h 386"/>
                <a:gd name="T108" fmla="*/ 2147483647 w 530"/>
                <a:gd name="T109" fmla="*/ 2147483647 h 386"/>
                <a:gd name="T110" fmla="*/ 2147483647 w 530"/>
                <a:gd name="T111" fmla="*/ 2147483647 h 386"/>
                <a:gd name="T112" fmla="*/ 2147483647 w 530"/>
                <a:gd name="T113" fmla="*/ 2147483647 h 386"/>
                <a:gd name="T114" fmla="*/ 2147483647 w 530"/>
                <a:gd name="T115" fmla="*/ 2147483647 h 386"/>
                <a:gd name="T116" fmla="*/ 2147483647 w 530"/>
                <a:gd name="T117" fmla="*/ 2147483647 h 386"/>
                <a:gd name="T118" fmla="*/ 2147483647 w 530"/>
                <a:gd name="T119" fmla="*/ 2147483647 h 38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0"/>
                <a:gd name="T181" fmla="*/ 0 h 386"/>
                <a:gd name="T182" fmla="*/ 530 w 530"/>
                <a:gd name="T183" fmla="*/ 386 h 38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0" h="386">
                  <a:moveTo>
                    <a:pt x="0" y="130"/>
                  </a:moveTo>
                  <a:lnTo>
                    <a:pt x="0" y="128"/>
                  </a:lnTo>
                  <a:lnTo>
                    <a:pt x="2" y="122"/>
                  </a:lnTo>
                  <a:lnTo>
                    <a:pt x="8" y="120"/>
                  </a:lnTo>
                  <a:lnTo>
                    <a:pt x="8" y="118"/>
                  </a:lnTo>
                  <a:lnTo>
                    <a:pt x="10" y="116"/>
                  </a:lnTo>
                  <a:lnTo>
                    <a:pt x="12" y="114"/>
                  </a:lnTo>
                  <a:lnTo>
                    <a:pt x="12" y="112"/>
                  </a:lnTo>
                  <a:lnTo>
                    <a:pt x="10" y="110"/>
                  </a:lnTo>
                  <a:lnTo>
                    <a:pt x="14" y="104"/>
                  </a:lnTo>
                  <a:lnTo>
                    <a:pt x="14" y="102"/>
                  </a:lnTo>
                  <a:lnTo>
                    <a:pt x="12" y="98"/>
                  </a:lnTo>
                  <a:lnTo>
                    <a:pt x="10" y="94"/>
                  </a:lnTo>
                  <a:lnTo>
                    <a:pt x="10" y="90"/>
                  </a:lnTo>
                  <a:lnTo>
                    <a:pt x="6" y="84"/>
                  </a:lnTo>
                  <a:lnTo>
                    <a:pt x="6" y="78"/>
                  </a:lnTo>
                  <a:lnTo>
                    <a:pt x="6" y="74"/>
                  </a:lnTo>
                  <a:lnTo>
                    <a:pt x="8" y="74"/>
                  </a:lnTo>
                  <a:lnTo>
                    <a:pt x="14" y="76"/>
                  </a:lnTo>
                  <a:lnTo>
                    <a:pt x="20" y="78"/>
                  </a:lnTo>
                  <a:lnTo>
                    <a:pt x="20" y="72"/>
                  </a:lnTo>
                  <a:lnTo>
                    <a:pt x="22" y="68"/>
                  </a:lnTo>
                  <a:lnTo>
                    <a:pt x="22" y="64"/>
                  </a:lnTo>
                  <a:lnTo>
                    <a:pt x="22" y="68"/>
                  </a:lnTo>
                  <a:lnTo>
                    <a:pt x="14" y="64"/>
                  </a:lnTo>
                  <a:lnTo>
                    <a:pt x="10" y="62"/>
                  </a:lnTo>
                  <a:lnTo>
                    <a:pt x="10" y="64"/>
                  </a:lnTo>
                  <a:lnTo>
                    <a:pt x="12" y="64"/>
                  </a:lnTo>
                  <a:lnTo>
                    <a:pt x="8" y="68"/>
                  </a:lnTo>
                  <a:lnTo>
                    <a:pt x="2" y="64"/>
                  </a:lnTo>
                  <a:lnTo>
                    <a:pt x="2" y="62"/>
                  </a:lnTo>
                  <a:lnTo>
                    <a:pt x="2" y="60"/>
                  </a:lnTo>
                  <a:lnTo>
                    <a:pt x="4" y="60"/>
                  </a:lnTo>
                  <a:lnTo>
                    <a:pt x="10" y="60"/>
                  </a:lnTo>
                  <a:lnTo>
                    <a:pt x="16" y="58"/>
                  </a:lnTo>
                  <a:lnTo>
                    <a:pt x="22" y="56"/>
                  </a:lnTo>
                  <a:lnTo>
                    <a:pt x="28" y="54"/>
                  </a:lnTo>
                  <a:lnTo>
                    <a:pt x="30" y="52"/>
                  </a:lnTo>
                  <a:lnTo>
                    <a:pt x="36" y="52"/>
                  </a:lnTo>
                  <a:lnTo>
                    <a:pt x="42" y="50"/>
                  </a:lnTo>
                  <a:lnTo>
                    <a:pt x="44" y="50"/>
                  </a:lnTo>
                  <a:lnTo>
                    <a:pt x="50" y="48"/>
                  </a:lnTo>
                  <a:lnTo>
                    <a:pt x="56" y="46"/>
                  </a:lnTo>
                  <a:lnTo>
                    <a:pt x="62" y="44"/>
                  </a:lnTo>
                  <a:lnTo>
                    <a:pt x="68" y="44"/>
                  </a:lnTo>
                  <a:lnTo>
                    <a:pt x="72" y="42"/>
                  </a:lnTo>
                  <a:lnTo>
                    <a:pt x="80" y="40"/>
                  </a:lnTo>
                  <a:lnTo>
                    <a:pt x="86" y="40"/>
                  </a:lnTo>
                  <a:lnTo>
                    <a:pt x="90" y="38"/>
                  </a:lnTo>
                  <a:lnTo>
                    <a:pt x="96" y="38"/>
                  </a:lnTo>
                  <a:lnTo>
                    <a:pt x="102" y="36"/>
                  </a:lnTo>
                  <a:lnTo>
                    <a:pt x="106" y="32"/>
                  </a:lnTo>
                  <a:lnTo>
                    <a:pt x="112" y="26"/>
                  </a:lnTo>
                  <a:lnTo>
                    <a:pt x="116" y="20"/>
                  </a:lnTo>
                  <a:lnTo>
                    <a:pt x="120" y="20"/>
                  </a:lnTo>
                  <a:lnTo>
                    <a:pt x="124" y="18"/>
                  </a:lnTo>
                  <a:lnTo>
                    <a:pt x="130" y="18"/>
                  </a:lnTo>
                  <a:lnTo>
                    <a:pt x="136" y="16"/>
                  </a:lnTo>
                  <a:lnTo>
                    <a:pt x="142" y="14"/>
                  </a:lnTo>
                  <a:lnTo>
                    <a:pt x="148" y="10"/>
                  </a:lnTo>
                  <a:lnTo>
                    <a:pt x="154" y="8"/>
                  </a:lnTo>
                  <a:lnTo>
                    <a:pt x="160" y="6"/>
                  </a:lnTo>
                  <a:lnTo>
                    <a:pt x="166" y="6"/>
                  </a:lnTo>
                  <a:lnTo>
                    <a:pt x="172" y="4"/>
                  </a:lnTo>
                  <a:lnTo>
                    <a:pt x="178" y="4"/>
                  </a:lnTo>
                  <a:lnTo>
                    <a:pt x="182" y="2"/>
                  </a:lnTo>
                  <a:lnTo>
                    <a:pt x="188" y="2"/>
                  </a:lnTo>
                  <a:lnTo>
                    <a:pt x="192" y="0"/>
                  </a:lnTo>
                  <a:lnTo>
                    <a:pt x="198" y="0"/>
                  </a:lnTo>
                  <a:lnTo>
                    <a:pt x="204" y="0"/>
                  </a:lnTo>
                  <a:lnTo>
                    <a:pt x="210" y="0"/>
                  </a:lnTo>
                  <a:lnTo>
                    <a:pt x="216" y="4"/>
                  </a:lnTo>
                  <a:lnTo>
                    <a:pt x="220" y="6"/>
                  </a:lnTo>
                  <a:lnTo>
                    <a:pt x="226" y="8"/>
                  </a:lnTo>
                  <a:lnTo>
                    <a:pt x="232" y="12"/>
                  </a:lnTo>
                  <a:lnTo>
                    <a:pt x="226" y="8"/>
                  </a:lnTo>
                  <a:lnTo>
                    <a:pt x="220" y="6"/>
                  </a:lnTo>
                  <a:lnTo>
                    <a:pt x="214" y="6"/>
                  </a:lnTo>
                  <a:lnTo>
                    <a:pt x="220" y="14"/>
                  </a:lnTo>
                  <a:lnTo>
                    <a:pt x="222" y="16"/>
                  </a:lnTo>
                  <a:lnTo>
                    <a:pt x="224" y="22"/>
                  </a:lnTo>
                  <a:lnTo>
                    <a:pt x="228" y="28"/>
                  </a:lnTo>
                  <a:lnTo>
                    <a:pt x="230" y="28"/>
                  </a:lnTo>
                  <a:lnTo>
                    <a:pt x="236" y="30"/>
                  </a:lnTo>
                  <a:lnTo>
                    <a:pt x="238" y="32"/>
                  </a:lnTo>
                  <a:lnTo>
                    <a:pt x="244" y="32"/>
                  </a:lnTo>
                  <a:lnTo>
                    <a:pt x="248" y="32"/>
                  </a:lnTo>
                  <a:lnTo>
                    <a:pt x="254" y="32"/>
                  </a:lnTo>
                  <a:lnTo>
                    <a:pt x="260" y="30"/>
                  </a:lnTo>
                  <a:lnTo>
                    <a:pt x="266" y="30"/>
                  </a:lnTo>
                  <a:lnTo>
                    <a:pt x="272" y="28"/>
                  </a:lnTo>
                  <a:lnTo>
                    <a:pt x="278" y="24"/>
                  </a:lnTo>
                  <a:lnTo>
                    <a:pt x="280" y="26"/>
                  </a:lnTo>
                  <a:lnTo>
                    <a:pt x="272" y="28"/>
                  </a:lnTo>
                  <a:lnTo>
                    <a:pt x="268" y="30"/>
                  </a:lnTo>
                  <a:lnTo>
                    <a:pt x="262" y="32"/>
                  </a:lnTo>
                  <a:lnTo>
                    <a:pt x="258" y="34"/>
                  </a:lnTo>
                  <a:lnTo>
                    <a:pt x="260" y="36"/>
                  </a:lnTo>
                  <a:lnTo>
                    <a:pt x="262" y="36"/>
                  </a:lnTo>
                  <a:lnTo>
                    <a:pt x="268" y="36"/>
                  </a:lnTo>
                  <a:lnTo>
                    <a:pt x="274" y="32"/>
                  </a:lnTo>
                  <a:lnTo>
                    <a:pt x="280" y="30"/>
                  </a:lnTo>
                  <a:lnTo>
                    <a:pt x="286" y="26"/>
                  </a:lnTo>
                  <a:lnTo>
                    <a:pt x="290" y="26"/>
                  </a:lnTo>
                  <a:lnTo>
                    <a:pt x="292" y="26"/>
                  </a:lnTo>
                  <a:lnTo>
                    <a:pt x="298" y="28"/>
                  </a:lnTo>
                  <a:lnTo>
                    <a:pt x="300" y="28"/>
                  </a:lnTo>
                  <a:lnTo>
                    <a:pt x="306" y="28"/>
                  </a:lnTo>
                  <a:lnTo>
                    <a:pt x="312" y="28"/>
                  </a:lnTo>
                  <a:lnTo>
                    <a:pt x="314" y="30"/>
                  </a:lnTo>
                  <a:lnTo>
                    <a:pt x="318" y="30"/>
                  </a:lnTo>
                  <a:lnTo>
                    <a:pt x="322" y="30"/>
                  </a:lnTo>
                  <a:lnTo>
                    <a:pt x="328" y="30"/>
                  </a:lnTo>
                  <a:lnTo>
                    <a:pt x="332" y="30"/>
                  </a:lnTo>
                  <a:lnTo>
                    <a:pt x="334" y="32"/>
                  </a:lnTo>
                  <a:lnTo>
                    <a:pt x="336" y="32"/>
                  </a:lnTo>
                  <a:lnTo>
                    <a:pt x="340" y="32"/>
                  </a:lnTo>
                  <a:lnTo>
                    <a:pt x="346" y="32"/>
                  </a:lnTo>
                  <a:lnTo>
                    <a:pt x="352" y="32"/>
                  </a:lnTo>
                  <a:lnTo>
                    <a:pt x="358" y="32"/>
                  </a:lnTo>
                  <a:lnTo>
                    <a:pt x="364" y="34"/>
                  </a:lnTo>
                  <a:lnTo>
                    <a:pt x="366" y="34"/>
                  </a:lnTo>
                  <a:lnTo>
                    <a:pt x="372" y="34"/>
                  </a:lnTo>
                  <a:lnTo>
                    <a:pt x="378" y="34"/>
                  </a:lnTo>
                  <a:lnTo>
                    <a:pt x="380" y="34"/>
                  </a:lnTo>
                  <a:lnTo>
                    <a:pt x="382" y="34"/>
                  </a:lnTo>
                  <a:lnTo>
                    <a:pt x="386" y="34"/>
                  </a:lnTo>
                  <a:lnTo>
                    <a:pt x="394" y="34"/>
                  </a:lnTo>
                  <a:lnTo>
                    <a:pt x="400" y="34"/>
                  </a:lnTo>
                  <a:lnTo>
                    <a:pt x="402" y="32"/>
                  </a:lnTo>
                  <a:lnTo>
                    <a:pt x="408" y="32"/>
                  </a:lnTo>
                  <a:lnTo>
                    <a:pt x="410" y="32"/>
                  </a:lnTo>
                  <a:lnTo>
                    <a:pt x="416" y="32"/>
                  </a:lnTo>
                  <a:lnTo>
                    <a:pt x="422" y="32"/>
                  </a:lnTo>
                  <a:lnTo>
                    <a:pt x="428" y="32"/>
                  </a:lnTo>
                  <a:lnTo>
                    <a:pt x="434" y="32"/>
                  </a:lnTo>
                  <a:lnTo>
                    <a:pt x="440" y="30"/>
                  </a:lnTo>
                  <a:lnTo>
                    <a:pt x="446" y="28"/>
                  </a:lnTo>
                  <a:lnTo>
                    <a:pt x="452" y="32"/>
                  </a:lnTo>
                  <a:lnTo>
                    <a:pt x="458" y="34"/>
                  </a:lnTo>
                  <a:lnTo>
                    <a:pt x="464" y="38"/>
                  </a:lnTo>
                  <a:lnTo>
                    <a:pt x="470" y="40"/>
                  </a:lnTo>
                  <a:lnTo>
                    <a:pt x="476" y="44"/>
                  </a:lnTo>
                  <a:lnTo>
                    <a:pt x="478" y="48"/>
                  </a:lnTo>
                  <a:lnTo>
                    <a:pt x="480" y="52"/>
                  </a:lnTo>
                  <a:lnTo>
                    <a:pt x="480" y="58"/>
                  </a:lnTo>
                  <a:lnTo>
                    <a:pt x="480" y="62"/>
                  </a:lnTo>
                  <a:lnTo>
                    <a:pt x="482" y="68"/>
                  </a:lnTo>
                  <a:lnTo>
                    <a:pt x="484" y="74"/>
                  </a:lnTo>
                  <a:lnTo>
                    <a:pt x="486" y="74"/>
                  </a:lnTo>
                  <a:lnTo>
                    <a:pt x="488" y="80"/>
                  </a:lnTo>
                  <a:lnTo>
                    <a:pt x="490" y="86"/>
                  </a:lnTo>
                  <a:lnTo>
                    <a:pt x="492" y="90"/>
                  </a:lnTo>
                  <a:lnTo>
                    <a:pt x="496" y="94"/>
                  </a:lnTo>
                  <a:lnTo>
                    <a:pt x="498" y="100"/>
                  </a:lnTo>
                  <a:lnTo>
                    <a:pt x="502" y="106"/>
                  </a:lnTo>
                  <a:lnTo>
                    <a:pt x="504" y="112"/>
                  </a:lnTo>
                  <a:lnTo>
                    <a:pt x="504" y="116"/>
                  </a:lnTo>
                  <a:lnTo>
                    <a:pt x="508" y="120"/>
                  </a:lnTo>
                  <a:lnTo>
                    <a:pt x="508" y="124"/>
                  </a:lnTo>
                  <a:lnTo>
                    <a:pt x="508" y="128"/>
                  </a:lnTo>
                  <a:lnTo>
                    <a:pt x="508" y="130"/>
                  </a:lnTo>
                  <a:lnTo>
                    <a:pt x="510" y="136"/>
                  </a:lnTo>
                  <a:lnTo>
                    <a:pt x="504" y="142"/>
                  </a:lnTo>
                  <a:lnTo>
                    <a:pt x="500" y="146"/>
                  </a:lnTo>
                  <a:lnTo>
                    <a:pt x="492" y="148"/>
                  </a:lnTo>
                  <a:lnTo>
                    <a:pt x="488" y="150"/>
                  </a:lnTo>
                  <a:lnTo>
                    <a:pt x="482" y="154"/>
                  </a:lnTo>
                  <a:lnTo>
                    <a:pt x="480" y="156"/>
                  </a:lnTo>
                  <a:lnTo>
                    <a:pt x="478" y="158"/>
                  </a:lnTo>
                  <a:lnTo>
                    <a:pt x="474" y="164"/>
                  </a:lnTo>
                  <a:lnTo>
                    <a:pt x="472" y="168"/>
                  </a:lnTo>
                  <a:lnTo>
                    <a:pt x="476" y="172"/>
                  </a:lnTo>
                  <a:lnTo>
                    <a:pt x="482" y="174"/>
                  </a:lnTo>
                  <a:lnTo>
                    <a:pt x="488" y="176"/>
                  </a:lnTo>
                  <a:lnTo>
                    <a:pt x="494" y="180"/>
                  </a:lnTo>
                  <a:lnTo>
                    <a:pt x="496" y="182"/>
                  </a:lnTo>
                  <a:lnTo>
                    <a:pt x="498" y="184"/>
                  </a:lnTo>
                  <a:lnTo>
                    <a:pt x="496" y="192"/>
                  </a:lnTo>
                  <a:lnTo>
                    <a:pt x="496" y="196"/>
                  </a:lnTo>
                  <a:lnTo>
                    <a:pt x="496" y="202"/>
                  </a:lnTo>
                  <a:lnTo>
                    <a:pt x="494" y="204"/>
                  </a:lnTo>
                  <a:lnTo>
                    <a:pt x="494" y="210"/>
                  </a:lnTo>
                  <a:lnTo>
                    <a:pt x="494" y="212"/>
                  </a:lnTo>
                  <a:lnTo>
                    <a:pt x="496" y="218"/>
                  </a:lnTo>
                  <a:lnTo>
                    <a:pt x="498" y="218"/>
                  </a:lnTo>
                  <a:lnTo>
                    <a:pt x="500" y="224"/>
                  </a:lnTo>
                  <a:lnTo>
                    <a:pt x="502" y="230"/>
                  </a:lnTo>
                  <a:lnTo>
                    <a:pt x="504" y="236"/>
                  </a:lnTo>
                  <a:lnTo>
                    <a:pt x="510" y="242"/>
                  </a:lnTo>
                  <a:lnTo>
                    <a:pt x="514" y="248"/>
                  </a:lnTo>
                  <a:lnTo>
                    <a:pt x="518" y="254"/>
                  </a:lnTo>
                  <a:lnTo>
                    <a:pt x="520" y="254"/>
                  </a:lnTo>
                  <a:lnTo>
                    <a:pt x="524" y="260"/>
                  </a:lnTo>
                  <a:lnTo>
                    <a:pt x="530" y="264"/>
                  </a:lnTo>
                  <a:lnTo>
                    <a:pt x="526" y="264"/>
                  </a:lnTo>
                  <a:lnTo>
                    <a:pt x="520" y="268"/>
                  </a:lnTo>
                  <a:lnTo>
                    <a:pt x="526" y="272"/>
                  </a:lnTo>
                  <a:lnTo>
                    <a:pt x="530" y="278"/>
                  </a:lnTo>
                  <a:lnTo>
                    <a:pt x="530" y="282"/>
                  </a:lnTo>
                  <a:lnTo>
                    <a:pt x="528" y="286"/>
                  </a:lnTo>
                  <a:lnTo>
                    <a:pt x="526" y="286"/>
                  </a:lnTo>
                  <a:lnTo>
                    <a:pt x="526" y="288"/>
                  </a:lnTo>
                  <a:lnTo>
                    <a:pt x="522" y="294"/>
                  </a:lnTo>
                  <a:lnTo>
                    <a:pt x="516" y="294"/>
                  </a:lnTo>
                  <a:lnTo>
                    <a:pt x="510" y="296"/>
                  </a:lnTo>
                  <a:lnTo>
                    <a:pt x="504" y="302"/>
                  </a:lnTo>
                  <a:lnTo>
                    <a:pt x="502" y="304"/>
                  </a:lnTo>
                  <a:lnTo>
                    <a:pt x="500" y="304"/>
                  </a:lnTo>
                  <a:lnTo>
                    <a:pt x="496" y="308"/>
                  </a:lnTo>
                  <a:lnTo>
                    <a:pt x="490" y="314"/>
                  </a:lnTo>
                  <a:lnTo>
                    <a:pt x="488" y="314"/>
                  </a:lnTo>
                  <a:lnTo>
                    <a:pt x="484" y="320"/>
                  </a:lnTo>
                  <a:lnTo>
                    <a:pt x="480" y="324"/>
                  </a:lnTo>
                  <a:lnTo>
                    <a:pt x="476" y="328"/>
                  </a:lnTo>
                  <a:lnTo>
                    <a:pt x="472" y="334"/>
                  </a:lnTo>
                  <a:lnTo>
                    <a:pt x="470" y="336"/>
                  </a:lnTo>
                  <a:lnTo>
                    <a:pt x="466" y="340"/>
                  </a:lnTo>
                  <a:lnTo>
                    <a:pt x="464" y="342"/>
                  </a:lnTo>
                  <a:lnTo>
                    <a:pt x="460" y="348"/>
                  </a:lnTo>
                  <a:lnTo>
                    <a:pt x="458" y="350"/>
                  </a:lnTo>
                  <a:lnTo>
                    <a:pt x="460" y="356"/>
                  </a:lnTo>
                  <a:lnTo>
                    <a:pt x="462" y="362"/>
                  </a:lnTo>
                  <a:lnTo>
                    <a:pt x="464" y="366"/>
                  </a:lnTo>
                  <a:lnTo>
                    <a:pt x="462" y="372"/>
                  </a:lnTo>
                  <a:lnTo>
                    <a:pt x="466" y="378"/>
                  </a:lnTo>
                  <a:lnTo>
                    <a:pt x="472" y="382"/>
                  </a:lnTo>
                  <a:lnTo>
                    <a:pt x="472" y="386"/>
                  </a:lnTo>
                  <a:lnTo>
                    <a:pt x="466" y="384"/>
                  </a:lnTo>
                  <a:lnTo>
                    <a:pt x="460" y="384"/>
                  </a:lnTo>
                  <a:lnTo>
                    <a:pt x="454" y="382"/>
                  </a:lnTo>
                  <a:lnTo>
                    <a:pt x="450" y="382"/>
                  </a:lnTo>
                  <a:lnTo>
                    <a:pt x="442" y="378"/>
                  </a:lnTo>
                  <a:lnTo>
                    <a:pt x="438" y="378"/>
                  </a:lnTo>
                  <a:lnTo>
                    <a:pt x="432" y="374"/>
                  </a:lnTo>
                  <a:lnTo>
                    <a:pt x="426" y="370"/>
                  </a:lnTo>
                  <a:lnTo>
                    <a:pt x="424" y="368"/>
                  </a:lnTo>
                  <a:lnTo>
                    <a:pt x="420" y="364"/>
                  </a:lnTo>
                  <a:lnTo>
                    <a:pt x="412" y="362"/>
                  </a:lnTo>
                  <a:lnTo>
                    <a:pt x="408" y="360"/>
                  </a:lnTo>
                  <a:lnTo>
                    <a:pt x="404" y="358"/>
                  </a:lnTo>
                  <a:lnTo>
                    <a:pt x="398" y="360"/>
                  </a:lnTo>
                  <a:lnTo>
                    <a:pt x="392" y="358"/>
                  </a:lnTo>
                  <a:lnTo>
                    <a:pt x="390" y="358"/>
                  </a:lnTo>
                  <a:lnTo>
                    <a:pt x="384" y="358"/>
                  </a:lnTo>
                  <a:lnTo>
                    <a:pt x="378" y="358"/>
                  </a:lnTo>
                  <a:lnTo>
                    <a:pt x="372" y="364"/>
                  </a:lnTo>
                  <a:lnTo>
                    <a:pt x="366" y="368"/>
                  </a:lnTo>
                  <a:lnTo>
                    <a:pt x="360" y="364"/>
                  </a:lnTo>
                  <a:lnTo>
                    <a:pt x="354" y="360"/>
                  </a:lnTo>
                  <a:lnTo>
                    <a:pt x="352" y="360"/>
                  </a:lnTo>
                  <a:lnTo>
                    <a:pt x="348" y="362"/>
                  </a:lnTo>
                  <a:lnTo>
                    <a:pt x="340" y="360"/>
                  </a:lnTo>
                  <a:lnTo>
                    <a:pt x="340" y="362"/>
                  </a:lnTo>
                  <a:lnTo>
                    <a:pt x="334" y="360"/>
                  </a:lnTo>
                  <a:lnTo>
                    <a:pt x="330" y="364"/>
                  </a:lnTo>
                  <a:lnTo>
                    <a:pt x="324" y="370"/>
                  </a:lnTo>
                  <a:lnTo>
                    <a:pt x="318" y="374"/>
                  </a:lnTo>
                  <a:lnTo>
                    <a:pt x="312" y="374"/>
                  </a:lnTo>
                  <a:lnTo>
                    <a:pt x="310" y="374"/>
                  </a:lnTo>
                  <a:lnTo>
                    <a:pt x="308" y="368"/>
                  </a:lnTo>
                  <a:lnTo>
                    <a:pt x="306" y="362"/>
                  </a:lnTo>
                  <a:lnTo>
                    <a:pt x="300" y="360"/>
                  </a:lnTo>
                  <a:lnTo>
                    <a:pt x="294" y="356"/>
                  </a:lnTo>
                  <a:lnTo>
                    <a:pt x="292" y="350"/>
                  </a:lnTo>
                  <a:lnTo>
                    <a:pt x="290" y="348"/>
                  </a:lnTo>
                  <a:lnTo>
                    <a:pt x="284" y="348"/>
                  </a:lnTo>
                  <a:lnTo>
                    <a:pt x="280" y="352"/>
                  </a:lnTo>
                  <a:lnTo>
                    <a:pt x="274" y="358"/>
                  </a:lnTo>
                  <a:lnTo>
                    <a:pt x="268" y="360"/>
                  </a:lnTo>
                  <a:lnTo>
                    <a:pt x="262" y="362"/>
                  </a:lnTo>
                  <a:lnTo>
                    <a:pt x="262" y="358"/>
                  </a:lnTo>
                  <a:lnTo>
                    <a:pt x="262" y="354"/>
                  </a:lnTo>
                  <a:lnTo>
                    <a:pt x="256" y="352"/>
                  </a:lnTo>
                  <a:lnTo>
                    <a:pt x="254" y="346"/>
                  </a:lnTo>
                  <a:lnTo>
                    <a:pt x="248" y="342"/>
                  </a:lnTo>
                  <a:lnTo>
                    <a:pt x="242" y="340"/>
                  </a:lnTo>
                  <a:lnTo>
                    <a:pt x="242" y="338"/>
                  </a:lnTo>
                  <a:lnTo>
                    <a:pt x="242" y="336"/>
                  </a:lnTo>
                  <a:lnTo>
                    <a:pt x="240" y="332"/>
                  </a:lnTo>
                  <a:lnTo>
                    <a:pt x="240" y="328"/>
                  </a:lnTo>
                  <a:lnTo>
                    <a:pt x="234" y="326"/>
                  </a:lnTo>
                  <a:lnTo>
                    <a:pt x="228" y="324"/>
                  </a:lnTo>
                  <a:lnTo>
                    <a:pt x="226" y="326"/>
                  </a:lnTo>
                  <a:lnTo>
                    <a:pt x="220" y="322"/>
                  </a:lnTo>
                  <a:lnTo>
                    <a:pt x="214" y="320"/>
                  </a:lnTo>
                  <a:lnTo>
                    <a:pt x="212" y="316"/>
                  </a:lnTo>
                  <a:lnTo>
                    <a:pt x="206" y="320"/>
                  </a:lnTo>
                  <a:lnTo>
                    <a:pt x="200" y="322"/>
                  </a:lnTo>
                  <a:lnTo>
                    <a:pt x="200" y="320"/>
                  </a:lnTo>
                  <a:lnTo>
                    <a:pt x="194" y="314"/>
                  </a:lnTo>
                  <a:lnTo>
                    <a:pt x="192" y="312"/>
                  </a:lnTo>
                  <a:lnTo>
                    <a:pt x="194" y="306"/>
                  </a:lnTo>
                  <a:lnTo>
                    <a:pt x="194" y="302"/>
                  </a:lnTo>
                  <a:lnTo>
                    <a:pt x="188" y="302"/>
                  </a:lnTo>
                  <a:lnTo>
                    <a:pt x="184" y="302"/>
                  </a:lnTo>
                  <a:lnTo>
                    <a:pt x="182" y="302"/>
                  </a:lnTo>
                  <a:lnTo>
                    <a:pt x="176" y="302"/>
                  </a:lnTo>
                  <a:lnTo>
                    <a:pt x="174" y="300"/>
                  </a:lnTo>
                  <a:lnTo>
                    <a:pt x="168" y="298"/>
                  </a:lnTo>
                  <a:lnTo>
                    <a:pt x="162" y="294"/>
                  </a:lnTo>
                  <a:lnTo>
                    <a:pt x="156" y="292"/>
                  </a:lnTo>
                  <a:lnTo>
                    <a:pt x="150" y="290"/>
                  </a:lnTo>
                  <a:lnTo>
                    <a:pt x="150" y="296"/>
                  </a:lnTo>
                  <a:lnTo>
                    <a:pt x="156" y="302"/>
                  </a:lnTo>
                  <a:lnTo>
                    <a:pt x="150" y="306"/>
                  </a:lnTo>
                  <a:lnTo>
                    <a:pt x="148" y="308"/>
                  </a:lnTo>
                  <a:lnTo>
                    <a:pt x="142" y="312"/>
                  </a:lnTo>
                  <a:lnTo>
                    <a:pt x="140" y="314"/>
                  </a:lnTo>
                  <a:lnTo>
                    <a:pt x="134" y="310"/>
                  </a:lnTo>
                  <a:lnTo>
                    <a:pt x="132" y="306"/>
                  </a:lnTo>
                  <a:lnTo>
                    <a:pt x="126" y="300"/>
                  </a:lnTo>
                  <a:lnTo>
                    <a:pt x="120" y="294"/>
                  </a:lnTo>
                  <a:lnTo>
                    <a:pt x="114" y="294"/>
                  </a:lnTo>
                  <a:lnTo>
                    <a:pt x="112" y="292"/>
                  </a:lnTo>
                  <a:lnTo>
                    <a:pt x="118" y="286"/>
                  </a:lnTo>
                  <a:lnTo>
                    <a:pt x="122" y="284"/>
                  </a:lnTo>
                  <a:lnTo>
                    <a:pt x="122" y="278"/>
                  </a:lnTo>
                  <a:lnTo>
                    <a:pt x="116" y="276"/>
                  </a:lnTo>
                  <a:lnTo>
                    <a:pt x="112" y="278"/>
                  </a:lnTo>
                  <a:lnTo>
                    <a:pt x="108" y="276"/>
                  </a:lnTo>
                  <a:lnTo>
                    <a:pt x="102" y="280"/>
                  </a:lnTo>
                  <a:lnTo>
                    <a:pt x="100" y="274"/>
                  </a:lnTo>
                  <a:lnTo>
                    <a:pt x="94" y="274"/>
                  </a:lnTo>
                  <a:lnTo>
                    <a:pt x="90" y="270"/>
                  </a:lnTo>
                  <a:lnTo>
                    <a:pt x="84" y="270"/>
                  </a:lnTo>
                  <a:lnTo>
                    <a:pt x="78" y="268"/>
                  </a:lnTo>
                  <a:lnTo>
                    <a:pt x="72" y="266"/>
                  </a:lnTo>
                  <a:lnTo>
                    <a:pt x="68" y="268"/>
                  </a:lnTo>
                  <a:lnTo>
                    <a:pt x="64" y="262"/>
                  </a:lnTo>
                  <a:lnTo>
                    <a:pt x="64" y="256"/>
                  </a:lnTo>
                  <a:lnTo>
                    <a:pt x="60" y="254"/>
                  </a:lnTo>
                  <a:lnTo>
                    <a:pt x="54" y="254"/>
                  </a:lnTo>
                  <a:lnTo>
                    <a:pt x="52" y="252"/>
                  </a:lnTo>
                  <a:lnTo>
                    <a:pt x="50" y="252"/>
                  </a:lnTo>
                  <a:lnTo>
                    <a:pt x="48" y="252"/>
                  </a:lnTo>
                  <a:lnTo>
                    <a:pt x="48" y="254"/>
                  </a:lnTo>
                  <a:lnTo>
                    <a:pt x="48" y="258"/>
                  </a:lnTo>
                  <a:lnTo>
                    <a:pt x="48" y="260"/>
                  </a:lnTo>
                  <a:lnTo>
                    <a:pt x="48" y="262"/>
                  </a:lnTo>
                  <a:lnTo>
                    <a:pt x="42" y="262"/>
                  </a:lnTo>
                  <a:lnTo>
                    <a:pt x="40" y="262"/>
                  </a:lnTo>
                  <a:lnTo>
                    <a:pt x="40" y="260"/>
                  </a:lnTo>
                  <a:lnTo>
                    <a:pt x="42" y="258"/>
                  </a:lnTo>
                  <a:lnTo>
                    <a:pt x="44" y="252"/>
                  </a:lnTo>
                  <a:lnTo>
                    <a:pt x="46" y="250"/>
                  </a:lnTo>
                  <a:lnTo>
                    <a:pt x="48" y="244"/>
                  </a:lnTo>
                  <a:lnTo>
                    <a:pt x="48" y="242"/>
                  </a:lnTo>
                  <a:lnTo>
                    <a:pt x="48" y="236"/>
                  </a:lnTo>
                  <a:lnTo>
                    <a:pt x="48" y="234"/>
                  </a:lnTo>
                  <a:lnTo>
                    <a:pt x="48" y="232"/>
                  </a:lnTo>
                  <a:lnTo>
                    <a:pt x="46" y="230"/>
                  </a:lnTo>
                  <a:lnTo>
                    <a:pt x="46" y="226"/>
                  </a:lnTo>
                  <a:lnTo>
                    <a:pt x="40" y="222"/>
                  </a:lnTo>
                  <a:lnTo>
                    <a:pt x="34" y="218"/>
                  </a:lnTo>
                  <a:lnTo>
                    <a:pt x="32" y="218"/>
                  </a:lnTo>
                  <a:lnTo>
                    <a:pt x="34" y="212"/>
                  </a:lnTo>
                  <a:lnTo>
                    <a:pt x="34" y="208"/>
                  </a:lnTo>
                  <a:lnTo>
                    <a:pt x="28" y="204"/>
                  </a:lnTo>
                  <a:lnTo>
                    <a:pt x="26" y="198"/>
                  </a:lnTo>
                  <a:lnTo>
                    <a:pt x="30" y="192"/>
                  </a:lnTo>
                  <a:lnTo>
                    <a:pt x="30" y="190"/>
                  </a:lnTo>
                  <a:lnTo>
                    <a:pt x="30" y="188"/>
                  </a:lnTo>
                  <a:lnTo>
                    <a:pt x="34" y="182"/>
                  </a:lnTo>
                  <a:lnTo>
                    <a:pt x="30" y="178"/>
                  </a:lnTo>
                  <a:lnTo>
                    <a:pt x="30" y="172"/>
                  </a:lnTo>
                  <a:lnTo>
                    <a:pt x="30" y="170"/>
                  </a:lnTo>
                  <a:lnTo>
                    <a:pt x="24" y="168"/>
                  </a:lnTo>
                  <a:lnTo>
                    <a:pt x="24" y="166"/>
                  </a:lnTo>
                  <a:lnTo>
                    <a:pt x="22" y="166"/>
                  </a:lnTo>
                  <a:lnTo>
                    <a:pt x="22" y="164"/>
                  </a:lnTo>
                  <a:lnTo>
                    <a:pt x="24" y="158"/>
                  </a:lnTo>
                  <a:lnTo>
                    <a:pt x="26" y="154"/>
                  </a:lnTo>
                  <a:lnTo>
                    <a:pt x="26" y="150"/>
                  </a:lnTo>
                  <a:lnTo>
                    <a:pt x="26" y="148"/>
                  </a:lnTo>
                  <a:lnTo>
                    <a:pt x="24" y="148"/>
                  </a:lnTo>
                  <a:lnTo>
                    <a:pt x="18" y="144"/>
                  </a:lnTo>
                  <a:lnTo>
                    <a:pt x="16" y="142"/>
                  </a:lnTo>
                  <a:lnTo>
                    <a:pt x="10" y="136"/>
                  </a:lnTo>
                  <a:lnTo>
                    <a:pt x="4" y="134"/>
                  </a:lnTo>
                  <a:lnTo>
                    <a:pt x="0" y="1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0" name="Freeform 37"/>
            <p:cNvSpPr>
              <a:spLocks/>
            </p:cNvSpPr>
            <p:nvPr/>
          </p:nvSpPr>
          <p:spPr bwMode="auto">
            <a:xfrm>
              <a:off x="4608513" y="2959100"/>
              <a:ext cx="87312" cy="76200"/>
            </a:xfrm>
            <a:custGeom>
              <a:avLst/>
              <a:gdLst>
                <a:gd name="T0" fmla="*/ 2147483647 w 214"/>
                <a:gd name="T1" fmla="*/ 2147483647 h 184"/>
                <a:gd name="T2" fmla="*/ 2147483647 w 214"/>
                <a:gd name="T3" fmla="*/ 2147483647 h 184"/>
                <a:gd name="T4" fmla="*/ 2147483647 w 214"/>
                <a:gd name="T5" fmla="*/ 2147483647 h 184"/>
                <a:gd name="T6" fmla="*/ 2147483647 w 214"/>
                <a:gd name="T7" fmla="*/ 2147483647 h 184"/>
                <a:gd name="T8" fmla="*/ 2147483647 w 214"/>
                <a:gd name="T9" fmla="*/ 2147483647 h 184"/>
                <a:gd name="T10" fmla="*/ 2147483647 w 214"/>
                <a:gd name="T11" fmla="*/ 2147483647 h 184"/>
                <a:gd name="T12" fmla="*/ 2147483647 w 214"/>
                <a:gd name="T13" fmla="*/ 2147483647 h 184"/>
                <a:gd name="T14" fmla="*/ 2147483647 w 214"/>
                <a:gd name="T15" fmla="*/ 2147483647 h 184"/>
                <a:gd name="T16" fmla="*/ 2147483647 w 214"/>
                <a:gd name="T17" fmla="*/ 2147483647 h 184"/>
                <a:gd name="T18" fmla="*/ 2147483647 w 214"/>
                <a:gd name="T19" fmla="*/ 2147483647 h 184"/>
                <a:gd name="T20" fmla="*/ 2147483647 w 214"/>
                <a:gd name="T21" fmla="*/ 2147483647 h 184"/>
                <a:gd name="T22" fmla="*/ 2147483647 w 214"/>
                <a:gd name="T23" fmla="*/ 2147483647 h 184"/>
                <a:gd name="T24" fmla="*/ 2147483647 w 214"/>
                <a:gd name="T25" fmla="*/ 2147483647 h 184"/>
                <a:gd name="T26" fmla="*/ 2147483647 w 214"/>
                <a:gd name="T27" fmla="*/ 2147483647 h 184"/>
                <a:gd name="T28" fmla="*/ 2147483647 w 214"/>
                <a:gd name="T29" fmla="*/ 2147483647 h 184"/>
                <a:gd name="T30" fmla="*/ 2147483647 w 214"/>
                <a:gd name="T31" fmla="*/ 2147483647 h 184"/>
                <a:gd name="T32" fmla="*/ 2147483647 w 214"/>
                <a:gd name="T33" fmla="*/ 2147483647 h 184"/>
                <a:gd name="T34" fmla="*/ 2147483647 w 214"/>
                <a:gd name="T35" fmla="*/ 2147483647 h 184"/>
                <a:gd name="T36" fmla="*/ 2147483647 w 214"/>
                <a:gd name="T37" fmla="*/ 2147483647 h 184"/>
                <a:gd name="T38" fmla="*/ 2147483647 w 214"/>
                <a:gd name="T39" fmla="*/ 2147483647 h 184"/>
                <a:gd name="T40" fmla="*/ 2147483647 w 214"/>
                <a:gd name="T41" fmla="*/ 2147483647 h 184"/>
                <a:gd name="T42" fmla="*/ 2147483647 w 214"/>
                <a:gd name="T43" fmla="*/ 2147483647 h 184"/>
                <a:gd name="T44" fmla="*/ 2147483647 w 214"/>
                <a:gd name="T45" fmla="*/ 2147483647 h 184"/>
                <a:gd name="T46" fmla="*/ 2147483647 w 214"/>
                <a:gd name="T47" fmla="*/ 2147483647 h 184"/>
                <a:gd name="T48" fmla="*/ 2147483647 w 214"/>
                <a:gd name="T49" fmla="*/ 2147483647 h 184"/>
                <a:gd name="T50" fmla="*/ 2147483647 w 214"/>
                <a:gd name="T51" fmla="*/ 2147483647 h 184"/>
                <a:gd name="T52" fmla="*/ 2147483647 w 214"/>
                <a:gd name="T53" fmla="*/ 2147483647 h 184"/>
                <a:gd name="T54" fmla="*/ 2147483647 w 214"/>
                <a:gd name="T55" fmla="*/ 2147483647 h 184"/>
                <a:gd name="T56" fmla="*/ 2147483647 w 214"/>
                <a:gd name="T57" fmla="*/ 2147483647 h 184"/>
                <a:gd name="T58" fmla="*/ 2147483647 w 214"/>
                <a:gd name="T59" fmla="*/ 2147483647 h 184"/>
                <a:gd name="T60" fmla="*/ 2147483647 w 214"/>
                <a:gd name="T61" fmla="*/ 2147483647 h 184"/>
                <a:gd name="T62" fmla="*/ 2147483647 w 214"/>
                <a:gd name="T63" fmla="*/ 2147483647 h 184"/>
                <a:gd name="T64" fmla="*/ 2147483647 w 214"/>
                <a:gd name="T65" fmla="*/ 2147483647 h 184"/>
                <a:gd name="T66" fmla="*/ 2147483647 w 214"/>
                <a:gd name="T67" fmla="*/ 2147483647 h 184"/>
                <a:gd name="T68" fmla="*/ 2147483647 w 214"/>
                <a:gd name="T69" fmla="*/ 2147483647 h 184"/>
                <a:gd name="T70" fmla="*/ 2147483647 w 214"/>
                <a:gd name="T71" fmla="*/ 2147483647 h 184"/>
                <a:gd name="T72" fmla="*/ 2147483647 w 214"/>
                <a:gd name="T73" fmla="*/ 2147483647 h 184"/>
                <a:gd name="T74" fmla="*/ 2147483647 w 214"/>
                <a:gd name="T75" fmla="*/ 2147483647 h 184"/>
                <a:gd name="T76" fmla="*/ 2147483647 w 214"/>
                <a:gd name="T77" fmla="*/ 2147483647 h 184"/>
                <a:gd name="T78" fmla="*/ 2147483647 w 214"/>
                <a:gd name="T79" fmla="*/ 2147483647 h 184"/>
                <a:gd name="T80" fmla="*/ 2147483647 w 214"/>
                <a:gd name="T81" fmla="*/ 2147483647 h 184"/>
                <a:gd name="T82" fmla="*/ 2147483647 w 214"/>
                <a:gd name="T83" fmla="*/ 2147483647 h 184"/>
                <a:gd name="T84" fmla="*/ 2147483647 w 214"/>
                <a:gd name="T85" fmla="*/ 2147483647 h 184"/>
                <a:gd name="T86" fmla="*/ 2147483647 w 214"/>
                <a:gd name="T87" fmla="*/ 2147483647 h 184"/>
                <a:gd name="T88" fmla="*/ 2147483647 w 214"/>
                <a:gd name="T89" fmla="*/ 2147483647 h 184"/>
                <a:gd name="T90" fmla="*/ 2147483647 w 214"/>
                <a:gd name="T91" fmla="*/ 2147483647 h 184"/>
                <a:gd name="T92" fmla="*/ 2147483647 w 214"/>
                <a:gd name="T93" fmla="*/ 2147483647 h 184"/>
                <a:gd name="T94" fmla="*/ 2147483647 w 214"/>
                <a:gd name="T95" fmla="*/ 2147483647 h 184"/>
                <a:gd name="T96" fmla="*/ 2147483647 w 214"/>
                <a:gd name="T97" fmla="*/ 2147483647 h 184"/>
                <a:gd name="T98" fmla="*/ 2147483647 w 214"/>
                <a:gd name="T99" fmla="*/ 2147483647 h 184"/>
                <a:gd name="T100" fmla="*/ 2147483647 w 214"/>
                <a:gd name="T101" fmla="*/ 2147483647 h 184"/>
                <a:gd name="T102" fmla="*/ 2147483647 w 214"/>
                <a:gd name="T103" fmla="*/ 2147483647 h 184"/>
                <a:gd name="T104" fmla="*/ 2147483647 w 214"/>
                <a:gd name="T105" fmla="*/ 2147483647 h 184"/>
                <a:gd name="T106" fmla="*/ 2147483647 w 214"/>
                <a:gd name="T107" fmla="*/ 2147483647 h 184"/>
                <a:gd name="T108" fmla="*/ 2147483647 w 214"/>
                <a:gd name="T109" fmla="*/ 2147483647 h 184"/>
                <a:gd name="T110" fmla="*/ 2147483647 w 214"/>
                <a:gd name="T111" fmla="*/ 2147483647 h 184"/>
                <a:gd name="T112" fmla="*/ 2147483647 w 214"/>
                <a:gd name="T113" fmla="*/ 2147483647 h 184"/>
                <a:gd name="T114" fmla="*/ 2147483647 w 214"/>
                <a:gd name="T115" fmla="*/ 2147483647 h 184"/>
                <a:gd name="T116" fmla="*/ 0 w 214"/>
                <a:gd name="T117" fmla="*/ 2147483647 h 18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4"/>
                <a:gd name="T178" fmla="*/ 0 h 184"/>
                <a:gd name="T179" fmla="*/ 214 w 214"/>
                <a:gd name="T180" fmla="*/ 184 h 18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4" h="184">
                  <a:moveTo>
                    <a:pt x="0" y="14"/>
                  </a:moveTo>
                  <a:lnTo>
                    <a:pt x="0" y="12"/>
                  </a:lnTo>
                  <a:lnTo>
                    <a:pt x="2" y="6"/>
                  </a:lnTo>
                  <a:lnTo>
                    <a:pt x="4" y="4"/>
                  </a:lnTo>
                  <a:lnTo>
                    <a:pt x="6" y="2"/>
                  </a:lnTo>
                  <a:lnTo>
                    <a:pt x="12" y="2"/>
                  </a:lnTo>
                  <a:lnTo>
                    <a:pt x="16" y="6"/>
                  </a:lnTo>
                  <a:lnTo>
                    <a:pt x="18" y="8"/>
                  </a:lnTo>
                  <a:lnTo>
                    <a:pt x="24" y="14"/>
                  </a:lnTo>
                  <a:lnTo>
                    <a:pt x="28" y="18"/>
                  </a:lnTo>
                  <a:lnTo>
                    <a:pt x="30" y="18"/>
                  </a:lnTo>
                  <a:lnTo>
                    <a:pt x="34" y="14"/>
                  </a:lnTo>
                  <a:lnTo>
                    <a:pt x="38" y="8"/>
                  </a:lnTo>
                  <a:lnTo>
                    <a:pt x="40" y="6"/>
                  </a:lnTo>
                  <a:lnTo>
                    <a:pt x="40" y="4"/>
                  </a:lnTo>
                  <a:lnTo>
                    <a:pt x="40" y="2"/>
                  </a:lnTo>
                  <a:lnTo>
                    <a:pt x="46" y="2"/>
                  </a:lnTo>
                  <a:lnTo>
                    <a:pt x="54" y="4"/>
                  </a:lnTo>
                  <a:lnTo>
                    <a:pt x="58" y="6"/>
                  </a:lnTo>
                  <a:lnTo>
                    <a:pt x="58" y="2"/>
                  </a:lnTo>
                  <a:lnTo>
                    <a:pt x="62" y="0"/>
                  </a:lnTo>
                  <a:lnTo>
                    <a:pt x="68" y="2"/>
                  </a:lnTo>
                  <a:lnTo>
                    <a:pt x="68" y="4"/>
                  </a:lnTo>
                  <a:lnTo>
                    <a:pt x="74" y="6"/>
                  </a:lnTo>
                  <a:lnTo>
                    <a:pt x="80" y="8"/>
                  </a:lnTo>
                  <a:lnTo>
                    <a:pt x="86" y="8"/>
                  </a:lnTo>
                  <a:lnTo>
                    <a:pt x="92" y="10"/>
                  </a:lnTo>
                  <a:lnTo>
                    <a:pt x="96" y="10"/>
                  </a:lnTo>
                  <a:lnTo>
                    <a:pt x="102" y="10"/>
                  </a:lnTo>
                  <a:lnTo>
                    <a:pt x="104" y="8"/>
                  </a:lnTo>
                  <a:lnTo>
                    <a:pt x="110" y="12"/>
                  </a:lnTo>
                  <a:lnTo>
                    <a:pt x="112" y="14"/>
                  </a:lnTo>
                  <a:lnTo>
                    <a:pt x="118" y="14"/>
                  </a:lnTo>
                  <a:lnTo>
                    <a:pt x="120" y="10"/>
                  </a:lnTo>
                  <a:lnTo>
                    <a:pt x="122" y="10"/>
                  </a:lnTo>
                  <a:lnTo>
                    <a:pt x="122" y="8"/>
                  </a:lnTo>
                  <a:lnTo>
                    <a:pt x="130" y="12"/>
                  </a:lnTo>
                  <a:lnTo>
                    <a:pt x="134" y="12"/>
                  </a:lnTo>
                  <a:lnTo>
                    <a:pt x="140" y="10"/>
                  </a:lnTo>
                  <a:lnTo>
                    <a:pt x="146" y="12"/>
                  </a:lnTo>
                  <a:lnTo>
                    <a:pt x="148" y="14"/>
                  </a:lnTo>
                  <a:lnTo>
                    <a:pt x="150" y="14"/>
                  </a:lnTo>
                  <a:lnTo>
                    <a:pt x="152" y="14"/>
                  </a:lnTo>
                  <a:lnTo>
                    <a:pt x="156" y="14"/>
                  </a:lnTo>
                  <a:lnTo>
                    <a:pt x="162" y="16"/>
                  </a:lnTo>
                  <a:lnTo>
                    <a:pt x="162" y="18"/>
                  </a:lnTo>
                  <a:lnTo>
                    <a:pt x="164" y="18"/>
                  </a:lnTo>
                  <a:lnTo>
                    <a:pt x="166" y="18"/>
                  </a:lnTo>
                  <a:lnTo>
                    <a:pt x="164" y="22"/>
                  </a:lnTo>
                  <a:lnTo>
                    <a:pt x="170" y="28"/>
                  </a:lnTo>
                  <a:lnTo>
                    <a:pt x="176" y="28"/>
                  </a:lnTo>
                  <a:lnTo>
                    <a:pt x="180" y="28"/>
                  </a:lnTo>
                  <a:lnTo>
                    <a:pt x="186" y="24"/>
                  </a:lnTo>
                  <a:lnTo>
                    <a:pt x="188" y="24"/>
                  </a:lnTo>
                  <a:lnTo>
                    <a:pt x="194" y="24"/>
                  </a:lnTo>
                  <a:lnTo>
                    <a:pt x="198" y="26"/>
                  </a:lnTo>
                  <a:lnTo>
                    <a:pt x="198" y="30"/>
                  </a:lnTo>
                  <a:lnTo>
                    <a:pt x="196" y="36"/>
                  </a:lnTo>
                  <a:lnTo>
                    <a:pt x="196" y="38"/>
                  </a:lnTo>
                  <a:lnTo>
                    <a:pt x="192" y="44"/>
                  </a:lnTo>
                  <a:lnTo>
                    <a:pt x="188" y="48"/>
                  </a:lnTo>
                  <a:lnTo>
                    <a:pt x="188" y="50"/>
                  </a:lnTo>
                  <a:lnTo>
                    <a:pt x="186" y="54"/>
                  </a:lnTo>
                  <a:lnTo>
                    <a:pt x="184" y="60"/>
                  </a:lnTo>
                  <a:lnTo>
                    <a:pt x="188" y="66"/>
                  </a:lnTo>
                  <a:lnTo>
                    <a:pt x="192" y="68"/>
                  </a:lnTo>
                  <a:lnTo>
                    <a:pt x="198" y="68"/>
                  </a:lnTo>
                  <a:lnTo>
                    <a:pt x="202" y="74"/>
                  </a:lnTo>
                  <a:lnTo>
                    <a:pt x="208" y="78"/>
                  </a:lnTo>
                  <a:lnTo>
                    <a:pt x="208" y="80"/>
                  </a:lnTo>
                  <a:lnTo>
                    <a:pt x="214" y="82"/>
                  </a:lnTo>
                  <a:lnTo>
                    <a:pt x="214" y="84"/>
                  </a:lnTo>
                  <a:lnTo>
                    <a:pt x="208" y="90"/>
                  </a:lnTo>
                  <a:lnTo>
                    <a:pt x="202" y="88"/>
                  </a:lnTo>
                  <a:lnTo>
                    <a:pt x="196" y="86"/>
                  </a:lnTo>
                  <a:lnTo>
                    <a:pt x="194" y="88"/>
                  </a:lnTo>
                  <a:lnTo>
                    <a:pt x="200" y="94"/>
                  </a:lnTo>
                  <a:lnTo>
                    <a:pt x="204" y="98"/>
                  </a:lnTo>
                  <a:lnTo>
                    <a:pt x="206" y="102"/>
                  </a:lnTo>
                  <a:lnTo>
                    <a:pt x="208" y="102"/>
                  </a:lnTo>
                  <a:lnTo>
                    <a:pt x="210" y="106"/>
                  </a:lnTo>
                  <a:lnTo>
                    <a:pt x="210" y="110"/>
                  </a:lnTo>
                  <a:lnTo>
                    <a:pt x="210" y="112"/>
                  </a:lnTo>
                  <a:lnTo>
                    <a:pt x="206" y="116"/>
                  </a:lnTo>
                  <a:lnTo>
                    <a:pt x="200" y="114"/>
                  </a:lnTo>
                  <a:lnTo>
                    <a:pt x="196" y="114"/>
                  </a:lnTo>
                  <a:lnTo>
                    <a:pt x="192" y="120"/>
                  </a:lnTo>
                  <a:lnTo>
                    <a:pt x="188" y="120"/>
                  </a:lnTo>
                  <a:lnTo>
                    <a:pt x="184" y="120"/>
                  </a:lnTo>
                  <a:lnTo>
                    <a:pt x="178" y="120"/>
                  </a:lnTo>
                  <a:lnTo>
                    <a:pt x="178" y="124"/>
                  </a:lnTo>
                  <a:lnTo>
                    <a:pt x="184" y="130"/>
                  </a:lnTo>
                  <a:lnTo>
                    <a:pt x="182" y="136"/>
                  </a:lnTo>
                  <a:lnTo>
                    <a:pt x="180" y="132"/>
                  </a:lnTo>
                  <a:lnTo>
                    <a:pt x="174" y="130"/>
                  </a:lnTo>
                  <a:lnTo>
                    <a:pt x="174" y="132"/>
                  </a:lnTo>
                  <a:lnTo>
                    <a:pt x="172" y="132"/>
                  </a:lnTo>
                  <a:lnTo>
                    <a:pt x="170" y="134"/>
                  </a:lnTo>
                  <a:lnTo>
                    <a:pt x="164" y="138"/>
                  </a:lnTo>
                  <a:lnTo>
                    <a:pt x="164" y="140"/>
                  </a:lnTo>
                  <a:lnTo>
                    <a:pt x="162" y="146"/>
                  </a:lnTo>
                  <a:lnTo>
                    <a:pt x="162" y="148"/>
                  </a:lnTo>
                  <a:lnTo>
                    <a:pt x="164" y="154"/>
                  </a:lnTo>
                  <a:lnTo>
                    <a:pt x="156" y="154"/>
                  </a:lnTo>
                  <a:lnTo>
                    <a:pt x="152" y="158"/>
                  </a:lnTo>
                  <a:lnTo>
                    <a:pt x="154" y="166"/>
                  </a:lnTo>
                  <a:lnTo>
                    <a:pt x="156" y="172"/>
                  </a:lnTo>
                  <a:lnTo>
                    <a:pt x="160" y="174"/>
                  </a:lnTo>
                  <a:lnTo>
                    <a:pt x="160" y="178"/>
                  </a:lnTo>
                  <a:lnTo>
                    <a:pt x="158" y="184"/>
                  </a:lnTo>
                  <a:lnTo>
                    <a:pt x="156" y="184"/>
                  </a:lnTo>
                  <a:lnTo>
                    <a:pt x="154" y="184"/>
                  </a:lnTo>
                  <a:lnTo>
                    <a:pt x="148" y="180"/>
                  </a:lnTo>
                  <a:lnTo>
                    <a:pt x="142" y="180"/>
                  </a:lnTo>
                  <a:lnTo>
                    <a:pt x="140" y="178"/>
                  </a:lnTo>
                  <a:lnTo>
                    <a:pt x="138" y="174"/>
                  </a:lnTo>
                  <a:lnTo>
                    <a:pt x="132" y="170"/>
                  </a:lnTo>
                  <a:lnTo>
                    <a:pt x="126" y="170"/>
                  </a:lnTo>
                  <a:lnTo>
                    <a:pt x="120" y="164"/>
                  </a:lnTo>
                  <a:lnTo>
                    <a:pt x="120" y="162"/>
                  </a:lnTo>
                  <a:lnTo>
                    <a:pt x="112" y="160"/>
                  </a:lnTo>
                  <a:lnTo>
                    <a:pt x="110" y="162"/>
                  </a:lnTo>
                  <a:lnTo>
                    <a:pt x="108" y="162"/>
                  </a:lnTo>
                  <a:lnTo>
                    <a:pt x="104" y="158"/>
                  </a:lnTo>
                  <a:lnTo>
                    <a:pt x="110" y="156"/>
                  </a:lnTo>
                  <a:lnTo>
                    <a:pt x="108" y="152"/>
                  </a:lnTo>
                  <a:lnTo>
                    <a:pt x="108" y="150"/>
                  </a:lnTo>
                  <a:lnTo>
                    <a:pt x="104" y="148"/>
                  </a:lnTo>
                  <a:lnTo>
                    <a:pt x="100" y="144"/>
                  </a:lnTo>
                  <a:lnTo>
                    <a:pt x="96" y="142"/>
                  </a:lnTo>
                  <a:lnTo>
                    <a:pt x="90" y="136"/>
                  </a:lnTo>
                  <a:lnTo>
                    <a:pt x="88" y="136"/>
                  </a:lnTo>
                  <a:lnTo>
                    <a:pt x="88" y="132"/>
                  </a:lnTo>
                  <a:lnTo>
                    <a:pt x="86" y="126"/>
                  </a:lnTo>
                  <a:lnTo>
                    <a:pt x="86" y="124"/>
                  </a:lnTo>
                  <a:lnTo>
                    <a:pt x="80" y="120"/>
                  </a:lnTo>
                  <a:lnTo>
                    <a:pt x="74" y="118"/>
                  </a:lnTo>
                  <a:lnTo>
                    <a:pt x="70" y="114"/>
                  </a:lnTo>
                  <a:lnTo>
                    <a:pt x="66" y="110"/>
                  </a:lnTo>
                  <a:lnTo>
                    <a:pt x="60" y="104"/>
                  </a:lnTo>
                  <a:lnTo>
                    <a:pt x="56" y="102"/>
                  </a:lnTo>
                  <a:lnTo>
                    <a:pt x="54" y="96"/>
                  </a:lnTo>
                  <a:lnTo>
                    <a:pt x="48" y="90"/>
                  </a:lnTo>
                  <a:lnTo>
                    <a:pt x="46" y="88"/>
                  </a:lnTo>
                  <a:lnTo>
                    <a:pt x="40" y="84"/>
                  </a:lnTo>
                  <a:lnTo>
                    <a:pt x="36" y="82"/>
                  </a:lnTo>
                  <a:lnTo>
                    <a:pt x="32" y="76"/>
                  </a:lnTo>
                  <a:lnTo>
                    <a:pt x="28" y="72"/>
                  </a:lnTo>
                  <a:lnTo>
                    <a:pt x="26" y="72"/>
                  </a:lnTo>
                  <a:lnTo>
                    <a:pt x="26" y="70"/>
                  </a:lnTo>
                  <a:lnTo>
                    <a:pt x="26" y="68"/>
                  </a:lnTo>
                  <a:lnTo>
                    <a:pt x="26" y="64"/>
                  </a:lnTo>
                  <a:lnTo>
                    <a:pt x="26" y="62"/>
                  </a:lnTo>
                  <a:lnTo>
                    <a:pt x="24" y="60"/>
                  </a:lnTo>
                  <a:lnTo>
                    <a:pt x="22" y="56"/>
                  </a:lnTo>
                  <a:lnTo>
                    <a:pt x="22" y="54"/>
                  </a:lnTo>
                  <a:lnTo>
                    <a:pt x="18" y="50"/>
                  </a:lnTo>
                  <a:lnTo>
                    <a:pt x="14" y="44"/>
                  </a:lnTo>
                  <a:lnTo>
                    <a:pt x="12" y="40"/>
                  </a:lnTo>
                  <a:lnTo>
                    <a:pt x="10" y="38"/>
                  </a:lnTo>
                  <a:lnTo>
                    <a:pt x="6" y="38"/>
                  </a:lnTo>
                  <a:lnTo>
                    <a:pt x="0" y="32"/>
                  </a:lnTo>
                  <a:lnTo>
                    <a:pt x="2" y="28"/>
                  </a:lnTo>
                  <a:lnTo>
                    <a:pt x="0" y="22"/>
                  </a:lnTo>
                  <a:lnTo>
                    <a:pt x="2" y="18"/>
                  </a:lnTo>
                  <a:lnTo>
                    <a:pt x="0"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1" name="Freeform 38"/>
            <p:cNvSpPr>
              <a:spLocks/>
            </p:cNvSpPr>
            <p:nvPr/>
          </p:nvSpPr>
          <p:spPr bwMode="auto">
            <a:xfrm>
              <a:off x="4757738" y="2987675"/>
              <a:ext cx="141287" cy="84138"/>
            </a:xfrm>
            <a:custGeom>
              <a:avLst/>
              <a:gdLst>
                <a:gd name="T0" fmla="*/ 2147483647 w 344"/>
                <a:gd name="T1" fmla="*/ 2147483647 h 204"/>
                <a:gd name="T2" fmla="*/ 2147483647 w 344"/>
                <a:gd name="T3" fmla="*/ 2147483647 h 204"/>
                <a:gd name="T4" fmla="*/ 2147483647 w 344"/>
                <a:gd name="T5" fmla="*/ 2147483647 h 204"/>
                <a:gd name="T6" fmla="*/ 2147483647 w 344"/>
                <a:gd name="T7" fmla="*/ 2147483647 h 204"/>
                <a:gd name="T8" fmla="*/ 2147483647 w 344"/>
                <a:gd name="T9" fmla="*/ 2147483647 h 204"/>
                <a:gd name="T10" fmla="*/ 2147483647 w 344"/>
                <a:gd name="T11" fmla="*/ 2147483647 h 204"/>
                <a:gd name="T12" fmla="*/ 2147483647 w 344"/>
                <a:gd name="T13" fmla="*/ 2147483647 h 204"/>
                <a:gd name="T14" fmla="*/ 2147483647 w 344"/>
                <a:gd name="T15" fmla="*/ 2147483647 h 204"/>
                <a:gd name="T16" fmla="*/ 2147483647 w 344"/>
                <a:gd name="T17" fmla="*/ 2147483647 h 204"/>
                <a:gd name="T18" fmla="*/ 2147483647 w 344"/>
                <a:gd name="T19" fmla="*/ 2147483647 h 204"/>
                <a:gd name="T20" fmla="*/ 2147483647 w 344"/>
                <a:gd name="T21" fmla="*/ 2147483647 h 204"/>
                <a:gd name="T22" fmla="*/ 2147483647 w 344"/>
                <a:gd name="T23" fmla="*/ 2147483647 h 204"/>
                <a:gd name="T24" fmla="*/ 2147483647 w 344"/>
                <a:gd name="T25" fmla="*/ 2147483647 h 204"/>
                <a:gd name="T26" fmla="*/ 2147483647 w 344"/>
                <a:gd name="T27" fmla="*/ 2147483647 h 204"/>
                <a:gd name="T28" fmla="*/ 2147483647 w 344"/>
                <a:gd name="T29" fmla="*/ 2147483647 h 204"/>
                <a:gd name="T30" fmla="*/ 2147483647 w 344"/>
                <a:gd name="T31" fmla="*/ 2147483647 h 204"/>
                <a:gd name="T32" fmla="*/ 2147483647 w 344"/>
                <a:gd name="T33" fmla="*/ 2147483647 h 204"/>
                <a:gd name="T34" fmla="*/ 2147483647 w 344"/>
                <a:gd name="T35" fmla="*/ 2147483647 h 204"/>
                <a:gd name="T36" fmla="*/ 2147483647 w 344"/>
                <a:gd name="T37" fmla="*/ 2147483647 h 204"/>
                <a:gd name="T38" fmla="*/ 2147483647 w 344"/>
                <a:gd name="T39" fmla="*/ 2147483647 h 204"/>
                <a:gd name="T40" fmla="*/ 2147483647 w 344"/>
                <a:gd name="T41" fmla="*/ 2147483647 h 204"/>
                <a:gd name="T42" fmla="*/ 2147483647 w 344"/>
                <a:gd name="T43" fmla="*/ 2147483647 h 204"/>
                <a:gd name="T44" fmla="*/ 2147483647 w 344"/>
                <a:gd name="T45" fmla="*/ 2147483647 h 204"/>
                <a:gd name="T46" fmla="*/ 2147483647 w 344"/>
                <a:gd name="T47" fmla="*/ 2147483647 h 204"/>
                <a:gd name="T48" fmla="*/ 2147483647 w 344"/>
                <a:gd name="T49" fmla="*/ 2147483647 h 204"/>
                <a:gd name="T50" fmla="*/ 2147483647 w 344"/>
                <a:gd name="T51" fmla="*/ 2147483647 h 204"/>
                <a:gd name="T52" fmla="*/ 2147483647 w 344"/>
                <a:gd name="T53" fmla="*/ 2147483647 h 204"/>
                <a:gd name="T54" fmla="*/ 2147483647 w 344"/>
                <a:gd name="T55" fmla="*/ 2147483647 h 204"/>
                <a:gd name="T56" fmla="*/ 2147483647 w 344"/>
                <a:gd name="T57" fmla="*/ 2147483647 h 204"/>
                <a:gd name="T58" fmla="*/ 2147483647 w 344"/>
                <a:gd name="T59" fmla="*/ 2147483647 h 204"/>
                <a:gd name="T60" fmla="*/ 2147483647 w 344"/>
                <a:gd name="T61" fmla="*/ 2147483647 h 204"/>
                <a:gd name="T62" fmla="*/ 2147483647 w 344"/>
                <a:gd name="T63" fmla="*/ 2147483647 h 204"/>
                <a:gd name="T64" fmla="*/ 2147483647 w 344"/>
                <a:gd name="T65" fmla="*/ 2147483647 h 204"/>
                <a:gd name="T66" fmla="*/ 2147483647 w 344"/>
                <a:gd name="T67" fmla="*/ 2147483647 h 204"/>
                <a:gd name="T68" fmla="*/ 2147483647 w 344"/>
                <a:gd name="T69" fmla="*/ 2147483647 h 204"/>
                <a:gd name="T70" fmla="*/ 2147483647 w 344"/>
                <a:gd name="T71" fmla="*/ 2147483647 h 204"/>
                <a:gd name="T72" fmla="*/ 2147483647 w 344"/>
                <a:gd name="T73" fmla="*/ 2147483647 h 204"/>
                <a:gd name="T74" fmla="*/ 2147483647 w 344"/>
                <a:gd name="T75" fmla="*/ 2147483647 h 204"/>
                <a:gd name="T76" fmla="*/ 2147483647 w 344"/>
                <a:gd name="T77" fmla="*/ 2147483647 h 204"/>
                <a:gd name="T78" fmla="*/ 2147483647 w 344"/>
                <a:gd name="T79" fmla="*/ 2147483647 h 204"/>
                <a:gd name="T80" fmla="*/ 2147483647 w 344"/>
                <a:gd name="T81" fmla="*/ 2147483647 h 204"/>
                <a:gd name="T82" fmla="*/ 2147483647 w 344"/>
                <a:gd name="T83" fmla="*/ 2147483647 h 204"/>
                <a:gd name="T84" fmla="*/ 2147483647 w 344"/>
                <a:gd name="T85" fmla="*/ 2147483647 h 204"/>
                <a:gd name="T86" fmla="*/ 2147483647 w 344"/>
                <a:gd name="T87" fmla="*/ 2147483647 h 204"/>
                <a:gd name="T88" fmla="*/ 2147483647 w 344"/>
                <a:gd name="T89" fmla="*/ 2147483647 h 204"/>
                <a:gd name="T90" fmla="*/ 2147483647 w 344"/>
                <a:gd name="T91" fmla="*/ 2147483647 h 204"/>
                <a:gd name="T92" fmla="*/ 2147483647 w 344"/>
                <a:gd name="T93" fmla="*/ 2147483647 h 204"/>
                <a:gd name="T94" fmla="*/ 2147483647 w 344"/>
                <a:gd name="T95" fmla="*/ 2147483647 h 204"/>
                <a:gd name="T96" fmla="*/ 2147483647 w 344"/>
                <a:gd name="T97" fmla="*/ 2147483647 h 204"/>
                <a:gd name="T98" fmla="*/ 2147483647 w 344"/>
                <a:gd name="T99" fmla="*/ 2147483647 h 204"/>
                <a:gd name="T100" fmla="*/ 2147483647 w 344"/>
                <a:gd name="T101" fmla="*/ 2147483647 h 204"/>
                <a:gd name="T102" fmla="*/ 0 w 344"/>
                <a:gd name="T103" fmla="*/ 2147483647 h 20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44"/>
                <a:gd name="T157" fmla="*/ 0 h 204"/>
                <a:gd name="T158" fmla="*/ 344 w 344"/>
                <a:gd name="T159" fmla="*/ 204 h 20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44" h="204">
                  <a:moveTo>
                    <a:pt x="0" y="32"/>
                  </a:moveTo>
                  <a:lnTo>
                    <a:pt x="0" y="26"/>
                  </a:lnTo>
                  <a:lnTo>
                    <a:pt x="0" y="20"/>
                  </a:lnTo>
                  <a:lnTo>
                    <a:pt x="6" y="14"/>
                  </a:lnTo>
                  <a:lnTo>
                    <a:pt x="8" y="12"/>
                  </a:lnTo>
                  <a:lnTo>
                    <a:pt x="12" y="8"/>
                  </a:lnTo>
                  <a:lnTo>
                    <a:pt x="14" y="2"/>
                  </a:lnTo>
                  <a:lnTo>
                    <a:pt x="14" y="0"/>
                  </a:lnTo>
                  <a:lnTo>
                    <a:pt x="20" y="4"/>
                  </a:lnTo>
                  <a:lnTo>
                    <a:pt x="26" y="8"/>
                  </a:lnTo>
                  <a:lnTo>
                    <a:pt x="32" y="10"/>
                  </a:lnTo>
                  <a:lnTo>
                    <a:pt x="34" y="14"/>
                  </a:lnTo>
                  <a:lnTo>
                    <a:pt x="30" y="16"/>
                  </a:lnTo>
                  <a:lnTo>
                    <a:pt x="28" y="16"/>
                  </a:lnTo>
                  <a:lnTo>
                    <a:pt x="26" y="18"/>
                  </a:lnTo>
                  <a:lnTo>
                    <a:pt x="26" y="20"/>
                  </a:lnTo>
                  <a:lnTo>
                    <a:pt x="24" y="22"/>
                  </a:lnTo>
                  <a:lnTo>
                    <a:pt x="24" y="24"/>
                  </a:lnTo>
                  <a:lnTo>
                    <a:pt x="26" y="26"/>
                  </a:lnTo>
                  <a:lnTo>
                    <a:pt x="30" y="28"/>
                  </a:lnTo>
                  <a:lnTo>
                    <a:pt x="34" y="28"/>
                  </a:lnTo>
                  <a:lnTo>
                    <a:pt x="36" y="30"/>
                  </a:lnTo>
                  <a:lnTo>
                    <a:pt x="38" y="30"/>
                  </a:lnTo>
                  <a:lnTo>
                    <a:pt x="42" y="28"/>
                  </a:lnTo>
                  <a:lnTo>
                    <a:pt x="46" y="28"/>
                  </a:lnTo>
                  <a:lnTo>
                    <a:pt x="48" y="26"/>
                  </a:lnTo>
                  <a:lnTo>
                    <a:pt x="54" y="26"/>
                  </a:lnTo>
                  <a:lnTo>
                    <a:pt x="58" y="26"/>
                  </a:lnTo>
                  <a:lnTo>
                    <a:pt x="60" y="28"/>
                  </a:lnTo>
                  <a:lnTo>
                    <a:pt x="62" y="28"/>
                  </a:lnTo>
                  <a:lnTo>
                    <a:pt x="68" y="30"/>
                  </a:lnTo>
                  <a:lnTo>
                    <a:pt x="72" y="30"/>
                  </a:lnTo>
                  <a:lnTo>
                    <a:pt x="76" y="30"/>
                  </a:lnTo>
                  <a:lnTo>
                    <a:pt x="78" y="32"/>
                  </a:lnTo>
                  <a:lnTo>
                    <a:pt x="80" y="32"/>
                  </a:lnTo>
                  <a:lnTo>
                    <a:pt x="86" y="34"/>
                  </a:lnTo>
                  <a:lnTo>
                    <a:pt x="90" y="34"/>
                  </a:lnTo>
                  <a:lnTo>
                    <a:pt x="94" y="36"/>
                  </a:lnTo>
                  <a:lnTo>
                    <a:pt x="96" y="36"/>
                  </a:lnTo>
                  <a:lnTo>
                    <a:pt x="98" y="38"/>
                  </a:lnTo>
                  <a:lnTo>
                    <a:pt x="104" y="36"/>
                  </a:lnTo>
                  <a:lnTo>
                    <a:pt x="108" y="36"/>
                  </a:lnTo>
                  <a:lnTo>
                    <a:pt x="110" y="36"/>
                  </a:lnTo>
                  <a:lnTo>
                    <a:pt x="114" y="34"/>
                  </a:lnTo>
                  <a:lnTo>
                    <a:pt x="116" y="32"/>
                  </a:lnTo>
                  <a:lnTo>
                    <a:pt x="120" y="32"/>
                  </a:lnTo>
                  <a:lnTo>
                    <a:pt x="126" y="36"/>
                  </a:lnTo>
                  <a:lnTo>
                    <a:pt x="128" y="36"/>
                  </a:lnTo>
                  <a:lnTo>
                    <a:pt x="134" y="36"/>
                  </a:lnTo>
                  <a:lnTo>
                    <a:pt x="140" y="36"/>
                  </a:lnTo>
                  <a:lnTo>
                    <a:pt x="144" y="36"/>
                  </a:lnTo>
                  <a:lnTo>
                    <a:pt x="146" y="36"/>
                  </a:lnTo>
                  <a:lnTo>
                    <a:pt x="150" y="38"/>
                  </a:lnTo>
                  <a:lnTo>
                    <a:pt x="152" y="38"/>
                  </a:lnTo>
                  <a:lnTo>
                    <a:pt x="156" y="38"/>
                  </a:lnTo>
                  <a:lnTo>
                    <a:pt x="160" y="40"/>
                  </a:lnTo>
                  <a:lnTo>
                    <a:pt x="164" y="42"/>
                  </a:lnTo>
                  <a:lnTo>
                    <a:pt x="170" y="42"/>
                  </a:lnTo>
                  <a:lnTo>
                    <a:pt x="170" y="40"/>
                  </a:lnTo>
                  <a:lnTo>
                    <a:pt x="172" y="40"/>
                  </a:lnTo>
                  <a:lnTo>
                    <a:pt x="176" y="40"/>
                  </a:lnTo>
                  <a:lnTo>
                    <a:pt x="180" y="38"/>
                  </a:lnTo>
                  <a:lnTo>
                    <a:pt x="182" y="38"/>
                  </a:lnTo>
                  <a:lnTo>
                    <a:pt x="186" y="36"/>
                  </a:lnTo>
                  <a:lnTo>
                    <a:pt x="190" y="34"/>
                  </a:lnTo>
                  <a:lnTo>
                    <a:pt x="192" y="32"/>
                  </a:lnTo>
                  <a:lnTo>
                    <a:pt x="192" y="30"/>
                  </a:lnTo>
                  <a:lnTo>
                    <a:pt x="194" y="28"/>
                  </a:lnTo>
                  <a:lnTo>
                    <a:pt x="198" y="26"/>
                  </a:lnTo>
                  <a:lnTo>
                    <a:pt x="198" y="24"/>
                  </a:lnTo>
                  <a:lnTo>
                    <a:pt x="200" y="24"/>
                  </a:lnTo>
                  <a:lnTo>
                    <a:pt x="202" y="22"/>
                  </a:lnTo>
                  <a:lnTo>
                    <a:pt x="202" y="20"/>
                  </a:lnTo>
                  <a:lnTo>
                    <a:pt x="208" y="16"/>
                  </a:lnTo>
                  <a:lnTo>
                    <a:pt x="210" y="16"/>
                  </a:lnTo>
                  <a:lnTo>
                    <a:pt x="212" y="16"/>
                  </a:lnTo>
                  <a:lnTo>
                    <a:pt x="214" y="16"/>
                  </a:lnTo>
                  <a:lnTo>
                    <a:pt x="216" y="14"/>
                  </a:lnTo>
                  <a:lnTo>
                    <a:pt x="218" y="14"/>
                  </a:lnTo>
                  <a:lnTo>
                    <a:pt x="220" y="14"/>
                  </a:lnTo>
                  <a:lnTo>
                    <a:pt x="222" y="14"/>
                  </a:lnTo>
                  <a:lnTo>
                    <a:pt x="226" y="12"/>
                  </a:lnTo>
                  <a:lnTo>
                    <a:pt x="232" y="12"/>
                  </a:lnTo>
                  <a:lnTo>
                    <a:pt x="234" y="12"/>
                  </a:lnTo>
                  <a:lnTo>
                    <a:pt x="238" y="10"/>
                  </a:lnTo>
                  <a:lnTo>
                    <a:pt x="240" y="10"/>
                  </a:lnTo>
                  <a:lnTo>
                    <a:pt x="246" y="8"/>
                  </a:lnTo>
                  <a:lnTo>
                    <a:pt x="248" y="8"/>
                  </a:lnTo>
                  <a:lnTo>
                    <a:pt x="254" y="6"/>
                  </a:lnTo>
                  <a:lnTo>
                    <a:pt x="258" y="6"/>
                  </a:lnTo>
                  <a:lnTo>
                    <a:pt x="262" y="8"/>
                  </a:lnTo>
                  <a:lnTo>
                    <a:pt x="268" y="8"/>
                  </a:lnTo>
                  <a:lnTo>
                    <a:pt x="274" y="14"/>
                  </a:lnTo>
                  <a:lnTo>
                    <a:pt x="280" y="16"/>
                  </a:lnTo>
                  <a:lnTo>
                    <a:pt x="286" y="14"/>
                  </a:lnTo>
                  <a:lnTo>
                    <a:pt x="292" y="16"/>
                  </a:lnTo>
                  <a:lnTo>
                    <a:pt x="298" y="18"/>
                  </a:lnTo>
                  <a:lnTo>
                    <a:pt x="304" y="16"/>
                  </a:lnTo>
                  <a:lnTo>
                    <a:pt x="308" y="22"/>
                  </a:lnTo>
                  <a:lnTo>
                    <a:pt x="312" y="28"/>
                  </a:lnTo>
                  <a:lnTo>
                    <a:pt x="318" y="30"/>
                  </a:lnTo>
                  <a:lnTo>
                    <a:pt x="324" y="32"/>
                  </a:lnTo>
                  <a:lnTo>
                    <a:pt x="330" y="32"/>
                  </a:lnTo>
                  <a:lnTo>
                    <a:pt x="336" y="34"/>
                  </a:lnTo>
                  <a:lnTo>
                    <a:pt x="340" y="34"/>
                  </a:lnTo>
                  <a:lnTo>
                    <a:pt x="342" y="34"/>
                  </a:lnTo>
                  <a:lnTo>
                    <a:pt x="342" y="40"/>
                  </a:lnTo>
                  <a:lnTo>
                    <a:pt x="344" y="46"/>
                  </a:lnTo>
                  <a:lnTo>
                    <a:pt x="344" y="52"/>
                  </a:lnTo>
                  <a:lnTo>
                    <a:pt x="340" y="58"/>
                  </a:lnTo>
                  <a:lnTo>
                    <a:pt x="334" y="56"/>
                  </a:lnTo>
                  <a:lnTo>
                    <a:pt x="328" y="56"/>
                  </a:lnTo>
                  <a:lnTo>
                    <a:pt x="322" y="58"/>
                  </a:lnTo>
                  <a:lnTo>
                    <a:pt x="316" y="62"/>
                  </a:lnTo>
                  <a:lnTo>
                    <a:pt x="314" y="68"/>
                  </a:lnTo>
                  <a:lnTo>
                    <a:pt x="308" y="70"/>
                  </a:lnTo>
                  <a:lnTo>
                    <a:pt x="310" y="76"/>
                  </a:lnTo>
                  <a:lnTo>
                    <a:pt x="308" y="84"/>
                  </a:lnTo>
                  <a:lnTo>
                    <a:pt x="310" y="88"/>
                  </a:lnTo>
                  <a:lnTo>
                    <a:pt x="310" y="94"/>
                  </a:lnTo>
                  <a:lnTo>
                    <a:pt x="308" y="96"/>
                  </a:lnTo>
                  <a:lnTo>
                    <a:pt x="310" y="100"/>
                  </a:lnTo>
                  <a:lnTo>
                    <a:pt x="304" y="104"/>
                  </a:lnTo>
                  <a:lnTo>
                    <a:pt x="298" y="108"/>
                  </a:lnTo>
                  <a:lnTo>
                    <a:pt x="298" y="114"/>
                  </a:lnTo>
                  <a:lnTo>
                    <a:pt x="292" y="114"/>
                  </a:lnTo>
                  <a:lnTo>
                    <a:pt x="286" y="120"/>
                  </a:lnTo>
                  <a:lnTo>
                    <a:pt x="292" y="122"/>
                  </a:lnTo>
                  <a:lnTo>
                    <a:pt x="298" y="124"/>
                  </a:lnTo>
                  <a:lnTo>
                    <a:pt x="304" y="130"/>
                  </a:lnTo>
                  <a:lnTo>
                    <a:pt x="304" y="136"/>
                  </a:lnTo>
                  <a:lnTo>
                    <a:pt x="310" y="140"/>
                  </a:lnTo>
                  <a:lnTo>
                    <a:pt x="316" y="146"/>
                  </a:lnTo>
                  <a:lnTo>
                    <a:pt x="320" y="152"/>
                  </a:lnTo>
                  <a:lnTo>
                    <a:pt x="320" y="154"/>
                  </a:lnTo>
                  <a:lnTo>
                    <a:pt x="314" y="154"/>
                  </a:lnTo>
                  <a:lnTo>
                    <a:pt x="308" y="156"/>
                  </a:lnTo>
                  <a:lnTo>
                    <a:pt x="304" y="154"/>
                  </a:lnTo>
                  <a:lnTo>
                    <a:pt x="298" y="158"/>
                  </a:lnTo>
                  <a:lnTo>
                    <a:pt x="292" y="156"/>
                  </a:lnTo>
                  <a:lnTo>
                    <a:pt x="288" y="154"/>
                  </a:lnTo>
                  <a:lnTo>
                    <a:pt x="284" y="148"/>
                  </a:lnTo>
                  <a:lnTo>
                    <a:pt x="278" y="146"/>
                  </a:lnTo>
                  <a:lnTo>
                    <a:pt x="272" y="148"/>
                  </a:lnTo>
                  <a:lnTo>
                    <a:pt x="266" y="146"/>
                  </a:lnTo>
                  <a:lnTo>
                    <a:pt x="262" y="150"/>
                  </a:lnTo>
                  <a:lnTo>
                    <a:pt x="262" y="152"/>
                  </a:lnTo>
                  <a:lnTo>
                    <a:pt x="256" y="154"/>
                  </a:lnTo>
                  <a:lnTo>
                    <a:pt x="250" y="156"/>
                  </a:lnTo>
                  <a:lnTo>
                    <a:pt x="244" y="154"/>
                  </a:lnTo>
                  <a:lnTo>
                    <a:pt x="240" y="158"/>
                  </a:lnTo>
                  <a:lnTo>
                    <a:pt x="240" y="160"/>
                  </a:lnTo>
                  <a:lnTo>
                    <a:pt x="240" y="162"/>
                  </a:lnTo>
                  <a:lnTo>
                    <a:pt x="234" y="164"/>
                  </a:lnTo>
                  <a:lnTo>
                    <a:pt x="228" y="168"/>
                  </a:lnTo>
                  <a:lnTo>
                    <a:pt x="228" y="172"/>
                  </a:lnTo>
                  <a:lnTo>
                    <a:pt x="230" y="172"/>
                  </a:lnTo>
                  <a:lnTo>
                    <a:pt x="224" y="172"/>
                  </a:lnTo>
                  <a:lnTo>
                    <a:pt x="222" y="170"/>
                  </a:lnTo>
                  <a:lnTo>
                    <a:pt x="220" y="170"/>
                  </a:lnTo>
                  <a:lnTo>
                    <a:pt x="214" y="176"/>
                  </a:lnTo>
                  <a:lnTo>
                    <a:pt x="220" y="182"/>
                  </a:lnTo>
                  <a:lnTo>
                    <a:pt x="220" y="188"/>
                  </a:lnTo>
                  <a:lnTo>
                    <a:pt x="220" y="194"/>
                  </a:lnTo>
                  <a:lnTo>
                    <a:pt x="214" y="198"/>
                  </a:lnTo>
                  <a:lnTo>
                    <a:pt x="208" y="200"/>
                  </a:lnTo>
                  <a:lnTo>
                    <a:pt x="206" y="200"/>
                  </a:lnTo>
                  <a:lnTo>
                    <a:pt x="200" y="198"/>
                  </a:lnTo>
                  <a:lnTo>
                    <a:pt x="194" y="200"/>
                  </a:lnTo>
                  <a:lnTo>
                    <a:pt x="188" y="200"/>
                  </a:lnTo>
                  <a:lnTo>
                    <a:pt x="182" y="202"/>
                  </a:lnTo>
                  <a:lnTo>
                    <a:pt x="180" y="202"/>
                  </a:lnTo>
                  <a:lnTo>
                    <a:pt x="174" y="204"/>
                  </a:lnTo>
                  <a:lnTo>
                    <a:pt x="170" y="204"/>
                  </a:lnTo>
                  <a:lnTo>
                    <a:pt x="166" y="202"/>
                  </a:lnTo>
                  <a:lnTo>
                    <a:pt x="162" y="198"/>
                  </a:lnTo>
                  <a:lnTo>
                    <a:pt x="156" y="196"/>
                  </a:lnTo>
                  <a:lnTo>
                    <a:pt x="152" y="194"/>
                  </a:lnTo>
                  <a:lnTo>
                    <a:pt x="146" y="198"/>
                  </a:lnTo>
                  <a:lnTo>
                    <a:pt x="142" y="196"/>
                  </a:lnTo>
                  <a:lnTo>
                    <a:pt x="136" y="192"/>
                  </a:lnTo>
                  <a:lnTo>
                    <a:pt x="130" y="188"/>
                  </a:lnTo>
                  <a:lnTo>
                    <a:pt x="128" y="182"/>
                  </a:lnTo>
                  <a:lnTo>
                    <a:pt x="122" y="184"/>
                  </a:lnTo>
                  <a:lnTo>
                    <a:pt x="116" y="184"/>
                  </a:lnTo>
                  <a:lnTo>
                    <a:pt x="110" y="184"/>
                  </a:lnTo>
                  <a:lnTo>
                    <a:pt x="106" y="184"/>
                  </a:lnTo>
                  <a:lnTo>
                    <a:pt x="100" y="190"/>
                  </a:lnTo>
                  <a:lnTo>
                    <a:pt x="96" y="190"/>
                  </a:lnTo>
                  <a:lnTo>
                    <a:pt x="90" y="192"/>
                  </a:lnTo>
                  <a:lnTo>
                    <a:pt x="84" y="194"/>
                  </a:lnTo>
                  <a:lnTo>
                    <a:pt x="78" y="196"/>
                  </a:lnTo>
                  <a:lnTo>
                    <a:pt x="76" y="196"/>
                  </a:lnTo>
                  <a:lnTo>
                    <a:pt x="70" y="194"/>
                  </a:lnTo>
                  <a:lnTo>
                    <a:pt x="64" y="194"/>
                  </a:lnTo>
                  <a:lnTo>
                    <a:pt x="64" y="196"/>
                  </a:lnTo>
                  <a:lnTo>
                    <a:pt x="62" y="196"/>
                  </a:lnTo>
                  <a:lnTo>
                    <a:pt x="58" y="196"/>
                  </a:lnTo>
                  <a:lnTo>
                    <a:pt x="52" y="200"/>
                  </a:lnTo>
                  <a:lnTo>
                    <a:pt x="46" y="198"/>
                  </a:lnTo>
                  <a:lnTo>
                    <a:pt x="40" y="198"/>
                  </a:lnTo>
                  <a:lnTo>
                    <a:pt x="42" y="194"/>
                  </a:lnTo>
                  <a:lnTo>
                    <a:pt x="40" y="188"/>
                  </a:lnTo>
                  <a:lnTo>
                    <a:pt x="40" y="186"/>
                  </a:lnTo>
                  <a:lnTo>
                    <a:pt x="40" y="180"/>
                  </a:lnTo>
                  <a:lnTo>
                    <a:pt x="42" y="174"/>
                  </a:lnTo>
                  <a:lnTo>
                    <a:pt x="40" y="168"/>
                  </a:lnTo>
                  <a:lnTo>
                    <a:pt x="36" y="162"/>
                  </a:lnTo>
                  <a:lnTo>
                    <a:pt x="34" y="156"/>
                  </a:lnTo>
                  <a:lnTo>
                    <a:pt x="34" y="152"/>
                  </a:lnTo>
                  <a:lnTo>
                    <a:pt x="28" y="150"/>
                  </a:lnTo>
                  <a:lnTo>
                    <a:pt x="22" y="148"/>
                  </a:lnTo>
                  <a:lnTo>
                    <a:pt x="16" y="144"/>
                  </a:lnTo>
                  <a:lnTo>
                    <a:pt x="12" y="142"/>
                  </a:lnTo>
                  <a:lnTo>
                    <a:pt x="10" y="136"/>
                  </a:lnTo>
                  <a:lnTo>
                    <a:pt x="4" y="130"/>
                  </a:lnTo>
                  <a:lnTo>
                    <a:pt x="10" y="126"/>
                  </a:lnTo>
                  <a:lnTo>
                    <a:pt x="14" y="124"/>
                  </a:lnTo>
                  <a:lnTo>
                    <a:pt x="14" y="118"/>
                  </a:lnTo>
                  <a:lnTo>
                    <a:pt x="8" y="114"/>
                  </a:lnTo>
                  <a:lnTo>
                    <a:pt x="8" y="110"/>
                  </a:lnTo>
                  <a:lnTo>
                    <a:pt x="8" y="104"/>
                  </a:lnTo>
                  <a:lnTo>
                    <a:pt x="8" y="98"/>
                  </a:lnTo>
                  <a:lnTo>
                    <a:pt x="6" y="96"/>
                  </a:lnTo>
                  <a:lnTo>
                    <a:pt x="10" y="94"/>
                  </a:lnTo>
                  <a:lnTo>
                    <a:pt x="16" y="92"/>
                  </a:lnTo>
                  <a:lnTo>
                    <a:pt x="22" y="92"/>
                  </a:lnTo>
                  <a:lnTo>
                    <a:pt x="26" y="86"/>
                  </a:lnTo>
                  <a:lnTo>
                    <a:pt x="28" y="84"/>
                  </a:lnTo>
                  <a:lnTo>
                    <a:pt x="32" y="80"/>
                  </a:lnTo>
                  <a:lnTo>
                    <a:pt x="36" y="74"/>
                  </a:lnTo>
                  <a:lnTo>
                    <a:pt x="36" y="72"/>
                  </a:lnTo>
                  <a:lnTo>
                    <a:pt x="32" y="70"/>
                  </a:lnTo>
                  <a:lnTo>
                    <a:pt x="28" y="64"/>
                  </a:lnTo>
                  <a:lnTo>
                    <a:pt x="22" y="58"/>
                  </a:lnTo>
                  <a:lnTo>
                    <a:pt x="18" y="58"/>
                  </a:lnTo>
                  <a:lnTo>
                    <a:pt x="12" y="54"/>
                  </a:lnTo>
                  <a:lnTo>
                    <a:pt x="8" y="48"/>
                  </a:lnTo>
                  <a:lnTo>
                    <a:pt x="6" y="42"/>
                  </a:lnTo>
                  <a:lnTo>
                    <a:pt x="2" y="36"/>
                  </a:lnTo>
                  <a:lnTo>
                    <a:pt x="0" y="3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2" name="Freeform 39"/>
            <p:cNvSpPr>
              <a:spLocks/>
            </p:cNvSpPr>
            <p:nvPr/>
          </p:nvSpPr>
          <p:spPr bwMode="auto">
            <a:xfrm>
              <a:off x="4670425" y="3008313"/>
              <a:ext cx="44450" cy="47625"/>
            </a:xfrm>
            <a:custGeom>
              <a:avLst/>
              <a:gdLst>
                <a:gd name="T0" fmla="*/ 2147483647 w 108"/>
                <a:gd name="T1" fmla="*/ 2147483647 h 114"/>
                <a:gd name="T2" fmla="*/ 2147483647 w 108"/>
                <a:gd name="T3" fmla="*/ 2147483647 h 114"/>
                <a:gd name="T4" fmla="*/ 2147483647 w 108"/>
                <a:gd name="T5" fmla="*/ 2147483647 h 114"/>
                <a:gd name="T6" fmla="*/ 2147483647 w 108"/>
                <a:gd name="T7" fmla="*/ 2147483647 h 114"/>
                <a:gd name="T8" fmla="*/ 2147483647 w 108"/>
                <a:gd name="T9" fmla="*/ 2147483647 h 114"/>
                <a:gd name="T10" fmla="*/ 2147483647 w 108"/>
                <a:gd name="T11" fmla="*/ 2147483647 h 114"/>
                <a:gd name="T12" fmla="*/ 2147483647 w 108"/>
                <a:gd name="T13" fmla="*/ 2147483647 h 114"/>
                <a:gd name="T14" fmla="*/ 2147483647 w 108"/>
                <a:gd name="T15" fmla="*/ 2147483647 h 114"/>
                <a:gd name="T16" fmla="*/ 2147483647 w 108"/>
                <a:gd name="T17" fmla="*/ 2147483647 h 114"/>
                <a:gd name="T18" fmla="*/ 2147483647 w 108"/>
                <a:gd name="T19" fmla="*/ 2147483647 h 114"/>
                <a:gd name="T20" fmla="*/ 2147483647 w 108"/>
                <a:gd name="T21" fmla="*/ 2147483647 h 114"/>
                <a:gd name="T22" fmla="*/ 2147483647 w 108"/>
                <a:gd name="T23" fmla="*/ 2147483647 h 114"/>
                <a:gd name="T24" fmla="*/ 2147483647 w 108"/>
                <a:gd name="T25" fmla="*/ 0 h 114"/>
                <a:gd name="T26" fmla="*/ 2147483647 w 108"/>
                <a:gd name="T27" fmla="*/ 0 h 114"/>
                <a:gd name="T28" fmla="*/ 2147483647 w 108"/>
                <a:gd name="T29" fmla="*/ 2147483647 h 114"/>
                <a:gd name="T30" fmla="*/ 2147483647 w 108"/>
                <a:gd name="T31" fmla="*/ 2147483647 h 114"/>
                <a:gd name="T32" fmla="*/ 2147483647 w 108"/>
                <a:gd name="T33" fmla="*/ 2147483647 h 114"/>
                <a:gd name="T34" fmla="*/ 2147483647 w 108"/>
                <a:gd name="T35" fmla="*/ 2147483647 h 114"/>
                <a:gd name="T36" fmla="*/ 2147483647 w 108"/>
                <a:gd name="T37" fmla="*/ 2147483647 h 114"/>
                <a:gd name="T38" fmla="*/ 2147483647 w 108"/>
                <a:gd name="T39" fmla="*/ 2147483647 h 114"/>
                <a:gd name="T40" fmla="*/ 2147483647 w 108"/>
                <a:gd name="T41" fmla="*/ 2147483647 h 114"/>
                <a:gd name="T42" fmla="*/ 2147483647 w 108"/>
                <a:gd name="T43" fmla="*/ 2147483647 h 114"/>
                <a:gd name="T44" fmla="*/ 2147483647 w 108"/>
                <a:gd name="T45" fmla="*/ 2147483647 h 114"/>
                <a:gd name="T46" fmla="*/ 2147483647 w 108"/>
                <a:gd name="T47" fmla="*/ 2147483647 h 114"/>
                <a:gd name="T48" fmla="*/ 2147483647 w 108"/>
                <a:gd name="T49" fmla="*/ 2147483647 h 114"/>
                <a:gd name="T50" fmla="*/ 2147483647 w 108"/>
                <a:gd name="T51" fmla="*/ 2147483647 h 114"/>
                <a:gd name="T52" fmla="*/ 2147483647 w 108"/>
                <a:gd name="T53" fmla="*/ 2147483647 h 114"/>
                <a:gd name="T54" fmla="*/ 2147483647 w 108"/>
                <a:gd name="T55" fmla="*/ 2147483647 h 114"/>
                <a:gd name="T56" fmla="*/ 2147483647 w 108"/>
                <a:gd name="T57" fmla="*/ 2147483647 h 114"/>
                <a:gd name="T58" fmla="*/ 2147483647 w 108"/>
                <a:gd name="T59" fmla="*/ 2147483647 h 114"/>
                <a:gd name="T60" fmla="*/ 2147483647 w 108"/>
                <a:gd name="T61" fmla="*/ 2147483647 h 114"/>
                <a:gd name="T62" fmla="*/ 2147483647 w 108"/>
                <a:gd name="T63" fmla="*/ 2147483647 h 114"/>
                <a:gd name="T64" fmla="*/ 2147483647 w 108"/>
                <a:gd name="T65" fmla="*/ 2147483647 h 114"/>
                <a:gd name="T66" fmla="*/ 2147483647 w 108"/>
                <a:gd name="T67" fmla="*/ 2147483647 h 114"/>
                <a:gd name="T68" fmla="*/ 2147483647 w 108"/>
                <a:gd name="T69" fmla="*/ 2147483647 h 114"/>
                <a:gd name="T70" fmla="*/ 2147483647 w 108"/>
                <a:gd name="T71" fmla="*/ 2147483647 h 114"/>
                <a:gd name="T72" fmla="*/ 2147483647 w 108"/>
                <a:gd name="T73" fmla="*/ 2147483647 h 114"/>
                <a:gd name="T74" fmla="*/ 2147483647 w 108"/>
                <a:gd name="T75" fmla="*/ 2147483647 h 114"/>
                <a:gd name="T76" fmla="*/ 2147483647 w 108"/>
                <a:gd name="T77" fmla="*/ 2147483647 h 114"/>
                <a:gd name="T78" fmla="*/ 2147483647 w 108"/>
                <a:gd name="T79" fmla="*/ 2147483647 h 114"/>
                <a:gd name="T80" fmla="*/ 2147483647 w 108"/>
                <a:gd name="T81" fmla="*/ 2147483647 h 114"/>
                <a:gd name="T82" fmla="*/ 2147483647 w 108"/>
                <a:gd name="T83" fmla="*/ 2147483647 h 114"/>
                <a:gd name="T84" fmla="*/ 2147483647 w 108"/>
                <a:gd name="T85" fmla="*/ 2147483647 h 114"/>
                <a:gd name="T86" fmla="*/ 2147483647 w 108"/>
                <a:gd name="T87" fmla="*/ 2147483647 h 114"/>
                <a:gd name="T88" fmla="*/ 2147483647 w 108"/>
                <a:gd name="T89" fmla="*/ 2147483647 h 114"/>
                <a:gd name="T90" fmla="*/ 2147483647 w 108"/>
                <a:gd name="T91" fmla="*/ 2147483647 h 114"/>
                <a:gd name="T92" fmla="*/ 2147483647 w 108"/>
                <a:gd name="T93" fmla="*/ 2147483647 h 114"/>
                <a:gd name="T94" fmla="*/ 2147483647 w 108"/>
                <a:gd name="T95" fmla="*/ 2147483647 h 114"/>
                <a:gd name="T96" fmla="*/ 2147483647 w 108"/>
                <a:gd name="T97" fmla="*/ 2147483647 h 114"/>
                <a:gd name="T98" fmla="*/ 2147483647 w 108"/>
                <a:gd name="T99" fmla="*/ 2147483647 h 114"/>
                <a:gd name="T100" fmla="*/ 2147483647 w 108"/>
                <a:gd name="T101" fmla="*/ 2147483647 h 114"/>
                <a:gd name="T102" fmla="*/ 2147483647 w 108"/>
                <a:gd name="T103" fmla="*/ 2147483647 h 114"/>
                <a:gd name="T104" fmla="*/ 2147483647 w 108"/>
                <a:gd name="T105" fmla="*/ 2147483647 h 114"/>
                <a:gd name="T106" fmla="*/ 2147483647 w 108"/>
                <a:gd name="T107" fmla="*/ 2147483647 h 1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08"/>
                <a:gd name="T163" fmla="*/ 0 h 114"/>
                <a:gd name="T164" fmla="*/ 108 w 108"/>
                <a:gd name="T165" fmla="*/ 114 h 1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08" h="114">
                  <a:moveTo>
                    <a:pt x="2" y="64"/>
                  </a:moveTo>
                  <a:lnTo>
                    <a:pt x="4" y="64"/>
                  </a:lnTo>
                  <a:lnTo>
                    <a:pt x="6" y="64"/>
                  </a:lnTo>
                  <a:lnTo>
                    <a:pt x="8" y="58"/>
                  </a:lnTo>
                  <a:lnTo>
                    <a:pt x="8" y="54"/>
                  </a:lnTo>
                  <a:lnTo>
                    <a:pt x="4" y="52"/>
                  </a:lnTo>
                  <a:lnTo>
                    <a:pt x="2" y="46"/>
                  </a:lnTo>
                  <a:lnTo>
                    <a:pt x="0" y="38"/>
                  </a:lnTo>
                  <a:lnTo>
                    <a:pt x="4" y="34"/>
                  </a:lnTo>
                  <a:lnTo>
                    <a:pt x="12" y="34"/>
                  </a:lnTo>
                  <a:lnTo>
                    <a:pt x="10" y="28"/>
                  </a:lnTo>
                  <a:lnTo>
                    <a:pt x="10" y="26"/>
                  </a:lnTo>
                  <a:lnTo>
                    <a:pt x="12" y="20"/>
                  </a:lnTo>
                  <a:lnTo>
                    <a:pt x="12" y="18"/>
                  </a:lnTo>
                  <a:lnTo>
                    <a:pt x="18" y="14"/>
                  </a:lnTo>
                  <a:lnTo>
                    <a:pt x="20" y="12"/>
                  </a:lnTo>
                  <a:lnTo>
                    <a:pt x="22" y="12"/>
                  </a:lnTo>
                  <a:lnTo>
                    <a:pt x="22" y="10"/>
                  </a:lnTo>
                  <a:lnTo>
                    <a:pt x="28" y="12"/>
                  </a:lnTo>
                  <a:lnTo>
                    <a:pt x="30" y="16"/>
                  </a:lnTo>
                  <a:lnTo>
                    <a:pt x="32" y="10"/>
                  </a:lnTo>
                  <a:lnTo>
                    <a:pt x="26" y="4"/>
                  </a:lnTo>
                  <a:lnTo>
                    <a:pt x="26" y="0"/>
                  </a:lnTo>
                  <a:lnTo>
                    <a:pt x="32" y="0"/>
                  </a:lnTo>
                  <a:lnTo>
                    <a:pt x="36" y="0"/>
                  </a:lnTo>
                  <a:lnTo>
                    <a:pt x="40" y="0"/>
                  </a:lnTo>
                  <a:lnTo>
                    <a:pt x="42" y="2"/>
                  </a:lnTo>
                  <a:lnTo>
                    <a:pt x="42" y="4"/>
                  </a:lnTo>
                  <a:lnTo>
                    <a:pt x="44" y="4"/>
                  </a:lnTo>
                  <a:lnTo>
                    <a:pt x="50" y="8"/>
                  </a:lnTo>
                  <a:lnTo>
                    <a:pt x="52" y="10"/>
                  </a:lnTo>
                  <a:lnTo>
                    <a:pt x="54" y="12"/>
                  </a:lnTo>
                  <a:lnTo>
                    <a:pt x="56" y="12"/>
                  </a:lnTo>
                  <a:lnTo>
                    <a:pt x="60" y="18"/>
                  </a:lnTo>
                  <a:lnTo>
                    <a:pt x="66" y="22"/>
                  </a:lnTo>
                  <a:lnTo>
                    <a:pt x="72" y="22"/>
                  </a:lnTo>
                  <a:lnTo>
                    <a:pt x="72" y="24"/>
                  </a:lnTo>
                  <a:lnTo>
                    <a:pt x="74" y="26"/>
                  </a:lnTo>
                  <a:lnTo>
                    <a:pt x="80" y="28"/>
                  </a:lnTo>
                  <a:lnTo>
                    <a:pt x="86" y="30"/>
                  </a:lnTo>
                  <a:lnTo>
                    <a:pt x="92" y="34"/>
                  </a:lnTo>
                  <a:lnTo>
                    <a:pt x="94" y="36"/>
                  </a:lnTo>
                  <a:lnTo>
                    <a:pt x="96" y="36"/>
                  </a:lnTo>
                  <a:lnTo>
                    <a:pt x="102" y="38"/>
                  </a:lnTo>
                  <a:lnTo>
                    <a:pt x="106" y="40"/>
                  </a:lnTo>
                  <a:lnTo>
                    <a:pt x="108" y="46"/>
                  </a:lnTo>
                  <a:lnTo>
                    <a:pt x="106" y="46"/>
                  </a:lnTo>
                  <a:lnTo>
                    <a:pt x="100" y="48"/>
                  </a:lnTo>
                  <a:lnTo>
                    <a:pt x="100" y="52"/>
                  </a:lnTo>
                  <a:lnTo>
                    <a:pt x="96" y="52"/>
                  </a:lnTo>
                  <a:lnTo>
                    <a:pt x="92" y="50"/>
                  </a:lnTo>
                  <a:lnTo>
                    <a:pt x="90" y="54"/>
                  </a:lnTo>
                  <a:lnTo>
                    <a:pt x="92" y="56"/>
                  </a:lnTo>
                  <a:lnTo>
                    <a:pt x="96" y="58"/>
                  </a:lnTo>
                  <a:lnTo>
                    <a:pt x="94" y="60"/>
                  </a:lnTo>
                  <a:lnTo>
                    <a:pt x="92" y="66"/>
                  </a:lnTo>
                  <a:lnTo>
                    <a:pt x="88" y="68"/>
                  </a:lnTo>
                  <a:lnTo>
                    <a:pt x="82" y="70"/>
                  </a:lnTo>
                  <a:lnTo>
                    <a:pt x="78" y="70"/>
                  </a:lnTo>
                  <a:lnTo>
                    <a:pt x="74" y="64"/>
                  </a:lnTo>
                  <a:lnTo>
                    <a:pt x="76" y="62"/>
                  </a:lnTo>
                  <a:lnTo>
                    <a:pt x="70" y="60"/>
                  </a:lnTo>
                  <a:lnTo>
                    <a:pt x="68" y="60"/>
                  </a:lnTo>
                  <a:lnTo>
                    <a:pt x="66" y="66"/>
                  </a:lnTo>
                  <a:lnTo>
                    <a:pt x="62" y="72"/>
                  </a:lnTo>
                  <a:lnTo>
                    <a:pt x="56" y="78"/>
                  </a:lnTo>
                  <a:lnTo>
                    <a:pt x="56" y="80"/>
                  </a:lnTo>
                  <a:lnTo>
                    <a:pt x="52" y="86"/>
                  </a:lnTo>
                  <a:lnTo>
                    <a:pt x="52" y="92"/>
                  </a:lnTo>
                  <a:lnTo>
                    <a:pt x="54" y="98"/>
                  </a:lnTo>
                  <a:lnTo>
                    <a:pt x="54" y="100"/>
                  </a:lnTo>
                  <a:lnTo>
                    <a:pt x="56" y="102"/>
                  </a:lnTo>
                  <a:lnTo>
                    <a:pt x="54" y="110"/>
                  </a:lnTo>
                  <a:lnTo>
                    <a:pt x="54" y="112"/>
                  </a:lnTo>
                  <a:lnTo>
                    <a:pt x="54" y="114"/>
                  </a:lnTo>
                  <a:lnTo>
                    <a:pt x="54" y="112"/>
                  </a:lnTo>
                  <a:lnTo>
                    <a:pt x="48" y="110"/>
                  </a:lnTo>
                  <a:lnTo>
                    <a:pt x="42" y="106"/>
                  </a:lnTo>
                  <a:lnTo>
                    <a:pt x="42" y="104"/>
                  </a:lnTo>
                  <a:lnTo>
                    <a:pt x="40" y="98"/>
                  </a:lnTo>
                  <a:lnTo>
                    <a:pt x="34" y="92"/>
                  </a:lnTo>
                  <a:lnTo>
                    <a:pt x="32" y="90"/>
                  </a:lnTo>
                  <a:lnTo>
                    <a:pt x="26" y="84"/>
                  </a:lnTo>
                  <a:lnTo>
                    <a:pt x="20" y="84"/>
                  </a:lnTo>
                  <a:lnTo>
                    <a:pt x="20" y="82"/>
                  </a:lnTo>
                  <a:lnTo>
                    <a:pt x="16" y="76"/>
                  </a:lnTo>
                  <a:lnTo>
                    <a:pt x="10" y="76"/>
                  </a:lnTo>
                  <a:lnTo>
                    <a:pt x="16" y="76"/>
                  </a:lnTo>
                  <a:lnTo>
                    <a:pt x="16" y="72"/>
                  </a:lnTo>
                  <a:lnTo>
                    <a:pt x="20" y="74"/>
                  </a:lnTo>
                  <a:lnTo>
                    <a:pt x="20" y="72"/>
                  </a:lnTo>
                  <a:lnTo>
                    <a:pt x="20" y="70"/>
                  </a:lnTo>
                  <a:lnTo>
                    <a:pt x="14" y="72"/>
                  </a:lnTo>
                  <a:lnTo>
                    <a:pt x="8" y="72"/>
                  </a:lnTo>
                  <a:lnTo>
                    <a:pt x="6" y="72"/>
                  </a:lnTo>
                  <a:lnTo>
                    <a:pt x="4" y="72"/>
                  </a:lnTo>
                  <a:lnTo>
                    <a:pt x="4" y="70"/>
                  </a:lnTo>
                  <a:lnTo>
                    <a:pt x="2" y="6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3" name="Freeform 40"/>
            <p:cNvSpPr>
              <a:spLocks/>
            </p:cNvSpPr>
            <p:nvPr/>
          </p:nvSpPr>
          <p:spPr bwMode="auto">
            <a:xfrm>
              <a:off x="4675188" y="2933700"/>
              <a:ext cx="61912" cy="42863"/>
            </a:xfrm>
            <a:custGeom>
              <a:avLst/>
              <a:gdLst>
                <a:gd name="T0" fmla="*/ 2147483647 w 150"/>
                <a:gd name="T1" fmla="*/ 2147483647 h 104"/>
                <a:gd name="T2" fmla="*/ 2147483647 w 150"/>
                <a:gd name="T3" fmla="*/ 2147483647 h 104"/>
                <a:gd name="T4" fmla="*/ 2147483647 w 150"/>
                <a:gd name="T5" fmla="*/ 2147483647 h 104"/>
                <a:gd name="T6" fmla="*/ 2147483647 w 150"/>
                <a:gd name="T7" fmla="*/ 0 h 104"/>
                <a:gd name="T8" fmla="*/ 2147483647 w 150"/>
                <a:gd name="T9" fmla="*/ 0 h 104"/>
                <a:gd name="T10" fmla="*/ 2147483647 w 150"/>
                <a:gd name="T11" fmla="*/ 2147483647 h 104"/>
                <a:gd name="T12" fmla="*/ 2147483647 w 150"/>
                <a:gd name="T13" fmla="*/ 2147483647 h 104"/>
                <a:gd name="T14" fmla="*/ 2147483647 w 150"/>
                <a:gd name="T15" fmla="*/ 2147483647 h 104"/>
                <a:gd name="T16" fmla="*/ 2147483647 w 150"/>
                <a:gd name="T17" fmla="*/ 2147483647 h 104"/>
                <a:gd name="T18" fmla="*/ 2147483647 w 150"/>
                <a:gd name="T19" fmla="*/ 2147483647 h 104"/>
                <a:gd name="T20" fmla="*/ 2147483647 w 150"/>
                <a:gd name="T21" fmla="*/ 2147483647 h 104"/>
                <a:gd name="T22" fmla="*/ 2147483647 w 150"/>
                <a:gd name="T23" fmla="*/ 2147483647 h 104"/>
                <a:gd name="T24" fmla="*/ 2147483647 w 150"/>
                <a:gd name="T25" fmla="*/ 2147483647 h 104"/>
                <a:gd name="T26" fmla="*/ 2147483647 w 150"/>
                <a:gd name="T27" fmla="*/ 2147483647 h 104"/>
                <a:gd name="T28" fmla="*/ 2147483647 w 150"/>
                <a:gd name="T29" fmla="*/ 2147483647 h 104"/>
                <a:gd name="T30" fmla="*/ 2147483647 w 150"/>
                <a:gd name="T31" fmla="*/ 2147483647 h 104"/>
                <a:gd name="T32" fmla="*/ 2147483647 w 150"/>
                <a:gd name="T33" fmla="*/ 2147483647 h 104"/>
                <a:gd name="T34" fmla="*/ 2147483647 w 150"/>
                <a:gd name="T35" fmla="*/ 2147483647 h 104"/>
                <a:gd name="T36" fmla="*/ 2147483647 w 150"/>
                <a:gd name="T37" fmla="*/ 2147483647 h 104"/>
                <a:gd name="T38" fmla="*/ 2147483647 w 150"/>
                <a:gd name="T39" fmla="*/ 2147483647 h 104"/>
                <a:gd name="T40" fmla="*/ 2147483647 w 150"/>
                <a:gd name="T41" fmla="*/ 2147483647 h 104"/>
                <a:gd name="T42" fmla="*/ 2147483647 w 150"/>
                <a:gd name="T43" fmla="*/ 2147483647 h 104"/>
                <a:gd name="T44" fmla="*/ 2147483647 w 150"/>
                <a:gd name="T45" fmla="*/ 2147483647 h 104"/>
                <a:gd name="T46" fmla="*/ 2147483647 w 150"/>
                <a:gd name="T47" fmla="*/ 2147483647 h 104"/>
                <a:gd name="T48" fmla="*/ 2147483647 w 150"/>
                <a:gd name="T49" fmla="*/ 2147483647 h 104"/>
                <a:gd name="T50" fmla="*/ 2147483647 w 150"/>
                <a:gd name="T51" fmla="*/ 2147483647 h 104"/>
                <a:gd name="T52" fmla="*/ 2147483647 w 150"/>
                <a:gd name="T53" fmla="*/ 2147483647 h 104"/>
                <a:gd name="T54" fmla="*/ 2147483647 w 150"/>
                <a:gd name="T55" fmla="*/ 2147483647 h 104"/>
                <a:gd name="T56" fmla="*/ 2147483647 w 150"/>
                <a:gd name="T57" fmla="*/ 2147483647 h 104"/>
                <a:gd name="T58" fmla="*/ 2147483647 w 150"/>
                <a:gd name="T59" fmla="*/ 2147483647 h 104"/>
                <a:gd name="T60" fmla="*/ 2147483647 w 150"/>
                <a:gd name="T61" fmla="*/ 2147483647 h 104"/>
                <a:gd name="T62" fmla="*/ 2147483647 w 150"/>
                <a:gd name="T63" fmla="*/ 2147483647 h 104"/>
                <a:gd name="T64" fmla="*/ 2147483647 w 150"/>
                <a:gd name="T65" fmla="*/ 2147483647 h 104"/>
                <a:gd name="T66" fmla="*/ 2147483647 w 150"/>
                <a:gd name="T67" fmla="*/ 2147483647 h 104"/>
                <a:gd name="T68" fmla="*/ 2147483647 w 150"/>
                <a:gd name="T69" fmla="*/ 2147483647 h 104"/>
                <a:gd name="T70" fmla="*/ 2147483647 w 150"/>
                <a:gd name="T71" fmla="*/ 2147483647 h 104"/>
                <a:gd name="T72" fmla="*/ 2147483647 w 150"/>
                <a:gd name="T73" fmla="*/ 2147483647 h 104"/>
                <a:gd name="T74" fmla="*/ 2147483647 w 150"/>
                <a:gd name="T75" fmla="*/ 2147483647 h 104"/>
                <a:gd name="T76" fmla="*/ 2147483647 w 150"/>
                <a:gd name="T77" fmla="*/ 2147483647 h 104"/>
                <a:gd name="T78" fmla="*/ 2147483647 w 150"/>
                <a:gd name="T79" fmla="*/ 2147483647 h 104"/>
                <a:gd name="T80" fmla="*/ 2147483647 w 150"/>
                <a:gd name="T81" fmla="*/ 2147483647 h 104"/>
                <a:gd name="T82" fmla="*/ 2147483647 w 150"/>
                <a:gd name="T83" fmla="*/ 2147483647 h 104"/>
                <a:gd name="T84" fmla="*/ 2147483647 w 150"/>
                <a:gd name="T85" fmla="*/ 2147483647 h 104"/>
                <a:gd name="T86" fmla="*/ 2147483647 w 150"/>
                <a:gd name="T87" fmla="*/ 2147483647 h 104"/>
                <a:gd name="T88" fmla="*/ 2147483647 w 150"/>
                <a:gd name="T89" fmla="*/ 2147483647 h 104"/>
                <a:gd name="T90" fmla="*/ 0 w 150"/>
                <a:gd name="T91" fmla="*/ 2147483647 h 1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0"/>
                <a:gd name="T139" fmla="*/ 0 h 104"/>
                <a:gd name="T140" fmla="*/ 150 w 150"/>
                <a:gd name="T141" fmla="*/ 104 h 1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0" h="104">
                  <a:moveTo>
                    <a:pt x="0" y="18"/>
                  </a:moveTo>
                  <a:lnTo>
                    <a:pt x="6" y="16"/>
                  </a:lnTo>
                  <a:lnTo>
                    <a:pt x="12" y="14"/>
                  </a:lnTo>
                  <a:lnTo>
                    <a:pt x="14" y="12"/>
                  </a:lnTo>
                  <a:lnTo>
                    <a:pt x="20" y="12"/>
                  </a:lnTo>
                  <a:lnTo>
                    <a:pt x="26" y="12"/>
                  </a:lnTo>
                  <a:lnTo>
                    <a:pt x="30" y="10"/>
                  </a:lnTo>
                  <a:lnTo>
                    <a:pt x="36" y="6"/>
                  </a:lnTo>
                  <a:lnTo>
                    <a:pt x="40" y="0"/>
                  </a:lnTo>
                  <a:lnTo>
                    <a:pt x="44" y="0"/>
                  </a:lnTo>
                  <a:lnTo>
                    <a:pt x="48" y="0"/>
                  </a:lnTo>
                  <a:lnTo>
                    <a:pt x="54" y="4"/>
                  </a:lnTo>
                  <a:lnTo>
                    <a:pt x="58" y="2"/>
                  </a:lnTo>
                  <a:lnTo>
                    <a:pt x="62" y="0"/>
                  </a:lnTo>
                  <a:lnTo>
                    <a:pt x="64" y="0"/>
                  </a:lnTo>
                  <a:lnTo>
                    <a:pt x="68" y="2"/>
                  </a:lnTo>
                  <a:lnTo>
                    <a:pt x="72" y="2"/>
                  </a:lnTo>
                  <a:lnTo>
                    <a:pt x="78" y="4"/>
                  </a:lnTo>
                  <a:lnTo>
                    <a:pt x="82" y="8"/>
                  </a:lnTo>
                  <a:lnTo>
                    <a:pt x="86" y="14"/>
                  </a:lnTo>
                  <a:lnTo>
                    <a:pt x="92" y="18"/>
                  </a:lnTo>
                  <a:lnTo>
                    <a:pt x="98" y="20"/>
                  </a:lnTo>
                  <a:lnTo>
                    <a:pt x="102" y="26"/>
                  </a:lnTo>
                  <a:lnTo>
                    <a:pt x="104" y="28"/>
                  </a:lnTo>
                  <a:lnTo>
                    <a:pt x="110" y="28"/>
                  </a:lnTo>
                  <a:lnTo>
                    <a:pt x="110" y="34"/>
                  </a:lnTo>
                  <a:lnTo>
                    <a:pt x="108" y="38"/>
                  </a:lnTo>
                  <a:lnTo>
                    <a:pt x="112" y="44"/>
                  </a:lnTo>
                  <a:lnTo>
                    <a:pt x="110" y="46"/>
                  </a:lnTo>
                  <a:lnTo>
                    <a:pt x="114" y="48"/>
                  </a:lnTo>
                  <a:lnTo>
                    <a:pt x="114" y="50"/>
                  </a:lnTo>
                  <a:lnTo>
                    <a:pt x="118" y="54"/>
                  </a:lnTo>
                  <a:lnTo>
                    <a:pt x="124" y="58"/>
                  </a:lnTo>
                  <a:lnTo>
                    <a:pt x="128" y="60"/>
                  </a:lnTo>
                  <a:lnTo>
                    <a:pt x="134" y="62"/>
                  </a:lnTo>
                  <a:lnTo>
                    <a:pt x="136" y="64"/>
                  </a:lnTo>
                  <a:lnTo>
                    <a:pt x="138" y="64"/>
                  </a:lnTo>
                  <a:lnTo>
                    <a:pt x="142" y="66"/>
                  </a:lnTo>
                  <a:lnTo>
                    <a:pt x="148" y="68"/>
                  </a:lnTo>
                  <a:lnTo>
                    <a:pt x="148" y="74"/>
                  </a:lnTo>
                  <a:lnTo>
                    <a:pt x="144" y="80"/>
                  </a:lnTo>
                  <a:lnTo>
                    <a:pt x="150" y="82"/>
                  </a:lnTo>
                  <a:lnTo>
                    <a:pt x="150" y="88"/>
                  </a:lnTo>
                  <a:lnTo>
                    <a:pt x="144" y="92"/>
                  </a:lnTo>
                  <a:lnTo>
                    <a:pt x="142" y="92"/>
                  </a:lnTo>
                  <a:lnTo>
                    <a:pt x="140" y="92"/>
                  </a:lnTo>
                  <a:lnTo>
                    <a:pt x="138" y="94"/>
                  </a:lnTo>
                  <a:lnTo>
                    <a:pt x="136" y="94"/>
                  </a:lnTo>
                  <a:lnTo>
                    <a:pt x="134" y="96"/>
                  </a:lnTo>
                  <a:lnTo>
                    <a:pt x="132" y="98"/>
                  </a:lnTo>
                  <a:lnTo>
                    <a:pt x="130" y="98"/>
                  </a:lnTo>
                  <a:lnTo>
                    <a:pt x="126" y="100"/>
                  </a:lnTo>
                  <a:lnTo>
                    <a:pt x="122" y="100"/>
                  </a:lnTo>
                  <a:lnTo>
                    <a:pt x="118" y="102"/>
                  </a:lnTo>
                  <a:lnTo>
                    <a:pt x="114" y="104"/>
                  </a:lnTo>
                  <a:lnTo>
                    <a:pt x="112" y="102"/>
                  </a:lnTo>
                  <a:lnTo>
                    <a:pt x="110" y="102"/>
                  </a:lnTo>
                  <a:lnTo>
                    <a:pt x="108" y="100"/>
                  </a:lnTo>
                  <a:lnTo>
                    <a:pt x="104" y="92"/>
                  </a:lnTo>
                  <a:lnTo>
                    <a:pt x="104" y="88"/>
                  </a:lnTo>
                  <a:lnTo>
                    <a:pt x="102" y="88"/>
                  </a:lnTo>
                  <a:lnTo>
                    <a:pt x="102" y="86"/>
                  </a:lnTo>
                  <a:lnTo>
                    <a:pt x="96" y="80"/>
                  </a:lnTo>
                  <a:lnTo>
                    <a:pt x="94" y="80"/>
                  </a:lnTo>
                  <a:lnTo>
                    <a:pt x="92" y="74"/>
                  </a:lnTo>
                  <a:lnTo>
                    <a:pt x="88" y="74"/>
                  </a:lnTo>
                  <a:lnTo>
                    <a:pt x="84" y="74"/>
                  </a:lnTo>
                  <a:lnTo>
                    <a:pt x="86" y="80"/>
                  </a:lnTo>
                  <a:lnTo>
                    <a:pt x="84" y="84"/>
                  </a:lnTo>
                  <a:lnTo>
                    <a:pt x="82" y="84"/>
                  </a:lnTo>
                  <a:lnTo>
                    <a:pt x="78" y="90"/>
                  </a:lnTo>
                  <a:lnTo>
                    <a:pt x="76" y="94"/>
                  </a:lnTo>
                  <a:lnTo>
                    <a:pt x="76" y="100"/>
                  </a:lnTo>
                  <a:lnTo>
                    <a:pt x="70" y="104"/>
                  </a:lnTo>
                  <a:lnTo>
                    <a:pt x="70" y="102"/>
                  </a:lnTo>
                  <a:lnTo>
                    <a:pt x="70" y="100"/>
                  </a:lnTo>
                  <a:lnTo>
                    <a:pt x="68" y="100"/>
                  </a:lnTo>
                  <a:lnTo>
                    <a:pt x="64" y="100"/>
                  </a:lnTo>
                  <a:lnTo>
                    <a:pt x="60" y="98"/>
                  </a:lnTo>
                  <a:lnTo>
                    <a:pt x="58" y="98"/>
                  </a:lnTo>
                  <a:lnTo>
                    <a:pt x="54" y="96"/>
                  </a:lnTo>
                  <a:lnTo>
                    <a:pt x="52" y="92"/>
                  </a:lnTo>
                  <a:lnTo>
                    <a:pt x="54" y="86"/>
                  </a:lnTo>
                  <a:lnTo>
                    <a:pt x="50" y="84"/>
                  </a:lnTo>
                  <a:lnTo>
                    <a:pt x="48" y="86"/>
                  </a:lnTo>
                  <a:lnTo>
                    <a:pt x="42" y="84"/>
                  </a:lnTo>
                  <a:lnTo>
                    <a:pt x="36" y="86"/>
                  </a:lnTo>
                  <a:lnTo>
                    <a:pt x="34" y="88"/>
                  </a:lnTo>
                  <a:lnTo>
                    <a:pt x="30" y="86"/>
                  </a:lnTo>
                  <a:lnTo>
                    <a:pt x="24" y="86"/>
                  </a:lnTo>
                  <a:lnTo>
                    <a:pt x="22" y="86"/>
                  </a:lnTo>
                  <a:lnTo>
                    <a:pt x="16" y="90"/>
                  </a:lnTo>
                  <a:lnTo>
                    <a:pt x="14" y="88"/>
                  </a:lnTo>
                  <a:lnTo>
                    <a:pt x="20" y="82"/>
                  </a:lnTo>
                  <a:lnTo>
                    <a:pt x="20" y="80"/>
                  </a:lnTo>
                  <a:lnTo>
                    <a:pt x="20" y="76"/>
                  </a:lnTo>
                  <a:lnTo>
                    <a:pt x="16" y="72"/>
                  </a:lnTo>
                  <a:lnTo>
                    <a:pt x="20" y="70"/>
                  </a:lnTo>
                  <a:lnTo>
                    <a:pt x="22" y="70"/>
                  </a:lnTo>
                  <a:lnTo>
                    <a:pt x="28" y="68"/>
                  </a:lnTo>
                  <a:lnTo>
                    <a:pt x="34" y="68"/>
                  </a:lnTo>
                  <a:lnTo>
                    <a:pt x="34" y="64"/>
                  </a:lnTo>
                  <a:lnTo>
                    <a:pt x="32" y="64"/>
                  </a:lnTo>
                  <a:lnTo>
                    <a:pt x="26" y="62"/>
                  </a:lnTo>
                  <a:lnTo>
                    <a:pt x="28" y="62"/>
                  </a:lnTo>
                  <a:lnTo>
                    <a:pt x="26" y="62"/>
                  </a:lnTo>
                  <a:lnTo>
                    <a:pt x="24" y="62"/>
                  </a:lnTo>
                  <a:lnTo>
                    <a:pt x="22" y="62"/>
                  </a:lnTo>
                  <a:lnTo>
                    <a:pt x="20" y="60"/>
                  </a:lnTo>
                  <a:lnTo>
                    <a:pt x="14" y="56"/>
                  </a:lnTo>
                  <a:lnTo>
                    <a:pt x="12" y="50"/>
                  </a:lnTo>
                  <a:lnTo>
                    <a:pt x="14" y="46"/>
                  </a:lnTo>
                  <a:lnTo>
                    <a:pt x="16" y="44"/>
                  </a:lnTo>
                  <a:lnTo>
                    <a:pt x="14" y="42"/>
                  </a:lnTo>
                  <a:lnTo>
                    <a:pt x="8" y="42"/>
                  </a:lnTo>
                  <a:lnTo>
                    <a:pt x="8" y="38"/>
                  </a:lnTo>
                  <a:lnTo>
                    <a:pt x="6" y="32"/>
                  </a:lnTo>
                  <a:lnTo>
                    <a:pt x="8" y="26"/>
                  </a:lnTo>
                  <a:lnTo>
                    <a:pt x="4" y="22"/>
                  </a:lnTo>
                  <a:lnTo>
                    <a:pt x="0" y="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4" name="Freeform 41"/>
            <p:cNvSpPr>
              <a:spLocks/>
            </p:cNvSpPr>
            <p:nvPr/>
          </p:nvSpPr>
          <p:spPr bwMode="auto">
            <a:xfrm>
              <a:off x="4683125" y="2963863"/>
              <a:ext cx="90488" cy="79375"/>
            </a:xfrm>
            <a:custGeom>
              <a:avLst/>
              <a:gdLst>
                <a:gd name="T0" fmla="*/ 2147483647 w 220"/>
                <a:gd name="T1" fmla="*/ 2147483647 h 194"/>
                <a:gd name="T2" fmla="*/ 2147483647 w 220"/>
                <a:gd name="T3" fmla="*/ 2147483647 h 194"/>
                <a:gd name="T4" fmla="*/ 2147483647 w 220"/>
                <a:gd name="T5" fmla="*/ 2147483647 h 194"/>
                <a:gd name="T6" fmla="*/ 2147483647 w 220"/>
                <a:gd name="T7" fmla="*/ 2147483647 h 194"/>
                <a:gd name="T8" fmla="*/ 2147483647 w 220"/>
                <a:gd name="T9" fmla="*/ 2147483647 h 194"/>
                <a:gd name="T10" fmla="*/ 2147483647 w 220"/>
                <a:gd name="T11" fmla="*/ 2147483647 h 194"/>
                <a:gd name="T12" fmla="*/ 2147483647 w 220"/>
                <a:gd name="T13" fmla="*/ 2147483647 h 194"/>
                <a:gd name="T14" fmla="*/ 2147483647 w 220"/>
                <a:gd name="T15" fmla="*/ 2147483647 h 194"/>
                <a:gd name="T16" fmla="*/ 2147483647 w 220"/>
                <a:gd name="T17" fmla="*/ 0 h 194"/>
                <a:gd name="T18" fmla="*/ 2147483647 w 220"/>
                <a:gd name="T19" fmla="*/ 2147483647 h 194"/>
                <a:gd name="T20" fmla="*/ 2147483647 w 220"/>
                <a:gd name="T21" fmla="*/ 2147483647 h 194"/>
                <a:gd name="T22" fmla="*/ 2147483647 w 220"/>
                <a:gd name="T23" fmla="*/ 2147483647 h 194"/>
                <a:gd name="T24" fmla="*/ 2147483647 w 220"/>
                <a:gd name="T25" fmla="*/ 2147483647 h 194"/>
                <a:gd name="T26" fmla="*/ 2147483647 w 220"/>
                <a:gd name="T27" fmla="*/ 2147483647 h 194"/>
                <a:gd name="T28" fmla="*/ 2147483647 w 220"/>
                <a:gd name="T29" fmla="*/ 2147483647 h 194"/>
                <a:gd name="T30" fmla="*/ 2147483647 w 220"/>
                <a:gd name="T31" fmla="*/ 2147483647 h 194"/>
                <a:gd name="T32" fmla="*/ 2147483647 w 220"/>
                <a:gd name="T33" fmla="*/ 2147483647 h 194"/>
                <a:gd name="T34" fmla="*/ 2147483647 w 220"/>
                <a:gd name="T35" fmla="*/ 2147483647 h 194"/>
                <a:gd name="T36" fmla="*/ 2147483647 w 220"/>
                <a:gd name="T37" fmla="*/ 2147483647 h 194"/>
                <a:gd name="T38" fmla="*/ 2147483647 w 220"/>
                <a:gd name="T39" fmla="*/ 2147483647 h 194"/>
                <a:gd name="T40" fmla="*/ 2147483647 w 220"/>
                <a:gd name="T41" fmla="*/ 2147483647 h 194"/>
                <a:gd name="T42" fmla="*/ 2147483647 w 220"/>
                <a:gd name="T43" fmla="*/ 2147483647 h 194"/>
                <a:gd name="T44" fmla="*/ 2147483647 w 220"/>
                <a:gd name="T45" fmla="*/ 2147483647 h 194"/>
                <a:gd name="T46" fmla="*/ 2147483647 w 220"/>
                <a:gd name="T47" fmla="*/ 2147483647 h 194"/>
                <a:gd name="T48" fmla="*/ 2147483647 w 220"/>
                <a:gd name="T49" fmla="*/ 2147483647 h 194"/>
                <a:gd name="T50" fmla="*/ 2147483647 w 220"/>
                <a:gd name="T51" fmla="*/ 2147483647 h 194"/>
                <a:gd name="T52" fmla="*/ 2147483647 w 220"/>
                <a:gd name="T53" fmla="*/ 2147483647 h 194"/>
                <a:gd name="T54" fmla="*/ 2147483647 w 220"/>
                <a:gd name="T55" fmla="*/ 2147483647 h 194"/>
                <a:gd name="T56" fmla="*/ 2147483647 w 220"/>
                <a:gd name="T57" fmla="*/ 2147483647 h 194"/>
                <a:gd name="T58" fmla="*/ 2147483647 w 220"/>
                <a:gd name="T59" fmla="*/ 2147483647 h 194"/>
                <a:gd name="T60" fmla="*/ 2147483647 w 220"/>
                <a:gd name="T61" fmla="*/ 2147483647 h 194"/>
                <a:gd name="T62" fmla="*/ 2147483647 w 220"/>
                <a:gd name="T63" fmla="*/ 2147483647 h 194"/>
                <a:gd name="T64" fmla="*/ 2147483647 w 220"/>
                <a:gd name="T65" fmla="*/ 2147483647 h 194"/>
                <a:gd name="T66" fmla="*/ 2147483647 w 220"/>
                <a:gd name="T67" fmla="*/ 2147483647 h 194"/>
                <a:gd name="T68" fmla="*/ 2147483647 w 220"/>
                <a:gd name="T69" fmla="*/ 2147483647 h 194"/>
                <a:gd name="T70" fmla="*/ 2147483647 w 220"/>
                <a:gd name="T71" fmla="*/ 2147483647 h 194"/>
                <a:gd name="T72" fmla="*/ 2147483647 w 220"/>
                <a:gd name="T73" fmla="*/ 2147483647 h 194"/>
                <a:gd name="T74" fmla="*/ 2147483647 w 220"/>
                <a:gd name="T75" fmla="*/ 2147483647 h 194"/>
                <a:gd name="T76" fmla="*/ 2147483647 w 220"/>
                <a:gd name="T77" fmla="*/ 2147483647 h 194"/>
                <a:gd name="T78" fmla="*/ 2147483647 w 220"/>
                <a:gd name="T79" fmla="*/ 2147483647 h 194"/>
                <a:gd name="T80" fmla="*/ 2147483647 w 220"/>
                <a:gd name="T81" fmla="*/ 2147483647 h 194"/>
                <a:gd name="T82" fmla="*/ 2147483647 w 220"/>
                <a:gd name="T83" fmla="*/ 2147483647 h 194"/>
                <a:gd name="T84" fmla="*/ 2147483647 w 220"/>
                <a:gd name="T85" fmla="*/ 2147483647 h 194"/>
                <a:gd name="T86" fmla="*/ 2147483647 w 220"/>
                <a:gd name="T87" fmla="*/ 2147483647 h 194"/>
                <a:gd name="T88" fmla="*/ 2147483647 w 220"/>
                <a:gd name="T89" fmla="*/ 2147483647 h 194"/>
                <a:gd name="T90" fmla="*/ 2147483647 w 220"/>
                <a:gd name="T91" fmla="*/ 2147483647 h 194"/>
                <a:gd name="T92" fmla="*/ 2147483647 w 220"/>
                <a:gd name="T93" fmla="*/ 2147483647 h 194"/>
                <a:gd name="T94" fmla="*/ 2147483647 w 220"/>
                <a:gd name="T95" fmla="*/ 2147483647 h 194"/>
                <a:gd name="T96" fmla="*/ 2147483647 w 220"/>
                <a:gd name="T97" fmla="*/ 2147483647 h 194"/>
                <a:gd name="T98" fmla="*/ 2147483647 w 220"/>
                <a:gd name="T99" fmla="*/ 2147483647 h 194"/>
                <a:gd name="T100" fmla="*/ 2147483647 w 220"/>
                <a:gd name="T101" fmla="*/ 2147483647 h 194"/>
                <a:gd name="T102" fmla="*/ 2147483647 w 220"/>
                <a:gd name="T103" fmla="*/ 2147483647 h 194"/>
                <a:gd name="T104" fmla="*/ 2147483647 w 220"/>
                <a:gd name="T105" fmla="*/ 2147483647 h 194"/>
                <a:gd name="T106" fmla="*/ 2147483647 w 220"/>
                <a:gd name="T107" fmla="*/ 2147483647 h 194"/>
                <a:gd name="T108" fmla="*/ 2147483647 w 220"/>
                <a:gd name="T109" fmla="*/ 2147483647 h 19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20"/>
                <a:gd name="T166" fmla="*/ 0 h 194"/>
                <a:gd name="T167" fmla="*/ 220 w 220"/>
                <a:gd name="T168" fmla="*/ 194 h 19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20" h="194">
                  <a:moveTo>
                    <a:pt x="0" y="48"/>
                  </a:moveTo>
                  <a:lnTo>
                    <a:pt x="0" y="48"/>
                  </a:lnTo>
                  <a:lnTo>
                    <a:pt x="2" y="42"/>
                  </a:lnTo>
                  <a:lnTo>
                    <a:pt x="4" y="38"/>
                  </a:lnTo>
                  <a:lnTo>
                    <a:pt x="4" y="36"/>
                  </a:lnTo>
                  <a:lnTo>
                    <a:pt x="8" y="32"/>
                  </a:lnTo>
                  <a:lnTo>
                    <a:pt x="12" y="26"/>
                  </a:lnTo>
                  <a:lnTo>
                    <a:pt x="12" y="24"/>
                  </a:lnTo>
                  <a:lnTo>
                    <a:pt x="14" y="18"/>
                  </a:lnTo>
                  <a:lnTo>
                    <a:pt x="14" y="14"/>
                  </a:lnTo>
                  <a:lnTo>
                    <a:pt x="16" y="12"/>
                  </a:lnTo>
                  <a:lnTo>
                    <a:pt x="22" y="10"/>
                  </a:lnTo>
                  <a:lnTo>
                    <a:pt x="28" y="12"/>
                  </a:lnTo>
                  <a:lnTo>
                    <a:pt x="30" y="10"/>
                  </a:lnTo>
                  <a:lnTo>
                    <a:pt x="34" y="12"/>
                  </a:lnTo>
                  <a:lnTo>
                    <a:pt x="32" y="18"/>
                  </a:lnTo>
                  <a:lnTo>
                    <a:pt x="34" y="22"/>
                  </a:lnTo>
                  <a:lnTo>
                    <a:pt x="38" y="24"/>
                  </a:lnTo>
                  <a:lnTo>
                    <a:pt x="40" y="24"/>
                  </a:lnTo>
                  <a:lnTo>
                    <a:pt x="44" y="26"/>
                  </a:lnTo>
                  <a:lnTo>
                    <a:pt x="48" y="26"/>
                  </a:lnTo>
                  <a:lnTo>
                    <a:pt x="50" y="26"/>
                  </a:lnTo>
                  <a:lnTo>
                    <a:pt x="50" y="28"/>
                  </a:lnTo>
                  <a:lnTo>
                    <a:pt x="50" y="30"/>
                  </a:lnTo>
                  <a:lnTo>
                    <a:pt x="56" y="26"/>
                  </a:lnTo>
                  <a:lnTo>
                    <a:pt x="56" y="20"/>
                  </a:lnTo>
                  <a:lnTo>
                    <a:pt x="58" y="16"/>
                  </a:lnTo>
                  <a:lnTo>
                    <a:pt x="62" y="10"/>
                  </a:lnTo>
                  <a:lnTo>
                    <a:pt x="64" y="10"/>
                  </a:lnTo>
                  <a:lnTo>
                    <a:pt x="66" y="6"/>
                  </a:lnTo>
                  <a:lnTo>
                    <a:pt x="64" y="0"/>
                  </a:lnTo>
                  <a:lnTo>
                    <a:pt x="68" y="0"/>
                  </a:lnTo>
                  <a:lnTo>
                    <a:pt x="72" y="0"/>
                  </a:lnTo>
                  <a:lnTo>
                    <a:pt x="74" y="6"/>
                  </a:lnTo>
                  <a:lnTo>
                    <a:pt x="76" y="6"/>
                  </a:lnTo>
                  <a:lnTo>
                    <a:pt x="82" y="12"/>
                  </a:lnTo>
                  <a:lnTo>
                    <a:pt x="82" y="14"/>
                  </a:lnTo>
                  <a:lnTo>
                    <a:pt x="84" y="14"/>
                  </a:lnTo>
                  <a:lnTo>
                    <a:pt x="84" y="18"/>
                  </a:lnTo>
                  <a:lnTo>
                    <a:pt x="88" y="26"/>
                  </a:lnTo>
                  <a:lnTo>
                    <a:pt x="90" y="28"/>
                  </a:lnTo>
                  <a:lnTo>
                    <a:pt x="92" y="28"/>
                  </a:lnTo>
                  <a:lnTo>
                    <a:pt x="94" y="30"/>
                  </a:lnTo>
                  <a:lnTo>
                    <a:pt x="98" y="28"/>
                  </a:lnTo>
                  <a:lnTo>
                    <a:pt x="102" y="26"/>
                  </a:lnTo>
                  <a:lnTo>
                    <a:pt x="106" y="26"/>
                  </a:lnTo>
                  <a:lnTo>
                    <a:pt x="110" y="24"/>
                  </a:lnTo>
                  <a:lnTo>
                    <a:pt x="112" y="24"/>
                  </a:lnTo>
                  <a:lnTo>
                    <a:pt x="114" y="22"/>
                  </a:lnTo>
                  <a:lnTo>
                    <a:pt x="116" y="20"/>
                  </a:lnTo>
                  <a:lnTo>
                    <a:pt x="118" y="20"/>
                  </a:lnTo>
                  <a:lnTo>
                    <a:pt x="120" y="18"/>
                  </a:lnTo>
                  <a:lnTo>
                    <a:pt x="122" y="18"/>
                  </a:lnTo>
                  <a:lnTo>
                    <a:pt x="124" y="18"/>
                  </a:lnTo>
                  <a:lnTo>
                    <a:pt x="126" y="20"/>
                  </a:lnTo>
                  <a:lnTo>
                    <a:pt x="132" y="22"/>
                  </a:lnTo>
                  <a:lnTo>
                    <a:pt x="136" y="22"/>
                  </a:lnTo>
                  <a:lnTo>
                    <a:pt x="138" y="24"/>
                  </a:lnTo>
                  <a:lnTo>
                    <a:pt x="142" y="28"/>
                  </a:lnTo>
                  <a:lnTo>
                    <a:pt x="148" y="30"/>
                  </a:lnTo>
                  <a:lnTo>
                    <a:pt x="154" y="30"/>
                  </a:lnTo>
                  <a:lnTo>
                    <a:pt x="160" y="32"/>
                  </a:lnTo>
                  <a:lnTo>
                    <a:pt x="160" y="34"/>
                  </a:lnTo>
                  <a:lnTo>
                    <a:pt x="162" y="34"/>
                  </a:lnTo>
                  <a:lnTo>
                    <a:pt x="164" y="40"/>
                  </a:lnTo>
                  <a:lnTo>
                    <a:pt x="170" y="40"/>
                  </a:lnTo>
                  <a:lnTo>
                    <a:pt x="174" y="34"/>
                  </a:lnTo>
                  <a:lnTo>
                    <a:pt x="174" y="32"/>
                  </a:lnTo>
                  <a:lnTo>
                    <a:pt x="180" y="28"/>
                  </a:lnTo>
                  <a:lnTo>
                    <a:pt x="186" y="26"/>
                  </a:lnTo>
                  <a:lnTo>
                    <a:pt x="192" y="32"/>
                  </a:lnTo>
                  <a:lnTo>
                    <a:pt x="196" y="32"/>
                  </a:lnTo>
                  <a:lnTo>
                    <a:pt x="202" y="36"/>
                  </a:lnTo>
                  <a:lnTo>
                    <a:pt x="198" y="38"/>
                  </a:lnTo>
                  <a:lnTo>
                    <a:pt x="192" y="36"/>
                  </a:lnTo>
                  <a:lnTo>
                    <a:pt x="186" y="40"/>
                  </a:lnTo>
                  <a:lnTo>
                    <a:pt x="186" y="42"/>
                  </a:lnTo>
                  <a:lnTo>
                    <a:pt x="188" y="44"/>
                  </a:lnTo>
                  <a:lnTo>
                    <a:pt x="188" y="46"/>
                  </a:lnTo>
                  <a:lnTo>
                    <a:pt x="188" y="48"/>
                  </a:lnTo>
                  <a:lnTo>
                    <a:pt x="192" y="54"/>
                  </a:lnTo>
                  <a:lnTo>
                    <a:pt x="194" y="54"/>
                  </a:lnTo>
                  <a:lnTo>
                    <a:pt x="198" y="58"/>
                  </a:lnTo>
                  <a:lnTo>
                    <a:pt x="198" y="60"/>
                  </a:lnTo>
                  <a:lnTo>
                    <a:pt x="196" y="66"/>
                  </a:lnTo>
                  <a:lnTo>
                    <a:pt x="192" y="70"/>
                  </a:lnTo>
                  <a:lnTo>
                    <a:pt x="190" y="72"/>
                  </a:lnTo>
                  <a:lnTo>
                    <a:pt x="184" y="78"/>
                  </a:lnTo>
                  <a:lnTo>
                    <a:pt x="184" y="84"/>
                  </a:lnTo>
                  <a:lnTo>
                    <a:pt x="184" y="90"/>
                  </a:lnTo>
                  <a:lnTo>
                    <a:pt x="186" y="94"/>
                  </a:lnTo>
                  <a:lnTo>
                    <a:pt x="190" y="100"/>
                  </a:lnTo>
                  <a:lnTo>
                    <a:pt x="192" y="106"/>
                  </a:lnTo>
                  <a:lnTo>
                    <a:pt x="196" y="112"/>
                  </a:lnTo>
                  <a:lnTo>
                    <a:pt x="202" y="116"/>
                  </a:lnTo>
                  <a:lnTo>
                    <a:pt x="206" y="116"/>
                  </a:lnTo>
                  <a:lnTo>
                    <a:pt x="212" y="122"/>
                  </a:lnTo>
                  <a:lnTo>
                    <a:pt x="216" y="128"/>
                  </a:lnTo>
                  <a:lnTo>
                    <a:pt x="220" y="130"/>
                  </a:lnTo>
                  <a:lnTo>
                    <a:pt x="220" y="132"/>
                  </a:lnTo>
                  <a:lnTo>
                    <a:pt x="216" y="138"/>
                  </a:lnTo>
                  <a:lnTo>
                    <a:pt x="212" y="142"/>
                  </a:lnTo>
                  <a:lnTo>
                    <a:pt x="210" y="144"/>
                  </a:lnTo>
                  <a:lnTo>
                    <a:pt x="206" y="150"/>
                  </a:lnTo>
                  <a:lnTo>
                    <a:pt x="200" y="150"/>
                  </a:lnTo>
                  <a:lnTo>
                    <a:pt x="194" y="152"/>
                  </a:lnTo>
                  <a:lnTo>
                    <a:pt x="190" y="154"/>
                  </a:lnTo>
                  <a:lnTo>
                    <a:pt x="192" y="156"/>
                  </a:lnTo>
                  <a:lnTo>
                    <a:pt x="192" y="162"/>
                  </a:lnTo>
                  <a:lnTo>
                    <a:pt x="192" y="168"/>
                  </a:lnTo>
                  <a:lnTo>
                    <a:pt x="192" y="172"/>
                  </a:lnTo>
                  <a:lnTo>
                    <a:pt x="198" y="176"/>
                  </a:lnTo>
                  <a:lnTo>
                    <a:pt x="198" y="182"/>
                  </a:lnTo>
                  <a:lnTo>
                    <a:pt x="194" y="184"/>
                  </a:lnTo>
                  <a:lnTo>
                    <a:pt x="188" y="188"/>
                  </a:lnTo>
                  <a:lnTo>
                    <a:pt x="184" y="186"/>
                  </a:lnTo>
                  <a:lnTo>
                    <a:pt x="178" y="188"/>
                  </a:lnTo>
                  <a:lnTo>
                    <a:pt x="172" y="190"/>
                  </a:lnTo>
                  <a:lnTo>
                    <a:pt x="170" y="190"/>
                  </a:lnTo>
                  <a:lnTo>
                    <a:pt x="164" y="188"/>
                  </a:lnTo>
                  <a:lnTo>
                    <a:pt x="158" y="190"/>
                  </a:lnTo>
                  <a:lnTo>
                    <a:pt x="154" y="192"/>
                  </a:lnTo>
                  <a:lnTo>
                    <a:pt x="152" y="194"/>
                  </a:lnTo>
                  <a:lnTo>
                    <a:pt x="150" y="194"/>
                  </a:lnTo>
                  <a:lnTo>
                    <a:pt x="144" y="194"/>
                  </a:lnTo>
                  <a:lnTo>
                    <a:pt x="142" y="188"/>
                  </a:lnTo>
                  <a:lnTo>
                    <a:pt x="148" y="184"/>
                  </a:lnTo>
                  <a:lnTo>
                    <a:pt x="148" y="180"/>
                  </a:lnTo>
                  <a:lnTo>
                    <a:pt x="150" y="178"/>
                  </a:lnTo>
                  <a:lnTo>
                    <a:pt x="150" y="176"/>
                  </a:lnTo>
                  <a:lnTo>
                    <a:pt x="154" y="170"/>
                  </a:lnTo>
                  <a:lnTo>
                    <a:pt x="156" y="166"/>
                  </a:lnTo>
                  <a:lnTo>
                    <a:pt x="154" y="164"/>
                  </a:lnTo>
                  <a:lnTo>
                    <a:pt x="150" y="164"/>
                  </a:lnTo>
                  <a:lnTo>
                    <a:pt x="144" y="162"/>
                  </a:lnTo>
                  <a:lnTo>
                    <a:pt x="140" y="162"/>
                  </a:lnTo>
                  <a:lnTo>
                    <a:pt x="134" y="160"/>
                  </a:lnTo>
                  <a:lnTo>
                    <a:pt x="132" y="160"/>
                  </a:lnTo>
                  <a:lnTo>
                    <a:pt x="134" y="154"/>
                  </a:lnTo>
                  <a:lnTo>
                    <a:pt x="134" y="152"/>
                  </a:lnTo>
                  <a:lnTo>
                    <a:pt x="128" y="150"/>
                  </a:lnTo>
                  <a:lnTo>
                    <a:pt x="124" y="146"/>
                  </a:lnTo>
                  <a:lnTo>
                    <a:pt x="118" y="140"/>
                  </a:lnTo>
                  <a:lnTo>
                    <a:pt x="112" y="136"/>
                  </a:lnTo>
                  <a:lnTo>
                    <a:pt x="108" y="134"/>
                  </a:lnTo>
                  <a:lnTo>
                    <a:pt x="106" y="132"/>
                  </a:lnTo>
                  <a:lnTo>
                    <a:pt x="102" y="130"/>
                  </a:lnTo>
                  <a:lnTo>
                    <a:pt x="98" y="124"/>
                  </a:lnTo>
                  <a:lnTo>
                    <a:pt x="94" y="128"/>
                  </a:lnTo>
                  <a:lnTo>
                    <a:pt x="92" y="128"/>
                  </a:lnTo>
                  <a:lnTo>
                    <a:pt x="88" y="128"/>
                  </a:lnTo>
                  <a:lnTo>
                    <a:pt x="90" y="132"/>
                  </a:lnTo>
                  <a:lnTo>
                    <a:pt x="92" y="138"/>
                  </a:lnTo>
                  <a:lnTo>
                    <a:pt x="90" y="142"/>
                  </a:lnTo>
                  <a:lnTo>
                    <a:pt x="84" y="144"/>
                  </a:lnTo>
                  <a:lnTo>
                    <a:pt x="82" y="146"/>
                  </a:lnTo>
                  <a:lnTo>
                    <a:pt x="84" y="150"/>
                  </a:lnTo>
                  <a:lnTo>
                    <a:pt x="82" y="152"/>
                  </a:lnTo>
                  <a:lnTo>
                    <a:pt x="76" y="154"/>
                  </a:lnTo>
                  <a:lnTo>
                    <a:pt x="74" y="148"/>
                  </a:lnTo>
                  <a:lnTo>
                    <a:pt x="70" y="146"/>
                  </a:lnTo>
                  <a:lnTo>
                    <a:pt x="64" y="144"/>
                  </a:lnTo>
                  <a:lnTo>
                    <a:pt x="62" y="144"/>
                  </a:lnTo>
                  <a:lnTo>
                    <a:pt x="60" y="142"/>
                  </a:lnTo>
                  <a:lnTo>
                    <a:pt x="54" y="138"/>
                  </a:lnTo>
                  <a:lnTo>
                    <a:pt x="48" y="136"/>
                  </a:lnTo>
                  <a:lnTo>
                    <a:pt x="42" y="134"/>
                  </a:lnTo>
                  <a:lnTo>
                    <a:pt x="40" y="132"/>
                  </a:lnTo>
                  <a:lnTo>
                    <a:pt x="40" y="130"/>
                  </a:lnTo>
                  <a:lnTo>
                    <a:pt x="34" y="130"/>
                  </a:lnTo>
                  <a:lnTo>
                    <a:pt x="28" y="126"/>
                  </a:lnTo>
                  <a:lnTo>
                    <a:pt x="24" y="120"/>
                  </a:lnTo>
                  <a:lnTo>
                    <a:pt x="22" y="120"/>
                  </a:lnTo>
                  <a:lnTo>
                    <a:pt x="20" y="118"/>
                  </a:lnTo>
                  <a:lnTo>
                    <a:pt x="18" y="116"/>
                  </a:lnTo>
                  <a:lnTo>
                    <a:pt x="12" y="112"/>
                  </a:lnTo>
                  <a:lnTo>
                    <a:pt x="10" y="112"/>
                  </a:lnTo>
                  <a:lnTo>
                    <a:pt x="10" y="110"/>
                  </a:lnTo>
                  <a:lnTo>
                    <a:pt x="8" y="108"/>
                  </a:lnTo>
                  <a:lnTo>
                    <a:pt x="12" y="102"/>
                  </a:lnTo>
                  <a:lnTo>
                    <a:pt x="16" y="102"/>
                  </a:lnTo>
                  <a:lnTo>
                    <a:pt x="22" y="104"/>
                  </a:lnTo>
                  <a:lnTo>
                    <a:pt x="26" y="100"/>
                  </a:lnTo>
                  <a:lnTo>
                    <a:pt x="26" y="98"/>
                  </a:lnTo>
                  <a:lnTo>
                    <a:pt x="26" y="94"/>
                  </a:lnTo>
                  <a:lnTo>
                    <a:pt x="24" y="90"/>
                  </a:lnTo>
                  <a:lnTo>
                    <a:pt x="22" y="90"/>
                  </a:lnTo>
                  <a:lnTo>
                    <a:pt x="20" y="86"/>
                  </a:lnTo>
                  <a:lnTo>
                    <a:pt x="16" y="82"/>
                  </a:lnTo>
                  <a:lnTo>
                    <a:pt x="10" y="76"/>
                  </a:lnTo>
                  <a:lnTo>
                    <a:pt x="12" y="74"/>
                  </a:lnTo>
                  <a:lnTo>
                    <a:pt x="18" y="76"/>
                  </a:lnTo>
                  <a:lnTo>
                    <a:pt x="24" y="78"/>
                  </a:lnTo>
                  <a:lnTo>
                    <a:pt x="30" y="72"/>
                  </a:lnTo>
                  <a:lnTo>
                    <a:pt x="30" y="70"/>
                  </a:lnTo>
                  <a:lnTo>
                    <a:pt x="24" y="68"/>
                  </a:lnTo>
                  <a:lnTo>
                    <a:pt x="24" y="66"/>
                  </a:lnTo>
                  <a:lnTo>
                    <a:pt x="18" y="62"/>
                  </a:lnTo>
                  <a:lnTo>
                    <a:pt x="14" y="56"/>
                  </a:lnTo>
                  <a:lnTo>
                    <a:pt x="8" y="56"/>
                  </a:lnTo>
                  <a:lnTo>
                    <a:pt x="4" y="54"/>
                  </a:lnTo>
                  <a:lnTo>
                    <a:pt x="0" y="4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5" name="Freeform 42"/>
            <p:cNvSpPr>
              <a:spLocks/>
            </p:cNvSpPr>
            <p:nvPr/>
          </p:nvSpPr>
          <p:spPr bwMode="auto">
            <a:xfrm>
              <a:off x="4706938" y="3014663"/>
              <a:ext cx="39687" cy="42862"/>
            </a:xfrm>
            <a:custGeom>
              <a:avLst/>
              <a:gdLst>
                <a:gd name="T0" fmla="*/ 2147483647 w 98"/>
                <a:gd name="T1" fmla="*/ 2147483647 h 102"/>
                <a:gd name="T2" fmla="*/ 2147483647 w 98"/>
                <a:gd name="T3" fmla="*/ 2147483647 h 102"/>
                <a:gd name="T4" fmla="*/ 2147483647 w 98"/>
                <a:gd name="T5" fmla="*/ 2147483647 h 102"/>
                <a:gd name="T6" fmla="*/ 2147483647 w 98"/>
                <a:gd name="T7" fmla="*/ 2147483647 h 102"/>
                <a:gd name="T8" fmla="*/ 2147483647 w 98"/>
                <a:gd name="T9" fmla="*/ 2147483647 h 102"/>
                <a:gd name="T10" fmla="*/ 2147483647 w 98"/>
                <a:gd name="T11" fmla="*/ 2147483647 h 102"/>
                <a:gd name="T12" fmla="*/ 2147483647 w 98"/>
                <a:gd name="T13" fmla="*/ 2147483647 h 102"/>
                <a:gd name="T14" fmla="*/ 2147483647 w 98"/>
                <a:gd name="T15" fmla="*/ 2147483647 h 102"/>
                <a:gd name="T16" fmla="*/ 2147483647 w 98"/>
                <a:gd name="T17" fmla="*/ 2147483647 h 102"/>
                <a:gd name="T18" fmla="*/ 2147483647 w 98"/>
                <a:gd name="T19" fmla="*/ 0 h 102"/>
                <a:gd name="T20" fmla="*/ 2147483647 w 98"/>
                <a:gd name="T21" fmla="*/ 2147483647 h 102"/>
                <a:gd name="T22" fmla="*/ 2147483647 w 98"/>
                <a:gd name="T23" fmla="*/ 2147483647 h 102"/>
                <a:gd name="T24" fmla="*/ 2147483647 w 98"/>
                <a:gd name="T25" fmla="*/ 2147483647 h 102"/>
                <a:gd name="T26" fmla="*/ 2147483647 w 98"/>
                <a:gd name="T27" fmla="*/ 2147483647 h 102"/>
                <a:gd name="T28" fmla="*/ 2147483647 w 98"/>
                <a:gd name="T29" fmla="*/ 2147483647 h 102"/>
                <a:gd name="T30" fmla="*/ 2147483647 w 98"/>
                <a:gd name="T31" fmla="*/ 2147483647 h 102"/>
                <a:gd name="T32" fmla="*/ 2147483647 w 98"/>
                <a:gd name="T33" fmla="*/ 2147483647 h 102"/>
                <a:gd name="T34" fmla="*/ 2147483647 w 98"/>
                <a:gd name="T35" fmla="*/ 2147483647 h 102"/>
                <a:gd name="T36" fmla="*/ 2147483647 w 98"/>
                <a:gd name="T37" fmla="*/ 2147483647 h 102"/>
                <a:gd name="T38" fmla="*/ 2147483647 w 98"/>
                <a:gd name="T39" fmla="*/ 2147483647 h 102"/>
                <a:gd name="T40" fmla="*/ 2147483647 w 98"/>
                <a:gd name="T41" fmla="*/ 2147483647 h 102"/>
                <a:gd name="T42" fmla="*/ 2147483647 w 98"/>
                <a:gd name="T43" fmla="*/ 2147483647 h 102"/>
                <a:gd name="T44" fmla="*/ 2147483647 w 98"/>
                <a:gd name="T45" fmla="*/ 2147483647 h 102"/>
                <a:gd name="T46" fmla="*/ 2147483647 w 98"/>
                <a:gd name="T47" fmla="*/ 2147483647 h 102"/>
                <a:gd name="T48" fmla="*/ 2147483647 w 98"/>
                <a:gd name="T49" fmla="*/ 2147483647 h 102"/>
                <a:gd name="T50" fmla="*/ 2147483647 w 98"/>
                <a:gd name="T51" fmla="*/ 2147483647 h 102"/>
                <a:gd name="T52" fmla="*/ 2147483647 w 98"/>
                <a:gd name="T53" fmla="*/ 2147483647 h 102"/>
                <a:gd name="T54" fmla="*/ 2147483647 w 98"/>
                <a:gd name="T55" fmla="*/ 2147483647 h 102"/>
                <a:gd name="T56" fmla="*/ 2147483647 w 98"/>
                <a:gd name="T57" fmla="*/ 2147483647 h 102"/>
                <a:gd name="T58" fmla="*/ 2147483647 w 98"/>
                <a:gd name="T59" fmla="*/ 2147483647 h 102"/>
                <a:gd name="T60" fmla="*/ 2147483647 w 98"/>
                <a:gd name="T61" fmla="*/ 2147483647 h 102"/>
                <a:gd name="T62" fmla="*/ 2147483647 w 98"/>
                <a:gd name="T63" fmla="*/ 2147483647 h 102"/>
                <a:gd name="T64" fmla="*/ 2147483647 w 98"/>
                <a:gd name="T65" fmla="*/ 2147483647 h 102"/>
                <a:gd name="T66" fmla="*/ 2147483647 w 98"/>
                <a:gd name="T67" fmla="*/ 2147483647 h 102"/>
                <a:gd name="T68" fmla="*/ 2147483647 w 98"/>
                <a:gd name="T69" fmla="*/ 2147483647 h 102"/>
                <a:gd name="T70" fmla="*/ 2147483647 w 98"/>
                <a:gd name="T71" fmla="*/ 2147483647 h 102"/>
                <a:gd name="T72" fmla="*/ 2147483647 w 98"/>
                <a:gd name="T73" fmla="*/ 2147483647 h 102"/>
                <a:gd name="T74" fmla="*/ 2147483647 w 98"/>
                <a:gd name="T75" fmla="*/ 2147483647 h 102"/>
                <a:gd name="T76" fmla="*/ 2147483647 w 98"/>
                <a:gd name="T77" fmla="*/ 2147483647 h 102"/>
                <a:gd name="T78" fmla="*/ 0 w 98"/>
                <a:gd name="T79" fmla="*/ 2147483647 h 1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8"/>
                <a:gd name="T121" fmla="*/ 0 h 102"/>
                <a:gd name="T122" fmla="*/ 98 w 98"/>
                <a:gd name="T123" fmla="*/ 102 h 1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8" h="102">
                  <a:moveTo>
                    <a:pt x="0" y="38"/>
                  </a:moveTo>
                  <a:lnTo>
                    <a:pt x="2" y="34"/>
                  </a:lnTo>
                  <a:lnTo>
                    <a:pt x="6" y="36"/>
                  </a:lnTo>
                  <a:lnTo>
                    <a:pt x="10" y="36"/>
                  </a:lnTo>
                  <a:lnTo>
                    <a:pt x="10" y="32"/>
                  </a:lnTo>
                  <a:lnTo>
                    <a:pt x="16" y="30"/>
                  </a:lnTo>
                  <a:lnTo>
                    <a:pt x="18" y="30"/>
                  </a:lnTo>
                  <a:lnTo>
                    <a:pt x="24" y="28"/>
                  </a:lnTo>
                  <a:lnTo>
                    <a:pt x="26" y="26"/>
                  </a:lnTo>
                  <a:lnTo>
                    <a:pt x="24" y="22"/>
                  </a:lnTo>
                  <a:lnTo>
                    <a:pt x="26" y="20"/>
                  </a:lnTo>
                  <a:lnTo>
                    <a:pt x="32" y="18"/>
                  </a:lnTo>
                  <a:lnTo>
                    <a:pt x="34" y="14"/>
                  </a:lnTo>
                  <a:lnTo>
                    <a:pt x="32" y="8"/>
                  </a:lnTo>
                  <a:lnTo>
                    <a:pt x="30" y="4"/>
                  </a:lnTo>
                  <a:lnTo>
                    <a:pt x="34" y="4"/>
                  </a:lnTo>
                  <a:lnTo>
                    <a:pt x="36" y="4"/>
                  </a:lnTo>
                  <a:lnTo>
                    <a:pt x="40" y="0"/>
                  </a:lnTo>
                  <a:lnTo>
                    <a:pt x="44" y="6"/>
                  </a:lnTo>
                  <a:lnTo>
                    <a:pt x="48" y="8"/>
                  </a:lnTo>
                  <a:lnTo>
                    <a:pt x="50" y="10"/>
                  </a:lnTo>
                  <a:lnTo>
                    <a:pt x="54" y="12"/>
                  </a:lnTo>
                  <a:lnTo>
                    <a:pt x="60" y="16"/>
                  </a:lnTo>
                  <a:lnTo>
                    <a:pt x="66" y="22"/>
                  </a:lnTo>
                  <a:lnTo>
                    <a:pt x="70" y="26"/>
                  </a:lnTo>
                  <a:lnTo>
                    <a:pt x="76" y="28"/>
                  </a:lnTo>
                  <a:lnTo>
                    <a:pt x="76" y="30"/>
                  </a:lnTo>
                  <a:lnTo>
                    <a:pt x="74" y="36"/>
                  </a:lnTo>
                  <a:lnTo>
                    <a:pt x="76" y="36"/>
                  </a:lnTo>
                  <a:lnTo>
                    <a:pt x="82" y="38"/>
                  </a:lnTo>
                  <a:lnTo>
                    <a:pt x="86" y="38"/>
                  </a:lnTo>
                  <a:lnTo>
                    <a:pt x="92" y="40"/>
                  </a:lnTo>
                  <a:lnTo>
                    <a:pt x="96" y="40"/>
                  </a:lnTo>
                  <a:lnTo>
                    <a:pt x="98" y="42"/>
                  </a:lnTo>
                  <a:lnTo>
                    <a:pt x="96" y="46"/>
                  </a:lnTo>
                  <a:lnTo>
                    <a:pt x="92" y="52"/>
                  </a:lnTo>
                  <a:lnTo>
                    <a:pt x="92" y="54"/>
                  </a:lnTo>
                  <a:lnTo>
                    <a:pt x="90" y="56"/>
                  </a:lnTo>
                  <a:lnTo>
                    <a:pt x="90" y="60"/>
                  </a:lnTo>
                  <a:lnTo>
                    <a:pt x="84" y="64"/>
                  </a:lnTo>
                  <a:lnTo>
                    <a:pt x="86" y="70"/>
                  </a:lnTo>
                  <a:lnTo>
                    <a:pt x="82" y="70"/>
                  </a:lnTo>
                  <a:lnTo>
                    <a:pt x="76" y="72"/>
                  </a:lnTo>
                  <a:lnTo>
                    <a:pt x="74" y="72"/>
                  </a:lnTo>
                  <a:lnTo>
                    <a:pt x="74" y="74"/>
                  </a:lnTo>
                  <a:lnTo>
                    <a:pt x="74" y="76"/>
                  </a:lnTo>
                  <a:lnTo>
                    <a:pt x="74" y="80"/>
                  </a:lnTo>
                  <a:lnTo>
                    <a:pt x="68" y="80"/>
                  </a:lnTo>
                  <a:lnTo>
                    <a:pt x="66" y="76"/>
                  </a:lnTo>
                  <a:lnTo>
                    <a:pt x="62" y="72"/>
                  </a:lnTo>
                  <a:lnTo>
                    <a:pt x="60" y="74"/>
                  </a:lnTo>
                  <a:lnTo>
                    <a:pt x="54" y="78"/>
                  </a:lnTo>
                  <a:lnTo>
                    <a:pt x="50" y="80"/>
                  </a:lnTo>
                  <a:lnTo>
                    <a:pt x="44" y="80"/>
                  </a:lnTo>
                  <a:lnTo>
                    <a:pt x="42" y="86"/>
                  </a:lnTo>
                  <a:lnTo>
                    <a:pt x="44" y="92"/>
                  </a:lnTo>
                  <a:lnTo>
                    <a:pt x="38" y="98"/>
                  </a:lnTo>
                  <a:lnTo>
                    <a:pt x="32" y="102"/>
                  </a:lnTo>
                  <a:lnTo>
                    <a:pt x="32" y="96"/>
                  </a:lnTo>
                  <a:lnTo>
                    <a:pt x="34" y="90"/>
                  </a:lnTo>
                  <a:lnTo>
                    <a:pt x="32" y="84"/>
                  </a:lnTo>
                  <a:lnTo>
                    <a:pt x="32" y="80"/>
                  </a:lnTo>
                  <a:lnTo>
                    <a:pt x="30" y="76"/>
                  </a:lnTo>
                  <a:lnTo>
                    <a:pt x="26" y="70"/>
                  </a:lnTo>
                  <a:lnTo>
                    <a:pt x="20" y="66"/>
                  </a:lnTo>
                  <a:lnTo>
                    <a:pt x="18" y="66"/>
                  </a:lnTo>
                  <a:lnTo>
                    <a:pt x="12" y="64"/>
                  </a:lnTo>
                  <a:lnTo>
                    <a:pt x="10" y="60"/>
                  </a:lnTo>
                  <a:lnTo>
                    <a:pt x="8" y="54"/>
                  </a:lnTo>
                  <a:lnTo>
                    <a:pt x="2" y="50"/>
                  </a:lnTo>
                  <a:lnTo>
                    <a:pt x="4" y="44"/>
                  </a:lnTo>
                  <a:lnTo>
                    <a:pt x="6" y="42"/>
                  </a:lnTo>
                  <a:lnTo>
                    <a:pt x="2" y="40"/>
                  </a:lnTo>
                  <a:lnTo>
                    <a:pt x="0" y="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6" name="Freeform 43"/>
            <p:cNvSpPr>
              <a:spLocks/>
            </p:cNvSpPr>
            <p:nvPr/>
          </p:nvSpPr>
          <p:spPr bwMode="auto">
            <a:xfrm>
              <a:off x="4749800" y="2568575"/>
              <a:ext cx="93663" cy="55563"/>
            </a:xfrm>
            <a:custGeom>
              <a:avLst/>
              <a:gdLst>
                <a:gd name="T0" fmla="*/ 2147483647 w 232"/>
                <a:gd name="T1" fmla="*/ 2147483647 h 134"/>
                <a:gd name="T2" fmla="*/ 2147483647 w 232"/>
                <a:gd name="T3" fmla="*/ 2147483647 h 134"/>
                <a:gd name="T4" fmla="*/ 2147483647 w 232"/>
                <a:gd name="T5" fmla="*/ 2147483647 h 134"/>
                <a:gd name="T6" fmla="*/ 2147483647 w 232"/>
                <a:gd name="T7" fmla="*/ 2147483647 h 134"/>
                <a:gd name="T8" fmla="*/ 0 w 232"/>
                <a:gd name="T9" fmla="*/ 2147483647 h 134"/>
                <a:gd name="T10" fmla="*/ 2147483647 w 232"/>
                <a:gd name="T11" fmla="*/ 2147483647 h 134"/>
                <a:gd name="T12" fmla="*/ 2147483647 w 232"/>
                <a:gd name="T13" fmla="*/ 2147483647 h 134"/>
                <a:gd name="T14" fmla="*/ 2147483647 w 232"/>
                <a:gd name="T15" fmla="*/ 2147483647 h 134"/>
                <a:gd name="T16" fmla="*/ 2147483647 w 232"/>
                <a:gd name="T17" fmla="*/ 2147483647 h 134"/>
                <a:gd name="T18" fmla="*/ 2147483647 w 232"/>
                <a:gd name="T19" fmla="*/ 2147483647 h 134"/>
                <a:gd name="T20" fmla="*/ 2147483647 w 232"/>
                <a:gd name="T21" fmla="*/ 2147483647 h 134"/>
                <a:gd name="T22" fmla="*/ 2147483647 w 232"/>
                <a:gd name="T23" fmla="*/ 0 h 134"/>
                <a:gd name="T24" fmla="*/ 2147483647 w 232"/>
                <a:gd name="T25" fmla="*/ 2147483647 h 134"/>
                <a:gd name="T26" fmla="*/ 2147483647 w 232"/>
                <a:gd name="T27" fmla="*/ 2147483647 h 134"/>
                <a:gd name="T28" fmla="*/ 2147483647 w 232"/>
                <a:gd name="T29" fmla="*/ 2147483647 h 134"/>
                <a:gd name="T30" fmla="*/ 2147483647 w 232"/>
                <a:gd name="T31" fmla="*/ 2147483647 h 134"/>
                <a:gd name="T32" fmla="*/ 2147483647 w 232"/>
                <a:gd name="T33" fmla="*/ 2147483647 h 134"/>
                <a:gd name="T34" fmla="*/ 2147483647 w 232"/>
                <a:gd name="T35" fmla="*/ 2147483647 h 134"/>
                <a:gd name="T36" fmla="*/ 2147483647 w 232"/>
                <a:gd name="T37" fmla="*/ 2147483647 h 134"/>
                <a:gd name="T38" fmla="*/ 2147483647 w 232"/>
                <a:gd name="T39" fmla="*/ 2147483647 h 134"/>
                <a:gd name="T40" fmla="*/ 2147483647 w 232"/>
                <a:gd name="T41" fmla="*/ 2147483647 h 134"/>
                <a:gd name="T42" fmla="*/ 2147483647 w 232"/>
                <a:gd name="T43" fmla="*/ 2147483647 h 134"/>
                <a:gd name="T44" fmla="*/ 2147483647 w 232"/>
                <a:gd name="T45" fmla="*/ 2147483647 h 134"/>
                <a:gd name="T46" fmla="*/ 2147483647 w 232"/>
                <a:gd name="T47" fmla="*/ 2147483647 h 134"/>
                <a:gd name="T48" fmla="*/ 2147483647 w 232"/>
                <a:gd name="T49" fmla="*/ 2147483647 h 134"/>
                <a:gd name="T50" fmla="*/ 2147483647 w 232"/>
                <a:gd name="T51" fmla="*/ 2147483647 h 134"/>
                <a:gd name="T52" fmla="*/ 2147483647 w 232"/>
                <a:gd name="T53" fmla="*/ 2147483647 h 134"/>
                <a:gd name="T54" fmla="*/ 2147483647 w 232"/>
                <a:gd name="T55" fmla="*/ 2147483647 h 134"/>
                <a:gd name="T56" fmla="*/ 2147483647 w 232"/>
                <a:gd name="T57" fmla="*/ 2147483647 h 134"/>
                <a:gd name="T58" fmla="*/ 2147483647 w 232"/>
                <a:gd name="T59" fmla="*/ 2147483647 h 134"/>
                <a:gd name="T60" fmla="*/ 2147483647 w 232"/>
                <a:gd name="T61" fmla="*/ 2147483647 h 134"/>
                <a:gd name="T62" fmla="*/ 2147483647 w 232"/>
                <a:gd name="T63" fmla="*/ 2147483647 h 134"/>
                <a:gd name="T64" fmla="*/ 2147483647 w 232"/>
                <a:gd name="T65" fmla="*/ 2147483647 h 134"/>
                <a:gd name="T66" fmla="*/ 2147483647 w 232"/>
                <a:gd name="T67" fmla="*/ 2147483647 h 134"/>
                <a:gd name="T68" fmla="*/ 2147483647 w 232"/>
                <a:gd name="T69" fmla="*/ 2147483647 h 134"/>
                <a:gd name="T70" fmla="*/ 2147483647 w 232"/>
                <a:gd name="T71" fmla="*/ 2147483647 h 134"/>
                <a:gd name="T72" fmla="*/ 2147483647 w 232"/>
                <a:gd name="T73" fmla="*/ 2147483647 h 134"/>
                <a:gd name="T74" fmla="*/ 2147483647 w 232"/>
                <a:gd name="T75" fmla="*/ 2147483647 h 134"/>
                <a:gd name="T76" fmla="*/ 2147483647 w 232"/>
                <a:gd name="T77" fmla="*/ 2147483647 h 134"/>
                <a:gd name="T78" fmla="*/ 2147483647 w 232"/>
                <a:gd name="T79" fmla="*/ 2147483647 h 134"/>
                <a:gd name="T80" fmla="*/ 2147483647 w 232"/>
                <a:gd name="T81" fmla="*/ 2147483647 h 134"/>
                <a:gd name="T82" fmla="*/ 2147483647 w 232"/>
                <a:gd name="T83" fmla="*/ 2147483647 h 134"/>
                <a:gd name="T84" fmla="*/ 2147483647 w 232"/>
                <a:gd name="T85" fmla="*/ 2147483647 h 134"/>
                <a:gd name="T86" fmla="*/ 2147483647 w 232"/>
                <a:gd name="T87" fmla="*/ 2147483647 h 134"/>
                <a:gd name="T88" fmla="*/ 2147483647 w 232"/>
                <a:gd name="T89" fmla="*/ 2147483647 h 134"/>
                <a:gd name="T90" fmla="*/ 2147483647 w 232"/>
                <a:gd name="T91" fmla="*/ 2147483647 h 134"/>
                <a:gd name="T92" fmla="*/ 2147483647 w 232"/>
                <a:gd name="T93" fmla="*/ 2147483647 h 13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2"/>
                <a:gd name="T142" fmla="*/ 0 h 134"/>
                <a:gd name="T143" fmla="*/ 232 w 232"/>
                <a:gd name="T144" fmla="*/ 134 h 13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2" h="134">
                  <a:moveTo>
                    <a:pt x="6" y="66"/>
                  </a:moveTo>
                  <a:lnTo>
                    <a:pt x="6" y="66"/>
                  </a:lnTo>
                  <a:lnTo>
                    <a:pt x="6" y="60"/>
                  </a:lnTo>
                  <a:lnTo>
                    <a:pt x="12" y="56"/>
                  </a:lnTo>
                  <a:lnTo>
                    <a:pt x="18" y="56"/>
                  </a:lnTo>
                  <a:lnTo>
                    <a:pt x="24" y="54"/>
                  </a:lnTo>
                  <a:lnTo>
                    <a:pt x="18" y="52"/>
                  </a:lnTo>
                  <a:lnTo>
                    <a:pt x="12" y="52"/>
                  </a:lnTo>
                  <a:lnTo>
                    <a:pt x="4" y="54"/>
                  </a:lnTo>
                  <a:lnTo>
                    <a:pt x="2" y="46"/>
                  </a:lnTo>
                  <a:lnTo>
                    <a:pt x="8" y="42"/>
                  </a:lnTo>
                  <a:lnTo>
                    <a:pt x="6" y="36"/>
                  </a:lnTo>
                  <a:lnTo>
                    <a:pt x="0" y="40"/>
                  </a:lnTo>
                  <a:lnTo>
                    <a:pt x="2" y="34"/>
                  </a:lnTo>
                  <a:lnTo>
                    <a:pt x="0" y="26"/>
                  </a:lnTo>
                  <a:lnTo>
                    <a:pt x="6" y="24"/>
                  </a:lnTo>
                  <a:lnTo>
                    <a:pt x="12" y="24"/>
                  </a:lnTo>
                  <a:lnTo>
                    <a:pt x="18" y="20"/>
                  </a:lnTo>
                  <a:lnTo>
                    <a:pt x="26" y="22"/>
                  </a:lnTo>
                  <a:lnTo>
                    <a:pt x="30" y="22"/>
                  </a:lnTo>
                  <a:lnTo>
                    <a:pt x="26" y="16"/>
                  </a:lnTo>
                  <a:lnTo>
                    <a:pt x="28" y="14"/>
                  </a:lnTo>
                  <a:lnTo>
                    <a:pt x="34" y="16"/>
                  </a:lnTo>
                  <a:lnTo>
                    <a:pt x="40" y="12"/>
                  </a:lnTo>
                  <a:lnTo>
                    <a:pt x="46" y="8"/>
                  </a:lnTo>
                  <a:lnTo>
                    <a:pt x="52" y="10"/>
                  </a:lnTo>
                  <a:lnTo>
                    <a:pt x="58" y="12"/>
                  </a:lnTo>
                  <a:lnTo>
                    <a:pt x="64" y="10"/>
                  </a:lnTo>
                  <a:lnTo>
                    <a:pt x="64" y="6"/>
                  </a:lnTo>
                  <a:lnTo>
                    <a:pt x="70" y="6"/>
                  </a:lnTo>
                  <a:lnTo>
                    <a:pt x="74" y="6"/>
                  </a:lnTo>
                  <a:lnTo>
                    <a:pt x="80" y="8"/>
                  </a:lnTo>
                  <a:lnTo>
                    <a:pt x="86" y="6"/>
                  </a:lnTo>
                  <a:lnTo>
                    <a:pt x="92" y="8"/>
                  </a:lnTo>
                  <a:lnTo>
                    <a:pt x="98" y="6"/>
                  </a:lnTo>
                  <a:lnTo>
                    <a:pt x="98" y="0"/>
                  </a:lnTo>
                  <a:lnTo>
                    <a:pt x="102" y="0"/>
                  </a:lnTo>
                  <a:lnTo>
                    <a:pt x="108" y="2"/>
                  </a:lnTo>
                  <a:lnTo>
                    <a:pt x="114" y="2"/>
                  </a:lnTo>
                  <a:lnTo>
                    <a:pt x="120" y="2"/>
                  </a:lnTo>
                  <a:lnTo>
                    <a:pt x="126" y="0"/>
                  </a:lnTo>
                  <a:lnTo>
                    <a:pt x="132" y="2"/>
                  </a:lnTo>
                  <a:lnTo>
                    <a:pt x="138" y="4"/>
                  </a:lnTo>
                  <a:lnTo>
                    <a:pt x="144" y="4"/>
                  </a:lnTo>
                  <a:lnTo>
                    <a:pt x="150" y="4"/>
                  </a:lnTo>
                  <a:lnTo>
                    <a:pt x="156" y="4"/>
                  </a:lnTo>
                  <a:lnTo>
                    <a:pt x="162" y="8"/>
                  </a:lnTo>
                  <a:lnTo>
                    <a:pt x="168" y="10"/>
                  </a:lnTo>
                  <a:lnTo>
                    <a:pt x="176" y="10"/>
                  </a:lnTo>
                  <a:lnTo>
                    <a:pt x="182" y="10"/>
                  </a:lnTo>
                  <a:lnTo>
                    <a:pt x="188" y="10"/>
                  </a:lnTo>
                  <a:lnTo>
                    <a:pt x="194" y="10"/>
                  </a:lnTo>
                  <a:lnTo>
                    <a:pt x="200" y="12"/>
                  </a:lnTo>
                  <a:lnTo>
                    <a:pt x="206" y="12"/>
                  </a:lnTo>
                  <a:lnTo>
                    <a:pt x="212" y="12"/>
                  </a:lnTo>
                  <a:lnTo>
                    <a:pt x="218" y="12"/>
                  </a:lnTo>
                  <a:lnTo>
                    <a:pt x="222" y="8"/>
                  </a:lnTo>
                  <a:lnTo>
                    <a:pt x="224" y="10"/>
                  </a:lnTo>
                  <a:lnTo>
                    <a:pt x="230" y="14"/>
                  </a:lnTo>
                  <a:lnTo>
                    <a:pt x="232" y="14"/>
                  </a:lnTo>
                  <a:lnTo>
                    <a:pt x="232" y="16"/>
                  </a:lnTo>
                  <a:lnTo>
                    <a:pt x="226" y="18"/>
                  </a:lnTo>
                  <a:lnTo>
                    <a:pt x="220" y="20"/>
                  </a:lnTo>
                  <a:lnTo>
                    <a:pt x="218" y="22"/>
                  </a:lnTo>
                  <a:lnTo>
                    <a:pt x="216" y="28"/>
                  </a:lnTo>
                  <a:lnTo>
                    <a:pt x="216" y="34"/>
                  </a:lnTo>
                  <a:lnTo>
                    <a:pt x="212" y="40"/>
                  </a:lnTo>
                  <a:lnTo>
                    <a:pt x="206" y="44"/>
                  </a:lnTo>
                  <a:lnTo>
                    <a:pt x="200" y="48"/>
                  </a:lnTo>
                  <a:lnTo>
                    <a:pt x="198" y="54"/>
                  </a:lnTo>
                  <a:lnTo>
                    <a:pt x="202" y="60"/>
                  </a:lnTo>
                  <a:lnTo>
                    <a:pt x="204" y="66"/>
                  </a:lnTo>
                  <a:lnTo>
                    <a:pt x="206" y="72"/>
                  </a:lnTo>
                  <a:lnTo>
                    <a:pt x="208" y="78"/>
                  </a:lnTo>
                  <a:lnTo>
                    <a:pt x="204" y="84"/>
                  </a:lnTo>
                  <a:lnTo>
                    <a:pt x="206" y="90"/>
                  </a:lnTo>
                  <a:lnTo>
                    <a:pt x="212" y="96"/>
                  </a:lnTo>
                  <a:lnTo>
                    <a:pt x="218" y="98"/>
                  </a:lnTo>
                  <a:lnTo>
                    <a:pt x="216" y="102"/>
                  </a:lnTo>
                  <a:lnTo>
                    <a:pt x="220" y="108"/>
                  </a:lnTo>
                  <a:lnTo>
                    <a:pt x="224" y="110"/>
                  </a:lnTo>
                  <a:lnTo>
                    <a:pt x="220" y="114"/>
                  </a:lnTo>
                  <a:lnTo>
                    <a:pt x="218" y="114"/>
                  </a:lnTo>
                  <a:lnTo>
                    <a:pt x="216" y="114"/>
                  </a:lnTo>
                  <a:lnTo>
                    <a:pt x="212" y="120"/>
                  </a:lnTo>
                  <a:lnTo>
                    <a:pt x="206" y="124"/>
                  </a:lnTo>
                  <a:lnTo>
                    <a:pt x="206" y="126"/>
                  </a:lnTo>
                  <a:lnTo>
                    <a:pt x="206" y="132"/>
                  </a:lnTo>
                  <a:lnTo>
                    <a:pt x="202" y="132"/>
                  </a:lnTo>
                  <a:lnTo>
                    <a:pt x="196" y="132"/>
                  </a:lnTo>
                  <a:lnTo>
                    <a:pt x="190" y="130"/>
                  </a:lnTo>
                  <a:lnTo>
                    <a:pt x="186" y="128"/>
                  </a:lnTo>
                  <a:lnTo>
                    <a:pt x="180" y="126"/>
                  </a:lnTo>
                  <a:lnTo>
                    <a:pt x="174" y="130"/>
                  </a:lnTo>
                  <a:lnTo>
                    <a:pt x="168" y="132"/>
                  </a:lnTo>
                  <a:lnTo>
                    <a:pt x="168" y="134"/>
                  </a:lnTo>
                  <a:lnTo>
                    <a:pt x="162" y="132"/>
                  </a:lnTo>
                  <a:lnTo>
                    <a:pt x="156" y="130"/>
                  </a:lnTo>
                  <a:lnTo>
                    <a:pt x="150" y="126"/>
                  </a:lnTo>
                  <a:lnTo>
                    <a:pt x="144" y="120"/>
                  </a:lnTo>
                  <a:lnTo>
                    <a:pt x="140" y="118"/>
                  </a:lnTo>
                  <a:lnTo>
                    <a:pt x="138" y="118"/>
                  </a:lnTo>
                  <a:lnTo>
                    <a:pt x="138" y="116"/>
                  </a:lnTo>
                  <a:lnTo>
                    <a:pt x="134" y="112"/>
                  </a:lnTo>
                  <a:lnTo>
                    <a:pt x="128" y="112"/>
                  </a:lnTo>
                  <a:lnTo>
                    <a:pt x="122" y="108"/>
                  </a:lnTo>
                  <a:lnTo>
                    <a:pt x="116" y="108"/>
                  </a:lnTo>
                  <a:lnTo>
                    <a:pt x="110" y="104"/>
                  </a:lnTo>
                  <a:lnTo>
                    <a:pt x="104" y="100"/>
                  </a:lnTo>
                  <a:lnTo>
                    <a:pt x="98" y="102"/>
                  </a:lnTo>
                  <a:lnTo>
                    <a:pt x="94" y="102"/>
                  </a:lnTo>
                  <a:lnTo>
                    <a:pt x="88" y="98"/>
                  </a:lnTo>
                  <a:lnTo>
                    <a:pt x="84" y="102"/>
                  </a:lnTo>
                  <a:lnTo>
                    <a:pt x="78" y="102"/>
                  </a:lnTo>
                  <a:lnTo>
                    <a:pt x="72" y="102"/>
                  </a:lnTo>
                  <a:lnTo>
                    <a:pt x="66" y="106"/>
                  </a:lnTo>
                  <a:lnTo>
                    <a:pt x="60" y="106"/>
                  </a:lnTo>
                  <a:lnTo>
                    <a:pt x="54" y="112"/>
                  </a:lnTo>
                  <a:lnTo>
                    <a:pt x="50" y="110"/>
                  </a:lnTo>
                  <a:lnTo>
                    <a:pt x="52" y="106"/>
                  </a:lnTo>
                  <a:lnTo>
                    <a:pt x="56" y="100"/>
                  </a:lnTo>
                  <a:lnTo>
                    <a:pt x="58" y="94"/>
                  </a:lnTo>
                  <a:lnTo>
                    <a:pt x="56" y="88"/>
                  </a:lnTo>
                  <a:lnTo>
                    <a:pt x="60" y="82"/>
                  </a:lnTo>
                  <a:lnTo>
                    <a:pt x="56" y="80"/>
                  </a:lnTo>
                  <a:lnTo>
                    <a:pt x="50" y="78"/>
                  </a:lnTo>
                  <a:lnTo>
                    <a:pt x="46" y="84"/>
                  </a:lnTo>
                  <a:lnTo>
                    <a:pt x="40" y="86"/>
                  </a:lnTo>
                  <a:lnTo>
                    <a:pt x="34" y="84"/>
                  </a:lnTo>
                  <a:lnTo>
                    <a:pt x="28" y="82"/>
                  </a:lnTo>
                  <a:lnTo>
                    <a:pt x="22" y="80"/>
                  </a:lnTo>
                  <a:lnTo>
                    <a:pt x="16" y="76"/>
                  </a:lnTo>
                  <a:lnTo>
                    <a:pt x="16" y="70"/>
                  </a:lnTo>
                  <a:lnTo>
                    <a:pt x="10" y="68"/>
                  </a:lnTo>
                  <a:lnTo>
                    <a:pt x="6" y="6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7" name="Freeform 44"/>
            <p:cNvSpPr>
              <a:spLocks/>
            </p:cNvSpPr>
            <p:nvPr/>
          </p:nvSpPr>
          <p:spPr bwMode="auto">
            <a:xfrm>
              <a:off x="4614863" y="2867025"/>
              <a:ext cx="147637" cy="77788"/>
            </a:xfrm>
            <a:custGeom>
              <a:avLst/>
              <a:gdLst>
                <a:gd name="T0" fmla="*/ 2147483647 w 362"/>
                <a:gd name="T1" fmla="*/ 2147483647 h 190"/>
                <a:gd name="T2" fmla="*/ 2147483647 w 362"/>
                <a:gd name="T3" fmla="*/ 2147483647 h 190"/>
                <a:gd name="T4" fmla="*/ 2147483647 w 362"/>
                <a:gd name="T5" fmla="*/ 2147483647 h 190"/>
                <a:gd name="T6" fmla="*/ 2147483647 w 362"/>
                <a:gd name="T7" fmla="*/ 2147483647 h 190"/>
                <a:gd name="T8" fmla="*/ 2147483647 w 362"/>
                <a:gd name="T9" fmla="*/ 2147483647 h 190"/>
                <a:gd name="T10" fmla="*/ 2147483647 w 362"/>
                <a:gd name="T11" fmla="*/ 2147483647 h 190"/>
                <a:gd name="T12" fmla="*/ 2147483647 w 362"/>
                <a:gd name="T13" fmla="*/ 2147483647 h 190"/>
                <a:gd name="T14" fmla="*/ 2147483647 w 362"/>
                <a:gd name="T15" fmla="*/ 2147483647 h 190"/>
                <a:gd name="T16" fmla="*/ 2147483647 w 362"/>
                <a:gd name="T17" fmla="*/ 2147483647 h 190"/>
                <a:gd name="T18" fmla="*/ 2147483647 w 362"/>
                <a:gd name="T19" fmla="*/ 2147483647 h 190"/>
                <a:gd name="T20" fmla="*/ 2147483647 w 362"/>
                <a:gd name="T21" fmla="*/ 2147483647 h 190"/>
                <a:gd name="T22" fmla="*/ 2147483647 w 362"/>
                <a:gd name="T23" fmla="*/ 2147483647 h 190"/>
                <a:gd name="T24" fmla="*/ 2147483647 w 362"/>
                <a:gd name="T25" fmla="*/ 2147483647 h 190"/>
                <a:gd name="T26" fmla="*/ 2147483647 w 362"/>
                <a:gd name="T27" fmla="*/ 2147483647 h 190"/>
                <a:gd name="T28" fmla="*/ 2147483647 w 362"/>
                <a:gd name="T29" fmla="*/ 2147483647 h 190"/>
                <a:gd name="T30" fmla="*/ 2147483647 w 362"/>
                <a:gd name="T31" fmla="*/ 2147483647 h 190"/>
                <a:gd name="T32" fmla="*/ 2147483647 w 362"/>
                <a:gd name="T33" fmla="*/ 2147483647 h 190"/>
                <a:gd name="T34" fmla="*/ 2147483647 w 362"/>
                <a:gd name="T35" fmla="*/ 2147483647 h 190"/>
                <a:gd name="T36" fmla="*/ 2147483647 w 362"/>
                <a:gd name="T37" fmla="*/ 2147483647 h 190"/>
                <a:gd name="T38" fmla="*/ 2147483647 w 362"/>
                <a:gd name="T39" fmla="*/ 2147483647 h 190"/>
                <a:gd name="T40" fmla="*/ 2147483647 w 362"/>
                <a:gd name="T41" fmla="*/ 2147483647 h 190"/>
                <a:gd name="T42" fmla="*/ 2147483647 w 362"/>
                <a:gd name="T43" fmla="*/ 2147483647 h 190"/>
                <a:gd name="T44" fmla="*/ 2147483647 w 362"/>
                <a:gd name="T45" fmla="*/ 2147483647 h 190"/>
                <a:gd name="T46" fmla="*/ 2147483647 w 362"/>
                <a:gd name="T47" fmla="*/ 0 h 190"/>
                <a:gd name="T48" fmla="*/ 2147483647 w 362"/>
                <a:gd name="T49" fmla="*/ 2147483647 h 190"/>
                <a:gd name="T50" fmla="*/ 2147483647 w 362"/>
                <a:gd name="T51" fmla="*/ 0 h 190"/>
                <a:gd name="T52" fmla="*/ 2147483647 w 362"/>
                <a:gd name="T53" fmla="*/ 2147483647 h 190"/>
                <a:gd name="T54" fmla="*/ 2147483647 w 362"/>
                <a:gd name="T55" fmla="*/ 2147483647 h 190"/>
                <a:gd name="T56" fmla="*/ 2147483647 w 362"/>
                <a:gd name="T57" fmla="*/ 2147483647 h 190"/>
                <a:gd name="T58" fmla="*/ 2147483647 w 362"/>
                <a:gd name="T59" fmla="*/ 2147483647 h 190"/>
                <a:gd name="T60" fmla="*/ 2147483647 w 362"/>
                <a:gd name="T61" fmla="*/ 2147483647 h 190"/>
                <a:gd name="T62" fmla="*/ 2147483647 w 362"/>
                <a:gd name="T63" fmla="*/ 2147483647 h 190"/>
                <a:gd name="T64" fmla="*/ 2147483647 w 362"/>
                <a:gd name="T65" fmla="*/ 2147483647 h 190"/>
                <a:gd name="T66" fmla="*/ 2147483647 w 362"/>
                <a:gd name="T67" fmla="*/ 2147483647 h 190"/>
                <a:gd name="T68" fmla="*/ 2147483647 w 362"/>
                <a:gd name="T69" fmla="*/ 2147483647 h 190"/>
                <a:gd name="T70" fmla="*/ 2147483647 w 362"/>
                <a:gd name="T71" fmla="*/ 2147483647 h 190"/>
                <a:gd name="T72" fmla="*/ 2147483647 w 362"/>
                <a:gd name="T73" fmla="*/ 2147483647 h 190"/>
                <a:gd name="T74" fmla="*/ 2147483647 w 362"/>
                <a:gd name="T75" fmla="*/ 2147483647 h 190"/>
                <a:gd name="T76" fmla="*/ 2147483647 w 362"/>
                <a:gd name="T77" fmla="*/ 2147483647 h 190"/>
                <a:gd name="T78" fmla="*/ 2147483647 w 362"/>
                <a:gd name="T79" fmla="*/ 2147483647 h 190"/>
                <a:gd name="T80" fmla="*/ 2147483647 w 362"/>
                <a:gd name="T81" fmla="*/ 2147483647 h 190"/>
                <a:gd name="T82" fmla="*/ 2147483647 w 362"/>
                <a:gd name="T83" fmla="*/ 2147483647 h 190"/>
                <a:gd name="T84" fmla="*/ 2147483647 w 362"/>
                <a:gd name="T85" fmla="*/ 2147483647 h 190"/>
                <a:gd name="T86" fmla="*/ 2147483647 w 362"/>
                <a:gd name="T87" fmla="*/ 2147483647 h 190"/>
                <a:gd name="T88" fmla="*/ 2147483647 w 362"/>
                <a:gd name="T89" fmla="*/ 2147483647 h 190"/>
                <a:gd name="T90" fmla="*/ 2147483647 w 362"/>
                <a:gd name="T91" fmla="*/ 2147483647 h 190"/>
                <a:gd name="T92" fmla="*/ 2147483647 w 362"/>
                <a:gd name="T93" fmla="*/ 2147483647 h 190"/>
                <a:gd name="T94" fmla="*/ 2147483647 w 362"/>
                <a:gd name="T95" fmla="*/ 2147483647 h 190"/>
                <a:gd name="T96" fmla="*/ 2147483647 w 362"/>
                <a:gd name="T97" fmla="*/ 2147483647 h 190"/>
                <a:gd name="T98" fmla="*/ 2147483647 w 362"/>
                <a:gd name="T99" fmla="*/ 2147483647 h 190"/>
                <a:gd name="T100" fmla="*/ 2147483647 w 362"/>
                <a:gd name="T101" fmla="*/ 2147483647 h 190"/>
                <a:gd name="T102" fmla="*/ 2147483647 w 362"/>
                <a:gd name="T103" fmla="*/ 2147483647 h 190"/>
                <a:gd name="T104" fmla="*/ 2147483647 w 362"/>
                <a:gd name="T105" fmla="*/ 2147483647 h 190"/>
                <a:gd name="T106" fmla="*/ 2147483647 w 362"/>
                <a:gd name="T107" fmla="*/ 2147483647 h 190"/>
                <a:gd name="T108" fmla="*/ 2147483647 w 362"/>
                <a:gd name="T109" fmla="*/ 2147483647 h 190"/>
                <a:gd name="T110" fmla="*/ 2147483647 w 362"/>
                <a:gd name="T111" fmla="*/ 2147483647 h 190"/>
                <a:gd name="T112" fmla="*/ 2147483647 w 362"/>
                <a:gd name="T113" fmla="*/ 2147483647 h 190"/>
                <a:gd name="T114" fmla="*/ 2147483647 w 362"/>
                <a:gd name="T115" fmla="*/ 2147483647 h 190"/>
                <a:gd name="T116" fmla="*/ 2147483647 w 362"/>
                <a:gd name="T117" fmla="*/ 2147483647 h 1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2"/>
                <a:gd name="T178" fmla="*/ 0 h 190"/>
                <a:gd name="T179" fmla="*/ 362 w 362"/>
                <a:gd name="T180" fmla="*/ 190 h 1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2" h="190">
                  <a:moveTo>
                    <a:pt x="0" y="114"/>
                  </a:moveTo>
                  <a:lnTo>
                    <a:pt x="4" y="110"/>
                  </a:lnTo>
                  <a:lnTo>
                    <a:pt x="6" y="110"/>
                  </a:lnTo>
                  <a:lnTo>
                    <a:pt x="6" y="108"/>
                  </a:lnTo>
                  <a:lnTo>
                    <a:pt x="8" y="108"/>
                  </a:lnTo>
                  <a:lnTo>
                    <a:pt x="14" y="106"/>
                  </a:lnTo>
                  <a:lnTo>
                    <a:pt x="20" y="106"/>
                  </a:lnTo>
                  <a:lnTo>
                    <a:pt x="18" y="100"/>
                  </a:lnTo>
                  <a:lnTo>
                    <a:pt x="18" y="94"/>
                  </a:lnTo>
                  <a:lnTo>
                    <a:pt x="18" y="88"/>
                  </a:lnTo>
                  <a:lnTo>
                    <a:pt x="16" y="82"/>
                  </a:lnTo>
                  <a:lnTo>
                    <a:pt x="20" y="78"/>
                  </a:lnTo>
                  <a:lnTo>
                    <a:pt x="26" y="76"/>
                  </a:lnTo>
                  <a:lnTo>
                    <a:pt x="28" y="76"/>
                  </a:lnTo>
                  <a:lnTo>
                    <a:pt x="28" y="72"/>
                  </a:lnTo>
                  <a:lnTo>
                    <a:pt x="28" y="66"/>
                  </a:lnTo>
                  <a:lnTo>
                    <a:pt x="26" y="64"/>
                  </a:lnTo>
                  <a:lnTo>
                    <a:pt x="20" y="62"/>
                  </a:lnTo>
                  <a:lnTo>
                    <a:pt x="18" y="60"/>
                  </a:lnTo>
                  <a:lnTo>
                    <a:pt x="20" y="58"/>
                  </a:lnTo>
                  <a:lnTo>
                    <a:pt x="20" y="56"/>
                  </a:lnTo>
                  <a:lnTo>
                    <a:pt x="28" y="56"/>
                  </a:lnTo>
                  <a:lnTo>
                    <a:pt x="34" y="60"/>
                  </a:lnTo>
                  <a:lnTo>
                    <a:pt x="36" y="60"/>
                  </a:lnTo>
                  <a:lnTo>
                    <a:pt x="40" y="60"/>
                  </a:lnTo>
                  <a:lnTo>
                    <a:pt x="46" y="60"/>
                  </a:lnTo>
                  <a:lnTo>
                    <a:pt x="48" y="52"/>
                  </a:lnTo>
                  <a:lnTo>
                    <a:pt x="48" y="46"/>
                  </a:lnTo>
                  <a:lnTo>
                    <a:pt x="50" y="44"/>
                  </a:lnTo>
                  <a:lnTo>
                    <a:pt x="50" y="42"/>
                  </a:lnTo>
                  <a:lnTo>
                    <a:pt x="54" y="38"/>
                  </a:lnTo>
                  <a:lnTo>
                    <a:pt x="56" y="38"/>
                  </a:lnTo>
                  <a:lnTo>
                    <a:pt x="58" y="38"/>
                  </a:lnTo>
                  <a:lnTo>
                    <a:pt x="60" y="38"/>
                  </a:lnTo>
                  <a:lnTo>
                    <a:pt x="64" y="40"/>
                  </a:lnTo>
                  <a:lnTo>
                    <a:pt x="68" y="42"/>
                  </a:lnTo>
                  <a:lnTo>
                    <a:pt x="72" y="46"/>
                  </a:lnTo>
                  <a:lnTo>
                    <a:pt x="74" y="48"/>
                  </a:lnTo>
                  <a:lnTo>
                    <a:pt x="76" y="50"/>
                  </a:lnTo>
                  <a:lnTo>
                    <a:pt x="80" y="52"/>
                  </a:lnTo>
                  <a:lnTo>
                    <a:pt x="86" y="56"/>
                  </a:lnTo>
                  <a:lnTo>
                    <a:pt x="88" y="56"/>
                  </a:lnTo>
                  <a:lnTo>
                    <a:pt x="94" y="56"/>
                  </a:lnTo>
                  <a:lnTo>
                    <a:pt x="100" y="56"/>
                  </a:lnTo>
                  <a:lnTo>
                    <a:pt x="104" y="56"/>
                  </a:lnTo>
                  <a:lnTo>
                    <a:pt x="106" y="56"/>
                  </a:lnTo>
                  <a:lnTo>
                    <a:pt x="108" y="56"/>
                  </a:lnTo>
                  <a:lnTo>
                    <a:pt x="114" y="56"/>
                  </a:lnTo>
                  <a:lnTo>
                    <a:pt x="120" y="56"/>
                  </a:lnTo>
                  <a:lnTo>
                    <a:pt x="126" y="56"/>
                  </a:lnTo>
                  <a:lnTo>
                    <a:pt x="132" y="56"/>
                  </a:lnTo>
                  <a:lnTo>
                    <a:pt x="138" y="54"/>
                  </a:lnTo>
                  <a:lnTo>
                    <a:pt x="140" y="52"/>
                  </a:lnTo>
                  <a:lnTo>
                    <a:pt x="144" y="52"/>
                  </a:lnTo>
                  <a:lnTo>
                    <a:pt x="144" y="50"/>
                  </a:lnTo>
                  <a:lnTo>
                    <a:pt x="142" y="48"/>
                  </a:lnTo>
                  <a:lnTo>
                    <a:pt x="140" y="42"/>
                  </a:lnTo>
                  <a:lnTo>
                    <a:pt x="144" y="36"/>
                  </a:lnTo>
                  <a:lnTo>
                    <a:pt x="148" y="34"/>
                  </a:lnTo>
                  <a:lnTo>
                    <a:pt x="150" y="34"/>
                  </a:lnTo>
                  <a:lnTo>
                    <a:pt x="152" y="34"/>
                  </a:lnTo>
                  <a:lnTo>
                    <a:pt x="154" y="34"/>
                  </a:lnTo>
                  <a:lnTo>
                    <a:pt x="160" y="34"/>
                  </a:lnTo>
                  <a:lnTo>
                    <a:pt x="166" y="34"/>
                  </a:lnTo>
                  <a:lnTo>
                    <a:pt x="172" y="34"/>
                  </a:lnTo>
                  <a:lnTo>
                    <a:pt x="178" y="32"/>
                  </a:lnTo>
                  <a:lnTo>
                    <a:pt x="178" y="28"/>
                  </a:lnTo>
                  <a:lnTo>
                    <a:pt x="180" y="26"/>
                  </a:lnTo>
                  <a:lnTo>
                    <a:pt x="180" y="24"/>
                  </a:lnTo>
                  <a:lnTo>
                    <a:pt x="182" y="24"/>
                  </a:lnTo>
                  <a:lnTo>
                    <a:pt x="186" y="22"/>
                  </a:lnTo>
                  <a:lnTo>
                    <a:pt x="190" y="26"/>
                  </a:lnTo>
                  <a:lnTo>
                    <a:pt x="196" y="28"/>
                  </a:lnTo>
                  <a:lnTo>
                    <a:pt x="200" y="28"/>
                  </a:lnTo>
                  <a:lnTo>
                    <a:pt x="206" y="28"/>
                  </a:lnTo>
                  <a:lnTo>
                    <a:pt x="208" y="26"/>
                  </a:lnTo>
                  <a:lnTo>
                    <a:pt x="212" y="26"/>
                  </a:lnTo>
                  <a:lnTo>
                    <a:pt x="216" y="22"/>
                  </a:lnTo>
                  <a:lnTo>
                    <a:pt x="222" y="20"/>
                  </a:lnTo>
                  <a:lnTo>
                    <a:pt x="224" y="20"/>
                  </a:lnTo>
                  <a:lnTo>
                    <a:pt x="226" y="14"/>
                  </a:lnTo>
                  <a:lnTo>
                    <a:pt x="230" y="8"/>
                  </a:lnTo>
                  <a:lnTo>
                    <a:pt x="232" y="2"/>
                  </a:lnTo>
                  <a:lnTo>
                    <a:pt x="238" y="2"/>
                  </a:lnTo>
                  <a:lnTo>
                    <a:pt x="244" y="0"/>
                  </a:lnTo>
                  <a:lnTo>
                    <a:pt x="250" y="0"/>
                  </a:lnTo>
                  <a:lnTo>
                    <a:pt x="254" y="2"/>
                  </a:lnTo>
                  <a:lnTo>
                    <a:pt x="260" y="4"/>
                  </a:lnTo>
                  <a:lnTo>
                    <a:pt x="266" y="4"/>
                  </a:lnTo>
                  <a:lnTo>
                    <a:pt x="272" y="4"/>
                  </a:lnTo>
                  <a:lnTo>
                    <a:pt x="274" y="2"/>
                  </a:lnTo>
                  <a:lnTo>
                    <a:pt x="280" y="0"/>
                  </a:lnTo>
                  <a:lnTo>
                    <a:pt x="286" y="2"/>
                  </a:lnTo>
                  <a:lnTo>
                    <a:pt x="292" y="8"/>
                  </a:lnTo>
                  <a:lnTo>
                    <a:pt x="296" y="14"/>
                  </a:lnTo>
                  <a:lnTo>
                    <a:pt x="302" y="16"/>
                  </a:lnTo>
                  <a:lnTo>
                    <a:pt x="308" y="14"/>
                  </a:lnTo>
                  <a:lnTo>
                    <a:pt x="314" y="14"/>
                  </a:lnTo>
                  <a:lnTo>
                    <a:pt x="320" y="12"/>
                  </a:lnTo>
                  <a:lnTo>
                    <a:pt x="322" y="12"/>
                  </a:lnTo>
                  <a:lnTo>
                    <a:pt x="326" y="14"/>
                  </a:lnTo>
                  <a:lnTo>
                    <a:pt x="330" y="16"/>
                  </a:lnTo>
                  <a:lnTo>
                    <a:pt x="332" y="22"/>
                  </a:lnTo>
                  <a:lnTo>
                    <a:pt x="338" y="22"/>
                  </a:lnTo>
                  <a:lnTo>
                    <a:pt x="344" y="28"/>
                  </a:lnTo>
                  <a:lnTo>
                    <a:pt x="346" y="32"/>
                  </a:lnTo>
                  <a:lnTo>
                    <a:pt x="350" y="32"/>
                  </a:lnTo>
                  <a:lnTo>
                    <a:pt x="356" y="32"/>
                  </a:lnTo>
                  <a:lnTo>
                    <a:pt x="358" y="34"/>
                  </a:lnTo>
                  <a:lnTo>
                    <a:pt x="360" y="36"/>
                  </a:lnTo>
                  <a:lnTo>
                    <a:pt x="362" y="42"/>
                  </a:lnTo>
                  <a:lnTo>
                    <a:pt x="358" y="46"/>
                  </a:lnTo>
                  <a:lnTo>
                    <a:pt x="352" y="50"/>
                  </a:lnTo>
                  <a:lnTo>
                    <a:pt x="350" y="54"/>
                  </a:lnTo>
                  <a:lnTo>
                    <a:pt x="344" y="54"/>
                  </a:lnTo>
                  <a:lnTo>
                    <a:pt x="338" y="56"/>
                  </a:lnTo>
                  <a:lnTo>
                    <a:pt x="334" y="56"/>
                  </a:lnTo>
                  <a:lnTo>
                    <a:pt x="328" y="60"/>
                  </a:lnTo>
                  <a:lnTo>
                    <a:pt x="326" y="66"/>
                  </a:lnTo>
                  <a:lnTo>
                    <a:pt x="322" y="68"/>
                  </a:lnTo>
                  <a:lnTo>
                    <a:pt x="316" y="72"/>
                  </a:lnTo>
                  <a:lnTo>
                    <a:pt x="316" y="76"/>
                  </a:lnTo>
                  <a:lnTo>
                    <a:pt x="316" y="80"/>
                  </a:lnTo>
                  <a:lnTo>
                    <a:pt x="310" y="86"/>
                  </a:lnTo>
                  <a:lnTo>
                    <a:pt x="308" y="92"/>
                  </a:lnTo>
                  <a:lnTo>
                    <a:pt x="306" y="98"/>
                  </a:lnTo>
                  <a:lnTo>
                    <a:pt x="304" y="100"/>
                  </a:lnTo>
                  <a:lnTo>
                    <a:pt x="300" y="106"/>
                  </a:lnTo>
                  <a:lnTo>
                    <a:pt x="298" y="112"/>
                  </a:lnTo>
                  <a:lnTo>
                    <a:pt x="294" y="118"/>
                  </a:lnTo>
                  <a:lnTo>
                    <a:pt x="292" y="124"/>
                  </a:lnTo>
                  <a:lnTo>
                    <a:pt x="292" y="128"/>
                  </a:lnTo>
                  <a:lnTo>
                    <a:pt x="288" y="130"/>
                  </a:lnTo>
                  <a:lnTo>
                    <a:pt x="284" y="132"/>
                  </a:lnTo>
                  <a:lnTo>
                    <a:pt x="282" y="132"/>
                  </a:lnTo>
                  <a:lnTo>
                    <a:pt x="282" y="134"/>
                  </a:lnTo>
                  <a:lnTo>
                    <a:pt x="280" y="140"/>
                  </a:lnTo>
                  <a:lnTo>
                    <a:pt x="278" y="146"/>
                  </a:lnTo>
                  <a:lnTo>
                    <a:pt x="276" y="148"/>
                  </a:lnTo>
                  <a:lnTo>
                    <a:pt x="272" y="154"/>
                  </a:lnTo>
                  <a:lnTo>
                    <a:pt x="266" y="156"/>
                  </a:lnTo>
                  <a:lnTo>
                    <a:pt x="262" y="156"/>
                  </a:lnTo>
                  <a:lnTo>
                    <a:pt x="256" y="156"/>
                  </a:lnTo>
                  <a:lnTo>
                    <a:pt x="254" y="156"/>
                  </a:lnTo>
                  <a:lnTo>
                    <a:pt x="252" y="162"/>
                  </a:lnTo>
                  <a:lnTo>
                    <a:pt x="250" y="164"/>
                  </a:lnTo>
                  <a:lnTo>
                    <a:pt x="244" y="164"/>
                  </a:lnTo>
                  <a:lnTo>
                    <a:pt x="238" y="162"/>
                  </a:lnTo>
                  <a:lnTo>
                    <a:pt x="238" y="164"/>
                  </a:lnTo>
                  <a:lnTo>
                    <a:pt x="232" y="164"/>
                  </a:lnTo>
                  <a:lnTo>
                    <a:pt x="226" y="166"/>
                  </a:lnTo>
                  <a:lnTo>
                    <a:pt x="220" y="164"/>
                  </a:lnTo>
                  <a:lnTo>
                    <a:pt x="216" y="164"/>
                  </a:lnTo>
                  <a:lnTo>
                    <a:pt x="212" y="162"/>
                  </a:lnTo>
                  <a:lnTo>
                    <a:pt x="210" y="162"/>
                  </a:lnTo>
                  <a:lnTo>
                    <a:pt x="206" y="164"/>
                  </a:lnTo>
                  <a:lnTo>
                    <a:pt x="202" y="166"/>
                  </a:lnTo>
                  <a:lnTo>
                    <a:pt x="196" y="162"/>
                  </a:lnTo>
                  <a:lnTo>
                    <a:pt x="192" y="162"/>
                  </a:lnTo>
                  <a:lnTo>
                    <a:pt x="188" y="162"/>
                  </a:lnTo>
                  <a:lnTo>
                    <a:pt x="184" y="168"/>
                  </a:lnTo>
                  <a:lnTo>
                    <a:pt x="178" y="172"/>
                  </a:lnTo>
                  <a:lnTo>
                    <a:pt x="174" y="174"/>
                  </a:lnTo>
                  <a:lnTo>
                    <a:pt x="168" y="174"/>
                  </a:lnTo>
                  <a:lnTo>
                    <a:pt x="162" y="174"/>
                  </a:lnTo>
                  <a:lnTo>
                    <a:pt x="160" y="176"/>
                  </a:lnTo>
                  <a:lnTo>
                    <a:pt x="154" y="178"/>
                  </a:lnTo>
                  <a:lnTo>
                    <a:pt x="148" y="180"/>
                  </a:lnTo>
                  <a:lnTo>
                    <a:pt x="144" y="180"/>
                  </a:lnTo>
                  <a:lnTo>
                    <a:pt x="140" y="180"/>
                  </a:lnTo>
                  <a:lnTo>
                    <a:pt x="138" y="186"/>
                  </a:lnTo>
                  <a:lnTo>
                    <a:pt x="134" y="188"/>
                  </a:lnTo>
                  <a:lnTo>
                    <a:pt x="130" y="190"/>
                  </a:lnTo>
                  <a:lnTo>
                    <a:pt x="122" y="190"/>
                  </a:lnTo>
                  <a:lnTo>
                    <a:pt x="120" y="190"/>
                  </a:lnTo>
                  <a:lnTo>
                    <a:pt x="116" y="188"/>
                  </a:lnTo>
                  <a:lnTo>
                    <a:pt x="110" y="188"/>
                  </a:lnTo>
                  <a:lnTo>
                    <a:pt x="106" y="188"/>
                  </a:lnTo>
                  <a:lnTo>
                    <a:pt x="100" y="188"/>
                  </a:lnTo>
                  <a:lnTo>
                    <a:pt x="98" y="188"/>
                  </a:lnTo>
                  <a:lnTo>
                    <a:pt x="92" y="186"/>
                  </a:lnTo>
                  <a:lnTo>
                    <a:pt x="86" y="186"/>
                  </a:lnTo>
                  <a:lnTo>
                    <a:pt x="86" y="184"/>
                  </a:lnTo>
                  <a:lnTo>
                    <a:pt x="82" y="178"/>
                  </a:lnTo>
                  <a:lnTo>
                    <a:pt x="76" y="178"/>
                  </a:lnTo>
                  <a:lnTo>
                    <a:pt x="72" y="178"/>
                  </a:lnTo>
                  <a:lnTo>
                    <a:pt x="70" y="178"/>
                  </a:lnTo>
                  <a:lnTo>
                    <a:pt x="66" y="174"/>
                  </a:lnTo>
                  <a:lnTo>
                    <a:pt x="64" y="174"/>
                  </a:lnTo>
                  <a:lnTo>
                    <a:pt x="64" y="172"/>
                  </a:lnTo>
                  <a:lnTo>
                    <a:pt x="62" y="170"/>
                  </a:lnTo>
                  <a:lnTo>
                    <a:pt x="62" y="168"/>
                  </a:lnTo>
                  <a:lnTo>
                    <a:pt x="60" y="166"/>
                  </a:lnTo>
                  <a:lnTo>
                    <a:pt x="58" y="166"/>
                  </a:lnTo>
                  <a:lnTo>
                    <a:pt x="56" y="162"/>
                  </a:lnTo>
                  <a:lnTo>
                    <a:pt x="50" y="160"/>
                  </a:lnTo>
                  <a:lnTo>
                    <a:pt x="46" y="158"/>
                  </a:lnTo>
                  <a:lnTo>
                    <a:pt x="42" y="154"/>
                  </a:lnTo>
                  <a:lnTo>
                    <a:pt x="42" y="152"/>
                  </a:lnTo>
                  <a:lnTo>
                    <a:pt x="40" y="150"/>
                  </a:lnTo>
                  <a:lnTo>
                    <a:pt x="38" y="148"/>
                  </a:lnTo>
                  <a:lnTo>
                    <a:pt x="32" y="146"/>
                  </a:lnTo>
                  <a:lnTo>
                    <a:pt x="26" y="142"/>
                  </a:lnTo>
                  <a:lnTo>
                    <a:pt x="22" y="136"/>
                  </a:lnTo>
                  <a:lnTo>
                    <a:pt x="16" y="132"/>
                  </a:lnTo>
                  <a:lnTo>
                    <a:pt x="14" y="126"/>
                  </a:lnTo>
                  <a:lnTo>
                    <a:pt x="12" y="120"/>
                  </a:lnTo>
                  <a:lnTo>
                    <a:pt x="6" y="114"/>
                  </a:lnTo>
                  <a:lnTo>
                    <a:pt x="0" y="116"/>
                  </a:lnTo>
                  <a:lnTo>
                    <a:pt x="0" y="1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8" name="Freeform 45"/>
            <p:cNvSpPr>
              <a:spLocks/>
            </p:cNvSpPr>
            <p:nvPr/>
          </p:nvSpPr>
          <p:spPr bwMode="auto">
            <a:xfrm>
              <a:off x="4340225" y="2732088"/>
              <a:ext cx="80963" cy="74612"/>
            </a:xfrm>
            <a:custGeom>
              <a:avLst/>
              <a:gdLst>
                <a:gd name="T0" fmla="*/ 2147483647 w 198"/>
                <a:gd name="T1" fmla="*/ 2147483647 h 180"/>
                <a:gd name="T2" fmla="*/ 2147483647 w 198"/>
                <a:gd name="T3" fmla="*/ 2147483647 h 180"/>
                <a:gd name="T4" fmla="*/ 2147483647 w 198"/>
                <a:gd name="T5" fmla="*/ 2147483647 h 180"/>
                <a:gd name="T6" fmla="*/ 2147483647 w 198"/>
                <a:gd name="T7" fmla="*/ 2147483647 h 180"/>
                <a:gd name="T8" fmla="*/ 2147483647 w 198"/>
                <a:gd name="T9" fmla="*/ 2147483647 h 180"/>
                <a:gd name="T10" fmla="*/ 2147483647 w 198"/>
                <a:gd name="T11" fmla="*/ 2147483647 h 180"/>
                <a:gd name="T12" fmla="*/ 2147483647 w 198"/>
                <a:gd name="T13" fmla="*/ 2147483647 h 180"/>
                <a:gd name="T14" fmla="*/ 2147483647 w 198"/>
                <a:gd name="T15" fmla="*/ 2147483647 h 180"/>
                <a:gd name="T16" fmla="*/ 2147483647 w 198"/>
                <a:gd name="T17" fmla="*/ 2147483647 h 180"/>
                <a:gd name="T18" fmla="*/ 2147483647 w 198"/>
                <a:gd name="T19" fmla="*/ 2147483647 h 180"/>
                <a:gd name="T20" fmla="*/ 2147483647 w 198"/>
                <a:gd name="T21" fmla="*/ 2147483647 h 180"/>
                <a:gd name="T22" fmla="*/ 2147483647 w 198"/>
                <a:gd name="T23" fmla="*/ 2147483647 h 180"/>
                <a:gd name="T24" fmla="*/ 2147483647 w 198"/>
                <a:gd name="T25" fmla="*/ 2147483647 h 180"/>
                <a:gd name="T26" fmla="*/ 2147483647 w 198"/>
                <a:gd name="T27" fmla="*/ 2147483647 h 180"/>
                <a:gd name="T28" fmla="*/ 2147483647 w 198"/>
                <a:gd name="T29" fmla="*/ 2147483647 h 180"/>
                <a:gd name="T30" fmla="*/ 2147483647 w 198"/>
                <a:gd name="T31" fmla="*/ 2147483647 h 180"/>
                <a:gd name="T32" fmla="*/ 2147483647 w 198"/>
                <a:gd name="T33" fmla="*/ 2147483647 h 180"/>
                <a:gd name="T34" fmla="*/ 2147483647 w 198"/>
                <a:gd name="T35" fmla="*/ 2147483647 h 180"/>
                <a:gd name="T36" fmla="*/ 2147483647 w 198"/>
                <a:gd name="T37" fmla="*/ 2147483647 h 180"/>
                <a:gd name="T38" fmla="*/ 2147483647 w 198"/>
                <a:gd name="T39" fmla="*/ 2147483647 h 180"/>
                <a:gd name="T40" fmla="*/ 2147483647 w 198"/>
                <a:gd name="T41" fmla="*/ 2147483647 h 180"/>
                <a:gd name="T42" fmla="*/ 2147483647 w 198"/>
                <a:gd name="T43" fmla="*/ 2147483647 h 180"/>
                <a:gd name="T44" fmla="*/ 2147483647 w 198"/>
                <a:gd name="T45" fmla="*/ 2147483647 h 180"/>
                <a:gd name="T46" fmla="*/ 2147483647 w 198"/>
                <a:gd name="T47" fmla="*/ 2147483647 h 180"/>
                <a:gd name="T48" fmla="*/ 2147483647 w 198"/>
                <a:gd name="T49" fmla="*/ 2147483647 h 180"/>
                <a:gd name="T50" fmla="*/ 2147483647 w 198"/>
                <a:gd name="T51" fmla="*/ 2147483647 h 180"/>
                <a:gd name="T52" fmla="*/ 2147483647 w 198"/>
                <a:gd name="T53" fmla="*/ 2147483647 h 180"/>
                <a:gd name="T54" fmla="*/ 2147483647 w 198"/>
                <a:gd name="T55" fmla="*/ 2147483647 h 180"/>
                <a:gd name="T56" fmla="*/ 2147483647 w 198"/>
                <a:gd name="T57" fmla="*/ 2147483647 h 180"/>
                <a:gd name="T58" fmla="*/ 2147483647 w 198"/>
                <a:gd name="T59" fmla="*/ 2147483647 h 180"/>
                <a:gd name="T60" fmla="*/ 2147483647 w 198"/>
                <a:gd name="T61" fmla="*/ 2147483647 h 180"/>
                <a:gd name="T62" fmla="*/ 2147483647 w 198"/>
                <a:gd name="T63" fmla="*/ 2147483647 h 180"/>
                <a:gd name="T64" fmla="*/ 2147483647 w 198"/>
                <a:gd name="T65" fmla="*/ 2147483647 h 180"/>
                <a:gd name="T66" fmla="*/ 2147483647 w 198"/>
                <a:gd name="T67" fmla="*/ 2147483647 h 180"/>
                <a:gd name="T68" fmla="*/ 2147483647 w 198"/>
                <a:gd name="T69" fmla="*/ 2147483647 h 180"/>
                <a:gd name="T70" fmla="*/ 2147483647 w 198"/>
                <a:gd name="T71" fmla="*/ 2147483647 h 180"/>
                <a:gd name="T72" fmla="*/ 2147483647 w 198"/>
                <a:gd name="T73" fmla="*/ 2147483647 h 180"/>
                <a:gd name="T74" fmla="*/ 2147483647 w 198"/>
                <a:gd name="T75" fmla="*/ 2147483647 h 180"/>
                <a:gd name="T76" fmla="*/ 2147483647 w 198"/>
                <a:gd name="T77" fmla="*/ 2147483647 h 180"/>
                <a:gd name="T78" fmla="*/ 2147483647 w 198"/>
                <a:gd name="T79" fmla="*/ 2147483647 h 180"/>
                <a:gd name="T80" fmla="*/ 2147483647 w 198"/>
                <a:gd name="T81" fmla="*/ 2147483647 h 180"/>
                <a:gd name="T82" fmla="*/ 2147483647 w 198"/>
                <a:gd name="T83" fmla="*/ 2147483647 h 180"/>
                <a:gd name="T84" fmla="*/ 2147483647 w 198"/>
                <a:gd name="T85" fmla="*/ 2147483647 h 180"/>
                <a:gd name="T86" fmla="*/ 2147483647 w 198"/>
                <a:gd name="T87" fmla="*/ 2147483647 h 180"/>
                <a:gd name="T88" fmla="*/ 2147483647 w 198"/>
                <a:gd name="T89" fmla="*/ 2147483647 h 180"/>
                <a:gd name="T90" fmla="*/ 2147483647 w 198"/>
                <a:gd name="T91" fmla="*/ 2147483647 h 180"/>
                <a:gd name="T92" fmla="*/ 2147483647 w 198"/>
                <a:gd name="T93" fmla="*/ 2147483647 h 180"/>
                <a:gd name="T94" fmla="*/ 2147483647 w 198"/>
                <a:gd name="T95" fmla="*/ 2147483647 h 180"/>
                <a:gd name="T96" fmla="*/ 2147483647 w 198"/>
                <a:gd name="T97" fmla="*/ 2147483647 h 180"/>
                <a:gd name="T98" fmla="*/ 2147483647 w 198"/>
                <a:gd name="T99" fmla="*/ 2147483647 h 180"/>
                <a:gd name="T100" fmla="*/ 2147483647 w 198"/>
                <a:gd name="T101" fmla="*/ 2147483647 h 180"/>
                <a:gd name="T102" fmla="*/ 2147483647 w 198"/>
                <a:gd name="T103" fmla="*/ 2147483647 h 180"/>
                <a:gd name="T104" fmla="*/ 2147483647 w 198"/>
                <a:gd name="T105" fmla="*/ 2147483647 h 180"/>
                <a:gd name="T106" fmla="*/ 2147483647 w 198"/>
                <a:gd name="T107" fmla="*/ 2147483647 h 180"/>
                <a:gd name="T108" fmla="*/ 2147483647 w 198"/>
                <a:gd name="T109" fmla="*/ 2147483647 h 180"/>
                <a:gd name="T110" fmla="*/ 2147483647 w 198"/>
                <a:gd name="T111" fmla="*/ 2147483647 h 180"/>
                <a:gd name="T112" fmla="*/ 2147483647 w 198"/>
                <a:gd name="T113" fmla="*/ 2147483647 h 180"/>
                <a:gd name="T114" fmla="*/ 2147483647 w 198"/>
                <a:gd name="T115" fmla="*/ 2147483647 h 180"/>
                <a:gd name="T116" fmla="*/ 2147483647 w 198"/>
                <a:gd name="T117" fmla="*/ 2147483647 h 180"/>
                <a:gd name="T118" fmla="*/ 2147483647 w 198"/>
                <a:gd name="T119" fmla="*/ 2147483647 h 180"/>
                <a:gd name="T120" fmla="*/ 2147483647 w 198"/>
                <a:gd name="T121" fmla="*/ 2147483647 h 180"/>
                <a:gd name="T122" fmla="*/ 2147483647 w 198"/>
                <a:gd name="T123" fmla="*/ 2147483647 h 1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8"/>
                <a:gd name="T187" fmla="*/ 0 h 180"/>
                <a:gd name="T188" fmla="*/ 198 w 198"/>
                <a:gd name="T189" fmla="*/ 180 h 1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8" h="180">
                  <a:moveTo>
                    <a:pt x="22" y="124"/>
                  </a:moveTo>
                  <a:lnTo>
                    <a:pt x="26" y="128"/>
                  </a:lnTo>
                  <a:lnTo>
                    <a:pt x="32" y="134"/>
                  </a:lnTo>
                  <a:lnTo>
                    <a:pt x="38" y="134"/>
                  </a:lnTo>
                  <a:lnTo>
                    <a:pt x="42" y="134"/>
                  </a:lnTo>
                  <a:lnTo>
                    <a:pt x="40" y="128"/>
                  </a:lnTo>
                  <a:lnTo>
                    <a:pt x="34" y="128"/>
                  </a:lnTo>
                  <a:lnTo>
                    <a:pt x="28" y="126"/>
                  </a:lnTo>
                  <a:lnTo>
                    <a:pt x="34" y="124"/>
                  </a:lnTo>
                  <a:lnTo>
                    <a:pt x="38" y="124"/>
                  </a:lnTo>
                  <a:lnTo>
                    <a:pt x="38" y="122"/>
                  </a:lnTo>
                  <a:lnTo>
                    <a:pt x="34" y="120"/>
                  </a:lnTo>
                  <a:lnTo>
                    <a:pt x="38" y="122"/>
                  </a:lnTo>
                  <a:lnTo>
                    <a:pt x="42" y="122"/>
                  </a:lnTo>
                  <a:lnTo>
                    <a:pt x="48" y="118"/>
                  </a:lnTo>
                  <a:lnTo>
                    <a:pt x="50" y="118"/>
                  </a:lnTo>
                  <a:lnTo>
                    <a:pt x="54" y="118"/>
                  </a:lnTo>
                  <a:lnTo>
                    <a:pt x="62" y="116"/>
                  </a:lnTo>
                  <a:lnTo>
                    <a:pt x="66" y="116"/>
                  </a:lnTo>
                  <a:lnTo>
                    <a:pt x="72" y="116"/>
                  </a:lnTo>
                  <a:lnTo>
                    <a:pt x="68" y="110"/>
                  </a:lnTo>
                  <a:lnTo>
                    <a:pt x="68" y="112"/>
                  </a:lnTo>
                  <a:lnTo>
                    <a:pt x="62" y="114"/>
                  </a:lnTo>
                  <a:lnTo>
                    <a:pt x="60" y="116"/>
                  </a:lnTo>
                  <a:lnTo>
                    <a:pt x="54" y="116"/>
                  </a:lnTo>
                  <a:lnTo>
                    <a:pt x="48" y="114"/>
                  </a:lnTo>
                  <a:lnTo>
                    <a:pt x="46" y="114"/>
                  </a:lnTo>
                  <a:lnTo>
                    <a:pt x="40" y="112"/>
                  </a:lnTo>
                  <a:lnTo>
                    <a:pt x="38" y="110"/>
                  </a:lnTo>
                  <a:lnTo>
                    <a:pt x="32" y="108"/>
                  </a:lnTo>
                  <a:lnTo>
                    <a:pt x="30" y="102"/>
                  </a:lnTo>
                  <a:lnTo>
                    <a:pt x="34" y="98"/>
                  </a:lnTo>
                  <a:lnTo>
                    <a:pt x="40" y="94"/>
                  </a:lnTo>
                  <a:lnTo>
                    <a:pt x="46" y="88"/>
                  </a:lnTo>
                  <a:lnTo>
                    <a:pt x="50" y="82"/>
                  </a:lnTo>
                  <a:lnTo>
                    <a:pt x="54" y="76"/>
                  </a:lnTo>
                  <a:lnTo>
                    <a:pt x="58" y="70"/>
                  </a:lnTo>
                  <a:lnTo>
                    <a:pt x="60" y="66"/>
                  </a:lnTo>
                  <a:lnTo>
                    <a:pt x="62" y="60"/>
                  </a:lnTo>
                  <a:lnTo>
                    <a:pt x="64" y="54"/>
                  </a:lnTo>
                  <a:lnTo>
                    <a:pt x="64" y="48"/>
                  </a:lnTo>
                  <a:lnTo>
                    <a:pt x="66" y="42"/>
                  </a:lnTo>
                  <a:lnTo>
                    <a:pt x="68" y="40"/>
                  </a:lnTo>
                  <a:lnTo>
                    <a:pt x="68" y="38"/>
                  </a:lnTo>
                  <a:lnTo>
                    <a:pt x="74" y="36"/>
                  </a:lnTo>
                  <a:lnTo>
                    <a:pt x="80" y="38"/>
                  </a:lnTo>
                  <a:lnTo>
                    <a:pt x="82" y="34"/>
                  </a:lnTo>
                  <a:lnTo>
                    <a:pt x="88" y="34"/>
                  </a:lnTo>
                  <a:lnTo>
                    <a:pt x="94" y="30"/>
                  </a:lnTo>
                  <a:lnTo>
                    <a:pt x="100" y="26"/>
                  </a:lnTo>
                  <a:lnTo>
                    <a:pt x="104" y="20"/>
                  </a:lnTo>
                  <a:lnTo>
                    <a:pt x="110" y="14"/>
                  </a:lnTo>
                  <a:lnTo>
                    <a:pt x="116" y="10"/>
                  </a:lnTo>
                  <a:lnTo>
                    <a:pt x="122" y="8"/>
                  </a:lnTo>
                  <a:lnTo>
                    <a:pt x="128" y="6"/>
                  </a:lnTo>
                  <a:lnTo>
                    <a:pt x="132" y="6"/>
                  </a:lnTo>
                  <a:lnTo>
                    <a:pt x="134" y="4"/>
                  </a:lnTo>
                  <a:lnTo>
                    <a:pt x="140" y="4"/>
                  </a:lnTo>
                  <a:lnTo>
                    <a:pt x="144" y="4"/>
                  </a:lnTo>
                  <a:lnTo>
                    <a:pt x="146" y="4"/>
                  </a:lnTo>
                  <a:lnTo>
                    <a:pt x="152" y="4"/>
                  </a:lnTo>
                  <a:lnTo>
                    <a:pt x="156" y="4"/>
                  </a:lnTo>
                  <a:lnTo>
                    <a:pt x="162" y="2"/>
                  </a:lnTo>
                  <a:lnTo>
                    <a:pt x="170" y="0"/>
                  </a:lnTo>
                  <a:lnTo>
                    <a:pt x="174" y="0"/>
                  </a:lnTo>
                  <a:lnTo>
                    <a:pt x="180" y="4"/>
                  </a:lnTo>
                  <a:lnTo>
                    <a:pt x="184" y="10"/>
                  </a:lnTo>
                  <a:lnTo>
                    <a:pt x="186" y="10"/>
                  </a:lnTo>
                  <a:lnTo>
                    <a:pt x="192" y="14"/>
                  </a:lnTo>
                  <a:lnTo>
                    <a:pt x="198" y="14"/>
                  </a:lnTo>
                  <a:lnTo>
                    <a:pt x="198" y="18"/>
                  </a:lnTo>
                  <a:lnTo>
                    <a:pt x="198" y="20"/>
                  </a:lnTo>
                  <a:lnTo>
                    <a:pt x="198" y="26"/>
                  </a:lnTo>
                  <a:lnTo>
                    <a:pt x="198" y="30"/>
                  </a:lnTo>
                  <a:lnTo>
                    <a:pt x="194" y="36"/>
                  </a:lnTo>
                  <a:lnTo>
                    <a:pt x="190" y="42"/>
                  </a:lnTo>
                  <a:lnTo>
                    <a:pt x="190" y="48"/>
                  </a:lnTo>
                  <a:lnTo>
                    <a:pt x="188" y="54"/>
                  </a:lnTo>
                  <a:lnTo>
                    <a:pt x="182" y="54"/>
                  </a:lnTo>
                  <a:lnTo>
                    <a:pt x="178" y="54"/>
                  </a:lnTo>
                  <a:lnTo>
                    <a:pt x="174" y="54"/>
                  </a:lnTo>
                  <a:lnTo>
                    <a:pt x="172" y="56"/>
                  </a:lnTo>
                  <a:lnTo>
                    <a:pt x="170" y="62"/>
                  </a:lnTo>
                  <a:lnTo>
                    <a:pt x="170" y="64"/>
                  </a:lnTo>
                  <a:lnTo>
                    <a:pt x="176" y="66"/>
                  </a:lnTo>
                  <a:lnTo>
                    <a:pt x="182" y="68"/>
                  </a:lnTo>
                  <a:lnTo>
                    <a:pt x="188" y="70"/>
                  </a:lnTo>
                  <a:lnTo>
                    <a:pt x="188" y="76"/>
                  </a:lnTo>
                  <a:lnTo>
                    <a:pt x="188" y="82"/>
                  </a:lnTo>
                  <a:lnTo>
                    <a:pt x="184" y="82"/>
                  </a:lnTo>
                  <a:lnTo>
                    <a:pt x="184" y="84"/>
                  </a:lnTo>
                  <a:lnTo>
                    <a:pt x="178" y="90"/>
                  </a:lnTo>
                  <a:lnTo>
                    <a:pt x="174" y="90"/>
                  </a:lnTo>
                  <a:lnTo>
                    <a:pt x="172" y="96"/>
                  </a:lnTo>
                  <a:lnTo>
                    <a:pt x="174" y="102"/>
                  </a:lnTo>
                  <a:lnTo>
                    <a:pt x="168" y="102"/>
                  </a:lnTo>
                  <a:lnTo>
                    <a:pt x="162" y="104"/>
                  </a:lnTo>
                  <a:lnTo>
                    <a:pt x="156" y="106"/>
                  </a:lnTo>
                  <a:lnTo>
                    <a:pt x="150" y="106"/>
                  </a:lnTo>
                  <a:lnTo>
                    <a:pt x="144" y="106"/>
                  </a:lnTo>
                  <a:lnTo>
                    <a:pt x="140" y="104"/>
                  </a:lnTo>
                  <a:lnTo>
                    <a:pt x="142" y="108"/>
                  </a:lnTo>
                  <a:lnTo>
                    <a:pt x="136" y="106"/>
                  </a:lnTo>
                  <a:lnTo>
                    <a:pt x="130" y="108"/>
                  </a:lnTo>
                  <a:lnTo>
                    <a:pt x="130" y="110"/>
                  </a:lnTo>
                  <a:lnTo>
                    <a:pt x="132" y="112"/>
                  </a:lnTo>
                  <a:lnTo>
                    <a:pt x="130" y="114"/>
                  </a:lnTo>
                  <a:lnTo>
                    <a:pt x="134" y="116"/>
                  </a:lnTo>
                  <a:lnTo>
                    <a:pt x="138" y="122"/>
                  </a:lnTo>
                  <a:lnTo>
                    <a:pt x="142" y="128"/>
                  </a:lnTo>
                  <a:lnTo>
                    <a:pt x="144" y="134"/>
                  </a:lnTo>
                  <a:lnTo>
                    <a:pt x="144" y="136"/>
                  </a:lnTo>
                  <a:lnTo>
                    <a:pt x="144" y="138"/>
                  </a:lnTo>
                  <a:lnTo>
                    <a:pt x="142" y="140"/>
                  </a:lnTo>
                  <a:lnTo>
                    <a:pt x="142" y="142"/>
                  </a:lnTo>
                  <a:lnTo>
                    <a:pt x="136" y="148"/>
                  </a:lnTo>
                  <a:lnTo>
                    <a:pt x="136" y="150"/>
                  </a:lnTo>
                  <a:lnTo>
                    <a:pt x="136" y="156"/>
                  </a:lnTo>
                  <a:lnTo>
                    <a:pt x="128" y="162"/>
                  </a:lnTo>
                  <a:lnTo>
                    <a:pt x="132" y="166"/>
                  </a:lnTo>
                  <a:lnTo>
                    <a:pt x="134" y="170"/>
                  </a:lnTo>
                  <a:lnTo>
                    <a:pt x="136" y="172"/>
                  </a:lnTo>
                  <a:lnTo>
                    <a:pt x="132" y="174"/>
                  </a:lnTo>
                  <a:lnTo>
                    <a:pt x="132" y="176"/>
                  </a:lnTo>
                  <a:lnTo>
                    <a:pt x="132" y="178"/>
                  </a:lnTo>
                  <a:lnTo>
                    <a:pt x="132" y="180"/>
                  </a:lnTo>
                  <a:lnTo>
                    <a:pt x="126" y="180"/>
                  </a:lnTo>
                  <a:lnTo>
                    <a:pt x="120" y="178"/>
                  </a:lnTo>
                  <a:lnTo>
                    <a:pt x="116" y="180"/>
                  </a:lnTo>
                  <a:lnTo>
                    <a:pt x="114" y="180"/>
                  </a:lnTo>
                  <a:lnTo>
                    <a:pt x="116" y="176"/>
                  </a:lnTo>
                  <a:lnTo>
                    <a:pt x="114" y="176"/>
                  </a:lnTo>
                  <a:lnTo>
                    <a:pt x="112" y="174"/>
                  </a:lnTo>
                  <a:lnTo>
                    <a:pt x="114" y="172"/>
                  </a:lnTo>
                  <a:lnTo>
                    <a:pt x="118" y="166"/>
                  </a:lnTo>
                  <a:lnTo>
                    <a:pt x="120" y="164"/>
                  </a:lnTo>
                  <a:lnTo>
                    <a:pt x="122" y="158"/>
                  </a:lnTo>
                  <a:lnTo>
                    <a:pt x="124" y="154"/>
                  </a:lnTo>
                  <a:lnTo>
                    <a:pt x="122" y="152"/>
                  </a:lnTo>
                  <a:lnTo>
                    <a:pt x="116" y="152"/>
                  </a:lnTo>
                  <a:lnTo>
                    <a:pt x="110" y="150"/>
                  </a:lnTo>
                  <a:lnTo>
                    <a:pt x="110" y="148"/>
                  </a:lnTo>
                  <a:lnTo>
                    <a:pt x="102" y="144"/>
                  </a:lnTo>
                  <a:lnTo>
                    <a:pt x="100" y="146"/>
                  </a:lnTo>
                  <a:lnTo>
                    <a:pt x="94" y="146"/>
                  </a:lnTo>
                  <a:lnTo>
                    <a:pt x="92" y="146"/>
                  </a:lnTo>
                  <a:lnTo>
                    <a:pt x="90" y="142"/>
                  </a:lnTo>
                  <a:lnTo>
                    <a:pt x="84" y="138"/>
                  </a:lnTo>
                  <a:lnTo>
                    <a:pt x="84" y="132"/>
                  </a:lnTo>
                  <a:lnTo>
                    <a:pt x="82" y="132"/>
                  </a:lnTo>
                  <a:lnTo>
                    <a:pt x="80" y="134"/>
                  </a:lnTo>
                  <a:lnTo>
                    <a:pt x="74" y="136"/>
                  </a:lnTo>
                  <a:lnTo>
                    <a:pt x="68" y="136"/>
                  </a:lnTo>
                  <a:lnTo>
                    <a:pt x="66" y="132"/>
                  </a:lnTo>
                  <a:lnTo>
                    <a:pt x="62" y="136"/>
                  </a:lnTo>
                  <a:lnTo>
                    <a:pt x="56" y="136"/>
                  </a:lnTo>
                  <a:lnTo>
                    <a:pt x="50" y="132"/>
                  </a:lnTo>
                  <a:lnTo>
                    <a:pt x="50" y="138"/>
                  </a:lnTo>
                  <a:lnTo>
                    <a:pt x="44" y="138"/>
                  </a:lnTo>
                  <a:lnTo>
                    <a:pt x="42" y="138"/>
                  </a:lnTo>
                  <a:lnTo>
                    <a:pt x="40" y="138"/>
                  </a:lnTo>
                  <a:lnTo>
                    <a:pt x="34" y="136"/>
                  </a:lnTo>
                  <a:lnTo>
                    <a:pt x="28" y="134"/>
                  </a:lnTo>
                  <a:lnTo>
                    <a:pt x="22" y="136"/>
                  </a:lnTo>
                  <a:lnTo>
                    <a:pt x="16" y="136"/>
                  </a:lnTo>
                  <a:lnTo>
                    <a:pt x="10" y="132"/>
                  </a:lnTo>
                  <a:lnTo>
                    <a:pt x="4" y="134"/>
                  </a:lnTo>
                  <a:lnTo>
                    <a:pt x="0" y="130"/>
                  </a:lnTo>
                  <a:lnTo>
                    <a:pt x="4" y="124"/>
                  </a:lnTo>
                  <a:lnTo>
                    <a:pt x="10" y="124"/>
                  </a:lnTo>
                  <a:lnTo>
                    <a:pt x="16" y="124"/>
                  </a:lnTo>
                  <a:lnTo>
                    <a:pt x="22" y="1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29" name="Freeform 46"/>
            <p:cNvSpPr>
              <a:spLocks/>
            </p:cNvSpPr>
            <p:nvPr/>
          </p:nvSpPr>
          <p:spPr bwMode="auto">
            <a:xfrm>
              <a:off x="4629150" y="2838450"/>
              <a:ext cx="123825" cy="50800"/>
            </a:xfrm>
            <a:custGeom>
              <a:avLst/>
              <a:gdLst>
                <a:gd name="T0" fmla="*/ 2147483647 w 302"/>
                <a:gd name="T1" fmla="*/ 2147483647 h 124"/>
                <a:gd name="T2" fmla="*/ 2147483647 w 302"/>
                <a:gd name="T3" fmla="*/ 2147483647 h 124"/>
                <a:gd name="T4" fmla="*/ 2147483647 w 302"/>
                <a:gd name="T5" fmla="*/ 2147483647 h 124"/>
                <a:gd name="T6" fmla="*/ 2147483647 w 302"/>
                <a:gd name="T7" fmla="*/ 2147483647 h 124"/>
                <a:gd name="T8" fmla="*/ 2147483647 w 302"/>
                <a:gd name="T9" fmla="*/ 2147483647 h 124"/>
                <a:gd name="T10" fmla="*/ 2147483647 w 302"/>
                <a:gd name="T11" fmla="*/ 2147483647 h 124"/>
                <a:gd name="T12" fmla="*/ 2147483647 w 302"/>
                <a:gd name="T13" fmla="*/ 2147483647 h 124"/>
                <a:gd name="T14" fmla="*/ 2147483647 w 302"/>
                <a:gd name="T15" fmla="*/ 2147483647 h 124"/>
                <a:gd name="T16" fmla="*/ 2147483647 w 302"/>
                <a:gd name="T17" fmla="*/ 2147483647 h 124"/>
                <a:gd name="T18" fmla="*/ 2147483647 w 302"/>
                <a:gd name="T19" fmla="*/ 2147483647 h 124"/>
                <a:gd name="T20" fmla="*/ 2147483647 w 302"/>
                <a:gd name="T21" fmla="*/ 2147483647 h 124"/>
                <a:gd name="T22" fmla="*/ 2147483647 w 302"/>
                <a:gd name="T23" fmla="*/ 2147483647 h 124"/>
                <a:gd name="T24" fmla="*/ 2147483647 w 302"/>
                <a:gd name="T25" fmla="*/ 2147483647 h 124"/>
                <a:gd name="T26" fmla="*/ 2147483647 w 302"/>
                <a:gd name="T27" fmla="*/ 2147483647 h 124"/>
                <a:gd name="T28" fmla="*/ 2147483647 w 302"/>
                <a:gd name="T29" fmla="*/ 2147483647 h 124"/>
                <a:gd name="T30" fmla="*/ 2147483647 w 302"/>
                <a:gd name="T31" fmla="*/ 2147483647 h 124"/>
                <a:gd name="T32" fmla="*/ 2147483647 w 302"/>
                <a:gd name="T33" fmla="*/ 2147483647 h 124"/>
                <a:gd name="T34" fmla="*/ 2147483647 w 302"/>
                <a:gd name="T35" fmla="*/ 2147483647 h 124"/>
                <a:gd name="T36" fmla="*/ 2147483647 w 302"/>
                <a:gd name="T37" fmla="*/ 2147483647 h 124"/>
                <a:gd name="T38" fmla="*/ 2147483647 w 302"/>
                <a:gd name="T39" fmla="*/ 2147483647 h 124"/>
                <a:gd name="T40" fmla="*/ 2147483647 w 302"/>
                <a:gd name="T41" fmla="*/ 2147483647 h 124"/>
                <a:gd name="T42" fmla="*/ 2147483647 w 302"/>
                <a:gd name="T43" fmla="*/ 2147483647 h 124"/>
                <a:gd name="T44" fmla="*/ 2147483647 w 302"/>
                <a:gd name="T45" fmla="*/ 2147483647 h 124"/>
                <a:gd name="T46" fmla="*/ 2147483647 w 302"/>
                <a:gd name="T47" fmla="*/ 2147483647 h 124"/>
                <a:gd name="T48" fmla="*/ 2147483647 w 302"/>
                <a:gd name="T49" fmla="*/ 2147483647 h 124"/>
                <a:gd name="T50" fmla="*/ 2147483647 w 302"/>
                <a:gd name="T51" fmla="*/ 2147483647 h 124"/>
                <a:gd name="T52" fmla="*/ 2147483647 w 302"/>
                <a:gd name="T53" fmla="*/ 2147483647 h 124"/>
                <a:gd name="T54" fmla="*/ 2147483647 w 302"/>
                <a:gd name="T55" fmla="*/ 2147483647 h 124"/>
                <a:gd name="T56" fmla="*/ 2147483647 w 302"/>
                <a:gd name="T57" fmla="*/ 2147483647 h 124"/>
                <a:gd name="T58" fmla="*/ 2147483647 w 302"/>
                <a:gd name="T59" fmla="*/ 2147483647 h 124"/>
                <a:gd name="T60" fmla="*/ 2147483647 w 302"/>
                <a:gd name="T61" fmla="*/ 2147483647 h 124"/>
                <a:gd name="T62" fmla="*/ 2147483647 w 302"/>
                <a:gd name="T63" fmla="*/ 2147483647 h 124"/>
                <a:gd name="T64" fmla="*/ 2147483647 w 302"/>
                <a:gd name="T65" fmla="*/ 2147483647 h 124"/>
                <a:gd name="T66" fmla="*/ 2147483647 w 302"/>
                <a:gd name="T67" fmla="*/ 2147483647 h 124"/>
                <a:gd name="T68" fmla="*/ 2147483647 w 302"/>
                <a:gd name="T69" fmla="*/ 2147483647 h 124"/>
                <a:gd name="T70" fmla="*/ 2147483647 w 302"/>
                <a:gd name="T71" fmla="*/ 2147483647 h 124"/>
                <a:gd name="T72" fmla="*/ 2147483647 w 302"/>
                <a:gd name="T73" fmla="*/ 2147483647 h 124"/>
                <a:gd name="T74" fmla="*/ 2147483647 w 302"/>
                <a:gd name="T75" fmla="*/ 2147483647 h 124"/>
                <a:gd name="T76" fmla="*/ 2147483647 w 302"/>
                <a:gd name="T77" fmla="*/ 2147483647 h 124"/>
                <a:gd name="T78" fmla="*/ 2147483647 w 302"/>
                <a:gd name="T79" fmla="*/ 2147483647 h 124"/>
                <a:gd name="T80" fmla="*/ 2147483647 w 302"/>
                <a:gd name="T81" fmla="*/ 2147483647 h 124"/>
                <a:gd name="T82" fmla="*/ 2147483647 w 302"/>
                <a:gd name="T83" fmla="*/ 2147483647 h 124"/>
                <a:gd name="T84" fmla="*/ 2147483647 w 302"/>
                <a:gd name="T85" fmla="*/ 2147483647 h 124"/>
                <a:gd name="T86" fmla="*/ 2147483647 w 302"/>
                <a:gd name="T87" fmla="*/ 2147483647 h 124"/>
                <a:gd name="T88" fmla="*/ 2147483647 w 302"/>
                <a:gd name="T89" fmla="*/ 2147483647 h 124"/>
                <a:gd name="T90" fmla="*/ 2147483647 w 302"/>
                <a:gd name="T91" fmla="*/ 2147483647 h 124"/>
                <a:gd name="T92" fmla="*/ 2147483647 w 302"/>
                <a:gd name="T93" fmla="*/ 2147483647 h 124"/>
                <a:gd name="T94" fmla="*/ 2147483647 w 302"/>
                <a:gd name="T95" fmla="*/ 2147483647 h 124"/>
                <a:gd name="T96" fmla="*/ 2147483647 w 302"/>
                <a:gd name="T97" fmla="*/ 2147483647 h 124"/>
                <a:gd name="T98" fmla="*/ 2147483647 w 302"/>
                <a:gd name="T99" fmla="*/ 2147483647 h 124"/>
                <a:gd name="T100" fmla="*/ 2147483647 w 302"/>
                <a:gd name="T101" fmla="*/ 2147483647 h 124"/>
                <a:gd name="T102" fmla="*/ 2147483647 w 302"/>
                <a:gd name="T103" fmla="*/ 2147483647 h 124"/>
                <a:gd name="T104" fmla="*/ 2147483647 w 302"/>
                <a:gd name="T105" fmla="*/ 2147483647 h 124"/>
                <a:gd name="T106" fmla="*/ 2147483647 w 302"/>
                <a:gd name="T107" fmla="*/ 2147483647 h 124"/>
                <a:gd name="T108" fmla="*/ 2147483647 w 302"/>
                <a:gd name="T109" fmla="*/ 2147483647 h 124"/>
                <a:gd name="T110" fmla="*/ 2147483647 w 302"/>
                <a:gd name="T111" fmla="*/ 2147483647 h 124"/>
                <a:gd name="T112" fmla="*/ 2147483647 w 302"/>
                <a:gd name="T113" fmla="*/ 2147483647 h 124"/>
                <a:gd name="T114" fmla="*/ 2147483647 w 302"/>
                <a:gd name="T115" fmla="*/ 2147483647 h 124"/>
                <a:gd name="T116" fmla="*/ 0 w 302"/>
                <a:gd name="T117" fmla="*/ 2147483647 h 124"/>
                <a:gd name="T118" fmla="*/ 2147483647 w 302"/>
                <a:gd name="T119" fmla="*/ 2147483647 h 12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02"/>
                <a:gd name="T181" fmla="*/ 0 h 124"/>
                <a:gd name="T182" fmla="*/ 302 w 302"/>
                <a:gd name="T183" fmla="*/ 124 h 12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02" h="124">
                  <a:moveTo>
                    <a:pt x="4" y="64"/>
                  </a:moveTo>
                  <a:lnTo>
                    <a:pt x="6" y="62"/>
                  </a:lnTo>
                  <a:lnTo>
                    <a:pt x="8" y="58"/>
                  </a:lnTo>
                  <a:lnTo>
                    <a:pt x="8" y="56"/>
                  </a:lnTo>
                  <a:lnTo>
                    <a:pt x="14" y="50"/>
                  </a:lnTo>
                  <a:lnTo>
                    <a:pt x="16" y="48"/>
                  </a:lnTo>
                  <a:lnTo>
                    <a:pt x="20" y="48"/>
                  </a:lnTo>
                  <a:lnTo>
                    <a:pt x="22" y="50"/>
                  </a:lnTo>
                  <a:lnTo>
                    <a:pt x="28" y="52"/>
                  </a:lnTo>
                  <a:lnTo>
                    <a:pt x="34" y="52"/>
                  </a:lnTo>
                  <a:lnTo>
                    <a:pt x="36" y="52"/>
                  </a:lnTo>
                  <a:lnTo>
                    <a:pt x="42" y="50"/>
                  </a:lnTo>
                  <a:lnTo>
                    <a:pt x="48" y="46"/>
                  </a:lnTo>
                  <a:lnTo>
                    <a:pt x="54" y="42"/>
                  </a:lnTo>
                  <a:lnTo>
                    <a:pt x="56" y="38"/>
                  </a:lnTo>
                  <a:lnTo>
                    <a:pt x="62" y="38"/>
                  </a:lnTo>
                  <a:lnTo>
                    <a:pt x="64" y="36"/>
                  </a:lnTo>
                  <a:lnTo>
                    <a:pt x="66" y="30"/>
                  </a:lnTo>
                  <a:lnTo>
                    <a:pt x="66" y="28"/>
                  </a:lnTo>
                  <a:lnTo>
                    <a:pt x="68" y="22"/>
                  </a:lnTo>
                  <a:lnTo>
                    <a:pt x="76" y="18"/>
                  </a:lnTo>
                  <a:lnTo>
                    <a:pt x="80" y="14"/>
                  </a:lnTo>
                  <a:lnTo>
                    <a:pt x="82" y="14"/>
                  </a:lnTo>
                  <a:lnTo>
                    <a:pt x="86" y="10"/>
                  </a:lnTo>
                  <a:lnTo>
                    <a:pt x="94" y="6"/>
                  </a:lnTo>
                  <a:lnTo>
                    <a:pt x="98" y="6"/>
                  </a:lnTo>
                  <a:lnTo>
                    <a:pt x="104" y="4"/>
                  </a:lnTo>
                  <a:lnTo>
                    <a:pt x="110" y="6"/>
                  </a:lnTo>
                  <a:lnTo>
                    <a:pt x="110" y="10"/>
                  </a:lnTo>
                  <a:lnTo>
                    <a:pt x="110" y="14"/>
                  </a:lnTo>
                  <a:lnTo>
                    <a:pt x="116" y="12"/>
                  </a:lnTo>
                  <a:lnTo>
                    <a:pt x="122" y="10"/>
                  </a:lnTo>
                  <a:lnTo>
                    <a:pt x="128" y="4"/>
                  </a:lnTo>
                  <a:lnTo>
                    <a:pt x="132" y="0"/>
                  </a:lnTo>
                  <a:lnTo>
                    <a:pt x="138" y="0"/>
                  </a:lnTo>
                  <a:lnTo>
                    <a:pt x="140" y="2"/>
                  </a:lnTo>
                  <a:lnTo>
                    <a:pt x="142" y="8"/>
                  </a:lnTo>
                  <a:lnTo>
                    <a:pt x="148" y="12"/>
                  </a:lnTo>
                  <a:lnTo>
                    <a:pt x="154" y="14"/>
                  </a:lnTo>
                  <a:lnTo>
                    <a:pt x="156" y="20"/>
                  </a:lnTo>
                  <a:lnTo>
                    <a:pt x="158" y="26"/>
                  </a:lnTo>
                  <a:lnTo>
                    <a:pt x="160" y="26"/>
                  </a:lnTo>
                  <a:lnTo>
                    <a:pt x="166" y="26"/>
                  </a:lnTo>
                  <a:lnTo>
                    <a:pt x="172" y="22"/>
                  </a:lnTo>
                  <a:lnTo>
                    <a:pt x="178" y="16"/>
                  </a:lnTo>
                  <a:lnTo>
                    <a:pt x="182" y="12"/>
                  </a:lnTo>
                  <a:lnTo>
                    <a:pt x="188" y="14"/>
                  </a:lnTo>
                  <a:lnTo>
                    <a:pt x="188" y="12"/>
                  </a:lnTo>
                  <a:lnTo>
                    <a:pt x="196" y="14"/>
                  </a:lnTo>
                  <a:lnTo>
                    <a:pt x="200" y="12"/>
                  </a:lnTo>
                  <a:lnTo>
                    <a:pt x="202" y="12"/>
                  </a:lnTo>
                  <a:lnTo>
                    <a:pt x="208" y="16"/>
                  </a:lnTo>
                  <a:lnTo>
                    <a:pt x="214" y="20"/>
                  </a:lnTo>
                  <a:lnTo>
                    <a:pt x="220" y="16"/>
                  </a:lnTo>
                  <a:lnTo>
                    <a:pt x="226" y="10"/>
                  </a:lnTo>
                  <a:lnTo>
                    <a:pt x="232" y="10"/>
                  </a:lnTo>
                  <a:lnTo>
                    <a:pt x="238" y="10"/>
                  </a:lnTo>
                  <a:lnTo>
                    <a:pt x="240" y="10"/>
                  </a:lnTo>
                  <a:lnTo>
                    <a:pt x="246" y="12"/>
                  </a:lnTo>
                  <a:lnTo>
                    <a:pt x="252" y="10"/>
                  </a:lnTo>
                  <a:lnTo>
                    <a:pt x="256" y="12"/>
                  </a:lnTo>
                  <a:lnTo>
                    <a:pt x="260" y="14"/>
                  </a:lnTo>
                  <a:lnTo>
                    <a:pt x="268" y="16"/>
                  </a:lnTo>
                  <a:lnTo>
                    <a:pt x="272" y="20"/>
                  </a:lnTo>
                  <a:lnTo>
                    <a:pt x="274" y="22"/>
                  </a:lnTo>
                  <a:lnTo>
                    <a:pt x="280" y="26"/>
                  </a:lnTo>
                  <a:lnTo>
                    <a:pt x="286" y="30"/>
                  </a:lnTo>
                  <a:lnTo>
                    <a:pt x="290" y="30"/>
                  </a:lnTo>
                  <a:lnTo>
                    <a:pt x="298" y="34"/>
                  </a:lnTo>
                  <a:lnTo>
                    <a:pt x="302" y="34"/>
                  </a:lnTo>
                  <a:lnTo>
                    <a:pt x="302" y="38"/>
                  </a:lnTo>
                  <a:lnTo>
                    <a:pt x="296" y="44"/>
                  </a:lnTo>
                  <a:lnTo>
                    <a:pt x="294" y="52"/>
                  </a:lnTo>
                  <a:lnTo>
                    <a:pt x="294" y="56"/>
                  </a:lnTo>
                  <a:lnTo>
                    <a:pt x="288" y="62"/>
                  </a:lnTo>
                  <a:lnTo>
                    <a:pt x="288" y="64"/>
                  </a:lnTo>
                  <a:lnTo>
                    <a:pt x="284" y="68"/>
                  </a:lnTo>
                  <a:lnTo>
                    <a:pt x="284" y="72"/>
                  </a:lnTo>
                  <a:lnTo>
                    <a:pt x="284" y="78"/>
                  </a:lnTo>
                  <a:lnTo>
                    <a:pt x="284" y="80"/>
                  </a:lnTo>
                  <a:lnTo>
                    <a:pt x="278" y="82"/>
                  </a:lnTo>
                  <a:lnTo>
                    <a:pt x="272" y="82"/>
                  </a:lnTo>
                  <a:lnTo>
                    <a:pt x="266" y="84"/>
                  </a:lnTo>
                  <a:lnTo>
                    <a:pt x="260" y="82"/>
                  </a:lnTo>
                  <a:lnTo>
                    <a:pt x="256" y="76"/>
                  </a:lnTo>
                  <a:lnTo>
                    <a:pt x="250" y="70"/>
                  </a:lnTo>
                  <a:lnTo>
                    <a:pt x="244" y="68"/>
                  </a:lnTo>
                  <a:lnTo>
                    <a:pt x="238" y="70"/>
                  </a:lnTo>
                  <a:lnTo>
                    <a:pt x="236" y="72"/>
                  </a:lnTo>
                  <a:lnTo>
                    <a:pt x="230" y="72"/>
                  </a:lnTo>
                  <a:lnTo>
                    <a:pt x="224" y="72"/>
                  </a:lnTo>
                  <a:lnTo>
                    <a:pt x="218" y="70"/>
                  </a:lnTo>
                  <a:lnTo>
                    <a:pt x="214" y="68"/>
                  </a:lnTo>
                  <a:lnTo>
                    <a:pt x="208" y="68"/>
                  </a:lnTo>
                  <a:lnTo>
                    <a:pt x="202" y="70"/>
                  </a:lnTo>
                  <a:lnTo>
                    <a:pt x="196" y="70"/>
                  </a:lnTo>
                  <a:lnTo>
                    <a:pt x="194" y="76"/>
                  </a:lnTo>
                  <a:lnTo>
                    <a:pt x="190" y="82"/>
                  </a:lnTo>
                  <a:lnTo>
                    <a:pt x="188" y="88"/>
                  </a:lnTo>
                  <a:lnTo>
                    <a:pt x="186" y="88"/>
                  </a:lnTo>
                  <a:lnTo>
                    <a:pt x="180" y="90"/>
                  </a:lnTo>
                  <a:lnTo>
                    <a:pt x="176" y="94"/>
                  </a:lnTo>
                  <a:lnTo>
                    <a:pt x="172" y="94"/>
                  </a:lnTo>
                  <a:lnTo>
                    <a:pt x="170" y="96"/>
                  </a:lnTo>
                  <a:lnTo>
                    <a:pt x="164" y="96"/>
                  </a:lnTo>
                  <a:lnTo>
                    <a:pt x="160" y="96"/>
                  </a:lnTo>
                  <a:lnTo>
                    <a:pt x="154" y="94"/>
                  </a:lnTo>
                  <a:lnTo>
                    <a:pt x="150" y="90"/>
                  </a:lnTo>
                  <a:lnTo>
                    <a:pt x="146" y="92"/>
                  </a:lnTo>
                  <a:lnTo>
                    <a:pt x="144" y="92"/>
                  </a:lnTo>
                  <a:lnTo>
                    <a:pt x="144" y="94"/>
                  </a:lnTo>
                  <a:lnTo>
                    <a:pt x="142" y="96"/>
                  </a:lnTo>
                  <a:lnTo>
                    <a:pt x="142" y="100"/>
                  </a:lnTo>
                  <a:lnTo>
                    <a:pt x="136" y="102"/>
                  </a:lnTo>
                  <a:lnTo>
                    <a:pt x="130" y="102"/>
                  </a:lnTo>
                  <a:lnTo>
                    <a:pt x="124" y="102"/>
                  </a:lnTo>
                  <a:lnTo>
                    <a:pt x="118" y="102"/>
                  </a:lnTo>
                  <a:lnTo>
                    <a:pt x="116" y="102"/>
                  </a:lnTo>
                  <a:lnTo>
                    <a:pt x="114" y="102"/>
                  </a:lnTo>
                  <a:lnTo>
                    <a:pt x="112" y="102"/>
                  </a:lnTo>
                  <a:lnTo>
                    <a:pt x="108" y="104"/>
                  </a:lnTo>
                  <a:lnTo>
                    <a:pt x="104" y="110"/>
                  </a:lnTo>
                  <a:lnTo>
                    <a:pt x="106" y="116"/>
                  </a:lnTo>
                  <a:lnTo>
                    <a:pt x="108" y="118"/>
                  </a:lnTo>
                  <a:lnTo>
                    <a:pt x="108" y="120"/>
                  </a:lnTo>
                  <a:lnTo>
                    <a:pt x="104" y="120"/>
                  </a:lnTo>
                  <a:lnTo>
                    <a:pt x="102" y="122"/>
                  </a:lnTo>
                  <a:lnTo>
                    <a:pt x="96" y="124"/>
                  </a:lnTo>
                  <a:lnTo>
                    <a:pt x="90" y="124"/>
                  </a:lnTo>
                  <a:lnTo>
                    <a:pt x="84" y="124"/>
                  </a:lnTo>
                  <a:lnTo>
                    <a:pt x="78" y="124"/>
                  </a:lnTo>
                  <a:lnTo>
                    <a:pt x="72" y="124"/>
                  </a:lnTo>
                  <a:lnTo>
                    <a:pt x="70" y="124"/>
                  </a:lnTo>
                  <a:lnTo>
                    <a:pt x="68" y="124"/>
                  </a:lnTo>
                  <a:lnTo>
                    <a:pt x="64" y="124"/>
                  </a:lnTo>
                  <a:lnTo>
                    <a:pt x="58" y="124"/>
                  </a:lnTo>
                  <a:lnTo>
                    <a:pt x="52" y="124"/>
                  </a:lnTo>
                  <a:lnTo>
                    <a:pt x="50" y="124"/>
                  </a:lnTo>
                  <a:lnTo>
                    <a:pt x="44" y="120"/>
                  </a:lnTo>
                  <a:lnTo>
                    <a:pt x="40" y="118"/>
                  </a:lnTo>
                  <a:lnTo>
                    <a:pt x="38" y="116"/>
                  </a:lnTo>
                  <a:lnTo>
                    <a:pt x="36" y="114"/>
                  </a:lnTo>
                  <a:lnTo>
                    <a:pt x="32" y="110"/>
                  </a:lnTo>
                  <a:lnTo>
                    <a:pt x="28" y="108"/>
                  </a:lnTo>
                  <a:lnTo>
                    <a:pt x="24" y="106"/>
                  </a:lnTo>
                  <a:lnTo>
                    <a:pt x="22" y="106"/>
                  </a:lnTo>
                  <a:lnTo>
                    <a:pt x="20" y="106"/>
                  </a:lnTo>
                  <a:lnTo>
                    <a:pt x="18" y="106"/>
                  </a:lnTo>
                  <a:lnTo>
                    <a:pt x="14" y="100"/>
                  </a:lnTo>
                  <a:lnTo>
                    <a:pt x="12" y="98"/>
                  </a:lnTo>
                  <a:lnTo>
                    <a:pt x="6" y="94"/>
                  </a:lnTo>
                  <a:lnTo>
                    <a:pt x="6" y="90"/>
                  </a:lnTo>
                  <a:lnTo>
                    <a:pt x="6" y="88"/>
                  </a:lnTo>
                  <a:lnTo>
                    <a:pt x="0" y="82"/>
                  </a:lnTo>
                  <a:lnTo>
                    <a:pt x="0" y="76"/>
                  </a:lnTo>
                  <a:lnTo>
                    <a:pt x="4" y="70"/>
                  </a:lnTo>
                  <a:lnTo>
                    <a:pt x="4" y="6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0" name="Freeform 47"/>
            <p:cNvSpPr>
              <a:spLocks/>
            </p:cNvSpPr>
            <p:nvPr/>
          </p:nvSpPr>
          <p:spPr bwMode="auto">
            <a:xfrm>
              <a:off x="4708525" y="2652713"/>
              <a:ext cx="120650" cy="68262"/>
            </a:xfrm>
            <a:custGeom>
              <a:avLst/>
              <a:gdLst>
                <a:gd name="T0" fmla="*/ 2147483647 w 296"/>
                <a:gd name="T1" fmla="*/ 2147483647 h 166"/>
                <a:gd name="T2" fmla="*/ 2147483647 w 296"/>
                <a:gd name="T3" fmla="*/ 2147483647 h 166"/>
                <a:gd name="T4" fmla="*/ 2147483647 w 296"/>
                <a:gd name="T5" fmla="*/ 2147483647 h 166"/>
                <a:gd name="T6" fmla="*/ 2147483647 w 296"/>
                <a:gd name="T7" fmla="*/ 2147483647 h 166"/>
                <a:gd name="T8" fmla="*/ 2147483647 w 296"/>
                <a:gd name="T9" fmla="*/ 2147483647 h 166"/>
                <a:gd name="T10" fmla="*/ 2147483647 w 296"/>
                <a:gd name="T11" fmla="*/ 2147483647 h 166"/>
                <a:gd name="T12" fmla="*/ 2147483647 w 296"/>
                <a:gd name="T13" fmla="*/ 2147483647 h 166"/>
                <a:gd name="T14" fmla="*/ 2147483647 w 296"/>
                <a:gd name="T15" fmla="*/ 2147483647 h 166"/>
                <a:gd name="T16" fmla="*/ 2147483647 w 296"/>
                <a:gd name="T17" fmla="*/ 2147483647 h 166"/>
                <a:gd name="T18" fmla="*/ 2147483647 w 296"/>
                <a:gd name="T19" fmla="*/ 2147483647 h 166"/>
                <a:gd name="T20" fmla="*/ 2147483647 w 296"/>
                <a:gd name="T21" fmla="*/ 2147483647 h 166"/>
                <a:gd name="T22" fmla="*/ 2147483647 w 296"/>
                <a:gd name="T23" fmla="*/ 2147483647 h 166"/>
                <a:gd name="T24" fmla="*/ 2147483647 w 296"/>
                <a:gd name="T25" fmla="*/ 2147483647 h 166"/>
                <a:gd name="T26" fmla="*/ 2147483647 w 296"/>
                <a:gd name="T27" fmla="*/ 0 h 166"/>
                <a:gd name="T28" fmla="*/ 2147483647 w 296"/>
                <a:gd name="T29" fmla="*/ 2147483647 h 166"/>
                <a:gd name="T30" fmla="*/ 2147483647 w 296"/>
                <a:gd name="T31" fmla="*/ 2147483647 h 166"/>
                <a:gd name="T32" fmla="*/ 2147483647 w 296"/>
                <a:gd name="T33" fmla="*/ 2147483647 h 166"/>
                <a:gd name="T34" fmla="*/ 2147483647 w 296"/>
                <a:gd name="T35" fmla="*/ 2147483647 h 166"/>
                <a:gd name="T36" fmla="*/ 2147483647 w 296"/>
                <a:gd name="T37" fmla="*/ 2147483647 h 166"/>
                <a:gd name="T38" fmla="*/ 2147483647 w 296"/>
                <a:gd name="T39" fmla="*/ 2147483647 h 166"/>
                <a:gd name="T40" fmla="*/ 2147483647 w 296"/>
                <a:gd name="T41" fmla="*/ 2147483647 h 166"/>
                <a:gd name="T42" fmla="*/ 2147483647 w 296"/>
                <a:gd name="T43" fmla="*/ 2147483647 h 166"/>
                <a:gd name="T44" fmla="*/ 2147483647 w 296"/>
                <a:gd name="T45" fmla="*/ 2147483647 h 166"/>
                <a:gd name="T46" fmla="*/ 2147483647 w 296"/>
                <a:gd name="T47" fmla="*/ 2147483647 h 166"/>
                <a:gd name="T48" fmla="*/ 2147483647 w 296"/>
                <a:gd name="T49" fmla="*/ 2147483647 h 166"/>
                <a:gd name="T50" fmla="*/ 2147483647 w 296"/>
                <a:gd name="T51" fmla="*/ 2147483647 h 166"/>
                <a:gd name="T52" fmla="*/ 2147483647 w 296"/>
                <a:gd name="T53" fmla="*/ 2147483647 h 166"/>
                <a:gd name="T54" fmla="*/ 2147483647 w 296"/>
                <a:gd name="T55" fmla="*/ 2147483647 h 166"/>
                <a:gd name="T56" fmla="*/ 2147483647 w 296"/>
                <a:gd name="T57" fmla="*/ 2147483647 h 166"/>
                <a:gd name="T58" fmla="*/ 2147483647 w 296"/>
                <a:gd name="T59" fmla="*/ 2147483647 h 166"/>
                <a:gd name="T60" fmla="*/ 2147483647 w 296"/>
                <a:gd name="T61" fmla="*/ 2147483647 h 166"/>
                <a:gd name="T62" fmla="*/ 2147483647 w 296"/>
                <a:gd name="T63" fmla="*/ 2147483647 h 166"/>
                <a:gd name="T64" fmla="*/ 2147483647 w 296"/>
                <a:gd name="T65" fmla="*/ 2147483647 h 166"/>
                <a:gd name="T66" fmla="*/ 2147483647 w 296"/>
                <a:gd name="T67" fmla="*/ 2147483647 h 166"/>
                <a:gd name="T68" fmla="*/ 2147483647 w 296"/>
                <a:gd name="T69" fmla="*/ 2147483647 h 166"/>
                <a:gd name="T70" fmla="*/ 2147483647 w 296"/>
                <a:gd name="T71" fmla="*/ 2147483647 h 166"/>
                <a:gd name="T72" fmla="*/ 2147483647 w 296"/>
                <a:gd name="T73" fmla="*/ 2147483647 h 166"/>
                <a:gd name="T74" fmla="*/ 2147483647 w 296"/>
                <a:gd name="T75" fmla="*/ 2147483647 h 166"/>
                <a:gd name="T76" fmla="*/ 2147483647 w 296"/>
                <a:gd name="T77" fmla="*/ 2147483647 h 166"/>
                <a:gd name="T78" fmla="*/ 2147483647 w 296"/>
                <a:gd name="T79" fmla="*/ 2147483647 h 166"/>
                <a:gd name="T80" fmla="*/ 2147483647 w 296"/>
                <a:gd name="T81" fmla="*/ 2147483647 h 166"/>
                <a:gd name="T82" fmla="*/ 2147483647 w 296"/>
                <a:gd name="T83" fmla="*/ 2147483647 h 166"/>
                <a:gd name="T84" fmla="*/ 2147483647 w 296"/>
                <a:gd name="T85" fmla="*/ 2147483647 h 166"/>
                <a:gd name="T86" fmla="*/ 2147483647 w 296"/>
                <a:gd name="T87" fmla="*/ 2147483647 h 166"/>
                <a:gd name="T88" fmla="*/ 2147483647 w 296"/>
                <a:gd name="T89" fmla="*/ 2147483647 h 166"/>
                <a:gd name="T90" fmla="*/ 2147483647 w 296"/>
                <a:gd name="T91" fmla="*/ 2147483647 h 166"/>
                <a:gd name="T92" fmla="*/ 2147483647 w 296"/>
                <a:gd name="T93" fmla="*/ 2147483647 h 166"/>
                <a:gd name="T94" fmla="*/ 2147483647 w 296"/>
                <a:gd name="T95" fmla="*/ 2147483647 h 166"/>
                <a:gd name="T96" fmla="*/ 2147483647 w 296"/>
                <a:gd name="T97" fmla="*/ 2147483647 h 166"/>
                <a:gd name="T98" fmla="*/ 2147483647 w 296"/>
                <a:gd name="T99" fmla="*/ 2147483647 h 166"/>
                <a:gd name="T100" fmla="*/ 2147483647 w 296"/>
                <a:gd name="T101" fmla="*/ 2147483647 h 166"/>
                <a:gd name="T102" fmla="*/ 2147483647 w 296"/>
                <a:gd name="T103" fmla="*/ 2147483647 h 166"/>
                <a:gd name="T104" fmla="*/ 2147483647 w 296"/>
                <a:gd name="T105" fmla="*/ 2147483647 h 166"/>
                <a:gd name="T106" fmla="*/ 2147483647 w 296"/>
                <a:gd name="T107" fmla="*/ 2147483647 h 166"/>
                <a:gd name="T108" fmla="*/ 2147483647 w 296"/>
                <a:gd name="T109" fmla="*/ 2147483647 h 166"/>
                <a:gd name="T110" fmla="*/ 2147483647 w 296"/>
                <a:gd name="T111" fmla="*/ 2147483647 h 166"/>
                <a:gd name="T112" fmla="*/ 0 w 296"/>
                <a:gd name="T113" fmla="*/ 2147483647 h 166"/>
                <a:gd name="T114" fmla="*/ 0 w 296"/>
                <a:gd name="T115" fmla="*/ 2147483647 h 1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96"/>
                <a:gd name="T175" fmla="*/ 0 h 166"/>
                <a:gd name="T176" fmla="*/ 296 w 296"/>
                <a:gd name="T177" fmla="*/ 166 h 1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96" h="166">
                  <a:moveTo>
                    <a:pt x="0" y="24"/>
                  </a:moveTo>
                  <a:lnTo>
                    <a:pt x="0" y="22"/>
                  </a:lnTo>
                  <a:lnTo>
                    <a:pt x="6" y="22"/>
                  </a:lnTo>
                  <a:lnTo>
                    <a:pt x="8" y="16"/>
                  </a:lnTo>
                  <a:lnTo>
                    <a:pt x="14" y="12"/>
                  </a:lnTo>
                  <a:lnTo>
                    <a:pt x="20" y="10"/>
                  </a:lnTo>
                  <a:lnTo>
                    <a:pt x="22" y="10"/>
                  </a:lnTo>
                  <a:lnTo>
                    <a:pt x="30" y="8"/>
                  </a:lnTo>
                  <a:lnTo>
                    <a:pt x="34" y="6"/>
                  </a:lnTo>
                  <a:lnTo>
                    <a:pt x="40" y="4"/>
                  </a:lnTo>
                  <a:lnTo>
                    <a:pt x="42" y="4"/>
                  </a:lnTo>
                  <a:lnTo>
                    <a:pt x="44" y="4"/>
                  </a:lnTo>
                  <a:lnTo>
                    <a:pt x="50" y="0"/>
                  </a:lnTo>
                  <a:lnTo>
                    <a:pt x="56" y="2"/>
                  </a:lnTo>
                  <a:lnTo>
                    <a:pt x="64" y="2"/>
                  </a:lnTo>
                  <a:lnTo>
                    <a:pt x="70" y="2"/>
                  </a:lnTo>
                  <a:lnTo>
                    <a:pt x="76" y="2"/>
                  </a:lnTo>
                  <a:lnTo>
                    <a:pt x="78" y="4"/>
                  </a:lnTo>
                  <a:lnTo>
                    <a:pt x="84" y="4"/>
                  </a:lnTo>
                  <a:lnTo>
                    <a:pt x="88" y="2"/>
                  </a:lnTo>
                  <a:lnTo>
                    <a:pt x="96" y="2"/>
                  </a:lnTo>
                  <a:lnTo>
                    <a:pt x="100" y="8"/>
                  </a:lnTo>
                  <a:lnTo>
                    <a:pt x="106" y="4"/>
                  </a:lnTo>
                  <a:lnTo>
                    <a:pt x="110" y="4"/>
                  </a:lnTo>
                  <a:lnTo>
                    <a:pt x="116" y="4"/>
                  </a:lnTo>
                  <a:lnTo>
                    <a:pt x="122" y="6"/>
                  </a:lnTo>
                  <a:lnTo>
                    <a:pt x="128" y="4"/>
                  </a:lnTo>
                  <a:lnTo>
                    <a:pt x="130" y="4"/>
                  </a:lnTo>
                  <a:lnTo>
                    <a:pt x="136" y="6"/>
                  </a:lnTo>
                  <a:lnTo>
                    <a:pt x="142" y="6"/>
                  </a:lnTo>
                  <a:lnTo>
                    <a:pt x="148" y="8"/>
                  </a:lnTo>
                  <a:lnTo>
                    <a:pt x="154" y="10"/>
                  </a:lnTo>
                  <a:lnTo>
                    <a:pt x="160" y="10"/>
                  </a:lnTo>
                  <a:lnTo>
                    <a:pt x="162" y="8"/>
                  </a:lnTo>
                  <a:lnTo>
                    <a:pt x="170" y="10"/>
                  </a:lnTo>
                  <a:lnTo>
                    <a:pt x="174" y="10"/>
                  </a:lnTo>
                  <a:lnTo>
                    <a:pt x="180" y="4"/>
                  </a:lnTo>
                  <a:lnTo>
                    <a:pt x="186" y="2"/>
                  </a:lnTo>
                  <a:lnTo>
                    <a:pt x="190" y="0"/>
                  </a:lnTo>
                  <a:lnTo>
                    <a:pt x="194" y="4"/>
                  </a:lnTo>
                  <a:lnTo>
                    <a:pt x="198" y="8"/>
                  </a:lnTo>
                  <a:lnTo>
                    <a:pt x="200" y="10"/>
                  </a:lnTo>
                  <a:lnTo>
                    <a:pt x="206" y="16"/>
                  </a:lnTo>
                  <a:lnTo>
                    <a:pt x="212" y="16"/>
                  </a:lnTo>
                  <a:lnTo>
                    <a:pt x="216" y="16"/>
                  </a:lnTo>
                  <a:lnTo>
                    <a:pt x="220" y="18"/>
                  </a:lnTo>
                  <a:lnTo>
                    <a:pt x="226" y="18"/>
                  </a:lnTo>
                  <a:lnTo>
                    <a:pt x="232" y="18"/>
                  </a:lnTo>
                  <a:lnTo>
                    <a:pt x="238" y="24"/>
                  </a:lnTo>
                  <a:lnTo>
                    <a:pt x="244" y="28"/>
                  </a:lnTo>
                  <a:lnTo>
                    <a:pt x="246" y="28"/>
                  </a:lnTo>
                  <a:lnTo>
                    <a:pt x="252" y="32"/>
                  </a:lnTo>
                  <a:lnTo>
                    <a:pt x="254" y="32"/>
                  </a:lnTo>
                  <a:lnTo>
                    <a:pt x="258" y="36"/>
                  </a:lnTo>
                  <a:lnTo>
                    <a:pt x="264" y="42"/>
                  </a:lnTo>
                  <a:lnTo>
                    <a:pt x="268" y="44"/>
                  </a:lnTo>
                  <a:lnTo>
                    <a:pt x="274" y="46"/>
                  </a:lnTo>
                  <a:lnTo>
                    <a:pt x="276" y="48"/>
                  </a:lnTo>
                  <a:lnTo>
                    <a:pt x="282" y="50"/>
                  </a:lnTo>
                  <a:lnTo>
                    <a:pt x="284" y="50"/>
                  </a:lnTo>
                  <a:lnTo>
                    <a:pt x="284" y="56"/>
                  </a:lnTo>
                  <a:lnTo>
                    <a:pt x="282" y="58"/>
                  </a:lnTo>
                  <a:lnTo>
                    <a:pt x="280" y="64"/>
                  </a:lnTo>
                  <a:lnTo>
                    <a:pt x="278" y="70"/>
                  </a:lnTo>
                  <a:lnTo>
                    <a:pt x="284" y="72"/>
                  </a:lnTo>
                  <a:lnTo>
                    <a:pt x="290" y="72"/>
                  </a:lnTo>
                  <a:lnTo>
                    <a:pt x="296" y="74"/>
                  </a:lnTo>
                  <a:lnTo>
                    <a:pt x="290" y="78"/>
                  </a:lnTo>
                  <a:lnTo>
                    <a:pt x="288" y="84"/>
                  </a:lnTo>
                  <a:lnTo>
                    <a:pt x="284" y="84"/>
                  </a:lnTo>
                  <a:lnTo>
                    <a:pt x="282" y="84"/>
                  </a:lnTo>
                  <a:lnTo>
                    <a:pt x="276" y="84"/>
                  </a:lnTo>
                  <a:lnTo>
                    <a:pt x="270" y="84"/>
                  </a:lnTo>
                  <a:lnTo>
                    <a:pt x="270" y="88"/>
                  </a:lnTo>
                  <a:lnTo>
                    <a:pt x="266" y="94"/>
                  </a:lnTo>
                  <a:lnTo>
                    <a:pt x="260" y="96"/>
                  </a:lnTo>
                  <a:lnTo>
                    <a:pt x="254" y="96"/>
                  </a:lnTo>
                  <a:lnTo>
                    <a:pt x="248" y="102"/>
                  </a:lnTo>
                  <a:lnTo>
                    <a:pt x="246" y="108"/>
                  </a:lnTo>
                  <a:lnTo>
                    <a:pt x="246" y="112"/>
                  </a:lnTo>
                  <a:lnTo>
                    <a:pt x="246" y="118"/>
                  </a:lnTo>
                  <a:lnTo>
                    <a:pt x="248" y="120"/>
                  </a:lnTo>
                  <a:lnTo>
                    <a:pt x="244" y="124"/>
                  </a:lnTo>
                  <a:lnTo>
                    <a:pt x="242" y="130"/>
                  </a:lnTo>
                  <a:lnTo>
                    <a:pt x="238" y="136"/>
                  </a:lnTo>
                  <a:lnTo>
                    <a:pt x="244" y="138"/>
                  </a:lnTo>
                  <a:lnTo>
                    <a:pt x="250" y="140"/>
                  </a:lnTo>
                  <a:lnTo>
                    <a:pt x="252" y="146"/>
                  </a:lnTo>
                  <a:lnTo>
                    <a:pt x="246" y="150"/>
                  </a:lnTo>
                  <a:lnTo>
                    <a:pt x="240" y="150"/>
                  </a:lnTo>
                  <a:lnTo>
                    <a:pt x="240" y="144"/>
                  </a:lnTo>
                  <a:lnTo>
                    <a:pt x="234" y="140"/>
                  </a:lnTo>
                  <a:lnTo>
                    <a:pt x="230" y="142"/>
                  </a:lnTo>
                  <a:lnTo>
                    <a:pt x="228" y="142"/>
                  </a:lnTo>
                  <a:lnTo>
                    <a:pt x="222" y="142"/>
                  </a:lnTo>
                  <a:lnTo>
                    <a:pt x="222" y="144"/>
                  </a:lnTo>
                  <a:lnTo>
                    <a:pt x="220" y="148"/>
                  </a:lnTo>
                  <a:lnTo>
                    <a:pt x="214" y="150"/>
                  </a:lnTo>
                  <a:lnTo>
                    <a:pt x="212" y="150"/>
                  </a:lnTo>
                  <a:lnTo>
                    <a:pt x="206" y="150"/>
                  </a:lnTo>
                  <a:lnTo>
                    <a:pt x="204" y="156"/>
                  </a:lnTo>
                  <a:lnTo>
                    <a:pt x="200" y="160"/>
                  </a:lnTo>
                  <a:lnTo>
                    <a:pt x="194" y="160"/>
                  </a:lnTo>
                  <a:lnTo>
                    <a:pt x="190" y="162"/>
                  </a:lnTo>
                  <a:lnTo>
                    <a:pt x="184" y="164"/>
                  </a:lnTo>
                  <a:lnTo>
                    <a:pt x="178" y="166"/>
                  </a:lnTo>
                  <a:lnTo>
                    <a:pt x="174" y="162"/>
                  </a:lnTo>
                  <a:lnTo>
                    <a:pt x="168" y="162"/>
                  </a:lnTo>
                  <a:lnTo>
                    <a:pt x="166" y="162"/>
                  </a:lnTo>
                  <a:lnTo>
                    <a:pt x="166" y="164"/>
                  </a:lnTo>
                  <a:lnTo>
                    <a:pt x="160" y="162"/>
                  </a:lnTo>
                  <a:lnTo>
                    <a:pt x="154" y="164"/>
                  </a:lnTo>
                  <a:lnTo>
                    <a:pt x="152" y="164"/>
                  </a:lnTo>
                  <a:lnTo>
                    <a:pt x="146" y="164"/>
                  </a:lnTo>
                  <a:lnTo>
                    <a:pt x="140" y="164"/>
                  </a:lnTo>
                  <a:lnTo>
                    <a:pt x="136" y="162"/>
                  </a:lnTo>
                  <a:lnTo>
                    <a:pt x="136" y="156"/>
                  </a:lnTo>
                  <a:lnTo>
                    <a:pt x="134" y="152"/>
                  </a:lnTo>
                  <a:lnTo>
                    <a:pt x="132" y="148"/>
                  </a:lnTo>
                  <a:lnTo>
                    <a:pt x="126" y="144"/>
                  </a:lnTo>
                  <a:lnTo>
                    <a:pt x="120" y="142"/>
                  </a:lnTo>
                  <a:lnTo>
                    <a:pt x="114" y="138"/>
                  </a:lnTo>
                  <a:lnTo>
                    <a:pt x="108" y="136"/>
                  </a:lnTo>
                  <a:lnTo>
                    <a:pt x="102" y="132"/>
                  </a:lnTo>
                  <a:lnTo>
                    <a:pt x="96" y="134"/>
                  </a:lnTo>
                  <a:lnTo>
                    <a:pt x="92" y="130"/>
                  </a:lnTo>
                  <a:lnTo>
                    <a:pt x="92" y="128"/>
                  </a:lnTo>
                  <a:lnTo>
                    <a:pt x="92" y="122"/>
                  </a:lnTo>
                  <a:lnTo>
                    <a:pt x="92" y="118"/>
                  </a:lnTo>
                  <a:lnTo>
                    <a:pt x="92" y="116"/>
                  </a:lnTo>
                  <a:lnTo>
                    <a:pt x="92" y="110"/>
                  </a:lnTo>
                  <a:lnTo>
                    <a:pt x="98" y="106"/>
                  </a:lnTo>
                  <a:lnTo>
                    <a:pt x="96" y="100"/>
                  </a:lnTo>
                  <a:lnTo>
                    <a:pt x="90" y="96"/>
                  </a:lnTo>
                  <a:lnTo>
                    <a:pt x="84" y="94"/>
                  </a:lnTo>
                  <a:lnTo>
                    <a:pt x="84" y="88"/>
                  </a:lnTo>
                  <a:lnTo>
                    <a:pt x="82" y="88"/>
                  </a:lnTo>
                  <a:lnTo>
                    <a:pt x="76" y="90"/>
                  </a:lnTo>
                  <a:lnTo>
                    <a:pt x="72" y="90"/>
                  </a:lnTo>
                  <a:lnTo>
                    <a:pt x="64" y="88"/>
                  </a:lnTo>
                  <a:lnTo>
                    <a:pt x="60" y="90"/>
                  </a:lnTo>
                  <a:lnTo>
                    <a:pt x="54" y="88"/>
                  </a:lnTo>
                  <a:lnTo>
                    <a:pt x="48" y="88"/>
                  </a:lnTo>
                  <a:lnTo>
                    <a:pt x="46" y="88"/>
                  </a:lnTo>
                  <a:lnTo>
                    <a:pt x="42" y="86"/>
                  </a:lnTo>
                  <a:lnTo>
                    <a:pt x="38" y="84"/>
                  </a:lnTo>
                  <a:lnTo>
                    <a:pt x="32" y="80"/>
                  </a:lnTo>
                  <a:lnTo>
                    <a:pt x="26" y="80"/>
                  </a:lnTo>
                  <a:lnTo>
                    <a:pt x="20" y="74"/>
                  </a:lnTo>
                  <a:lnTo>
                    <a:pt x="16" y="76"/>
                  </a:lnTo>
                  <a:lnTo>
                    <a:pt x="14" y="76"/>
                  </a:lnTo>
                  <a:lnTo>
                    <a:pt x="14" y="72"/>
                  </a:lnTo>
                  <a:lnTo>
                    <a:pt x="12" y="66"/>
                  </a:lnTo>
                  <a:lnTo>
                    <a:pt x="10" y="60"/>
                  </a:lnTo>
                  <a:lnTo>
                    <a:pt x="8" y="54"/>
                  </a:lnTo>
                  <a:lnTo>
                    <a:pt x="4" y="48"/>
                  </a:lnTo>
                  <a:lnTo>
                    <a:pt x="0" y="42"/>
                  </a:lnTo>
                  <a:lnTo>
                    <a:pt x="0" y="36"/>
                  </a:lnTo>
                  <a:lnTo>
                    <a:pt x="0" y="30"/>
                  </a:lnTo>
                  <a:lnTo>
                    <a:pt x="0" y="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1" name="Freeform 48"/>
            <p:cNvSpPr>
              <a:spLocks/>
            </p:cNvSpPr>
            <p:nvPr/>
          </p:nvSpPr>
          <p:spPr bwMode="auto">
            <a:xfrm>
              <a:off x="4381500" y="2282825"/>
              <a:ext cx="474663" cy="328613"/>
            </a:xfrm>
            <a:custGeom>
              <a:avLst/>
              <a:gdLst>
                <a:gd name="T0" fmla="*/ 2147483647 w 1166"/>
                <a:gd name="T1" fmla="*/ 2147483647 h 798"/>
                <a:gd name="T2" fmla="*/ 2147483647 w 1166"/>
                <a:gd name="T3" fmla="*/ 2147483647 h 798"/>
                <a:gd name="T4" fmla="*/ 2147483647 w 1166"/>
                <a:gd name="T5" fmla="*/ 2147483647 h 798"/>
                <a:gd name="T6" fmla="*/ 2147483647 w 1166"/>
                <a:gd name="T7" fmla="*/ 2147483647 h 798"/>
                <a:gd name="T8" fmla="*/ 2147483647 w 1166"/>
                <a:gd name="T9" fmla="*/ 2147483647 h 798"/>
                <a:gd name="T10" fmla="*/ 2147483647 w 1166"/>
                <a:gd name="T11" fmla="*/ 2147483647 h 798"/>
                <a:gd name="T12" fmla="*/ 2147483647 w 1166"/>
                <a:gd name="T13" fmla="*/ 2147483647 h 798"/>
                <a:gd name="T14" fmla="*/ 2147483647 w 1166"/>
                <a:gd name="T15" fmla="*/ 2147483647 h 798"/>
                <a:gd name="T16" fmla="*/ 2147483647 w 1166"/>
                <a:gd name="T17" fmla="*/ 2147483647 h 798"/>
                <a:gd name="T18" fmla="*/ 2147483647 w 1166"/>
                <a:gd name="T19" fmla="*/ 2147483647 h 798"/>
                <a:gd name="T20" fmla="*/ 2147483647 w 1166"/>
                <a:gd name="T21" fmla="*/ 2147483647 h 798"/>
                <a:gd name="T22" fmla="*/ 2147483647 w 1166"/>
                <a:gd name="T23" fmla="*/ 2147483647 h 798"/>
                <a:gd name="T24" fmla="*/ 2147483647 w 1166"/>
                <a:gd name="T25" fmla="*/ 2147483647 h 798"/>
                <a:gd name="T26" fmla="*/ 2147483647 w 1166"/>
                <a:gd name="T27" fmla="*/ 2147483647 h 798"/>
                <a:gd name="T28" fmla="*/ 2147483647 w 1166"/>
                <a:gd name="T29" fmla="*/ 2147483647 h 798"/>
                <a:gd name="T30" fmla="*/ 2147483647 w 1166"/>
                <a:gd name="T31" fmla="*/ 2147483647 h 798"/>
                <a:gd name="T32" fmla="*/ 2147483647 w 1166"/>
                <a:gd name="T33" fmla="*/ 2147483647 h 798"/>
                <a:gd name="T34" fmla="*/ 2147483647 w 1166"/>
                <a:gd name="T35" fmla="*/ 2147483647 h 798"/>
                <a:gd name="T36" fmla="*/ 2147483647 w 1166"/>
                <a:gd name="T37" fmla="*/ 2147483647 h 798"/>
                <a:gd name="T38" fmla="*/ 2147483647 w 1166"/>
                <a:gd name="T39" fmla="*/ 2147483647 h 798"/>
                <a:gd name="T40" fmla="*/ 2147483647 w 1166"/>
                <a:gd name="T41" fmla="*/ 2147483647 h 798"/>
                <a:gd name="T42" fmla="*/ 2147483647 w 1166"/>
                <a:gd name="T43" fmla="*/ 2147483647 h 798"/>
                <a:gd name="T44" fmla="*/ 2147483647 w 1166"/>
                <a:gd name="T45" fmla="*/ 2147483647 h 798"/>
                <a:gd name="T46" fmla="*/ 2147483647 w 1166"/>
                <a:gd name="T47" fmla="*/ 2147483647 h 798"/>
                <a:gd name="T48" fmla="*/ 2147483647 w 1166"/>
                <a:gd name="T49" fmla="*/ 2147483647 h 798"/>
                <a:gd name="T50" fmla="*/ 2147483647 w 1166"/>
                <a:gd name="T51" fmla="*/ 2147483647 h 798"/>
                <a:gd name="T52" fmla="*/ 2147483647 w 1166"/>
                <a:gd name="T53" fmla="*/ 2147483647 h 798"/>
                <a:gd name="T54" fmla="*/ 2147483647 w 1166"/>
                <a:gd name="T55" fmla="*/ 2147483647 h 798"/>
                <a:gd name="T56" fmla="*/ 2147483647 w 1166"/>
                <a:gd name="T57" fmla="*/ 2147483647 h 798"/>
                <a:gd name="T58" fmla="*/ 2147483647 w 1166"/>
                <a:gd name="T59" fmla="*/ 2147483647 h 798"/>
                <a:gd name="T60" fmla="*/ 2147483647 w 1166"/>
                <a:gd name="T61" fmla="*/ 2147483647 h 798"/>
                <a:gd name="T62" fmla="*/ 2147483647 w 1166"/>
                <a:gd name="T63" fmla="*/ 2147483647 h 798"/>
                <a:gd name="T64" fmla="*/ 2147483647 w 1166"/>
                <a:gd name="T65" fmla="*/ 2147483647 h 798"/>
                <a:gd name="T66" fmla="*/ 2147483647 w 1166"/>
                <a:gd name="T67" fmla="*/ 2147483647 h 798"/>
                <a:gd name="T68" fmla="*/ 2147483647 w 1166"/>
                <a:gd name="T69" fmla="*/ 2147483647 h 798"/>
                <a:gd name="T70" fmla="*/ 2147483647 w 1166"/>
                <a:gd name="T71" fmla="*/ 2147483647 h 798"/>
                <a:gd name="T72" fmla="*/ 2147483647 w 1166"/>
                <a:gd name="T73" fmla="*/ 2147483647 h 798"/>
                <a:gd name="T74" fmla="*/ 2147483647 w 1166"/>
                <a:gd name="T75" fmla="*/ 2147483647 h 798"/>
                <a:gd name="T76" fmla="*/ 2147483647 w 1166"/>
                <a:gd name="T77" fmla="*/ 2147483647 h 798"/>
                <a:gd name="T78" fmla="*/ 2147483647 w 1166"/>
                <a:gd name="T79" fmla="*/ 2147483647 h 798"/>
                <a:gd name="T80" fmla="*/ 2147483647 w 1166"/>
                <a:gd name="T81" fmla="*/ 2147483647 h 798"/>
                <a:gd name="T82" fmla="*/ 2147483647 w 1166"/>
                <a:gd name="T83" fmla="*/ 2147483647 h 798"/>
                <a:gd name="T84" fmla="*/ 2147483647 w 1166"/>
                <a:gd name="T85" fmla="*/ 2147483647 h 798"/>
                <a:gd name="T86" fmla="*/ 2147483647 w 1166"/>
                <a:gd name="T87" fmla="*/ 2147483647 h 798"/>
                <a:gd name="T88" fmla="*/ 2147483647 w 1166"/>
                <a:gd name="T89" fmla="*/ 2147483647 h 798"/>
                <a:gd name="T90" fmla="*/ 2147483647 w 1166"/>
                <a:gd name="T91" fmla="*/ 2147483647 h 798"/>
                <a:gd name="T92" fmla="*/ 2147483647 w 1166"/>
                <a:gd name="T93" fmla="*/ 2147483647 h 798"/>
                <a:gd name="T94" fmla="*/ 2147483647 w 1166"/>
                <a:gd name="T95" fmla="*/ 2147483647 h 798"/>
                <a:gd name="T96" fmla="*/ 2147483647 w 1166"/>
                <a:gd name="T97" fmla="*/ 2147483647 h 798"/>
                <a:gd name="T98" fmla="*/ 2147483647 w 1166"/>
                <a:gd name="T99" fmla="*/ 2147483647 h 798"/>
                <a:gd name="T100" fmla="*/ 2147483647 w 1166"/>
                <a:gd name="T101" fmla="*/ 2147483647 h 798"/>
                <a:gd name="T102" fmla="*/ 2147483647 w 1166"/>
                <a:gd name="T103" fmla="*/ 2147483647 h 798"/>
                <a:gd name="T104" fmla="*/ 2147483647 w 1166"/>
                <a:gd name="T105" fmla="*/ 2147483647 h 798"/>
                <a:gd name="T106" fmla="*/ 2147483647 w 1166"/>
                <a:gd name="T107" fmla="*/ 2147483647 h 798"/>
                <a:gd name="T108" fmla="*/ 2147483647 w 1166"/>
                <a:gd name="T109" fmla="*/ 2147483647 h 798"/>
                <a:gd name="T110" fmla="*/ 2147483647 w 1166"/>
                <a:gd name="T111" fmla="*/ 2147483647 h 798"/>
                <a:gd name="T112" fmla="*/ 2147483647 w 1166"/>
                <a:gd name="T113" fmla="*/ 2147483647 h 798"/>
                <a:gd name="T114" fmla="*/ 2147483647 w 1166"/>
                <a:gd name="T115" fmla="*/ 2147483647 h 798"/>
                <a:gd name="T116" fmla="*/ 2147483647 w 1166"/>
                <a:gd name="T117" fmla="*/ 2147483647 h 798"/>
                <a:gd name="T118" fmla="*/ 2147483647 w 1166"/>
                <a:gd name="T119" fmla="*/ 2147483647 h 798"/>
                <a:gd name="T120" fmla="*/ 2147483647 w 1166"/>
                <a:gd name="T121" fmla="*/ 2147483647 h 798"/>
                <a:gd name="T122" fmla="*/ 2147483647 w 1166"/>
                <a:gd name="T123" fmla="*/ 2147483647 h 798"/>
                <a:gd name="T124" fmla="*/ 2147483647 w 1166"/>
                <a:gd name="T125" fmla="*/ 2147483647 h 7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66"/>
                <a:gd name="T190" fmla="*/ 0 h 798"/>
                <a:gd name="T191" fmla="*/ 1166 w 1166"/>
                <a:gd name="T192" fmla="*/ 798 h 7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66" h="798">
                  <a:moveTo>
                    <a:pt x="2" y="582"/>
                  </a:moveTo>
                  <a:lnTo>
                    <a:pt x="10" y="580"/>
                  </a:lnTo>
                  <a:lnTo>
                    <a:pt x="16" y="578"/>
                  </a:lnTo>
                  <a:lnTo>
                    <a:pt x="22" y="578"/>
                  </a:lnTo>
                  <a:lnTo>
                    <a:pt x="28" y="580"/>
                  </a:lnTo>
                  <a:lnTo>
                    <a:pt x="34" y="580"/>
                  </a:lnTo>
                  <a:lnTo>
                    <a:pt x="40" y="578"/>
                  </a:lnTo>
                  <a:lnTo>
                    <a:pt x="36" y="578"/>
                  </a:lnTo>
                  <a:lnTo>
                    <a:pt x="28" y="580"/>
                  </a:lnTo>
                  <a:lnTo>
                    <a:pt x="22" y="578"/>
                  </a:lnTo>
                  <a:lnTo>
                    <a:pt x="16" y="576"/>
                  </a:lnTo>
                  <a:lnTo>
                    <a:pt x="22" y="574"/>
                  </a:lnTo>
                  <a:lnTo>
                    <a:pt x="16" y="572"/>
                  </a:lnTo>
                  <a:lnTo>
                    <a:pt x="22" y="570"/>
                  </a:lnTo>
                  <a:lnTo>
                    <a:pt x="16" y="570"/>
                  </a:lnTo>
                  <a:lnTo>
                    <a:pt x="10" y="570"/>
                  </a:lnTo>
                  <a:lnTo>
                    <a:pt x="4" y="570"/>
                  </a:lnTo>
                  <a:lnTo>
                    <a:pt x="10" y="570"/>
                  </a:lnTo>
                  <a:lnTo>
                    <a:pt x="16" y="570"/>
                  </a:lnTo>
                  <a:lnTo>
                    <a:pt x="18" y="568"/>
                  </a:lnTo>
                  <a:lnTo>
                    <a:pt x="22" y="568"/>
                  </a:lnTo>
                  <a:lnTo>
                    <a:pt x="16" y="568"/>
                  </a:lnTo>
                  <a:lnTo>
                    <a:pt x="10" y="568"/>
                  </a:lnTo>
                  <a:lnTo>
                    <a:pt x="4" y="568"/>
                  </a:lnTo>
                  <a:lnTo>
                    <a:pt x="2" y="562"/>
                  </a:lnTo>
                  <a:lnTo>
                    <a:pt x="8" y="562"/>
                  </a:lnTo>
                  <a:lnTo>
                    <a:pt x="14" y="560"/>
                  </a:lnTo>
                  <a:lnTo>
                    <a:pt x="8" y="560"/>
                  </a:lnTo>
                  <a:lnTo>
                    <a:pt x="14" y="556"/>
                  </a:lnTo>
                  <a:lnTo>
                    <a:pt x="16" y="556"/>
                  </a:lnTo>
                  <a:lnTo>
                    <a:pt x="20" y="552"/>
                  </a:lnTo>
                  <a:lnTo>
                    <a:pt x="26" y="550"/>
                  </a:lnTo>
                  <a:lnTo>
                    <a:pt x="32" y="552"/>
                  </a:lnTo>
                  <a:lnTo>
                    <a:pt x="40" y="556"/>
                  </a:lnTo>
                  <a:lnTo>
                    <a:pt x="46" y="554"/>
                  </a:lnTo>
                  <a:lnTo>
                    <a:pt x="52" y="556"/>
                  </a:lnTo>
                  <a:lnTo>
                    <a:pt x="48" y="562"/>
                  </a:lnTo>
                  <a:lnTo>
                    <a:pt x="52" y="556"/>
                  </a:lnTo>
                  <a:lnTo>
                    <a:pt x="58" y="558"/>
                  </a:lnTo>
                  <a:lnTo>
                    <a:pt x="64" y="554"/>
                  </a:lnTo>
                  <a:lnTo>
                    <a:pt x="70" y="556"/>
                  </a:lnTo>
                  <a:lnTo>
                    <a:pt x="78" y="556"/>
                  </a:lnTo>
                  <a:lnTo>
                    <a:pt x="82" y="552"/>
                  </a:lnTo>
                  <a:lnTo>
                    <a:pt x="88" y="554"/>
                  </a:lnTo>
                  <a:lnTo>
                    <a:pt x="82" y="552"/>
                  </a:lnTo>
                  <a:lnTo>
                    <a:pt x="76" y="556"/>
                  </a:lnTo>
                  <a:lnTo>
                    <a:pt x="70" y="554"/>
                  </a:lnTo>
                  <a:lnTo>
                    <a:pt x="64" y="554"/>
                  </a:lnTo>
                  <a:lnTo>
                    <a:pt x="58" y="554"/>
                  </a:lnTo>
                  <a:lnTo>
                    <a:pt x="52" y="552"/>
                  </a:lnTo>
                  <a:lnTo>
                    <a:pt x="46" y="552"/>
                  </a:lnTo>
                  <a:lnTo>
                    <a:pt x="40" y="552"/>
                  </a:lnTo>
                  <a:lnTo>
                    <a:pt x="46" y="552"/>
                  </a:lnTo>
                  <a:lnTo>
                    <a:pt x="40" y="550"/>
                  </a:lnTo>
                  <a:lnTo>
                    <a:pt x="32" y="550"/>
                  </a:lnTo>
                  <a:lnTo>
                    <a:pt x="26" y="550"/>
                  </a:lnTo>
                  <a:lnTo>
                    <a:pt x="22" y="550"/>
                  </a:lnTo>
                  <a:lnTo>
                    <a:pt x="14" y="550"/>
                  </a:lnTo>
                  <a:lnTo>
                    <a:pt x="12" y="548"/>
                  </a:lnTo>
                  <a:lnTo>
                    <a:pt x="18" y="548"/>
                  </a:lnTo>
                  <a:lnTo>
                    <a:pt x="24" y="544"/>
                  </a:lnTo>
                  <a:lnTo>
                    <a:pt x="18" y="540"/>
                  </a:lnTo>
                  <a:lnTo>
                    <a:pt x="12" y="538"/>
                  </a:lnTo>
                  <a:lnTo>
                    <a:pt x="12" y="532"/>
                  </a:lnTo>
                  <a:lnTo>
                    <a:pt x="18" y="532"/>
                  </a:lnTo>
                  <a:lnTo>
                    <a:pt x="22" y="538"/>
                  </a:lnTo>
                  <a:lnTo>
                    <a:pt x="28" y="542"/>
                  </a:lnTo>
                  <a:lnTo>
                    <a:pt x="28" y="544"/>
                  </a:lnTo>
                  <a:lnTo>
                    <a:pt x="34" y="540"/>
                  </a:lnTo>
                  <a:lnTo>
                    <a:pt x="26" y="538"/>
                  </a:lnTo>
                  <a:lnTo>
                    <a:pt x="28" y="532"/>
                  </a:lnTo>
                  <a:lnTo>
                    <a:pt x="34" y="534"/>
                  </a:lnTo>
                  <a:lnTo>
                    <a:pt x="40" y="540"/>
                  </a:lnTo>
                  <a:lnTo>
                    <a:pt x="42" y="534"/>
                  </a:lnTo>
                  <a:lnTo>
                    <a:pt x="48" y="532"/>
                  </a:lnTo>
                  <a:lnTo>
                    <a:pt x="50" y="538"/>
                  </a:lnTo>
                  <a:lnTo>
                    <a:pt x="56" y="538"/>
                  </a:lnTo>
                  <a:lnTo>
                    <a:pt x="62" y="540"/>
                  </a:lnTo>
                  <a:lnTo>
                    <a:pt x="68" y="540"/>
                  </a:lnTo>
                  <a:lnTo>
                    <a:pt x="62" y="538"/>
                  </a:lnTo>
                  <a:lnTo>
                    <a:pt x="56" y="536"/>
                  </a:lnTo>
                  <a:lnTo>
                    <a:pt x="52" y="530"/>
                  </a:lnTo>
                  <a:lnTo>
                    <a:pt x="58" y="526"/>
                  </a:lnTo>
                  <a:lnTo>
                    <a:pt x="64" y="522"/>
                  </a:lnTo>
                  <a:lnTo>
                    <a:pt x="70" y="522"/>
                  </a:lnTo>
                  <a:lnTo>
                    <a:pt x="74" y="528"/>
                  </a:lnTo>
                  <a:lnTo>
                    <a:pt x="80" y="534"/>
                  </a:lnTo>
                  <a:lnTo>
                    <a:pt x="78" y="530"/>
                  </a:lnTo>
                  <a:lnTo>
                    <a:pt x="74" y="526"/>
                  </a:lnTo>
                  <a:lnTo>
                    <a:pt x="76" y="520"/>
                  </a:lnTo>
                  <a:lnTo>
                    <a:pt x="82" y="518"/>
                  </a:lnTo>
                  <a:lnTo>
                    <a:pt x="90" y="518"/>
                  </a:lnTo>
                  <a:lnTo>
                    <a:pt x="96" y="522"/>
                  </a:lnTo>
                  <a:lnTo>
                    <a:pt x="102" y="526"/>
                  </a:lnTo>
                  <a:lnTo>
                    <a:pt x="102" y="532"/>
                  </a:lnTo>
                  <a:lnTo>
                    <a:pt x="96" y="540"/>
                  </a:lnTo>
                  <a:lnTo>
                    <a:pt x="102" y="540"/>
                  </a:lnTo>
                  <a:lnTo>
                    <a:pt x="108" y="536"/>
                  </a:lnTo>
                  <a:lnTo>
                    <a:pt x="102" y="534"/>
                  </a:lnTo>
                  <a:lnTo>
                    <a:pt x="106" y="528"/>
                  </a:lnTo>
                  <a:lnTo>
                    <a:pt x="112" y="528"/>
                  </a:lnTo>
                  <a:lnTo>
                    <a:pt x="118" y="526"/>
                  </a:lnTo>
                  <a:lnTo>
                    <a:pt x="112" y="526"/>
                  </a:lnTo>
                  <a:lnTo>
                    <a:pt x="106" y="526"/>
                  </a:lnTo>
                  <a:lnTo>
                    <a:pt x="104" y="526"/>
                  </a:lnTo>
                  <a:lnTo>
                    <a:pt x="98" y="522"/>
                  </a:lnTo>
                  <a:lnTo>
                    <a:pt x="94" y="516"/>
                  </a:lnTo>
                  <a:lnTo>
                    <a:pt x="88" y="516"/>
                  </a:lnTo>
                  <a:lnTo>
                    <a:pt x="82" y="516"/>
                  </a:lnTo>
                  <a:lnTo>
                    <a:pt x="76" y="518"/>
                  </a:lnTo>
                  <a:lnTo>
                    <a:pt x="70" y="516"/>
                  </a:lnTo>
                  <a:lnTo>
                    <a:pt x="66" y="516"/>
                  </a:lnTo>
                  <a:lnTo>
                    <a:pt x="68" y="516"/>
                  </a:lnTo>
                  <a:lnTo>
                    <a:pt x="74" y="514"/>
                  </a:lnTo>
                  <a:lnTo>
                    <a:pt x="80" y="514"/>
                  </a:lnTo>
                  <a:lnTo>
                    <a:pt x="86" y="514"/>
                  </a:lnTo>
                  <a:lnTo>
                    <a:pt x="82" y="512"/>
                  </a:lnTo>
                  <a:lnTo>
                    <a:pt x="74" y="512"/>
                  </a:lnTo>
                  <a:lnTo>
                    <a:pt x="68" y="508"/>
                  </a:lnTo>
                  <a:lnTo>
                    <a:pt x="74" y="506"/>
                  </a:lnTo>
                  <a:lnTo>
                    <a:pt x="80" y="506"/>
                  </a:lnTo>
                  <a:lnTo>
                    <a:pt x="86" y="506"/>
                  </a:lnTo>
                  <a:lnTo>
                    <a:pt x="92" y="504"/>
                  </a:lnTo>
                  <a:lnTo>
                    <a:pt x="98" y="504"/>
                  </a:lnTo>
                  <a:lnTo>
                    <a:pt x="104" y="506"/>
                  </a:lnTo>
                  <a:lnTo>
                    <a:pt x="110" y="506"/>
                  </a:lnTo>
                  <a:lnTo>
                    <a:pt x="116" y="508"/>
                  </a:lnTo>
                  <a:lnTo>
                    <a:pt x="122" y="512"/>
                  </a:lnTo>
                  <a:lnTo>
                    <a:pt x="128" y="512"/>
                  </a:lnTo>
                  <a:lnTo>
                    <a:pt x="134" y="510"/>
                  </a:lnTo>
                  <a:lnTo>
                    <a:pt x="136" y="508"/>
                  </a:lnTo>
                  <a:lnTo>
                    <a:pt x="130" y="510"/>
                  </a:lnTo>
                  <a:lnTo>
                    <a:pt x="124" y="510"/>
                  </a:lnTo>
                  <a:lnTo>
                    <a:pt x="126" y="504"/>
                  </a:lnTo>
                  <a:lnTo>
                    <a:pt x="132" y="502"/>
                  </a:lnTo>
                  <a:lnTo>
                    <a:pt x="138" y="500"/>
                  </a:lnTo>
                  <a:lnTo>
                    <a:pt x="144" y="500"/>
                  </a:lnTo>
                  <a:lnTo>
                    <a:pt x="150" y="500"/>
                  </a:lnTo>
                  <a:lnTo>
                    <a:pt x="156" y="502"/>
                  </a:lnTo>
                  <a:lnTo>
                    <a:pt x="150" y="498"/>
                  </a:lnTo>
                  <a:lnTo>
                    <a:pt x="144" y="498"/>
                  </a:lnTo>
                  <a:lnTo>
                    <a:pt x="138" y="500"/>
                  </a:lnTo>
                  <a:lnTo>
                    <a:pt x="132" y="502"/>
                  </a:lnTo>
                  <a:lnTo>
                    <a:pt x="126" y="502"/>
                  </a:lnTo>
                  <a:lnTo>
                    <a:pt x="120" y="500"/>
                  </a:lnTo>
                  <a:lnTo>
                    <a:pt x="126" y="498"/>
                  </a:lnTo>
                  <a:lnTo>
                    <a:pt x="132" y="496"/>
                  </a:lnTo>
                  <a:lnTo>
                    <a:pt x="126" y="496"/>
                  </a:lnTo>
                  <a:lnTo>
                    <a:pt x="120" y="498"/>
                  </a:lnTo>
                  <a:lnTo>
                    <a:pt x="114" y="498"/>
                  </a:lnTo>
                  <a:lnTo>
                    <a:pt x="106" y="500"/>
                  </a:lnTo>
                  <a:lnTo>
                    <a:pt x="100" y="496"/>
                  </a:lnTo>
                  <a:lnTo>
                    <a:pt x="106" y="494"/>
                  </a:lnTo>
                  <a:lnTo>
                    <a:pt x="112" y="494"/>
                  </a:lnTo>
                  <a:lnTo>
                    <a:pt x="106" y="492"/>
                  </a:lnTo>
                  <a:lnTo>
                    <a:pt x="100" y="488"/>
                  </a:lnTo>
                  <a:lnTo>
                    <a:pt x="106" y="484"/>
                  </a:lnTo>
                  <a:lnTo>
                    <a:pt x="112" y="482"/>
                  </a:lnTo>
                  <a:lnTo>
                    <a:pt x="118" y="484"/>
                  </a:lnTo>
                  <a:lnTo>
                    <a:pt x="124" y="488"/>
                  </a:lnTo>
                  <a:lnTo>
                    <a:pt x="130" y="486"/>
                  </a:lnTo>
                  <a:lnTo>
                    <a:pt x="136" y="484"/>
                  </a:lnTo>
                  <a:lnTo>
                    <a:pt x="142" y="486"/>
                  </a:lnTo>
                  <a:lnTo>
                    <a:pt x="148" y="484"/>
                  </a:lnTo>
                  <a:lnTo>
                    <a:pt x="154" y="488"/>
                  </a:lnTo>
                  <a:lnTo>
                    <a:pt x="156" y="494"/>
                  </a:lnTo>
                  <a:lnTo>
                    <a:pt x="162" y="496"/>
                  </a:lnTo>
                  <a:lnTo>
                    <a:pt x="170" y="498"/>
                  </a:lnTo>
                  <a:lnTo>
                    <a:pt x="174" y="502"/>
                  </a:lnTo>
                  <a:lnTo>
                    <a:pt x="172" y="498"/>
                  </a:lnTo>
                  <a:lnTo>
                    <a:pt x="166" y="496"/>
                  </a:lnTo>
                  <a:lnTo>
                    <a:pt x="160" y="494"/>
                  </a:lnTo>
                  <a:lnTo>
                    <a:pt x="158" y="488"/>
                  </a:lnTo>
                  <a:lnTo>
                    <a:pt x="152" y="484"/>
                  </a:lnTo>
                  <a:lnTo>
                    <a:pt x="148" y="478"/>
                  </a:lnTo>
                  <a:lnTo>
                    <a:pt x="154" y="476"/>
                  </a:lnTo>
                  <a:lnTo>
                    <a:pt x="158" y="482"/>
                  </a:lnTo>
                  <a:lnTo>
                    <a:pt x="166" y="484"/>
                  </a:lnTo>
                  <a:lnTo>
                    <a:pt x="166" y="490"/>
                  </a:lnTo>
                  <a:lnTo>
                    <a:pt x="172" y="490"/>
                  </a:lnTo>
                  <a:lnTo>
                    <a:pt x="178" y="490"/>
                  </a:lnTo>
                  <a:lnTo>
                    <a:pt x="172" y="488"/>
                  </a:lnTo>
                  <a:lnTo>
                    <a:pt x="172" y="486"/>
                  </a:lnTo>
                  <a:lnTo>
                    <a:pt x="180" y="484"/>
                  </a:lnTo>
                  <a:lnTo>
                    <a:pt x="172" y="482"/>
                  </a:lnTo>
                  <a:lnTo>
                    <a:pt x="166" y="482"/>
                  </a:lnTo>
                  <a:lnTo>
                    <a:pt x="172" y="482"/>
                  </a:lnTo>
                  <a:lnTo>
                    <a:pt x="166" y="482"/>
                  </a:lnTo>
                  <a:lnTo>
                    <a:pt x="160" y="480"/>
                  </a:lnTo>
                  <a:lnTo>
                    <a:pt x="160" y="474"/>
                  </a:lnTo>
                  <a:lnTo>
                    <a:pt x="166" y="474"/>
                  </a:lnTo>
                  <a:lnTo>
                    <a:pt x="174" y="474"/>
                  </a:lnTo>
                  <a:lnTo>
                    <a:pt x="180" y="472"/>
                  </a:lnTo>
                  <a:lnTo>
                    <a:pt x="186" y="472"/>
                  </a:lnTo>
                  <a:lnTo>
                    <a:pt x="188" y="472"/>
                  </a:lnTo>
                  <a:lnTo>
                    <a:pt x="194" y="470"/>
                  </a:lnTo>
                  <a:lnTo>
                    <a:pt x="188" y="470"/>
                  </a:lnTo>
                  <a:lnTo>
                    <a:pt x="182" y="470"/>
                  </a:lnTo>
                  <a:lnTo>
                    <a:pt x="176" y="468"/>
                  </a:lnTo>
                  <a:lnTo>
                    <a:pt x="182" y="462"/>
                  </a:lnTo>
                  <a:lnTo>
                    <a:pt x="186" y="458"/>
                  </a:lnTo>
                  <a:lnTo>
                    <a:pt x="192" y="458"/>
                  </a:lnTo>
                  <a:lnTo>
                    <a:pt x="198" y="454"/>
                  </a:lnTo>
                  <a:lnTo>
                    <a:pt x="204" y="458"/>
                  </a:lnTo>
                  <a:lnTo>
                    <a:pt x="200" y="464"/>
                  </a:lnTo>
                  <a:lnTo>
                    <a:pt x="206" y="462"/>
                  </a:lnTo>
                  <a:lnTo>
                    <a:pt x="214" y="460"/>
                  </a:lnTo>
                  <a:lnTo>
                    <a:pt x="218" y="460"/>
                  </a:lnTo>
                  <a:lnTo>
                    <a:pt x="212" y="460"/>
                  </a:lnTo>
                  <a:lnTo>
                    <a:pt x="206" y="458"/>
                  </a:lnTo>
                  <a:lnTo>
                    <a:pt x="212" y="456"/>
                  </a:lnTo>
                  <a:lnTo>
                    <a:pt x="218" y="454"/>
                  </a:lnTo>
                  <a:lnTo>
                    <a:pt x="212" y="454"/>
                  </a:lnTo>
                  <a:lnTo>
                    <a:pt x="206" y="454"/>
                  </a:lnTo>
                  <a:lnTo>
                    <a:pt x="212" y="450"/>
                  </a:lnTo>
                  <a:lnTo>
                    <a:pt x="218" y="450"/>
                  </a:lnTo>
                  <a:lnTo>
                    <a:pt x="224" y="450"/>
                  </a:lnTo>
                  <a:lnTo>
                    <a:pt x="230" y="444"/>
                  </a:lnTo>
                  <a:lnTo>
                    <a:pt x="236" y="450"/>
                  </a:lnTo>
                  <a:lnTo>
                    <a:pt x="242" y="456"/>
                  </a:lnTo>
                  <a:lnTo>
                    <a:pt x="242" y="458"/>
                  </a:lnTo>
                  <a:lnTo>
                    <a:pt x="236" y="464"/>
                  </a:lnTo>
                  <a:lnTo>
                    <a:pt x="242" y="462"/>
                  </a:lnTo>
                  <a:lnTo>
                    <a:pt x="248" y="462"/>
                  </a:lnTo>
                  <a:lnTo>
                    <a:pt x="254" y="462"/>
                  </a:lnTo>
                  <a:lnTo>
                    <a:pt x="248" y="460"/>
                  </a:lnTo>
                  <a:lnTo>
                    <a:pt x="254" y="454"/>
                  </a:lnTo>
                  <a:lnTo>
                    <a:pt x="260" y="456"/>
                  </a:lnTo>
                  <a:lnTo>
                    <a:pt x="262" y="456"/>
                  </a:lnTo>
                  <a:lnTo>
                    <a:pt x="268" y="456"/>
                  </a:lnTo>
                  <a:lnTo>
                    <a:pt x="274" y="456"/>
                  </a:lnTo>
                  <a:lnTo>
                    <a:pt x="280" y="456"/>
                  </a:lnTo>
                  <a:lnTo>
                    <a:pt x="284" y="456"/>
                  </a:lnTo>
                  <a:lnTo>
                    <a:pt x="282" y="450"/>
                  </a:lnTo>
                  <a:lnTo>
                    <a:pt x="286" y="448"/>
                  </a:lnTo>
                  <a:lnTo>
                    <a:pt x="282" y="448"/>
                  </a:lnTo>
                  <a:lnTo>
                    <a:pt x="274" y="450"/>
                  </a:lnTo>
                  <a:lnTo>
                    <a:pt x="284" y="444"/>
                  </a:lnTo>
                  <a:lnTo>
                    <a:pt x="290" y="440"/>
                  </a:lnTo>
                  <a:lnTo>
                    <a:pt x="294" y="440"/>
                  </a:lnTo>
                  <a:lnTo>
                    <a:pt x="302" y="436"/>
                  </a:lnTo>
                  <a:lnTo>
                    <a:pt x="306" y="436"/>
                  </a:lnTo>
                  <a:lnTo>
                    <a:pt x="304" y="430"/>
                  </a:lnTo>
                  <a:lnTo>
                    <a:pt x="298" y="430"/>
                  </a:lnTo>
                  <a:lnTo>
                    <a:pt x="302" y="426"/>
                  </a:lnTo>
                  <a:lnTo>
                    <a:pt x="308" y="422"/>
                  </a:lnTo>
                  <a:lnTo>
                    <a:pt x="312" y="422"/>
                  </a:lnTo>
                  <a:lnTo>
                    <a:pt x="314" y="420"/>
                  </a:lnTo>
                  <a:lnTo>
                    <a:pt x="308" y="420"/>
                  </a:lnTo>
                  <a:lnTo>
                    <a:pt x="302" y="420"/>
                  </a:lnTo>
                  <a:lnTo>
                    <a:pt x="308" y="416"/>
                  </a:lnTo>
                  <a:lnTo>
                    <a:pt x="302" y="416"/>
                  </a:lnTo>
                  <a:lnTo>
                    <a:pt x="296" y="422"/>
                  </a:lnTo>
                  <a:lnTo>
                    <a:pt x="290" y="426"/>
                  </a:lnTo>
                  <a:lnTo>
                    <a:pt x="284" y="430"/>
                  </a:lnTo>
                  <a:lnTo>
                    <a:pt x="276" y="430"/>
                  </a:lnTo>
                  <a:lnTo>
                    <a:pt x="282" y="430"/>
                  </a:lnTo>
                  <a:lnTo>
                    <a:pt x="290" y="428"/>
                  </a:lnTo>
                  <a:lnTo>
                    <a:pt x="292" y="434"/>
                  </a:lnTo>
                  <a:lnTo>
                    <a:pt x="286" y="438"/>
                  </a:lnTo>
                  <a:lnTo>
                    <a:pt x="280" y="440"/>
                  </a:lnTo>
                  <a:lnTo>
                    <a:pt x="272" y="442"/>
                  </a:lnTo>
                  <a:lnTo>
                    <a:pt x="266" y="446"/>
                  </a:lnTo>
                  <a:lnTo>
                    <a:pt x="260" y="448"/>
                  </a:lnTo>
                  <a:lnTo>
                    <a:pt x="254" y="450"/>
                  </a:lnTo>
                  <a:lnTo>
                    <a:pt x="252" y="450"/>
                  </a:lnTo>
                  <a:lnTo>
                    <a:pt x="248" y="452"/>
                  </a:lnTo>
                  <a:lnTo>
                    <a:pt x="242" y="452"/>
                  </a:lnTo>
                  <a:lnTo>
                    <a:pt x="240" y="446"/>
                  </a:lnTo>
                  <a:lnTo>
                    <a:pt x="236" y="440"/>
                  </a:lnTo>
                  <a:lnTo>
                    <a:pt x="242" y="440"/>
                  </a:lnTo>
                  <a:lnTo>
                    <a:pt x="242" y="438"/>
                  </a:lnTo>
                  <a:lnTo>
                    <a:pt x="248" y="434"/>
                  </a:lnTo>
                  <a:lnTo>
                    <a:pt x="242" y="436"/>
                  </a:lnTo>
                  <a:lnTo>
                    <a:pt x="236" y="438"/>
                  </a:lnTo>
                  <a:lnTo>
                    <a:pt x="230" y="440"/>
                  </a:lnTo>
                  <a:lnTo>
                    <a:pt x="224" y="442"/>
                  </a:lnTo>
                  <a:lnTo>
                    <a:pt x="230" y="436"/>
                  </a:lnTo>
                  <a:lnTo>
                    <a:pt x="224" y="436"/>
                  </a:lnTo>
                  <a:lnTo>
                    <a:pt x="230" y="432"/>
                  </a:lnTo>
                  <a:lnTo>
                    <a:pt x="236" y="430"/>
                  </a:lnTo>
                  <a:lnTo>
                    <a:pt x="242" y="428"/>
                  </a:lnTo>
                  <a:lnTo>
                    <a:pt x="250" y="426"/>
                  </a:lnTo>
                  <a:lnTo>
                    <a:pt x="256" y="426"/>
                  </a:lnTo>
                  <a:lnTo>
                    <a:pt x="248" y="424"/>
                  </a:lnTo>
                  <a:lnTo>
                    <a:pt x="242" y="428"/>
                  </a:lnTo>
                  <a:lnTo>
                    <a:pt x="242" y="426"/>
                  </a:lnTo>
                  <a:lnTo>
                    <a:pt x="248" y="422"/>
                  </a:lnTo>
                  <a:lnTo>
                    <a:pt x="242" y="424"/>
                  </a:lnTo>
                  <a:lnTo>
                    <a:pt x="244" y="420"/>
                  </a:lnTo>
                  <a:lnTo>
                    <a:pt x="248" y="416"/>
                  </a:lnTo>
                  <a:lnTo>
                    <a:pt x="256" y="416"/>
                  </a:lnTo>
                  <a:lnTo>
                    <a:pt x="256" y="410"/>
                  </a:lnTo>
                  <a:lnTo>
                    <a:pt x="262" y="410"/>
                  </a:lnTo>
                  <a:lnTo>
                    <a:pt x="260" y="404"/>
                  </a:lnTo>
                  <a:lnTo>
                    <a:pt x="266" y="400"/>
                  </a:lnTo>
                  <a:lnTo>
                    <a:pt x="272" y="398"/>
                  </a:lnTo>
                  <a:lnTo>
                    <a:pt x="280" y="396"/>
                  </a:lnTo>
                  <a:lnTo>
                    <a:pt x="282" y="390"/>
                  </a:lnTo>
                  <a:lnTo>
                    <a:pt x="288" y="390"/>
                  </a:lnTo>
                  <a:lnTo>
                    <a:pt x="288" y="384"/>
                  </a:lnTo>
                  <a:lnTo>
                    <a:pt x="294" y="386"/>
                  </a:lnTo>
                  <a:lnTo>
                    <a:pt x="298" y="392"/>
                  </a:lnTo>
                  <a:lnTo>
                    <a:pt x="304" y="394"/>
                  </a:lnTo>
                  <a:lnTo>
                    <a:pt x="302" y="400"/>
                  </a:lnTo>
                  <a:lnTo>
                    <a:pt x="308" y="396"/>
                  </a:lnTo>
                  <a:lnTo>
                    <a:pt x="314" y="394"/>
                  </a:lnTo>
                  <a:lnTo>
                    <a:pt x="316" y="394"/>
                  </a:lnTo>
                  <a:lnTo>
                    <a:pt x="322" y="392"/>
                  </a:lnTo>
                  <a:lnTo>
                    <a:pt x="316" y="392"/>
                  </a:lnTo>
                  <a:lnTo>
                    <a:pt x="316" y="386"/>
                  </a:lnTo>
                  <a:lnTo>
                    <a:pt x="322" y="386"/>
                  </a:lnTo>
                  <a:lnTo>
                    <a:pt x="316" y="384"/>
                  </a:lnTo>
                  <a:lnTo>
                    <a:pt x="310" y="382"/>
                  </a:lnTo>
                  <a:lnTo>
                    <a:pt x="312" y="378"/>
                  </a:lnTo>
                  <a:lnTo>
                    <a:pt x="318" y="376"/>
                  </a:lnTo>
                  <a:lnTo>
                    <a:pt x="324" y="374"/>
                  </a:lnTo>
                  <a:lnTo>
                    <a:pt x="330" y="372"/>
                  </a:lnTo>
                  <a:lnTo>
                    <a:pt x="324" y="372"/>
                  </a:lnTo>
                  <a:lnTo>
                    <a:pt x="322" y="372"/>
                  </a:lnTo>
                  <a:lnTo>
                    <a:pt x="320" y="370"/>
                  </a:lnTo>
                  <a:lnTo>
                    <a:pt x="326" y="366"/>
                  </a:lnTo>
                  <a:lnTo>
                    <a:pt x="332" y="364"/>
                  </a:lnTo>
                  <a:lnTo>
                    <a:pt x="334" y="364"/>
                  </a:lnTo>
                  <a:lnTo>
                    <a:pt x="340" y="364"/>
                  </a:lnTo>
                  <a:lnTo>
                    <a:pt x="344" y="362"/>
                  </a:lnTo>
                  <a:lnTo>
                    <a:pt x="346" y="364"/>
                  </a:lnTo>
                  <a:lnTo>
                    <a:pt x="352" y="364"/>
                  </a:lnTo>
                  <a:lnTo>
                    <a:pt x="358" y="366"/>
                  </a:lnTo>
                  <a:lnTo>
                    <a:pt x="352" y="364"/>
                  </a:lnTo>
                  <a:lnTo>
                    <a:pt x="346" y="362"/>
                  </a:lnTo>
                  <a:lnTo>
                    <a:pt x="344" y="362"/>
                  </a:lnTo>
                  <a:lnTo>
                    <a:pt x="338" y="362"/>
                  </a:lnTo>
                  <a:lnTo>
                    <a:pt x="332" y="364"/>
                  </a:lnTo>
                  <a:lnTo>
                    <a:pt x="326" y="366"/>
                  </a:lnTo>
                  <a:lnTo>
                    <a:pt x="320" y="368"/>
                  </a:lnTo>
                  <a:lnTo>
                    <a:pt x="314" y="372"/>
                  </a:lnTo>
                  <a:lnTo>
                    <a:pt x="308" y="374"/>
                  </a:lnTo>
                  <a:lnTo>
                    <a:pt x="302" y="374"/>
                  </a:lnTo>
                  <a:lnTo>
                    <a:pt x="308" y="372"/>
                  </a:lnTo>
                  <a:lnTo>
                    <a:pt x="302" y="370"/>
                  </a:lnTo>
                  <a:lnTo>
                    <a:pt x="308" y="368"/>
                  </a:lnTo>
                  <a:lnTo>
                    <a:pt x="314" y="368"/>
                  </a:lnTo>
                  <a:lnTo>
                    <a:pt x="320" y="366"/>
                  </a:lnTo>
                  <a:lnTo>
                    <a:pt x="314" y="368"/>
                  </a:lnTo>
                  <a:lnTo>
                    <a:pt x="306" y="366"/>
                  </a:lnTo>
                  <a:lnTo>
                    <a:pt x="312" y="364"/>
                  </a:lnTo>
                  <a:lnTo>
                    <a:pt x="320" y="364"/>
                  </a:lnTo>
                  <a:lnTo>
                    <a:pt x="314" y="364"/>
                  </a:lnTo>
                  <a:lnTo>
                    <a:pt x="320" y="362"/>
                  </a:lnTo>
                  <a:lnTo>
                    <a:pt x="326" y="360"/>
                  </a:lnTo>
                  <a:lnTo>
                    <a:pt x="320" y="360"/>
                  </a:lnTo>
                  <a:lnTo>
                    <a:pt x="324" y="360"/>
                  </a:lnTo>
                  <a:lnTo>
                    <a:pt x="328" y="358"/>
                  </a:lnTo>
                  <a:lnTo>
                    <a:pt x="336" y="356"/>
                  </a:lnTo>
                  <a:lnTo>
                    <a:pt x="334" y="356"/>
                  </a:lnTo>
                  <a:lnTo>
                    <a:pt x="328" y="356"/>
                  </a:lnTo>
                  <a:lnTo>
                    <a:pt x="334" y="352"/>
                  </a:lnTo>
                  <a:lnTo>
                    <a:pt x="340" y="354"/>
                  </a:lnTo>
                  <a:lnTo>
                    <a:pt x="342" y="348"/>
                  </a:lnTo>
                  <a:lnTo>
                    <a:pt x="348" y="348"/>
                  </a:lnTo>
                  <a:lnTo>
                    <a:pt x="352" y="354"/>
                  </a:lnTo>
                  <a:lnTo>
                    <a:pt x="346" y="356"/>
                  </a:lnTo>
                  <a:lnTo>
                    <a:pt x="342" y="356"/>
                  </a:lnTo>
                  <a:lnTo>
                    <a:pt x="336" y="356"/>
                  </a:lnTo>
                  <a:lnTo>
                    <a:pt x="342" y="358"/>
                  </a:lnTo>
                  <a:lnTo>
                    <a:pt x="348" y="356"/>
                  </a:lnTo>
                  <a:lnTo>
                    <a:pt x="354" y="354"/>
                  </a:lnTo>
                  <a:lnTo>
                    <a:pt x="360" y="354"/>
                  </a:lnTo>
                  <a:lnTo>
                    <a:pt x="366" y="350"/>
                  </a:lnTo>
                  <a:lnTo>
                    <a:pt x="372" y="348"/>
                  </a:lnTo>
                  <a:lnTo>
                    <a:pt x="378" y="342"/>
                  </a:lnTo>
                  <a:lnTo>
                    <a:pt x="372" y="346"/>
                  </a:lnTo>
                  <a:lnTo>
                    <a:pt x="366" y="348"/>
                  </a:lnTo>
                  <a:lnTo>
                    <a:pt x="360" y="352"/>
                  </a:lnTo>
                  <a:lnTo>
                    <a:pt x="354" y="352"/>
                  </a:lnTo>
                  <a:lnTo>
                    <a:pt x="354" y="350"/>
                  </a:lnTo>
                  <a:lnTo>
                    <a:pt x="360" y="348"/>
                  </a:lnTo>
                  <a:lnTo>
                    <a:pt x="354" y="346"/>
                  </a:lnTo>
                  <a:lnTo>
                    <a:pt x="358" y="340"/>
                  </a:lnTo>
                  <a:lnTo>
                    <a:pt x="352" y="340"/>
                  </a:lnTo>
                  <a:lnTo>
                    <a:pt x="344" y="346"/>
                  </a:lnTo>
                  <a:lnTo>
                    <a:pt x="342" y="340"/>
                  </a:lnTo>
                  <a:lnTo>
                    <a:pt x="348" y="334"/>
                  </a:lnTo>
                  <a:lnTo>
                    <a:pt x="348" y="328"/>
                  </a:lnTo>
                  <a:lnTo>
                    <a:pt x="354" y="328"/>
                  </a:lnTo>
                  <a:lnTo>
                    <a:pt x="358" y="334"/>
                  </a:lnTo>
                  <a:lnTo>
                    <a:pt x="364" y="336"/>
                  </a:lnTo>
                  <a:lnTo>
                    <a:pt x="366" y="334"/>
                  </a:lnTo>
                  <a:lnTo>
                    <a:pt x="372" y="332"/>
                  </a:lnTo>
                  <a:lnTo>
                    <a:pt x="366" y="332"/>
                  </a:lnTo>
                  <a:lnTo>
                    <a:pt x="364" y="326"/>
                  </a:lnTo>
                  <a:lnTo>
                    <a:pt x="358" y="328"/>
                  </a:lnTo>
                  <a:lnTo>
                    <a:pt x="354" y="322"/>
                  </a:lnTo>
                  <a:lnTo>
                    <a:pt x="358" y="316"/>
                  </a:lnTo>
                  <a:lnTo>
                    <a:pt x="364" y="318"/>
                  </a:lnTo>
                  <a:lnTo>
                    <a:pt x="370" y="322"/>
                  </a:lnTo>
                  <a:lnTo>
                    <a:pt x="364" y="316"/>
                  </a:lnTo>
                  <a:lnTo>
                    <a:pt x="366" y="310"/>
                  </a:lnTo>
                  <a:lnTo>
                    <a:pt x="366" y="304"/>
                  </a:lnTo>
                  <a:lnTo>
                    <a:pt x="372" y="302"/>
                  </a:lnTo>
                  <a:lnTo>
                    <a:pt x="378" y="302"/>
                  </a:lnTo>
                  <a:lnTo>
                    <a:pt x="384" y="304"/>
                  </a:lnTo>
                  <a:lnTo>
                    <a:pt x="390" y="310"/>
                  </a:lnTo>
                  <a:lnTo>
                    <a:pt x="392" y="310"/>
                  </a:lnTo>
                  <a:lnTo>
                    <a:pt x="388" y="304"/>
                  </a:lnTo>
                  <a:lnTo>
                    <a:pt x="382" y="302"/>
                  </a:lnTo>
                  <a:lnTo>
                    <a:pt x="380" y="296"/>
                  </a:lnTo>
                  <a:lnTo>
                    <a:pt x="372" y="296"/>
                  </a:lnTo>
                  <a:lnTo>
                    <a:pt x="366" y="298"/>
                  </a:lnTo>
                  <a:lnTo>
                    <a:pt x="372" y="296"/>
                  </a:lnTo>
                  <a:lnTo>
                    <a:pt x="378" y="290"/>
                  </a:lnTo>
                  <a:lnTo>
                    <a:pt x="384" y="290"/>
                  </a:lnTo>
                  <a:lnTo>
                    <a:pt x="390" y="288"/>
                  </a:lnTo>
                  <a:lnTo>
                    <a:pt x="392" y="288"/>
                  </a:lnTo>
                  <a:lnTo>
                    <a:pt x="398" y="286"/>
                  </a:lnTo>
                  <a:lnTo>
                    <a:pt x="404" y="286"/>
                  </a:lnTo>
                  <a:lnTo>
                    <a:pt x="406" y="292"/>
                  </a:lnTo>
                  <a:lnTo>
                    <a:pt x="412" y="290"/>
                  </a:lnTo>
                  <a:lnTo>
                    <a:pt x="418" y="290"/>
                  </a:lnTo>
                  <a:lnTo>
                    <a:pt x="412" y="290"/>
                  </a:lnTo>
                  <a:lnTo>
                    <a:pt x="420" y="286"/>
                  </a:lnTo>
                  <a:lnTo>
                    <a:pt x="426" y="284"/>
                  </a:lnTo>
                  <a:lnTo>
                    <a:pt x="432" y="282"/>
                  </a:lnTo>
                  <a:lnTo>
                    <a:pt x="434" y="280"/>
                  </a:lnTo>
                  <a:lnTo>
                    <a:pt x="428" y="282"/>
                  </a:lnTo>
                  <a:lnTo>
                    <a:pt x="420" y="284"/>
                  </a:lnTo>
                  <a:lnTo>
                    <a:pt x="416" y="284"/>
                  </a:lnTo>
                  <a:lnTo>
                    <a:pt x="410" y="284"/>
                  </a:lnTo>
                  <a:lnTo>
                    <a:pt x="404" y="284"/>
                  </a:lnTo>
                  <a:lnTo>
                    <a:pt x="398" y="284"/>
                  </a:lnTo>
                  <a:lnTo>
                    <a:pt x="392" y="286"/>
                  </a:lnTo>
                  <a:lnTo>
                    <a:pt x="384" y="288"/>
                  </a:lnTo>
                  <a:lnTo>
                    <a:pt x="390" y="282"/>
                  </a:lnTo>
                  <a:lnTo>
                    <a:pt x="396" y="282"/>
                  </a:lnTo>
                  <a:lnTo>
                    <a:pt x="402" y="282"/>
                  </a:lnTo>
                  <a:lnTo>
                    <a:pt x="396" y="280"/>
                  </a:lnTo>
                  <a:lnTo>
                    <a:pt x="390" y="282"/>
                  </a:lnTo>
                  <a:lnTo>
                    <a:pt x="384" y="280"/>
                  </a:lnTo>
                  <a:lnTo>
                    <a:pt x="388" y="274"/>
                  </a:lnTo>
                  <a:lnTo>
                    <a:pt x="382" y="268"/>
                  </a:lnTo>
                  <a:lnTo>
                    <a:pt x="384" y="268"/>
                  </a:lnTo>
                  <a:lnTo>
                    <a:pt x="390" y="268"/>
                  </a:lnTo>
                  <a:lnTo>
                    <a:pt x="396" y="272"/>
                  </a:lnTo>
                  <a:lnTo>
                    <a:pt x="402" y="266"/>
                  </a:lnTo>
                  <a:lnTo>
                    <a:pt x="408" y="268"/>
                  </a:lnTo>
                  <a:lnTo>
                    <a:pt x="414" y="264"/>
                  </a:lnTo>
                  <a:lnTo>
                    <a:pt x="406" y="262"/>
                  </a:lnTo>
                  <a:lnTo>
                    <a:pt x="400" y="266"/>
                  </a:lnTo>
                  <a:lnTo>
                    <a:pt x="396" y="266"/>
                  </a:lnTo>
                  <a:lnTo>
                    <a:pt x="390" y="260"/>
                  </a:lnTo>
                  <a:lnTo>
                    <a:pt x="396" y="260"/>
                  </a:lnTo>
                  <a:lnTo>
                    <a:pt x="402" y="260"/>
                  </a:lnTo>
                  <a:lnTo>
                    <a:pt x="398" y="258"/>
                  </a:lnTo>
                  <a:lnTo>
                    <a:pt x="392" y="256"/>
                  </a:lnTo>
                  <a:lnTo>
                    <a:pt x="398" y="256"/>
                  </a:lnTo>
                  <a:lnTo>
                    <a:pt x="404" y="256"/>
                  </a:lnTo>
                  <a:lnTo>
                    <a:pt x="410" y="258"/>
                  </a:lnTo>
                  <a:lnTo>
                    <a:pt x="416" y="256"/>
                  </a:lnTo>
                  <a:lnTo>
                    <a:pt x="412" y="256"/>
                  </a:lnTo>
                  <a:lnTo>
                    <a:pt x="406" y="254"/>
                  </a:lnTo>
                  <a:lnTo>
                    <a:pt x="412" y="254"/>
                  </a:lnTo>
                  <a:lnTo>
                    <a:pt x="406" y="254"/>
                  </a:lnTo>
                  <a:lnTo>
                    <a:pt x="412" y="250"/>
                  </a:lnTo>
                  <a:lnTo>
                    <a:pt x="418" y="252"/>
                  </a:lnTo>
                  <a:lnTo>
                    <a:pt x="424" y="252"/>
                  </a:lnTo>
                  <a:lnTo>
                    <a:pt x="416" y="250"/>
                  </a:lnTo>
                  <a:lnTo>
                    <a:pt x="410" y="246"/>
                  </a:lnTo>
                  <a:lnTo>
                    <a:pt x="406" y="244"/>
                  </a:lnTo>
                  <a:lnTo>
                    <a:pt x="412" y="242"/>
                  </a:lnTo>
                  <a:lnTo>
                    <a:pt x="416" y="242"/>
                  </a:lnTo>
                  <a:lnTo>
                    <a:pt x="422" y="238"/>
                  </a:lnTo>
                  <a:lnTo>
                    <a:pt x="430" y="240"/>
                  </a:lnTo>
                  <a:lnTo>
                    <a:pt x="434" y="240"/>
                  </a:lnTo>
                  <a:lnTo>
                    <a:pt x="440" y="236"/>
                  </a:lnTo>
                  <a:lnTo>
                    <a:pt x="446" y="236"/>
                  </a:lnTo>
                  <a:lnTo>
                    <a:pt x="452" y="238"/>
                  </a:lnTo>
                  <a:lnTo>
                    <a:pt x="446" y="234"/>
                  </a:lnTo>
                  <a:lnTo>
                    <a:pt x="440" y="234"/>
                  </a:lnTo>
                  <a:lnTo>
                    <a:pt x="444" y="228"/>
                  </a:lnTo>
                  <a:lnTo>
                    <a:pt x="450" y="228"/>
                  </a:lnTo>
                  <a:lnTo>
                    <a:pt x="456" y="226"/>
                  </a:lnTo>
                  <a:lnTo>
                    <a:pt x="462" y="226"/>
                  </a:lnTo>
                  <a:lnTo>
                    <a:pt x="468" y="226"/>
                  </a:lnTo>
                  <a:lnTo>
                    <a:pt x="468" y="228"/>
                  </a:lnTo>
                  <a:lnTo>
                    <a:pt x="474" y="226"/>
                  </a:lnTo>
                  <a:lnTo>
                    <a:pt x="480" y="226"/>
                  </a:lnTo>
                  <a:lnTo>
                    <a:pt x="486" y="228"/>
                  </a:lnTo>
                  <a:lnTo>
                    <a:pt x="492" y="232"/>
                  </a:lnTo>
                  <a:lnTo>
                    <a:pt x="492" y="226"/>
                  </a:lnTo>
                  <a:lnTo>
                    <a:pt x="500" y="226"/>
                  </a:lnTo>
                  <a:lnTo>
                    <a:pt x="492" y="226"/>
                  </a:lnTo>
                  <a:lnTo>
                    <a:pt x="488" y="224"/>
                  </a:lnTo>
                  <a:lnTo>
                    <a:pt x="482" y="224"/>
                  </a:lnTo>
                  <a:lnTo>
                    <a:pt x="476" y="220"/>
                  </a:lnTo>
                  <a:lnTo>
                    <a:pt x="468" y="222"/>
                  </a:lnTo>
                  <a:lnTo>
                    <a:pt x="464" y="224"/>
                  </a:lnTo>
                  <a:lnTo>
                    <a:pt x="458" y="226"/>
                  </a:lnTo>
                  <a:lnTo>
                    <a:pt x="456" y="222"/>
                  </a:lnTo>
                  <a:lnTo>
                    <a:pt x="450" y="222"/>
                  </a:lnTo>
                  <a:lnTo>
                    <a:pt x="444" y="222"/>
                  </a:lnTo>
                  <a:lnTo>
                    <a:pt x="450" y="218"/>
                  </a:lnTo>
                  <a:lnTo>
                    <a:pt x="456" y="214"/>
                  </a:lnTo>
                  <a:lnTo>
                    <a:pt x="462" y="216"/>
                  </a:lnTo>
                  <a:lnTo>
                    <a:pt x="468" y="214"/>
                  </a:lnTo>
                  <a:lnTo>
                    <a:pt x="468" y="212"/>
                  </a:lnTo>
                  <a:lnTo>
                    <a:pt x="462" y="212"/>
                  </a:lnTo>
                  <a:lnTo>
                    <a:pt x="456" y="210"/>
                  </a:lnTo>
                  <a:lnTo>
                    <a:pt x="462" y="208"/>
                  </a:lnTo>
                  <a:lnTo>
                    <a:pt x="468" y="206"/>
                  </a:lnTo>
                  <a:lnTo>
                    <a:pt x="470" y="204"/>
                  </a:lnTo>
                  <a:lnTo>
                    <a:pt x="476" y="208"/>
                  </a:lnTo>
                  <a:lnTo>
                    <a:pt x="468" y="210"/>
                  </a:lnTo>
                  <a:lnTo>
                    <a:pt x="474" y="210"/>
                  </a:lnTo>
                  <a:lnTo>
                    <a:pt x="480" y="210"/>
                  </a:lnTo>
                  <a:lnTo>
                    <a:pt x="486" y="210"/>
                  </a:lnTo>
                  <a:lnTo>
                    <a:pt x="492" y="214"/>
                  </a:lnTo>
                  <a:lnTo>
                    <a:pt x="498" y="218"/>
                  </a:lnTo>
                  <a:lnTo>
                    <a:pt x="502" y="216"/>
                  </a:lnTo>
                  <a:lnTo>
                    <a:pt x="496" y="214"/>
                  </a:lnTo>
                  <a:lnTo>
                    <a:pt x="498" y="210"/>
                  </a:lnTo>
                  <a:lnTo>
                    <a:pt x="504" y="206"/>
                  </a:lnTo>
                  <a:lnTo>
                    <a:pt x="510" y="206"/>
                  </a:lnTo>
                  <a:lnTo>
                    <a:pt x="504" y="206"/>
                  </a:lnTo>
                  <a:lnTo>
                    <a:pt x="498" y="208"/>
                  </a:lnTo>
                  <a:lnTo>
                    <a:pt x="492" y="208"/>
                  </a:lnTo>
                  <a:lnTo>
                    <a:pt x="486" y="208"/>
                  </a:lnTo>
                  <a:lnTo>
                    <a:pt x="480" y="206"/>
                  </a:lnTo>
                  <a:lnTo>
                    <a:pt x="486" y="204"/>
                  </a:lnTo>
                  <a:lnTo>
                    <a:pt x="480" y="202"/>
                  </a:lnTo>
                  <a:lnTo>
                    <a:pt x="482" y="196"/>
                  </a:lnTo>
                  <a:lnTo>
                    <a:pt x="488" y="198"/>
                  </a:lnTo>
                  <a:lnTo>
                    <a:pt x="496" y="198"/>
                  </a:lnTo>
                  <a:lnTo>
                    <a:pt x="488" y="196"/>
                  </a:lnTo>
                  <a:lnTo>
                    <a:pt x="496" y="194"/>
                  </a:lnTo>
                  <a:lnTo>
                    <a:pt x="502" y="196"/>
                  </a:lnTo>
                  <a:lnTo>
                    <a:pt x="508" y="200"/>
                  </a:lnTo>
                  <a:lnTo>
                    <a:pt x="502" y="194"/>
                  </a:lnTo>
                  <a:lnTo>
                    <a:pt x="496" y="194"/>
                  </a:lnTo>
                  <a:lnTo>
                    <a:pt x="490" y="192"/>
                  </a:lnTo>
                  <a:lnTo>
                    <a:pt x="484" y="192"/>
                  </a:lnTo>
                  <a:lnTo>
                    <a:pt x="478" y="196"/>
                  </a:lnTo>
                  <a:lnTo>
                    <a:pt x="472" y="200"/>
                  </a:lnTo>
                  <a:lnTo>
                    <a:pt x="468" y="200"/>
                  </a:lnTo>
                  <a:lnTo>
                    <a:pt x="462" y="200"/>
                  </a:lnTo>
                  <a:lnTo>
                    <a:pt x="468" y="196"/>
                  </a:lnTo>
                  <a:lnTo>
                    <a:pt x="474" y="194"/>
                  </a:lnTo>
                  <a:lnTo>
                    <a:pt x="468" y="192"/>
                  </a:lnTo>
                  <a:lnTo>
                    <a:pt x="462" y="190"/>
                  </a:lnTo>
                  <a:lnTo>
                    <a:pt x="468" y="188"/>
                  </a:lnTo>
                  <a:lnTo>
                    <a:pt x="474" y="188"/>
                  </a:lnTo>
                  <a:lnTo>
                    <a:pt x="468" y="188"/>
                  </a:lnTo>
                  <a:lnTo>
                    <a:pt x="468" y="186"/>
                  </a:lnTo>
                  <a:lnTo>
                    <a:pt x="472" y="186"/>
                  </a:lnTo>
                  <a:lnTo>
                    <a:pt x="480" y="186"/>
                  </a:lnTo>
                  <a:lnTo>
                    <a:pt x="484" y="186"/>
                  </a:lnTo>
                  <a:lnTo>
                    <a:pt x="490" y="184"/>
                  </a:lnTo>
                  <a:lnTo>
                    <a:pt x="498" y="184"/>
                  </a:lnTo>
                  <a:lnTo>
                    <a:pt x="502" y="182"/>
                  </a:lnTo>
                  <a:lnTo>
                    <a:pt x="508" y="186"/>
                  </a:lnTo>
                  <a:lnTo>
                    <a:pt x="512" y="180"/>
                  </a:lnTo>
                  <a:lnTo>
                    <a:pt x="506" y="178"/>
                  </a:lnTo>
                  <a:lnTo>
                    <a:pt x="500" y="178"/>
                  </a:lnTo>
                  <a:lnTo>
                    <a:pt x="494" y="176"/>
                  </a:lnTo>
                  <a:lnTo>
                    <a:pt x="488" y="178"/>
                  </a:lnTo>
                  <a:lnTo>
                    <a:pt x="482" y="178"/>
                  </a:lnTo>
                  <a:lnTo>
                    <a:pt x="488" y="172"/>
                  </a:lnTo>
                  <a:lnTo>
                    <a:pt x="492" y="172"/>
                  </a:lnTo>
                  <a:lnTo>
                    <a:pt x="500" y="170"/>
                  </a:lnTo>
                  <a:lnTo>
                    <a:pt x="496" y="176"/>
                  </a:lnTo>
                  <a:lnTo>
                    <a:pt x="502" y="174"/>
                  </a:lnTo>
                  <a:lnTo>
                    <a:pt x="504" y="174"/>
                  </a:lnTo>
                  <a:lnTo>
                    <a:pt x="506" y="168"/>
                  </a:lnTo>
                  <a:lnTo>
                    <a:pt x="512" y="164"/>
                  </a:lnTo>
                  <a:lnTo>
                    <a:pt x="518" y="168"/>
                  </a:lnTo>
                  <a:lnTo>
                    <a:pt x="518" y="176"/>
                  </a:lnTo>
                  <a:lnTo>
                    <a:pt x="522" y="180"/>
                  </a:lnTo>
                  <a:lnTo>
                    <a:pt x="526" y="186"/>
                  </a:lnTo>
                  <a:lnTo>
                    <a:pt x="532" y="188"/>
                  </a:lnTo>
                  <a:lnTo>
                    <a:pt x="526" y="184"/>
                  </a:lnTo>
                  <a:lnTo>
                    <a:pt x="522" y="178"/>
                  </a:lnTo>
                  <a:lnTo>
                    <a:pt x="528" y="182"/>
                  </a:lnTo>
                  <a:lnTo>
                    <a:pt x="534" y="184"/>
                  </a:lnTo>
                  <a:lnTo>
                    <a:pt x="528" y="178"/>
                  </a:lnTo>
                  <a:lnTo>
                    <a:pt x="534" y="180"/>
                  </a:lnTo>
                  <a:lnTo>
                    <a:pt x="532" y="174"/>
                  </a:lnTo>
                  <a:lnTo>
                    <a:pt x="540" y="176"/>
                  </a:lnTo>
                  <a:lnTo>
                    <a:pt x="546" y="176"/>
                  </a:lnTo>
                  <a:lnTo>
                    <a:pt x="540" y="174"/>
                  </a:lnTo>
                  <a:lnTo>
                    <a:pt x="532" y="174"/>
                  </a:lnTo>
                  <a:lnTo>
                    <a:pt x="526" y="172"/>
                  </a:lnTo>
                  <a:lnTo>
                    <a:pt x="532" y="168"/>
                  </a:lnTo>
                  <a:lnTo>
                    <a:pt x="536" y="168"/>
                  </a:lnTo>
                  <a:lnTo>
                    <a:pt x="530" y="166"/>
                  </a:lnTo>
                  <a:lnTo>
                    <a:pt x="522" y="166"/>
                  </a:lnTo>
                  <a:lnTo>
                    <a:pt x="528" y="164"/>
                  </a:lnTo>
                  <a:lnTo>
                    <a:pt x="522" y="160"/>
                  </a:lnTo>
                  <a:lnTo>
                    <a:pt x="528" y="162"/>
                  </a:lnTo>
                  <a:lnTo>
                    <a:pt x="534" y="164"/>
                  </a:lnTo>
                  <a:lnTo>
                    <a:pt x="536" y="164"/>
                  </a:lnTo>
                  <a:lnTo>
                    <a:pt x="542" y="168"/>
                  </a:lnTo>
                  <a:lnTo>
                    <a:pt x="548" y="170"/>
                  </a:lnTo>
                  <a:lnTo>
                    <a:pt x="542" y="168"/>
                  </a:lnTo>
                  <a:lnTo>
                    <a:pt x="536" y="162"/>
                  </a:lnTo>
                  <a:lnTo>
                    <a:pt x="532" y="162"/>
                  </a:lnTo>
                  <a:lnTo>
                    <a:pt x="526" y="158"/>
                  </a:lnTo>
                  <a:lnTo>
                    <a:pt x="532" y="158"/>
                  </a:lnTo>
                  <a:lnTo>
                    <a:pt x="538" y="156"/>
                  </a:lnTo>
                  <a:lnTo>
                    <a:pt x="544" y="156"/>
                  </a:lnTo>
                  <a:lnTo>
                    <a:pt x="550" y="156"/>
                  </a:lnTo>
                  <a:lnTo>
                    <a:pt x="556" y="158"/>
                  </a:lnTo>
                  <a:lnTo>
                    <a:pt x="562" y="158"/>
                  </a:lnTo>
                  <a:lnTo>
                    <a:pt x="568" y="160"/>
                  </a:lnTo>
                  <a:lnTo>
                    <a:pt x="568" y="162"/>
                  </a:lnTo>
                  <a:lnTo>
                    <a:pt x="574" y="164"/>
                  </a:lnTo>
                  <a:lnTo>
                    <a:pt x="570" y="162"/>
                  </a:lnTo>
                  <a:lnTo>
                    <a:pt x="570" y="160"/>
                  </a:lnTo>
                  <a:lnTo>
                    <a:pt x="576" y="156"/>
                  </a:lnTo>
                  <a:lnTo>
                    <a:pt x="576" y="158"/>
                  </a:lnTo>
                  <a:lnTo>
                    <a:pt x="582" y="158"/>
                  </a:lnTo>
                  <a:lnTo>
                    <a:pt x="578" y="156"/>
                  </a:lnTo>
                  <a:lnTo>
                    <a:pt x="582" y="154"/>
                  </a:lnTo>
                  <a:lnTo>
                    <a:pt x="588" y="154"/>
                  </a:lnTo>
                  <a:lnTo>
                    <a:pt x="594" y="156"/>
                  </a:lnTo>
                  <a:lnTo>
                    <a:pt x="590" y="154"/>
                  </a:lnTo>
                  <a:lnTo>
                    <a:pt x="588" y="154"/>
                  </a:lnTo>
                  <a:lnTo>
                    <a:pt x="582" y="152"/>
                  </a:lnTo>
                  <a:lnTo>
                    <a:pt x="576" y="150"/>
                  </a:lnTo>
                  <a:lnTo>
                    <a:pt x="570" y="152"/>
                  </a:lnTo>
                  <a:lnTo>
                    <a:pt x="564" y="154"/>
                  </a:lnTo>
                  <a:lnTo>
                    <a:pt x="558" y="154"/>
                  </a:lnTo>
                  <a:lnTo>
                    <a:pt x="552" y="152"/>
                  </a:lnTo>
                  <a:lnTo>
                    <a:pt x="544" y="154"/>
                  </a:lnTo>
                  <a:lnTo>
                    <a:pt x="540" y="154"/>
                  </a:lnTo>
                  <a:lnTo>
                    <a:pt x="534" y="150"/>
                  </a:lnTo>
                  <a:lnTo>
                    <a:pt x="538" y="148"/>
                  </a:lnTo>
                  <a:lnTo>
                    <a:pt x="540" y="150"/>
                  </a:lnTo>
                  <a:lnTo>
                    <a:pt x="538" y="142"/>
                  </a:lnTo>
                  <a:lnTo>
                    <a:pt x="544" y="140"/>
                  </a:lnTo>
                  <a:lnTo>
                    <a:pt x="550" y="140"/>
                  </a:lnTo>
                  <a:lnTo>
                    <a:pt x="556" y="138"/>
                  </a:lnTo>
                  <a:lnTo>
                    <a:pt x="562" y="138"/>
                  </a:lnTo>
                  <a:lnTo>
                    <a:pt x="570" y="138"/>
                  </a:lnTo>
                  <a:lnTo>
                    <a:pt x="576" y="138"/>
                  </a:lnTo>
                  <a:lnTo>
                    <a:pt x="582" y="140"/>
                  </a:lnTo>
                  <a:lnTo>
                    <a:pt x="576" y="138"/>
                  </a:lnTo>
                  <a:lnTo>
                    <a:pt x="570" y="134"/>
                  </a:lnTo>
                  <a:lnTo>
                    <a:pt x="574" y="132"/>
                  </a:lnTo>
                  <a:lnTo>
                    <a:pt x="582" y="134"/>
                  </a:lnTo>
                  <a:lnTo>
                    <a:pt x="588" y="134"/>
                  </a:lnTo>
                  <a:lnTo>
                    <a:pt x="582" y="132"/>
                  </a:lnTo>
                  <a:lnTo>
                    <a:pt x="586" y="128"/>
                  </a:lnTo>
                  <a:lnTo>
                    <a:pt x="580" y="126"/>
                  </a:lnTo>
                  <a:lnTo>
                    <a:pt x="578" y="120"/>
                  </a:lnTo>
                  <a:lnTo>
                    <a:pt x="584" y="116"/>
                  </a:lnTo>
                  <a:lnTo>
                    <a:pt x="590" y="114"/>
                  </a:lnTo>
                  <a:lnTo>
                    <a:pt x="596" y="112"/>
                  </a:lnTo>
                  <a:lnTo>
                    <a:pt x="602" y="114"/>
                  </a:lnTo>
                  <a:lnTo>
                    <a:pt x="598" y="108"/>
                  </a:lnTo>
                  <a:lnTo>
                    <a:pt x="602" y="102"/>
                  </a:lnTo>
                  <a:lnTo>
                    <a:pt x="604" y="94"/>
                  </a:lnTo>
                  <a:lnTo>
                    <a:pt x="610" y="94"/>
                  </a:lnTo>
                  <a:lnTo>
                    <a:pt x="616" y="98"/>
                  </a:lnTo>
                  <a:lnTo>
                    <a:pt x="620" y="104"/>
                  </a:lnTo>
                  <a:lnTo>
                    <a:pt x="620" y="108"/>
                  </a:lnTo>
                  <a:lnTo>
                    <a:pt x="622" y="106"/>
                  </a:lnTo>
                  <a:lnTo>
                    <a:pt x="622" y="100"/>
                  </a:lnTo>
                  <a:lnTo>
                    <a:pt x="628" y="104"/>
                  </a:lnTo>
                  <a:lnTo>
                    <a:pt x="636" y="102"/>
                  </a:lnTo>
                  <a:lnTo>
                    <a:pt x="642" y="104"/>
                  </a:lnTo>
                  <a:lnTo>
                    <a:pt x="636" y="102"/>
                  </a:lnTo>
                  <a:lnTo>
                    <a:pt x="630" y="100"/>
                  </a:lnTo>
                  <a:lnTo>
                    <a:pt x="624" y="98"/>
                  </a:lnTo>
                  <a:lnTo>
                    <a:pt x="618" y="92"/>
                  </a:lnTo>
                  <a:lnTo>
                    <a:pt x="624" y="90"/>
                  </a:lnTo>
                  <a:lnTo>
                    <a:pt x="630" y="90"/>
                  </a:lnTo>
                  <a:lnTo>
                    <a:pt x="636" y="94"/>
                  </a:lnTo>
                  <a:lnTo>
                    <a:pt x="644" y="100"/>
                  </a:lnTo>
                  <a:lnTo>
                    <a:pt x="650" y="102"/>
                  </a:lnTo>
                  <a:lnTo>
                    <a:pt x="658" y="102"/>
                  </a:lnTo>
                  <a:lnTo>
                    <a:pt x="656" y="108"/>
                  </a:lnTo>
                  <a:lnTo>
                    <a:pt x="662" y="106"/>
                  </a:lnTo>
                  <a:lnTo>
                    <a:pt x="660" y="98"/>
                  </a:lnTo>
                  <a:lnTo>
                    <a:pt x="654" y="98"/>
                  </a:lnTo>
                  <a:lnTo>
                    <a:pt x="646" y="100"/>
                  </a:lnTo>
                  <a:lnTo>
                    <a:pt x="640" y="94"/>
                  </a:lnTo>
                  <a:lnTo>
                    <a:pt x="646" y="90"/>
                  </a:lnTo>
                  <a:lnTo>
                    <a:pt x="652" y="90"/>
                  </a:lnTo>
                  <a:lnTo>
                    <a:pt x="646" y="88"/>
                  </a:lnTo>
                  <a:lnTo>
                    <a:pt x="640" y="90"/>
                  </a:lnTo>
                  <a:lnTo>
                    <a:pt x="640" y="84"/>
                  </a:lnTo>
                  <a:lnTo>
                    <a:pt x="642" y="82"/>
                  </a:lnTo>
                  <a:lnTo>
                    <a:pt x="646" y="78"/>
                  </a:lnTo>
                  <a:lnTo>
                    <a:pt x="654" y="76"/>
                  </a:lnTo>
                  <a:lnTo>
                    <a:pt x="658" y="76"/>
                  </a:lnTo>
                  <a:lnTo>
                    <a:pt x="666" y="74"/>
                  </a:lnTo>
                  <a:lnTo>
                    <a:pt x="670" y="74"/>
                  </a:lnTo>
                  <a:lnTo>
                    <a:pt x="670" y="80"/>
                  </a:lnTo>
                  <a:lnTo>
                    <a:pt x="674" y="86"/>
                  </a:lnTo>
                  <a:lnTo>
                    <a:pt x="670" y="92"/>
                  </a:lnTo>
                  <a:lnTo>
                    <a:pt x="668" y="98"/>
                  </a:lnTo>
                  <a:lnTo>
                    <a:pt x="674" y="92"/>
                  </a:lnTo>
                  <a:lnTo>
                    <a:pt x="676" y="86"/>
                  </a:lnTo>
                  <a:lnTo>
                    <a:pt x="684" y="86"/>
                  </a:lnTo>
                  <a:lnTo>
                    <a:pt x="678" y="84"/>
                  </a:lnTo>
                  <a:lnTo>
                    <a:pt x="678" y="78"/>
                  </a:lnTo>
                  <a:lnTo>
                    <a:pt x="682" y="72"/>
                  </a:lnTo>
                  <a:lnTo>
                    <a:pt x="684" y="76"/>
                  </a:lnTo>
                  <a:lnTo>
                    <a:pt x="688" y="70"/>
                  </a:lnTo>
                  <a:lnTo>
                    <a:pt x="694" y="70"/>
                  </a:lnTo>
                  <a:lnTo>
                    <a:pt x="696" y="64"/>
                  </a:lnTo>
                  <a:lnTo>
                    <a:pt x="702" y="70"/>
                  </a:lnTo>
                  <a:lnTo>
                    <a:pt x="700" y="76"/>
                  </a:lnTo>
                  <a:lnTo>
                    <a:pt x="696" y="82"/>
                  </a:lnTo>
                  <a:lnTo>
                    <a:pt x="696" y="88"/>
                  </a:lnTo>
                  <a:lnTo>
                    <a:pt x="698" y="94"/>
                  </a:lnTo>
                  <a:lnTo>
                    <a:pt x="692" y="98"/>
                  </a:lnTo>
                  <a:lnTo>
                    <a:pt x="684" y="104"/>
                  </a:lnTo>
                  <a:lnTo>
                    <a:pt x="686" y="104"/>
                  </a:lnTo>
                  <a:lnTo>
                    <a:pt x="692" y="100"/>
                  </a:lnTo>
                  <a:lnTo>
                    <a:pt x="698" y="98"/>
                  </a:lnTo>
                  <a:lnTo>
                    <a:pt x="702" y="92"/>
                  </a:lnTo>
                  <a:lnTo>
                    <a:pt x="704" y="86"/>
                  </a:lnTo>
                  <a:lnTo>
                    <a:pt x="710" y="88"/>
                  </a:lnTo>
                  <a:lnTo>
                    <a:pt x="716" y="92"/>
                  </a:lnTo>
                  <a:lnTo>
                    <a:pt x="722" y="92"/>
                  </a:lnTo>
                  <a:lnTo>
                    <a:pt x="716" y="90"/>
                  </a:lnTo>
                  <a:lnTo>
                    <a:pt x="710" y="86"/>
                  </a:lnTo>
                  <a:lnTo>
                    <a:pt x="708" y="80"/>
                  </a:lnTo>
                  <a:lnTo>
                    <a:pt x="714" y="76"/>
                  </a:lnTo>
                  <a:lnTo>
                    <a:pt x="720" y="70"/>
                  </a:lnTo>
                  <a:lnTo>
                    <a:pt x="728" y="66"/>
                  </a:lnTo>
                  <a:lnTo>
                    <a:pt x="722" y="72"/>
                  </a:lnTo>
                  <a:lnTo>
                    <a:pt x="728" y="76"/>
                  </a:lnTo>
                  <a:lnTo>
                    <a:pt x="730" y="76"/>
                  </a:lnTo>
                  <a:lnTo>
                    <a:pt x="732" y="70"/>
                  </a:lnTo>
                  <a:lnTo>
                    <a:pt x="738" y="72"/>
                  </a:lnTo>
                  <a:lnTo>
                    <a:pt x="736" y="66"/>
                  </a:lnTo>
                  <a:lnTo>
                    <a:pt x="738" y="64"/>
                  </a:lnTo>
                  <a:lnTo>
                    <a:pt x="744" y="62"/>
                  </a:lnTo>
                  <a:lnTo>
                    <a:pt x="748" y="64"/>
                  </a:lnTo>
                  <a:lnTo>
                    <a:pt x="756" y="68"/>
                  </a:lnTo>
                  <a:lnTo>
                    <a:pt x="762" y="70"/>
                  </a:lnTo>
                  <a:lnTo>
                    <a:pt x="766" y="72"/>
                  </a:lnTo>
                  <a:lnTo>
                    <a:pt x="772" y="76"/>
                  </a:lnTo>
                  <a:lnTo>
                    <a:pt x="778" y="78"/>
                  </a:lnTo>
                  <a:lnTo>
                    <a:pt x="772" y="74"/>
                  </a:lnTo>
                  <a:lnTo>
                    <a:pt x="768" y="72"/>
                  </a:lnTo>
                  <a:lnTo>
                    <a:pt x="772" y="72"/>
                  </a:lnTo>
                  <a:lnTo>
                    <a:pt x="768" y="70"/>
                  </a:lnTo>
                  <a:lnTo>
                    <a:pt x="768" y="64"/>
                  </a:lnTo>
                  <a:lnTo>
                    <a:pt x="774" y="66"/>
                  </a:lnTo>
                  <a:lnTo>
                    <a:pt x="772" y="64"/>
                  </a:lnTo>
                  <a:lnTo>
                    <a:pt x="770" y="62"/>
                  </a:lnTo>
                  <a:lnTo>
                    <a:pt x="764" y="60"/>
                  </a:lnTo>
                  <a:lnTo>
                    <a:pt x="770" y="56"/>
                  </a:lnTo>
                  <a:lnTo>
                    <a:pt x="764" y="58"/>
                  </a:lnTo>
                  <a:lnTo>
                    <a:pt x="758" y="60"/>
                  </a:lnTo>
                  <a:lnTo>
                    <a:pt x="752" y="56"/>
                  </a:lnTo>
                  <a:lnTo>
                    <a:pt x="746" y="54"/>
                  </a:lnTo>
                  <a:lnTo>
                    <a:pt x="740" y="54"/>
                  </a:lnTo>
                  <a:lnTo>
                    <a:pt x="734" y="50"/>
                  </a:lnTo>
                  <a:lnTo>
                    <a:pt x="740" y="48"/>
                  </a:lnTo>
                  <a:lnTo>
                    <a:pt x="746" y="52"/>
                  </a:lnTo>
                  <a:lnTo>
                    <a:pt x="748" y="44"/>
                  </a:lnTo>
                  <a:lnTo>
                    <a:pt x="754" y="48"/>
                  </a:lnTo>
                  <a:lnTo>
                    <a:pt x="760" y="52"/>
                  </a:lnTo>
                  <a:lnTo>
                    <a:pt x="762" y="46"/>
                  </a:lnTo>
                  <a:lnTo>
                    <a:pt x="768" y="44"/>
                  </a:lnTo>
                  <a:lnTo>
                    <a:pt x="774" y="50"/>
                  </a:lnTo>
                  <a:lnTo>
                    <a:pt x="780" y="46"/>
                  </a:lnTo>
                  <a:lnTo>
                    <a:pt x="780" y="52"/>
                  </a:lnTo>
                  <a:lnTo>
                    <a:pt x="786" y="54"/>
                  </a:lnTo>
                  <a:lnTo>
                    <a:pt x="792" y="56"/>
                  </a:lnTo>
                  <a:lnTo>
                    <a:pt x="786" y="54"/>
                  </a:lnTo>
                  <a:lnTo>
                    <a:pt x="784" y="48"/>
                  </a:lnTo>
                  <a:lnTo>
                    <a:pt x="790" y="48"/>
                  </a:lnTo>
                  <a:lnTo>
                    <a:pt x="796" y="52"/>
                  </a:lnTo>
                  <a:lnTo>
                    <a:pt x="802" y="50"/>
                  </a:lnTo>
                  <a:lnTo>
                    <a:pt x="808" y="52"/>
                  </a:lnTo>
                  <a:lnTo>
                    <a:pt x="806" y="56"/>
                  </a:lnTo>
                  <a:lnTo>
                    <a:pt x="800" y="58"/>
                  </a:lnTo>
                  <a:lnTo>
                    <a:pt x="792" y="58"/>
                  </a:lnTo>
                  <a:lnTo>
                    <a:pt x="786" y="60"/>
                  </a:lnTo>
                  <a:lnTo>
                    <a:pt x="794" y="60"/>
                  </a:lnTo>
                  <a:lnTo>
                    <a:pt x="800" y="58"/>
                  </a:lnTo>
                  <a:lnTo>
                    <a:pt x="806" y="58"/>
                  </a:lnTo>
                  <a:lnTo>
                    <a:pt x="812" y="54"/>
                  </a:lnTo>
                  <a:lnTo>
                    <a:pt x="814" y="60"/>
                  </a:lnTo>
                  <a:lnTo>
                    <a:pt x="820" y="62"/>
                  </a:lnTo>
                  <a:lnTo>
                    <a:pt x="820" y="64"/>
                  </a:lnTo>
                  <a:lnTo>
                    <a:pt x="820" y="66"/>
                  </a:lnTo>
                  <a:lnTo>
                    <a:pt x="826" y="66"/>
                  </a:lnTo>
                  <a:lnTo>
                    <a:pt x="832" y="64"/>
                  </a:lnTo>
                  <a:lnTo>
                    <a:pt x="836" y="64"/>
                  </a:lnTo>
                  <a:lnTo>
                    <a:pt x="836" y="62"/>
                  </a:lnTo>
                  <a:lnTo>
                    <a:pt x="830" y="62"/>
                  </a:lnTo>
                  <a:lnTo>
                    <a:pt x="824" y="58"/>
                  </a:lnTo>
                  <a:lnTo>
                    <a:pt x="830" y="52"/>
                  </a:lnTo>
                  <a:lnTo>
                    <a:pt x="824" y="50"/>
                  </a:lnTo>
                  <a:lnTo>
                    <a:pt x="828" y="50"/>
                  </a:lnTo>
                  <a:lnTo>
                    <a:pt x="836" y="48"/>
                  </a:lnTo>
                  <a:lnTo>
                    <a:pt x="828" y="48"/>
                  </a:lnTo>
                  <a:lnTo>
                    <a:pt x="836" y="46"/>
                  </a:lnTo>
                  <a:lnTo>
                    <a:pt x="836" y="40"/>
                  </a:lnTo>
                  <a:lnTo>
                    <a:pt x="842" y="38"/>
                  </a:lnTo>
                  <a:lnTo>
                    <a:pt x="848" y="34"/>
                  </a:lnTo>
                  <a:lnTo>
                    <a:pt x="856" y="34"/>
                  </a:lnTo>
                  <a:lnTo>
                    <a:pt x="862" y="34"/>
                  </a:lnTo>
                  <a:lnTo>
                    <a:pt x="868" y="34"/>
                  </a:lnTo>
                  <a:lnTo>
                    <a:pt x="864" y="28"/>
                  </a:lnTo>
                  <a:lnTo>
                    <a:pt x="870" y="24"/>
                  </a:lnTo>
                  <a:lnTo>
                    <a:pt x="876" y="26"/>
                  </a:lnTo>
                  <a:lnTo>
                    <a:pt x="882" y="22"/>
                  </a:lnTo>
                  <a:lnTo>
                    <a:pt x="876" y="20"/>
                  </a:lnTo>
                  <a:lnTo>
                    <a:pt x="870" y="20"/>
                  </a:lnTo>
                  <a:lnTo>
                    <a:pt x="864" y="16"/>
                  </a:lnTo>
                  <a:lnTo>
                    <a:pt x="870" y="14"/>
                  </a:lnTo>
                  <a:lnTo>
                    <a:pt x="876" y="18"/>
                  </a:lnTo>
                  <a:lnTo>
                    <a:pt x="882" y="14"/>
                  </a:lnTo>
                  <a:lnTo>
                    <a:pt x="878" y="12"/>
                  </a:lnTo>
                  <a:lnTo>
                    <a:pt x="878" y="6"/>
                  </a:lnTo>
                  <a:lnTo>
                    <a:pt x="884" y="6"/>
                  </a:lnTo>
                  <a:lnTo>
                    <a:pt x="890" y="10"/>
                  </a:lnTo>
                  <a:lnTo>
                    <a:pt x="896" y="8"/>
                  </a:lnTo>
                  <a:lnTo>
                    <a:pt x="902" y="10"/>
                  </a:lnTo>
                  <a:lnTo>
                    <a:pt x="906" y="18"/>
                  </a:lnTo>
                  <a:lnTo>
                    <a:pt x="912" y="14"/>
                  </a:lnTo>
                  <a:lnTo>
                    <a:pt x="910" y="10"/>
                  </a:lnTo>
                  <a:lnTo>
                    <a:pt x="916" y="10"/>
                  </a:lnTo>
                  <a:lnTo>
                    <a:pt x="922" y="12"/>
                  </a:lnTo>
                  <a:lnTo>
                    <a:pt x="928" y="14"/>
                  </a:lnTo>
                  <a:lnTo>
                    <a:pt x="934" y="12"/>
                  </a:lnTo>
                  <a:lnTo>
                    <a:pt x="930" y="18"/>
                  </a:lnTo>
                  <a:lnTo>
                    <a:pt x="924" y="20"/>
                  </a:lnTo>
                  <a:lnTo>
                    <a:pt x="918" y="24"/>
                  </a:lnTo>
                  <a:lnTo>
                    <a:pt x="912" y="28"/>
                  </a:lnTo>
                  <a:lnTo>
                    <a:pt x="906" y="32"/>
                  </a:lnTo>
                  <a:lnTo>
                    <a:pt x="902" y="36"/>
                  </a:lnTo>
                  <a:lnTo>
                    <a:pt x="908" y="36"/>
                  </a:lnTo>
                  <a:lnTo>
                    <a:pt x="910" y="40"/>
                  </a:lnTo>
                  <a:lnTo>
                    <a:pt x="904" y="42"/>
                  </a:lnTo>
                  <a:lnTo>
                    <a:pt x="906" y="48"/>
                  </a:lnTo>
                  <a:lnTo>
                    <a:pt x="900" y="50"/>
                  </a:lnTo>
                  <a:lnTo>
                    <a:pt x="898" y="56"/>
                  </a:lnTo>
                  <a:lnTo>
                    <a:pt x="904" y="54"/>
                  </a:lnTo>
                  <a:lnTo>
                    <a:pt x="910" y="58"/>
                  </a:lnTo>
                  <a:lnTo>
                    <a:pt x="914" y="52"/>
                  </a:lnTo>
                  <a:lnTo>
                    <a:pt x="920" y="48"/>
                  </a:lnTo>
                  <a:lnTo>
                    <a:pt x="920" y="42"/>
                  </a:lnTo>
                  <a:lnTo>
                    <a:pt x="924" y="38"/>
                  </a:lnTo>
                  <a:lnTo>
                    <a:pt x="932" y="34"/>
                  </a:lnTo>
                  <a:lnTo>
                    <a:pt x="938" y="30"/>
                  </a:lnTo>
                  <a:lnTo>
                    <a:pt x="942" y="24"/>
                  </a:lnTo>
                  <a:lnTo>
                    <a:pt x="948" y="18"/>
                  </a:lnTo>
                  <a:lnTo>
                    <a:pt x="954" y="14"/>
                  </a:lnTo>
                  <a:lnTo>
                    <a:pt x="960" y="10"/>
                  </a:lnTo>
                  <a:lnTo>
                    <a:pt x="968" y="8"/>
                  </a:lnTo>
                  <a:lnTo>
                    <a:pt x="968" y="14"/>
                  </a:lnTo>
                  <a:lnTo>
                    <a:pt x="970" y="20"/>
                  </a:lnTo>
                  <a:lnTo>
                    <a:pt x="964" y="22"/>
                  </a:lnTo>
                  <a:lnTo>
                    <a:pt x="958" y="24"/>
                  </a:lnTo>
                  <a:lnTo>
                    <a:pt x="964" y="24"/>
                  </a:lnTo>
                  <a:lnTo>
                    <a:pt x="968" y="30"/>
                  </a:lnTo>
                  <a:lnTo>
                    <a:pt x="968" y="36"/>
                  </a:lnTo>
                  <a:lnTo>
                    <a:pt x="966" y="42"/>
                  </a:lnTo>
                  <a:lnTo>
                    <a:pt x="972" y="42"/>
                  </a:lnTo>
                  <a:lnTo>
                    <a:pt x="976" y="36"/>
                  </a:lnTo>
                  <a:lnTo>
                    <a:pt x="982" y="36"/>
                  </a:lnTo>
                  <a:lnTo>
                    <a:pt x="988" y="36"/>
                  </a:lnTo>
                  <a:lnTo>
                    <a:pt x="984" y="30"/>
                  </a:lnTo>
                  <a:lnTo>
                    <a:pt x="990" y="28"/>
                  </a:lnTo>
                  <a:lnTo>
                    <a:pt x="996" y="30"/>
                  </a:lnTo>
                  <a:lnTo>
                    <a:pt x="990" y="26"/>
                  </a:lnTo>
                  <a:lnTo>
                    <a:pt x="988" y="20"/>
                  </a:lnTo>
                  <a:lnTo>
                    <a:pt x="996" y="20"/>
                  </a:lnTo>
                  <a:lnTo>
                    <a:pt x="1002" y="16"/>
                  </a:lnTo>
                  <a:lnTo>
                    <a:pt x="1008" y="18"/>
                  </a:lnTo>
                  <a:lnTo>
                    <a:pt x="1002" y="12"/>
                  </a:lnTo>
                  <a:lnTo>
                    <a:pt x="996" y="12"/>
                  </a:lnTo>
                  <a:lnTo>
                    <a:pt x="990" y="10"/>
                  </a:lnTo>
                  <a:lnTo>
                    <a:pt x="996" y="10"/>
                  </a:lnTo>
                  <a:lnTo>
                    <a:pt x="1002" y="6"/>
                  </a:lnTo>
                  <a:lnTo>
                    <a:pt x="1008" y="0"/>
                  </a:lnTo>
                  <a:lnTo>
                    <a:pt x="1014" y="4"/>
                  </a:lnTo>
                  <a:lnTo>
                    <a:pt x="1020" y="4"/>
                  </a:lnTo>
                  <a:lnTo>
                    <a:pt x="1026" y="2"/>
                  </a:lnTo>
                  <a:lnTo>
                    <a:pt x="1032" y="2"/>
                  </a:lnTo>
                  <a:lnTo>
                    <a:pt x="1034" y="6"/>
                  </a:lnTo>
                  <a:lnTo>
                    <a:pt x="1040" y="6"/>
                  </a:lnTo>
                  <a:lnTo>
                    <a:pt x="1044" y="6"/>
                  </a:lnTo>
                  <a:lnTo>
                    <a:pt x="1048" y="12"/>
                  </a:lnTo>
                  <a:lnTo>
                    <a:pt x="1040" y="16"/>
                  </a:lnTo>
                  <a:lnTo>
                    <a:pt x="1034" y="18"/>
                  </a:lnTo>
                  <a:lnTo>
                    <a:pt x="1032" y="18"/>
                  </a:lnTo>
                  <a:lnTo>
                    <a:pt x="1026" y="16"/>
                  </a:lnTo>
                  <a:lnTo>
                    <a:pt x="1022" y="18"/>
                  </a:lnTo>
                  <a:lnTo>
                    <a:pt x="1026" y="18"/>
                  </a:lnTo>
                  <a:lnTo>
                    <a:pt x="1034" y="22"/>
                  </a:lnTo>
                  <a:lnTo>
                    <a:pt x="1028" y="24"/>
                  </a:lnTo>
                  <a:lnTo>
                    <a:pt x="1022" y="26"/>
                  </a:lnTo>
                  <a:lnTo>
                    <a:pt x="1014" y="28"/>
                  </a:lnTo>
                  <a:lnTo>
                    <a:pt x="1022" y="26"/>
                  </a:lnTo>
                  <a:lnTo>
                    <a:pt x="1028" y="26"/>
                  </a:lnTo>
                  <a:lnTo>
                    <a:pt x="1034" y="24"/>
                  </a:lnTo>
                  <a:lnTo>
                    <a:pt x="1042" y="26"/>
                  </a:lnTo>
                  <a:lnTo>
                    <a:pt x="1036" y="30"/>
                  </a:lnTo>
                  <a:lnTo>
                    <a:pt x="1028" y="32"/>
                  </a:lnTo>
                  <a:lnTo>
                    <a:pt x="1022" y="36"/>
                  </a:lnTo>
                  <a:lnTo>
                    <a:pt x="1028" y="36"/>
                  </a:lnTo>
                  <a:lnTo>
                    <a:pt x="1034" y="38"/>
                  </a:lnTo>
                  <a:lnTo>
                    <a:pt x="1040" y="34"/>
                  </a:lnTo>
                  <a:lnTo>
                    <a:pt x="1046" y="36"/>
                  </a:lnTo>
                  <a:lnTo>
                    <a:pt x="1040" y="40"/>
                  </a:lnTo>
                  <a:lnTo>
                    <a:pt x="1040" y="46"/>
                  </a:lnTo>
                  <a:lnTo>
                    <a:pt x="1042" y="40"/>
                  </a:lnTo>
                  <a:lnTo>
                    <a:pt x="1048" y="36"/>
                  </a:lnTo>
                  <a:lnTo>
                    <a:pt x="1054" y="34"/>
                  </a:lnTo>
                  <a:lnTo>
                    <a:pt x="1048" y="32"/>
                  </a:lnTo>
                  <a:lnTo>
                    <a:pt x="1050" y="26"/>
                  </a:lnTo>
                  <a:lnTo>
                    <a:pt x="1052" y="20"/>
                  </a:lnTo>
                  <a:lnTo>
                    <a:pt x="1058" y="16"/>
                  </a:lnTo>
                  <a:lnTo>
                    <a:pt x="1064" y="14"/>
                  </a:lnTo>
                  <a:lnTo>
                    <a:pt x="1068" y="12"/>
                  </a:lnTo>
                  <a:lnTo>
                    <a:pt x="1076" y="14"/>
                  </a:lnTo>
                  <a:lnTo>
                    <a:pt x="1080" y="14"/>
                  </a:lnTo>
                  <a:lnTo>
                    <a:pt x="1082" y="14"/>
                  </a:lnTo>
                  <a:lnTo>
                    <a:pt x="1088" y="20"/>
                  </a:lnTo>
                  <a:lnTo>
                    <a:pt x="1086" y="26"/>
                  </a:lnTo>
                  <a:lnTo>
                    <a:pt x="1092" y="24"/>
                  </a:lnTo>
                  <a:lnTo>
                    <a:pt x="1098" y="22"/>
                  </a:lnTo>
                  <a:lnTo>
                    <a:pt x="1104" y="22"/>
                  </a:lnTo>
                  <a:lnTo>
                    <a:pt x="1106" y="26"/>
                  </a:lnTo>
                  <a:lnTo>
                    <a:pt x="1114" y="22"/>
                  </a:lnTo>
                  <a:lnTo>
                    <a:pt x="1116" y="22"/>
                  </a:lnTo>
                  <a:lnTo>
                    <a:pt x="1122" y="26"/>
                  </a:lnTo>
                  <a:lnTo>
                    <a:pt x="1128" y="30"/>
                  </a:lnTo>
                  <a:lnTo>
                    <a:pt x="1122" y="34"/>
                  </a:lnTo>
                  <a:lnTo>
                    <a:pt x="1128" y="32"/>
                  </a:lnTo>
                  <a:lnTo>
                    <a:pt x="1134" y="32"/>
                  </a:lnTo>
                  <a:lnTo>
                    <a:pt x="1140" y="32"/>
                  </a:lnTo>
                  <a:lnTo>
                    <a:pt x="1146" y="34"/>
                  </a:lnTo>
                  <a:lnTo>
                    <a:pt x="1152" y="38"/>
                  </a:lnTo>
                  <a:lnTo>
                    <a:pt x="1158" y="38"/>
                  </a:lnTo>
                  <a:lnTo>
                    <a:pt x="1164" y="42"/>
                  </a:lnTo>
                  <a:lnTo>
                    <a:pt x="1162" y="48"/>
                  </a:lnTo>
                  <a:lnTo>
                    <a:pt x="1156" y="48"/>
                  </a:lnTo>
                  <a:lnTo>
                    <a:pt x="1150" y="48"/>
                  </a:lnTo>
                  <a:lnTo>
                    <a:pt x="1144" y="50"/>
                  </a:lnTo>
                  <a:lnTo>
                    <a:pt x="1138" y="52"/>
                  </a:lnTo>
                  <a:lnTo>
                    <a:pt x="1132" y="56"/>
                  </a:lnTo>
                  <a:lnTo>
                    <a:pt x="1126" y="60"/>
                  </a:lnTo>
                  <a:lnTo>
                    <a:pt x="1120" y="60"/>
                  </a:lnTo>
                  <a:lnTo>
                    <a:pt x="1114" y="60"/>
                  </a:lnTo>
                  <a:lnTo>
                    <a:pt x="1108" y="58"/>
                  </a:lnTo>
                  <a:lnTo>
                    <a:pt x="1102" y="58"/>
                  </a:lnTo>
                  <a:lnTo>
                    <a:pt x="1094" y="58"/>
                  </a:lnTo>
                  <a:lnTo>
                    <a:pt x="1088" y="56"/>
                  </a:lnTo>
                  <a:lnTo>
                    <a:pt x="1082" y="56"/>
                  </a:lnTo>
                  <a:lnTo>
                    <a:pt x="1076" y="56"/>
                  </a:lnTo>
                  <a:lnTo>
                    <a:pt x="1070" y="54"/>
                  </a:lnTo>
                  <a:lnTo>
                    <a:pt x="1064" y="58"/>
                  </a:lnTo>
                  <a:lnTo>
                    <a:pt x="1070" y="58"/>
                  </a:lnTo>
                  <a:lnTo>
                    <a:pt x="1076" y="60"/>
                  </a:lnTo>
                  <a:lnTo>
                    <a:pt x="1082" y="60"/>
                  </a:lnTo>
                  <a:lnTo>
                    <a:pt x="1088" y="62"/>
                  </a:lnTo>
                  <a:lnTo>
                    <a:pt x="1094" y="62"/>
                  </a:lnTo>
                  <a:lnTo>
                    <a:pt x="1100" y="64"/>
                  </a:lnTo>
                  <a:lnTo>
                    <a:pt x="1106" y="64"/>
                  </a:lnTo>
                  <a:lnTo>
                    <a:pt x="1100" y="68"/>
                  </a:lnTo>
                  <a:lnTo>
                    <a:pt x="1106" y="68"/>
                  </a:lnTo>
                  <a:lnTo>
                    <a:pt x="1112" y="68"/>
                  </a:lnTo>
                  <a:lnTo>
                    <a:pt x="1114" y="74"/>
                  </a:lnTo>
                  <a:lnTo>
                    <a:pt x="1106" y="80"/>
                  </a:lnTo>
                  <a:lnTo>
                    <a:pt x="1114" y="78"/>
                  </a:lnTo>
                  <a:lnTo>
                    <a:pt x="1120" y="78"/>
                  </a:lnTo>
                  <a:lnTo>
                    <a:pt x="1124" y="78"/>
                  </a:lnTo>
                  <a:lnTo>
                    <a:pt x="1124" y="80"/>
                  </a:lnTo>
                  <a:lnTo>
                    <a:pt x="1126" y="80"/>
                  </a:lnTo>
                  <a:lnTo>
                    <a:pt x="1132" y="82"/>
                  </a:lnTo>
                  <a:lnTo>
                    <a:pt x="1130" y="78"/>
                  </a:lnTo>
                  <a:lnTo>
                    <a:pt x="1130" y="72"/>
                  </a:lnTo>
                  <a:lnTo>
                    <a:pt x="1136" y="72"/>
                  </a:lnTo>
                  <a:lnTo>
                    <a:pt x="1142" y="74"/>
                  </a:lnTo>
                  <a:lnTo>
                    <a:pt x="1146" y="80"/>
                  </a:lnTo>
                  <a:lnTo>
                    <a:pt x="1150" y="74"/>
                  </a:lnTo>
                  <a:lnTo>
                    <a:pt x="1154" y="74"/>
                  </a:lnTo>
                  <a:lnTo>
                    <a:pt x="1160" y="76"/>
                  </a:lnTo>
                  <a:lnTo>
                    <a:pt x="1166" y="82"/>
                  </a:lnTo>
                  <a:lnTo>
                    <a:pt x="1166" y="88"/>
                  </a:lnTo>
                  <a:lnTo>
                    <a:pt x="1162" y="90"/>
                  </a:lnTo>
                  <a:lnTo>
                    <a:pt x="1154" y="90"/>
                  </a:lnTo>
                  <a:lnTo>
                    <a:pt x="1150" y="90"/>
                  </a:lnTo>
                  <a:lnTo>
                    <a:pt x="1142" y="88"/>
                  </a:lnTo>
                  <a:lnTo>
                    <a:pt x="1136" y="84"/>
                  </a:lnTo>
                  <a:lnTo>
                    <a:pt x="1134" y="84"/>
                  </a:lnTo>
                  <a:lnTo>
                    <a:pt x="1136" y="86"/>
                  </a:lnTo>
                  <a:lnTo>
                    <a:pt x="1134" y="92"/>
                  </a:lnTo>
                  <a:lnTo>
                    <a:pt x="1128" y="98"/>
                  </a:lnTo>
                  <a:lnTo>
                    <a:pt x="1120" y="100"/>
                  </a:lnTo>
                  <a:lnTo>
                    <a:pt x="1118" y="100"/>
                  </a:lnTo>
                  <a:lnTo>
                    <a:pt x="1112" y="102"/>
                  </a:lnTo>
                  <a:lnTo>
                    <a:pt x="1106" y="104"/>
                  </a:lnTo>
                  <a:lnTo>
                    <a:pt x="1100" y="104"/>
                  </a:lnTo>
                  <a:lnTo>
                    <a:pt x="1100" y="112"/>
                  </a:lnTo>
                  <a:lnTo>
                    <a:pt x="1098" y="114"/>
                  </a:lnTo>
                  <a:lnTo>
                    <a:pt x="1094" y="120"/>
                  </a:lnTo>
                  <a:lnTo>
                    <a:pt x="1088" y="120"/>
                  </a:lnTo>
                  <a:lnTo>
                    <a:pt x="1086" y="120"/>
                  </a:lnTo>
                  <a:lnTo>
                    <a:pt x="1078" y="116"/>
                  </a:lnTo>
                  <a:lnTo>
                    <a:pt x="1078" y="108"/>
                  </a:lnTo>
                  <a:lnTo>
                    <a:pt x="1086" y="104"/>
                  </a:lnTo>
                  <a:lnTo>
                    <a:pt x="1096" y="96"/>
                  </a:lnTo>
                  <a:lnTo>
                    <a:pt x="1094" y="90"/>
                  </a:lnTo>
                  <a:lnTo>
                    <a:pt x="1088" y="82"/>
                  </a:lnTo>
                  <a:lnTo>
                    <a:pt x="1076" y="80"/>
                  </a:lnTo>
                  <a:lnTo>
                    <a:pt x="1064" y="78"/>
                  </a:lnTo>
                  <a:lnTo>
                    <a:pt x="1052" y="72"/>
                  </a:lnTo>
                  <a:lnTo>
                    <a:pt x="1042" y="70"/>
                  </a:lnTo>
                  <a:lnTo>
                    <a:pt x="1034" y="64"/>
                  </a:lnTo>
                  <a:lnTo>
                    <a:pt x="1028" y="58"/>
                  </a:lnTo>
                  <a:lnTo>
                    <a:pt x="1022" y="60"/>
                  </a:lnTo>
                  <a:lnTo>
                    <a:pt x="1016" y="60"/>
                  </a:lnTo>
                  <a:lnTo>
                    <a:pt x="1010" y="62"/>
                  </a:lnTo>
                  <a:lnTo>
                    <a:pt x="1008" y="64"/>
                  </a:lnTo>
                  <a:lnTo>
                    <a:pt x="1002" y="68"/>
                  </a:lnTo>
                  <a:lnTo>
                    <a:pt x="996" y="68"/>
                  </a:lnTo>
                  <a:lnTo>
                    <a:pt x="990" y="68"/>
                  </a:lnTo>
                  <a:lnTo>
                    <a:pt x="984" y="66"/>
                  </a:lnTo>
                  <a:lnTo>
                    <a:pt x="978" y="66"/>
                  </a:lnTo>
                  <a:lnTo>
                    <a:pt x="972" y="68"/>
                  </a:lnTo>
                  <a:lnTo>
                    <a:pt x="966" y="72"/>
                  </a:lnTo>
                  <a:lnTo>
                    <a:pt x="960" y="78"/>
                  </a:lnTo>
                  <a:lnTo>
                    <a:pt x="954" y="80"/>
                  </a:lnTo>
                  <a:lnTo>
                    <a:pt x="948" y="84"/>
                  </a:lnTo>
                  <a:lnTo>
                    <a:pt x="944" y="90"/>
                  </a:lnTo>
                  <a:lnTo>
                    <a:pt x="944" y="96"/>
                  </a:lnTo>
                  <a:lnTo>
                    <a:pt x="946" y="98"/>
                  </a:lnTo>
                  <a:lnTo>
                    <a:pt x="942" y="104"/>
                  </a:lnTo>
                  <a:lnTo>
                    <a:pt x="942" y="112"/>
                  </a:lnTo>
                  <a:lnTo>
                    <a:pt x="942" y="116"/>
                  </a:lnTo>
                  <a:lnTo>
                    <a:pt x="942" y="124"/>
                  </a:lnTo>
                  <a:lnTo>
                    <a:pt x="938" y="128"/>
                  </a:lnTo>
                  <a:lnTo>
                    <a:pt x="930" y="128"/>
                  </a:lnTo>
                  <a:lnTo>
                    <a:pt x="928" y="128"/>
                  </a:lnTo>
                  <a:lnTo>
                    <a:pt x="922" y="130"/>
                  </a:lnTo>
                  <a:lnTo>
                    <a:pt x="918" y="136"/>
                  </a:lnTo>
                  <a:lnTo>
                    <a:pt x="918" y="142"/>
                  </a:lnTo>
                  <a:lnTo>
                    <a:pt x="912" y="144"/>
                  </a:lnTo>
                  <a:lnTo>
                    <a:pt x="910" y="146"/>
                  </a:lnTo>
                  <a:lnTo>
                    <a:pt x="904" y="144"/>
                  </a:lnTo>
                  <a:lnTo>
                    <a:pt x="898" y="142"/>
                  </a:lnTo>
                  <a:lnTo>
                    <a:pt x="892" y="140"/>
                  </a:lnTo>
                  <a:lnTo>
                    <a:pt x="886" y="138"/>
                  </a:lnTo>
                  <a:lnTo>
                    <a:pt x="878" y="138"/>
                  </a:lnTo>
                  <a:lnTo>
                    <a:pt x="870" y="134"/>
                  </a:lnTo>
                  <a:lnTo>
                    <a:pt x="866" y="132"/>
                  </a:lnTo>
                  <a:lnTo>
                    <a:pt x="858" y="132"/>
                  </a:lnTo>
                  <a:lnTo>
                    <a:pt x="852" y="138"/>
                  </a:lnTo>
                  <a:lnTo>
                    <a:pt x="844" y="140"/>
                  </a:lnTo>
                  <a:lnTo>
                    <a:pt x="838" y="142"/>
                  </a:lnTo>
                  <a:lnTo>
                    <a:pt x="832" y="144"/>
                  </a:lnTo>
                  <a:lnTo>
                    <a:pt x="822" y="140"/>
                  </a:lnTo>
                  <a:lnTo>
                    <a:pt x="816" y="140"/>
                  </a:lnTo>
                  <a:lnTo>
                    <a:pt x="804" y="138"/>
                  </a:lnTo>
                  <a:lnTo>
                    <a:pt x="796" y="138"/>
                  </a:lnTo>
                  <a:lnTo>
                    <a:pt x="792" y="130"/>
                  </a:lnTo>
                  <a:lnTo>
                    <a:pt x="784" y="124"/>
                  </a:lnTo>
                  <a:lnTo>
                    <a:pt x="778" y="120"/>
                  </a:lnTo>
                  <a:lnTo>
                    <a:pt x="774" y="118"/>
                  </a:lnTo>
                  <a:lnTo>
                    <a:pt x="772" y="116"/>
                  </a:lnTo>
                  <a:lnTo>
                    <a:pt x="760" y="106"/>
                  </a:lnTo>
                  <a:lnTo>
                    <a:pt x="752" y="104"/>
                  </a:lnTo>
                  <a:lnTo>
                    <a:pt x="744" y="104"/>
                  </a:lnTo>
                  <a:lnTo>
                    <a:pt x="732" y="110"/>
                  </a:lnTo>
                  <a:lnTo>
                    <a:pt x="738" y="116"/>
                  </a:lnTo>
                  <a:lnTo>
                    <a:pt x="730" y="118"/>
                  </a:lnTo>
                  <a:lnTo>
                    <a:pt x="722" y="116"/>
                  </a:lnTo>
                  <a:lnTo>
                    <a:pt x="714" y="120"/>
                  </a:lnTo>
                  <a:lnTo>
                    <a:pt x="708" y="120"/>
                  </a:lnTo>
                  <a:lnTo>
                    <a:pt x="702" y="120"/>
                  </a:lnTo>
                  <a:lnTo>
                    <a:pt x="696" y="122"/>
                  </a:lnTo>
                  <a:lnTo>
                    <a:pt x="704" y="126"/>
                  </a:lnTo>
                  <a:lnTo>
                    <a:pt x="704" y="132"/>
                  </a:lnTo>
                  <a:lnTo>
                    <a:pt x="704" y="134"/>
                  </a:lnTo>
                  <a:lnTo>
                    <a:pt x="700" y="142"/>
                  </a:lnTo>
                  <a:lnTo>
                    <a:pt x="688" y="148"/>
                  </a:lnTo>
                  <a:lnTo>
                    <a:pt x="696" y="150"/>
                  </a:lnTo>
                  <a:lnTo>
                    <a:pt x="700" y="152"/>
                  </a:lnTo>
                  <a:lnTo>
                    <a:pt x="696" y="156"/>
                  </a:lnTo>
                  <a:lnTo>
                    <a:pt x="688" y="160"/>
                  </a:lnTo>
                  <a:lnTo>
                    <a:pt x="664" y="154"/>
                  </a:lnTo>
                  <a:lnTo>
                    <a:pt x="644" y="150"/>
                  </a:lnTo>
                  <a:lnTo>
                    <a:pt x="630" y="150"/>
                  </a:lnTo>
                  <a:lnTo>
                    <a:pt x="620" y="146"/>
                  </a:lnTo>
                  <a:lnTo>
                    <a:pt x="608" y="148"/>
                  </a:lnTo>
                  <a:lnTo>
                    <a:pt x="608" y="154"/>
                  </a:lnTo>
                  <a:lnTo>
                    <a:pt x="608" y="158"/>
                  </a:lnTo>
                  <a:lnTo>
                    <a:pt x="610" y="168"/>
                  </a:lnTo>
                  <a:lnTo>
                    <a:pt x="600" y="180"/>
                  </a:lnTo>
                  <a:lnTo>
                    <a:pt x="594" y="180"/>
                  </a:lnTo>
                  <a:lnTo>
                    <a:pt x="588" y="178"/>
                  </a:lnTo>
                  <a:lnTo>
                    <a:pt x="578" y="176"/>
                  </a:lnTo>
                  <a:lnTo>
                    <a:pt x="570" y="176"/>
                  </a:lnTo>
                  <a:lnTo>
                    <a:pt x="562" y="180"/>
                  </a:lnTo>
                  <a:lnTo>
                    <a:pt x="556" y="182"/>
                  </a:lnTo>
                  <a:lnTo>
                    <a:pt x="546" y="190"/>
                  </a:lnTo>
                  <a:lnTo>
                    <a:pt x="544" y="196"/>
                  </a:lnTo>
                  <a:lnTo>
                    <a:pt x="540" y="202"/>
                  </a:lnTo>
                  <a:lnTo>
                    <a:pt x="534" y="208"/>
                  </a:lnTo>
                  <a:lnTo>
                    <a:pt x="520" y="214"/>
                  </a:lnTo>
                  <a:lnTo>
                    <a:pt x="530" y="222"/>
                  </a:lnTo>
                  <a:lnTo>
                    <a:pt x="536" y="228"/>
                  </a:lnTo>
                  <a:lnTo>
                    <a:pt x="534" y="236"/>
                  </a:lnTo>
                  <a:lnTo>
                    <a:pt x="528" y="240"/>
                  </a:lnTo>
                  <a:lnTo>
                    <a:pt x="520" y="244"/>
                  </a:lnTo>
                  <a:lnTo>
                    <a:pt x="510" y="254"/>
                  </a:lnTo>
                  <a:lnTo>
                    <a:pt x="508" y="256"/>
                  </a:lnTo>
                  <a:lnTo>
                    <a:pt x="500" y="264"/>
                  </a:lnTo>
                  <a:lnTo>
                    <a:pt x="490" y="270"/>
                  </a:lnTo>
                  <a:lnTo>
                    <a:pt x="494" y="278"/>
                  </a:lnTo>
                  <a:lnTo>
                    <a:pt x="494" y="282"/>
                  </a:lnTo>
                  <a:lnTo>
                    <a:pt x="484" y="286"/>
                  </a:lnTo>
                  <a:lnTo>
                    <a:pt x="474" y="290"/>
                  </a:lnTo>
                  <a:lnTo>
                    <a:pt x="472" y="290"/>
                  </a:lnTo>
                  <a:lnTo>
                    <a:pt x="458" y="292"/>
                  </a:lnTo>
                  <a:lnTo>
                    <a:pt x="452" y="292"/>
                  </a:lnTo>
                  <a:lnTo>
                    <a:pt x="454" y="298"/>
                  </a:lnTo>
                  <a:lnTo>
                    <a:pt x="454" y="304"/>
                  </a:lnTo>
                  <a:lnTo>
                    <a:pt x="458" y="310"/>
                  </a:lnTo>
                  <a:lnTo>
                    <a:pt x="452" y="320"/>
                  </a:lnTo>
                  <a:lnTo>
                    <a:pt x="452" y="326"/>
                  </a:lnTo>
                  <a:lnTo>
                    <a:pt x="452" y="332"/>
                  </a:lnTo>
                  <a:lnTo>
                    <a:pt x="452" y="342"/>
                  </a:lnTo>
                  <a:lnTo>
                    <a:pt x="446" y="344"/>
                  </a:lnTo>
                  <a:lnTo>
                    <a:pt x="444" y="354"/>
                  </a:lnTo>
                  <a:lnTo>
                    <a:pt x="438" y="358"/>
                  </a:lnTo>
                  <a:lnTo>
                    <a:pt x="430" y="366"/>
                  </a:lnTo>
                  <a:lnTo>
                    <a:pt x="420" y="378"/>
                  </a:lnTo>
                  <a:lnTo>
                    <a:pt x="412" y="386"/>
                  </a:lnTo>
                  <a:lnTo>
                    <a:pt x="420" y="388"/>
                  </a:lnTo>
                  <a:lnTo>
                    <a:pt x="426" y="392"/>
                  </a:lnTo>
                  <a:lnTo>
                    <a:pt x="434" y="392"/>
                  </a:lnTo>
                  <a:lnTo>
                    <a:pt x="436" y="398"/>
                  </a:lnTo>
                  <a:lnTo>
                    <a:pt x="438" y="410"/>
                  </a:lnTo>
                  <a:lnTo>
                    <a:pt x="434" y="414"/>
                  </a:lnTo>
                  <a:lnTo>
                    <a:pt x="434" y="416"/>
                  </a:lnTo>
                  <a:lnTo>
                    <a:pt x="432" y="416"/>
                  </a:lnTo>
                  <a:lnTo>
                    <a:pt x="414" y="418"/>
                  </a:lnTo>
                  <a:lnTo>
                    <a:pt x="406" y="416"/>
                  </a:lnTo>
                  <a:lnTo>
                    <a:pt x="394" y="416"/>
                  </a:lnTo>
                  <a:lnTo>
                    <a:pt x="388" y="416"/>
                  </a:lnTo>
                  <a:lnTo>
                    <a:pt x="380" y="418"/>
                  </a:lnTo>
                  <a:lnTo>
                    <a:pt x="372" y="422"/>
                  </a:lnTo>
                  <a:lnTo>
                    <a:pt x="366" y="426"/>
                  </a:lnTo>
                  <a:lnTo>
                    <a:pt x="360" y="432"/>
                  </a:lnTo>
                  <a:lnTo>
                    <a:pt x="354" y="438"/>
                  </a:lnTo>
                  <a:lnTo>
                    <a:pt x="352" y="440"/>
                  </a:lnTo>
                  <a:lnTo>
                    <a:pt x="346" y="446"/>
                  </a:lnTo>
                  <a:lnTo>
                    <a:pt x="348" y="452"/>
                  </a:lnTo>
                  <a:lnTo>
                    <a:pt x="340" y="462"/>
                  </a:lnTo>
                  <a:lnTo>
                    <a:pt x="342" y="470"/>
                  </a:lnTo>
                  <a:lnTo>
                    <a:pt x="344" y="476"/>
                  </a:lnTo>
                  <a:lnTo>
                    <a:pt x="348" y="482"/>
                  </a:lnTo>
                  <a:lnTo>
                    <a:pt x="342" y="488"/>
                  </a:lnTo>
                  <a:lnTo>
                    <a:pt x="344" y="494"/>
                  </a:lnTo>
                  <a:lnTo>
                    <a:pt x="344" y="506"/>
                  </a:lnTo>
                  <a:lnTo>
                    <a:pt x="346" y="514"/>
                  </a:lnTo>
                  <a:lnTo>
                    <a:pt x="352" y="524"/>
                  </a:lnTo>
                  <a:lnTo>
                    <a:pt x="354" y="528"/>
                  </a:lnTo>
                  <a:lnTo>
                    <a:pt x="352" y="536"/>
                  </a:lnTo>
                  <a:lnTo>
                    <a:pt x="350" y="542"/>
                  </a:lnTo>
                  <a:lnTo>
                    <a:pt x="350" y="546"/>
                  </a:lnTo>
                  <a:lnTo>
                    <a:pt x="348" y="552"/>
                  </a:lnTo>
                  <a:lnTo>
                    <a:pt x="346" y="562"/>
                  </a:lnTo>
                  <a:lnTo>
                    <a:pt x="354" y="568"/>
                  </a:lnTo>
                  <a:lnTo>
                    <a:pt x="360" y="572"/>
                  </a:lnTo>
                  <a:lnTo>
                    <a:pt x="368" y="572"/>
                  </a:lnTo>
                  <a:lnTo>
                    <a:pt x="374" y="578"/>
                  </a:lnTo>
                  <a:lnTo>
                    <a:pt x="382" y="586"/>
                  </a:lnTo>
                  <a:lnTo>
                    <a:pt x="380" y="592"/>
                  </a:lnTo>
                  <a:lnTo>
                    <a:pt x="376" y="598"/>
                  </a:lnTo>
                  <a:lnTo>
                    <a:pt x="374" y="604"/>
                  </a:lnTo>
                  <a:lnTo>
                    <a:pt x="370" y="604"/>
                  </a:lnTo>
                  <a:lnTo>
                    <a:pt x="368" y="604"/>
                  </a:lnTo>
                  <a:lnTo>
                    <a:pt x="360" y="606"/>
                  </a:lnTo>
                  <a:lnTo>
                    <a:pt x="354" y="606"/>
                  </a:lnTo>
                  <a:lnTo>
                    <a:pt x="354" y="612"/>
                  </a:lnTo>
                  <a:lnTo>
                    <a:pt x="356" y="620"/>
                  </a:lnTo>
                  <a:lnTo>
                    <a:pt x="360" y="626"/>
                  </a:lnTo>
                  <a:lnTo>
                    <a:pt x="364" y="632"/>
                  </a:lnTo>
                  <a:lnTo>
                    <a:pt x="368" y="638"/>
                  </a:lnTo>
                  <a:lnTo>
                    <a:pt x="370" y="644"/>
                  </a:lnTo>
                  <a:lnTo>
                    <a:pt x="366" y="650"/>
                  </a:lnTo>
                  <a:lnTo>
                    <a:pt x="366" y="656"/>
                  </a:lnTo>
                  <a:lnTo>
                    <a:pt x="366" y="662"/>
                  </a:lnTo>
                  <a:lnTo>
                    <a:pt x="362" y="668"/>
                  </a:lnTo>
                  <a:lnTo>
                    <a:pt x="358" y="670"/>
                  </a:lnTo>
                  <a:lnTo>
                    <a:pt x="352" y="674"/>
                  </a:lnTo>
                  <a:lnTo>
                    <a:pt x="346" y="678"/>
                  </a:lnTo>
                  <a:lnTo>
                    <a:pt x="340" y="676"/>
                  </a:lnTo>
                  <a:lnTo>
                    <a:pt x="334" y="678"/>
                  </a:lnTo>
                  <a:lnTo>
                    <a:pt x="336" y="684"/>
                  </a:lnTo>
                  <a:lnTo>
                    <a:pt x="336" y="690"/>
                  </a:lnTo>
                  <a:lnTo>
                    <a:pt x="330" y="694"/>
                  </a:lnTo>
                  <a:lnTo>
                    <a:pt x="326" y="700"/>
                  </a:lnTo>
                  <a:lnTo>
                    <a:pt x="328" y="704"/>
                  </a:lnTo>
                  <a:lnTo>
                    <a:pt x="330" y="710"/>
                  </a:lnTo>
                  <a:lnTo>
                    <a:pt x="332" y="714"/>
                  </a:lnTo>
                  <a:lnTo>
                    <a:pt x="332" y="718"/>
                  </a:lnTo>
                  <a:lnTo>
                    <a:pt x="332" y="720"/>
                  </a:lnTo>
                  <a:lnTo>
                    <a:pt x="328" y="726"/>
                  </a:lnTo>
                  <a:lnTo>
                    <a:pt x="328" y="732"/>
                  </a:lnTo>
                  <a:lnTo>
                    <a:pt x="326" y="738"/>
                  </a:lnTo>
                  <a:lnTo>
                    <a:pt x="326" y="740"/>
                  </a:lnTo>
                  <a:lnTo>
                    <a:pt x="320" y="742"/>
                  </a:lnTo>
                  <a:lnTo>
                    <a:pt x="314" y="736"/>
                  </a:lnTo>
                  <a:lnTo>
                    <a:pt x="310" y="730"/>
                  </a:lnTo>
                  <a:lnTo>
                    <a:pt x="306" y="728"/>
                  </a:lnTo>
                  <a:lnTo>
                    <a:pt x="304" y="728"/>
                  </a:lnTo>
                  <a:lnTo>
                    <a:pt x="300" y="724"/>
                  </a:lnTo>
                  <a:lnTo>
                    <a:pt x="294" y="726"/>
                  </a:lnTo>
                  <a:lnTo>
                    <a:pt x="288" y="722"/>
                  </a:lnTo>
                  <a:lnTo>
                    <a:pt x="282" y="722"/>
                  </a:lnTo>
                  <a:lnTo>
                    <a:pt x="278" y="714"/>
                  </a:lnTo>
                  <a:lnTo>
                    <a:pt x="276" y="708"/>
                  </a:lnTo>
                  <a:lnTo>
                    <a:pt x="278" y="702"/>
                  </a:lnTo>
                  <a:lnTo>
                    <a:pt x="276" y="700"/>
                  </a:lnTo>
                  <a:lnTo>
                    <a:pt x="274" y="694"/>
                  </a:lnTo>
                  <a:lnTo>
                    <a:pt x="272" y="688"/>
                  </a:lnTo>
                  <a:lnTo>
                    <a:pt x="278" y="682"/>
                  </a:lnTo>
                  <a:lnTo>
                    <a:pt x="280" y="688"/>
                  </a:lnTo>
                  <a:lnTo>
                    <a:pt x="282" y="682"/>
                  </a:lnTo>
                  <a:lnTo>
                    <a:pt x="282" y="678"/>
                  </a:lnTo>
                  <a:lnTo>
                    <a:pt x="276" y="676"/>
                  </a:lnTo>
                  <a:lnTo>
                    <a:pt x="272" y="678"/>
                  </a:lnTo>
                  <a:lnTo>
                    <a:pt x="268" y="684"/>
                  </a:lnTo>
                  <a:lnTo>
                    <a:pt x="268" y="690"/>
                  </a:lnTo>
                  <a:lnTo>
                    <a:pt x="274" y="696"/>
                  </a:lnTo>
                  <a:lnTo>
                    <a:pt x="268" y="702"/>
                  </a:lnTo>
                  <a:lnTo>
                    <a:pt x="264" y="696"/>
                  </a:lnTo>
                  <a:lnTo>
                    <a:pt x="262" y="700"/>
                  </a:lnTo>
                  <a:lnTo>
                    <a:pt x="256" y="700"/>
                  </a:lnTo>
                  <a:lnTo>
                    <a:pt x="262" y="706"/>
                  </a:lnTo>
                  <a:lnTo>
                    <a:pt x="266" y="712"/>
                  </a:lnTo>
                  <a:lnTo>
                    <a:pt x="264" y="718"/>
                  </a:lnTo>
                  <a:lnTo>
                    <a:pt x="262" y="724"/>
                  </a:lnTo>
                  <a:lnTo>
                    <a:pt x="262" y="718"/>
                  </a:lnTo>
                  <a:lnTo>
                    <a:pt x="260" y="724"/>
                  </a:lnTo>
                  <a:lnTo>
                    <a:pt x="254" y="726"/>
                  </a:lnTo>
                  <a:lnTo>
                    <a:pt x="250" y="732"/>
                  </a:lnTo>
                  <a:lnTo>
                    <a:pt x="244" y="732"/>
                  </a:lnTo>
                  <a:lnTo>
                    <a:pt x="242" y="738"/>
                  </a:lnTo>
                  <a:lnTo>
                    <a:pt x="240" y="736"/>
                  </a:lnTo>
                  <a:lnTo>
                    <a:pt x="234" y="732"/>
                  </a:lnTo>
                  <a:lnTo>
                    <a:pt x="234" y="730"/>
                  </a:lnTo>
                  <a:lnTo>
                    <a:pt x="228" y="730"/>
                  </a:lnTo>
                  <a:lnTo>
                    <a:pt x="224" y="726"/>
                  </a:lnTo>
                  <a:lnTo>
                    <a:pt x="222" y="726"/>
                  </a:lnTo>
                  <a:lnTo>
                    <a:pt x="228" y="732"/>
                  </a:lnTo>
                  <a:lnTo>
                    <a:pt x="228" y="736"/>
                  </a:lnTo>
                  <a:lnTo>
                    <a:pt x="222" y="738"/>
                  </a:lnTo>
                  <a:lnTo>
                    <a:pt x="216" y="742"/>
                  </a:lnTo>
                  <a:lnTo>
                    <a:pt x="210" y="744"/>
                  </a:lnTo>
                  <a:lnTo>
                    <a:pt x="214" y="750"/>
                  </a:lnTo>
                  <a:lnTo>
                    <a:pt x="210" y="752"/>
                  </a:lnTo>
                  <a:lnTo>
                    <a:pt x="204" y="752"/>
                  </a:lnTo>
                  <a:lnTo>
                    <a:pt x="198" y="752"/>
                  </a:lnTo>
                  <a:lnTo>
                    <a:pt x="200" y="758"/>
                  </a:lnTo>
                  <a:lnTo>
                    <a:pt x="198" y="760"/>
                  </a:lnTo>
                  <a:lnTo>
                    <a:pt x="192" y="760"/>
                  </a:lnTo>
                  <a:lnTo>
                    <a:pt x="188" y="766"/>
                  </a:lnTo>
                  <a:lnTo>
                    <a:pt x="184" y="770"/>
                  </a:lnTo>
                  <a:lnTo>
                    <a:pt x="178" y="776"/>
                  </a:lnTo>
                  <a:lnTo>
                    <a:pt x="172" y="780"/>
                  </a:lnTo>
                  <a:lnTo>
                    <a:pt x="166" y="784"/>
                  </a:lnTo>
                  <a:lnTo>
                    <a:pt x="160" y="786"/>
                  </a:lnTo>
                  <a:lnTo>
                    <a:pt x="154" y="788"/>
                  </a:lnTo>
                  <a:lnTo>
                    <a:pt x="154" y="790"/>
                  </a:lnTo>
                  <a:lnTo>
                    <a:pt x="148" y="788"/>
                  </a:lnTo>
                  <a:lnTo>
                    <a:pt x="146" y="788"/>
                  </a:lnTo>
                  <a:lnTo>
                    <a:pt x="146" y="790"/>
                  </a:lnTo>
                  <a:lnTo>
                    <a:pt x="140" y="794"/>
                  </a:lnTo>
                  <a:lnTo>
                    <a:pt x="134" y="794"/>
                  </a:lnTo>
                  <a:lnTo>
                    <a:pt x="128" y="798"/>
                  </a:lnTo>
                  <a:lnTo>
                    <a:pt x="122" y="798"/>
                  </a:lnTo>
                  <a:lnTo>
                    <a:pt x="116" y="798"/>
                  </a:lnTo>
                  <a:lnTo>
                    <a:pt x="110" y="796"/>
                  </a:lnTo>
                  <a:lnTo>
                    <a:pt x="104" y="796"/>
                  </a:lnTo>
                  <a:lnTo>
                    <a:pt x="98" y="794"/>
                  </a:lnTo>
                  <a:lnTo>
                    <a:pt x="92" y="796"/>
                  </a:lnTo>
                  <a:lnTo>
                    <a:pt x="86" y="794"/>
                  </a:lnTo>
                  <a:lnTo>
                    <a:pt x="80" y="794"/>
                  </a:lnTo>
                  <a:lnTo>
                    <a:pt x="74" y="790"/>
                  </a:lnTo>
                  <a:lnTo>
                    <a:pt x="80" y="786"/>
                  </a:lnTo>
                  <a:lnTo>
                    <a:pt x="88" y="782"/>
                  </a:lnTo>
                  <a:lnTo>
                    <a:pt x="82" y="784"/>
                  </a:lnTo>
                  <a:lnTo>
                    <a:pt x="76" y="784"/>
                  </a:lnTo>
                  <a:lnTo>
                    <a:pt x="70" y="782"/>
                  </a:lnTo>
                  <a:lnTo>
                    <a:pt x="64" y="780"/>
                  </a:lnTo>
                  <a:lnTo>
                    <a:pt x="60" y="778"/>
                  </a:lnTo>
                  <a:lnTo>
                    <a:pt x="54" y="776"/>
                  </a:lnTo>
                  <a:lnTo>
                    <a:pt x="46" y="774"/>
                  </a:lnTo>
                  <a:lnTo>
                    <a:pt x="40" y="768"/>
                  </a:lnTo>
                  <a:lnTo>
                    <a:pt x="34" y="764"/>
                  </a:lnTo>
                  <a:lnTo>
                    <a:pt x="28" y="762"/>
                  </a:lnTo>
                  <a:lnTo>
                    <a:pt x="22" y="756"/>
                  </a:lnTo>
                  <a:lnTo>
                    <a:pt x="22" y="750"/>
                  </a:lnTo>
                  <a:lnTo>
                    <a:pt x="24" y="742"/>
                  </a:lnTo>
                  <a:lnTo>
                    <a:pt x="30" y="738"/>
                  </a:lnTo>
                  <a:lnTo>
                    <a:pt x="24" y="734"/>
                  </a:lnTo>
                  <a:lnTo>
                    <a:pt x="30" y="734"/>
                  </a:lnTo>
                  <a:lnTo>
                    <a:pt x="36" y="738"/>
                  </a:lnTo>
                  <a:lnTo>
                    <a:pt x="42" y="738"/>
                  </a:lnTo>
                  <a:lnTo>
                    <a:pt x="48" y="742"/>
                  </a:lnTo>
                  <a:lnTo>
                    <a:pt x="52" y="744"/>
                  </a:lnTo>
                  <a:lnTo>
                    <a:pt x="58" y="744"/>
                  </a:lnTo>
                  <a:lnTo>
                    <a:pt x="52" y="738"/>
                  </a:lnTo>
                  <a:lnTo>
                    <a:pt x="58" y="736"/>
                  </a:lnTo>
                  <a:lnTo>
                    <a:pt x="64" y="734"/>
                  </a:lnTo>
                  <a:lnTo>
                    <a:pt x="70" y="734"/>
                  </a:lnTo>
                  <a:lnTo>
                    <a:pt x="76" y="732"/>
                  </a:lnTo>
                  <a:lnTo>
                    <a:pt x="70" y="732"/>
                  </a:lnTo>
                  <a:lnTo>
                    <a:pt x="60" y="734"/>
                  </a:lnTo>
                  <a:lnTo>
                    <a:pt x="56" y="736"/>
                  </a:lnTo>
                  <a:lnTo>
                    <a:pt x="48" y="740"/>
                  </a:lnTo>
                  <a:lnTo>
                    <a:pt x="48" y="734"/>
                  </a:lnTo>
                  <a:lnTo>
                    <a:pt x="42" y="728"/>
                  </a:lnTo>
                  <a:lnTo>
                    <a:pt x="48" y="726"/>
                  </a:lnTo>
                  <a:lnTo>
                    <a:pt x="54" y="726"/>
                  </a:lnTo>
                  <a:lnTo>
                    <a:pt x="48" y="724"/>
                  </a:lnTo>
                  <a:lnTo>
                    <a:pt x="54" y="720"/>
                  </a:lnTo>
                  <a:lnTo>
                    <a:pt x="58" y="718"/>
                  </a:lnTo>
                  <a:lnTo>
                    <a:pt x="66" y="716"/>
                  </a:lnTo>
                  <a:lnTo>
                    <a:pt x="72" y="714"/>
                  </a:lnTo>
                  <a:lnTo>
                    <a:pt x="66" y="714"/>
                  </a:lnTo>
                  <a:lnTo>
                    <a:pt x="60" y="716"/>
                  </a:lnTo>
                  <a:lnTo>
                    <a:pt x="54" y="718"/>
                  </a:lnTo>
                  <a:lnTo>
                    <a:pt x="54" y="716"/>
                  </a:lnTo>
                  <a:lnTo>
                    <a:pt x="60" y="714"/>
                  </a:lnTo>
                  <a:lnTo>
                    <a:pt x="54" y="714"/>
                  </a:lnTo>
                  <a:lnTo>
                    <a:pt x="48" y="714"/>
                  </a:lnTo>
                  <a:lnTo>
                    <a:pt x="54" y="708"/>
                  </a:lnTo>
                  <a:lnTo>
                    <a:pt x="56" y="706"/>
                  </a:lnTo>
                  <a:lnTo>
                    <a:pt x="60" y="704"/>
                  </a:lnTo>
                  <a:lnTo>
                    <a:pt x="62" y="702"/>
                  </a:lnTo>
                  <a:lnTo>
                    <a:pt x="68" y="700"/>
                  </a:lnTo>
                  <a:lnTo>
                    <a:pt x="74" y="698"/>
                  </a:lnTo>
                  <a:lnTo>
                    <a:pt x="68" y="700"/>
                  </a:lnTo>
                  <a:lnTo>
                    <a:pt x="62" y="696"/>
                  </a:lnTo>
                  <a:lnTo>
                    <a:pt x="58" y="704"/>
                  </a:lnTo>
                  <a:lnTo>
                    <a:pt x="56" y="706"/>
                  </a:lnTo>
                  <a:lnTo>
                    <a:pt x="50" y="708"/>
                  </a:lnTo>
                  <a:lnTo>
                    <a:pt x="44" y="712"/>
                  </a:lnTo>
                  <a:lnTo>
                    <a:pt x="46" y="706"/>
                  </a:lnTo>
                  <a:lnTo>
                    <a:pt x="52" y="704"/>
                  </a:lnTo>
                  <a:lnTo>
                    <a:pt x="46" y="704"/>
                  </a:lnTo>
                  <a:lnTo>
                    <a:pt x="40" y="704"/>
                  </a:lnTo>
                  <a:lnTo>
                    <a:pt x="34" y="708"/>
                  </a:lnTo>
                  <a:lnTo>
                    <a:pt x="40" y="708"/>
                  </a:lnTo>
                  <a:lnTo>
                    <a:pt x="40" y="714"/>
                  </a:lnTo>
                  <a:lnTo>
                    <a:pt x="36" y="714"/>
                  </a:lnTo>
                  <a:lnTo>
                    <a:pt x="28" y="716"/>
                  </a:lnTo>
                  <a:lnTo>
                    <a:pt x="28" y="708"/>
                  </a:lnTo>
                  <a:lnTo>
                    <a:pt x="28" y="702"/>
                  </a:lnTo>
                  <a:lnTo>
                    <a:pt x="22" y="706"/>
                  </a:lnTo>
                  <a:lnTo>
                    <a:pt x="28" y="708"/>
                  </a:lnTo>
                  <a:lnTo>
                    <a:pt x="26" y="714"/>
                  </a:lnTo>
                  <a:lnTo>
                    <a:pt x="20" y="716"/>
                  </a:lnTo>
                  <a:lnTo>
                    <a:pt x="20" y="710"/>
                  </a:lnTo>
                  <a:lnTo>
                    <a:pt x="18" y="716"/>
                  </a:lnTo>
                  <a:lnTo>
                    <a:pt x="12" y="710"/>
                  </a:lnTo>
                  <a:lnTo>
                    <a:pt x="12" y="708"/>
                  </a:lnTo>
                  <a:lnTo>
                    <a:pt x="12" y="702"/>
                  </a:lnTo>
                  <a:lnTo>
                    <a:pt x="12" y="698"/>
                  </a:lnTo>
                  <a:lnTo>
                    <a:pt x="18" y="692"/>
                  </a:lnTo>
                  <a:lnTo>
                    <a:pt x="24" y="690"/>
                  </a:lnTo>
                  <a:lnTo>
                    <a:pt x="24" y="696"/>
                  </a:lnTo>
                  <a:lnTo>
                    <a:pt x="22" y="700"/>
                  </a:lnTo>
                  <a:lnTo>
                    <a:pt x="16" y="702"/>
                  </a:lnTo>
                  <a:lnTo>
                    <a:pt x="20" y="704"/>
                  </a:lnTo>
                  <a:lnTo>
                    <a:pt x="26" y="700"/>
                  </a:lnTo>
                  <a:lnTo>
                    <a:pt x="26" y="694"/>
                  </a:lnTo>
                  <a:lnTo>
                    <a:pt x="32" y="692"/>
                  </a:lnTo>
                  <a:lnTo>
                    <a:pt x="38" y="694"/>
                  </a:lnTo>
                  <a:lnTo>
                    <a:pt x="44" y="692"/>
                  </a:lnTo>
                  <a:lnTo>
                    <a:pt x="38" y="690"/>
                  </a:lnTo>
                  <a:lnTo>
                    <a:pt x="44" y="688"/>
                  </a:lnTo>
                  <a:lnTo>
                    <a:pt x="48" y="688"/>
                  </a:lnTo>
                  <a:lnTo>
                    <a:pt x="54" y="684"/>
                  </a:lnTo>
                  <a:lnTo>
                    <a:pt x="56" y="684"/>
                  </a:lnTo>
                  <a:lnTo>
                    <a:pt x="48" y="686"/>
                  </a:lnTo>
                  <a:lnTo>
                    <a:pt x="42" y="686"/>
                  </a:lnTo>
                  <a:lnTo>
                    <a:pt x="40" y="684"/>
                  </a:lnTo>
                  <a:lnTo>
                    <a:pt x="34" y="682"/>
                  </a:lnTo>
                  <a:lnTo>
                    <a:pt x="36" y="680"/>
                  </a:lnTo>
                  <a:lnTo>
                    <a:pt x="40" y="674"/>
                  </a:lnTo>
                  <a:lnTo>
                    <a:pt x="48" y="672"/>
                  </a:lnTo>
                  <a:lnTo>
                    <a:pt x="46" y="670"/>
                  </a:lnTo>
                  <a:lnTo>
                    <a:pt x="54" y="666"/>
                  </a:lnTo>
                  <a:lnTo>
                    <a:pt x="60" y="664"/>
                  </a:lnTo>
                  <a:lnTo>
                    <a:pt x="54" y="660"/>
                  </a:lnTo>
                  <a:lnTo>
                    <a:pt x="60" y="654"/>
                  </a:lnTo>
                  <a:lnTo>
                    <a:pt x="66" y="650"/>
                  </a:lnTo>
                  <a:lnTo>
                    <a:pt x="72" y="648"/>
                  </a:lnTo>
                  <a:lnTo>
                    <a:pt x="78" y="644"/>
                  </a:lnTo>
                  <a:lnTo>
                    <a:pt x="80" y="650"/>
                  </a:lnTo>
                  <a:lnTo>
                    <a:pt x="76" y="656"/>
                  </a:lnTo>
                  <a:lnTo>
                    <a:pt x="74" y="662"/>
                  </a:lnTo>
                  <a:lnTo>
                    <a:pt x="78" y="656"/>
                  </a:lnTo>
                  <a:lnTo>
                    <a:pt x="80" y="650"/>
                  </a:lnTo>
                  <a:lnTo>
                    <a:pt x="86" y="644"/>
                  </a:lnTo>
                  <a:lnTo>
                    <a:pt x="92" y="642"/>
                  </a:lnTo>
                  <a:lnTo>
                    <a:pt x="98" y="640"/>
                  </a:lnTo>
                  <a:lnTo>
                    <a:pt x="104" y="640"/>
                  </a:lnTo>
                  <a:lnTo>
                    <a:pt x="98" y="640"/>
                  </a:lnTo>
                  <a:lnTo>
                    <a:pt x="90" y="640"/>
                  </a:lnTo>
                  <a:lnTo>
                    <a:pt x="86" y="642"/>
                  </a:lnTo>
                  <a:lnTo>
                    <a:pt x="78" y="642"/>
                  </a:lnTo>
                  <a:lnTo>
                    <a:pt x="72" y="644"/>
                  </a:lnTo>
                  <a:lnTo>
                    <a:pt x="66" y="646"/>
                  </a:lnTo>
                  <a:lnTo>
                    <a:pt x="60" y="648"/>
                  </a:lnTo>
                  <a:lnTo>
                    <a:pt x="58" y="654"/>
                  </a:lnTo>
                  <a:lnTo>
                    <a:pt x="52" y="654"/>
                  </a:lnTo>
                  <a:lnTo>
                    <a:pt x="46" y="660"/>
                  </a:lnTo>
                  <a:lnTo>
                    <a:pt x="44" y="666"/>
                  </a:lnTo>
                  <a:lnTo>
                    <a:pt x="42" y="670"/>
                  </a:lnTo>
                  <a:lnTo>
                    <a:pt x="40" y="670"/>
                  </a:lnTo>
                  <a:lnTo>
                    <a:pt x="38" y="670"/>
                  </a:lnTo>
                  <a:lnTo>
                    <a:pt x="36" y="670"/>
                  </a:lnTo>
                  <a:lnTo>
                    <a:pt x="36" y="664"/>
                  </a:lnTo>
                  <a:lnTo>
                    <a:pt x="36" y="658"/>
                  </a:lnTo>
                  <a:lnTo>
                    <a:pt x="30" y="658"/>
                  </a:lnTo>
                  <a:lnTo>
                    <a:pt x="32" y="652"/>
                  </a:lnTo>
                  <a:lnTo>
                    <a:pt x="32" y="646"/>
                  </a:lnTo>
                  <a:lnTo>
                    <a:pt x="30" y="652"/>
                  </a:lnTo>
                  <a:lnTo>
                    <a:pt x="26" y="658"/>
                  </a:lnTo>
                  <a:lnTo>
                    <a:pt x="20" y="660"/>
                  </a:lnTo>
                  <a:lnTo>
                    <a:pt x="14" y="656"/>
                  </a:lnTo>
                  <a:lnTo>
                    <a:pt x="14" y="650"/>
                  </a:lnTo>
                  <a:lnTo>
                    <a:pt x="8" y="646"/>
                  </a:lnTo>
                  <a:lnTo>
                    <a:pt x="14" y="644"/>
                  </a:lnTo>
                  <a:lnTo>
                    <a:pt x="18" y="638"/>
                  </a:lnTo>
                  <a:lnTo>
                    <a:pt x="22" y="644"/>
                  </a:lnTo>
                  <a:lnTo>
                    <a:pt x="28" y="644"/>
                  </a:lnTo>
                  <a:lnTo>
                    <a:pt x="34" y="642"/>
                  </a:lnTo>
                  <a:lnTo>
                    <a:pt x="36" y="640"/>
                  </a:lnTo>
                  <a:lnTo>
                    <a:pt x="36" y="638"/>
                  </a:lnTo>
                  <a:lnTo>
                    <a:pt x="36" y="636"/>
                  </a:lnTo>
                  <a:lnTo>
                    <a:pt x="36" y="630"/>
                  </a:lnTo>
                  <a:lnTo>
                    <a:pt x="36" y="624"/>
                  </a:lnTo>
                  <a:lnTo>
                    <a:pt x="28" y="626"/>
                  </a:lnTo>
                  <a:lnTo>
                    <a:pt x="22" y="632"/>
                  </a:lnTo>
                  <a:lnTo>
                    <a:pt x="16" y="636"/>
                  </a:lnTo>
                  <a:lnTo>
                    <a:pt x="14" y="636"/>
                  </a:lnTo>
                  <a:lnTo>
                    <a:pt x="10" y="632"/>
                  </a:lnTo>
                  <a:lnTo>
                    <a:pt x="8" y="630"/>
                  </a:lnTo>
                  <a:lnTo>
                    <a:pt x="6" y="624"/>
                  </a:lnTo>
                  <a:lnTo>
                    <a:pt x="0" y="620"/>
                  </a:lnTo>
                  <a:lnTo>
                    <a:pt x="6" y="620"/>
                  </a:lnTo>
                  <a:lnTo>
                    <a:pt x="12" y="624"/>
                  </a:lnTo>
                  <a:lnTo>
                    <a:pt x="14" y="624"/>
                  </a:lnTo>
                  <a:lnTo>
                    <a:pt x="18" y="628"/>
                  </a:lnTo>
                  <a:lnTo>
                    <a:pt x="18" y="624"/>
                  </a:lnTo>
                  <a:lnTo>
                    <a:pt x="18" y="616"/>
                  </a:lnTo>
                  <a:lnTo>
                    <a:pt x="24" y="616"/>
                  </a:lnTo>
                  <a:lnTo>
                    <a:pt x="18" y="616"/>
                  </a:lnTo>
                  <a:lnTo>
                    <a:pt x="14" y="620"/>
                  </a:lnTo>
                  <a:lnTo>
                    <a:pt x="10" y="618"/>
                  </a:lnTo>
                  <a:lnTo>
                    <a:pt x="6" y="618"/>
                  </a:lnTo>
                  <a:lnTo>
                    <a:pt x="2" y="612"/>
                  </a:lnTo>
                  <a:lnTo>
                    <a:pt x="6" y="616"/>
                  </a:lnTo>
                  <a:lnTo>
                    <a:pt x="8" y="612"/>
                  </a:lnTo>
                  <a:lnTo>
                    <a:pt x="10" y="610"/>
                  </a:lnTo>
                  <a:lnTo>
                    <a:pt x="4" y="610"/>
                  </a:lnTo>
                  <a:lnTo>
                    <a:pt x="4" y="604"/>
                  </a:lnTo>
                  <a:lnTo>
                    <a:pt x="10" y="602"/>
                  </a:lnTo>
                  <a:lnTo>
                    <a:pt x="18" y="604"/>
                  </a:lnTo>
                  <a:lnTo>
                    <a:pt x="24" y="606"/>
                  </a:lnTo>
                  <a:lnTo>
                    <a:pt x="30" y="604"/>
                  </a:lnTo>
                  <a:lnTo>
                    <a:pt x="36" y="602"/>
                  </a:lnTo>
                  <a:lnTo>
                    <a:pt x="42" y="600"/>
                  </a:lnTo>
                  <a:lnTo>
                    <a:pt x="48" y="600"/>
                  </a:lnTo>
                  <a:lnTo>
                    <a:pt x="54" y="600"/>
                  </a:lnTo>
                  <a:lnTo>
                    <a:pt x="56" y="600"/>
                  </a:lnTo>
                  <a:lnTo>
                    <a:pt x="62" y="602"/>
                  </a:lnTo>
                  <a:lnTo>
                    <a:pt x="70" y="602"/>
                  </a:lnTo>
                  <a:lnTo>
                    <a:pt x="76" y="602"/>
                  </a:lnTo>
                  <a:lnTo>
                    <a:pt x="82" y="598"/>
                  </a:lnTo>
                  <a:lnTo>
                    <a:pt x="88" y="598"/>
                  </a:lnTo>
                  <a:lnTo>
                    <a:pt x="94" y="602"/>
                  </a:lnTo>
                  <a:lnTo>
                    <a:pt x="98" y="608"/>
                  </a:lnTo>
                  <a:lnTo>
                    <a:pt x="92" y="612"/>
                  </a:lnTo>
                  <a:lnTo>
                    <a:pt x="98" y="610"/>
                  </a:lnTo>
                  <a:lnTo>
                    <a:pt x="106" y="612"/>
                  </a:lnTo>
                  <a:lnTo>
                    <a:pt x="100" y="606"/>
                  </a:lnTo>
                  <a:lnTo>
                    <a:pt x="106" y="600"/>
                  </a:lnTo>
                  <a:lnTo>
                    <a:pt x="112" y="598"/>
                  </a:lnTo>
                  <a:lnTo>
                    <a:pt x="116" y="600"/>
                  </a:lnTo>
                  <a:lnTo>
                    <a:pt x="122" y="596"/>
                  </a:lnTo>
                  <a:lnTo>
                    <a:pt x="128" y="594"/>
                  </a:lnTo>
                  <a:lnTo>
                    <a:pt x="122" y="594"/>
                  </a:lnTo>
                  <a:lnTo>
                    <a:pt x="118" y="594"/>
                  </a:lnTo>
                  <a:lnTo>
                    <a:pt x="116" y="588"/>
                  </a:lnTo>
                  <a:lnTo>
                    <a:pt x="122" y="582"/>
                  </a:lnTo>
                  <a:lnTo>
                    <a:pt x="128" y="578"/>
                  </a:lnTo>
                  <a:lnTo>
                    <a:pt x="122" y="580"/>
                  </a:lnTo>
                  <a:lnTo>
                    <a:pt x="116" y="586"/>
                  </a:lnTo>
                  <a:lnTo>
                    <a:pt x="114" y="592"/>
                  </a:lnTo>
                  <a:lnTo>
                    <a:pt x="118" y="598"/>
                  </a:lnTo>
                  <a:lnTo>
                    <a:pt x="112" y="598"/>
                  </a:lnTo>
                  <a:lnTo>
                    <a:pt x="106" y="598"/>
                  </a:lnTo>
                  <a:lnTo>
                    <a:pt x="98" y="598"/>
                  </a:lnTo>
                  <a:lnTo>
                    <a:pt x="106" y="592"/>
                  </a:lnTo>
                  <a:lnTo>
                    <a:pt x="104" y="592"/>
                  </a:lnTo>
                  <a:lnTo>
                    <a:pt x="100" y="596"/>
                  </a:lnTo>
                  <a:lnTo>
                    <a:pt x="94" y="596"/>
                  </a:lnTo>
                  <a:lnTo>
                    <a:pt x="88" y="596"/>
                  </a:lnTo>
                  <a:lnTo>
                    <a:pt x="82" y="594"/>
                  </a:lnTo>
                  <a:lnTo>
                    <a:pt x="80" y="594"/>
                  </a:lnTo>
                  <a:lnTo>
                    <a:pt x="84" y="586"/>
                  </a:lnTo>
                  <a:lnTo>
                    <a:pt x="78" y="590"/>
                  </a:lnTo>
                  <a:lnTo>
                    <a:pt x="76" y="594"/>
                  </a:lnTo>
                  <a:lnTo>
                    <a:pt x="76" y="598"/>
                  </a:lnTo>
                  <a:lnTo>
                    <a:pt x="70" y="600"/>
                  </a:lnTo>
                  <a:lnTo>
                    <a:pt x="64" y="598"/>
                  </a:lnTo>
                  <a:lnTo>
                    <a:pt x="58" y="598"/>
                  </a:lnTo>
                  <a:lnTo>
                    <a:pt x="52" y="596"/>
                  </a:lnTo>
                  <a:lnTo>
                    <a:pt x="46" y="598"/>
                  </a:lnTo>
                  <a:lnTo>
                    <a:pt x="40" y="598"/>
                  </a:lnTo>
                  <a:lnTo>
                    <a:pt x="34" y="598"/>
                  </a:lnTo>
                  <a:lnTo>
                    <a:pt x="28" y="602"/>
                  </a:lnTo>
                  <a:lnTo>
                    <a:pt x="22" y="602"/>
                  </a:lnTo>
                  <a:lnTo>
                    <a:pt x="20" y="602"/>
                  </a:lnTo>
                  <a:lnTo>
                    <a:pt x="14" y="598"/>
                  </a:lnTo>
                  <a:lnTo>
                    <a:pt x="6" y="596"/>
                  </a:lnTo>
                  <a:lnTo>
                    <a:pt x="14" y="594"/>
                  </a:lnTo>
                  <a:lnTo>
                    <a:pt x="6" y="588"/>
                  </a:lnTo>
                  <a:lnTo>
                    <a:pt x="14" y="586"/>
                  </a:lnTo>
                  <a:lnTo>
                    <a:pt x="18" y="586"/>
                  </a:lnTo>
                  <a:lnTo>
                    <a:pt x="24" y="584"/>
                  </a:lnTo>
                  <a:lnTo>
                    <a:pt x="32" y="584"/>
                  </a:lnTo>
                  <a:lnTo>
                    <a:pt x="24" y="584"/>
                  </a:lnTo>
                  <a:lnTo>
                    <a:pt x="18" y="584"/>
                  </a:lnTo>
                  <a:lnTo>
                    <a:pt x="12" y="586"/>
                  </a:lnTo>
                  <a:lnTo>
                    <a:pt x="6" y="588"/>
                  </a:lnTo>
                  <a:lnTo>
                    <a:pt x="10" y="582"/>
                  </a:lnTo>
                  <a:lnTo>
                    <a:pt x="2" y="58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2" name="Freeform 49"/>
            <p:cNvSpPr>
              <a:spLocks/>
            </p:cNvSpPr>
            <p:nvPr/>
          </p:nvSpPr>
          <p:spPr bwMode="auto">
            <a:xfrm>
              <a:off x="4554538" y="2913063"/>
              <a:ext cx="71437" cy="41275"/>
            </a:xfrm>
            <a:custGeom>
              <a:avLst/>
              <a:gdLst>
                <a:gd name="T0" fmla="*/ 2147483647 w 174"/>
                <a:gd name="T1" fmla="*/ 2147483647 h 98"/>
                <a:gd name="T2" fmla="*/ 0 w 174"/>
                <a:gd name="T3" fmla="*/ 2147483647 h 98"/>
                <a:gd name="T4" fmla="*/ 2147483647 w 174"/>
                <a:gd name="T5" fmla="*/ 2147483647 h 98"/>
                <a:gd name="T6" fmla="*/ 2147483647 w 174"/>
                <a:gd name="T7" fmla="*/ 2147483647 h 98"/>
                <a:gd name="T8" fmla="*/ 2147483647 w 174"/>
                <a:gd name="T9" fmla="*/ 2147483647 h 98"/>
                <a:gd name="T10" fmla="*/ 2147483647 w 174"/>
                <a:gd name="T11" fmla="*/ 2147483647 h 98"/>
                <a:gd name="T12" fmla="*/ 2147483647 w 174"/>
                <a:gd name="T13" fmla="*/ 2147483647 h 98"/>
                <a:gd name="T14" fmla="*/ 2147483647 w 174"/>
                <a:gd name="T15" fmla="*/ 2147483647 h 98"/>
                <a:gd name="T16" fmla="*/ 2147483647 w 174"/>
                <a:gd name="T17" fmla="*/ 2147483647 h 98"/>
                <a:gd name="T18" fmla="*/ 2147483647 w 174"/>
                <a:gd name="T19" fmla="*/ 2147483647 h 98"/>
                <a:gd name="T20" fmla="*/ 2147483647 w 174"/>
                <a:gd name="T21" fmla="*/ 2147483647 h 98"/>
                <a:gd name="T22" fmla="*/ 2147483647 w 174"/>
                <a:gd name="T23" fmla="*/ 2147483647 h 98"/>
                <a:gd name="T24" fmla="*/ 2147483647 w 174"/>
                <a:gd name="T25" fmla="*/ 2147483647 h 98"/>
                <a:gd name="T26" fmla="*/ 2147483647 w 174"/>
                <a:gd name="T27" fmla="*/ 2147483647 h 98"/>
                <a:gd name="T28" fmla="*/ 2147483647 w 174"/>
                <a:gd name="T29" fmla="*/ 2147483647 h 98"/>
                <a:gd name="T30" fmla="*/ 2147483647 w 174"/>
                <a:gd name="T31" fmla="*/ 0 h 98"/>
                <a:gd name="T32" fmla="*/ 2147483647 w 174"/>
                <a:gd name="T33" fmla="*/ 2147483647 h 98"/>
                <a:gd name="T34" fmla="*/ 2147483647 w 174"/>
                <a:gd name="T35" fmla="*/ 2147483647 h 98"/>
                <a:gd name="T36" fmla="*/ 2147483647 w 174"/>
                <a:gd name="T37" fmla="*/ 2147483647 h 98"/>
                <a:gd name="T38" fmla="*/ 2147483647 w 174"/>
                <a:gd name="T39" fmla="*/ 2147483647 h 98"/>
                <a:gd name="T40" fmla="*/ 2147483647 w 174"/>
                <a:gd name="T41" fmla="*/ 2147483647 h 98"/>
                <a:gd name="T42" fmla="*/ 2147483647 w 174"/>
                <a:gd name="T43" fmla="*/ 2147483647 h 98"/>
                <a:gd name="T44" fmla="*/ 2147483647 w 174"/>
                <a:gd name="T45" fmla="*/ 2147483647 h 98"/>
                <a:gd name="T46" fmla="*/ 2147483647 w 174"/>
                <a:gd name="T47" fmla="*/ 2147483647 h 98"/>
                <a:gd name="T48" fmla="*/ 2147483647 w 174"/>
                <a:gd name="T49" fmla="*/ 2147483647 h 98"/>
                <a:gd name="T50" fmla="*/ 2147483647 w 174"/>
                <a:gd name="T51" fmla="*/ 2147483647 h 98"/>
                <a:gd name="T52" fmla="*/ 2147483647 w 174"/>
                <a:gd name="T53" fmla="*/ 2147483647 h 98"/>
                <a:gd name="T54" fmla="*/ 2147483647 w 174"/>
                <a:gd name="T55" fmla="*/ 2147483647 h 98"/>
                <a:gd name="T56" fmla="*/ 2147483647 w 174"/>
                <a:gd name="T57" fmla="*/ 2147483647 h 98"/>
                <a:gd name="T58" fmla="*/ 2147483647 w 174"/>
                <a:gd name="T59" fmla="*/ 2147483647 h 98"/>
                <a:gd name="T60" fmla="*/ 2147483647 w 174"/>
                <a:gd name="T61" fmla="*/ 2147483647 h 98"/>
                <a:gd name="T62" fmla="*/ 2147483647 w 174"/>
                <a:gd name="T63" fmla="*/ 2147483647 h 98"/>
                <a:gd name="T64" fmla="*/ 2147483647 w 174"/>
                <a:gd name="T65" fmla="*/ 2147483647 h 98"/>
                <a:gd name="T66" fmla="*/ 2147483647 w 174"/>
                <a:gd name="T67" fmla="*/ 2147483647 h 98"/>
                <a:gd name="T68" fmla="*/ 2147483647 w 174"/>
                <a:gd name="T69" fmla="*/ 2147483647 h 98"/>
                <a:gd name="T70" fmla="*/ 2147483647 w 174"/>
                <a:gd name="T71" fmla="*/ 2147483647 h 98"/>
                <a:gd name="T72" fmla="*/ 2147483647 w 174"/>
                <a:gd name="T73" fmla="*/ 2147483647 h 98"/>
                <a:gd name="T74" fmla="*/ 2147483647 w 174"/>
                <a:gd name="T75" fmla="*/ 2147483647 h 98"/>
                <a:gd name="T76" fmla="*/ 2147483647 w 174"/>
                <a:gd name="T77" fmla="*/ 2147483647 h 98"/>
                <a:gd name="T78" fmla="*/ 2147483647 w 174"/>
                <a:gd name="T79" fmla="*/ 2147483647 h 98"/>
                <a:gd name="T80" fmla="*/ 2147483647 w 174"/>
                <a:gd name="T81" fmla="*/ 2147483647 h 98"/>
                <a:gd name="T82" fmla="*/ 2147483647 w 174"/>
                <a:gd name="T83" fmla="*/ 2147483647 h 98"/>
                <a:gd name="T84" fmla="*/ 2147483647 w 174"/>
                <a:gd name="T85" fmla="*/ 2147483647 h 98"/>
                <a:gd name="T86" fmla="*/ 2147483647 w 174"/>
                <a:gd name="T87" fmla="*/ 2147483647 h 98"/>
                <a:gd name="T88" fmla="*/ 2147483647 w 174"/>
                <a:gd name="T89" fmla="*/ 2147483647 h 98"/>
                <a:gd name="T90" fmla="*/ 2147483647 w 174"/>
                <a:gd name="T91" fmla="*/ 2147483647 h 98"/>
                <a:gd name="T92" fmla="*/ 2147483647 w 174"/>
                <a:gd name="T93" fmla="*/ 2147483647 h 9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4"/>
                <a:gd name="T142" fmla="*/ 0 h 98"/>
                <a:gd name="T143" fmla="*/ 174 w 174"/>
                <a:gd name="T144" fmla="*/ 98 h 9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4" h="98">
                  <a:moveTo>
                    <a:pt x="6" y="56"/>
                  </a:moveTo>
                  <a:lnTo>
                    <a:pt x="10" y="54"/>
                  </a:lnTo>
                  <a:lnTo>
                    <a:pt x="16" y="48"/>
                  </a:lnTo>
                  <a:lnTo>
                    <a:pt x="12" y="48"/>
                  </a:lnTo>
                  <a:lnTo>
                    <a:pt x="8" y="44"/>
                  </a:lnTo>
                  <a:lnTo>
                    <a:pt x="0" y="42"/>
                  </a:lnTo>
                  <a:lnTo>
                    <a:pt x="4" y="36"/>
                  </a:lnTo>
                  <a:lnTo>
                    <a:pt x="10" y="30"/>
                  </a:lnTo>
                  <a:lnTo>
                    <a:pt x="16" y="30"/>
                  </a:lnTo>
                  <a:lnTo>
                    <a:pt x="18" y="26"/>
                  </a:lnTo>
                  <a:lnTo>
                    <a:pt x="18" y="24"/>
                  </a:lnTo>
                  <a:lnTo>
                    <a:pt x="22" y="26"/>
                  </a:lnTo>
                  <a:lnTo>
                    <a:pt x="28" y="24"/>
                  </a:lnTo>
                  <a:lnTo>
                    <a:pt x="34" y="26"/>
                  </a:lnTo>
                  <a:lnTo>
                    <a:pt x="40" y="28"/>
                  </a:lnTo>
                  <a:lnTo>
                    <a:pt x="46" y="30"/>
                  </a:lnTo>
                  <a:lnTo>
                    <a:pt x="48" y="30"/>
                  </a:lnTo>
                  <a:lnTo>
                    <a:pt x="52" y="30"/>
                  </a:lnTo>
                  <a:lnTo>
                    <a:pt x="58" y="32"/>
                  </a:lnTo>
                  <a:lnTo>
                    <a:pt x="64" y="34"/>
                  </a:lnTo>
                  <a:lnTo>
                    <a:pt x="70" y="30"/>
                  </a:lnTo>
                  <a:lnTo>
                    <a:pt x="72" y="26"/>
                  </a:lnTo>
                  <a:lnTo>
                    <a:pt x="78" y="22"/>
                  </a:lnTo>
                  <a:lnTo>
                    <a:pt x="84" y="18"/>
                  </a:lnTo>
                  <a:lnTo>
                    <a:pt x="86" y="18"/>
                  </a:lnTo>
                  <a:lnTo>
                    <a:pt x="88" y="18"/>
                  </a:lnTo>
                  <a:lnTo>
                    <a:pt x="92" y="16"/>
                  </a:lnTo>
                  <a:lnTo>
                    <a:pt x="96" y="16"/>
                  </a:lnTo>
                  <a:lnTo>
                    <a:pt x="102" y="16"/>
                  </a:lnTo>
                  <a:lnTo>
                    <a:pt x="110" y="16"/>
                  </a:lnTo>
                  <a:lnTo>
                    <a:pt x="116" y="18"/>
                  </a:lnTo>
                  <a:lnTo>
                    <a:pt x="122" y="14"/>
                  </a:lnTo>
                  <a:lnTo>
                    <a:pt x="122" y="12"/>
                  </a:lnTo>
                  <a:lnTo>
                    <a:pt x="128" y="12"/>
                  </a:lnTo>
                  <a:lnTo>
                    <a:pt x="134" y="12"/>
                  </a:lnTo>
                  <a:lnTo>
                    <a:pt x="140" y="14"/>
                  </a:lnTo>
                  <a:lnTo>
                    <a:pt x="144" y="16"/>
                  </a:lnTo>
                  <a:lnTo>
                    <a:pt x="144" y="14"/>
                  </a:lnTo>
                  <a:lnTo>
                    <a:pt x="140" y="10"/>
                  </a:lnTo>
                  <a:lnTo>
                    <a:pt x="144" y="4"/>
                  </a:lnTo>
                  <a:lnTo>
                    <a:pt x="148" y="0"/>
                  </a:lnTo>
                  <a:lnTo>
                    <a:pt x="148" y="2"/>
                  </a:lnTo>
                  <a:lnTo>
                    <a:pt x="154" y="0"/>
                  </a:lnTo>
                  <a:lnTo>
                    <a:pt x="160" y="6"/>
                  </a:lnTo>
                  <a:lnTo>
                    <a:pt x="162" y="12"/>
                  </a:lnTo>
                  <a:lnTo>
                    <a:pt x="164" y="18"/>
                  </a:lnTo>
                  <a:lnTo>
                    <a:pt x="170" y="22"/>
                  </a:lnTo>
                  <a:lnTo>
                    <a:pt x="174" y="28"/>
                  </a:lnTo>
                  <a:lnTo>
                    <a:pt x="172" y="28"/>
                  </a:lnTo>
                  <a:lnTo>
                    <a:pt x="166" y="26"/>
                  </a:lnTo>
                  <a:lnTo>
                    <a:pt x="164" y="24"/>
                  </a:lnTo>
                  <a:lnTo>
                    <a:pt x="158" y="24"/>
                  </a:lnTo>
                  <a:lnTo>
                    <a:pt x="156" y="28"/>
                  </a:lnTo>
                  <a:lnTo>
                    <a:pt x="158" y="34"/>
                  </a:lnTo>
                  <a:lnTo>
                    <a:pt x="152" y="34"/>
                  </a:lnTo>
                  <a:lnTo>
                    <a:pt x="152" y="32"/>
                  </a:lnTo>
                  <a:lnTo>
                    <a:pt x="146" y="34"/>
                  </a:lnTo>
                  <a:lnTo>
                    <a:pt x="146" y="38"/>
                  </a:lnTo>
                  <a:lnTo>
                    <a:pt x="138" y="42"/>
                  </a:lnTo>
                  <a:lnTo>
                    <a:pt x="134" y="42"/>
                  </a:lnTo>
                  <a:lnTo>
                    <a:pt x="132" y="44"/>
                  </a:lnTo>
                  <a:lnTo>
                    <a:pt x="130" y="46"/>
                  </a:lnTo>
                  <a:lnTo>
                    <a:pt x="124" y="46"/>
                  </a:lnTo>
                  <a:lnTo>
                    <a:pt x="122" y="50"/>
                  </a:lnTo>
                  <a:lnTo>
                    <a:pt x="124" y="56"/>
                  </a:lnTo>
                  <a:lnTo>
                    <a:pt x="126" y="58"/>
                  </a:lnTo>
                  <a:lnTo>
                    <a:pt x="126" y="64"/>
                  </a:lnTo>
                  <a:lnTo>
                    <a:pt x="126" y="68"/>
                  </a:lnTo>
                  <a:lnTo>
                    <a:pt x="126" y="70"/>
                  </a:lnTo>
                  <a:lnTo>
                    <a:pt x="118" y="72"/>
                  </a:lnTo>
                  <a:lnTo>
                    <a:pt x="114" y="74"/>
                  </a:lnTo>
                  <a:lnTo>
                    <a:pt x="112" y="76"/>
                  </a:lnTo>
                  <a:lnTo>
                    <a:pt x="106" y="76"/>
                  </a:lnTo>
                  <a:lnTo>
                    <a:pt x="102" y="80"/>
                  </a:lnTo>
                  <a:lnTo>
                    <a:pt x="104" y="82"/>
                  </a:lnTo>
                  <a:lnTo>
                    <a:pt x="110" y="82"/>
                  </a:lnTo>
                  <a:lnTo>
                    <a:pt x="110" y="84"/>
                  </a:lnTo>
                  <a:lnTo>
                    <a:pt x="108" y="84"/>
                  </a:lnTo>
                  <a:lnTo>
                    <a:pt x="106" y="86"/>
                  </a:lnTo>
                  <a:lnTo>
                    <a:pt x="106" y="90"/>
                  </a:lnTo>
                  <a:lnTo>
                    <a:pt x="106" y="92"/>
                  </a:lnTo>
                  <a:lnTo>
                    <a:pt x="108" y="94"/>
                  </a:lnTo>
                  <a:lnTo>
                    <a:pt x="102" y="98"/>
                  </a:lnTo>
                  <a:lnTo>
                    <a:pt x="100" y="98"/>
                  </a:lnTo>
                  <a:lnTo>
                    <a:pt x="94" y="96"/>
                  </a:lnTo>
                  <a:lnTo>
                    <a:pt x="92" y="94"/>
                  </a:lnTo>
                  <a:lnTo>
                    <a:pt x="90" y="94"/>
                  </a:lnTo>
                  <a:lnTo>
                    <a:pt x="84" y="96"/>
                  </a:lnTo>
                  <a:lnTo>
                    <a:pt x="76" y="94"/>
                  </a:lnTo>
                  <a:lnTo>
                    <a:pt x="74" y="92"/>
                  </a:lnTo>
                  <a:lnTo>
                    <a:pt x="68" y="86"/>
                  </a:lnTo>
                  <a:lnTo>
                    <a:pt x="68" y="84"/>
                  </a:lnTo>
                  <a:lnTo>
                    <a:pt x="66" y="82"/>
                  </a:lnTo>
                  <a:lnTo>
                    <a:pt x="66" y="84"/>
                  </a:lnTo>
                  <a:lnTo>
                    <a:pt x="62" y="88"/>
                  </a:lnTo>
                  <a:lnTo>
                    <a:pt x="60" y="92"/>
                  </a:lnTo>
                  <a:lnTo>
                    <a:pt x="54" y="94"/>
                  </a:lnTo>
                  <a:lnTo>
                    <a:pt x="52" y="94"/>
                  </a:lnTo>
                  <a:lnTo>
                    <a:pt x="50" y="94"/>
                  </a:lnTo>
                  <a:lnTo>
                    <a:pt x="48" y="94"/>
                  </a:lnTo>
                  <a:lnTo>
                    <a:pt x="46" y="94"/>
                  </a:lnTo>
                  <a:lnTo>
                    <a:pt x="42" y="96"/>
                  </a:lnTo>
                  <a:lnTo>
                    <a:pt x="36" y="92"/>
                  </a:lnTo>
                  <a:lnTo>
                    <a:pt x="32" y="96"/>
                  </a:lnTo>
                  <a:lnTo>
                    <a:pt x="32" y="98"/>
                  </a:lnTo>
                  <a:lnTo>
                    <a:pt x="28" y="98"/>
                  </a:lnTo>
                  <a:lnTo>
                    <a:pt x="22" y="96"/>
                  </a:lnTo>
                  <a:lnTo>
                    <a:pt x="18" y="96"/>
                  </a:lnTo>
                  <a:lnTo>
                    <a:pt x="14" y="96"/>
                  </a:lnTo>
                  <a:lnTo>
                    <a:pt x="12" y="96"/>
                  </a:lnTo>
                  <a:lnTo>
                    <a:pt x="14" y="92"/>
                  </a:lnTo>
                  <a:lnTo>
                    <a:pt x="18" y="90"/>
                  </a:lnTo>
                  <a:lnTo>
                    <a:pt x="20" y="88"/>
                  </a:lnTo>
                  <a:lnTo>
                    <a:pt x="24" y="88"/>
                  </a:lnTo>
                  <a:lnTo>
                    <a:pt x="28" y="86"/>
                  </a:lnTo>
                  <a:lnTo>
                    <a:pt x="26" y="80"/>
                  </a:lnTo>
                  <a:lnTo>
                    <a:pt x="24" y="78"/>
                  </a:lnTo>
                  <a:lnTo>
                    <a:pt x="18" y="76"/>
                  </a:lnTo>
                  <a:lnTo>
                    <a:pt x="12" y="72"/>
                  </a:lnTo>
                  <a:lnTo>
                    <a:pt x="14" y="64"/>
                  </a:lnTo>
                  <a:lnTo>
                    <a:pt x="8" y="62"/>
                  </a:lnTo>
                  <a:lnTo>
                    <a:pt x="6" y="5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3" name="Freeform 50"/>
            <p:cNvSpPr>
              <a:spLocks/>
            </p:cNvSpPr>
            <p:nvPr/>
          </p:nvSpPr>
          <p:spPr bwMode="auto">
            <a:xfrm>
              <a:off x="4843463" y="2870200"/>
              <a:ext cx="82550" cy="84138"/>
            </a:xfrm>
            <a:custGeom>
              <a:avLst/>
              <a:gdLst>
                <a:gd name="T0" fmla="*/ 0 w 200"/>
                <a:gd name="T1" fmla="*/ 2147483647 h 204"/>
                <a:gd name="T2" fmla="*/ 2147483647 w 200"/>
                <a:gd name="T3" fmla="*/ 2147483647 h 204"/>
                <a:gd name="T4" fmla="*/ 2147483647 w 200"/>
                <a:gd name="T5" fmla="*/ 2147483647 h 204"/>
                <a:gd name="T6" fmla="*/ 2147483647 w 200"/>
                <a:gd name="T7" fmla="*/ 2147483647 h 204"/>
                <a:gd name="T8" fmla="*/ 2147483647 w 200"/>
                <a:gd name="T9" fmla="*/ 0 h 204"/>
                <a:gd name="T10" fmla="*/ 2147483647 w 200"/>
                <a:gd name="T11" fmla="*/ 0 h 204"/>
                <a:gd name="T12" fmla="*/ 2147483647 w 200"/>
                <a:gd name="T13" fmla="*/ 0 h 204"/>
                <a:gd name="T14" fmla="*/ 2147483647 w 200"/>
                <a:gd name="T15" fmla="*/ 2147483647 h 204"/>
                <a:gd name="T16" fmla="*/ 2147483647 w 200"/>
                <a:gd name="T17" fmla="*/ 2147483647 h 204"/>
                <a:gd name="T18" fmla="*/ 2147483647 w 200"/>
                <a:gd name="T19" fmla="*/ 2147483647 h 204"/>
                <a:gd name="T20" fmla="*/ 2147483647 w 200"/>
                <a:gd name="T21" fmla="*/ 2147483647 h 204"/>
                <a:gd name="T22" fmla="*/ 2147483647 w 200"/>
                <a:gd name="T23" fmla="*/ 2147483647 h 204"/>
                <a:gd name="T24" fmla="*/ 2147483647 w 200"/>
                <a:gd name="T25" fmla="*/ 2147483647 h 204"/>
                <a:gd name="T26" fmla="*/ 2147483647 w 200"/>
                <a:gd name="T27" fmla="*/ 2147483647 h 204"/>
                <a:gd name="T28" fmla="*/ 2147483647 w 200"/>
                <a:gd name="T29" fmla="*/ 2147483647 h 204"/>
                <a:gd name="T30" fmla="*/ 2147483647 w 200"/>
                <a:gd name="T31" fmla="*/ 2147483647 h 204"/>
                <a:gd name="T32" fmla="*/ 2147483647 w 200"/>
                <a:gd name="T33" fmla="*/ 2147483647 h 204"/>
                <a:gd name="T34" fmla="*/ 2147483647 w 200"/>
                <a:gd name="T35" fmla="*/ 2147483647 h 204"/>
                <a:gd name="T36" fmla="*/ 2147483647 w 200"/>
                <a:gd name="T37" fmla="*/ 2147483647 h 204"/>
                <a:gd name="T38" fmla="*/ 2147483647 w 200"/>
                <a:gd name="T39" fmla="*/ 2147483647 h 204"/>
                <a:gd name="T40" fmla="*/ 2147483647 w 200"/>
                <a:gd name="T41" fmla="*/ 2147483647 h 204"/>
                <a:gd name="T42" fmla="*/ 2147483647 w 200"/>
                <a:gd name="T43" fmla="*/ 2147483647 h 204"/>
                <a:gd name="T44" fmla="*/ 2147483647 w 200"/>
                <a:gd name="T45" fmla="*/ 2147483647 h 204"/>
                <a:gd name="T46" fmla="*/ 2147483647 w 200"/>
                <a:gd name="T47" fmla="*/ 2147483647 h 204"/>
                <a:gd name="T48" fmla="*/ 2147483647 w 200"/>
                <a:gd name="T49" fmla="*/ 2147483647 h 204"/>
                <a:gd name="T50" fmla="*/ 2147483647 w 200"/>
                <a:gd name="T51" fmla="*/ 2147483647 h 204"/>
                <a:gd name="T52" fmla="*/ 2147483647 w 200"/>
                <a:gd name="T53" fmla="*/ 2147483647 h 204"/>
                <a:gd name="T54" fmla="*/ 2147483647 w 200"/>
                <a:gd name="T55" fmla="*/ 2147483647 h 204"/>
                <a:gd name="T56" fmla="*/ 2147483647 w 200"/>
                <a:gd name="T57" fmla="*/ 2147483647 h 204"/>
                <a:gd name="T58" fmla="*/ 2147483647 w 200"/>
                <a:gd name="T59" fmla="*/ 2147483647 h 204"/>
                <a:gd name="T60" fmla="*/ 2147483647 w 200"/>
                <a:gd name="T61" fmla="*/ 2147483647 h 204"/>
                <a:gd name="T62" fmla="*/ 2147483647 w 200"/>
                <a:gd name="T63" fmla="*/ 2147483647 h 204"/>
                <a:gd name="T64" fmla="*/ 2147483647 w 200"/>
                <a:gd name="T65" fmla="*/ 2147483647 h 204"/>
                <a:gd name="T66" fmla="*/ 2147483647 w 200"/>
                <a:gd name="T67" fmla="*/ 2147483647 h 204"/>
                <a:gd name="T68" fmla="*/ 2147483647 w 200"/>
                <a:gd name="T69" fmla="*/ 2147483647 h 204"/>
                <a:gd name="T70" fmla="*/ 2147483647 w 200"/>
                <a:gd name="T71" fmla="*/ 2147483647 h 204"/>
                <a:gd name="T72" fmla="*/ 2147483647 w 200"/>
                <a:gd name="T73" fmla="*/ 2147483647 h 204"/>
                <a:gd name="T74" fmla="*/ 2147483647 w 200"/>
                <a:gd name="T75" fmla="*/ 2147483647 h 204"/>
                <a:gd name="T76" fmla="*/ 2147483647 w 200"/>
                <a:gd name="T77" fmla="*/ 2147483647 h 204"/>
                <a:gd name="T78" fmla="*/ 2147483647 w 200"/>
                <a:gd name="T79" fmla="*/ 2147483647 h 204"/>
                <a:gd name="T80" fmla="*/ 2147483647 w 200"/>
                <a:gd name="T81" fmla="*/ 2147483647 h 204"/>
                <a:gd name="T82" fmla="*/ 2147483647 w 200"/>
                <a:gd name="T83" fmla="*/ 2147483647 h 204"/>
                <a:gd name="T84" fmla="*/ 2147483647 w 200"/>
                <a:gd name="T85" fmla="*/ 2147483647 h 204"/>
                <a:gd name="T86" fmla="*/ 2147483647 w 200"/>
                <a:gd name="T87" fmla="*/ 2147483647 h 204"/>
                <a:gd name="T88" fmla="*/ 2147483647 w 200"/>
                <a:gd name="T89" fmla="*/ 2147483647 h 204"/>
                <a:gd name="T90" fmla="*/ 2147483647 w 200"/>
                <a:gd name="T91" fmla="*/ 2147483647 h 204"/>
                <a:gd name="T92" fmla="*/ 2147483647 w 200"/>
                <a:gd name="T93" fmla="*/ 2147483647 h 204"/>
                <a:gd name="T94" fmla="*/ 2147483647 w 200"/>
                <a:gd name="T95" fmla="*/ 2147483647 h 204"/>
                <a:gd name="T96" fmla="*/ 2147483647 w 200"/>
                <a:gd name="T97" fmla="*/ 2147483647 h 204"/>
                <a:gd name="T98" fmla="*/ 2147483647 w 200"/>
                <a:gd name="T99" fmla="*/ 2147483647 h 204"/>
                <a:gd name="T100" fmla="*/ 0 w 200"/>
                <a:gd name="T101" fmla="*/ 2147483647 h 20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00"/>
                <a:gd name="T154" fmla="*/ 0 h 204"/>
                <a:gd name="T155" fmla="*/ 200 w 200"/>
                <a:gd name="T156" fmla="*/ 204 h 20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00" h="204">
                  <a:moveTo>
                    <a:pt x="0" y="14"/>
                  </a:moveTo>
                  <a:lnTo>
                    <a:pt x="0" y="14"/>
                  </a:lnTo>
                  <a:lnTo>
                    <a:pt x="0" y="12"/>
                  </a:lnTo>
                  <a:lnTo>
                    <a:pt x="4" y="10"/>
                  </a:lnTo>
                  <a:lnTo>
                    <a:pt x="6" y="12"/>
                  </a:lnTo>
                  <a:lnTo>
                    <a:pt x="6" y="6"/>
                  </a:lnTo>
                  <a:lnTo>
                    <a:pt x="12" y="6"/>
                  </a:lnTo>
                  <a:lnTo>
                    <a:pt x="18" y="6"/>
                  </a:lnTo>
                  <a:lnTo>
                    <a:pt x="20" y="6"/>
                  </a:lnTo>
                  <a:lnTo>
                    <a:pt x="26" y="6"/>
                  </a:lnTo>
                  <a:lnTo>
                    <a:pt x="28" y="6"/>
                  </a:lnTo>
                  <a:lnTo>
                    <a:pt x="34" y="2"/>
                  </a:lnTo>
                  <a:lnTo>
                    <a:pt x="38" y="0"/>
                  </a:lnTo>
                  <a:lnTo>
                    <a:pt x="42" y="0"/>
                  </a:lnTo>
                  <a:lnTo>
                    <a:pt x="46" y="0"/>
                  </a:lnTo>
                  <a:lnTo>
                    <a:pt x="52" y="0"/>
                  </a:lnTo>
                  <a:lnTo>
                    <a:pt x="58" y="0"/>
                  </a:lnTo>
                  <a:lnTo>
                    <a:pt x="60" y="0"/>
                  </a:lnTo>
                  <a:lnTo>
                    <a:pt x="60" y="2"/>
                  </a:lnTo>
                  <a:lnTo>
                    <a:pt x="66" y="6"/>
                  </a:lnTo>
                  <a:lnTo>
                    <a:pt x="72" y="10"/>
                  </a:lnTo>
                  <a:lnTo>
                    <a:pt x="78" y="16"/>
                  </a:lnTo>
                  <a:lnTo>
                    <a:pt x="84" y="16"/>
                  </a:lnTo>
                  <a:lnTo>
                    <a:pt x="90" y="14"/>
                  </a:lnTo>
                  <a:lnTo>
                    <a:pt x="90" y="20"/>
                  </a:lnTo>
                  <a:lnTo>
                    <a:pt x="96" y="20"/>
                  </a:lnTo>
                  <a:lnTo>
                    <a:pt x="98" y="26"/>
                  </a:lnTo>
                  <a:lnTo>
                    <a:pt x="102" y="20"/>
                  </a:lnTo>
                  <a:lnTo>
                    <a:pt x="108" y="20"/>
                  </a:lnTo>
                  <a:lnTo>
                    <a:pt x="114" y="22"/>
                  </a:lnTo>
                  <a:lnTo>
                    <a:pt x="118" y="26"/>
                  </a:lnTo>
                  <a:lnTo>
                    <a:pt x="122" y="30"/>
                  </a:lnTo>
                  <a:lnTo>
                    <a:pt x="128" y="34"/>
                  </a:lnTo>
                  <a:lnTo>
                    <a:pt x="134" y="32"/>
                  </a:lnTo>
                  <a:lnTo>
                    <a:pt x="140" y="38"/>
                  </a:lnTo>
                  <a:lnTo>
                    <a:pt x="140" y="44"/>
                  </a:lnTo>
                  <a:lnTo>
                    <a:pt x="142" y="46"/>
                  </a:lnTo>
                  <a:lnTo>
                    <a:pt x="142" y="52"/>
                  </a:lnTo>
                  <a:lnTo>
                    <a:pt x="140" y="58"/>
                  </a:lnTo>
                  <a:lnTo>
                    <a:pt x="140" y="64"/>
                  </a:lnTo>
                  <a:lnTo>
                    <a:pt x="144" y="68"/>
                  </a:lnTo>
                  <a:lnTo>
                    <a:pt x="148" y="72"/>
                  </a:lnTo>
                  <a:lnTo>
                    <a:pt x="154" y="78"/>
                  </a:lnTo>
                  <a:lnTo>
                    <a:pt x="160" y="74"/>
                  </a:lnTo>
                  <a:lnTo>
                    <a:pt x="166" y="82"/>
                  </a:lnTo>
                  <a:lnTo>
                    <a:pt x="164" y="86"/>
                  </a:lnTo>
                  <a:lnTo>
                    <a:pt x="162" y="92"/>
                  </a:lnTo>
                  <a:lnTo>
                    <a:pt x="166" y="98"/>
                  </a:lnTo>
                  <a:lnTo>
                    <a:pt x="172" y="104"/>
                  </a:lnTo>
                  <a:lnTo>
                    <a:pt x="178" y="108"/>
                  </a:lnTo>
                  <a:lnTo>
                    <a:pt x="182" y="108"/>
                  </a:lnTo>
                  <a:lnTo>
                    <a:pt x="188" y="114"/>
                  </a:lnTo>
                  <a:lnTo>
                    <a:pt x="188" y="116"/>
                  </a:lnTo>
                  <a:lnTo>
                    <a:pt x="188" y="120"/>
                  </a:lnTo>
                  <a:lnTo>
                    <a:pt x="190" y="126"/>
                  </a:lnTo>
                  <a:lnTo>
                    <a:pt x="186" y="128"/>
                  </a:lnTo>
                  <a:lnTo>
                    <a:pt x="186" y="130"/>
                  </a:lnTo>
                  <a:lnTo>
                    <a:pt x="192" y="132"/>
                  </a:lnTo>
                  <a:lnTo>
                    <a:pt x="194" y="136"/>
                  </a:lnTo>
                  <a:lnTo>
                    <a:pt x="200" y="138"/>
                  </a:lnTo>
                  <a:lnTo>
                    <a:pt x="198" y="140"/>
                  </a:lnTo>
                  <a:lnTo>
                    <a:pt x="192" y="140"/>
                  </a:lnTo>
                  <a:lnTo>
                    <a:pt x="186" y="142"/>
                  </a:lnTo>
                  <a:lnTo>
                    <a:pt x="182" y="136"/>
                  </a:lnTo>
                  <a:lnTo>
                    <a:pt x="176" y="136"/>
                  </a:lnTo>
                  <a:lnTo>
                    <a:pt x="174" y="140"/>
                  </a:lnTo>
                  <a:lnTo>
                    <a:pt x="170" y="138"/>
                  </a:lnTo>
                  <a:lnTo>
                    <a:pt x="162" y="132"/>
                  </a:lnTo>
                  <a:lnTo>
                    <a:pt x="158" y="134"/>
                  </a:lnTo>
                  <a:lnTo>
                    <a:pt x="152" y="140"/>
                  </a:lnTo>
                  <a:lnTo>
                    <a:pt x="150" y="134"/>
                  </a:lnTo>
                  <a:lnTo>
                    <a:pt x="148" y="130"/>
                  </a:lnTo>
                  <a:lnTo>
                    <a:pt x="142" y="132"/>
                  </a:lnTo>
                  <a:lnTo>
                    <a:pt x="136" y="134"/>
                  </a:lnTo>
                  <a:lnTo>
                    <a:pt x="136" y="136"/>
                  </a:lnTo>
                  <a:lnTo>
                    <a:pt x="136" y="142"/>
                  </a:lnTo>
                  <a:lnTo>
                    <a:pt x="136" y="144"/>
                  </a:lnTo>
                  <a:lnTo>
                    <a:pt x="138" y="150"/>
                  </a:lnTo>
                  <a:lnTo>
                    <a:pt x="140" y="156"/>
                  </a:lnTo>
                  <a:lnTo>
                    <a:pt x="138" y="162"/>
                  </a:lnTo>
                  <a:lnTo>
                    <a:pt x="136" y="166"/>
                  </a:lnTo>
                  <a:lnTo>
                    <a:pt x="132" y="168"/>
                  </a:lnTo>
                  <a:lnTo>
                    <a:pt x="128" y="174"/>
                  </a:lnTo>
                  <a:lnTo>
                    <a:pt x="126" y="178"/>
                  </a:lnTo>
                  <a:lnTo>
                    <a:pt x="120" y="182"/>
                  </a:lnTo>
                  <a:lnTo>
                    <a:pt x="120" y="186"/>
                  </a:lnTo>
                  <a:lnTo>
                    <a:pt x="116" y="186"/>
                  </a:lnTo>
                  <a:lnTo>
                    <a:pt x="118" y="192"/>
                  </a:lnTo>
                  <a:lnTo>
                    <a:pt x="118" y="198"/>
                  </a:lnTo>
                  <a:lnTo>
                    <a:pt x="112" y="200"/>
                  </a:lnTo>
                  <a:lnTo>
                    <a:pt x="108" y="198"/>
                  </a:lnTo>
                  <a:lnTo>
                    <a:pt x="102" y="200"/>
                  </a:lnTo>
                  <a:lnTo>
                    <a:pt x="102" y="202"/>
                  </a:lnTo>
                  <a:lnTo>
                    <a:pt x="102" y="204"/>
                  </a:lnTo>
                  <a:lnTo>
                    <a:pt x="100" y="202"/>
                  </a:lnTo>
                  <a:lnTo>
                    <a:pt x="98" y="200"/>
                  </a:lnTo>
                  <a:lnTo>
                    <a:pt x="94" y="196"/>
                  </a:lnTo>
                  <a:lnTo>
                    <a:pt x="98" y="190"/>
                  </a:lnTo>
                  <a:lnTo>
                    <a:pt x="96" y="184"/>
                  </a:lnTo>
                  <a:lnTo>
                    <a:pt x="94" y="178"/>
                  </a:lnTo>
                  <a:lnTo>
                    <a:pt x="94" y="172"/>
                  </a:lnTo>
                  <a:lnTo>
                    <a:pt x="92" y="166"/>
                  </a:lnTo>
                  <a:lnTo>
                    <a:pt x="92" y="160"/>
                  </a:lnTo>
                  <a:lnTo>
                    <a:pt x="92" y="158"/>
                  </a:lnTo>
                  <a:lnTo>
                    <a:pt x="92" y="152"/>
                  </a:lnTo>
                  <a:lnTo>
                    <a:pt x="92" y="150"/>
                  </a:lnTo>
                  <a:lnTo>
                    <a:pt x="94" y="148"/>
                  </a:lnTo>
                  <a:lnTo>
                    <a:pt x="96" y="142"/>
                  </a:lnTo>
                  <a:lnTo>
                    <a:pt x="98" y="136"/>
                  </a:lnTo>
                  <a:lnTo>
                    <a:pt x="96" y="130"/>
                  </a:lnTo>
                  <a:lnTo>
                    <a:pt x="96" y="124"/>
                  </a:lnTo>
                  <a:lnTo>
                    <a:pt x="94" y="118"/>
                  </a:lnTo>
                  <a:lnTo>
                    <a:pt x="90" y="112"/>
                  </a:lnTo>
                  <a:lnTo>
                    <a:pt x="88" y="108"/>
                  </a:lnTo>
                  <a:lnTo>
                    <a:pt x="86" y="102"/>
                  </a:lnTo>
                  <a:lnTo>
                    <a:pt x="80" y="96"/>
                  </a:lnTo>
                  <a:lnTo>
                    <a:pt x="74" y="94"/>
                  </a:lnTo>
                  <a:lnTo>
                    <a:pt x="68" y="88"/>
                  </a:lnTo>
                  <a:lnTo>
                    <a:pt x="68" y="86"/>
                  </a:lnTo>
                  <a:lnTo>
                    <a:pt x="68" y="84"/>
                  </a:lnTo>
                  <a:lnTo>
                    <a:pt x="62" y="78"/>
                  </a:lnTo>
                  <a:lnTo>
                    <a:pt x="56" y="74"/>
                  </a:lnTo>
                  <a:lnTo>
                    <a:pt x="56" y="68"/>
                  </a:lnTo>
                  <a:lnTo>
                    <a:pt x="50" y="66"/>
                  </a:lnTo>
                  <a:lnTo>
                    <a:pt x="48" y="64"/>
                  </a:lnTo>
                  <a:lnTo>
                    <a:pt x="44" y="58"/>
                  </a:lnTo>
                  <a:lnTo>
                    <a:pt x="42" y="56"/>
                  </a:lnTo>
                  <a:lnTo>
                    <a:pt x="36" y="50"/>
                  </a:lnTo>
                  <a:lnTo>
                    <a:pt x="34" y="44"/>
                  </a:lnTo>
                  <a:lnTo>
                    <a:pt x="32" y="38"/>
                  </a:lnTo>
                  <a:lnTo>
                    <a:pt x="30" y="34"/>
                  </a:lnTo>
                  <a:lnTo>
                    <a:pt x="28" y="30"/>
                  </a:lnTo>
                  <a:lnTo>
                    <a:pt x="22" y="26"/>
                  </a:lnTo>
                  <a:lnTo>
                    <a:pt x="18" y="20"/>
                  </a:lnTo>
                  <a:lnTo>
                    <a:pt x="12" y="16"/>
                  </a:lnTo>
                  <a:lnTo>
                    <a:pt x="4" y="14"/>
                  </a:lnTo>
                  <a:lnTo>
                    <a:pt x="0"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4" name="Freeform 51"/>
            <p:cNvSpPr>
              <a:spLocks/>
            </p:cNvSpPr>
            <p:nvPr/>
          </p:nvSpPr>
          <p:spPr bwMode="auto">
            <a:xfrm>
              <a:off x="4132263" y="2597150"/>
              <a:ext cx="22225" cy="20638"/>
            </a:xfrm>
            <a:custGeom>
              <a:avLst/>
              <a:gdLst>
                <a:gd name="T0" fmla="*/ 2147483647 w 52"/>
                <a:gd name="T1" fmla="*/ 2147483647 h 50"/>
                <a:gd name="T2" fmla="*/ 2147483647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2147483647 h 50"/>
                <a:gd name="T20" fmla="*/ 2147483647 w 52"/>
                <a:gd name="T21" fmla="*/ 2147483647 h 50"/>
                <a:gd name="T22" fmla="*/ 2147483647 w 52"/>
                <a:gd name="T23" fmla="*/ 2147483647 h 50"/>
                <a:gd name="T24" fmla="*/ 2147483647 w 52"/>
                <a:gd name="T25" fmla="*/ 2147483647 h 50"/>
                <a:gd name="T26" fmla="*/ 2147483647 w 52"/>
                <a:gd name="T27" fmla="*/ 0 h 50"/>
                <a:gd name="T28" fmla="*/ 2147483647 w 52"/>
                <a:gd name="T29" fmla="*/ 2147483647 h 50"/>
                <a:gd name="T30" fmla="*/ 2147483647 w 52"/>
                <a:gd name="T31" fmla="*/ 2147483647 h 50"/>
                <a:gd name="T32" fmla="*/ 2147483647 w 52"/>
                <a:gd name="T33" fmla="*/ 2147483647 h 50"/>
                <a:gd name="T34" fmla="*/ 2147483647 w 52"/>
                <a:gd name="T35" fmla="*/ 2147483647 h 50"/>
                <a:gd name="T36" fmla="*/ 2147483647 w 52"/>
                <a:gd name="T37" fmla="*/ 2147483647 h 50"/>
                <a:gd name="T38" fmla="*/ 2147483647 w 52"/>
                <a:gd name="T39" fmla="*/ 2147483647 h 50"/>
                <a:gd name="T40" fmla="*/ 2147483647 w 52"/>
                <a:gd name="T41" fmla="*/ 2147483647 h 50"/>
                <a:gd name="T42" fmla="*/ 2147483647 w 52"/>
                <a:gd name="T43" fmla="*/ 2147483647 h 50"/>
                <a:gd name="T44" fmla="*/ 2147483647 w 52"/>
                <a:gd name="T45" fmla="*/ 2147483647 h 50"/>
                <a:gd name="T46" fmla="*/ 2147483647 w 52"/>
                <a:gd name="T47" fmla="*/ 2147483647 h 50"/>
                <a:gd name="T48" fmla="*/ 2147483647 w 52"/>
                <a:gd name="T49" fmla="*/ 2147483647 h 50"/>
                <a:gd name="T50" fmla="*/ 0 w 52"/>
                <a:gd name="T51" fmla="*/ 2147483647 h 50"/>
                <a:gd name="T52" fmla="*/ 2147483647 w 52"/>
                <a:gd name="T53" fmla="*/ 2147483647 h 50"/>
                <a:gd name="T54" fmla="*/ 2147483647 w 52"/>
                <a:gd name="T55" fmla="*/ 2147483647 h 50"/>
                <a:gd name="T56" fmla="*/ 2147483647 w 52"/>
                <a:gd name="T57" fmla="*/ 2147483647 h 50"/>
                <a:gd name="T58" fmla="*/ 0 w 52"/>
                <a:gd name="T59" fmla="*/ 2147483647 h 50"/>
                <a:gd name="T60" fmla="*/ 2147483647 w 52"/>
                <a:gd name="T61" fmla="*/ 2147483647 h 50"/>
                <a:gd name="T62" fmla="*/ 2147483647 w 52"/>
                <a:gd name="T63" fmla="*/ 2147483647 h 50"/>
                <a:gd name="T64" fmla="*/ 2147483647 w 52"/>
                <a:gd name="T65" fmla="*/ 2147483647 h 50"/>
                <a:gd name="T66" fmla="*/ 2147483647 w 52"/>
                <a:gd name="T67" fmla="*/ 2147483647 h 50"/>
                <a:gd name="T68" fmla="*/ 2147483647 w 52"/>
                <a:gd name="T69" fmla="*/ 2147483647 h 5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50"/>
                <a:gd name="T107" fmla="*/ 52 w 52"/>
                <a:gd name="T108" fmla="*/ 50 h 5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50">
                  <a:moveTo>
                    <a:pt x="22" y="34"/>
                  </a:moveTo>
                  <a:lnTo>
                    <a:pt x="28" y="38"/>
                  </a:lnTo>
                  <a:lnTo>
                    <a:pt x="32" y="32"/>
                  </a:lnTo>
                  <a:lnTo>
                    <a:pt x="38" y="32"/>
                  </a:lnTo>
                  <a:lnTo>
                    <a:pt x="36" y="26"/>
                  </a:lnTo>
                  <a:lnTo>
                    <a:pt x="30" y="26"/>
                  </a:lnTo>
                  <a:lnTo>
                    <a:pt x="36" y="24"/>
                  </a:lnTo>
                  <a:lnTo>
                    <a:pt x="42" y="20"/>
                  </a:lnTo>
                  <a:lnTo>
                    <a:pt x="48" y="16"/>
                  </a:lnTo>
                  <a:lnTo>
                    <a:pt x="42" y="16"/>
                  </a:lnTo>
                  <a:lnTo>
                    <a:pt x="48" y="12"/>
                  </a:lnTo>
                  <a:lnTo>
                    <a:pt x="52" y="6"/>
                  </a:lnTo>
                  <a:lnTo>
                    <a:pt x="48" y="0"/>
                  </a:lnTo>
                  <a:lnTo>
                    <a:pt x="42" y="4"/>
                  </a:lnTo>
                  <a:lnTo>
                    <a:pt x="36" y="6"/>
                  </a:lnTo>
                  <a:lnTo>
                    <a:pt x="30" y="10"/>
                  </a:lnTo>
                  <a:lnTo>
                    <a:pt x="24" y="12"/>
                  </a:lnTo>
                  <a:lnTo>
                    <a:pt x="18" y="14"/>
                  </a:lnTo>
                  <a:lnTo>
                    <a:pt x="20" y="20"/>
                  </a:lnTo>
                  <a:lnTo>
                    <a:pt x="14" y="26"/>
                  </a:lnTo>
                  <a:lnTo>
                    <a:pt x="12" y="20"/>
                  </a:lnTo>
                  <a:lnTo>
                    <a:pt x="6" y="20"/>
                  </a:lnTo>
                  <a:lnTo>
                    <a:pt x="2" y="24"/>
                  </a:lnTo>
                  <a:lnTo>
                    <a:pt x="6" y="32"/>
                  </a:lnTo>
                  <a:lnTo>
                    <a:pt x="0" y="34"/>
                  </a:lnTo>
                  <a:lnTo>
                    <a:pt x="6" y="36"/>
                  </a:lnTo>
                  <a:lnTo>
                    <a:pt x="12" y="40"/>
                  </a:lnTo>
                  <a:lnTo>
                    <a:pt x="6" y="42"/>
                  </a:lnTo>
                  <a:lnTo>
                    <a:pt x="0" y="46"/>
                  </a:lnTo>
                  <a:lnTo>
                    <a:pt x="6" y="50"/>
                  </a:lnTo>
                  <a:lnTo>
                    <a:pt x="12" y="46"/>
                  </a:lnTo>
                  <a:lnTo>
                    <a:pt x="16" y="40"/>
                  </a:lnTo>
                  <a:lnTo>
                    <a:pt x="22" y="36"/>
                  </a:lnTo>
                  <a:lnTo>
                    <a:pt x="22" y="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5" name="Freeform 52"/>
            <p:cNvSpPr>
              <a:spLocks/>
            </p:cNvSpPr>
            <p:nvPr/>
          </p:nvSpPr>
          <p:spPr bwMode="auto">
            <a:xfrm>
              <a:off x="4138613" y="2667000"/>
              <a:ext cx="9525" cy="9525"/>
            </a:xfrm>
            <a:custGeom>
              <a:avLst/>
              <a:gdLst>
                <a:gd name="T0" fmla="*/ 2147483647 w 24"/>
                <a:gd name="T1" fmla="*/ 2147483647 h 22"/>
                <a:gd name="T2" fmla="*/ 2147483647 w 24"/>
                <a:gd name="T3" fmla="*/ 2147483647 h 22"/>
                <a:gd name="T4" fmla="*/ 2147483647 w 24"/>
                <a:gd name="T5" fmla="*/ 2147483647 h 22"/>
                <a:gd name="T6" fmla="*/ 2147483647 w 24"/>
                <a:gd name="T7" fmla="*/ 2147483647 h 22"/>
                <a:gd name="T8" fmla="*/ 2147483647 w 24"/>
                <a:gd name="T9" fmla="*/ 2147483647 h 22"/>
                <a:gd name="T10" fmla="*/ 2147483647 w 24"/>
                <a:gd name="T11" fmla="*/ 0 h 22"/>
                <a:gd name="T12" fmla="*/ 2147483647 w 24"/>
                <a:gd name="T13" fmla="*/ 2147483647 h 22"/>
                <a:gd name="T14" fmla="*/ 2147483647 w 24"/>
                <a:gd name="T15" fmla="*/ 2147483647 h 22"/>
                <a:gd name="T16" fmla="*/ 2147483647 w 24"/>
                <a:gd name="T17" fmla="*/ 2147483647 h 22"/>
                <a:gd name="T18" fmla="*/ 0 w 24"/>
                <a:gd name="T19" fmla="*/ 2147483647 h 22"/>
                <a:gd name="T20" fmla="*/ 2147483647 w 24"/>
                <a:gd name="T21" fmla="*/ 2147483647 h 22"/>
                <a:gd name="T22" fmla="*/ 2147483647 w 24"/>
                <a:gd name="T23" fmla="*/ 2147483647 h 22"/>
                <a:gd name="T24" fmla="*/ 2147483647 w 24"/>
                <a:gd name="T25" fmla="*/ 2147483647 h 22"/>
                <a:gd name="T26" fmla="*/ 2147483647 w 24"/>
                <a:gd name="T27" fmla="*/ 2147483647 h 2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22"/>
                <a:gd name="T44" fmla="*/ 24 w 24"/>
                <a:gd name="T45" fmla="*/ 22 h 2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22">
                  <a:moveTo>
                    <a:pt x="12" y="22"/>
                  </a:moveTo>
                  <a:lnTo>
                    <a:pt x="14" y="20"/>
                  </a:lnTo>
                  <a:lnTo>
                    <a:pt x="18" y="18"/>
                  </a:lnTo>
                  <a:lnTo>
                    <a:pt x="24" y="12"/>
                  </a:lnTo>
                  <a:lnTo>
                    <a:pt x="22" y="6"/>
                  </a:lnTo>
                  <a:lnTo>
                    <a:pt x="16" y="0"/>
                  </a:lnTo>
                  <a:lnTo>
                    <a:pt x="10" y="2"/>
                  </a:lnTo>
                  <a:lnTo>
                    <a:pt x="4" y="4"/>
                  </a:lnTo>
                  <a:lnTo>
                    <a:pt x="4" y="10"/>
                  </a:lnTo>
                  <a:lnTo>
                    <a:pt x="0" y="16"/>
                  </a:lnTo>
                  <a:lnTo>
                    <a:pt x="6" y="12"/>
                  </a:lnTo>
                  <a:lnTo>
                    <a:pt x="12" y="10"/>
                  </a:lnTo>
                  <a:lnTo>
                    <a:pt x="14" y="16"/>
                  </a:lnTo>
                  <a:lnTo>
                    <a:pt x="12"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6" name="Freeform 53"/>
            <p:cNvSpPr>
              <a:spLocks/>
            </p:cNvSpPr>
            <p:nvPr/>
          </p:nvSpPr>
          <p:spPr bwMode="auto">
            <a:xfrm>
              <a:off x="4140200" y="2619375"/>
              <a:ext cx="19050" cy="17463"/>
            </a:xfrm>
            <a:custGeom>
              <a:avLst/>
              <a:gdLst>
                <a:gd name="T0" fmla="*/ 2147483647 w 50"/>
                <a:gd name="T1" fmla="*/ 2147483647 h 42"/>
                <a:gd name="T2" fmla="*/ 2147483647 w 50"/>
                <a:gd name="T3" fmla="*/ 2147483647 h 42"/>
                <a:gd name="T4" fmla="*/ 2147483647 w 50"/>
                <a:gd name="T5" fmla="*/ 2147483647 h 42"/>
                <a:gd name="T6" fmla="*/ 2147483647 w 50"/>
                <a:gd name="T7" fmla="*/ 2147483647 h 42"/>
                <a:gd name="T8" fmla="*/ 2147483647 w 50"/>
                <a:gd name="T9" fmla="*/ 2147483647 h 42"/>
                <a:gd name="T10" fmla="*/ 2147483647 w 50"/>
                <a:gd name="T11" fmla="*/ 2147483647 h 42"/>
                <a:gd name="T12" fmla="*/ 2147483647 w 50"/>
                <a:gd name="T13" fmla="*/ 2147483647 h 42"/>
                <a:gd name="T14" fmla="*/ 2147483647 w 50"/>
                <a:gd name="T15" fmla="*/ 2147483647 h 42"/>
                <a:gd name="T16" fmla="*/ 2147483647 w 50"/>
                <a:gd name="T17" fmla="*/ 2147483647 h 42"/>
                <a:gd name="T18" fmla="*/ 2147483647 w 50"/>
                <a:gd name="T19" fmla="*/ 2147483647 h 42"/>
                <a:gd name="T20" fmla="*/ 2147483647 w 50"/>
                <a:gd name="T21" fmla="*/ 2147483647 h 42"/>
                <a:gd name="T22" fmla="*/ 2147483647 w 50"/>
                <a:gd name="T23" fmla="*/ 2147483647 h 42"/>
                <a:gd name="T24" fmla="*/ 2147483647 w 50"/>
                <a:gd name="T25" fmla="*/ 0 h 42"/>
                <a:gd name="T26" fmla="*/ 2147483647 w 50"/>
                <a:gd name="T27" fmla="*/ 2147483647 h 42"/>
                <a:gd name="T28" fmla="*/ 2147483647 w 50"/>
                <a:gd name="T29" fmla="*/ 2147483647 h 42"/>
                <a:gd name="T30" fmla="*/ 2147483647 w 50"/>
                <a:gd name="T31" fmla="*/ 2147483647 h 42"/>
                <a:gd name="T32" fmla="*/ 2147483647 w 50"/>
                <a:gd name="T33" fmla="*/ 2147483647 h 42"/>
                <a:gd name="T34" fmla="*/ 2147483647 w 50"/>
                <a:gd name="T35" fmla="*/ 2147483647 h 42"/>
                <a:gd name="T36" fmla="*/ 0 w 50"/>
                <a:gd name="T37" fmla="*/ 2147483647 h 42"/>
                <a:gd name="T38" fmla="*/ 0 w 50"/>
                <a:gd name="T39" fmla="*/ 2147483647 h 42"/>
                <a:gd name="T40" fmla="*/ 2147483647 w 50"/>
                <a:gd name="T41" fmla="*/ 2147483647 h 42"/>
                <a:gd name="T42" fmla="*/ 2147483647 w 50"/>
                <a:gd name="T43" fmla="*/ 2147483647 h 42"/>
                <a:gd name="T44" fmla="*/ 2147483647 w 50"/>
                <a:gd name="T45" fmla="*/ 2147483647 h 42"/>
                <a:gd name="T46" fmla="*/ 2147483647 w 50"/>
                <a:gd name="T47" fmla="*/ 2147483647 h 42"/>
                <a:gd name="T48" fmla="*/ 2147483647 w 50"/>
                <a:gd name="T49" fmla="*/ 2147483647 h 42"/>
                <a:gd name="T50" fmla="*/ 2147483647 w 50"/>
                <a:gd name="T51" fmla="*/ 2147483647 h 42"/>
                <a:gd name="T52" fmla="*/ 2147483647 w 50"/>
                <a:gd name="T53" fmla="*/ 2147483647 h 42"/>
                <a:gd name="T54" fmla="*/ 2147483647 w 50"/>
                <a:gd name="T55" fmla="*/ 2147483647 h 42"/>
                <a:gd name="T56" fmla="*/ 2147483647 w 50"/>
                <a:gd name="T57" fmla="*/ 2147483647 h 42"/>
                <a:gd name="T58" fmla="*/ 2147483647 w 50"/>
                <a:gd name="T59" fmla="*/ 2147483647 h 42"/>
                <a:gd name="T60" fmla="*/ 2147483647 w 50"/>
                <a:gd name="T61" fmla="*/ 2147483647 h 4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0"/>
                <a:gd name="T94" fmla="*/ 0 h 42"/>
                <a:gd name="T95" fmla="*/ 50 w 50"/>
                <a:gd name="T96" fmla="*/ 42 h 4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0" h="42">
                  <a:moveTo>
                    <a:pt x="32" y="42"/>
                  </a:moveTo>
                  <a:lnTo>
                    <a:pt x="36" y="42"/>
                  </a:lnTo>
                  <a:lnTo>
                    <a:pt x="42" y="36"/>
                  </a:lnTo>
                  <a:lnTo>
                    <a:pt x="48" y="32"/>
                  </a:lnTo>
                  <a:lnTo>
                    <a:pt x="50" y="26"/>
                  </a:lnTo>
                  <a:lnTo>
                    <a:pt x="46" y="26"/>
                  </a:lnTo>
                  <a:lnTo>
                    <a:pt x="40" y="28"/>
                  </a:lnTo>
                  <a:lnTo>
                    <a:pt x="34" y="24"/>
                  </a:lnTo>
                  <a:lnTo>
                    <a:pt x="28" y="20"/>
                  </a:lnTo>
                  <a:lnTo>
                    <a:pt x="30" y="14"/>
                  </a:lnTo>
                  <a:lnTo>
                    <a:pt x="30" y="8"/>
                  </a:lnTo>
                  <a:lnTo>
                    <a:pt x="26" y="4"/>
                  </a:lnTo>
                  <a:lnTo>
                    <a:pt x="20" y="0"/>
                  </a:lnTo>
                  <a:lnTo>
                    <a:pt x="20" y="6"/>
                  </a:lnTo>
                  <a:lnTo>
                    <a:pt x="18" y="12"/>
                  </a:lnTo>
                  <a:lnTo>
                    <a:pt x="12" y="10"/>
                  </a:lnTo>
                  <a:lnTo>
                    <a:pt x="6" y="10"/>
                  </a:lnTo>
                  <a:lnTo>
                    <a:pt x="6" y="16"/>
                  </a:lnTo>
                  <a:lnTo>
                    <a:pt x="0" y="14"/>
                  </a:lnTo>
                  <a:lnTo>
                    <a:pt x="0" y="20"/>
                  </a:lnTo>
                  <a:lnTo>
                    <a:pt x="6" y="22"/>
                  </a:lnTo>
                  <a:lnTo>
                    <a:pt x="12" y="20"/>
                  </a:lnTo>
                  <a:lnTo>
                    <a:pt x="18" y="24"/>
                  </a:lnTo>
                  <a:lnTo>
                    <a:pt x="12" y="26"/>
                  </a:lnTo>
                  <a:lnTo>
                    <a:pt x="16" y="32"/>
                  </a:lnTo>
                  <a:lnTo>
                    <a:pt x="24" y="32"/>
                  </a:lnTo>
                  <a:lnTo>
                    <a:pt x="28" y="34"/>
                  </a:lnTo>
                  <a:lnTo>
                    <a:pt x="34" y="32"/>
                  </a:lnTo>
                  <a:lnTo>
                    <a:pt x="40" y="32"/>
                  </a:lnTo>
                  <a:lnTo>
                    <a:pt x="34" y="36"/>
                  </a:lnTo>
                  <a:lnTo>
                    <a:pt x="32"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7" name="Freeform 54"/>
            <p:cNvSpPr>
              <a:spLocks/>
            </p:cNvSpPr>
            <p:nvPr/>
          </p:nvSpPr>
          <p:spPr bwMode="auto">
            <a:xfrm>
              <a:off x="4144963" y="2646363"/>
              <a:ext cx="12700" cy="11112"/>
            </a:xfrm>
            <a:custGeom>
              <a:avLst/>
              <a:gdLst>
                <a:gd name="T0" fmla="*/ 2147483647 w 32"/>
                <a:gd name="T1" fmla="*/ 2147483647 h 24"/>
                <a:gd name="T2" fmla="*/ 2147483647 w 32"/>
                <a:gd name="T3" fmla="*/ 2147483647 h 24"/>
                <a:gd name="T4" fmla="*/ 2147483647 w 32"/>
                <a:gd name="T5" fmla="*/ 2147483647 h 24"/>
                <a:gd name="T6" fmla="*/ 2147483647 w 32"/>
                <a:gd name="T7" fmla="*/ 2147483647 h 24"/>
                <a:gd name="T8" fmla="*/ 2147483647 w 32"/>
                <a:gd name="T9" fmla="*/ 2147483647 h 24"/>
                <a:gd name="T10" fmla="*/ 2147483647 w 32"/>
                <a:gd name="T11" fmla="*/ 2147483647 h 24"/>
                <a:gd name="T12" fmla="*/ 2147483647 w 32"/>
                <a:gd name="T13" fmla="*/ 2147483647 h 24"/>
                <a:gd name="T14" fmla="*/ 2147483647 w 32"/>
                <a:gd name="T15" fmla="*/ 2147483647 h 24"/>
                <a:gd name="T16" fmla="*/ 2147483647 w 32"/>
                <a:gd name="T17" fmla="*/ 2147483647 h 24"/>
                <a:gd name="T18" fmla="*/ 2147483647 w 32"/>
                <a:gd name="T19" fmla="*/ 0 h 24"/>
                <a:gd name="T20" fmla="*/ 2147483647 w 32"/>
                <a:gd name="T21" fmla="*/ 2147483647 h 24"/>
                <a:gd name="T22" fmla="*/ 0 w 32"/>
                <a:gd name="T23" fmla="*/ 2147483647 h 24"/>
                <a:gd name="T24" fmla="*/ 2147483647 w 32"/>
                <a:gd name="T25" fmla="*/ 2147483647 h 24"/>
                <a:gd name="T26" fmla="*/ 2147483647 w 32"/>
                <a:gd name="T27" fmla="*/ 2147483647 h 24"/>
                <a:gd name="T28" fmla="*/ 2147483647 w 32"/>
                <a:gd name="T29" fmla="*/ 2147483647 h 24"/>
                <a:gd name="T30" fmla="*/ 2147483647 w 32"/>
                <a:gd name="T31" fmla="*/ 2147483647 h 24"/>
                <a:gd name="T32" fmla="*/ 2147483647 w 32"/>
                <a:gd name="T33" fmla="*/ 2147483647 h 24"/>
                <a:gd name="T34" fmla="*/ 2147483647 w 32"/>
                <a:gd name="T35" fmla="*/ 214748364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24"/>
                <a:gd name="T56" fmla="*/ 32 w 32"/>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24">
                  <a:moveTo>
                    <a:pt x="2" y="24"/>
                  </a:moveTo>
                  <a:lnTo>
                    <a:pt x="8" y="24"/>
                  </a:lnTo>
                  <a:lnTo>
                    <a:pt x="14" y="22"/>
                  </a:lnTo>
                  <a:lnTo>
                    <a:pt x="20" y="20"/>
                  </a:lnTo>
                  <a:lnTo>
                    <a:pt x="26" y="18"/>
                  </a:lnTo>
                  <a:lnTo>
                    <a:pt x="32" y="18"/>
                  </a:lnTo>
                  <a:lnTo>
                    <a:pt x="28" y="10"/>
                  </a:lnTo>
                  <a:lnTo>
                    <a:pt x="22" y="8"/>
                  </a:lnTo>
                  <a:lnTo>
                    <a:pt x="16" y="6"/>
                  </a:lnTo>
                  <a:lnTo>
                    <a:pt x="10" y="0"/>
                  </a:lnTo>
                  <a:lnTo>
                    <a:pt x="6" y="2"/>
                  </a:lnTo>
                  <a:lnTo>
                    <a:pt x="0" y="8"/>
                  </a:lnTo>
                  <a:lnTo>
                    <a:pt x="6" y="8"/>
                  </a:lnTo>
                  <a:lnTo>
                    <a:pt x="12" y="14"/>
                  </a:lnTo>
                  <a:lnTo>
                    <a:pt x="6" y="18"/>
                  </a:lnTo>
                  <a:lnTo>
                    <a:pt x="12" y="18"/>
                  </a:lnTo>
                  <a:lnTo>
                    <a:pt x="6" y="20"/>
                  </a:lnTo>
                  <a:lnTo>
                    <a:pt x="2" y="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8" name="Freeform 55"/>
            <p:cNvSpPr>
              <a:spLocks/>
            </p:cNvSpPr>
            <p:nvPr/>
          </p:nvSpPr>
          <p:spPr bwMode="auto">
            <a:xfrm>
              <a:off x="4148138" y="2660650"/>
              <a:ext cx="7937" cy="9525"/>
            </a:xfrm>
            <a:custGeom>
              <a:avLst/>
              <a:gdLst>
                <a:gd name="T0" fmla="*/ 2147483647 w 20"/>
                <a:gd name="T1" fmla="*/ 2147483647 h 24"/>
                <a:gd name="T2" fmla="*/ 2147483647 w 20"/>
                <a:gd name="T3" fmla="*/ 2147483647 h 24"/>
                <a:gd name="T4" fmla="*/ 2147483647 w 20"/>
                <a:gd name="T5" fmla="*/ 2147483647 h 24"/>
                <a:gd name="T6" fmla="*/ 2147483647 w 20"/>
                <a:gd name="T7" fmla="*/ 2147483647 h 24"/>
                <a:gd name="T8" fmla="*/ 2147483647 w 20"/>
                <a:gd name="T9" fmla="*/ 0 h 24"/>
                <a:gd name="T10" fmla="*/ 2147483647 w 20"/>
                <a:gd name="T11" fmla="*/ 2147483647 h 24"/>
                <a:gd name="T12" fmla="*/ 2147483647 w 20"/>
                <a:gd name="T13" fmla="*/ 2147483647 h 24"/>
                <a:gd name="T14" fmla="*/ 2147483647 w 20"/>
                <a:gd name="T15" fmla="*/ 2147483647 h 24"/>
                <a:gd name="T16" fmla="*/ 0 w 20"/>
                <a:gd name="T17" fmla="*/ 2147483647 h 24"/>
                <a:gd name="T18" fmla="*/ 2147483647 w 20"/>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24"/>
                <a:gd name="T32" fmla="*/ 20 w 2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24">
                  <a:moveTo>
                    <a:pt x="6" y="24"/>
                  </a:moveTo>
                  <a:lnTo>
                    <a:pt x="10" y="18"/>
                  </a:lnTo>
                  <a:lnTo>
                    <a:pt x="14" y="12"/>
                  </a:lnTo>
                  <a:lnTo>
                    <a:pt x="20" y="6"/>
                  </a:lnTo>
                  <a:lnTo>
                    <a:pt x="20" y="0"/>
                  </a:lnTo>
                  <a:lnTo>
                    <a:pt x="16" y="4"/>
                  </a:lnTo>
                  <a:lnTo>
                    <a:pt x="10" y="8"/>
                  </a:lnTo>
                  <a:lnTo>
                    <a:pt x="8" y="14"/>
                  </a:lnTo>
                  <a:lnTo>
                    <a:pt x="0" y="18"/>
                  </a:lnTo>
                  <a:lnTo>
                    <a:pt x="6" y="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39" name="Freeform 56"/>
            <p:cNvSpPr>
              <a:spLocks/>
            </p:cNvSpPr>
            <p:nvPr/>
          </p:nvSpPr>
          <p:spPr bwMode="auto">
            <a:xfrm>
              <a:off x="4160838" y="2671763"/>
              <a:ext cx="7937" cy="7937"/>
            </a:xfrm>
            <a:custGeom>
              <a:avLst/>
              <a:gdLst>
                <a:gd name="T0" fmla="*/ 2147483647 w 16"/>
                <a:gd name="T1" fmla="*/ 2147483647 h 20"/>
                <a:gd name="T2" fmla="*/ 2147483647 w 16"/>
                <a:gd name="T3" fmla="*/ 2147483647 h 20"/>
                <a:gd name="T4" fmla="*/ 2147483647 w 16"/>
                <a:gd name="T5" fmla="*/ 2147483647 h 20"/>
                <a:gd name="T6" fmla="*/ 2147483647 w 16"/>
                <a:gd name="T7" fmla="*/ 2147483647 h 20"/>
                <a:gd name="T8" fmla="*/ 2147483647 w 16"/>
                <a:gd name="T9" fmla="*/ 0 h 20"/>
                <a:gd name="T10" fmla="*/ 0 w 16"/>
                <a:gd name="T11" fmla="*/ 2147483647 h 20"/>
                <a:gd name="T12" fmla="*/ 2147483647 w 16"/>
                <a:gd name="T13" fmla="*/ 2147483647 h 20"/>
                <a:gd name="T14" fmla="*/ 2147483647 w 16"/>
                <a:gd name="T15" fmla="*/ 2147483647 h 20"/>
                <a:gd name="T16" fmla="*/ 2147483647 w 16"/>
                <a:gd name="T17" fmla="*/ 2147483647 h 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20"/>
                <a:gd name="T29" fmla="*/ 16 w 16"/>
                <a:gd name="T30" fmla="*/ 20 h 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20">
                  <a:moveTo>
                    <a:pt x="10" y="20"/>
                  </a:moveTo>
                  <a:lnTo>
                    <a:pt x="16" y="14"/>
                  </a:lnTo>
                  <a:lnTo>
                    <a:pt x="12" y="8"/>
                  </a:lnTo>
                  <a:lnTo>
                    <a:pt x="12" y="2"/>
                  </a:lnTo>
                  <a:lnTo>
                    <a:pt x="6" y="0"/>
                  </a:lnTo>
                  <a:lnTo>
                    <a:pt x="0" y="6"/>
                  </a:lnTo>
                  <a:lnTo>
                    <a:pt x="2" y="12"/>
                  </a:lnTo>
                  <a:lnTo>
                    <a:pt x="4" y="18"/>
                  </a:lnTo>
                  <a:lnTo>
                    <a:pt x="10" y="2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0" name="Freeform 57"/>
            <p:cNvSpPr>
              <a:spLocks/>
            </p:cNvSpPr>
            <p:nvPr/>
          </p:nvSpPr>
          <p:spPr bwMode="auto">
            <a:xfrm>
              <a:off x="4170363" y="2708275"/>
              <a:ext cx="9525" cy="9525"/>
            </a:xfrm>
            <a:custGeom>
              <a:avLst/>
              <a:gdLst>
                <a:gd name="T0" fmla="*/ 0 w 24"/>
                <a:gd name="T1" fmla="*/ 2147483647 h 22"/>
                <a:gd name="T2" fmla="*/ 2147483647 w 24"/>
                <a:gd name="T3" fmla="*/ 2147483647 h 22"/>
                <a:gd name="T4" fmla="*/ 2147483647 w 24"/>
                <a:gd name="T5" fmla="*/ 2147483647 h 22"/>
                <a:gd name="T6" fmla="*/ 2147483647 w 24"/>
                <a:gd name="T7" fmla="*/ 2147483647 h 22"/>
                <a:gd name="T8" fmla="*/ 2147483647 w 24"/>
                <a:gd name="T9" fmla="*/ 2147483647 h 22"/>
                <a:gd name="T10" fmla="*/ 2147483647 w 24"/>
                <a:gd name="T11" fmla="*/ 2147483647 h 22"/>
                <a:gd name="T12" fmla="*/ 2147483647 w 24"/>
                <a:gd name="T13" fmla="*/ 0 h 22"/>
                <a:gd name="T14" fmla="*/ 2147483647 w 24"/>
                <a:gd name="T15" fmla="*/ 2147483647 h 22"/>
                <a:gd name="T16" fmla="*/ 2147483647 w 24"/>
                <a:gd name="T17" fmla="*/ 2147483647 h 22"/>
                <a:gd name="T18" fmla="*/ 2147483647 w 24"/>
                <a:gd name="T19" fmla="*/ 2147483647 h 22"/>
                <a:gd name="T20" fmla="*/ 0 w 24"/>
                <a:gd name="T21" fmla="*/ 214748364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22"/>
                <a:gd name="T35" fmla="*/ 24 w 24"/>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22">
                  <a:moveTo>
                    <a:pt x="0" y="22"/>
                  </a:moveTo>
                  <a:lnTo>
                    <a:pt x="4" y="20"/>
                  </a:lnTo>
                  <a:lnTo>
                    <a:pt x="10" y="20"/>
                  </a:lnTo>
                  <a:lnTo>
                    <a:pt x="16" y="16"/>
                  </a:lnTo>
                  <a:lnTo>
                    <a:pt x="20" y="10"/>
                  </a:lnTo>
                  <a:lnTo>
                    <a:pt x="24" y="6"/>
                  </a:lnTo>
                  <a:lnTo>
                    <a:pt x="18" y="0"/>
                  </a:lnTo>
                  <a:lnTo>
                    <a:pt x="12" y="4"/>
                  </a:lnTo>
                  <a:lnTo>
                    <a:pt x="8" y="10"/>
                  </a:lnTo>
                  <a:lnTo>
                    <a:pt x="2" y="16"/>
                  </a:lnTo>
                  <a:lnTo>
                    <a:pt x="0"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1" name="Freeform 58"/>
            <p:cNvSpPr>
              <a:spLocks/>
            </p:cNvSpPr>
            <p:nvPr/>
          </p:nvSpPr>
          <p:spPr bwMode="auto">
            <a:xfrm>
              <a:off x="4611688" y="2628900"/>
              <a:ext cx="14287" cy="28575"/>
            </a:xfrm>
            <a:custGeom>
              <a:avLst/>
              <a:gdLst>
                <a:gd name="T0" fmla="*/ 2147483647 w 36"/>
                <a:gd name="T1" fmla="*/ 2147483647 h 70"/>
                <a:gd name="T2" fmla="*/ 2147483647 w 36"/>
                <a:gd name="T3" fmla="*/ 2147483647 h 70"/>
                <a:gd name="T4" fmla="*/ 2147483647 w 36"/>
                <a:gd name="T5" fmla="*/ 2147483647 h 70"/>
                <a:gd name="T6" fmla="*/ 2147483647 w 36"/>
                <a:gd name="T7" fmla="*/ 2147483647 h 70"/>
                <a:gd name="T8" fmla="*/ 2147483647 w 36"/>
                <a:gd name="T9" fmla="*/ 2147483647 h 70"/>
                <a:gd name="T10" fmla="*/ 2147483647 w 36"/>
                <a:gd name="T11" fmla="*/ 2147483647 h 70"/>
                <a:gd name="T12" fmla="*/ 2147483647 w 36"/>
                <a:gd name="T13" fmla="*/ 2147483647 h 70"/>
                <a:gd name="T14" fmla="*/ 2147483647 w 36"/>
                <a:gd name="T15" fmla="*/ 2147483647 h 70"/>
                <a:gd name="T16" fmla="*/ 2147483647 w 36"/>
                <a:gd name="T17" fmla="*/ 2147483647 h 70"/>
                <a:gd name="T18" fmla="*/ 2147483647 w 36"/>
                <a:gd name="T19" fmla="*/ 2147483647 h 70"/>
                <a:gd name="T20" fmla="*/ 2147483647 w 36"/>
                <a:gd name="T21" fmla="*/ 2147483647 h 70"/>
                <a:gd name="T22" fmla="*/ 2147483647 w 36"/>
                <a:gd name="T23" fmla="*/ 2147483647 h 70"/>
                <a:gd name="T24" fmla="*/ 2147483647 w 36"/>
                <a:gd name="T25" fmla="*/ 2147483647 h 70"/>
                <a:gd name="T26" fmla="*/ 2147483647 w 36"/>
                <a:gd name="T27" fmla="*/ 2147483647 h 70"/>
                <a:gd name="T28" fmla="*/ 2147483647 w 36"/>
                <a:gd name="T29" fmla="*/ 0 h 70"/>
                <a:gd name="T30" fmla="*/ 2147483647 w 36"/>
                <a:gd name="T31" fmla="*/ 2147483647 h 70"/>
                <a:gd name="T32" fmla="*/ 2147483647 w 36"/>
                <a:gd name="T33" fmla="*/ 2147483647 h 70"/>
                <a:gd name="T34" fmla="*/ 2147483647 w 36"/>
                <a:gd name="T35" fmla="*/ 2147483647 h 70"/>
                <a:gd name="T36" fmla="*/ 2147483647 w 36"/>
                <a:gd name="T37" fmla="*/ 2147483647 h 70"/>
                <a:gd name="T38" fmla="*/ 2147483647 w 36"/>
                <a:gd name="T39" fmla="*/ 2147483647 h 70"/>
                <a:gd name="T40" fmla="*/ 2147483647 w 36"/>
                <a:gd name="T41" fmla="*/ 2147483647 h 70"/>
                <a:gd name="T42" fmla="*/ 2147483647 w 36"/>
                <a:gd name="T43" fmla="*/ 2147483647 h 70"/>
                <a:gd name="T44" fmla="*/ 2147483647 w 36"/>
                <a:gd name="T45" fmla="*/ 2147483647 h 70"/>
                <a:gd name="T46" fmla="*/ 2147483647 w 36"/>
                <a:gd name="T47" fmla="*/ 2147483647 h 70"/>
                <a:gd name="T48" fmla="*/ 0 w 36"/>
                <a:gd name="T49" fmla="*/ 2147483647 h 70"/>
                <a:gd name="T50" fmla="*/ 2147483647 w 36"/>
                <a:gd name="T51" fmla="*/ 2147483647 h 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
                <a:gd name="T79" fmla="*/ 0 h 70"/>
                <a:gd name="T80" fmla="*/ 36 w 36"/>
                <a:gd name="T81" fmla="*/ 70 h 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 h="70">
                  <a:moveTo>
                    <a:pt x="2" y="60"/>
                  </a:moveTo>
                  <a:lnTo>
                    <a:pt x="2" y="66"/>
                  </a:lnTo>
                  <a:lnTo>
                    <a:pt x="2" y="70"/>
                  </a:lnTo>
                  <a:lnTo>
                    <a:pt x="8" y="68"/>
                  </a:lnTo>
                  <a:lnTo>
                    <a:pt x="10" y="62"/>
                  </a:lnTo>
                  <a:lnTo>
                    <a:pt x="12" y="56"/>
                  </a:lnTo>
                  <a:lnTo>
                    <a:pt x="16" y="50"/>
                  </a:lnTo>
                  <a:lnTo>
                    <a:pt x="18" y="44"/>
                  </a:lnTo>
                  <a:lnTo>
                    <a:pt x="20" y="38"/>
                  </a:lnTo>
                  <a:lnTo>
                    <a:pt x="24" y="30"/>
                  </a:lnTo>
                  <a:lnTo>
                    <a:pt x="24" y="26"/>
                  </a:lnTo>
                  <a:lnTo>
                    <a:pt x="30" y="20"/>
                  </a:lnTo>
                  <a:lnTo>
                    <a:pt x="32" y="14"/>
                  </a:lnTo>
                  <a:lnTo>
                    <a:pt x="34" y="8"/>
                  </a:lnTo>
                  <a:lnTo>
                    <a:pt x="36" y="0"/>
                  </a:lnTo>
                  <a:lnTo>
                    <a:pt x="30" y="2"/>
                  </a:lnTo>
                  <a:lnTo>
                    <a:pt x="28" y="8"/>
                  </a:lnTo>
                  <a:lnTo>
                    <a:pt x="26" y="14"/>
                  </a:lnTo>
                  <a:lnTo>
                    <a:pt x="22" y="20"/>
                  </a:lnTo>
                  <a:lnTo>
                    <a:pt x="18" y="26"/>
                  </a:lnTo>
                  <a:lnTo>
                    <a:pt x="12" y="32"/>
                  </a:lnTo>
                  <a:lnTo>
                    <a:pt x="8" y="38"/>
                  </a:lnTo>
                  <a:lnTo>
                    <a:pt x="6" y="44"/>
                  </a:lnTo>
                  <a:lnTo>
                    <a:pt x="2" y="50"/>
                  </a:lnTo>
                  <a:lnTo>
                    <a:pt x="0" y="56"/>
                  </a:lnTo>
                  <a:lnTo>
                    <a:pt x="2" y="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2" name="Freeform 59"/>
            <p:cNvSpPr>
              <a:spLocks/>
            </p:cNvSpPr>
            <p:nvPr/>
          </p:nvSpPr>
          <p:spPr bwMode="auto">
            <a:xfrm>
              <a:off x="4645025" y="2613025"/>
              <a:ext cx="17463" cy="26988"/>
            </a:xfrm>
            <a:custGeom>
              <a:avLst/>
              <a:gdLst>
                <a:gd name="T0" fmla="*/ 2147483647 w 44"/>
                <a:gd name="T1" fmla="*/ 2147483647 h 66"/>
                <a:gd name="T2" fmla="*/ 2147483647 w 44"/>
                <a:gd name="T3" fmla="*/ 2147483647 h 66"/>
                <a:gd name="T4" fmla="*/ 2147483647 w 44"/>
                <a:gd name="T5" fmla="*/ 2147483647 h 66"/>
                <a:gd name="T6" fmla="*/ 2147483647 w 44"/>
                <a:gd name="T7" fmla="*/ 2147483647 h 66"/>
                <a:gd name="T8" fmla="*/ 2147483647 w 44"/>
                <a:gd name="T9" fmla="*/ 2147483647 h 66"/>
                <a:gd name="T10" fmla="*/ 2147483647 w 44"/>
                <a:gd name="T11" fmla="*/ 2147483647 h 66"/>
                <a:gd name="T12" fmla="*/ 2147483647 w 44"/>
                <a:gd name="T13" fmla="*/ 2147483647 h 66"/>
                <a:gd name="T14" fmla="*/ 2147483647 w 44"/>
                <a:gd name="T15" fmla="*/ 2147483647 h 66"/>
                <a:gd name="T16" fmla="*/ 2147483647 w 44"/>
                <a:gd name="T17" fmla="*/ 2147483647 h 66"/>
                <a:gd name="T18" fmla="*/ 2147483647 w 44"/>
                <a:gd name="T19" fmla="*/ 2147483647 h 66"/>
                <a:gd name="T20" fmla="*/ 2147483647 w 44"/>
                <a:gd name="T21" fmla="*/ 2147483647 h 66"/>
                <a:gd name="T22" fmla="*/ 2147483647 w 44"/>
                <a:gd name="T23" fmla="*/ 2147483647 h 66"/>
                <a:gd name="T24" fmla="*/ 2147483647 w 44"/>
                <a:gd name="T25" fmla="*/ 2147483647 h 66"/>
                <a:gd name="T26" fmla="*/ 2147483647 w 44"/>
                <a:gd name="T27" fmla="*/ 0 h 66"/>
                <a:gd name="T28" fmla="*/ 2147483647 w 44"/>
                <a:gd name="T29" fmla="*/ 2147483647 h 66"/>
                <a:gd name="T30" fmla="*/ 2147483647 w 44"/>
                <a:gd name="T31" fmla="*/ 2147483647 h 66"/>
                <a:gd name="T32" fmla="*/ 2147483647 w 44"/>
                <a:gd name="T33" fmla="*/ 2147483647 h 66"/>
                <a:gd name="T34" fmla="*/ 2147483647 w 44"/>
                <a:gd name="T35" fmla="*/ 2147483647 h 66"/>
                <a:gd name="T36" fmla="*/ 2147483647 w 44"/>
                <a:gd name="T37" fmla="*/ 2147483647 h 66"/>
                <a:gd name="T38" fmla="*/ 2147483647 w 44"/>
                <a:gd name="T39" fmla="*/ 2147483647 h 66"/>
                <a:gd name="T40" fmla="*/ 0 w 44"/>
                <a:gd name="T41" fmla="*/ 2147483647 h 66"/>
                <a:gd name="T42" fmla="*/ 2147483647 w 44"/>
                <a:gd name="T43" fmla="*/ 2147483647 h 66"/>
                <a:gd name="T44" fmla="*/ 2147483647 w 44"/>
                <a:gd name="T45" fmla="*/ 2147483647 h 66"/>
                <a:gd name="T46" fmla="*/ 2147483647 w 44"/>
                <a:gd name="T47" fmla="*/ 2147483647 h 66"/>
                <a:gd name="T48" fmla="*/ 2147483647 w 44"/>
                <a:gd name="T49" fmla="*/ 2147483647 h 66"/>
                <a:gd name="T50" fmla="*/ 2147483647 w 44"/>
                <a:gd name="T51" fmla="*/ 2147483647 h 66"/>
                <a:gd name="T52" fmla="*/ 2147483647 w 44"/>
                <a:gd name="T53" fmla="*/ 2147483647 h 66"/>
                <a:gd name="T54" fmla="*/ 2147483647 w 44"/>
                <a:gd name="T55" fmla="*/ 2147483647 h 66"/>
                <a:gd name="T56" fmla="*/ 2147483647 w 44"/>
                <a:gd name="T57" fmla="*/ 2147483647 h 66"/>
                <a:gd name="T58" fmla="*/ 2147483647 w 44"/>
                <a:gd name="T59" fmla="*/ 2147483647 h 6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
                <a:gd name="T91" fmla="*/ 0 h 66"/>
                <a:gd name="T92" fmla="*/ 44 w 44"/>
                <a:gd name="T93" fmla="*/ 66 h 6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 h="66">
                  <a:moveTo>
                    <a:pt x="14" y="58"/>
                  </a:moveTo>
                  <a:lnTo>
                    <a:pt x="14" y="56"/>
                  </a:lnTo>
                  <a:lnTo>
                    <a:pt x="18" y="48"/>
                  </a:lnTo>
                  <a:lnTo>
                    <a:pt x="24" y="46"/>
                  </a:lnTo>
                  <a:lnTo>
                    <a:pt x="32" y="42"/>
                  </a:lnTo>
                  <a:lnTo>
                    <a:pt x="34" y="36"/>
                  </a:lnTo>
                  <a:lnTo>
                    <a:pt x="40" y="30"/>
                  </a:lnTo>
                  <a:lnTo>
                    <a:pt x="34" y="28"/>
                  </a:lnTo>
                  <a:lnTo>
                    <a:pt x="34" y="22"/>
                  </a:lnTo>
                  <a:lnTo>
                    <a:pt x="34" y="16"/>
                  </a:lnTo>
                  <a:lnTo>
                    <a:pt x="40" y="12"/>
                  </a:lnTo>
                  <a:lnTo>
                    <a:pt x="44" y="6"/>
                  </a:lnTo>
                  <a:lnTo>
                    <a:pt x="44" y="2"/>
                  </a:lnTo>
                  <a:lnTo>
                    <a:pt x="38" y="0"/>
                  </a:lnTo>
                  <a:lnTo>
                    <a:pt x="32" y="2"/>
                  </a:lnTo>
                  <a:lnTo>
                    <a:pt x="26" y="2"/>
                  </a:lnTo>
                  <a:lnTo>
                    <a:pt x="20" y="6"/>
                  </a:lnTo>
                  <a:lnTo>
                    <a:pt x="14" y="10"/>
                  </a:lnTo>
                  <a:lnTo>
                    <a:pt x="10" y="16"/>
                  </a:lnTo>
                  <a:lnTo>
                    <a:pt x="4" y="20"/>
                  </a:lnTo>
                  <a:lnTo>
                    <a:pt x="0" y="26"/>
                  </a:lnTo>
                  <a:lnTo>
                    <a:pt x="2" y="32"/>
                  </a:lnTo>
                  <a:lnTo>
                    <a:pt x="4" y="38"/>
                  </a:lnTo>
                  <a:lnTo>
                    <a:pt x="2" y="44"/>
                  </a:lnTo>
                  <a:lnTo>
                    <a:pt x="4" y="50"/>
                  </a:lnTo>
                  <a:lnTo>
                    <a:pt x="10" y="54"/>
                  </a:lnTo>
                  <a:lnTo>
                    <a:pt x="6" y="58"/>
                  </a:lnTo>
                  <a:lnTo>
                    <a:pt x="2" y="66"/>
                  </a:lnTo>
                  <a:lnTo>
                    <a:pt x="8" y="66"/>
                  </a:lnTo>
                  <a:lnTo>
                    <a:pt x="14" y="5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3" name="Freeform 60"/>
            <p:cNvSpPr>
              <a:spLocks/>
            </p:cNvSpPr>
            <p:nvPr/>
          </p:nvSpPr>
          <p:spPr bwMode="auto">
            <a:xfrm>
              <a:off x="4545013" y="2700338"/>
              <a:ext cx="12700" cy="11112"/>
            </a:xfrm>
            <a:custGeom>
              <a:avLst/>
              <a:gdLst>
                <a:gd name="T0" fmla="*/ 0 w 32"/>
                <a:gd name="T1" fmla="*/ 2147483647 h 28"/>
                <a:gd name="T2" fmla="*/ 2147483647 w 32"/>
                <a:gd name="T3" fmla="*/ 2147483647 h 28"/>
                <a:gd name="T4" fmla="*/ 2147483647 w 32"/>
                <a:gd name="T5" fmla="*/ 2147483647 h 28"/>
                <a:gd name="T6" fmla="*/ 2147483647 w 32"/>
                <a:gd name="T7" fmla="*/ 2147483647 h 28"/>
                <a:gd name="T8" fmla="*/ 2147483647 w 32"/>
                <a:gd name="T9" fmla="*/ 2147483647 h 28"/>
                <a:gd name="T10" fmla="*/ 2147483647 w 32"/>
                <a:gd name="T11" fmla="*/ 2147483647 h 28"/>
                <a:gd name="T12" fmla="*/ 2147483647 w 32"/>
                <a:gd name="T13" fmla="*/ 2147483647 h 28"/>
                <a:gd name="T14" fmla="*/ 2147483647 w 32"/>
                <a:gd name="T15" fmla="*/ 2147483647 h 28"/>
                <a:gd name="T16" fmla="*/ 2147483647 w 32"/>
                <a:gd name="T17" fmla="*/ 2147483647 h 28"/>
                <a:gd name="T18" fmla="*/ 2147483647 w 32"/>
                <a:gd name="T19" fmla="*/ 2147483647 h 28"/>
                <a:gd name="T20" fmla="*/ 2147483647 w 32"/>
                <a:gd name="T21" fmla="*/ 0 h 28"/>
                <a:gd name="T22" fmla="*/ 2147483647 w 32"/>
                <a:gd name="T23" fmla="*/ 2147483647 h 28"/>
                <a:gd name="T24" fmla="*/ 2147483647 w 32"/>
                <a:gd name="T25" fmla="*/ 2147483647 h 28"/>
                <a:gd name="T26" fmla="*/ 2147483647 w 32"/>
                <a:gd name="T27" fmla="*/ 2147483647 h 28"/>
                <a:gd name="T28" fmla="*/ 2147483647 w 32"/>
                <a:gd name="T29" fmla="*/ 2147483647 h 28"/>
                <a:gd name="T30" fmla="*/ 2147483647 w 32"/>
                <a:gd name="T31" fmla="*/ 2147483647 h 28"/>
                <a:gd name="T32" fmla="*/ 2147483647 w 32"/>
                <a:gd name="T33" fmla="*/ 2147483647 h 28"/>
                <a:gd name="T34" fmla="*/ 2147483647 w 32"/>
                <a:gd name="T35" fmla="*/ 2147483647 h 28"/>
                <a:gd name="T36" fmla="*/ 2147483647 w 32"/>
                <a:gd name="T37" fmla="*/ 2147483647 h 28"/>
                <a:gd name="T38" fmla="*/ 2147483647 w 32"/>
                <a:gd name="T39" fmla="*/ 2147483647 h 28"/>
                <a:gd name="T40" fmla="*/ 2147483647 w 32"/>
                <a:gd name="T41" fmla="*/ 2147483647 h 28"/>
                <a:gd name="T42" fmla="*/ 2147483647 w 32"/>
                <a:gd name="T43" fmla="*/ 2147483647 h 28"/>
                <a:gd name="T44" fmla="*/ 2147483647 w 32"/>
                <a:gd name="T45" fmla="*/ 2147483647 h 28"/>
                <a:gd name="T46" fmla="*/ 2147483647 w 32"/>
                <a:gd name="T47" fmla="*/ 2147483647 h 28"/>
                <a:gd name="T48" fmla="*/ 2147483647 w 32"/>
                <a:gd name="T49" fmla="*/ 2147483647 h 28"/>
                <a:gd name="T50" fmla="*/ 2147483647 w 32"/>
                <a:gd name="T51" fmla="*/ 2147483647 h 28"/>
                <a:gd name="T52" fmla="*/ 0 w 32"/>
                <a:gd name="T53" fmla="*/ 2147483647 h 2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
                <a:gd name="T82" fmla="*/ 0 h 28"/>
                <a:gd name="T83" fmla="*/ 32 w 32"/>
                <a:gd name="T84" fmla="*/ 28 h 2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 h="28">
                  <a:moveTo>
                    <a:pt x="0" y="22"/>
                  </a:moveTo>
                  <a:lnTo>
                    <a:pt x="6" y="20"/>
                  </a:lnTo>
                  <a:lnTo>
                    <a:pt x="4" y="14"/>
                  </a:lnTo>
                  <a:lnTo>
                    <a:pt x="2" y="8"/>
                  </a:lnTo>
                  <a:lnTo>
                    <a:pt x="8" y="8"/>
                  </a:lnTo>
                  <a:lnTo>
                    <a:pt x="14" y="10"/>
                  </a:lnTo>
                  <a:lnTo>
                    <a:pt x="18" y="12"/>
                  </a:lnTo>
                  <a:lnTo>
                    <a:pt x="14" y="8"/>
                  </a:lnTo>
                  <a:lnTo>
                    <a:pt x="10" y="8"/>
                  </a:lnTo>
                  <a:lnTo>
                    <a:pt x="8" y="6"/>
                  </a:lnTo>
                  <a:lnTo>
                    <a:pt x="14" y="0"/>
                  </a:lnTo>
                  <a:lnTo>
                    <a:pt x="14" y="6"/>
                  </a:lnTo>
                  <a:lnTo>
                    <a:pt x="20" y="8"/>
                  </a:lnTo>
                  <a:lnTo>
                    <a:pt x="26" y="6"/>
                  </a:lnTo>
                  <a:lnTo>
                    <a:pt x="28" y="10"/>
                  </a:lnTo>
                  <a:lnTo>
                    <a:pt x="24" y="16"/>
                  </a:lnTo>
                  <a:lnTo>
                    <a:pt x="30" y="20"/>
                  </a:lnTo>
                  <a:lnTo>
                    <a:pt x="32" y="26"/>
                  </a:lnTo>
                  <a:lnTo>
                    <a:pt x="26" y="24"/>
                  </a:lnTo>
                  <a:lnTo>
                    <a:pt x="20" y="22"/>
                  </a:lnTo>
                  <a:lnTo>
                    <a:pt x="18" y="22"/>
                  </a:lnTo>
                  <a:lnTo>
                    <a:pt x="14" y="26"/>
                  </a:lnTo>
                  <a:lnTo>
                    <a:pt x="8" y="28"/>
                  </a:lnTo>
                  <a:lnTo>
                    <a:pt x="2" y="26"/>
                  </a:lnTo>
                  <a:lnTo>
                    <a:pt x="2" y="24"/>
                  </a:lnTo>
                  <a:lnTo>
                    <a:pt x="0"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4" name="Freeform 61"/>
            <p:cNvSpPr>
              <a:spLocks/>
            </p:cNvSpPr>
            <p:nvPr/>
          </p:nvSpPr>
          <p:spPr bwMode="auto">
            <a:xfrm>
              <a:off x="4559300" y="2713038"/>
              <a:ext cx="9525" cy="9525"/>
            </a:xfrm>
            <a:custGeom>
              <a:avLst/>
              <a:gdLst>
                <a:gd name="T0" fmla="*/ 2147483647 w 24"/>
                <a:gd name="T1" fmla="*/ 2147483647 h 20"/>
                <a:gd name="T2" fmla="*/ 2147483647 w 24"/>
                <a:gd name="T3" fmla="*/ 2147483647 h 20"/>
                <a:gd name="T4" fmla="*/ 0 w 24"/>
                <a:gd name="T5" fmla="*/ 0 h 20"/>
                <a:gd name="T6" fmla="*/ 2147483647 w 24"/>
                <a:gd name="T7" fmla="*/ 2147483647 h 20"/>
                <a:gd name="T8" fmla="*/ 2147483647 w 24"/>
                <a:gd name="T9" fmla="*/ 2147483647 h 20"/>
                <a:gd name="T10" fmla="*/ 2147483647 w 24"/>
                <a:gd name="T11" fmla="*/ 2147483647 h 20"/>
                <a:gd name="T12" fmla="*/ 2147483647 w 24"/>
                <a:gd name="T13" fmla="*/ 2147483647 h 20"/>
                <a:gd name="T14" fmla="*/ 2147483647 w 24"/>
                <a:gd name="T15" fmla="*/ 2147483647 h 20"/>
                <a:gd name="T16" fmla="*/ 2147483647 w 24"/>
                <a:gd name="T17" fmla="*/ 2147483647 h 20"/>
                <a:gd name="T18" fmla="*/ 2147483647 w 24"/>
                <a:gd name="T19" fmla="*/ 2147483647 h 20"/>
                <a:gd name="T20" fmla="*/ 2147483647 w 24"/>
                <a:gd name="T21" fmla="*/ 2147483647 h 20"/>
                <a:gd name="T22" fmla="*/ 2147483647 w 24"/>
                <a:gd name="T23" fmla="*/ 2147483647 h 20"/>
                <a:gd name="T24" fmla="*/ 2147483647 w 24"/>
                <a:gd name="T25" fmla="*/ 2147483647 h 20"/>
                <a:gd name="T26" fmla="*/ 2147483647 w 24"/>
                <a:gd name="T27" fmla="*/ 2147483647 h 20"/>
                <a:gd name="T28" fmla="*/ 2147483647 w 24"/>
                <a:gd name="T29" fmla="*/ 2147483647 h 20"/>
                <a:gd name="T30" fmla="*/ 2147483647 w 24"/>
                <a:gd name="T31" fmla="*/ 2147483647 h 20"/>
                <a:gd name="T32" fmla="*/ 2147483647 w 24"/>
                <a:gd name="T33" fmla="*/ 2147483647 h 20"/>
                <a:gd name="T34" fmla="*/ 2147483647 w 24"/>
                <a:gd name="T35" fmla="*/ 2147483647 h 20"/>
                <a:gd name="T36" fmla="*/ 2147483647 w 24"/>
                <a:gd name="T37" fmla="*/ 2147483647 h 20"/>
                <a:gd name="T38" fmla="*/ 2147483647 w 24"/>
                <a:gd name="T39" fmla="*/ 2147483647 h 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
                <a:gd name="T61" fmla="*/ 0 h 20"/>
                <a:gd name="T62" fmla="*/ 24 w 24"/>
                <a:gd name="T63" fmla="*/ 20 h 2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 h="20">
                  <a:moveTo>
                    <a:pt x="2" y="8"/>
                  </a:moveTo>
                  <a:lnTo>
                    <a:pt x="2" y="6"/>
                  </a:lnTo>
                  <a:lnTo>
                    <a:pt x="0" y="0"/>
                  </a:lnTo>
                  <a:lnTo>
                    <a:pt x="6" y="4"/>
                  </a:lnTo>
                  <a:lnTo>
                    <a:pt x="12" y="6"/>
                  </a:lnTo>
                  <a:lnTo>
                    <a:pt x="18" y="12"/>
                  </a:lnTo>
                  <a:lnTo>
                    <a:pt x="24" y="16"/>
                  </a:lnTo>
                  <a:lnTo>
                    <a:pt x="24" y="18"/>
                  </a:lnTo>
                  <a:lnTo>
                    <a:pt x="24" y="20"/>
                  </a:lnTo>
                  <a:lnTo>
                    <a:pt x="22" y="20"/>
                  </a:lnTo>
                  <a:lnTo>
                    <a:pt x="16" y="20"/>
                  </a:lnTo>
                  <a:lnTo>
                    <a:pt x="10" y="20"/>
                  </a:lnTo>
                  <a:lnTo>
                    <a:pt x="4" y="20"/>
                  </a:lnTo>
                  <a:lnTo>
                    <a:pt x="8" y="18"/>
                  </a:lnTo>
                  <a:lnTo>
                    <a:pt x="6" y="12"/>
                  </a:lnTo>
                  <a:lnTo>
                    <a:pt x="14" y="10"/>
                  </a:lnTo>
                  <a:lnTo>
                    <a:pt x="8" y="10"/>
                  </a:lnTo>
                  <a:lnTo>
                    <a:pt x="2" y="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5" name="Freeform 62"/>
            <p:cNvSpPr>
              <a:spLocks/>
            </p:cNvSpPr>
            <p:nvPr/>
          </p:nvSpPr>
          <p:spPr bwMode="auto">
            <a:xfrm>
              <a:off x="4473575" y="2674938"/>
              <a:ext cx="23813" cy="15875"/>
            </a:xfrm>
            <a:custGeom>
              <a:avLst/>
              <a:gdLst>
                <a:gd name="T0" fmla="*/ 0 w 56"/>
                <a:gd name="T1" fmla="*/ 2147483647 h 38"/>
                <a:gd name="T2" fmla="*/ 0 w 56"/>
                <a:gd name="T3" fmla="*/ 2147483647 h 38"/>
                <a:gd name="T4" fmla="*/ 2147483647 w 56"/>
                <a:gd name="T5" fmla="*/ 2147483647 h 38"/>
                <a:gd name="T6" fmla="*/ 2147483647 w 56"/>
                <a:gd name="T7" fmla="*/ 2147483647 h 38"/>
                <a:gd name="T8" fmla="*/ 2147483647 w 56"/>
                <a:gd name="T9" fmla="*/ 2147483647 h 38"/>
                <a:gd name="T10" fmla="*/ 2147483647 w 56"/>
                <a:gd name="T11" fmla="*/ 2147483647 h 38"/>
                <a:gd name="T12" fmla="*/ 2147483647 w 56"/>
                <a:gd name="T13" fmla="*/ 2147483647 h 38"/>
                <a:gd name="T14" fmla="*/ 2147483647 w 56"/>
                <a:gd name="T15" fmla="*/ 2147483647 h 38"/>
                <a:gd name="T16" fmla="*/ 2147483647 w 56"/>
                <a:gd name="T17" fmla="*/ 2147483647 h 38"/>
                <a:gd name="T18" fmla="*/ 2147483647 w 56"/>
                <a:gd name="T19" fmla="*/ 2147483647 h 38"/>
                <a:gd name="T20" fmla="*/ 2147483647 w 56"/>
                <a:gd name="T21" fmla="*/ 2147483647 h 38"/>
                <a:gd name="T22" fmla="*/ 2147483647 w 56"/>
                <a:gd name="T23" fmla="*/ 2147483647 h 38"/>
                <a:gd name="T24" fmla="*/ 2147483647 w 56"/>
                <a:gd name="T25" fmla="*/ 2147483647 h 38"/>
                <a:gd name="T26" fmla="*/ 2147483647 w 56"/>
                <a:gd name="T27" fmla="*/ 2147483647 h 38"/>
                <a:gd name="T28" fmla="*/ 2147483647 w 56"/>
                <a:gd name="T29" fmla="*/ 2147483647 h 38"/>
                <a:gd name="T30" fmla="*/ 2147483647 w 56"/>
                <a:gd name="T31" fmla="*/ 2147483647 h 38"/>
                <a:gd name="T32" fmla="*/ 2147483647 w 56"/>
                <a:gd name="T33" fmla="*/ 2147483647 h 38"/>
                <a:gd name="T34" fmla="*/ 2147483647 w 56"/>
                <a:gd name="T35" fmla="*/ 2147483647 h 38"/>
                <a:gd name="T36" fmla="*/ 2147483647 w 56"/>
                <a:gd name="T37" fmla="*/ 2147483647 h 38"/>
                <a:gd name="T38" fmla="*/ 2147483647 w 56"/>
                <a:gd name="T39" fmla="*/ 2147483647 h 38"/>
                <a:gd name="T40" fmla="*/ 2147483647 w 56"/>
                <a:gd name="T41" fmla="*/ 2147483647 h 38"/>
                <a:gd name="T42" fmla="*/ 2147483647 w 56"/>
                <a:gd name="T43" fmla="*/ 2147483647 h 38"/>
                <a:gd name="T44" fmla="*/ 2147483647 w 56"/>
                <a:gd name="T45" fmla="*/ 2147483647 h 38"/>
                <a:gd name="T46" fmla="*/ 2147483647 w 56"/>
                <a:gd name="T47" fmla="*/ 0 h 38"/>
                <a:gd name="T48" fmla="*/ 2147483647 w 56"/>
                <a:gd name="T49" fmla="*/ 2147483647 h 38"/>
                <a:gd name="T50" fmla="*/ 2147483647 w 56"/>
                <a:gd name="T51" fmla="*/ 2147483647 h 38"/>
                <a:gd name="T52" fmla="*/ 2147483647 w 56"/>
                <a:gd name="T53" fmla="*/ 2147483647 h 38"/>
                <a:gd name="T54" fmla="*/ 2147483647 w 56"/>
                <a:gd name="T55" fmla="*/ 2147483647 h 38"/>
                <a:gd name="T56" fmla="*/ 2147483647 w 56"/>
                <a:gd name="T57" fmla="*/ 0 h 38"/>
                <a:gd name="T58" fmla="*/ 2147483647 w 56"/>
                <a:gd name="T59" fmla="*/ 0 h 38"/>
                <a:gd name="T60" fmla="*/ 2147483647 w 56"/>
                <a:gd name="T61" fmla="*/ 2147483647 h 38"/>
                <a:gd name="T62" fmla="*/ 2147483647 w 56"/>
                <a:gd name="T63" fmla="*/ 2147483647 h 38"/>
                <a:gd name="T64" fmla="*/ 2147483647 w 56"/>
                <a:gd name="T65" fmla="*/ 2147483647 h 38"/>
                <a:gd name="T66" fmla="*/ 2147483647 w 56"/>
                <a:gd name="T67" fmla="*/ 2147483647 h 38"/>
                <a:gd name="T68" fmla="*/ 2147483647 w 56"/>
                <a:gd name="T69" fmla="*/ 2147483647 h 38"/>
                <a:gd name="T70" fmla="*/ 0 w 56"/>
                <a:gd name="T71" fmla="*/ 2147483647 h 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6"/>
                <a:gd name="T109" fmla="*/ 0 h 38"/>
                <a:gd name="T110" fmla="*/ 56 w 56"/>
                <a:gd name="T111" fmla="*/ 38 h 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6" h="38">
                  <a:moveTo>
                    <a:pt x="0" y="6"/>
                  </a:moveTo>
                  <a:lnTo>
                    <a:pt x="0" y="10"/>
                  </a:lnTo>
                  <a:lnTo>
                    <a:pt x="6" y="14"/>
                  </a:lnTo>
                  <a:lnTo>
                    <a:pt x="8" y="20"/>
                  </a:lnTo>
                  <a:lnTo>
                    <a:pt x="12" y="26"/>
                  </a:lnTo>
                  <a:lnTo>
                    <a:pt x="14" y="32"/>
                  </a:lnTo>
                  <a:lnTo>
                    <a:pt x="14" y="28"/>
                  </a:lnTo>
                  <a:lnTo>
                    <a:pt x="14" y="26"/>
                  </a:lnTo>
                  <a:lnTo>
                    <a:pt x="20" y="28"/>
                  </a:lnTo>
                  <a:lnTo>
                    <a:pt x="22" y="34"/>
                  </a:lnTo>
                  <a:lnTo>
                    <a:pt x="28" y="34"/>
                  </a:lnTo>
                  <a:lnTo>
                    <a:pt x="34" y="36"/>
                  </a:lnTo>
                  <a:lnTo>
                    <a:pt x="40" y="38"/>
                  </a:lnTo>
                  <a:lnTo>
                    <a:pt x="46" y="36"/>
                  </a:lnTo>
                  <a:lnTo>
                    <a:pt x="54" y="32"/>
                  </a:lnTo>
                  <a:lnTo>
                    <a:pt x="56" y="26"/>
                  </a:lnTo>
                  <a:lnTo>
                    <a:pt x="54" y="20"/>
                  </a:lnTo>
                  <a:lnTo>
                    <a:pt x="54" y="18"/>
                  </a:lnTo>
                  <a:lnTo>
                    <a:pt x="50" y="12"/>
                  </a:lnTo>
                  <a:lnTo>
                    <a:pt x="44" y="8"/>
                  </a:lnTo>
                  <a:lnTo>
                    <a:pt x="50" y="6"/>
                  </a:lnTo>
                  <a:lnTo>
                    <a:pt x="44" y="0"/>
                  </a:lnTo>
                  <a:lnTo>
                    <a:pt x="44" y="4"/>
                  </a:lnTo>
                  <a:lnTo>
                    <a:pt x="40" y="8"/>
                  </a:lnTo>
                  <a:lnTo>
                    <a:pt x="36" y="10"/>
                  </a:lnTo>
                  <a:lnTo>
                    <a:pt x="38" y="4"/>
                  </a:lnTo>
                  <a:lnTo>
                    <a:pt x="32" y="0"/>
                  </a:lnTo>
                  <a:lnTo>
                    <a:pt x="26" y="0"/>
                  </a:lnTo>
                  <a:lnTo>
                    <a:pt x="20" y="2"/>
                  </a:lnTo>
                  <a:lnTo>
                    <a:pt x="14" y="4"/>
                  </a:lnTo>
                  <a:lnTo>
                    <a:pt x="12" y="4"/>
                  </a:lnTo>
                  <a:lnTo>
                    <a:pt x="6" y="6"/>
                  </a:lnTo>
                  <a:lnTo>
                    <a:pt x="2" y="4"/>
                  </a:lnTo>
                  <a:lnTo>
                    <a:pt x="0"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6" name="Freeform 63"/>
            <p:cNvSpPr>
              <a:spLocks/>
            </p:cNvSpPr>
            <p:nvPr/>
          </p:nvSpPr>
          <p:spPr bwMode="auto">
            <a:xfrm>
              <a:off x="4498975" y="2660650"/>
              <a:ext cx="34925" cy="42863"/>
            </a:xfrm>
            <a:custGeom>
              <a:avLst/>
              <a:gdLst>
                <a:gd name="T0" fmla="*/ 2147483647 w 86"/>
                <a:gd name="T1" fmla="*/ 2147483647 h 102"/>
                <a:gd name="T2" fmla="*/ 2147483647 w 86"/>
                <a:gd name="T3" fmla="*/ 2147483647 h 102"/>
                <a:gd name="T4" fmla="*/ 2147483647 w 86"/>
                <a:gd name="T5" fmla="*/ 2147483647 h 102"/>
                <a:gd name="T6" fmla="*/ 2147483647 w 86"/>
                <a:gd name="T7" fmla="*/ 2147483647 h 102"/>
                <a:gd name="T8" fmla="*/ 2147483647 w 86"/>
                <a:gd name="T9" fmla="*/ 2147483647 h 102"/>
                <a:gd name="T10" fmla="*/ 2147483647 w 86"/>
                <a:gd name="T11" fmla="*/ 2147483647 h 102"/>
                <a:gd name="T12" fmla="*/ 2147483647 w 86"/>
                <a:gd name="T13" fmla="*/ 2147483647 h 102"/>
                <a:gd name="T14" fmla="*/ 2147483647 w 86"/>
                <a:gd name="T15" fmla="*/ 2147483647 h 102"/>
                <a:gd name="T16" fmla="*/ 2147483647 w 86"/>
                <a:gd name="T17" fmla="*/ 2147483647 h 102"/>
                <a:gd name="T18" fmla="*/ 2147483647 w 86"/>
                <a:gd name="T19" fmla="*/ 2147483647 h 102"/>
                <a:gd name="T20" fmla="*/ 2147483647 w 86"/>
                <a:gd name="T21" fmla="*/ 2147483647 h 102"/>
                <a:gd name="T22" fmla="*/ 2147483647 w 86"/>
                <a:gd name="T23" fmla="*/ 2147483647 h 102"/>
                <a:gd name="T24" fmla="*/ 2147483647 w 86"/>
                <a:gd name="T25" fmla="*/ 2147483647 h 102"/>
                <a:gd name="T26" fmla="*/ 2147483647 w 86"/>
                <a:gd name="T27" fmla="*/ 2147483647 h 102"/>
                <a:gd name="T28" fmla="*/ 2147483647 w 86"/>
                <a:gd name="T29" fmla="*/ 2147483647 h 102"/>
                <a:gd name="T30" fmla="*/ 2147483647 w 86"/>
                <a:gd name="T31" fmla="*/ 2147483647 h 102"/>
                <a:gd name="T32" fmla="*/ 2147483647 w 86"/>
                <a:gd name="T33" fmla="*/ 2147483647 h 102"/>
                <a:gd name="T34" fmla="*/ 2147483647 w 86"/>
                <a:gd name="T35" fmla="*/ 2147483647 h 102"/>
                <a:gd name="T36" fmla="*/ 2147483647 w 86"/>
                <a:gd name="T37" fmla="*/ 2147483647 h 102"/>
                <a:gd name="T38" fmla="*/ 2147483647 w 86"/>
                <a:gd name="T39" fmla="*/ 2147483647 h 102"/>
                <a:gd name="T40" fmla="*/ 2147483647 w 86"/>
                <a:gd name="T41" fmla="*/ 2147483647 h 102"/>
                <a:gd name="T42" fmla="*/ 2147483647 w 86"/>
                <a:gd name="T43" fmla="*/ 2147483647 h 102"/>
                <a:gd name="T44" fmla="*/ 2147483647 w 86"/>
                <a:gd name="T45" fmla="*/ 2147483647 h 102"/>
                <a:gd name="T46" fmla="*/ 2147483647 w 86"/>
                <a:gd name="T47" fmla="*/ 2147483647 h 102"/>
                <a:gd name="T48" fmla="*/ 2147483647 w 86"/>
                <a:gd name="T49" fmla="*/ 2147483647 h 102"/>
                <a:gd name="T50" fmla="*/ 2147483647 w 86"/>
                <a:gd name="T51" fmla="*/ 2147483647 h 102"/>
                <a:gd name="T52" fmla="*/ 2147483647 w 86"/>
                <a:gd name="T53" fmla="*/ 2147483647 h 102"/>
                <a:gd name="T54" fmla="*/ 2147483647 w 86"/>
                <a:gd name="T55" fmla="*/ 0 h 102"/>
                <a:gd name="T56" fmla="*/ 2147483647 w 86"/>
                <a:gd name="T57" fmla="*/ 2147483647 h 102"/>
                <a:gd name="T58" fmla="*/ 2147483647 w 86"/>
                <a:gd name="T59" fmla="*/ 2147483647 h 102"/>
                <a:gd name="T60" fmla="*/ 2147483647 w 86"/>
                <a:gd name="T61" fmla="*/ 2147483647 h 102"/>
                <a:gd name="T62" fmla="*/ 2147483647 w 86"/>
                <a:gd name="T63" fmla="*/ 2147483647 h 102"/>
                <a:gd name="T64" fmla="*/ 2147483647 w 86"/>
                <a:gd name="T65" fmla="*/ 2147483647 h 102"/>
                <a:gd name="T66" fmla="*/ 2147483647 w 86"/>
                <a:gd name="T67" fmla="*/ 2147483647 h 102"/>
                <a:gd name="T68" fmla="*/ 2147483647 w 86"/>
                <a:gd name="T69" fmla="*/ 2147483647 h 102"/>
                <a:gd name="T70" fmla="*/ 2147483647 w 86"/>
                <a:gd name="T71" fmla="*/ 2147483647 h 102"/>
                <a:gd name="T72" fmla="*/ 2147483647 w 86"/>
                <a:gd name="T73" fmla="*/ 2147483647 h 102"/>
                <a:gd name="T74" fmla="*/ 2147483647 w 86"/>
                <a:gd name="T75" fmla="*/ 2147483647 h 102"/>
                <a:gd name="T76" fmla="*/ 2147483647 w 86"/>
                <a:gd name="T77" fmla="*/ 2147483647 h 102"/>
                <a:gd name="T78" fmla="*/ 2147483647 w 86"/>
                <a:gd name="T79" fmla="*/ 2147483647 h 102"/>
                <a:gd name="T80" fmla="*/ 2147483647 w 86"/>
                <a:gd name="T81" fmla="*/ 2147483647 h 102"/>
                <a:gd name="T82" fmla="*/ 2147483647 w 86"/>
                <a:gd name="T83" fmla="*/ 2147483647 h 102"/>
                <a:gd name="T84" fmla="*/ 2147483647 w 86"/>
                <a:gd name="T85" fmla="*/ 2147483647 h 102"/>
                <a:gd name="T86" fmla="*/ 2147483647 w 86"/>
                <a:gd name="T87" fmla="*/ 2147483647 h 102"/>
                <a:gd name="T88" fmla="*/ 2147483647 w 86"/>
                <a:gd name="T89" fmla="*/ 2147483647 h 102"/>
                <a:gd name="T90" fmla="*/ 2147483647 w 86"/>
                <a:gd name="T91" fmla="*/ 2147483647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6"/>
                <a:gd name="T139" fmla="*/ 0 h 102"/>
                <a:gd name="T140" fmla="*/ 86 w 86"/>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6" h="102">
                  <a:moveTo>
                    <a:pt x="10" y="50"/>
                  </a:moveTo>
                  <a:lnTo>
                    <a:pt x="10" y="52"/>
                  </a:lnTo>
                  <a:lnTo>
                    <a:pt x="16" y="54"/>
                  </a:lnTo>
                  <a:lnTo>
                    <a:pt x="18" y="60"/>
                  </a:lnTo>
                  <a:lnTo>
                    <a:pt x="24" y="60"/>
                  </a:lnTo>
                  <a:lnTo>
                    <a:pt x="28" y="60"/>
                  </a:lnTo>
                  <a:lnTo>
                    <a:pt x="30" y="60"/>
                  </a:lnTo>
                  <a:lnTo>
                    <a:pt x="32" y="60"/>
                  </a:lnTo>
                  <a:lnTo>
                    <a:pt x="34" y="60"/>
                  </a:lnTo>
                  <a:lnTo>
                    <a:pt x="40" y="60"/>
                  </a:lnTo>
                  <a:lnTo>
                    <a:pt x="46" y="64"/>
                  </a:lnTo>
                  <a:lnTo>
                    <a:pt x="44" y="68"/>
                  </a:lnTo>
                  <a:lnTo>
                    <a:pt x="38" y="68"/>
                  </a:lnTo>
                  <a:lnTo>
                    <a:pt x="44" y="70"/>
                  </a:lnTo>
                  <a:lnTo>
                    <a:pt x="50" y="74"/>
                  </a:lnTo>
                  <a:lnTo>
                    <a:pt x="48" y="76"/>
                  </a:lnTo>
                  <a:lnTo>
                    <a:pt x="44" y="76"/>
                  </a:lnTo>
                  <a:lnTo>
                    <a:pt x="44" y="82"/>
                  </a:lnTo>
                  <a:lnTo>
                    <a:pt x="50" y="88"/>
                  </a:lnTo>
                  <a:lnTo>
                    <a:pt x="50" y="90"/>
                  </a:lnTo>
                  <a:lnTo>
                    <a:pt x="50" y="94"/>
                  </a:lnTo>
                  <a:lnTo>
                    <a:pt x="52" y="102"/>
                  </a:lnTo>
                  <a:lnTo>
                    <a:pt x="54" y="98"/>
                  </a:lnTo>
                  <a:lnTo>
                    <a:pt x="56" y="92"/>
                  </a:lnTo>
                  <a:lnTo>
                    <a:pt x="62" y="86"/>
                  </a:lnTo>
                  <a:lnTo>
                    <a:pt x="62" y="80"/>
                  </a:lnTo>
                  <a:lnTo>
                    <a:pt x="56" y="80"/>
                  </a:lnTo>
                  <a:lnTo>
                    <a:pt x="52" y="74"/>
                  </a:lnTo>
                  <a:lnTo>
                    <a:pt x="54" y="74"/>
                  </a:lnTo>
                  <a:lnTo>
                    <a:pt x="58" y="76"/>
                  </a:lnTo>
                  <a:lnTo>
                    <a:pt x="64" y="74"/>
                  </a:lnTo>
                  <a:lnTo>
                    <a:pt x="66" y="74"/>
                  </a:lnTo>
                  <a:lnTo>
                    <a:pt x="64" y="70"/>
                  </a:lnTo>
                  <a:lnTo>
                    <a:pt x="62" y="64"/>
                  </a:lnTo>
                  <a:lnTo>
                    <a:pt x="66" y="58"/>
                  </a:lnTo>
                  <a:lnTo>
                    <a:pt x="72" y="58"/>
                  </a:lnTo>
                  <a:lnTo>
                    <a:pt x="78" y="56"/>
                  </a:lnTo>
                  <a:lnTo>
                    <a:pt x="78" y="50"/>
                  </a:lnTo>
                  <a:lnTo>
                    <a:pt x="72" y="48"/>
                  </a:lnTo>
                  <a:lnTo>
                    <a:pt x="66" y="44"/>
                  </a:lnTo>
                  <a:lnTo>
                    <a:pt x="68" y="38"/>
                  </a:lnTo>
                  <a:lnTo>
                    <a:pt x="74" y="34"/>
                  </a:lnTo>
                  <a:lnTo>
                    <a:pt x="80" y="34"/>
                  </a:lnTo>
                  <a:lnTo>
                    <a:pt x="82" y="32"/>
                  </a:lnTo>
                  <a:lnTo>
                    <a:pt x="86" y="26"/>
                  </a:lnTo>
                  <a:lnTo>
                    <a:pt x="84" y="20"/>
                  </a:lnTo>
                  <a:lnTo>
                    <a:pt x="84" y="18"/>
                  </a:lnTo>
                  <a:lnTo>
                    <a:pt x="82" y="12"/>
                  </a:lnTo>
                  <a:lnTo>
                    <a:pt x="86" y="6"/>
                  </a:lnTo>
                  <a:lnTo>
                    <a:pt x="80" y="2"/>
                  </a:lnTo>
                  <a:lnTo>
                    <a:pt x="74" y="2"/>
                  </a:lnTo>
                  <a:lnTo>
                    <a:pt x="68" y="0"/>
                  </a:lnTo>
                  <a:lnTo>
                    <a:pt x="64" y="2"/>
                  </a:lnTo>
                  <a:lnTo>
                    <a:pt x="58" y="6"/>
                  </a:lnTo>
                  <a:lnTo>
                    <a:pt x="52" y="8"/>
                  </a:lnTo>
                  <a:lnTo>
                    <a:pt x="58" y="14"/>
                  </a:lnTo>
                  <a:lnTo>
                    <a:pt x="58" y="18"/>
                  </a:lnTo>
                  <a:lnTo>
                    <a:pt x="60" y="22"/>
                  </a:lnTo>
                  <a:lnTo>
                    <a:pt x="60" y="28"/>
                  </a:lnTo>
                  <a:lnTo>
                    <a:pt x="54" y="30"/>
                  </a:lnTo>
                  <a:lnTo>
                    <a:pt x="52" y="30"/>
                  </a:lnTo>
                  <a:lnTo>
                    <a:pt x="54" y="26"/>
                  </a:lnTo>
                  <a:lnTo>
                    <a:pt x="56" y="20"/>
                  </a:lnTo>
                  <a:lnTo>
                    <a:pt x="56" y="14"/>
                  </a:lnTo>
                  <a:lnTo>
                    <a:pt x="50" y="20"/>
                  </a:lnTo>
                  <a:lnTo>
                    <a:pt x="48" y="26"/>
                  </a:lnTo>
                  <a:lnTo>
                    <a:pt x="44" y="30"/>
                  </a:lnTo>
                  <a:lnTo>
                    <a:pt x="38" y="26"/>
                  </a:lnTo>
                  <a:lnTo>
                    <a:pt x="42" y="20"/>
                  </a:lnTo>
                  <a:lnTo>
                    <a:pt x="38" y="14"/>
                  </a:lnTo>
                  <a:lnTo>
                    <a:pt x="42" y="14"/>
                  </a:lnTo>
                  <a:lnTo>
                    <a:pt x="40" y="12"/>
                  </a:lnTo>
                  <a:lnTo>
                    <a:pt x="34" y="12"/>
                  </a:lnTo>
                  <a:lnTo>
                    <a:pt x="28" y="10"/>
                  </a:lnTo>
                  <a:lnTo>
                    <a:pt x="24" y="12"/>
                  </a:lnTo>
                  <a:lnTo>
                    <a:pt x="30" y="14"/>
                  </a:lnTo>
                  <a:lnTo>
                    <a:pt x="28" y="18"/>
                  </a:lnTo>
                  <a:lnTo>
                    <a:pt x="22" y="20"/>
                  </a:lnTo>
                  <a:lnTo>
                    <a:pt x="18" y="26"/>
                  </a:lnTo>
                  <a:lnTo>
                    <a:pt x="12" y="24"/>
                  </a:lnTo>
                  <a:lnTo>
                    <a:pt x="6" y="26"/>
                  </a:lnTo>
                  <a:lnTo>
                    <a:pt x="0" y="26"/>
                  </a:lnTo>
                  <a:lnTo>
                    <a:pt x="6" y="32"/>
                  </a:lnTo>
                  <a:lnTo>
                    <a:pt x="12" y="36"/>
                  </a:lnTo>
                  <a:lnTo>
                    <a:pt x="14" y="42"/>
                  </a:lnTo>
                  <a:lnTo>
                    <a:pt x="16" y="48"/>
                  </a:lnTo>
                  <a:lnTo>
                    <a:pt x="10" y="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7" name="Freeform 64"/>
            <p:cNvSpPr>
              <a:spLocks/>
            </p:cNvSpPr>
            <p:nvPr/>
          </p:nvSpPr>
          <p:spPr bwMode="auto">
            <a:xfrm>
              <a:off x="4500563" y="2692400"/>
              <a:ext cx="17462" cy="7938"/>
            </a:xfrm>
            <a:custGeom>
              <a:avLst/>
              <a:gdLst>
                <a:gd name="T0" fmla="*/ 0 w 44"/>
                <a:gd name="T1" fmla="*/ 2147483647 h 20"/>
                <a:gd name="T2" fmla="*/ 2147483647 w 44"/>
                <a:gd name="T3" fmla="*/ 2147483647 h 20"/>
                <a:gd name="T4" fmla="*/ 2147483647 w 44"/>
                <a:gd name="T5" fmla="*/ 2147483647 h 20"/>
                <a:gd name="T6" fmla="*/ 2147483647 w 44"/>
                <a:gd name="T7" fmla="*/ 2147483647 h 20"/>
                <a:gd name="T8" fmla="*/ 2147483647 w 44"/>
                <a:gd name="T9" fmla="*/ 2147483647 h 20"/>
                <a:gd name="T10" fmla="*/ 2147483647 w 44"/>
                <a:gd name="T11" fmla="*/ 2147483647 h 20"/>
                <a:gd name="T12" fmla="*/ 2147483647 w 44"/>
                <a:gd name="T13" fmla="*/ 2147483647 h 20"/>
                <a:gd name="T14" fmla="*/ 2147483647 w 44"/>
                <a:gd name="T15" fmla="*/ 2147483647 h 20"/>
                <a:gd name="T16" fmla="*/ 2147483647 w 44"/>
                <a:gd name="T17" fmla="*/ 2147483647 h 20"/>
                <a:gd name="T18" fmla="*/ 2147483647 w 44"/>
                <a:gd name="T19" fmla="*/ 2147483647 h 20"/>
                <a:gd name="T20" fmla="*/ 2147483647 w 44"/>
                <a:gd name="T21" fmla="*/ 2147483647 h 20"/>
                <a:gd name="T22" fmla="*/ 2147483647 w 44"/>
                <a:gd name="T23" fmla="*/ 2147483647 h 20"/>
                <a:gd name="T24" fmla="*/ 2147483647 w 44"/>
                <a:gd name="T25" fmla="*/ 2147483647 h 20"/>
                <a:gd name="T26" fmla="*/ 2147483647 w 44"/>
                <a:gd name="T27" fmla="*/ 2147483647 h 20"/>
                <a:gd name="T28" fmla="*/ 2147483647 w 44"/>
                <a:gd name="T29" fmla="*/ 2147483647 h 20"/>
                <a:gd name="T30" fmla="*/ 2147483647 w 44"/>
                <a:gd name="T31" fmla="*/ 2147483647 h 20"/>
                <a:gd name="T32" fmla="*/ 2147483647 w 44"/>
                <a:gd name="T33" fmla="*/ 2147483647 h 20"/>
                <a:gd name="T34" fmla="*/ 2147483647 w 44"/>
                <a:gd name="T35" fmla="*/ 0 h 20"/>
                <a:gd name="T36" fmla="*/ 2147483647 w 44"/>
                <a:gd name="T37" fmla="*/ 0 h 20"/>
                <a:gd name="T38" fmla="*/ 2147483647 w 44"/>
                <a:gd name="T39" fmla="*/ 2147483647 h 20"/>
                <a:gd name="T40" fmla="*/ 2147483647 w 44"/>
                <a:gd name="T41" fmla="*/ 2147483647 h 20"/>
                <a:gd name="T42" fmla="*/ 0 w 44"/>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
                <a:gd name="T67" fmla="*/ 0 h 20"/>
                <a:gd name="T68" fmla="*/ 44 w 44"/>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 h="20">
                  <a:moveTo>
                    <a:pt x="0" y="10"/>
                  </a:moveTo>
                  <a:lnTo>
                    <a:pt x="2" y="12"/>
                  </a:lnTo>
                  <a:lnTo>
                    <a:pt x="6" y="14"/>
                  </a:lnTo>
                  <a:lnTo>
                    <a:pt x="12" y="16"/>
                  </a:lnTo>
                  <a:lnTo>
                    <a:pt x="18" y="20"/>
                  </a:lnTo>
                  <a:lnTo>
                    <a:pt x="22" y="20"/>
                  </a:lnTo>
                  <a:lnTo>
                    <a:pt x="28" y="20"/>
                  </a:lnTo>
                  <a:lnTo>
                    <a:pt x="32" y="20"/>
                  </a:lnTo>
                  <a:lnTo>
                    <a:pt x="38" y="20"/>
                  </a:lnTo>
                  <a:lnTo>
                    <a:pt x="44" y="18"/>
                  </a:lnTo>
                  <a:lnTo>
                    <a:pt x="44" y="14"/>
                  </a:lnTo>
                  <a:lnTo>
                    <a:pt x="44" y="12"/>
                  </a:lnTo>
                  <a:lnTo>
                    <a:pt x="40" y="6"/>
                  </a:lnTo>
                  <a:lnTo>
                    <a:pt x="38" y="6"/>
                  </a:lnTo>
                  <a:lnTo>
                    <a:pt x="32" y="6"/>
                  </a:lnTo>
                  <a:lnTo>
                    <a:pt x="26" y="8"/>
                  </a:lnTo>
                  <a:lnTo>
                    <a:pt x="20" y="6"/>
                  </a:lnTo>
                  <a:lnTo>
                    <a:pt x="14" y="0"/>
                  </a:lnTo>
                  <a:lnTo>
                    <a:pt x="8" y="0"/>
                  </a:lnTo>
                  <a:lnTo>
                    <a:pt x="2" y="4"/>
                  </a:lnTo>
                  <a:lnTo>
                    <a:pt x="6" y="10"/>
                  </a:lnTo>
                  <a:lnTo>
                    <a:pt x="0"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8" name="Freeform 65"/>
            <p:cNvSpPr>
              <a:spLocks/>
            </p:cNvSpPr>
            <p:nvPr/>
          </p:nvSpPr>
          <p:spPr bwMode="auto">
            <a:xfrm>
              <a:off x="4440238" y="2635250"/>
              <a:ext cx="58737" cy="61913"/>
            </a:xfrm>
            <a:custGeom>
              <a:avLst/>
              <a:gdLst>
                <a:gd name="T0" fmla="*/ 2147483647 w 144"/>
                <a:gd name="T1" fmla="*/ 2147483647 h 148"/>
                <a:gd name="T2" fmla="*/ 2147483647 w 144"/>
                <a:gd name="T3" fmla="*/ 2147483647 h 148"/>
                <a:gd name="T4" fmla="*/ 2147483647 w 144"/>
                <a:gd name="T5" fmla="*/ 2147483647 h 148"/>
                <a:gd name="T6" fmla="*/ 2147483647 w 144"/>
                <a:gd name="T7" fmla="*/ 2147483647 h 148"/>
                <a:gd name="T8" fmla="*/ 2147483647 w 144"/>
                <a:gd name="T9" fmla="*/ 2147483647 h 148"/>
                <a:gd name="T10" fmla="*/ 2147483647 w 144"/>
                <a:gd name="T11" fmla="*/ 2147483647 h 148"/>
                <a:gd name="T12" fmla="*/ 2147483647 w 144"/>
                <a:gd name="T13" fmla="*/ 2147483647 h 148"/>
                <a:gd name="T14" fmla="*/ 2147483647 w 144"/>
                <a:gd name="T15" fmla="*/ 2147483647 h 148"/>
                <a:gd name="T16" fmla="*/ 2147483647 w 144"/>
                <a:gd name="T17" fmla="*/ 2147483647 h 148"/>
                <a:gd name="T18" fmla="*/ 2147483647 w 144"/>
                <a:gd name="T19" fmla="*/ 2147483647 h 148"/>
                <a:gd name="T20" fmla="*/ 2147483647 w 144"/>
                <a:gd name="T21" fmla="*/ 2147483647 h 148"/>
                <a:gd name="T22" fmla="*/ 2147483647 w 144"/>
                <a:gd name="T23" fmla="*/ 0 h 148"/>
                <a:gd name="T24" fmla="*/ 2147483647 w 144"/>
                <a:gd name="T25" fmla="*/ 2147483647 h 148"/>
                <a:gd name="T26" fmla="*/ 2147483647 w 144"/>
                <a:gd name="T27" fmla="*/ 2147483647 h 148"/>
                <a:gd name="T28" fmla="*/ 2147483647 w 144"/>
                <a:gd name="T29" fmla="*/ 2147483647 h 148"/>
                <a:gd name="T30" fmla="*/ 2147483647 w 144"/>
                <a:gd name="T31" fmla="*/ 2147483647 h 148"/>
                <a:gd name="T32" fmla="*/ 2147483647 w 144"/>
                <a:gd name="T33" fmla="*/ 2147483647 h 148"/>
                <a:gd name="T34" fmla="*/ 2147483647 w 144"/>
                <a:gd name="T35" fmla="*/ 2147483647 h 148"/>
                <a:gd name="T36" fmla="*/ 2147483647 w 144"/>
                <a:gd name="T37" fmla="*/ 2147483647 h 148"/>
                <a:gd name="T38" fmla="*/ 2147483647 w 144"/>
                <a:gd name="T39" fmla="*/ 2147483647 h 148"/>
                <a:gd name="T40" fmla="*/ 2147483647 w 144"/>
                <a:gd name="T41" fmla="*/ 2147483647 h 148"/>
                <a:gd name="T42" fmla="*/ 2147483647 w 144"/>
                <a:gd name="T43" fmla="*/ 2147483647 h 148"/>
                <a:gd name="T44" fmla="*/ 2147483647 w 144"/>
                <a:gd name="T45" fmla="*/ 2147483647 h 148"/>
                <a:gd name="T46" fmla="*/ 2147483647 w 144"/>
                <a:gd name="T47" fmla="*/ 2147483647 h 148"/>
                <a:gd name="T48" fmla="*/ 2147483647 w 144"/>
                <a:gd name="T49" fmla="*/ 2147483647 h 148"/>
                <a:gd name="T50" fmla="*/ 2147483647 w 144"/>
                <a:gd name="T51" fmla="*/ 2147483647 h 148"/>
                <a:gd name="T52" fmla="*/ 2147483647 w 144"/>
                <a:gd name="T53" fmla="*/ 2147483647 h 148"/>
                <a:gd name="T54" fmla="*/ 2147483647 w 144"/>
                <a:gd name="T55" fmla="*/ 2147483647 h 148"/>
                <a:gd name="T56" fmla="*/ 2147483647 w 144"/>
                <a:gd name="T57" fmla="*/ 2147483647 h 148"/>
                <a:gd name="T58" fmla="*/ 2147483647 w 144"/>
                <a:gd name="T59" fmla="*/ 2147483647 h 148"/>
                <a:gd name="T60" fmla="*/ 2147483647 w 144"/>
                <a:gd name="T61" fmla="*/ 2147483647 h 148"/>
                <a:gd name="T62" fmla="*/ 2147483647 w 144"/>
                <a:gd name="T63" fmla="*/ 2147483647 h 148"/>
                <a:gd name="T64" fmla="*/ 2147483647 w 144"/>
                <a:gd name="T65" fmla="*/ 2147483647 h 148"/>
                <a:gd name="T66" fmla="*/ 2147483647 w 144"/>
                <a:gd name="T67" fmla="*/ 2147483647 h 148"/>
                <a:gd name="T68" fmla="*/ 2147483647 w 144"/>
                <a:gd name="T69" fmla="*/ 2147483647 h 148"/>
                <a:gd name="T70" fmla="*/ 2147483647 w 144"/>
                <a:gd name="T71" fmla="*/ 2147483647 h 148"/>
                <a:gd name="T72" fmla="*/ 2147483647 w 144"/>
                <a:gd name="T73" fmla="*/ 2147483647 h 148"/>
                <a:gd name="T74" fmla="*/ 2147483647 w 144"/>
                <a:gd name="T75" fmla="*/ 2147483647 h 148"/>
                <a:gd name="T76" fmla="*/ 2147483647 w 144"/>
                <a:gd name="T77" fmla="*/ 2147483647 h 148"/>
                <a:gd name="T78" fmla="*/ 2147483647 w 144"/>
                <a:gd name="T79" fmla="*/ 2147483647 h 148"/>
                <a:gd name="T80" fmla="*/ 2147483647 w 144"/>
                <a:gd name="T81" fmla="*/ 2147483647 h 148"/>
                <a:gd name="T82" fmla="*/ 2147483647 w 144"/>
                <a:gd name="T83" fmla="*/ 2147483647 h 148"/>
                <a:gd name="T84" fmla="*/ 2147483647 w 144"/>
                <a:gd name="T85" fmla="*/ 2147483647 h 148"/>
                <a:gd name="T86" fmla="*/ 2147483647 w 144"/>
                <a:gd name="T87" fmla="*/ 2147483647 h 148"/>
                <a:gd name="T88" fmla="*/ 2147483647 w 144"/>
                <a:gd name="T89" fmla="*/ 2147483647 h 148"/>
                <a:gd name="T90" fmla="*/ 2147483647 w 144"/>
                <a:gd name="T91" fmla="*/ 2147483647 h 148"/>
                <a:gd name="T92" fmla="*/ 2147483647 w 144"/>
                <a:gd name="T93" fmla="*/ 2147483647 h 148"/>
                <a:gd name="T94" fmla="*/ 2147483647 w 144"/>
                <a:gd name="T95" fmla="*/ 2147483647 h 148"/>
                <a:gd name="T96" fmla="*/ 2147483647 w 144"/>
                <a:gd name="T97" fmla="*/ 2147483647 h 148"/>
                <a:gd name="T98" fmla="*/ 2147483647 w 144"/>
                <a:gd name="T99" fmla="*/ 2147483647 h 148"/>
                <a:gd name="T100" fmla="*/ 2147483647 w 144"/>
                <a:gd name="T101" fmla="*/ 2147483647 h 148"/>
                <a:gd name="T102" fmla="*/ 2147483647 w 144"/>
                <a:gd name="T103" fmla="*/ 2147483647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44"/>
                <a:gd name="T157" fmla="*/ 0 h 148"/>
                <a:gd name="T158" fmla="*/ 144 w 144"/>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44" h="148">
                  <a:moveTo>
                    <a:pt x="2" y="32"/>
                  </a:moveTo>
                  <a:lnTo>
                    <a:pt x="4" y="26"/>
                  </a:lnTo>
                  <a:lnTo>
                    <a:pt x="10" y="32"/>
                  </a:lnTo>
                  <a:lnTo>
                    <a:pt x="16" y="32"/>
                  </a:lnTo>
                  <a:lnTo>
                    <a:pt x="22" y="34"/>
                  </a:lnTo>
                  <a:lnTo>
                    <a:pt x="24" y="34"/>
                  </a:lnTo>
                  <a:lnTo>
                    <a:pt x="24" y="32"/>
                  </a:lnTo>
                  <a:lnTo>
                    <a:pt x="26" y="40"/>
                  </a:lnTo>
                  <a:lnTo>
                    <a:pt x="32" y="38"/>
                  </a:lnTo>
                  <a:lnTo>
                    <a:pt x="34" y="34"/>
                  </a:lnTo>
                  <a:lnTo>
                    <a:pt x="34" y="28"/>
                  </a:lnTo>
                  <a:lnTo>
                    <a:pt x="38" y="24"/>
                  </a:lnTo>
                  <a:lnTo>
                    <a:pt x="42" y="20"/>
                  </a:lnTo>
                  <a:lnTo>
                    <a:pt x="48" y="18"/>
                  </a:lnTo>
                  <a:lnTo>
                    <a:pt x="50" y="18"/>
                  </a:lnTo>
                  <a:lnTo>
                    <a:pt x="54" y="24"/>
                  </a:lnTo>
                  <a:lnTo>
                    <a:pt x="48" y="28"/>
                  </a:lnTo>
                  <a:lnTo>
                    <a:pt x="54" y="30"/>
                  </a:lnTo>
                  <a:lnTo>
                    <a:pt x="60" y="30"/>
                  </a:lnTo>
                  <a:lnTo>
                    <a:pt x="62" y="36"/>
                  </a:lnTo>
                  <a:lnTo>
                    <a:pt x="62" y="30"/>
                  </a:lnTo>
                  <a:lnTo>
                    <a:pt x="62" y="26"/>
                  </a:lnTo>
                  <a:lnTo>
                    <a:pt x="56" y="26"/>
                  </a:lnTo>
                  <a:lnTo>
                    <a:pt x="56" y="20"/>
                  </a:lnTo>
                  <a:lnTo>
                    <a:pt x="56" y="14"/>
                  </a:lnTo>
                  <a:lnTo>
                    <a:pt x="54" y="10"/>
                  </a:lnTo>
                  <a:lnTo>
                    <a:pt x="60" y="6"/>
                  </a:lnTo>
                  <a:lnTo>
                    <a:pt x="66" y="4"/>
                  </a:lnTo>
                  <a:lnTo>
                    <a:pt x="72" y="4"/>
                  </a:lnTo>
                  <a:lnTo>
                    <a:pt x="78" y="6"/>
                  </a:lnTo>
                  <a:lnTo>
                    <a:pt x="84" y="2"/>
                  </a:lnTo>
                  <a:lnTo>
                    <a:pt x="90" y="2"/>
                  </a:lnTo>
                  <a:lnTo>
                    <a:pt x="92" y="2"/>
                  </a:lnTo>
                  <a:lnTo>
                    <a:pt x="94" y="2"/>
                  </a:lnTo>
                  <a:lnTo>
                    <a:pt x="96" y="0"/>
                  </a:lnTo>
                  <a:lnTo>
                    <a:pt x="102" y="4"/>
                  </a:lnTo>
                  <a:lnTo>
                    <a:pt x="108" y="6"/>
                  </a:lnTo>
                  <a:lnTo>
                    <a:pt x="110" y="12"/>
                  </a:lnTo>
                  <a:lnTo>
                    <a:pt x="110" y="18"/>
                  </a:lnTo>
                  <a:lnTo>
                    <a:pt x="114" y="24"/>
                  </a:lnTo>
                  <a:lnTo>
                    <a:pt x="108" y="24"/>
                  </a:lnTo>
                  <a:lnTo>
                    <a:pt x="102" y="24"/>
                  </a:lnTo>
                  <a:lnTo>
                    <a:pt x="96" y="26"/>
                  </a:lnTo>
                  <a:lnTo>
                    <a:pt x="90" y="28"/>
                  </a:lnTo>
                  <a:lnTo>
                    <a:pt x="96" y="28"/>
                  </a:lnTo>
                  <a:lnTo>
                    <a:pt x="102" y="26"/>
                  </a:lnTo>
                  <a:lnTo>
                    <a:pt x="102" y="24"/>
                  </a:lnTo>
                  <a:lnTo>
                    <a:pt x="106" y="24"/>
                  </a:lnTo>
                  <a:lnTo>
                    <a:pt x="110" y="24"/>
                  </a:lnTo>
                  <a:lnTo>
                    <a:pt x="114" y="30"/>
                  </a:lnTo>
                  <a:lnTo>
                    <a:pt x="108" y="34"/>
                  </a:lnTo>
                  <a:lnTo>
                    <a:pt x="106" y="40"/>
                  </a:lnTo>
                  <a:lnTo>
                    <a:pt x="108" y="34"/>
                  </a:lnTo>
                  <a:lnTo>
                    <a:pt x="114" y="34"/>
                  </a:lnTo>
                  <a:lnTo>
                    <a:pt x="120" y="36"/>
                  </a:lnTo>
                  <a:lnTo>
                    <a:pt x="126" y="36"/>
                  </a:lnTo>
                  <a:lnTo>
                    <a:pt x="132" y="36"/>
                  </a:lnTo>
                  <a:lnTo>
                    <a:pt x="138" y="36"/>
                  </a:lnTo>
                  <a:lnTo>
                    <a:pt x="144" y="40"/>
                  </a:lnTo>
                  <a:lnTo>
                    <a:pt x="142" y="46"/>
                  </a:lnTo>
                  <a:lnTo>
                    <a:pt x="138" y="52"/>
                  </a:lnTo>
                  <a:lnTo>
                    <a:pt x="134" y="58"/>
                  </a:lnTo>
                  <a:lnTo>
                    <a:pt x="128" y="56"/>
                  </a:lnTo>
                  <a:lnTo>
                    <a:pt x="124" y="62"/>
                  </a:lnTo>
                  <a:lnTo>
                    <a:pt x="124" y="64"/>
                  </a:lnTo>
                  <a:lnTo>
                    <a:pt x="118" y="60"/>
                  </a:lnTo>
                  <a:lnTo>
                    <a:pt x="120" y="54"/>
                  </a:lnTo>
                  <a:lnTo>
                    <a:pt x="114" y="54"/>
                  </a:lnTo>
                  <a:lnTo>
                    <a:pt x="110" y="58"/>
                  </a:lnTo>
                  <a:lnTo>
                    <a:pt x="108" y="58"/>
                  </a:lnTo>
                  <a:lnTo>
                    <a:pt x="110" y="64"/>
                  </a:lnTo>
                  <a:lnTo>
                    <a:pt x="110" y="70"/>
                  </a:lnTo>
                  <a:lnTo>
                    <a:pt x="108" y="76"/>
                  </a:lnTo>
                  <a:lnTo>
                    <a:pt x="102" y="78"/>
                  </a:lnTo>
                  <a:lnTo>
                    <a:pt x="98" y="78"/>
                  </a:lnTo>
                  <a:lnTo>
                    <a:pt x="96" y="78"/>
                  </a:lnTo>
                  <a:lnTo>
                    <a:pt x="90" y="80"/>
                  </a:lnTo>
                  <a:lnTo>
                    <a:pt x="96" y="82"/>
                  </a:lnTo>
                  <a:lnTo>
                    <a:pt x="98" y="88"/>
                  </a:lnTo>
                  <a:lnTo>
                    <a:pt x="96" y="90"/>
                  </a:lnTo>
                  <a:lnTo>
                    <a:pt x="90" y="90"/>
                  </a:lnTo>
                  <a:lnTo>
                    <a:pt x="84" y="92"/>
                  </a:lnTo>
                  <a:lnTo>
                    <a:pt x="78" y="88"/>
                  </a:lnTo>
                  <a:lnTo>
                    <a:pt x="76" y="90"/>
                  </a:lnTo>
                  <a:lnTo>
                    <a:pt x="82" y="92"/>
                  </a:lnTo>
                  <a:lnTo>
                    <a:pt x="88" y="94"/>
                  </a:lnTo>
                  <a:lnTo>
                    <a:pt x="82" y="98"/>
                  </a:lnTo>
                  <a:lnTo>
                    <a:pt x="82" y="100"/>
                  </a:lnTo>
                  <a:lnTo>
                    <a:pt x="80" y="100"/>
                  </a:lnTo>
                  <a:lnTo>
                    <a:pt x="76" y="102"/>
                  </a:lnTo>
                  <a:lnTo>
                    <a:pt x="76" y="108"/>
                  </a:lnTo>
                  <a:lnTo>
                    <a:pt x="76" y="112"/>
                  </a:lnTo>
                  <a:lnTo>
                    <a:pt x="80" y="118"/>
                  </a:lnTo>
                  <a:lnTo>
                    <a:pt x="74" y="122"/>
                  </a:lnTo>
                  <a:lnTo>
                    <a:pt x="68" y="126"/>
                  </a:lnTo>
                  <a:lnTo>
                    <a:pt x="68" y="132"/>
                  </a:lnTo>
                  <a:lnTo>
                    <a:pt x="74" y="132"/>
                  </a:lnTo>
                  <a:lnTo>
                    <a:pt x="80" y="134"/>
                  </a:lnTo>
                  <a:lnTo>
                    <a:pt x="80" y="136"/>
                  </a:lnTo>
                  <a:lnTo>
                    <a:pt x="84" y="140"/>
                  </a:lnTo>
                  <a:lnTo>
                    <a:pt x="84" y="146"/>
                  </a:lnTo>
                  <a:lnTo>
                    <a:pt x="76" y="144"/>
                  </a:lnTo>
                  <a:lnTo>
                    <a:pt x="76" y="142"/>
                  </a:lnTo>
                  <a:lnTo>
                    <a:pt x="74" y="142"/>
                  </a:lnTo>
                  <a:lnTo>
                    <a:pt x="68" y="146"/>
                  </a:lnTo>
                  <a:lnTo>
                    <a:pt x="66" y="146"/>
                  </a:lnTo>
                  <a:lnTo>
                    <a:pt x="64" y="148"/>
                  </a:lnTo>
                  <a:lnTo>
                    <a:pt x="62" y="148"/>
                  </a:lnTo>
                  <a:lnTo>
                    <a:pt x="58" y="148"/>
                  </a:lnTo>
                  <a:lnTo>
                    <a:pt x="52" y="144"/>
                  </a:lnTo>
                  <a:lnTo>
                    <a:pt x="46" y="144"/>
                  </a:lnTo>
                  <a:lnTo>
                    <a:pt x="40" y="142"/>
                  </a:lnTo>
                  <a:lnTo>
                    <a:pt x="38" y="140"/>
                  </a:lnTo>
                  <a:lnTo>
                    <a:pt x="32" y="142"/>
                  </a:lnTo>
                  <a:lnTo>
                    <a:pt x="28" y="140"/>
                  </a:lnTo>
                  <a:lnTo>
                    <a:pt x="26" y="136"/>
                  </a:lnTo>
                  <a:lnTo>
                    <a:pt x="28" y="130"/>
                  </a:lnTo>
                  <a:lnTo>
                    <a:pt x="22" y="130"/>
                  </a:lnTo>
                  <a:lnTo>
                    <a:pt x="18" y="124"/>
                  </a:lnTo>
                  <a:lnTo>
                    <a:pt x="24" y="122"/>
                  </a:lnTo>
                  <a:lnTo>
                    <a:pt x="28" y="120"/>
                  </a:lnTo>
                  <a:lnTo>
                    <a:pt x="28" y="114"/>
                  </a:lnTo>
                  <a:lnTo>
                    <a:pt x="28" y="112"/>
                  </a:lnTo>
                  <a:lnTo>
                    <a:pt x="24" y="106"/>
                  </a:lnTo>
                  <a:lnTo>
                    <a:pt x="18" y="106"/>
                  </a:lnTo>
                  <a:lnTo>
                    <a:pt x="12" y="100"/>
                  </a:lnTo>
                  <a:lnTo>
                    <a:pt x="10" y="98"/>
                  </a:lnTo>
                  <a:lnTo>
                    <a:pt x="10" y="104"/>
                  </a:lnTo>
                  <a:lnTo>
                    <a:pt x="4" y="100"/>
                  </a:lnTo>
                  <a:lnTo>
                    <a:pt x="2" y="94"/>
                  </a:lnTo>
                  <a:lnTo>
                    <a:pt x="4" y="88"/>
                  </a:lnTo>
                  <a:lnTo>
                    <a:pt x="4" y="84"/>
                  </a:lnTo>
                  <a:lnTo>
                    <a:pt x="2" y="76"/>
                  </a:lnTo>
                  <a:lnTo>
                    <a:pt x="2" y="72"/>
                  </a:lnTo>
                  <a:lnTo>
                    <a:pt x="4" y="78"/>
                  </a:lnTo>
                  <a:lnTo>
                    <a:pt x="10" y="80"/>
                  </a:lnTo>
                  <a:lnTo>
                    <a:pt x="14" y="76"/>
                  </a:lnTo>
                  <a:lnTo>
                    <a:pt x="10" y="72"/>
                  </a:lnTo>
                  <a:lnTo>
                    <a:pt x="8" y="66"/>
                  </a:lnTo>
                  <a:lnTo>
                    <a:pt x="2" y="62"/>
                  </a:lnTo>
                  <a:lnTo>
                    <a:pt x="2" y="70"/>
                  </a:lnTo>
                  <a:lnTo>
                    <a:pt x="0" y="62"/>
                  </a:lnTo>
                  <a:lnTo>
                    <a:pt x="2" y="58"/>
                  </a:lnTo>
                  <a:lnTo>
                    <a:pt x="2" y="50"/>
                  </a:lnTo>
                  <a:lnTo>
                    <a:pt x="2" y="44"/>
                  </a:lnTo>
                  <a:lnTo>
                    <a:pt x="2" y="38"/>
                  </a:lnTo>
                  <a:lnTo>
                    <a:pt x="2" y="3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49" name="Freeform 66"/>
            <p:cNvSpPr>
              <a:spLocks/>
            </p:cNvSpPr>
            <p:nvPr/>
          </p:nvSpPr>
          <p:spPr bwMode="auto">
            <a:xfrm>
              <a:off x="4445000" y="2617788"/>
              <a:ext cx="47625" cy="31750"/>
            </a:xfrm>
            <a:custGeom>
              <a:avLst/>
              <a:gdLst>
                <a:gd name="T0" fmla="*/ 0 w 116"/>
                <a:gd name="T1" fmla="*/ 2147483647 h 74"/>
                <a:gd name="T2" fmla="*/ 2147483647 w 116"/>
                <a:gd name="T3" fmla="*/ 2147483647 h 74"/>
                <a:gd name="T4" fmla="*/ 2147483647 w 116"/>
                <a:gd name="T5" fmla="*/ 2147483647 h 74"/>
                <a:gd name="T6" fmla="*/ 2147483647 w 116"/>
                <a:gd name="T7" fmla="*/ 2147483647 h 74"/>
                <a:gd name="T8" fmla="*/ 2147483647 w 116"/>
                <a:gd name="T9" fmla="*/ 2147483647 h 74"/>
                <a:gd name="T10" fmla="*/ 2147483647 w 116"/>
                <a:gd name="T11" fmla="*/ 2147483647 h 74"/>
                <a:gd name="T12" fmla="*/ 2147483647 w 116"/>
                <a:gd name="T13" fmla="*/ 2147483647 h 74"/>
                <a:gd name="T14" fmla="*/ 2147483647 w 116"/>
                <a:gd name="T15" fmla="*/ 2147483647 h 74"/>
                <a:gd name="T16" fmla="*/ 2147483647 w 116"/>
                <a:gd name="T17" fmla="*/ 2147483647 h 74"/>
                <a:gd name="T18" fmla="*/ 2147483647 w 116"/>
                <a:gd name="T19" fmla="*/ 2147483647 h 74"/>
                <a:gd name="T20" fmla="*/ 2147483647 w 116"/>
                <a:gd name="T21" fmla="*/ 2147483647 h 74"/>
                <a:gd name="T22" fmla="*/ 2147483647 w 116"/>
                <a:gd name="T23" fmla="*/ 2147483647 h 74"/>
                <a:gd name="T24" fmla="*/ 2147483647 w 116"/>
                <a:gd name="T25" fmla="*/ 2147483647 h 74"/>
                <a:gd name="T26" fmla="*/ 2147483647 w 116"/>
                <a:gd name="T27" fmla="*/ 2147483647 h 74"/>
                <a:gd name="T28" fmla="*/ 2147483647 w 116"/>
                <a:gd name="T29" fmla="*/ 2147483647 h 74"/>
                <a:gd name="T30" fmla="*/ 2147483647 w 116"/>
                <a:gd name="T31" fmla="*/ 2147483647 h 74"/>
                <a:gd name="T32" fmla="*/ 2147483647 w 116"/>
                <a:gd name="T33" fmla="*/ 2147483647 h 74"/>
                <a:gd name="T34" fmla="*/ 2147483647 w 116"/>
                <a:gd name="T35" fmla="*/ 2147483647 h 74"/>
                <a:gd name="T36" fmla="*/ 2147483647 w 116"/>
                <a:gd name="T37" fmla="*/ 2147483647 h 74"/>
                <a:gd name="T38" fmla="*/ 2147483647 w 116"/>
                <a:gd name="T39" fmla="*/ 2147483647 h 74"/>
                <a:gd name="T40" fmla="*/ 2147483647 w 116"/>
                <a:gd name="T41" fmla="*/ 2147483647 h 74"/>
                <a:gd name="T42" fmla="*/ 2147483647 w 116"/>
                <a:gd name="T43" fmla="*/ 2147483647 h 74"/>
                <a:gd name="T44" fmla="*/ 2147483647 w 116"/>
                <a:gd name="T45" fmla="*/ 2147483647 h 74"/>
                <a:gd name="T46" fmla="*/ 2147483647 w 116"/>
                <a:gd name="T47" fmla="*/ 2147483647 h 74"/>
                <a:gd name="T48" fmla="*/ 2147483647 w 116"/>
                <a:gd name="T49" fmla="*/ 2147483647 h 74"/>
                <a:gd name="T50" fmla="*/ 2147483647 w 116"/>
                <a:gd name="T51" fmla="*/ 2147483647 h 74"/>
                <a:gd name="T52" fmla="*/ 2147483647 w 116"/>
                <a:gd name="T53" fmla="*/ 2147483647 h 74"/>
                <a:gd name="T54" fmla="*/ 2147483647 w 116"/>
                <a:gd name="T55" fmla="*/ 2147483647 h 74"/>
                <a:gd name="T56" fmla="*/ 2147483647 w 116"/>
                <a:gd name="T57" fmla="*/ 2147483647 h 74"/>
                <a:gd name="T58" fmla="*/ 2147483647 w 116"/>
                <a:gd name="T59" fmla="*/ 2147483647 h 74"/>
                <a:gd name="T60" fmla="*/ 2147483647 w 116"/>
                <a:gd name="T61" fmla="*/ 2147483647 h 74"/>
                <a:gd name="T62" fmla="*/ 2147483647 w 116"/>
                <a:gd name="T63" fmla="*/ 2147483647 h 7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6"/>
                <a:gd name="T97" fmla="*/ 0 h 74"/>
                <a:gd name="T98" fmla="*/ 116 w 116"/>
                <a:gd name="T99" fmla="*/ 74 h 7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6" h="74">
                  <a:moveTo>
                    <a:pt x="6" y="68"/>
                  </a:moveTo>
                  <a:lnTo>
                    <a:pt x="0" y="62"/>
                  </a:lnTo>
                  <a:lnTo>
                    <a:pt x="0" y="58"/>
                  </a:lnTo>
                  <a:lnTo>
                    <a:pt x="4" y="52"/>
                  </a:lnTo>
                  <a:lnTo>
                    <a:pt x="10" y="46"/>
                  </a:lnTo>
                  <a:lnTo>
                    <a:pt x="14" y="42"/>
                  </a:lnTo>
                  <a:lnTo>
                    <a:pt x="18" y="40"/>
                  </a:lnTo>
                  <a:lnTo>
                    <a:pt x="24" y="42"/>
                  </a:lnTo>
                  <a:lnTo>
                    <a:pt x="30" y="40"/>
                  </a:lnTo>
                  <a:lnTo>
                    <a:pt x="36" y="38"/>
                  </a:lnTo>
                  <a:lnTo>
                    <a:pt x="38" y="38"/>
                  </a:lnTo>
                  <a:lnTo>
                    <a:pt x="44" y="38"/>
                  </a:lnTo>
                  <a:lnTo>
                    <a:pt x="50" y="38"/>
                  </a:lnTo>
                  <a:lnTo>
                    <a:pt x="56" y="38"/>
                  </a:lnTo>
                  <a:lnTo>
                    <a:pt x="62" y="34"/>
                  </a:lnTo>
                  <a:lnTo>
                    <a:pt x="68" y="28"/>
                  </a:lnTo>
                  <a:lnTo>
                    <a:pt x="72" y="24"/>
                  </a:lnTo>
                  <a:lnTo>
                    <a:pt x="76" y="18"/>
                  </a:lnTo>
                  <a:lnTo>
                    <a:pt x="82" y="12"/>
                  </a:lnTo>
                  <a:lnTo>
                    <a:pt x="86" y="10"/>
                  </a:lnTo>
                  <a:lnTo>
                    <a:pt x="92" y="10"/>
                  </a:lnTo>
                  <a:lnTo>
                    <a:pt x="98" y="8"/>
                  </a:lnTo>
                  <a:lnTo>
                    <a:pt x="104" y="6"/>
                  </a:lnTo>
                  <a:lnTo>
                    <a:pt x="110" y="2"/>
                  </a:lnTo>
                  <a:lnTo>
                    <a:pt x="116" y="0"/>
                  </a:lnTo>
                  <a:lnTo>
                    <a:pt x="110" y="6"/>
                  </a:lnTo>
                  <a:lnTo>
                    <a:pt x="108" y="12"/>
                  </a:lnTo>
                  <a:lnTo>
                    <a:pt x="112" y="16"/>
                  </a:lnTo>
                  <a:lnTo>
                    <a:pt x="112" y="24"/>
                  </a:lnTo>
                  <a:lnTo>
                    <a:pt x="112" y="28"/>
                  </a:lnTo>
                  <a:lnTo>
                    <a:pt x="114" y="32"/>
                  </a:lnTo>
                  <a:lnTo>
                    <a:pt x="108" y="36"/>
                  </a:lnTo>
                  <a:lnTo>
                    <a:pt x="104" y="42"/>
                  </a:lnTo>
                  <a:lnTo>
                    <a:pt x="100" y="48"/>
                  </a:lnTo>
                  <a:lnTo>
                    <a:pt x="94" y="46"/>
                  </a:lnTo>
                  <a:lnTo>
                    <a:pt x="88" y="42"/>
                  </a:lnTo>
                  <a:lnTo>
                    <a:pt x="86" y="42"/>
                  </a:lnTo>
                  <a:lnTo>
                    <a:pt x="84" y="44"/>
                  </a:lnTo>
                  <a:lnTo>
                    <a:pt x="82" y="44"/>
                  </a:lnTo>
                  <a:lnTo>
                    <a:pt x="76" y="42"/>
                  </a:lnTo>
                  <a:lnTo>
                    <a:pt x="70" y="42"/>
                  </a:lnTo>
                  <a:lnTo>
                    <a:pt x="64" y="44"/>
                  </a:lnTo>
                  <a:lnTo>
                    <a:pt x="58" y="44"/>
                  </a:lnTo>
                  <a:lnTo>
                    <a:pt x="54" y="46"/>
                  </a:lnTo>
                  <a:lnTo>
                    <a:pt x="50" y="48"/>
                  </a:lnTo>
                  <a:lnTo>
                    <a:pt x="44" y="46"/>
                  </a:lnTo>
                  <a:lnTo>
                    <a:pt x="42" y="44"/>
                  </a:lnTo>
                  <a:lnTo>
                    <a:pt x="40" y="46"/>
                  </a:lnTo>
                  <a:lnTo>
                    <a:pt x="36" y="46"/>
                  </a:lnTo>
                  <a:lnTo>
                    <a:pt x="30" y="48"/>
                  </a:lnTo>
                  <a:lnTo>
                    <a:pt x="28" y="50"/>
                  </a:lnTo>
                  <a:lnTo>
                    <a:pt x="22" y="50"/>
                  </a:lnTo>
                  <a:lnTo>
                    <a:pt x="16" y="54"/>
                  </a:lnTo>
                  <a:lnTo>
                    <a:pt x="10" y="60"/>
                  </a:lnTo>
                  <a:lnTo>
                    <a:pt x="12" y="66"/>
                  </a:lnTo>
                  <a:lnTo>
                    <a:pt x="6" y="68"/>
                  </a:lnTo>
                  <a:lnTo>
                    <a:pt x="12" y="68"/>
                  </a:lnTo>
                  <a:lnTo>
                    <a:pt x="14" y="74"/>
                  </a:lnTo>
                  <a:lnTo>
                    <a:pt x="12" y="74"/>
                  </a:lnTo>
                  <a:lnTo>
                    <a:pt x="6"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0" name="Freeform 67"/>
            <p:cNvSpPr>
              <a:spLocks/>
            </p:cNvSpPr>
            <p:nvPr/>
          </p:nvSpPr>
          <p:spPr bwMode="auto">
            <a:xfrm>
              <a:off x="4387850" y="2822575"/>
              <a:ext cx="15875" cy="20638"/>
            </a:xfrm>
            <a:custGeom>
              <a:avLst/>
              <a:gdLst>
                <a:gd name="T0" fmla="*/ 0 w 40"/>
                <a:gd name="T1" fmla="*/ 2147483647 h 50"/>
                <a:gd name="T2" fmla="*/ 2147483647 w 40"/>
                <a:gd name="T3" fmla="*/ 2147483647 h 50"/>
                <a:gd name="T4" fmla="*/ 0 w 40"/>
                <a:gd name="T5" fmla="*/ 2147483647 h 50"/>
                <a:gd name="T6" fmla="*/ 2147483647 w 40"/>
                <a:gd name="T7" fmla="*/ 2147483647 h 50"/>
                <a:gd name="T8" fmla="*/ 2147483647 w 40"/>
                <a:gd name="T9" fmla="*/ 2147483647 h 50"/>
                <a:gd name="T10" fmla="*/ 2147483647 w 40"/>
                <a:gd name="T11" fmla="*/ 2147483647 h 50"/>
                <a:gd name="T12" fmla="*/ 2147483647 w 40"/>
                <a:gd name="T13" fmla="*/ 2147483647 h 50"/>
                <a:gd name="T14" fmla="*/ 2147483647 w 40"/>
                <a:gd name="T15" fmla="*/ 2147483647 h 50"/>
                <a:gd name="T16" fmla="*/ 2147483647 w 40"/>
                <a:gd name="T17" fmla="*/ 0 h 50"/>
                <a:gd name="T18" fmla="*/ 2147483647 w 40"/>
                <a:gd name="T19" fmla="*/ 2147483647 h 50"/>
                <a:gd name="T20" fmla="*/ 2147483647 w 40"/>
                <a:gd name="T21" fmla="*/ 2147483647 h 50"/>
                <a:gd name="T22" fmla="*/ 2147483647 w 40"/>
                <a:gd name="T23" fmla="*/ 2147483647 h 50"/>
                <a:gd name="T24" fmla="*/ 2147483647 w 40"/>
                <a:gd name="T25" fmla="*/ 2147483647 h 50"/>
                <a:gd name="T26" fmla="*/ 2147483647 w 40"/>
                <a:gd name="T27" fmla="*/ 2147483647 h 50"/>
                <a:gd name="T28" fmla="*/ 2147483647 w 40"/>
                <a:gd name="T29" fmla="*/ 2147483647 h 50"/>
                <a:gd name="T30" fmla="*/ 2147483647 w 40"/>
                <a:gd name="T31" fmla="*/ 2147483647 h 50"/>
                <a:gd name="T32" fmla="*/ 2147483647 w 40"/>
                <a:gd name="T33" fmla="*/ 2147483647 h 50"/>
                <a:gd name="T34" fmla="*/ 2147483647 w 40"/>
                <a:gd name="T35" fmla="*/ 2147483647 h 50"/>
                <a:gd name="T36" fmla="*/ 2147483647 w 40"/>
                <a:gd name="T37" fmla="*/ 2147483647 h 50"/>
                <a:gd name="T38" fmla="*/ 2147483647 w 40"/>
                <a:gd name="T39" fmla="*/ 2147483647 h 50"/>
                <a:gd name="T40" fmla="*/ 2147483647 w 40"/>
                <a:gd name="T41" fmla="*/ 2147483647 h 50"/>
                <a:gd name="T42" fmla="*/ 2147483647 w 40"/>
                <a:gd name="T43" fmla="*/ 2147483647 h 50"/>
                <a:gd name="T44" fmla="*/ 2147483647 w 40"/>
                <a:gd name="T45" fmla="*/ 2147483647 h 50"/>
                <a:gd name="T46" fmla="*/ 2147483647 w 40"/>
                <a:gd name="T47" fmla="*/ 2147483647 h 50"/>
                <a:gd name="T48" fmla="*/ 2147483647 w 40"/>
                <a:gd name="T49" fmla="*/ 2147483647 h 50"/>
                <a:gd name="T50" fmla="*/ 2147483647 w 40"/>
                <a:gd name="T51" fmla="*/ 2147483647 h 50"/>
                <a:gd name="T52" fmla="*/ 2147483647 w 40"/>
                <a:gd name="T53" fmla="*/ 2147483647 h 50"/>
                <a:gd name="T54" fmla="*/ 2147483647 w 40"/>
                <a:gd name="T55" fmla="*/ 2147483647 h 50"/>
                <a:gd name="T56" fmla="*/ 2147483647 w 40"/>
                <a:gd name="T57" fmla="*/ 2147483647 h 50"/>
                <a:gd name="T58" fmla="*/ 2147483647 w 40"/>
                <a:gd name="T59" fmla="*/ 2147483647 h 50"/>
                <a:gd name="T60" fmla="*/ 2147483647 w 40"/>
                <a:gd name="T61" fmla="*/ 2147483647 h 50"/>
                <a:gd name="T62" fmla="*/ 2147483647 w 40"/>
                <a:gd name="T63" fmla="*/ 2147483647 h 50"/>
                <a:gd name="T64" fmla="*/ 2147483647 w 40"/>
                <a:gd name="T65" fmla="*/ 2147483647 h 50"/>
                <a:gd name="T66" fmla="*/ 2147483647 w 40"/>
                <a:gd name="T67" fmla="*/ 2147483647 h 50"/>
                <a:gd name="T68" fmla="*/ 2147483647 w 40"/>
                <a:gd name="T69" fmla="*/ 2147483647 h 50"/>
                <a:gd name="T70" fmla="*/ 2147483647 w 40"/>
                <a:gd name="T71" fmla="*/ 2147483647 h 50"/>
                <a:gd name="T72" fmla="*/ 2147483647 w 40"/>
                <a:gd name="T73" fmla="*/ 2147483647 h 50"/>
                <a:gd name="T74" fmla="*/ 2147483647 w 40"/>
                <a:gd name="T75" fmla="*/ 2147483647 h 50"/>
                <a:gd name="T76" fmla="*/ 2147483647 w 40"/>
                <a:gd name="T77" fmla="*/ 2147483647 h 50"/>
                <a:gd name="T78" fmla="*/ 2147483647 w 40"/>
                <a:gd name="T79" fmla="*/ 2147483647 h 50"/>
                <a:gd name="T80" fmla="*/ 0 w 40"/>
                <a:gd name="T81" fmla="*/ 2147483647 h 5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
                <a:gd name="T124" fmla="*/ 0 h 50"/>
                <a:gd name="T125" fmla="*/ 40 w 40"/>
                <a:gd name="T126" fmla="*/ 50 h 5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 h="50">
                  <a:moveTo>
                    <a:pt x="0" y="22"/>
                  </a:moveTo>
                  <a:lnTo>
                    <a:pt x="2" y="20"/>
                  </a:lnTo>
                  <a:lnTo>
                    <a:pt x="0" y="20"/>
                  </a:lnTo>
                  <a:lnTo>
                    <a:pt x="6" y="14"/>
                  </a:lnTo>
                  <a:lnTo>
                    <a:pt x="4" y="12"/>
                  </a:lnTo>
                  <a:lnTo>
                    <a:pt x="6" y="10"/>
                  </a:lnTo>
                  <a:lnTo>
                    <a:pt x="8" y="6"/>
                  </a:lnTo>
                  <a:lnTo>
                    <a:pt x="12" y="2"/>
                  </a:lnTo>
                  <a:lnTo>
                    <a:pt x="16" y="0"/>
                  </a:lnTo>
                  <a:lnTo>
                    <a:pt x="18" y="2"/>
                  </a:lnTo>
                  <a:lnTo>
                    <a:pt x="22" y="4"/>
                  </a:lnTo>
                  <a:lnTo>
                    <a:pt x="20" y="10"/>
                  </a:lnTo>
                  <a:lnTo>
                    <a:pt x="22" y="12"/>
                  </a:lnTo>
                  <a:lnTo>
                    <a:pt x="22" y="14"/>
                  </a:lnTo>
                  <a:lnTo>
                    <a:pt x="26" y="20"/>
                  </a:lnTo>
                  <a:lnTo>
                    <a:pt x="30" y="22"/>
                  </a:lnTo>
                  <a:lnTo>
                    <a:pt x="36" y="24"/>
                  </a:lnTo>
                  <a:lnTo>
                    <a:pt x="40" y="30"/>
                  </a:lnTo>
                  <a:lnTo>
                    <a:pt x="40" y="32"/>
                  </a:lnTo>
                  <a:lnTo>
                    <a:pt x="36" y="34"/>
                  </a:lnTo>
                  <a:lnTo>
                    <a:pt x="32" y="40"/>
                  </a:lnTo>
                  <a:lnTo>
                    <a:pt x="32" y="42"/>
                  </a:lnTo>
                  <a:lnTo>
                    <a:pt x="32" y="44"/>
                  </a:lnTo>
                  <a:lnTo>
                    <a:pt x="32" y="48"/>
                  </a:lnTo>
                  <a:lnTo>
                    <a:pt x="26" y="46"/>
                  </a:lnTo>
                  <a:lnTo>
                    <a:pt x="24" y="46"/>
                  </a:lnTo>
                  <a:lnTo>
                    <a:pt x="20" y="48"/>
                  </a:lnTo>
                  <a:lnTo>
                    <a:pt x="18" y="48"/>
                  </a:lnTo>
                  <a:lnTo>
                    <a:pt x="12" y="50"/>
                  </a:lnTo>
                  <a:lnTo>
                    <a:pt x="10" y="46"/>
                  </a:lnTo>
                  <a:lnTo>
                    <a:pt x="4" y="44"/>
                  </a:lnTo>
                  <a:lnTo>
                    <a:pt x="2" y="44"/>
                  </a:lnTo>
                  <a:lnTo>
                    <a:pt x="2" y="42"/>
                  </a:lnTo>
                  <a:lnTo>
                    <a:pt x="6" y="40"/>
                  </a:lnTo>
                  <a:lnTo>
                    <a:pt x="6" y="36"/>
                  </a:lnTo>
                  <a:lnTo>
                    <a:pt x="8" y="36"/>
                  </a:lnTo>
                  <a:lnTo>
                    <a:pt x="6" y="32"/>
                  </a:lnTo>
                  <a:lnTo>
                    <a:pt x="2" y="28"/>
                  </a:lnTo>
                  <a:lnTo>
                    <a:pt x="0"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1" name="Freeform 68"/>
            <p:cNvSpPr>
              <a:spLocks/>
            </p:cNvSpPr>
            <p:nvPr/>
          </p:nvSpPr>
          <p:spPr bwMode="auto">
            <a:xfrm>
              <a:off x="4319588" y="2787650"/>
              <a:ext cx="82550" cy="53975"/>
            </a:xfrm>
            <a:custGeom>
              <a:avLst/>
              <a:gdLst>
                <a:gd name="T0" fmla="*/ 2147483647 w 202"/>
                <a:gd name="T1" fmla="*/ 2147483647 h 132"/>
                <a:gd name="T2" fmla="*/ 2147483647 w 202"/>
                <a:gd name="T3" fmla="*/ 2147483647 h 132"/>
                <a:gd name="T4" fmla="*/ 2147483647 w 202"/>
                <a:gd name="T5" fmla="*/ 2147483647 h 132"/>
                <a:gd name="T6" fmla="*/ 2147483647 w 202"/>
                <a:gd name="T7" fmla="*/ 2147483647 h 132"/>
                <a:gd name="T8" fmla="*/ 2147483647 w 202"/>
                <a:gd name="T9" fmla="*/ 2147483647 h 132"/>
                <a:gd name="T10" fmla="*/ 2147483647 w 202"/>
                <a:gd name="T11" fmla="*/ 2147483647 h 132"/>
                <a:gd name="T12" fmla="*/ 2147483647 w 202"/>
                <a:gd name="T13" fmla="*/ 2147483647 h 132"/>
                <a:gd name="T14" fmla="*/ 2147483647 w 202"/>
                <a:gd name="T15" fmla="*/ 2147483647 h 132"/>
                <a:gd name="T16" fmla="*/ 2147483647 w 202"/>
                <a:gd name="T17" fmla="*/ 2147483647 h 132"/>
                <a:gd name="T18" fmla="*/ 2147483647 w 202"/>
                <a:gd name="T19" fmla="*/ 2147483647 h 132"/>
                <a:gd name="T20" fmla="*/ 2147483647 w 202"/>
                <a:gd name="T21" fmla="*/ 2147483647 h 132"/>
                <a:gd name="T22" fmla="*/ 2147483647 w 202"/>
                <a:gd name="T23" fmla="*/ 0 h 132"/>
                <a:gd name="T24" fmla="*/ 2147483647 w 202"/>
                <a:gd name="T25" fmla="*/ 2147483647 h 132"/>
                <a:gd name="T26" fmla="*/ 2147483647 w 202"/>
                <a:gd name="T27" fmla="*/ 2147483647 h 132"/>
                <a:gd name="T28" fmla="*/ 2147483647 w 202"/>
                <a:gd name="T29" fmla="*/ 2147483647 h 132"/>
                <a:gd name="T30" fmla="*/ 2147483647 w 202"/>
                <a:gd name="T31" fmla="*/ 2147483647 h 132"/>
                <a:gd name="T32" fmla="*/ 2147483647 w 202"/>
                <a:gd name="T33" fmla="*/ 2147483647 h 132"/>
                <a:gd name="T34" fmla="*/ 2147483647 w 202"/>
                <a:gd name="T35" fmla="*/ 2147483647 h 132"/>
                <a:gd name="T36" fmla="*/ 2147483647 w 202"/>
                <a:gd name="T37" fmla="*/ 2147483647 h 132"/>
                <a:gd name="T38" fmla="*/ 2147483647 w 202"/>
                <a:gd name="T39" fmla="*/ 2147483647 h 132"/>
                <a:gd name="T40" fmla="*/ 2147483647 w 202"/>
                <a:gd name="T41" fmla="*/ 2147483647 h 132"/>
                <a:gd name="T42" fmla="*/ 2147483647 w 202"/>
                <a:gd name="T43" fmla="*/ 2147483647 h 132"/>
                <a:gd name="T44" fmla="*/ 2147483647 w 202"/>
                <a:gd name="T45" fmla="*/ 2147483647 h 132"/>
                <a:gd name="T46" fmla="*/ 2147483647 w 202"/>
                <a:gd name="T47" fmla="*/ 2147483647 h 132"/>
                <a:gd name="T48" fmla="*/ 2147483647 w 202"/>
                <a:gd name="T49" fmla="*/ 2147483647 h 132"/>
                <a:gd name="T50" fmla="*/ 2147483647 w 202"/>
                <a:gd name="T51" fmla="*/ 2147483647 h 132"/>
                <a:gd name="T52" fmla="*/ 2147483647 w 202"/>
                <a:gd name="T53" fmla="*/ 2147483647 h 132"/>
                <a:gd name="T54" fmla="*/ 2147483647 w 202"/>
                <a:gd name="T55" fmla="*/ 2147483647 h 132"/>
                <a:gd name="T56" fmla="*/ 2147483647 w 202"/>
                <a:gd name="T57" fmla="*/ 2147483647 h 132"/>
                <a:gd name="T58" fmla="*/ 2147483647 w 202"/>
                <a:gd name="T59" fmla="*/ 2147483647 h 132"/>
                <a:gd name="T60" fmla="*/ 2147483647 w 202"/>
                <a:gd name="T61" fmla="*/ 2147483647 h 132"/>
                <a:gd name="T62" fmla="*/ 2147483647 w 202"/>
                <a:gd name="T63" fmla="*/ 2147483647 h 132"/>
                <a:gd name="T64" fmla="*/ 2147483647 w 202"/>
                <a:gd name="T65" fmla="*/ 2147483647 h 132"/>
                <a:gd name="T66" fmla="*/ 2147483647 w 202"/>
                <a:gd name="T67" fmla="*/ 2147483647 h 132"/>
                <a:gd name="T68" fmla="*/ 2147483647 w 202"/>
                <a:gd name="T69" fmla="*/ 2147483647 h 132"/>
                <a:gd name="T70" fmla="*/ 2147483647 w 202"/>
                <a:gd name="T71" fmla="*/ 2147483647 h 132"/>
                <a:gd name="T72" fmla="*/ 2147483647 w 202"/>
                <a:gd name="T73" fmla="*/ 2147483647 h 132"/>
                <a:gd name="T74" fmla="*/ 2147483647 w 202"/>
                <a:gd name="T75" fmla="*/ 2147483647 h 132"/>
                <a:gd name="T76" fmla="*/ 2147483647 w 202"/>
                <a:gd name="T77" fmla="*/ 2147483647 h 132"/>
                <a:gd name="T78" fmla="*/ 2147483647 w 202"/>
                <a:gd name="T79" fmla="*/ 2147483647 h 132"/>
                <a:gd name="T80" fmla="*/ 2147483647 w 202"/>
                <a:gd name="T81" fmla="*/ 2147483647 h 132"/>
                <a:gd name="T82" fmla="*/ 2147483647 w 202"/>
                <a:gd name="T83" fmla="*/ 2147483647 h 132"/>
                <a:gd name="T84" fmla="*/ 2147483647 w 202"/>
                <a:gd name="T85" fmla="*/ 2147483647 h 132"/>
                <a:gd name="T86" fmla="*/ 2147483647 w 202"/>
                <a:gd name="T87" fmla="*/ 2147483647 h 132"/>
                <a:gd name="T88" fmla="*/ 2147483647 w 202"/>
                <a:gd name="T89" fmla="*/ 2147483647 h 132"/>
                <a:gd name="T90" fmla="*/ 2147483647 w 202"/>
                <a:gd name="T91" fmla="*/ 2147483647 h 132"/>
                <a:gd name="T92" fmla="*/ 2147483647 w 202"/>
                <a:gd name="T93" fmla="*/ 2147483647 h 132"/>
                <a:gd name="T94" fmla="*/ 2147483647 w 202"/>
                <a:gd name="T95" fmla="*/ 2147483647 h 132"/>
                <a:gd name="T96" fmla="*/ 2147483647 w 202"/>
                <a:gd name="T97" fmla="*/ 2147483647 h 132"/>
                <a:gd name="T98" fmla="*/ 2147483647 w 202"/>
                <a:gd name="T99" fmla="*/ 2147483647 h 132"/>
                <a:gd name="T100" fmla="*/ 2147483647 w 202"/>
                <a:gd name="T101" fmla="*/ 2147483647 h 132"/>
                <a:gd name="T102" fmla="*/ 2147483647 w 202"/>
                <a:gd name="T103" fmla="*/ 2147483647 h 132"/>
                <a:gd name="T104" fmla="*/ 2147483647 w 202"/>
                <a:gd name="T105" fmla="*/ 2147483647 h 132"/>
                <a:gd name="T106" fmla="*/ 2147483647 w 202"/>
                <a:gd name="T107" fmla="*/ 2147483647 h 132"/>
                <a:gd name="T108" fmla="*/ 0 w 202"/>
                <a:gd name="T109" fmla="*/ 2147483647 h 1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2"/>
                <a:gd name="T166" fmla="*/ 0 h 132"/>
                <a:gd name="T167" fmla="*/ 202 w 202"/>
                <a:gd name="T168" fmla="*/ 132 h 13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2" h="132">
                  <a:moveTo>
                    <a:pt x="0" y="26"/>
                  </a:moveTo>
                  <a:lnTo>
                    <a:pt x="6" y="22"/>
                  </a:lnTo>
                  <a:lnTo>
                    <a:pt x="10" y="20"/>
                  </a:lnTo>
                  <a:lnTo>
                    <a:pt x="16" y="18"/>
                  </a:lnTo>
                  <a:lnTo>
                    <a:pt x="22" y="14"/>
                  </a:lnTo>
                  <a:lnTo>
                    <a:pt x="28" y="12"/>
                  </a:lnTo>
                  <a:lnTo>
                    <a:pt x="30" y="10"/>
                  </a:lnTo>
                  <a:lnTo>
                    <a:pt x="36" y="8"/>
                  </a:lnTo>
                  <a:lnTo>
                    <a:pt x="42" y="8"/>
                  </a:lnTo>
                  <a:lnTo>
                    <a:pt x="44" y="6"/>
                  </a:lnTo>
                  <a:lnTo>
                    <a:pt x="44" y="10"/>
                  </a:lnTo>
                  <a:lnTo>
                    <a:pt x="44" y="14"/>
                  </a:lnTo>
                  <a:lnTo>
                    <a:pt x="48" y="16"/>
                  </a:lnTo>
                  <a:lnTo>
                    <a:pt x="54" y="12"/>
                  </a:lnTo>
                  <a:lnTo>
                    <a:pt x="60" y="12"/>
                  </a:lnTo>
                  <a:lnTo>
                    <a:pt x="66" y="16"/>
                  </a:lnTo>
                  <a:lnTo>
                    <a:pt x="70" y="18"/>
                  </a:lnTo>
                  <a:lnTo>
                    <a:pt x="76" y="16"/>
                  </a:lnTo>
                  <a:lnTo>
                    <a:pt x="78" y="16"/>
                  </a:lnTo>
                  <a:lnTo>
                    <a:pt x="84" y="12"/>
                  </a:lnTo>
                  <a:lnTo>
                    <a:pt x="90" y="8"/>
                  </a:lnTo>
                  <a:lnTo>
                    <a:pt x="92" y="14"/>
                  </a:lnTo>
                  <a:lnTo>
                    <a:pt x="92" y="8"/>
                  </a:lnTo>
                  <a:lnTo>
                    <a:pt x="90" y="6"/>
                  </a:lnTo>
                  <a:lnTo>
                    <a:pt x="92" y="6"/>
                  </a:lnTo>
                  <a:lnTo>
                    <a:pt x="94" y="6"/>
                  </a:lnTo>
                  <a:lnTo>
                    <a:pt x="100" y="6"/>
                  </a:lnTo>
                  <a:lnTo>
                    <a:pt x="100" y="0"/>
                  </a:lnTo>
                  <a:lnTo>
                    <a:pt x="106" y="4"/>
                  </a:lnTo>
                  <a:lnTo>
                    <a:pt x="112" y="4"/>
                  </a:lnTo>
                  <a:lnTo>
                    <a:pt x="116" y="0"/>
                  </a:lnTo>
                  <a:lnTo>
                    <a:pt x="118" y="4"/>
                  </a:lnTo>
                  <a:lnTo>
                    <a:pt x="124" y="4"/>
                  </a:lnTo>
                  <a:lnTo>
                    <a:pt x="130" y="2"/>
                  </a:lnTo>
                  <a:lnTo>
                    <a:pt x="132" y="0"/>
                  </a:lnTo>
                  <a:lnTo>
                    <a:pt x="134" y="0"/>
                  </a:lnTo>
                  <a:lnTo>
                    <a:pt x="134" y="6"/>
                  </a:lnTo>
                  <a:lnTo>
                    <a:pt x="140" y="10"/>
                  </a:lnTo>
                  <a:lnTo>
                    <a:pt x="142" y="14"/>
                  </a:lnTo>
                  <a:lnTo>
                    <a:pt x="144" y="14"/>
                  </a:lnTo>
                  <a:lnTo>
                    <a:pt x="150" y="14"/>
                  </a:lnTo>
                  <a:lnTo>
                    <a:pt x="152" y="12"/>
                  </a:lnTo>
                  <a:lnTo>
                    <a:pt x="160" y="16"/>
                  </a:lnTo>
                  <a:lnTo>
                    <a:pt x="160" y="18"/>
                  </a:lnTo>
                  <a:lnTo>
                    <a:pt x="166" y="20"/>
                  </a:lnTo>
                  <a:lnTo>
                    <a:pt x="172" y="20"/>
                  </a:lnTo>
                  <a:lnTo>
                    <a:pt x="174" y="22"/>
                  </a:lnTo>
                  <a:lnTo>
                    <a:pt x="172" y="26"/>
                  </a:lnTo>
                  <a:lnTo>
                    <a:pt x="170" y="32"/>
                  </a:lnTo>
                  <a:lnTo>
                    <a:pt x="168" y="34"/>
                  </a:lnTo>
                  <a:lnTo>
                    <a:pt x="164" y="40"/>
                  </a:lnTo>
                  <a:lnTo>
                    <a:pt x="162" y="42"/>
                  </a:lnTo>
                  <a:lnTo>
                    <a:pt x="164" y="44"/>
                  </a:lnTo>
                  <a:lnTo>
                    <a:pt x="166" y="44"/>
                  </a:lnTo>
                  <a:lnTo>
                    <a:pt x="164" y="48"/>
                  </a:lnTo>
                  <a:lnTo>
                    <a:pt x="166" y="48"/>
                  </a:lnTo>
                  <a:lnTo>
                    <a:pt x="170" y="46"/>
                  </a:lnTo>
                  <a:lnTo>
                    <a:pt x="176" y="48"/>
                  </a:lnTo>
                  <a:lnTo>
                    <a:pt x="182" y="48"/>
                  </a:lnTo>
                  <a:lnTo>
                    <a:pt x="182" y="50"/>
                  </a:lnTo>
                  <a:lnTo>
                    <a:pt x="186" y="50"/>
                  </a:lnTo>
                  <a:lnTo>
                    <a:pt x="190" y="56"/>
                  </a:lnTo>
                  <a:lnTo>
                    <a:pt x="194" y="56"/>
                  </a:lnTo>
                  <a:lnTo>
                    <a:pt x="194" y="58"/>
                  </a:lnTo>
                  <a:lnTo>
                    <a:pt x="192" y="64"/>
                  </a:lnTo>
                  <a:lnTo>
                    <a:pt x="198" y="64"/>
                  </a:lnTo>
                  <a:lnTo>
                    <a:pt x="200" y="72"/>
                  </a:lnTo>
                  <a:lnTo>
                    <a:pt x="198" y="72"/>
                  </a:lnTo>
                  <a:lnTo>
                    <a:pt x="202" y="76"/>
                  </a:lnTo>
                  <a:lnTo>
                    <a:pt x="196" y="78"/>
                  </a:lnTo>
                  <a:lnTo>
                    <a:pt x="190" y="82"/>
                  </a:lnTo>
                  <a:lnTo>
                    <a:pt x="188" y="88"/>
                  </a:lnTo>
                  <a:lnTo>
                    <a:pt x="188" y="90"/>
                  </a:lnTo>
                  <a:lnTo>
                    <a:pt x="184" y="88"/>
                  </a:lnTo>
                  <a:lnTo>
                    <a:pt x="182" y="86"/>
                  </a:lnTo>
                  <a:lnTo>
                    <a:pt x="178" y="88"/>
                  </a:lnTo>
                  <a:lnTo>
                    <a:pt x="174" y="92"/>
                  </a:lnTo>
                  <a:lnTo>
                    <a:pt x="172" y="96"/>
                  </a:lnTo>
                  <a:lnTo>
                    <a:pt x="170" y="98"/>
                  </a:lnTo>
                  <a:lnTo>
                    <a:pt x="172" y="100"/>
                  </a:lnTo>
                  <a:lnTo>
                    <a:pt x="166" y="106"/>
                  </a:lnTo>
                  <a:lnTo>
                    <a:pt x="168" y="106"/>
                  </a:lnTo>
                  <a:lnTo>
                    <a:pt x="166" y="108"/>
                  </a:lnTo>
                  <a:lnTo>
                    <a:pt x="168" y="114"/>
                  </a:lnTo>
                  <a:lnTo>
                    <a:pt x="172" y="118"/>
                  </a:lnTo>
                  <a:lnTo>
                    <a:pt x="174" y="122"/>
                  </a:lnTo>
                  <a:lnTo>
                    <a:pt x="172" y="122"/>
                  </a:lnTo>
                  <a:lnTo>
                    <a:pt x="172" y="126"/>
                  </a:lnTo>
                  <a:lnTo>
                    <a:pt x="168" y="128"/>
                  </a:lnTo>
                  <a:lnTo>
                    <a:pt x="164" y="130"/>
                  </a:lnTo>
                  <a:lnTo>
                    <a:pt x="164" y="128"/>
                  </a:lnTo>
                  <a:lnTo>
                    <a:pt x="158" y="130"/>
                  </a:lnTo>
                  <a:lnTo>
                    <a:pt x="152" y="132"/>
                  </a:lnTo>
                  <a:lnTo>
                    <a:pt x="152" y="130"/>
                  </a:lnTo>
                  <a:lnTo>
                    <a:pt x="148" y="124"/>
                  </a:lnTo>
                  <a:lnTo>
                    <a:pt x="146" y="124"/>
                  </a:lnTo>
                  <a:lnTo>
                    <a:pt x="140" y="118"/>
                  </a:lnTo>
                  <a:lnTo>
                    <a:pt x="134" y="118"/>
                  </a:lnTo>
                  <a:lnTo>
                    <a:pt x="130" y="114"/>
                  </a:lnTo>
                  <a:lnTo>
                    <a:pt x="126" y="112"/>
                  </a:lnTo>
                  <a:lnTo>
                    <a:pt x="124" y="112"/>
                  </a:lnTo>
                  <a:lnTo>
                    <a:pt x="120" y="110"/>
                  </a:lnTo>
                  <a:lnTo>
                    <a:pt x="120" y="104"/>
                  </a:lnTo>
                  <a:lnTo>
                    <a:pt x="118" y="98"/>
                  </a:lnTo>
                  <a:lnTo>
                    <a:pt x="118" y="94"/>
                  </a:lnTo>
                  <a:lnTo>
                    <a:pt x="118" y="88"/>
                  </a:lnTo>
                  <a:lnTo>
                    <a:pt x="116" y="88"/>
                  </a:lnTo>
                  <a:lnTo>
                    <a:pt x="110" y="92"/>
                  </a:lnTo>
                  <a:lnTo>
                    <a:pt x="110" y="98"/>
                  </a:lnTo>
                  <a:lnTo>
                    <a:pt x="108" y="98"/>
                  </a:lnTo>
                  <a:lnTo>
                    <a:pt x="102" y="102"/>
                  </a:lnTo>
                  <a:lnTo>
                    <a:pt x="96" y="102"/>
                  </a:lnTo>
                  <a:lnTo>
                    <a:pt x="92" y="100"/>
                  </a:lnTo>
                  <a:lnTo>
                    <a:pt x="84" y="102"/>
                  </a:lnTo>
                  <a:lnTo>
                    <a:pt x="84" y="100"/>
                  </a:lnTo>
                  <a:lnTo>
                    <a:pt x="82" y="100"/>
                  </a:lnTo>
                  <a:lnTo>
                    <a:pt x="82" y="98"/>
                  </a:lnTo>
                  <a:lnTo>
                    <a:pt x="82" y="96"/>
                  </a:lnTo>
                  <a:lnTo>
                    <a:pt x="84" y="90"/>
                  </a:lnTo>
                  <a:lnTo>
                    <a:pt x="84" y="84"/>
                  </a:lnTo>
                  <a:lnTo>
                    <a:pt x="80" y="78"/>
                  </a:lnTo>
                  <a:lnTo>
                    <a:pt x="78" y="74"/>
                  </a:lnTo>
                  <a:lnTo>
                    <a:pt x="74" y="76"/>
                  </a:lnTo>
                  <a:lnTo>
                    <a:pt x="70" y="76"/>
                  </a:lnTo>
                  <a:lnTo>
                    <a:pt x="64" y="74"/>
                  </a:lnTo>
                  <a:lnTo>
                    <a:pt x="58" y="76"/>
                  </a:lnTo>
                  <a:lnTo>
                    <a:pt x="58" y="72"/>
                  </a:lnTo>
                  <a:lnTo>
                    <a:pt x="58" y="70"/>
                  </a:lnTo>
                  <a:lnTo>
                    <a:pt x="56" y="68"/>
                  </a:lnTo>
                  <a:lnTo>
                    <a:pt x="54" y="66"/>
                  </a:lnTo>
                  <a:lnTo>
                    <a:pt x="52" y="66"/>
                  </a:lnTo>
                  <a:lnTo>
                    <a:pt x="52" y="64"/>
                  </a:lnTo>
                  <a:lnTo>
                    <a:pt x="46" y="64"/>
                  </a:lnTo>
                  <a:lnTo>
                    <a:pt x="40" y="64"/>
                  </a:lnTo>
                  <a:lnTo>
                    <a:pt x="38" y="58"/>
                  </a:lnTo>
                  <a:lnTo>
                    <a:pt x="36" y="56"/>
                  </a:lnTo>
                  <a:lnTo>
                    <a:pt x="36" y="50"/>
                  </a:lnTo>
                  <a:lnTo>
                    <a:pt x="34" y="50"/>
                  </a:lnTo>
                  <a:lnTo>
                    <a:pt x="32" y="48"/>
                  </a:lnTo>
                  <a:lnTo>
                    <a:pt x="32" y="46"/>
                  </a:lnTo>
                  <a:lnTo>
                    <a:pt x="28" y="46"/>
                  </a:lnTo>
                  <a:lnTo>
                    <a:pt x="24" y="46"/>
                  </a:lnTo>
                  <a:lnTo>
                    <a:pt x="18" y="52"/>
                  </a:lnTo>
                  <a:lnTo>
                    <a:pt x="16" y="50"/>
                  </a:lnTo>
                  <a:lnTo>
                    <a:pt x="10" y="46"/>
                  </a:lnTo>
                  <a:lnTo>
                    <a:pt x="4" y="44"/>
                  </a:lnTo>
                  <a:lnTo>
                    <a:pt x="2" y="38"/>
                  </a:lnTo>
                  <a:lnTo>
                    <a:pt x="4" y="34"/>
                  </a:lnTo>
                  <a:lnTo>
                    <a:pt x="0" y="28"/>
                  </a:lnTo>
                  <a:lnTo>
                    <a:pt x="0" y="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2" name="Freeform 69"/>
            <p:cNvSpPr>
              <a:spLocks/>
            </p:cNvSpPr>
            <p:nvPr/>
          </p:nvSpPr>
          <p:spPr bwMode="auto">
            <a:xfrm>
              <a:off x="4719638" y="2595563"/>
              <a:ext cx="28575" cy="17462"/>
            </a:xfrm>
            <a:custGeom>
              <a:avLst/>
              <a:gdLst>
                <a:gd name="T0" fmla="*/ 2147483647 w 68"/>
                <a:gd name="T1" fmla="*/ 2147483647 h 44"/>
                <a:gd name="T2" fmla="*/ 2147483647 w 68"/>
                <a:gd name="T3" fmla="*/ 2147483647 h 44"/>
                <a:gd name="T4" fmla="*/ 2147483647 w 68"/>
                <a:gd name="T5" fmla="*/ 2147483647 h 44"/>
                <a:gd name="T6" fmla="*/ 2147483647 w 68"/>
                <a:gd name="T7" fmla="*/ 2147483647 h 44"/>
                <a:gd name="T8" fmla="*/ 2147483647 w 68"/>
                <a:gd name="T9" fmla="*/ 2147483647 h 44"/>
                <a:gd name="T10" fmla="*/ 2147483647 w 68"/>
                <a:gd name="T11" fmla="*/ 2147483647 h 44"/>
                <a:gd name="T12" fmla="*/ 2147483647 w 68"/>
                <a:gd name="T13" fmla="*/ 2147483647 h 44"/>
                <a:gd name="T14" fmla="*/ 2147483647 w 68"/>
                <a:gd name="T15" fmla="*/ 2147483647 h 44"/>
                <a:gd name="T16" fmla="*/ 2147483647 w 68"/>
                <a:gd name="T17" fmla="*/ 2147483647 h 44"/>
                <a:gd name="T18" fmla="*/ 2147483647 w 68"/>
                <a:gd name="T19" fmla="*/ 2147483647 h 44"/>
                <a:gd name="T20" fmla="*/ 2147483647 w 68"/>
                <a:gd name="T21" fmla="*/ 2147483647 h 44"/>
                <a:gd name="T22" fmla="*/ 2147483647 w 68"/>
                <a:gd name="T23" fmla="*/ 2147483647 h 44"/>
                <a:gd name="T24" fmla="*/ 2147483647 w 68"/>
                <a:gd name="T25" fmla="*/ 2147483647 h 44"/>
                <a:gd name="T26" fmla="*/ 2147483647 w 68"/>
                <a:gd name="T27" fmla="*/ 2147483647 h 44"/>
                <a:gd name="T28" fmla="*/ 2147483647 w 68"/>
                <a:gd name="T29" fmla="*/ 0 h 44"/>
                <a:gd name="T30" fmla="*/ 2147483647 w 68"/>
                <a:gd name="T31" fmla="*/ 0 h 44"/>
                <a:gd name="T32" fmla="*/ 2147483647 w 68"/>
                <a:gd name="T33" fmla="*/ 2147483647 h 44"/>
                <a:gd name="T34" fmla="*/ 2147483647 w 68"/>
                <a:gd name="T35" fmla="*/ 2147483647 h 44"/>
                <a:gd name="T36" fmla="*/ 2147483647 w 68"/>
                <a:gd name="T37" fmla="*/ 0 h 44"/>
                <a:gd name="T38" fmla="*/ 2147483647 w 68"/>
                <a:gd name="T39" fmla="*/ 2147483647 h 44"/>
                <a:gd name="T40" fmla="*/ 2147483647 w 68"/>
                <a:gd name="T41" fmla="*/ 2147483647 h 44"/>
                <a:gd name="T42" fmla="*/ 2147483647 w 68"/>
                <a:gd name="T43" fmla="*/ 2147483647 h 44"/>
                <a:gd name="T44" fmla="*/ 2147483647 w 68"/>
                <a:gd name="T45" fmla="*/ 2147483647 h 44"/>
                <a:gd name="T46" fmla="*/ 0 w 68"/>
                <a:gd name="T47" fmla="*/ 2147483647 h 44"/>
                <a:gd name="T48" fmla="*/ 2147483647 w 68"/>
                <a:gd name="T49" fmla="*/ 2147483647 h 44"/>
                <a:gd name="T50" fmla="*/ 0 w 68"/>
                <a:gd name="T51" fmla="*/ 2147483647 h 44"/>
                <a:gd name="T52" fmla="*/ 2147483647 w 68"/>
                <a:gd name="T53" fmla="*/ 2147483647 h 44"/>
                <a:gd name="T54" fmla="*/ 2147483647 w 68"/>
                <a:gd name="T55" fmla="*/ 2147483647 h 44"/>
                <a:gd name="T56" fmla="*/ 2147483647 w 68"/>
                <a:gd name="T57" fmla="*/ 2147483647 h 44"/>
                <a:gd name="T58" fmla="*/ 2147483647 w 68"/>
                <a:gd name="T59" fmla="*/ 2147483647 h 44"/>
                <a:gd name="T60" fmla="*/ 2147483647 w 68"/>
                <a:gd name="T61" fmla="*/ 2147483647 h 44"/>
                <a:gd name="T62" fmla="*/ 2147483647 w 68"/>
                <a:gd name="T63" fmla="*/ 2147483647 h 4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
                <a:gd name="T97" fmla="*/ 0 h 44"/>
                <a:gd name="T98" fmla="*/ 68 w 68"/>
                <a:gd name="T99" fmla="*/ 44 h 4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 h="44">
                  <a:moveTo>
                    <a:pt x="10" y="44"/>
                  </a:moveTo>
                  <a:lnTo>
                    <a:pt x="16" y="42"/>
                  </a:lnTo>
                  <a:lnTo>
                    <a:pt x="18" y="34"/>
                  </a:lnTo>
                  <a:lnTo>
                    <a:pt x="20" y="30"/>
                  </a:lnTo>
                  <a:lnTo>
                    <a:pt x="26" y="24"/>
                  </a:lnTo>
                  <a:lnTo>
                    <a:pt x="32" y="26"/>
                  </a:lnTo>
                  <a:lnTo>
                    <a:pt x="38" y="22"/>
                  </a:lnTo>
                  <a:lnTo>
                    <a:pt x="44" y="24"/>
                  </a:lnTo>
                  <a:lnTo>
                    <a:pt x="50" y="20"/>
                  </a:lnTo>
                  <a:lnTo>
                    <a:pt x="56" y="16"/>
                  </a:lnTo>
                  <a:lnTo>
                    <a:pt x="62" y="10"/>
                  </a:lnTo>
                  <a:lnTo>
                    <a:pt x="68" y="12"/>
                  </a:lnTo>
                  <a:lnTo>
                    <a:pt x="62" y="6"/>
                  </a:lnTo>
                  <a:lnTo>
                    <a:pt x="58" y="4"/>
                  </a:lnTo>
                  <a:lnTo>
                    <a:pt x="54" y="0"/>
                  </a:lnTo>
                  <a:lnTo>
                    <a:pt x="46" y="0"/>
                  </a:lnTo>
                  <a:lnTo>
                    <a:pt x="42" y="2"/>
                  </a:lnTo>
                  <a:lnTo>
                    <a:pt x="36" y="2"/>
                  </a:lnTo>
                  <a:lnTo>
                    <a:pt x="30" y="0"/>
                  </a:lnTo>
                  <a:lnTo>
                    <a:pt x="24" y="2"/>
                  </a:lnTo>
                  <a:lnTo>
                    <a:pt x="16" y="8"/>
                  </a:lnTo>
                  <a:lnTo>
                    <a:pt x="12" y="6"/>
                  </a:lnTo>
                  <a:lnTo>
                    <a:pt x="4" y="6"/>
                  </a:lnTo>
                  <a:lnTo>
                    <a:pt x="0" y="8"/>
                  </a:lnTo>
                  <a:lnTo>
                    <a:pt x="4" y="12"/>
                  </a:lnTo>
                  <a:lnTo>
                    <a:pt x="0" y="20"/>
                  </a:lnTo>
                  <a:lnTo>
                    <a:pt x="6" y="24"/>
                  </a:lnTo>
                  <a:lnTo>
                    <a:pt x="12" y="28"/>
                  </a:lnTo>
                  <a:lnTo>
                    <a:pt x="14" y="34"/>
                  </a:lnTo>
                  <a:lnTo>
                    <a:pt x="8" y="38"/>
                  </a:lnTo>
                  <a:lnTo>
                    <a:pt x="8" y="44"/>
                  </a:lnTo>
                  <a:lnTo>
                    <a:pt x="10" y="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3" name="Freeform 70"/>
            <p:cNvSpPr>
              <a:spLocks/>
            </p:cNvSpPr>
            <p:nvPr/>
          </p:nvSpPr>
          <p:spPr bwMode="auto">
            <a:xfrm>
              <a:off x="4721225" y="2582863"/>
              <a:ext cx="19050" cy="11112"/>
            </a:xfrm>
            <a:custGeom>
              <a:avLst/>
              <a:gdLst>
                <a:gd name="T0" fmla="*/ 2147483647 w 46"/>
                <a:gd name="T1" fmla="*/ 0 h 26"/>
                <a:gd name="T2" fmla="*/ 2147483647 w 46"/>
                <a:gd name="T3" fmla="*/ 2147483647 h 26"/>
                <a:gd name="T4" fmla="*/ 2147483647 w 46"/>
                <a:gd name="T5" fmla="*/ 2147483647 h 26"/>
                <a:gd name="T6" fmla="*/ 2147483647 w 46"/>
                <a:gd name="T7" fmla="*/ 2147483647 h 26"/>
                <a:gd name="T8" fmla="*/ 2147483647 w 46"/>
                <a:gd name="T9" fmla="*/ 2147483647 h 26"/>
                <a:gd name="T10" fmla="*/ 0 w 46"/>
                <a:gd name="T11" fmla="*/ 2147483647 h 26"/>
                <a:gd name="T12" fmla="*/ 2147483647 w 46"/>
                <a:gd name="T13" fmla="*/ 2147483647 h 26"/>
                <a:gd name="T14" fmla="*/ 2147483647 w 46"/>
                <a:gd name="T15" fmla="*/ 2147483647 h 26"/>
                <a:gd name="T16" fmla="*/ 2147483647 w 46"/>
                <a:gd name="T17" fmla="*/ 2147483647 h 26"/>
                <a:gd name="T18" fmla="*/ 2147483647 w 46"/>
                <a:gd name="T19" fmla="*/ 2147483647 h 26"/>
                <a:gd name="T20" fmla="*/ 2147483647 w 46"/>
                <a:gd name="T21" fmla="*/ 2147483647 h 26"/>
                <a:gd name="T22" fmla="*/ 2147483647 w 46"/>
                <a:gd name="T23" fmla="*/ 2147483647 h 26"/>
                <a:gd name="T24" fmla="*/ 2147483647 w 46"/>
                <a:gd name="T25" fmla="*/ 2147483647 h 26"/>
                <a:gd name="T26" fmla="*/ 2147483647 w 46"/>
                <a:gd name="T27" fmla="*/ 2147483647 h 26"/>
                <a:gd name="T28" fmla="*/ 2147483647 w 46"/>
                <a:gd name="T29" fmla="*/ 2147483647 h 26"/>
                <a:gd name="T30" fmla="*/ 2147483647 w 46"/>
                <a:gd name="T31" fmla="*/ 2147483647 h 26"/>
                <a:gd name="T32" fmla="*/ 2147483647 w 46"/>
                <a:gd name="T33" fmla="*/ 2147483647 h 26"/>
                <a:gd name="T34" fmla="*/ 2147483647 w 46"/>
                <a:gd name="T35" fmla="*/ 0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26"/>
                <a:gd name="T56" fmla="*/ 46 w 46"/>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26">
                  <a:moveTo>
                    <a:pt x="28" y="0"/>
                  </a:moveTo>
                  <a:lnTo>
                    <a:pt x="24" y="4"/>
                  </a:lnTo>
                  <a:lnTo>
                    <a:pt x="18" y="8"/>
                  </a:lnTo>
                  <a:lnTo>
                    <a:pt x="12" y="8"/>
                  </a:lnTo>
                  <a:lnTo>
                    <a:pt x="6" y="8"/>
                  </a:lnTo>
                  <a:lnTo>
                    <a:pt x="0" y="8"/>
                  </a:lnTo>
                  <a:lnTo>
                    <a:pt x="6" y="12"/>
                  </a:lnTo>
                  <a:lnTo>
                    <a:pt x="12" y="12"/>
                  </a:lnTo>
                  <a:lnTo>
                    <a:pt x="18" y="12"/>
                  </a:lnTo>
                  <a:lnTo>
                    <a:pt x="22" y="18"/>
                  </a:lnTo>
                  <a:lnTo>
                    <a:pt x="26" y="26"/>
                  </a:lnTo>
                  <a:lnTo>
                    <a:pt x="34" y="22"/>
                  </a:lnTo>
                  <a:lnTo>
                    <a:pt x="36" y="16"/>
                  </a:lnTo>
                  <a:lnTo>
                    <a:pt x="42" y="16"/>
                  </a:lnTo>
                  <a:lnTo>
                    <a:pt x="46" y="10"/>
                  </a:lnTo>
                  <a:lnTo>
                    <a:pt x="40" y="4"/>
                  </a:lnTo>
                  <a:lnTo>
                    <a:pt x="34" y="4"/>
                  </a:lnTo>
                  <a:lnTo>
                    <a:pt x="28"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4" name="Freeform 71"/>
            <p:cNvSpPr>
              <a:spLocks/>
            </p:cNvSpPr>
            <p:nvPr/>
          </p:nvSpPr>
          <p:spPr bwMode="auto">
            <a:xfrm>
              <a:off x="4533900" y="2354263"/>
              <a:ext cx="4763" cy="6350"/>
            </a:xfrm>
            <a:custGeom>
              <a:avLst/>
              <a:gdLst>
                <a:gd name="T0" fmla="*/ 2147483647 w 12"/>
                <a:gd name="T1" fmla="*/ 2147483647 h 14"/>
                <a:gd name="T2" fmla="*/ 0 w 12"/>
                <a:gd name="T3" fmla="*/ 2147483647 h 14"/>
                <a:gd name="T4" fmla="*/ 2147483647 w 12"/>
                <a:gd name="T5" fmla="*/ 2147483647 h 14"/>
                <a:gd name="T6" fmla="*/ 2147483647 w 12"/>
                <a:gd name="T7" fmla="*/ 2147483647 h 14"/>
                <a:gd name="T8" fmla="*/ 2147483647 w 12"/>
                <a:gd name="T9" fmla="*/ 2147483647 h 14"/>
                <a:gd name="T10" fmla="*/ 2147483647 w 12"/>
                <a:gd name="T11" fmla="*/ 2147483647 h 14"/>
                <a:gd name="T12" fmla="*/ 2147483647 w 12"/>
                <a:gd name="T13" fmla="*/ 0 h 14"/>
                <a:gd name="T14" fmla="*/ 2147483647 w 12"/>
                <a:gd name="T15" fmla="*/ 2147483647 h 14"/>
                <a:gd name="T16" fmla="*/ 2147483647 w 12"/>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4"/>
                <a:gd name="T29" fmla="*/ 12 w 12"/>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4">
                  <a:moveTo>
                    <a:pt x="4" y="6"/>
                  </a:moveTo>
                  <a:lnTo>
                    <a:pt x="0" y="12"/>
                  </a:lnTo>
                  <a:lnTo>
                    <a:pt x="6" y="14"/>
                  </a:lnTo>
                  <a:lnTo>
                    <a:pt x="8" y="10"/>
                  </a:lnTo>
                  <a:lnTo>
                    <a:pt x="10" y="8"/>
                  </a:lnTo>
                  <a:lnTo>
                    <a:pt x="12" y="6"/>
                  </a:lnTo>
                  <a:lnTo>
                    <a:pt x="12" y="0"/>
                  </a:lnTo>
                  <a:lnTo>
                    <a:pt x="6" y="4"/>
                  </a:lnTo>
                  <a:lnTo>
                    <a:pt x="4"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5" name="Freeform 72"/>
            <p:cNvSpPr>
              <a:spLocks/>
            </p:cNvSpPr>
            <p:nvPr/>
          </p:nvSpPr>
          <p:spPr bwMode="auto">
            <a:xfrm>
              <a:off x="4538663" y="2352675"/>
              <a:ext cx="4762" cy="3175"/>
            </a:xfrm>
            <a:custGeom>
              <a:avLst/>
              <a:gdLst>
                <a:gd name="T0" fmla="*/ 0 w 12"/>
                <a:gd name="T1" fmla="*/ 2147483647 h 10"/>
                <a:gd name="T2" fmla="*/ 2147483647 w 12"/>
                <a:gd name="T3" fmla="*/ 2147483647 h 10"/>
                <a:gd name="T4" fmla="*/ 2147483647 w 12"/>
                <a:gd name="T5" fmla="*/ 2147483647 h 10"/>
                <a:gd name="T6" fmla="*/ 2147483647 w 12"/>
                <a:gd name="T7" fmla="*/ 2147483647 h 10"/>
                <a:gd name="T8" fmla="*/ 2147483647 w 12"/>
                <a:gd name="T9" fmla="*/ 0 h 10"/>
                <a:gd name="T10" fmla="*/ 0 w 12"/>
                <a:gd name="T11" fmla="*/ 2147483647 h 10"/>
                <a:gd name="T12" fmla="*/ 0 w 12"/>
                <a:gd name="T13" fmla="*/ 2147483647 h 10"/>
                <a:gd name="T14" fmla="*/ 0 60000 65536"/>
                <a:gd name="T15" fmla="*/ 0 60000 65536"/>
                <a:gd name="T16" fmla="*/ 0 60000 65536"/>
                <a:gd name="T17" fmla="*/ 0 60000 65536"/>
                <a:gd name="T18" fmla="*/ 0 60000 65536"/>
                <a:gd name="T19" fmla="*/ 0 60000 65536"/>
                <a:gd name="T20" fmla="*/ 0 60000 65536"/>
                <a:gd name="T21" fmla="*/ 0 w 12"/>
                <a:gd name="T22" fmla="*/ 0 h 10"/>
                <a:gd name="T23" fmla="*/ 12 w 12"/>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0">
                  <a:moveTo>
                    <a:pt x="0" y="10"/>
                  </a:moveTo>
                  <a:lnTo>
                    <a:pt x="6" y="10"/>
                  </a:lnTo>
                  <a:lnTo>
                    <a:pt x="10" y="6"/>
                  </a:lnTo>
                  <a:lnTo>
                    <a:pt x="12" y="2"/>
                  </a:lnTo>
                  <a:lnTo>
                    <a:pt x="6" y="0"/>
                  </a:lnTo>
                  <a:lnTo>
                    <a:pt x="0" y="6"/>
                  </a:lnTo>
                  <a:lnTo>
                    <a:pt x="0"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6" name="Freeform 73"/>
            <p:cNvSpPr>
              <a:spLocks/>
            </p:cNvSpPr>
            <p:nvPr/>
          </p:nvSpPr>
          <p:spPr bwMode="auto">
            <a:xfrm>
              <a:off x="4545013" y="2347913"/>
              <a:ext cx="11112" cy="6350"/>
            </a:xfrm>
            <a:custGeom>
              <a:avLst/>
              <a:gdLst>
                <a:gd name="T0" fmla="*/ 2147483647 w 28"/>
                <a:gd name="T1" fmla="*/ 2147483647 h 16"/>
                <a:gd name="T2" fmla="*/ 0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2147483647 w 28"/>
                <a:gd name="T13" fmla="*/ 2147483647 h 16"/>
                <a:gd name="T14" fmla="*/ 2147483647 w 28"/>
                <a:gd name="T15" fmla="*/ 2147483647 h 16"/>
                <a:gd name="T16" fmla="*/ 2147483647 w 28"/>
                <a:gd name="T17" fmla="*/ 0 h 16"/>
                <a:gd name="T18" fmla="*/ 2147483647 w 28"/>
                <a:gd name="T19" fmla="*/ 2147483647 h 16"/>
                <a:gd name="T20" fmla="*/ 2147483647 w 28"/>
                <a:gd name="T21" fmla="*/ 2147483647 h 16"/>
                <a:gd name="T22" fmla="*/ 2147483647 w 28"/>
                <a:gd name="T23" fmla="*/ 2147483647 h 16"/>
                <a:gd name="T24" fmla="*/ 0 w 28"/>
                <a:gd name="T25" fmla="*/ 2147483647 h 16"/>
                <a:gd name="T26" fmla="*/ 2147483647 w 28"/>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16"/>
                <a:gd name="T44" fmla="*/ 28 w 28"/>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16">
                  <a:moveTo>
                    <a:pt x="4" y="10"/>
                  </a:moveTo>
                  <a:lnTo>
                    <a:pt x="0" y="16"/>
                  </a:lnTo>
                  <a:lnTo>
                    <a:pt x="6" y="12"/>
                  </a:lnTo>
                  <a:lnTo>
                    <a:pt x="12" y="12"/>
                  </a:lnTo>
                  <a:lnTo>
                    <a:pt x="18" y="10"/>
                  </a:lnTo>
                  <a:lnTo>
                    <a:pt x="24" y="8"/>
                  </a:lnTo>
                  <a:lnTo>
                    <a:pt x="28" y="4"/>
                  </a:lnTo>
                  <a:lnTo>
                    <a:pt x="24" y="4"/>
                  </a:lnTo>
                  <a:lnTo>
                    <a:pt x="16" y="0"/>
                  </a:lnTo>
                  <a:lnTo>
                    <a:pt x="10" y="4"/>
                  </a:lnTo>
                  <a:lnTo>
                    <a:pt x="4" y="2"/>
                  </a:lnTo>
                  <a:lnTo>
                    <a:pt x="6" y="6"/>
                  </a:lnTo>
                  <a:lnTo>
                    <a:pt x="0" y="8"/>
                  </a:lnTo>
                  <a:lnTo>
                    <a:pt x="4"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7" name="Freeform 74"/>
            <p:cNvSpPr>
              <a:spLocks/>
            </p:cNvSpPr>
            <p:nvPr/>
          </p:nvSpPr>
          <p:spPr bwMode="auto">
            <a:xfrm>
              <a:off x="4559300" y="2344738"/>
              <a:ext cx="14288" cy="6350"/>
            </a:xfrm>
            <a:custGeom>
              <a:avLst/>
              <a:gdLst>
                <a:gd name="T0" fmla="*/ 0 w 36"/>
                <a:gd name="T1" fmla="*/ 2147483647 h 16"/>
                <a:gd name="T2" fmla="*/ 2147483647 w 36"/>
                <a:gd name="T3" fmla="*/ 2147483647 h 16"/>
                <a:gd name="T4" fmla="*/ 2147483647 w 36"/>
                <a:gd name="T5" fmla="*/ 2147483647 h 16"/>
                <a:gd name="T6" fmla="*/ 2147483647 w 36"/>
                <a:gd name="T7" fmla="*/ 2147483647 h 16"/>
                <a:gd name="T8" fmla="*/ 2147483647 w 36"/>
                <a:gd name="T9" fmla="*/ 2147483647 h 16"/>
                <a:gd name="T10" fmla="*/ 2147483647 w 36"/>
                <a:gd name="T11" fmla="*/ 2147483647 h 16"/>
                <a:gd name="T12" fmla="*/ 2147483647 w 36"/>
                <a:gd name="T13" fmla="*/ 2147483647 h 16"/>
                <a:gd name="T14" fmla="*/ 2147483647 w 36"/>
                <a:gd name="T15" fmla="*/ 0 h 16"/>
                <a:gd name="T16" fmla="*/ 2147483647 w 36"/>
                <a:gd name="T17" fmla="*/ 2147483647 h 16"/>
                <a:gd name="T18" fmla="*/ 2147483647 w 36"/>
                <a:gd name="T19" fmla="*/ 2147483647 h 16"/>
                <a:gd name="T20" fmla="*/ 2147483647 w 36"/>
                <a:gd name="T21" fmla="*/ 2147483647 h 16"/>
                <a:gd name="T22" fmla="*/ 2147483647 w 36"/>
                <a:gd name="T23" fmla="*/ 2147483647 h 16"/>
                <a:gd name="T24" fmla="*/ 2147483647 w 36"/>
                <a:gd name="T25" fmla="*/ 2147483647 h 16"/>
                <a:gd name="T26" fmla="*/ 2147483647 w 36"/>
                <a:gd name="T27" fmla="*/ 2147483647 h 16"/>
                <a:gd name="T28" fmla="*/ 0 w 36"/>
                <a:gd name="T29" fmla="*/ 2147483647 h 16"/>
                <a:gd name="T30" fmla="*/ 0 w 36"/>
                <a:gd name="T31" fmla="*/ 2147483647 h 16"/>
                <a:gd name="T32" fmla="*/ 0 w 36"/>
                <a:gd name="T33" fmla="*/ 2147483647 h 1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16"/>
                <a:gd name="T53" fmla="*/ 36 w 36"/>
                <a:gd name="T54" fmla="*/ 16 h 1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16">
                  <a:moveTo>
                    <a:pt x="0" y="14"/>
                  </a:moveTo>
                  <a:lnTo>
                    <a:pt x="6" y="16"/>
                  </a:lnTo>
                  <a:lnTo>
                    <a:pt x="12" y="14"/>
                  </a:lnTo>
                  <a:lnTo>
                    <a:pt x="18" y="12"/>
                  </a:lnTo>
                  <a:lnTo>
                    <a:pt x="24" y="10"/>
                  </a:lnTo>
                  <a:lnTo>
                    <a:pt x="30" y="8"/>
                  </a:lnTo>
                  <a:lnTo>
                    <a:pt x="32" y="6"/>
                  </a:lnTo>
                  <a:lnTo>
                    <a:pt x="36" y="0"/>
                  </a:lnTo>
                  <a:lnTo>
                    <a:pt x="30" y="2"/>
                  </a:lnTo>
                  <a:lnTo>
                    <a:pt x="24" y="6"/>
                  </a:lnTo>
                  <a:lnTo>
                    <a:pt x="22" y="2"/>
                  </a:lnTo>
                  <a:lnTo>
                    <a:pt x="16" y="2"/>
                  </a:lnTo>
                  <a:lnTo>
                    <a:pt x="10" y="4"/>
                  </a:lnTo>
                  <a:lnTo>
                    <a:pt x="6" y="10"/>
                  </a:lnTo>
                  <a:lnTo>
                    <a:pt x="0" y="12"/>
                  </a:lnTo>
                  <a:lnTo>
                    <a:pt x="0"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8" name="Freeform 75"/>
            <p:cNvSpPr>
              <a:spLocks/>
            </p:cNvSpPr>
            <p:nvPr/>
          </p:nvSpPr>
          <p:spPr bwMode="auto">
            <a:xfrm>
              <a:off x="4560888" y="2332038"/>
              <a:ext cx="17462" cy="11112"/>
            </a:xfrm>
            <a:custGeom>
              <a:avLst/>
              <a:gdLst>
                <a:gd name="T0" fmla="*/ 2147483647 w 44"/>
                <a:gd name="T1" fmla="*/ 2147483647 h 26"/>
                <a:gd name="T2" fmla="*/ 2147483647 w 44"/>
                <a:gd name="T3" fmla="*/ 2147483647 h 26"/>
                <a:gd name="T4" fmla="*/ 2147483647 w 44"/>
                <a:gd name="T5" fmla="*/ 2147483647 h 26"/>
                <a:gd name="T6" fmla="*/ 2147483647 w 44"/>
                <a:gd name="T7" fmla="*/ 2147483647 h 26"/>
                <a:gd name="T8" fmla="*/ 2147483647 w 44"/>
                <a:gd name="T9" fmla="*/ 2147483647 h 26"/>
                <a:gd name="T10" fmla="*/ 2147483647 w 44"/>
                <a:gd name="T11" fmla="*/ 2147483647 h 26"/>
                <a:gd name="T12" fmla="*/ 2147483647 w 44"/>
                <a:gd name="T13" fmla="*/ 2147483647 h 26"/>
                <a:gd name="T14" fmla="*/ 2147483647 w 44"/>
                <a:gd name="T15" fmla="*/ 2147483647 h 26"/>
                <a:gd name="T16" fmla="*/ 2147483647 w 44"/>
                <a:gd name="T17" fmla="*/ 2147483647 h 26"/>
                <a:gd name="T18" fmla="*/ 2147483647 w 44"/>
                <a:gd name="T19" fmla="*/ 0 h 26"/>
                <a:gd name="T20" fmla="*/ 2147483647 w 44"/>
                <a:gd name="T21" fmla="*/ 2147483647 h 26"/>
                <a:gd name="T22" fmla="*/ 2147483647 w 44"/>
                <a:gd name="T23" fmla="*/ 2147483647 h 26"/>
                <a:gd name="T24" fmla="*/ 2147483647 w 44"/>
                <a:gd name="T25" fmla="*/ 2147483647 h 26"/>
                <a:gd name="T26" fmla="*/ 2147483647 w 44"/>
                <a:gd name="T27" fmla="*/ 2147483647 h 26"/>
                <a:gd name="T28" fmla="*/ 2147483647 w 44"/>
                <a:gd name="T29" fmla="*/ 2147483647 h 26"/>
                <a:gd name="T30" fmla="*/ 2147483647 w 44"/>
                <a:gd name="T31" fmla="*/ 2147483647 h 26"/>
                <a:gd name="T32" fmla="*/ 2147483647 w 44"/>
                <a:gd name="T33" fmla="*/ 2147483647 h 26"/>
                <a:gd name="T34" fmla="*/ 0 w 44"/>
                <a:gd name="T35" fmla="*/ 2147483647 h 26"/>
                <a:gd name="T36" fmla="*/ 2147483647 w 44"/>
                <a:gd name="T37" fmla="*/ 2147483647 h 26"/>
                <a:gd name="T38" fmla="*/ 2147483647 w 44"/>
                <a:gd name="T39" fmla="*/ 2147483647 h 26"/>
                <a:gd name="T40" fmla="*/ 2147483647 w 44"/>
                <a:gd name="T41" fmla="*/ 2147483647 h 26"/>
                <a:gd name="T42" fmla="*/ 2147483647 w 44"/>
                <a:gd name="T43" fmla="*/ 2147483647 h 26"/>
                <a:gd name="T44" fmla="*/ 2147483647 w 44"/>
                <a:gd name="T45" fmla="*/ 2147483647 h 26"/>
                <a:gd name="T46" fmla="*/ 2147483647 w 44"/>
                <a:gd name="T47" fmla="*/ 2147483647 h 26"/>
                <a:gd name="T48" fmla="*/ 2147483647 w 44"/>
                <a:gd name="T49" fmla="*/ 2147483647 h 26"/>
                <a:gd name="T50" fmla="*/ 2147483647 w 44"/>
                <a:gd name="T51" fmla="*/ 2147483647 h 2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
                <a:gd name="T79" fmla="*/ 0 h 26"/>
                <a:gd name="T80" fmla="*/ 44 w 44"/>
                <a:gd name="T81" fmla="*/ 26 h 2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 h="26">
                  <a:moveTo>
                    <a:pt x="22" y="26"/>
                  </a:moveTo>
                  <a:lnTo>
                    <a:pt x="26" y="26"/>
                  </a:lnTo>
                  <a:lnTo>
                    <a:pt x="32" y="24"/>
                  </a:lnTo>
                  <a:lnTo>
                    <a:pt x="38" y="22"/>
                  </a:lnTo>
                  <a:lnTo>
                    <a:pt x="44" y="20"/>
                  </a:lnTo>
                  <a:lnTo>
                    <a:pt x="44" y="18"/>
                  </a:lnTo>
                  <a:lnTo>
                    <a:pt x="40" y="16"/>
                  </a:lnTo>
                  <a:lnTo>
                    <a:pt x="42" y="10"/>
                  </a:lnTo>
                  <a:lnTo>
                    <a:pt x="36" y="6"/>
                  </a:lnTo>
                  <a:lnTo>
                    <a:pt x="30" y="0"/>
                  </a:lnTo>
                  <a:lnTo>
                    <a:pt x="30" y="6"/>
                  </a:lnTo>
                  <a:lnTo>
                    <a:pt x="28" y="12"/>
                  </a:lnTo>
                  <a:lnTo>
                    <a:pt x="24" y="10"/>
                  </a:lnTo>
                  <a:lnTo>
                    <a:pt x="24" y="12"/>
                  </a:lnTo>
                  <a:lnTo>
                    <a:pt x="18" y="14"/>
                  </a:lnTo>
                  <a:lnTo>
                    <a:pt x="12" y="12"/>
                  </a:lnTo>
                  <a:lnTo>
                    <a:pt x="6" y="18"/>
                  </a:lnTo>
                  <a:lnTo>
                    <a:pt x="0" y="22"/>
                  </a:lnTo>
                  <a:lnTo>
                    <a:pt x="6" y="24"/>
                  </a:lnTo>
                  <a:lnTo>
                    <a:pt x="12" y="20"/>
                  </a:lnTo>
                  <a:lnTo>
                    <a:pt x="18" y="20"/>
                  </a:lnTo>
                  <a:lnTo>
                    <a:pt x="26" y="18"/>
                  </a:lnTo>
                  <a:lnTo>
                    <a:pt x="32" y="18"/>
                  </a:lnTo>
                  <a:lnTo>
                    <a:pt x="26" y="20"/>
                  </a:lnTo>
                  <a:lnTo>
                    <a:pt x="18" y="22"/>
                  </a:lnTo>
                  <a:lnTo>
                    <a:pt x="22" y="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59" name="Freeform 76"/>
            <p:cNvSpPr>
              <a:spLocks/>
            </p:cNvSpPr>
            <p:nvPr/>
          </p:nvSpPr>
          <p:spPr bwMode="auto">
            <a:xfrm>
              <a:off x="4573588" y="2333625"/>
              <a:ext cx="26987" cy="15875"/>
            </a:xfrm>
            <a:custGeom>
              <a:avLst/>
              <a:gdLst>
                <a:gd name="T0" fmla="*/ 2147483647 w 66"/>
                <a:gd name="T1" fmla="*/ 2147483647 h 38"/>
                <a:gd name="T2" fmla="*/ 2147483647 w 66"/>
                <a:gd name="T3" fmla="*/ 2147483647 h 38"/>
                <a:gd name="T4" fmla="*/ 2147483647 w 66"/>
                <a:gd name="T5" fmla="*/ 2147483647 h 38"/>
                <a:gd name="T6" fmla="*/ 2147483647 w 66"/>
                <a:gd name="T7" fmla="*/ 2147483647 h 38"/>
                <a:gd name="T8" fmla="*/ 2147483647 w 66"/>
                <a:gd name="T9" fmla="*/ 2147483647 h 38"/>
                <a:gd name="T10" fmla="*/ 2147483647 w 66"/>
                <a:gd name="T11" fmla="*/ 2147483647 h 38"/>
                <a:gd name="T12" fmla="*/ 0 w 66"/>
                <a:gd name="T13" fmla="*/ 2147483647 h 38"/>
                <a:gd name="T14" fmla="*/ 2147483647 w 66"/>
                <a:gd name="T15" fmla="*/ 2147483647 h 38"/>
                <a:gd name="T16" fmla="*/ 2147483647 w 66"/>
                <a:gd name="T17" fmla="*/ 2147483647 h 38"/>
                <a:gd name="T18" fmla="*/ 2147483647 w 66"/>
                <a:gd name="T19" fmla="*/ 2147483647 h 38"/>
                <a:gd name="T20" fmla="*/ 2147483647 w 66"/>
                <a:gd name="T21" fmla="*/ 2147483647 h 38"/>
                <a:gd name="T22" fmla="*/ 2147483647 w 66"/>
                <a:gd name="T23" fmla="*/ 2147483647 h 38"/>
                <a:gd name="T24" fmla="*/ 2147483647 w 66"/>
                <a:gd name="T25" fmla="*/ 2147483647 h 38"/>
                <a:gd name="T26" fmla="*/ 2147483647 w 66"/>
                <a:gd name="T27" fmla="*/ 2147483647 h 38"/>
                <a:gd name="T28" fmla="*/ 2147483647 w 66"/>
                <a:gd name="T29" fmla="*/ 2147483647 h 38"/>
                <a:gd name="T30" fmla="*/ 2147483647 w 66"/>
                <a:gd name="T31" fmla="*/ 2147483647 h 38"/>
                <a:gd name="T32" fmla="*/ 2147483647 w 66"/>
                <a:gd name="T33" fmla="*/ 2147483647 h 38"/>
                <a:gd name="T34" fmla="*/ 2147483647 w 66"/>
                <a:gd name="T35" fmla="*/ 2147483647 h 38"/>
                <a:gd name="T36" fmla="*/ 2147483647 w 66"/>
                <a:gd name="T37" fmla="*/ 2147483647 h 38"/>
                <a:gd name="T38" fmla="*/ 2147483647 w 66"/>
                <a:gd name="T39" fmla="*/ 2147483647 h 38"/>
                <a:gd name="T40" fmla="*/ 2147483647 w 66"/>
                <a:gd name="T41" fmla="*/ 2147483647 h 38"/>
                <a:gd name="T42" fmla="*/ 2147483647 w 66"/>
                <a:gd name="T43" fmla="*/ 2147483647 h 38"/>
                <a:gd name="T44" fmla="*/ 2147483647 w 66"/>
                <a:gd name="T45" fmla="*/ 2147483647 h 38"/>
                <a:gd name="T46" fmla="*/ 2147483647 w 66"/>
                <a:gd name="T47" fmla="*/ 2147483647 h 38"/>
                <a:gd name="T48" fmla="*/ 2147483647 w 66"/>
                <a:gd name="T49" fmla="*/ 2147483647 h 38"/>
                <a:gd name="T50" fmla="*/ 2147483647 w 66"/>
                <a:gd name="T51" fmla="*/ 2147483647 h 38"/>
                <a:gd name="T52" fmla="*/ 2147483647 w 66"/>
                <a:gd name="T53" fmla="*/ 2147483647 h 38"/>
                <a:gd name="T54" fmla="*/ 2147483647 w 66"/>
                <a:gd name="T55" fmla="*/ 2147483647 h 38"/>
                <a:gd name="T56" fmla="*/ 2147483647 w 66"/>
                <a:gd name="T57" fmla="*/ 2147483647 h 38"/>
                <a:gd name="T58" fmla="*/ 2147483647 w 66"/>
                <a:gd name="T59" fmla="*/ 2147483647 h 38"/>
                <a:gd name="T60" fmla="*/ 2147483647 w 66"/>
                <a:gd name="T61" fmla="*/ 2147483647 h 38"/>
                <a:gd name="T62" fmla="*/ 2147483647 w 66"/>
                <a:gd name="T63" fmla="*/ 2147483647 h 38"/>
                <a:gd name="T64" fmla="*/ 2147483647 w 66"/>
                <a:gd name="T65" fmla="*/ 2147483647 h 38"/>
                <a:gd name="T66" fmla="*/ 2147483647 w 66"/>
                <a:gd name="T67" fmla="*/ 2147483647 h 38"/>
                <a:gd name="T68" fmla="*/ 2147483647 w 66"/>
                <a:gd name="T69" fmla="*/ 2147483647 h 38"/>
                <a:gd name="T70" fmla="*/ 2147483647 w 66"/>
                <a:gd name="T71" fmla="*/ 2147483647 h 38"/>
                <a:gd name="T72" fmla="*/ 2147483647 w 66"/>
                <a:gd name="T73" fmla="*/ 2147483647 h 38"/>
                <a:gd name="T74" fmla="*/ 2147483647 w 66"/>
                <a:gd name="T75" fmla="*/ 0 h 38"/>
                <a:gd name="T76" fmla="*/ 2147483647 w 66"/>
                <a:gd name="T77" fmla="*/ 0 h 38"/>
                <a:gd name="T78" fmla="*/ 2147483647 w 66"/>
                <a:gd name="T79" fmla="*/ 0 h 38"/>
                <a:gd name="T80" fmla="*/ 2147483647 w 66"/>
                <a:gd name="T81" fmla="*/ 0 h 38"/>
                <a:gd name="T82" fmla="*/ 2147483647 w 66"/>
                <a:gd name="T83" fmla="*/ 2147483647 h 38"/>
                <a:gd name="T84" fmla="*/ 2147483647 w 66"/>
                <a:gd name="T85" fmla="*/ 2147483647 h 38"/>
                <a:gd name="T86" fmla="*/ 2147483647 w 66"/>
                <a:gd name="T87" fmla="*/ 2147483647 h 38"/>
                <a:gd name="T88" fmla="*/ 2147483647 w 66"/>
                <a:gd name="T89" fmla="*/ 2147483647 h 38"/>
                <a:gd name="T90" fmla="*/ 2147483647 w 66"/>
                <a:gd name="T91" fmla="*/ 2147483647 h 38"/>
                <a:gd name="T92" fmla="*/ 2147483647 w 66"/>
                <a:gd name="T93" fmla="*/ 2147483647 h 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6"/>
                <a:gd name="T142" fmla="*/ 0 h 38"/>
                <a:gd name="T143" fmla="*/ 66 w 66"/>
                <a:gd name="T144" fmla="*/ 38 h 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6" h="38">
                  <a:moveTo>
                    <a:pt x="14" y="14"/>
                  </a:moveTo>
                  <a:lnTo>
                    <a:pt x="16" y="20"/>
                  </a:lnTo>
                  <a:lnTo>
                    <a:pt x="10" y="22"/>
                  </a:lnTo>
                  <a:lnTo>
                    <a:pt x="4" y="22"/>
                  </a:lnTo>
                  <a:lnTo>
                    <a:pt x="8" y="28"/>
                  </a:lnTo>
                  <a:lnTo>
                    <a:pt x="2" y="32"/>
                  </a:lnTo>
                  <a:lnTo>
                    <a:pt x="0" y="38"/>
                  </a:lnTo>
                  <a:lnTo>
                    <a:pt x="6" y="34"/>
                  </a:lnTo>
                  <a:lnTo>
                    <a:pt x="12" y="32"/>
                  </a:lnTo>
                  <a:lnTo>
                    <a:pt x="18" y="30"/>
                  </a:lnTo>
                  <a:lnTo>
                    <a:pt x="14" y="36"/>
                  </a:lnTo>
                  <a:lnTo>
                    <a:pt x="20" y="36"/>
                  </a:lnTo>
                  <a:lnTo>
                    <a:pt x="26" y="38"/>
                  </a:lnTo>
                  <a:lnTo>
                    <a:pt x="30" y="32"/>
                  </a:lnTo>
                  <a:lnTo>
                    <a:pt x="34" y="28"/>
                  </a:lnTo>
                  <a:lnTo>
                    <a:pt x="36" y="34"/>
                  </a:lnTo>
                  <a:lnTo>
                    <a:pt x="42" y="30"/>
                  </a:lnTo>
                  <a:lnTo>
                    <a:pt x="44" y="24"/>
                  </a:lnTo>
                  <a:lnTo>
                    <a:pt x="50" y="24"/>
                  </a:lnTo>
                  <a:lnTo>
                    <a:pt x="56" y="24"/>
                  </a:lnTo>
                  <a:lnTo>
                    <a:pt x="62" y="22"/>
                  </a:lnTo>
                  <a:lnTo>
                    <a:pt x="66" y="18"/>
                  </a:lnTo>
                  <a:lnTo>
                    <a:pt x="64" y="14"/>
                  </a:lnTo>
                  <a:lnTo>
                    <a:pt x="66" y="8"/>
                  </a:lnTo>
                  <a:lnTo>
                    <a:pt x="60" y="6"/>
                  </a:lnTo>
                  <a:lnTo>
                    <a:pt x="54" y="4"/>
                  </a:lnTo>
                  <a:lnTo>
                    <a:pt x="48" y="6"/>
                  </a:lnTo>
                  <a:lnTo>
                    <a:pt x="48" y="12"/>
                  </a:lnTo>
                  <a:lnTo>
                    <a:pt x="42" y="12"/>
                  </a:lnTo>
                  <a:lnTo>
                    <a:pt x="40" y="16"/>
                  </a:lnTo>
                  <a:lnTo>
                    <a:pt x="34" y="18"/>
                  </a:lnTo>
                  <a:lnTo>
                    <a:pt x="30" y="24"/>
                  </a:lnTo>
                  <a:lnTo>
                    <a:pt x="32" y="18"/>
                  </a:lnTo>
                  <a:lnTo>
                    <a:pt x="38" y="16"/>
                  </a:lnTo>
                  <a:lnTo>
                    <a:pt x="38" y="10"/>
                  </a:lnTo>
                  <a:lnTo>
                    <a:pt x="32" y="12"/>
                  </a:lnTo>
                  <a:lnTo>
                    <a:pt x="36" y="6"/>
                  </a:lnTo>
                  <a:lnTo>
                    <a:pt x="36" y="0"/>
                  </a:lnTo>
                  <a:lnTo>
                    <a:pt x="34" y="0"/>
                  </a:lnTo>
                  <a:lnTo>
                    <a:pt x="30" y="0"/>
                  </a:lnTo>
                  <a:lnTo>
                    <a:pt x="24" y="0"/>
                  </a:lnTo>
                  <a:lnTo>
                    <a:pt x="22" y="2"/>
                  </a:lnTo>
                  <a:lnTo>
                    <a:pt x="22" y="8"/>
                  </a:lnTo>
                  <a:lnTo>
                    <a:pt x="20" y="14"/>
                  </a:lnTo>
                  <a:lnTo>
                    <a:pt x="26" y="14"/>
                  </a:lnTo>
                  <a:lnTo>
                    <a:pt x="20" y="14"/>
                  </a:lnTo>
                  <a:lnTo>
                    <a:pt x="14"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0" name="Freeform 77"/>
            <p:cNvSpPr>
              <a:spLocks/>
            </p:cNvSpPr>
            <p:nvPr/>
          </p:nvSpPr>
          <p:spPr bwMode="auto">
            <a:xfrm>
              <a:off x="4579938" y="2325688"/>
              <a:ext cx="12700" cy="7937"/>
            </a:xfrm>
            <a:custGeom>
              <a:avLst/>
              <a:gdLst>
                <a:gd name="T0" fmla="*/ 2147483647 w 32"/>
                <a:gd name="T1" fmla="*/ 2147483647 h 22"/>
                <a:gd name="T2" fmla="*/ 2147483647 w 32"/>
                <a:gd name="T3" fmla="*/ 2147483647 h 22"/>
                <a:gd name="T4" fmla="*/ 2147483647 w 32"/>
                <a:gd name="T5" fmla="*/ 2147483647 h 22"/>
                <a:gd name="T6" fmla="*/ 2147483647 w 32"/>
                <a:gd name="T7" fmla="*/ 2147483647 h 22"/>
                <a:gd name="T8" fmla="*/ 2147483647 w 32"/>
                <a:gd name="T9" fmla="*/ 2147483647 h 22"/>
                <a:gd name="T10" fmla="*/ 2147483647 w 32"/>
                <a:gd name="T11" fmla="*/ 0 h 22"/>
                <a:gd name="T12" fmla="*/ 2147483647 w 32"/>
                <a:gd name="T13" fmla="*/ 2147483647 h 22"/>
                <a:gd name="T14" fmla="*/ 2147483647 w 32"/>
                <a:gd name="T15" fmla="*/ 2147483647 h 22"/>
                <a:gd name="T16" fmla="*/ 2147483647 w 32"/>
                <a:gd name="T17" fmla="*/ 2147483647 h 22"/>
                <a:gd name="T18" fmla="*/ 2147483647 w 32"/>
                <a:gd name="T19" fmla="*/ 2147483647 h 22"/>
                <a:gd name="T20" fmla="*/ 0 w 32"/>
                <a:gd name="T21" fmla="*/ 2147483647 h 22"/>
                <a:gd name="T22" fmla="*/ 2147483647 w 32"/>
                <a:gd name="T23" fmla="*/ 2147483647 h 22"/>
                <a:gd name="T24" fmla="*/ 2147483647 w 32"/>
                <a:gd name="T25" fmla="*/ 2147483647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22"/>
                <a:gd name="T41" fmla="*/ 32 w 32"/>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22">
                  <a:moveTo>
                    <a:pt x="10" y="18"/>
                  </a:moveTo>
                  <a:lnTo>
                    <a:pt x="16" y="16"/>
                  </a:lnTo>
                  <a:lnTo>
                    <a:pt x="22" y="12"/>
                  </a:lnTo>
                  <a:lnTo>
                    <a:pt x="28" y="8"/>
                  </a:lnTo>
                  <a:lnTo>
                    <a:pt x="32" y="2"/>
                  </a:lnTo>
                  <a:lnTo>
                    <a:pt x="24" y="0"/>
                  </a:lnTo>
                  <a:lnTo>
                    <a:pt x="20" y="2"/>
                  </a:lnTo>
                  <a:lnTo>
                    <a:pt x="14" y="8"/>
                  </a:lnTo>
                  <a:lnTo>
                    <a:pt x="8" y="10"/>
                  </a:lnTo>
                  <a:lnTo>
                    <a:pt x="2" y="16"/>
                  </a:lnTo>
                  <a:lnTo>
                    <a:pt x="0" y="22"/>
                  </a:lnTo>
                  <a:lnTo>
                    <a:pt x="6" y="22"/>
                  </a:lnTo>
                  <a:lnTo>
                    <a:pt x="10" y="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1" name="Freeform 78"/>
            <p:cNvSpPr>
              <a:spLocks/>
            </p:cNvSpPr>
            <p:nvPr/>
          </p:nvSpPr>
          <p:spPr bwMode="auto">
            <a:xfrm>
              <a:off x="4603750" y="2317750"/>
              <a:ext cx="20638" cy="12700"/>
            </a:xfrm>
            <a:custGeom>
              <a:avLst/>
              <a:gdLst>
                <a:gd name="T0" fmla="*/ 2147483647 w 50"/>
                <a:gd name="T1" fmla="*/ 2147483647 h 30"/>
                <a:gd name="T2" fmla="*/ 2147483647 w 50"/>
                <a:gd name="T3" fmla="*/ 2147483647 h 30"/>
                <a:gd name="T4" fmla="*/ 2147483647 w 50"/>
                <a:gd name="T5" fmla="*/ 2147483647 h 30"/>
                <a:gd name="T6" fmla="*/ 2147483647 w 50"/>
                <a:gd name="T7" fmla="*/ 2147483647 h 30"/>
                <a:gd name="T8" fmla="*/ 2147483647 w 50"/>
                <a:gd name="T9" fmla="*/ 2147483647 h 30"/>
                <a:gd name="T10" fmla="*/ 0 w 50"/>
                <a:gd name="T11" fmla="*/ 2147483647 h 30"/>
                <a:gd name="T12" fmla="*/ 2147483647 w 50"/>
                <a:gd name="T13" fmla="*/ 2147483647 h 30"/>
                <a:gd name="T14" fmla="*/ 2147483647 w 50"/>
                <a:gd name="T15" fmla="*/ 2147483647 h 30"/>
                <a:gd name="T16" fmla="*/ 2147483647 w 50"/>
                <a:gd name="T17" fmla="*/ 2147483647 h 30"/>
                <a:gd name="T18" fmla="*/ 2147483647 w 50"/>
                <a:gd name="T19" fmla="*/ 2147483647 h 30"/>
                <a:gd name="T20" fmla="*/ 2147483647 w 50"/>
                <a:gd name="T21" fmla="*/ 2147483647 h 30"/>
                <a:gd name="T22" fmla="*/ 2147483647 w 50"/>
                <a:gd name="T23" fmla="*/ 2147483647 h 30"/>
                <a:gd name="T24" fmla="*/ 2147483647 w 50"/>
                <a:gd name="T25" fmla="*/ 2147483647 h 30"/>
                <a:gd name="T26" fmla="*/ 2147483647 w 50"/>
                <a:gd name="T27" fmla="*/ 2147483647 h 30"/>
                <a:gd name="T28" fmla="*/ 2147483647 w 50"/>
                <a:gd name="T29" fmla="*/ 2147483647 h 30"/>
                <a:gd name="T30" fmla="*/ 2147483647 w 50"/>
                <a:gd name="T31" fmla="*/ 2147483647 h 30"/>
                <a:gd name="T32" fmla="*/ 2147483647 w 50"/>
                <a:gd name="T33" fmla="*/ 2147483647 h 30"/>
                <a:gd name="T34" fmla="*/ 2147483647 w 50"/>
                <a:gd name="T35" fmla="*/ 2147483647 h 30"/>
                <a:gd name="T36" fmla="*/ 2147483647 w 50"/>
                <a:gd name="T37" fmla="*/ 2147483647 h 30"/>
                <a:gd name="T38" fmla="*/ 2147483647 w 50"/>
                <a:gd name="T39" fmla="*/ 2147483647 h 30"/>
                <a:gd name="T40" fmla="*/ 2147483647 w 50"/>
                <a:gd name="T41" fmla="*/ 2147483647 h 30"/>
                <a:gd name="T42" fmla="*/ 2147483647 w 50"/>
                <a:gd name="T43" fmla="*/ 2147483647 h 30"/>
                <a:gd name="T44" fmla="*/ 2147483647 w 50"/>
                <a:gd name="T45" fmla="*/ 0 h 30"/>
                <a:gd name="T46" fmla="*/ 2147483647 w 50"/>
                <a:gd name="T47" fmla="*/ 2147483647 h 30"/>
                <a:gd name="T48" fmla="*/ 2147483647 w 50"/>
                <a:gd name="T49" fmla="*/ 2147483647 h 30"/>
                <a:gd name="T50" fmla="*/ 2147483647 w 50"/>
                <a:gd name="T51" fmla="*/ 2147483647 h 30"/>
                <a:gd name="T52" fmla="*/ 2147483647 w 50"/>
                <a:gd name="T53" fmla="*/ 2147483647 h 30"/>
                <a:gd name="T54" fmla="*/ 2147483647 w 50"/>
                <a:gd name="T55" fmla="*/ 2147483647 h 30"/>
                <a:gd name="T56" fmla="*/ 2147483647 w 50"/>
                <a:gd name="T57" fmla="*/ 2147483647 h 30"/>
                <a:gd name="T58" fmla="*/ 2147483647 w 50"/>
                <a:gd name="T59" fmla="*/ 2147483647 h 30"/>
                <a:gd name="T60" fmla="*/ 2147483647 w 50"/>
                <a:gd name="T61" fmla="*/ 2147483647 h 30"/>
                <a:gd name="T62" fmla="*/ 2147483647 w 50"/>
                <a:gd name="T63" fmla="*/ 2147483647 h 30"/>
                <a:gd name="T64" fmla="*/ 2147483647 w 50"/>
                <a:gd name="T65" fmla="*/ 2147483647 h 30"/>
                <a:gd name="T66" fmla="*/ 2147483647 w 50"/>
                <a:gd name="T67" fmla="*/ 2147483647 h 30"/>
                <a:gd name="T68" fmla="*/ 2147483647 w 50"/>
                <a:gd name="T69" fmla="*/ 2147483647 h 30"/>
                <a:gd name="T70" fmla="*/ 2147483647 w 50"/>
                <a:gd name="T71" fmla="*/ 2147483647 h 30"/>
                <a:gd name="T72" fmla="*/ 0 w 50"/>
                <a:gd name="T73" fmla="*/ 2147483647 h 30"/>
                <a:gd name="T74" fmla="*/ 2147483647 w 50"/>
                <a:gd name="T75" fmla="*/ 2147483647 h 30"/>
                <a:gd name="T76" fmla="*/ 2147483647 w 50"/>
                <a:gd name="T77" fmla="*/ 2147483647 h 30"/>
                <a:gd name="T78" fmla="*/ 2147483647 w 50"/>
                <a:gd name="T79" fmla="*/ 2147483647 h 3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0"/>
                <a:gd name="T121" fmla="*/ 0 h 30"/>
                <a:gd name="T122" fmla="*/ 50 w 50"/>
                <a:gd name="T123" fmla="*/ 30 h 3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0" h="30">
                  <a:moveTo>
                    <a:pt x="6" y="20"/>
                  </a:moveTo>
                  <a:lnTo>
                    <a:pt x="12" y="18"/>
                  </a:lnTo>
                  <a:lnTo>
                    <a:pt x="6" y="22"/>
                  </a:lnTo>
                  <a:lnTo>
                    <a:pt x="12" y="24"/>
                  </a:lnTo>
                  <a:lnTo>
                    <a:pt x="6" y="26"/>
                  </a:lnTo>
                  <a:lnTo>
                    <a:pt x="0" y="28"/>
                  </a:lnTo>
                  <a:lnTo>
                    <a:pt x="6" y="30"/>
                  </a:lnTo>
                  <a:lnTo>
                    <a:pt x="12" y="30"/>
                  </a:lnTo>
                  <a:lnTo>
                    <a:pt x="18" y="30"/>
                  </a:lnTo>
                  <a:lnTo>
                    <a:pt x="24" y="26"/>
                  </a:lnTo>
                  <a:lnTo>
                    <a:pt x="30" y="26"/>
                  </a:lnTo>
                  <a:lnTo>
                    <a:pt x="38" y="26"/>
                  </a:lnTo>
                  <a:lnTo>
                    <a:pt x="44" y="26"/>
                  </a:lnTo>
                  <a:lnTo>
                    <a:pt x="50" y="26"/>
                  </a:lnTo>
                  <a:lnTo>
                    <a:pt x="44" y="22"/>
                  </a:lnTo>
                  <a:lnTo>
                    <a:pt x="48" y="22"/>
                  </a:lnTo>
                  <a:lnTo>
                    <a:pt x="50" y="16"/>
                  </a:lnTo>
                  <a:lnTo>
                    <a:pt x="50" y="10"/>
                  </a:lnTo>
                  <a:lnTo>
                    <a:pt x="44" y="12"/>
                  </a:lnTo>
                  <a:lnTo>
                    <a:pt x="50" y="8"/>
                  </a:lnTo>
                  <a:lnTo>
                    <a:pt x="44" y="6"/>
                  </a:lnTo>
                  <a:lnTo>
                    <a:pt x="38" y="4"/>
                  </a:lnTo>
                  <a:lnTo>
                    <a:pt x="34" y="0"/>
                  </a:lnTo>
                  <a:lnTo>
                    <a:pt x="34" y="6"/>
                  </a:lnTo>
                  <a:lnTo>
                    <a:pt x="30" y="2"/>
                  </a:lnTo>
                  <a:lnTo>
                    <a:pt x="34" y="8"/>
                  </a:lnTo>
                  <a:lnTo>
                    <a:pt x="28" y="8"/>
                  </a:lnTo>
                  <a:lnTo>
                    <a:pt x="22" y="4"/>
                  </a:lnTo>
                  <a:lnTo>
                    <a:pt x="14" y="6"/>
                  </a:lnTo>
                  <a:lnTo>
                    <a:pt x="22" y="10"/>
                  </a:lnTo>
                  <a:lnTo>
                    <a:pt x="26" y="10"/>
                  </a:lnTo>
                  <a:lnTo>
                    <a:pt x="20" y="12"/>
                  </a:lnTo>
                  <a:lnTo>
                    <a:pt x="18" y="12"/>
                  </a:lnTo>
                  <a:lnTo>
                    <a:pt x="12" y="12"/>
                  </a:lnTo>
                  <a:lnTo>
                    <a:pt x="6" y="12"/>
                  </a:lnTo>
                  <a:lnTo>
                    <a:pt x="0" y="14"/>
                  </a:lnTo>
                  <a:lnTo>
                    <a:pt x="6" y="14"/>
                  </a:lnTo>
                  <a:lnTo>
                    <a:pt x="6" y="2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2" name="Freeform 79"/>
            <p:cNvSpPr>
              <a:spLocks/>
            </p:cNvSpPr>
            <p:nvPr/>
          </p:nvSpPr>
          <p:spPr bwMode="auto">
            <a:xfrm>
              <a:off x="4625975" y="2311400"/>
              <a:ext cx="17463" cy="7938"/>
            </a:xfrm>
            <a:custGeom>
              <a:avLst/>
              <a:gdLst>
                <a:gd name="T0" fmla="*/ 2147483647 w 40"/>
                <a:gd name="T1" fmla="*/ 2147483647 h 20"/>
                <a:gd name="T2" fmla="*/ 2147483647 w 40"/>
                <a:gd name="T3" fmla="*/ 2147483647 h 20"/>
                <a:gd name="T4" fmla="*/ 2147483647 w 40"/>
                <a:gd name="T5" fmla="*/ 2147483647 h 20"/>
                <a:gd name="T6" fmla="*/ 2147483647 w 40"/>
                <a:gd name="T7" fmla="*/ 2147483647 h 20"/>
                <a:gd name="T8" fmla="*/ 2147483647 w 40"/>
                <a:gd name="T9" fmla="*/ 0 h 20"/>
                <a:gd name="T10" fmla="*/ 2147483647 w 40"/>
                <a:gd name="T11" fmla="*/ 2147483647 h 20"/>
                <a:gd name="T12" fmla="*/ 2147483647 w 40"/>
                <a:gd name="T13" fmla="*/ 2147483647 h 20"/>
                <a:gd name="T14" fmla="*/ 2147483647 w 40"/>
                <a:gd name="T15" fmla="*/ 2147483647 h 20"/>
                <a:gd name="T16" fmla="*/ 2147483647 w 40"/>
                <a:gd name="T17" fmla="*/ 2147483647 h 20"/>
                <a:gd name="T18" fmla="*/ 2147483647 w 40"/>
                <a:gd name="T19" fmla="*/ 2147483647 h 20"/>
                <a:gd name="T20" fmla="*/ 2147483647 w 40"/>
                <a:gd name="T21" fmla="*/ 2147483647 h 20"/>
                <a:gd name="T22" fmla="*/ 2147483647 w 40"/>
                <a:gd name="T23" fmla="*/ 2147483647 h 20"/>
                <a:gd name="T24" fmla="*/ 2147483647 w 40"/>
                <a:gd name="T25" fmla="*/ 2147483647 h 20"/>
                <a:gd name="T26" fmla="*/ 2147483647 w 40"/>
                <a:gd name="T27" fmla="*/ 2147483647 h 20"/>
                <a:gd name="T28" fmla="*/ 2147483647 w 40"/>
                <a:gd name="T29" fmla="*/ 2147483647 h 20"/>
                <a:gd name="T30" fmla="*/ 0 w 40"/>
                <a:gd name="T31" fmla="*/ 2147483647 h 20"/>
                <a:gd name="T32" fmla="*/ 2147483647 w 40"/>
                <a:gd name="T33" fmla="*/ 2147483647 h 20"/>
                <a:gd name="T34" fmla="*/ 2147483647 w 40"/>
                <a:gd name="T35" fmla="*/ 2147483647 h 20"/>
                <a:gd name="T36" fmla="*/ 2147483647 w 40"/>
                <a:gd name="T37" fmla="*/ 2147483647 h 20"/>
                <a:gd name="T38" fmla="*/ 2147483647 w 40"/>
                <a:gd name="T39" fmla="*/ 2147483647 h 20"/>
                <a:gd name="T40" fmla="*/ 2147483647 w 40"/>
                <a:gd name="T41" fmla="*/ 2147483647 h 20"/>
                <a:gd name="T42" fmla="*/ 2147483647 w 40"/>
                <a:gd name="T43" fmla="*/ 2147483647 h 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20"/>
                <a:gd name="T68" fmla="*/ 40 w 40"/>
                <a:gd name="T69" fmla="*/ 20 h 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20">
                  <a:moveTo>
                    <a:pt x="30" y="12"/>
                  </a:moveTo>
                  <a:lnTo>
                    <a:pt x="34" y="10"/>
                  </a:lnTo>
                  <a:lnTo>
                    <a:pt x="40" y="6"/>
                  </a:lnTo>
                  <a:lnTo>
                    <a:pt x="34" y="4"/>
                  </a:lnTo>
                  <a:lnTo>
                    <a:pt x="28" y="0"/>
                  </a:lnTo>
                  <a:lnTo>
                    <a:pt x="22" y="2"/>
                  </a:lnTo>
                  <a:lnTo>
                    <a:pt x="28" y="4"/>
                  </a:lnTo>
                  <a:lnTo>
                    <a:pt x="24" y="10"/>
                  </a:lnTo>
                  <a:lnTo>
                    <a:pt x="20" y="4"/>
                  </a:lnTo>
                  <a:lnTo>
                    <a:pt x="14" y="10"/>
                  </a:lnTo>
                  <a:lnTo>
                    <a:pt x="20" y="12"/>
                  </a:lnTo>
                  <a:lnTo>
                    <a:pt x="14" y="10"/>
                  </a:lnTo>
                  <a:lnTo>
                    <a:pt x="6" y="14"/>
                  </a:lnTo>
                  <a:lnTo>
                    <a:pt x="14" y="14"/>
                  </a:lnTo>
                  <a:lnTo>
                    <a:pt x="6" y="16"/>
                  </a:lnTo>
                  <a:lnTo>
                    <a:pt x="0" y="20"/>
                  </a:lnTo>
                  <a:lnTo>
                    <a:pt x="6" y="20"/>
                  </a:lnTo>
                  <a:lnTo>
                    <a:pt x="12" y="20"/>
                  </a:lnTo>
                  <a:lnTo>
                    <a:pt x="18" y="20"/>
                  </a:lnTo>
                  <a:lnTo>
                    <a:pt x="24" y="18"/>
                  </a:lnTo>
                  <a:lnTo>
                    <a:pt x="30" y="18"/>
                  </a:lnTo>
                  <a:lnTo>
                    <a:pt x="30"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3" name="Freeform 80"/>
            <p:cNvSpPr>
              <a:spLocks/>
            </p:cNvSpPr>
            <p:nvPr/>
          </p:nvSpPr>
          <p:spPr bwMode="auto">
            <a:xfrm>
              <a:off x="4638675" y="2306638"/>
              <a:ext cx="15875" cy="7937"/>
            </a:xfrm>
            <a:custGeom>
              <a:avLst/>
              <a:gdLst>
                <a:gd name="T0" fmla="*/ 0 w 38"/>
                <a:gd name="T1" fmla="*/ 2147483647 h 18"/>
                <a:gd name="T2" fmla="*/ 0 w 38"/>
                <a:gd name="T3" fmla="*/ 2147483647 h 18"/>
                <a:gd name="T4" fmla="*/ 2147483647 w 38"/>
                <a:gd name="T5" fmla="*/ 2147483647 h 18"/>
                <a:gd name="T6" fmla="*/ 2147483647 w 38"/>
                <a:gd name="T7" fmla="*/ 2147483647 h 18"/>
                <a:gd name="T8" fmla="*/ 2147483647 w 38"/>
                <a:gd name="T9" fmla="*/ 2147483647 h 18"/>
                <a:gd name="T10" fmla="*/ 2147483647 w 38"/>
                <a:gd name="T11" fmla="*/ 2147483647 h 18"/>
                <a:gd name="T12" fmla="*/ 2147483647 w 38"/>
                <a:gd name="T13" fmla="*/ 2147483647 h 18"/>
                <a:gd name="T14" fmla="*/ 2147483647 w 38"/>
                <a:gd name="T15" fmla="*/ 2147483647 h 18"/>
                <a:gd name="T16" fmla="*/ 2147483647 w 38"/>
                <a:gd name="T17" fmla="*/ 2147483647 h 18"/>
                <a:gd name="T18" fmla="*/ 2147483647 w 38"/>
                <a:gd name="T19" fmla="*/ 2147483647 h 18"/>
                <a:gd name="T20" fmla="*/ 2147483647 w 38"/>
                <a:gd name="T21" fmla="*/ 2147483647 h 18"/>
                <a:gd name="T22" fmla="*/ 2147483647 w 38"/>
                <a:gd name="T23" fmla="*/ 2147483647 h 18"/>
                <a:gd name="T24" fmla="*/ 2147483647 w 38"/>
                <a:gd name="T25" fmla="*/ 2147483647 h 18"/>
                <a:gd name="T26" fmla="*/ 2147483647 w 38"/>
                <a:gd name="T27" fmla="*/ 0 h 18"/>
                <a:gd name="T28" fmla="*/ 2147483647 w 38"/>
                <a:gd name="T29" fmla="*/ 0 h 18"/>
                <a:gd name="T30" fmla="*/ 2147483647 w 38"/>
                <a:gd name="T31" fmla="*/ 2147483647 h 18"/>
                <a:gd name="T32" fmla="*/ 0 w 38"/>
                <a:gd name="T33" fmla="*/ 2147483647 h 18"/>
                <a:gd name="T34" fmla="*/ 0 w 38"/>
                <a:gd name="T35" fmla="*/ 2147483647 h 1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8"/>
                <a:gd name="T55" fmla="*/ 0 h 18"/>
                <a:gd name="T56" fmla="*/ 38 w 38"/>
                <a:gd name="T57" fmla="*/ 18 h 1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8" h="18">
                  <a:moveTo>
                    <a:pt x="0" y="6"/>
                  </a:moveTo>
                  <a:lnTo>
                    <a:pt x="0" y="12"/>
                  </a:lnTo>
                  <a:lnTo>
                    <a:pt x="6" y="14"/>
                  </a:lnTo>
                  <a:lnTo>
                    <a:pt x="14" y="18"/>
                  </a:lnTo>
                  <a:lnTo>
                    <a:pt x="20" y="16"/>
                  </a:lnTo>
                  <a:lnTo>
                    <a:pt x="26" y="14"/>
                  </a:lnTo>
                  <a:lnTo>
                    <a:pt x="32" y="8"/>
                  </a:lnTo>
                  <a:lnTo>
                    <a:pt x="38" y="6"/>
                  </a:lnTo>
                  <a:lnTo>
                    <a:pt x="34" y="6"/>
                  </a:lnTo>
                  <a:lnTo>
                    <a:pt x="32" y="6"/>
                  </a:lnTo>
                  <a:lnTo>
                    <a:pt x="26" y="2"/>
                  </a:lnTo>
                  <a:lnTo>
                    <a:pt x="26" y="6"/>
                  </a:lnTo>
                  <a:lnTo>
                    <a:pt x="24" y="6"/>
                  </a:lnTo>
                  <a:lnTo>
                    <a:pt x="18" y="0"/>
                  </a:lnTo>
                  <a:lnTo>
                    <a:pt x="12" y="0"/>
                  </a:lnTo>
                  <a:lnTo>
                    <a:pt x="6" y="4"/>
                  </a:lnTo>
                  <a:lnTo>
                    <a:pt x="0" y="4"/>
                  </a:lnTo>
                  <a:lnTo>
                    <a:pt x="0"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4" name="Freeform 81"/>
            <p:cNvSpPr>
              <a:spLocks/>
            </p:cNvSpPr>
            <p:nvPr/>
          </p:nvSpPr>
          <p:spPr bwMode="auto">
            <a:xfrm>
              <a:off x="4651375" y="2301875"/>
              <a:ext cx="9525" cy="4763"/>
            </a:xfrm>
            <a:custGeom>
              <a:avLst/>
              <a:gdLst>
                <a:gd name="T0" fmla="*/ 2147483647 w 24"/>
                <a:gd name="T1" fmla="*/ 2147483647 h 12"/>
                <a:gd name="T2" fmla="*/ 2147483647 w 24"/>
                <a:gd name="T3" fmla="*/ 2147483647 h 12"/>
                <a:gd name="T4" fmla="*/ 2147483647 w 24"/>
                <a:gd name="T5" fmla="*/ 2147483647 h 12"/>
                <a:gd name="T6" fmla="*/ 0 w 24"/>
                <a:gd name="T7" fmla="*/ 0 h 12"/>
                <a:gd name="T8" fmla="*/ 2147483647 w 24"/>
                <a:gd name="T9" fmla="*/ 2147483647 h 12"/>
                <a:gd name="T10" fmla="*/ 2147483647 w 24"/>
                <a:gd name="T11" fmla="*/ 2147483647 h 12"/>
                <a:gd name="T12" fmla="*/ 2147483647 w 24"/>
                <a:gd name="T13" fmla="*/ 2147483647 h 12"/>
                <a:gd name="T14" fmla="*/ 2147483647 w 24"/>
                <a:gd name="T15" fmla="*/ 2147483647 h 12"/>
                <a:gd name="T16" fmla="*/ 2147483647 w 24"/>
                <a:gd name="T17" fmla="*/ 2147483647 h 12"/>
                <a:gd name="T18" fmla="*/ 2147483647 w 24"/>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2"/>
                <a:gd name="T32" fmla="*/ 24 w 24"/>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2">
                  <a:moveTo>
                    <a:pt x="18" y="6"/>
                  </a:moveTo>
                  <a:lnTo>
                    <a:pt x="12" y="2"/>
                  </a:lnTo>
                  <a:lnTo>
                    <a:pt x="6" y="2"/>
                  </a:lnTo>
                  <a:lnTo>
                    <a:pt x="0" y="0"/>
                  </a:lnTo>
                  <a:lnTo>
                    <a:pt x="6" y="6"/>
                  </a:lnTo>
                  <a:lnTo>
                    <a:pt x="8" y="12"/>
                  </a:lnTo>
                  <a:lnTo>
                    <a:pt x="14" y="12"/>
                  </a:lnTo>
                  <a:lnTo>
                    <a:pt x="18" y="12"/>
                  </a:lnTo>
                  <a:lnTo>
                    <a:pt x="24" y="10"/>
                  </a:lnTo>
                  <a:lnTo>
                    <a:pt x="18"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5" name="Freeform 82"/>
            <p:cNvSpPr>
              <a:spLocks/>
            </p:cNvSpPr>
            <p:nvPr/>
          </p:nvSpPr>
          <p:spPr bwMode="auto">
            <a:xfrm>
              <a:off x="4665663" y="2303463"/>
              <a:ext cx="7937" cy="3175"/>
            </a:xfrm>
            <a:custGeom>
              <a:avLst/>
              <a:gdLst>
                <a:gd name="T0" fmla="*/ 0 w 20"/>
                <a:gd name="T1" fmla="*/ 2147483647 h 10"/>
                <a:gd name="T2" fmla="*/ 2147483647 w 20"/>
                <a:gd name="T3" fmla="*/ 2147483647 h 10"/>
                <a:gd name="T4" fmla="*/ 2147483647 w 20"/>
                <a:gd name="T5" fmla="*/ 2147483647 h 10"/>
                <a:gd name="T6" fmla="*/ 2147483647 w 20"/>
                <a:gd name="T7" fmla="*/ 2147483647 h 10"/>
                <a:gd name="T8" fmla="*/ 2147483647 w 20"/>
                <a:gd name="T9" fmla="*/ 0 h 10"/>
                <a:gd name="T10" fmla="*/ 2147483647 w 20"/>
                <a:gd name="T11" fmla="*/ 0 h 10"/>
                <a:gd name="T12" fmla="*/ 2147483647 w 20"/>
                <a:gd name="T13" fmla="*/ 2147483647 h 10"/>
                <a:gd name="T14" fmla="*/ 0 w 20"/>
                <a:gd name="T15" fmla="*/ 2147483647 h 10"/>
                <a:gd name="T16" fmla="*/ 0 60000 65536"/>
                <a:gd name="T17" fmla="*/ 0 60000 65536"/>
                <a:gd name="T18" fmla="*/ 0 60000 65536"/>
                <a:gd name="T19" fmla="*/ 0 60000 65536"/>
                <a:gd name="T20" fmla="*/ 0 60000 65536"/>
                <a:gd name="T21" fmla="*/ 0 60000 65536"/>
                <a:gd name="T22" fmla="*/ 0 60000 65536"/>
                <a:gd name="T23" fmla="*/ 0 60000 65536"/>
                <a:gd name="T24" fmla="*/ 0 w 20"/>
                <a:gd name="T25" fmla="*/ 0 h 10"/>
                <a:gd name="T26" fmla="*/ 20 w 20"/>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 h="10">
                  <a:moveTo>
                    <a:pt x="0" y="4"/>
                  </a:moveTo>
                  <a:lnTo>
                    <a:pt x="4" y="10"/>
                  </a:lnTo>
                  <a:lnTo>
                    <a:pt x="10" y="10"/>
                  </a:lnTo>
                  <a:lnTo>
                    <a:pt x="18" y="6"/>
                  </a:lnTo>
                  <a:lnTo>
                    <a:pt x="20" y="0"/>
                  </a:lnTo>
                  <a:lnTo>
                    <a:pt x="12" y="0"/>
                  </a:lnTo>
                  <a:lnTo>
                    <a:pt x="6" y="2"/>
                  </a:lnTo>
                  <a:lnTo>
                    <a:pt x="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6" name="Freeform 83"/>
            <p:cNvSpPr>
              <a:spLocks/>
            </p:cNvSpPr>
            <p:nvPr/>
          </p:nvSpPr>
          <p:spPr bwMode="auto">
            <a:xfrm>
              <a:off x="4692650" y="2289175"/>
              <a:ext cx="26988" cy="7938"/>
            </a:xfrm>
            <a:custGeom>
              <a:avLst/>
              <a:gdLst>
                <a:gd name="T0" fmla="*/ 2147483647 w 64"/>
                <a:gd name="T1" fmla="*/ 2147483647 h 20"/>
                <a:gd name="T2" fmla="*/ 2147483647 w 64"/>
                <a:gd name="T3" fmla="*/ 2147483647 h 20"/>
                <a:gd name="T4" fmla="*/ 2147483647 w 64"/>
                <a:gd name="T5" fmla="*/ 2147483647 h 20"/>
                <a:gd name="T6" fmla="*/ 2147483647 w 64"/>
                <a:gd name="T7" fmla="*/ 2147483647 h 20"/>
                <a:gd name="T8" fmla="*/ 2147483647 w 64"/>
                <a:gd name="T9" fmla="*/ 0 h 20"/>
                <a:gd name="T10" fmla="*/ 2147483647 w 64"/>
                <a:gd name="T11" fmla="*/ 2147483647 h 20"/>
                <a:gd name="T12" fmla="*/ 2147483647 w 64"/>
                <a:gd name="T13" fmla="*/ 2147483647 h 20"/>
                <a:gd name="T14" fmla="*/ 2147483647 w 64"/>
                <a:gd name="T15" fmla="*/ 2147483647 h 20"/>
                <a:gd name="T16" fmla="*/ 2147483647 w 64"/>
                <a:gd name="T17" fmla="*/ 2147483647 h 20"/>
                <a:gd name="T18" fmla="*/ 2147483647 w 64"/>
                <a:gd name="T19" fmla="*/ 2147483647 h 20"/>
                <a:gd name="T20" fmla="*/ 2147483647 w 64"/>
                <a:gd name="T21" fmla="*/ 2147483647 h 20"/>
                <a:gd name="T22" fmla="*/ 2147483647 w 64"/>
                <a:gd name="T23" fmla="*/ 2147483647 h 20"/>
                <a:gd name="T24" fmla="*/ 2147483647 w 64"/>
                <a:gd name="T25" fmla="*/ 2147483647 h 20"/>
                <a:gd name="T26" fmla="*/ 2147483647 w 64"/>
                <a:gd name="T27" fmla="*/ 2147483647 h 20"/>
                <a:gd name="T28" fmla="*/ 2147483647 w 64"/>
                <a:gd name="T29" fmla="*/ 2147483647 h 20"/>
                <a:gd name="T30" fmla="*/ 0 w 64"/>
                <a:gd name="T31" fmla="*/ 2147483647 h 20"/>
                <a:gd name="T32" fmla="*/ 2147483647 w 64"/>
                <a:gd name="T33" fmla="*/ 2147483647 h 20"/>
                <a:gd name="T34" fmla="*/ 2147483647 w 64"/>
                <a:gd name="T35" fmla="*/ 2147483647 h 20"/>
                <a:gd name="T36" fmla="*/ 2147483647 w 64"/>
                <a:gd name="T37" fmla="*/ 2147483647 h 20"/>
                <a:gd name="T38" fmla="*/ 2147483647 w 64"/>
                <a:gd name="T39" fmla="*/ 2147483647 h 20"/>
                <a:gd name="T40" fmla="*/ 2147483647 w 64"/>
                <a:gd name="T41" fmla="*/ 2147483647 h 20"/>
                <a:gd name="T42" fmla="*/ 2147483647 w 64"/>
                <a:gd name="T43" fmla="*/ 2147483647 h 20"/>
                <a:gd name="T44" fmla="*/ 2147483647 w 64"/>
                <a:gd name="T45" fmla="*/ 2147483647 h 20"/>
                <a:gd name="T46" fmla="*/ 2147483647 w 64"/>
                <a:gd name="T47" fmla="*/ 2147483647 h 20"/>
                <a:gd name="T48" fmla="*/ 2147483647 w 64"/>
                <a:gd name="T49" fmla="*/ 2147483647 h 20"/>
                <a:gd name="T50" fmla="*/ 2147483647 w 64"/>
                <a:gd name="T51" fmla="*/ 2147483647 h 20"/>
                <a:gd name="T52" fmla="*/ 2147483647 w 64"/>
                <a:gd name="T53" fmla="*/ 2147483647 h 20"/>
                <a:gd name="T54" fmla="*/ 2147483647 w 64"/>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4"/>
                <a:gd name="T85" fmla="*/ 0 h 20"/>
                <a:gd name="T86" fmla="*/ 64 w 64"/>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4" h="20">
                  <a:moveTo>
                    <a:pt x="62" y="4"/>
                  </a:moveTo>
                  <a:lnTo>
                    <a:pt x="64" y="2"/>
                  </a:lnTo>
                  <a:lnTo>
                    <a:pt x="58" y="2"/>
                  </a:lnTo>
                  <a:lnTo>
                    <a:pt x="52" y="2"/>
                  </a:lnTo>
                  <a:lnTo>
                    <a:pt x="46" y="0"/>
                  </a:lnTo>
                  <a:lnTo>
                    <a:pt x="48" y="6"/>
                  </a:lnTo>
                  <a:lnTo>
                    <a:pt x="42" y="8"/>
                  </a:lnTo>
                  <a:lnTo>
                    <a:pt x="36" y="4"/>
                  </a:lnTo>
                  <a:lnTo>
                    <a:pt x="30" y="6"/>
                  </a:lnTo>
                  <a:lnTo>
                    <a:pt x="36" y="10"/>
                  </a:lnTo>
                  <a:lnTo>
                    <a:pt x="30" y="10"/>
                  </a:lnTo>
                  <a:lnTo>
                    <a:pt x="24" y="6"/>
                  </a:lnTo>
                  <a:lnTo>
                    <a:pt x="18" y="10"/>
                  </a:lnTo>
                  <a:lnTo>
                    <a:pt x="12" y="8"/>
                  </a:lnTo>
                  <a:lnTo>
                    <a:pt x="6" y="10"/>
                  </a:lnTo>
                  <a:lnTo>
                    <a:pt x="0" y="10"/>
                  </a:lnTo>
                  <a:lnTo>
                    <a:pt x="6" y="14"/>
                  </a:lnTo>
                  <a:lnTo>
                    <a:pt x="12" y="16"/>
                  </a:lnTo>
                  <a:lnTo>
                    <a:pt x="6" y="20"/>
                  </a:lnTo>
                  <a:lnTo>
                    <a:pt x="12" y="16"/>
                  </a:lnTo>
                  <a:lnTo>
                    <a:pt x="20" y="18"/>
                  </a:lnTo>
                  <a:lnTo>
                    <a:pt x="24" y="18"/>
                  </a:lnTo>
                  <a:lnTo>
                    <a:pt x="32" y="18"/>
                  </a:lnTo>
                  <a:lnTo>
                    <a:pt x="36" y="18"/>
                  </a:lnTo>
                  <a:lnTo>
                    <a:pt x="44" y="14"/>
                  </a:lnTo>
                  <a:lnTo>
                    <a:pt x="48" y="10"/>
                  </a:lnTo>
                  <a:lnTo>
                    <a:pt x="56" y="6"/>
                  </a:lnTo>
                  <a:lnTo>
                    <a:pt x="62"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7" name="Freeform 84"/>
            <p:cNvSpPr>
              <a:spLocks/>
            </p:cNvSpPr>
            <p:nvPr/>
          </p:nvSpPr>
          <p:spPr bwMode="auto">
            <a:xfrm>
              <a:off x="4710113" y="2293938"/>
              <a:ext cx="12700" cy="7937"/>
            </a:xfrm>
            <a:custGeom>
              <a:avLst/>
              <a:gdLst>
                <a:gd name="T0" fmla="*/ 2147483647 w 34"/>
                <a:gd name="T1" fmla="*/ 2147483647 h 20"/>
                <a:gd name="T2" fmla="*/ 2147483647 w 34"/>
                <a:gd name="T3" fmla="*/ 0 h 20"/>
                <a:gd name="T4" fmla="*/ 2147483647 w 34"/>
                <a:gd name="T5" fmla="*/ 2147483647 h 20"/>
                <a:gd name="T6" fmla="*/ 2147483647 w 34"/>
                <a:gd name="T7" fmla="*/ 2147483647 h 20"/>
                <a:gd name="T8" fmla="*/ 2147483647 w 34"/>
                <a:gd name="T9" fmla="*/ 2147483647 h 20"/>
                <a:gd name="T10" fmla="*/ 2147483647 w 34"/>
                <a:gd name="T11" fmla="*/ 2147483647 h 20"/>
                <a:gd name="T12" fmla="*/ 0 w 34"/>
                <a:gd name="T13" fmla="*/ 2147483647 h 20"/>
                <a:gd name="T14" fmla="*/ 2147483647 w 34"/>
                <a:gd name="T15" fmla="*/ 2147483647 h 20"/>
                <a:gd name="T16" fmla="*/ 2147483647 w 34"/>
                <a:gd name="T17" fmla="*/ 2147483647 h 20"/>
                <a:gd name="T18" fmla="*/ 2147483647 w 34"/>
                <a:gd name="T19" fmla="*/ 2147483647 h 20"/>
                <a:gd name="T20" fmla="*/ 2147483647 w 34"/>
                <a:gd name="T21" fmla="*/ 2147483647 h 20"/>
                <a:gd name="T22" fmla="*/ 2147483647 w 34"/>
                <a:gd name="T23" fmla="*/ 2147483647 h 20"/>
                <a:gd name="T24" fmla="*/ 2147483647 w 34"/>
                <a:gd name="T25" fmla="*/ 2147483647 h 20"/>
                <a:gd name="T26" fmla="*/ 2147483647 w 34"/>
                <a:gd name="T27" fmla="*/ 2147483647 h 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
                <a:gd name="T43" fmla="*/ 0 h 20"/>
                <a:gd name="T44" fmla="*/ 34 w 34"/>
                <a:gd name="T45" fmla="*/ 20 h 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 h="20">
                  <a:moveTo>
                    <a:pt x="30" y="2"/>
                  </a:moveTo>
                  <a:lnTo>
                    <a:pt x="30" y="0"/>
                  </a:lnTo>
                  <a:lnTo>
                    <a:pt x="24" y="4"/>
                  </a:lnTo>
                  <a:lnTo>
                    <a:pt x="18" y="8"/>
                  </a:lnTo>
                  <a:lnTo>
                    <a:pt x="12" y="6"/>
                  </a:lnTo>
                  <a:lnTo>
                    <a:pt x="6" y="8"/>
                  </a:lnTo>
                  <a:lnTo>
                    <a:pt x="0" y="12"/>
                  </a:lnTo>
                  <a:lnTo>
                    <a:pt x="6" y="14"/>
                  </a:lnTo>
                  <a:lnTo>
                    <a:pt x="12" y="12"/>
                  </a:lnTo>
                  <a:lnTo>
                    <a:pt x="14" y="20"/>
                  </a:lnTo>
                  <a:lnTo>
                    <a:pt x="20" y="16"/>
                  </a:lnTo>
                  <a:lnTo>
                    <a:pt x="28" y="12"/>
                  </a:lnTo>
                  <a:lnTo>
                    <a:pt x="34" y="8"/>
                  </a:lnTo>
                  <a:lnTo>
                    <a:pt x="30" y="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8" name="Freeform 85"/>
            <p:cNvSpPr>
              <a:spLocks/>
            </p:cNvSpPr>
            <p:nvPr/>
          </p:nvSpPr>
          <p:spPr bwMode="auto">
            <a:xfrm>
              <a:off x="4721225" y="2292350"/>
              <a:ext cx="9525" cy="4763"/>
            </a:xfrm>
            <a:custGeom>
              <a:avLst/>
              <a:gdLst>
                <a:gd name="T0" fmla="*/ 2147483647 w 22"/>
                <a:gd name="T1" fmla="*/ 2147483647 h 12"/>
                <a:gd name="T2" fmla="*/ 2147483647 w 22"/>
                <a:gd name="T3" fmla="*/ 2147483647 h 12"/>
                <a:gd name="T4" fmla="*/ 2147483647 w 22"/>
                <a:gd name="T5" fmla="*/ 2147483647 h 12"/>
                <a:gd name="T6" fmla="*/ 2147483647 w 22"/>
                <a:gd name="T7" fmla="*/ 0 h 12"/>
                <a:gd name="T8" fmla="*/ 2147483647 w 22"/>
                <a:gd name="T9" fmla="*/ 0 h 12"/>
                <a:gd name="T10" fmla="*/ 2147483647 w 22"/>
                <a:gd name="T11" fmla="*/ 0 h 12"/>
                <a:gd name="T12" fmla="*/ 0 w 22"/>
                <a:gd name="T13" fmla="*/ 2147483647 h 12"/>
                <a:gd name="T14" fmla="*/ 2147483647 w 22"/>
                <a:gd name="T15" fmla="*/ 2147483647 h 12"/>
                <a:gd name="T16" fmla="*/ 2147483647 w 22"/>
                <a:gd name="T17" fmla="*/ 2147483647 h 12"/>
                <a:gd name="T18" fmla="*/ 2147483647 w 22"/>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2"/>
                <a:gd name="T32" fmla="*/ 22 w 2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2">
                  <a:moveTo>
                    <a:pt x="18" y="12"/>
                  </a:moveTo>
                  <a:lnTo>
                    <a:pt x="20" y="10"/>
                  </a:lnTo>
                  <a:lnTo>
                    <a:pt x="22" y="4"/>
                  </a:lnTo>
                  <a:lnTo>
                    <a:pt x="14" y="0"/>
                  </a:lnTo>
                  <a:lnTo>
                    <a:pt x="8" y="0"/>
                  </a:lnTo>
                  <a:lnTo>
                    <a:pt x="2" y="0"/>
                  </a:lnTo>
                  <a:lnTo>
                    <a:pt x="0" y="6"/>
                  </a:lnTo>
                  <a:lnTo>
                    <a:pt x="8" y="10"/>
                  </a:lnTo>
                  <a:lnTo>
                    <a:pt x="14" y="12"/>
                  </a:lnTo>
                  <a:lnTo>
                    <a:pt x="18"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69" name="Freeform 86"/>
            <p:cNvSpPr>
              <a:spLocks/>
            </p:cNvSpPr>
            <p:nvPr/>
          </p:nvSpPr>
          <p:spPr bwMode="auto">
            <a:xfrm>
              <a:off x="4751388" y="2281238"/>
              <a:ext cx="14287" cy="4762"/>
            </a:xfrm>
            <a:custGeom>
              <a:avLst/>
              <a:gdLst>
                <a:gd name="T0" fmla="*/ 2147483647 w 32"/>
                <a:gd name="T1" fmla="*/ 2147483647 h 14"/>
                <a:gd name="T2" fmla="*/ 2147483647 w 32"/>
                <a:gd name="T3" fmla="*/ 2147483647 h 14"/>
                <a:gd name="T4" fmla="*/ 2147483647 w 32"/>
                <a:gd name="T5" fmla="*/ 2147483647 h 14"/>
                <a:gd name="T6" fmla="*/ 2147483647 w 32"/>
                <a:gd name="T7" fmla="*/ 2147483647 h 14"/>
                <a:gd name="T8" fmla="*/ 2147483647 w 32"/>
                <a:gd name="T9" fmla="*/ 2147483647 h 14"/>
                <a:gd name="T10" fmla="*/ 2147483647 w 32"/>
                <a:gd name="T11" fmla="*/ 0 h 14"/>
                <a:gd name="T12" fmla="*/ 2147483647 w 32"/>
                <a:gd name="T13" fmla="*/ 0 h 14"/>
                <a:gd name="T14" fmla="*/ 2147483647 w 32"/>
                <a:gd name="T15" fmla="*/ 2147483647 h 14"/>
                <a:gd name="T16" fmla="*/ 0 w 32"/>
                <a:gd name="T17" fmla="*/ 2147483647 h 14"/>
                <a:gd name="T18" fmla="*/ 2147483647 w 32"/>
                <a:gd name="T19" fmla="*/ 2147483647 h 14"/>
                <a:gd name="T20" fmla="*/ 2147483647 w 32"/>
                <a:gd name="T21" fmla="*/ 2147483647 h 14"/>
                <a:gd name="T22" fmla="*/ 2147483647 w 32"/>
                <a:gd name="T23" fmla="*/ 2147483647 h 14"/>
                <a:gd name="T24" fmla="*/ 2147483647 w 32"/>
                <a:gd name="T25" fmla="*/ 2147483647 h 14"/>
                <a:gd name="T26" fmla="*/ 2147483647 w 32"/>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4"/>
                <a:gd name="T44" fmla="*/ 32 w 32"/>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4">
                  <a:moveTo>
                    <a:pt x="26" y="10"/>
                  </a:moveTo>
                  <a:lnTo>
                    <a:pt x="32" y="10"/>
                  </a:lnTo>
                  <a:lnTo>
                    <a:pt x="26" y="10"/>
                  </a:lnTo>
                  <a:lnTo>
                    <a:pt x="30" y="4"/>
                  </a:lnTo>
                  <a:lnTo>
                    <a:pt x="24" y="2"/>
                  </a:lnTo>
                  <a:lnTo>
                    <a:pt x="18" y="0"/>
                  </a:lnTo>
                  <a:lnTo>
                    <a:pt x="12" y="0"/>
                  </a:lnTo>
                  <a:lnTo>
                    <a:pt x="6" y="4"/>
                  </a:lnTo>
                  <a:lnTo>
                    <a:pt x="0" y="6"/>
                  </a:lnTo>
                  <a:lnTo>
                    <a:pt x="6" y="8"/>
                  </a:lnTo>
                  <a:lnTo>
                    <a:pt x="10" y="14"/>
                  </a:lnTo>
                  <a:lnTo>
                    <a:pt x="16" y="14"/>
                  </a:lnTo>
                  <a:lnTo>
                    <a:pt x="22" y="12"/>
                  </a:lnTo>
                  <a:lnTo>
                    <a:pt x="26"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0" name="Freeform 87"/>
            <p:cNvSpPr>
              <a:spLocks/>
            </p:cNvSpPr>
            <p:nvPr/>
          </p:nvSpPr>
          <p:spPr bwMode="auto">
            <a:xfrm>
              <a:off x="4446588" y="3022600"/>
              <a:ext cx="23812" cy="46038"/>
            </a:xfrm>
            <a:custGeom>
              <a:avLst/>
              <a:gdLst>
                <a:gd name="T0" fmla="*/ 2147483647 w 56"/>
                <a:gd name="T1" fmla="*/ 2147483647 h 112"/>
                <a:gd name="T2" fmla="*/ 2147483647 w 56"/>
                <a:gd name="T3" fmla="*/ 2147483647 h 112"/>
                <a:gd name="T4" fmla="*/ 2147483647 w 56"/>
                <a:gd name="T5" fmla="*/ 2147483647 h 112"/>
                <a:gd name="T6" fmla="*/ 2147483647 w 56"/>
                <a:gd name="T7" fmla="*/ 2147483647 h 112"/>
                <a:gd name="T8" fmla="*/ 2147483647 w 56"/>
                <a:gd name="T9" fmla="*/ 2147483647 h 112"/>
                <a:gd name="T10" fmla="*/ 2147483647 w 56"/>
                <a:gd name="T11" fmla="*/ 2147483647 h 112"/>
                <a:gd name="T12" fmla="*/ 2147483647 w 56"/>
                <a:gd name="T13" fmla="*/ 2147483647 h 112"/>
                <a:gd name="T14" fmla="*/ 2147483647 w 56"/>
                <a:gd name="T15" fmla="*/ 2147483647 h 112"/>
                <a:gd name="T16" fmla="*/ 2147483647 w 56"/>
                <a:gd name="T17" fmla="*/ 2147483647 h 112"/>
                <a:gd name="T18" fmla="*/ 2147483647 w 56"/>
                <a:gd name="T19" fmla="*/ 2147483647 h 112"/>
                <a:gd name="T20" fmla="*/ 2147483647 w 56"/>
                <a:gd name="T21" fmla="*/ 2147483647 h 112"/>
                <a:gd name="T22" fmla="*/ 2147483647 w 56"/>
                <a:gd name="T23" fmla="*/ 0 h 112"/>
                <a:gd name="T24" fmla="*/ 2147483647 w 56"/>
                <a:gd name="T25" fmla="*/ 2147483647 h 112"/>
                <a:gd name="T26" fmla="*/ 2147483647 w 56"/>
                <a:gd name="T27" fmla="*/ 2147483647 h 112"/>
                <a:gd name="T28" fmla="*/ 2147483647 w 56"/>
                <a:gd name="T29" fmla="*/ 2147483647 h 112"/>
                <a:gd name="T30" fmla="*/ 2147483647 w 56"/>
                <a:gd name="T31" fmla="*/ 2147483647 h 112"/>
                <a:gd name="T32" fmla="*/ 2147483647 w 56"/>
                <a:gd name="T33" fmla="*/ 2147483647 h 112"/>
                <a:gd name="T34" fmla="*/ 2147483647 w 56"/>
                <a:gd name="T35" fmla="*/ 2147483647 h 112"/>
                <a:gd name="T36" fmla="*/ 2147483647 w 56"/>
                <a:gd name="T37" fmla="*/ 2147483647 h 112"/>
                <a:gd name="T38" fmla="*/ 2147483647 w 56"/>
                <a:gd name="T39" fmla="*/ 2147483647 h 112"/>
                <a:gd name="T40" fmla="*/ 2147483647 w 56"/>
                <a:gd name="T41" fmla="*/ 2147483647 h 112"/>
                <a:gd name="T42" fmla="*/ 2147483647 w 56"/>
                <a:gd name="T43" fmla="*/ 2147483647 h 112"/>
                <a:gd name="T44" fmla="*/ 2147483647 w 56"/>
                <a:gd name="T45" fmla="*/ 2147483647 h 112"/>
                <a:gd name="T46" fmla="*/ 2147483647 w 56"/>
                <a:gd name="T47" fmla="*/ 2147483647 h 112"/>
                <a:gd name="T48" fmla="*/ 2147483647 w 56"/>
                <a:gd name="T49" fmla="*/ 2147483647 h 112"/>
                <a:gd name="T50" fmla="*/ 2147483647 w 56"/>
                <a:gd name="T51" fmla="*/ 2147483647 h 112"/>
                <a:gd name="T52" fmla="*/ 2147483647 w 56"/>
                <a:gd name="T53" fmla="*/ 2147483647 h 112"/>
                <a:gd name="T54" fmla="*/ 2147483647 w 56"/>
                <a:gd name="T55" fmla="*/ 2147483647 h 112"/>
                <a:gd name="T56" fmla="*/ 2147483647 w 56"/>
                <a:gd name="T57" fmla="*/ 2147483647 h 112"/>
                <a:gd name="T58" fmla="*/ 2147483647 w 56"/>
                <a:gd name="T59" fmla="*/ 2147483647 h 112"/>
                <a:gd name="T60" fmla="*/ 2147483647 w 56"/>
                <a:gd name="T61" fmla="*/ 2147483647 h 112"/>
                <a:gd name="T62" fmla="*/ 2147483647 w 56"/>
                <a:gd name="T63" fmla="*/ 2147483647 h 112"/>
                <a:gd name="T64" fmla="*/ 2147483647 w 56"/>
                <a:gd name="T65" fmla="*/ 2147483647 h 112"/>
                <a:gd name="T66" fmla="*/ 2147483647 w 56"/>
                <a:gd name="T67" fmla="*/ 2147483647 h 112"/>
                <a:gd name="T68" fmla="*/ 2147483647 w 56"/>
                <a:gd name="T69" fmla="*/ 2147483647 h 112"/>
                <a:gd name="T70" fmla="*/ 2147483647 w 56"/>
                <a:gd name="T71" fmla="*/ 2147483647 h 112"/>
                <a:gd name="T72" fmla="*/ 2147483647 w 56"/>
                <a:gd name="T73" fmla="*/ 2147483647 h 112"/>
                <a:gd name="T74" fmla="*/ 2147483647 w 56"/>
                <a:gd name="T75" fmla="*/ 2147483647 h 112"/>
                <a:gd name="T76" fmla="*/ 2147483647 w 56"/>
                <a:gd name="T77" fmla="*/ 2147483647 h 112"/>
                <a:gd name="T78" fmla="*/ 2147483647 w 56"/>
                <a:gd name="T79" fmla="*/ 2147483647 h 112"/>
                <a:gd name="T80" fmla="*/ 2147483647 w 56"/>
                <a:gd name="T81" fmla="*/ 2147483647 h 112"/>
                <a:gd name="T82" fmla="*/ 2147483647 w 56"/>
                <a:gd name="T83" fmla="*/ 2147483647 h 112"/>
                <a:gd name="T84" fmla="*/ 2147483647 w 56"/>
                <a:gd name="T85" fmla="*/ 2147483647 h 112"/>
                <a:gd name="T86" fmla="*/ 2147483647 w 56"/>
                <a:gd name="T87" fmla="*/ 2147483647 h 112"/>
                <a:gd name="T88" fmla="*/ 2147483647 w 56"/>
                <a:gd name="T89" fmla="*/ 2147483647 h 112"/>
                <a:gd name="T90" fmla="*/ 2147483647 w 56"/>
                <a:gd name="T91" fmla="*/ 2147483647 h 112"/>
                <a:gd name="T92" fmla="*/ 0 w 56"/>
                <a:gd name="T93" fmla="*/ 2147483647 h 112"/>
                <a:gd name="T94" fmla="*/ 2147483647 w 56"/>
                <a:gd name="T95" fmla="*/ 2147483647 h 112"/>
                <a:gd name="T96" fmla="*/ 2147483647 w 56"/>
                <a:gd name="T97" fmla="*/ 2147483647 h 112"/>
                <a:gd name="T98" fmla="*/ 2147483647 w 56"/>
                <a:gd name="T99" fmla="*/ 2147483647 h 1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6"/>
                <a:gd name="T151" fmla="*/ 0 h 112"/>
                <a:gd name="T152" fmla="*/ 56 w 56"/>
                <a:gd name="T153" fmla="*/ 112 h 1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6" h="112">
                  <a:moveTo>
                    <a:pt x="2" y="42"/>
                  </a:moveTo>
                  <a:lnTo>
                    <a:pt x="6" y="36"/>
                  </a:lnTo>
                  <a:lnTo>
                    <a:pt x="8" y="30"/>
                  </a:lnTo>
                  <a:lnTo>
                    <a:pt x="14" y="28"/>
                  </a:lnTo>
                  <a:lnTo>
                    <a:pt x="20" y="26"/>
                  </a:lnTo>
                  <a:lnTo>
                    <a:pt x="26" y="24"/>
                  </a:lnTo>
                  <a:lnTo>
                    <a:pt x="32" y="20"/>
                  </a:lnTo>
                  <a:lnTo>
                    <a:pt x="38" y="20"/>
                  </a:lnTo>
                  <a:lnTo>
                    <a:pt x="42" y="14"/>
                  </a:lnTo>
                  <a:lnTo>
                    <a:pt x="42" y="8"/>
                  </a:lnTo>
                  <a:lnTo>
                    <a:pt x="44" y="2"/>
                  </a:lnTo>
                  <a:lnTo>
                    <a:pt x="50" y="0"/>
                  </a:lnTo>
                  <a:lnTo>
                    <a:pt x="50" y="8"/>
                  </a:lnTo>
                  <a:lnTo>
                    <a:pt x="52" y="12"/>
                  </a:lnTo>
                  <a:lnTo>
                    <a:pt x="50" y="18"/>
                  </a:lnTo>
                  <a:lnTo>
                    <a:pt x="50" y="24"/>
                  </a:lnTo>
                  <a:lnTo>
                    <a:pt x="52" y="30"/>
                  </a:lnTo>
                  <a:lnTo>
                    <a:pt x="54" y="36"/>
                  </a:lnTo>
                  <a:lnTo>
                    <a:pt x="54" y="42"/>
                  </a:lnTo>
                  <a:lnTo>
                    <a:pt x="56" y="48"/>
                  </a:lnTo>
                  <a:lnTo>
                    <a:pt x="56" y="54"/>
                  </a:lnTo>
                  <a:lnTo>
                    <a:pt x="56" y="60"/>
                  </a:lnTo>
                  <a:lnTo>
                    <a:pt x="56" y="62"/>
                  </a:lnTo>
                  <a:lnTo>
                    <a:pt x="50" y="68"/>
                  </a:lnTo>
                  <a:lnTo>
                    <a:pt x="48" y="74"/>
                  </a:lnTo>
                  <a:lnTo>
                    <a:pt x="46" y="78"/>
                  </a:lnTo>
                  <a:lnTo>
                    <a:pt x="46" y="84"/>
                  </a:lnTo>
                  <a:lnTo>
                    <a:pt x="46" y="90"/>
                  </a:lnTo>
                  <a:lnTo>
                    <a:pt x="44" y="96"/>
                  </a:lnTo>
                  <a:lnTo>
                    <a:pt x="40" y="100"/>
                  </a:lnTo>
                  <a:lnTo>
                    <a:pt x="38" y="106"/>
                  </a:lnTo>
                  <a:lnTo>
                    <a:pt x="34" y="112"/>
                  </a:lnTo>
                  <a:lnTo>
                    <a:pt x="28" y="106"/>
                  </a:lnTo>
                  <a:lnTo>
                    <a:pt x="22" y="104"/>
                  </a:lnTo>
                  <a:lnTo>
                    <a:pt x="16" y="102"/>
                  </a:lnTo>
                  <a:lnTo>
                    <a:pt x="12" y="96"/>
                  </a:lnTo>
                  <a:lnTo>
                    <a:pt x="18" y="92"/>
                  </a:lnTo>
                  <a:lnTo>
                    <a:pt x="12" y="90"/>
                  </a:lnTo>
                  <a:lnTo>
                    <a:pt x="6" y="86"/>
                  </a:lnTo>
                  <a:lnTo>
                    <a:pt x="12" y="80"/>
                  </a:lnTo>
                  <a:lnTo>
                    <a:pt x="14" y="76"/>
                  </a:lnTo>
                  <a:lnTo>
                    <a:pt x="8" y="76"/>
                  </a:lnTo>
                  <a:lnTo>
                    <a:pt x="4" y="70"/>
                  </a:lnTo>
                  <a:lnTo>
                    <a:pt x="8" y="64"/>
                  </a:lnTo>
                  <a:lnTo>
                    <a:pt x="2" y="60"/>
                  </a:lnTo>
                  <a:lnTo>
                    <a:pt x="0" y="54"/>
                  </a:lnTo>
                  <a:lnTo>
                    <a:pt x="6" y="50"/>
                  </a:lnTo>
                  <a:lnTo>
                    <a:pt x="2" y="46"/>
                  </a:lnTo>
                  <a:lnTo>
                    <a:pt x="2"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1" name="Freeform 88"/>
            <p:cNvSpPr>
              <a:spLocks/>
            </p:cNvSpPr>
            <p:nvPr/>
          </p:nvSpPr>
          <p:spPr bwMode="auto">
            <a:xfrm>
              <a:off x="4437063" y="3073400"/>
              <a:ext cx="38100" cy="65088"/>
            </a:xfrm>
            <a:custGeom>
              <a:avLst/>
              <a:gdLst>
                <a:gd name="T0" fmla="*/ 2147483647 w 94"/>
                <a:gd name="T1" fmla="*/ 2147483647 h 160"/>
                <a:gd name="T2" fmla="*/ 2147483647 w 94"/>
                <a:gd name="T3" fmla="*/ 2147483647 h 160"/>
                <a:gd name="T4" fmla="*/ 2147483647 w 94"/>
                <a:gd name="T5" fmla="*/ 2147483647 h 160"/>
                <a:gd name="T6" fmla="*/ 2147483647 w 94"/>
                <a:gd name="T7" fmla="*/ 2147483647 h 160"/>
                <a:gd name="T8" fmla="*/ 2147483647 w 94"/>
                <a:gd name="T9" fmla="*/ 2147483647 h 160"/>
                <a:gd name="T10" fmla="*/ 2147483647 w 94"/>
                <a:gd name="T11" fmla="*/ 2147483647 h 160"/>
                <a:gd name="T12" fmla="*/ 2147483647 w 94"/>
                <a:gd name="T13" fmla="*/ 2147483647 h 160"/>
                <a:gd name="T14" fmla="*/ 2147483647 w 94"/>
                <a:gd name="T15" fmla="*/ 2147483647 h 160"/>
                <a:gd name="T16" fmla="*/ 2147483647 w 94"/>
                <a:gd name="T17" fmla="*/ 0 h 160"/>
                <a:gd name="T18" fmla="*/ 2147483647 w 94"/>
                <a:gd name="T19" fmla="*/ 2147483647 h 160"/>
                <a:gd name="T20" fmla="*/ 2147483647 w 94"/>
                <a:gd name="T21" fmla="*/ 2147483647 h 160"/>
                <a:gd name="T22" fmla="*/ 2147483647 w 94"/>
                <a:gd name="T23" fmla="*/ 2147483647 h 160"/>
                <a:gd name="T24" fmla="*/ 2147483647 w 94"/>
                <a:gd name="T25" fmla="*/ 2147483647 h 160"/>
                <a:gd name="T26" fmla="*/ 2147483647 w 94"/>
                <a:gd name="T27" fmla="*/ 2147483647 h 160"/>
                <a:gd name="T28" fmla="*/ 2147483647 w 94"/>
                <a:gd name="T29" fmla="*/ 2147483647 h 160"/>
                <a:gd name="T30" fmla="*/ 2147483647 w 94"/>
                <a:gd name="T31" fmla="*/ 2147483647 h 160"/>
                <a:gd name="T32" fmla="*/ 2147483647 w 94"/>
                <a:gd name="T33" fmla="*/ 2147483647 h 160"/>
                <a:gd name="T34" fmla="*/ 2147483647 w 94"/>
                <a:gd name="T35" fmla="*/ 2147483647 h 160"/>
                <a:gd name="T36" fmla="*/ 2147483647 w 94"/>
                <a:gd name="T37" fmla="*/ 2147483647 h 160"/>
                <a:gd name="T38" fmla="*/ 2147483647 w 94"/>
                <a:gd name="T39" fmla="*/ 2147483647 h 160"/>
                <a:gd name="T40" fmla="*/ 2147483647 w 94"/>
                <a:gd name="T41" fmla="*/ 2147483647 h 160"/>
                <a:gd name="T42" fmla="*/ 2147483647 w 94"/>
                <a:gd name="T43" fmla="*/ 2147483647 h 160"/>
                <a:gd name="T44" fmla="*/ 2147483647 w 94"/>
                <a:gd name="T45" fmla="*/ 2147483647 h 160"/>
                <a:gd name="T46" fmla="*/ 2147483647 w 94"/>
                <a:gd name="T47" fmla="*/ 2147483647 h 160"/>
                <a:gd name="T48" fmla="*/ 2147483647 w 94"/>
                <a:gd name="T49" fmla="*/ 2147483647 h 160"/>
                <a:gd name="T50" fmla="*/ 2147483647 w 94"/>
                <a:gd name="T51" fmla="*/ 2147483647 h 160"/>
                <a:gd name="T52" fmla="*/ 2147483647 w 94"/>
                <a:gd name="T53" fmla="*/ 2147483647 h 160"/>
                <a:gd name="T54" fmla="*/ 2147483647 w 94"/>
                <a:gd name="T55" fmla="*/ 2147483647 h 160"/>
                <a:gd name="T56" fmla="*/ 2147483647 w 94"/>
                <a:gd name="T57" fmla="*/ 2147483647 h 160"/>
                <a:gd name="T58" fmla="*/ 2147483647 w 94"/>
                <a:gd name="T59" fmla="*/ 2147483647 h 160"/>
                <a:gd name="T60" fmla="*/ 2147483647 w 94"/>
                <a:gd name="T61" fmla="*/ 2147483647 h 160"/>
                <a:gd name="T62" fmla="*/ 2147483647 w 94"/>
                <a:gd name="T63" fmla="*/ 2147483647 h 160"/>
                <a:gd name="T64" fmla="*/ 2147483647 w 94"/>
                <a:gd name="T65" fmla="*/ 2147483647 h 160"/>
                <a:gd name="T66" fmla="*/ 2147483647 w 94"/>
                <a:gd name="T67" fmla="*/ 2147483647 h 160"/>
                <a:gd name="T68" fmla="*/ 2147483647 w 94"/>
                <a:gd name="T69" fmla="*/ 2147483647 h 160"/>
                <a:gd name="T70" fmla="*/ 2147483647 w 94"/>
                <a:gd name="T71" fmla="*/ 2147483647 h 160"/>
                <a:gd name="T72" fmla="*/ 2147483647 w 94"/>
                <a:gd name="T73" fmla="*/ 2147483647 h 160"/>
                <a:gd name="T74" fmla="*/ 2147483647 w 94"/>
                <a:gd name="T75" fmla="*/ 2147483647 h 160"/>
                <a:gd name="T76" fmla="*/ 2147483647 w 94"/>
                <a:gd name="T77" fmla="*/ 2147483647 h 160"/>
                <a:gd name="T78" fmla="*/ 2147483647 w 94"/>
                <a:gd name="T79" fmla="*/ 2147483647 h 160"/>
                <a:gd name="T80" fmla="*/ 2147483647 w 94"/>
                <a:gd name="T81" fmla="*/ 2147483647 h 160"/>
                <a:gd name="T82" fmla="*/ 2147483647 w 94"/>
                <a:gd name="T83" fmla="*/ 2147483647 h 160"/>
                <a:gd name="T84" fmla="*/ 2147483647 w 94"/>
                <a:gd name="T85" fmla="*/ 2147483647 h 1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4"/>
                <a:gd name="T130" fmla="*/ 0 h 160"/>
                <a:gd name="T131" fmla="*/ 94 w 94"/>
                <a:gd name="T132" fmla="*/ 160 h 1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4" h="160">
                  <a:moveTo>
                    <a:pt x="14" y="56"/>
                  </a:moveTo>
                  <a:lnTo>
                    <a:pt x="10" y="50"/>
                  </a:lnTo>
                  <a:lnTo>
                    <a:pt x="4" y="44"/>
                  </a:lnTo>
                  <a:lnTo>
                    <a:pt x="2" y="38"/>
                  </a:lnTo>
                  <a:lnTo>
                    <a:pt x="0" y="34"/>
                  </a:lnTo>
                  <a:lnTo>
                    <a:pt x="2" y="28"/>
                  </a:lnTo>
                  <a:lnTo>
                    <a:pt x="2" y="22"/>
                  </a:lnTo>
                  <a:lnTo>
                    <a:pt x="8" y="26"/>
                  </a:lnTo>
                  <a:lnTo>
                    <a:pt x="14" y="26"/>
                  </a:lnTo>
                  <a:lnTo>
                    <a:pt x="20" y="28"/>
                  </a:lnTo>
                  <a:lnTo>
                    <a:pt x="26" y="26"/>
                  </a:lnTo>
                  <a:lnTo>
                    <a:pt x="32" y="22"/>
                  </a:lnTo>
                  <a:lnTo>
                    <a:pt x="38" y="20"/>
                  </a:lnTo>
                  <a:lnTo>
                    <a:pt x="42" y="14"/>
                  </a:lnTo>
                  <a:lnTo>
                    <a:pt x="48" y="8"/>
                  </a:lnTo>
                  <a:lnTo>
                    <a:pt x="54" y="6"/>
                  </a:lnTo>
                  <a:lnTo>
                    <a:pt x="58" y="0"/>
                  </a:lnTo>
                  <a:lnTo>
                    <a:pt x="62" y="0"/>
                  </a:lnTo>
                  <a:lnTo>
                    <a:pt x="70" y="2"/>
                  </a:lnTo>
                  <a:lnTo>
                    <a:pt x="72" y="8"/>
                  </a:lnTo>
                  <a:lnTo>
                    <a:pt x="78" y="8"/>
                  </a:lnTo>
                  <a:lnTo>
                    <a:pt x="78" y="14"/>
                  </a:lnTo>
                  <a:lnTo>
                    <a:pt x="84" y="16"/>
                  </a:lnTo>
                  <a:lnTo>
                    <a:pt x="78" y="20"/>
                  </a:lnTo>
                  <a:lnTo>
                    <a:pt x="84" y="22"/>
                  </a:lnTo>
                  <a:lnTo>
                    <a:pt x="86" y="26"/>
                  </a:lnTo>
                  <a:lnTo>
                    <a:pt x="86" y="32"/>
                  </a:lnTo>
                  <a:lnTo>
                    <a:pt x="90" y="38"/>
                  </a:lnTo>
                  <a:lnTo>
                    <a:pt x="90" y="44"/>
                  </a:lnTo>
                  <a:lnTo>
                    <a:pt x="94" y="50"/>
                  </a:lnTo>
                  <a:lnTo>
                    <a:pt x="92" y="56"/>
                  </a:lnTo>
                  <a:lnTo>
                    <a:pt x="86" y="62"/>
                  </a:lnTo>
                  <a:lnTo>
                    <a:pt x="84" y="68"/>
                  </a:lnTo>
                  <a:lnTo>
                    <a:pt x="84" y="72"/>
                  </a:lnTo>
                  <a:lnTo>
                    <a:pt x="88" y="78"/>
                  </a:lnTo>
                  <a:lnTo>
                    <a:pt x="88" y="84"/>
                  </a:lnTo>
                  <a:lnTo>
                    <a:pt x="88" y="88"/>
                  </a:lnTo>
                  <a:lnTo>
                    <a:pt x="86" y="94"/>
                  </a:lnTo>
                  <a:lnTo>
                    <a:pt x="86" y="100"/>
                  </a:lnTo>
                  <a:lnTo>
                    <a:pt x="84" y="106"/>
                  </a:lnTo>
                  <a:lnTo>
                    <a:pt x="84" y="112"/>
                  </a:lnTo>
                  <a:lnTo>
                    <a:pt x="84" y="114"/>
                  </a:lnTo>
                  <a:lnTo>
                    <a:pt x="84" y="122"/>
                  </a:lnTo>
                  <a:lnTo>
                    <a:pt x="82" y="128"/>
                  </a:lnTo>
                  <a:lnTo>
                    <a:pt x="84" y="132"/>
                  </a:lnTo>
                  <a:lnTo>
                    <a:pt x="80" y="138"/>
                  </a:lnTo>
                  <a:lnTo>
                    <a:pt x="78" y="144"/>
                  </a:lnTo>
                  <a:lnTo>
                    <a:pt x="72" y="144"/>
                  </a:lnTo>
                  <a:lnTo>
                    <a:pt x="66" y="140"/>
                  </a:lnTo>
                  <a:lnTo>
                    <a:pt x="60" y="138"/>
                  </a:lnTo>
                  <a:lnTo>
                    <a:pt x="54" y="138"/>
                  </a:lnTo>
                  <a:lnTo>
                    <a:pt x="52" y="138"/>
                  </a:lnTo>
                  <a:lnTo>
                    <a:pt x="50" y="140"/>
                  </a:lnTo>
                  <a:lnTo>
                    <a:pt x="48" y="146"/>
                  </a:lnTo>
                  <a:lnTo>
                    <a:pt x="50" y="152"/>
                  </a:lnTo>
                  <a:lnTo>
                    <a:pt x="44" y="158"/>
                  </a:lnTo>
                  <a:lnTo>
                    <a:pt x="38" y="160"/>
                  </a:lnTo>
                  <a:lnTo>
                    <a:pt x="32" y="158"/>
                  </a:lnTo>
                  <a:lnTo>
                    <a:pt x="26" y="160"/>
                  </a:lnTo>
                  <a:lnTo>
                    <a:pt x="24" y="154"/>
                  </a:lnTo>
                  <a:lnTo>
                    <a:pt x="20" y="148"/>
                  </a:lnTo>
                  <a:lnTo>
                    <a:pt x="16" y="154"/>
                  </a:lnTo>
                  <a:lnTo>
                    <a:pt x="12" y="148"/>
                  </a:lnTo>
                  <a:lnTo>
                    <a:pt x="16" y="148"/>
                  </a:lnTo>
                  <a:lnTo>
                    <a:pt x="16" y="142"/>
                  </a:lnTo>
                  <a:lnTo>
                    <a:pt x="14" y="136"/>
                  </a:lnTo>
                  <a:lnTo>
                    <a:pt x="14" y="130"/>
                  </a:lnTo>
                  <a:lnTo>
                    <a:pt x="14" y="124"/>
                  </a:lnTo>
                  <a:lnTo>
                    <a:pt x="16" y="118"/>
                  </a:lnTo>
                  <a:lnTo>
                    <a:pt x="18" y="112"/>
                  </a:lnTo>
                  <a:lnTo>
                    <a:pt x="16" y="106"/>
                  </a:lnTo>
                  <a:lnTo>
                    <a:pt x="16" y="100"/>
                  </a:lnTo>
                  <a:lnTo>
                    <a:pt x="22" y="106"/>
                  </a:lnTo>
                  <a:lnTo>
                    <a:pt x="22" y="100"/>
                  </a:lnTo>
                  <a:lnTo>
                    <a:pt x="22" y="94"/>
                  </a:lnTo>
                  <a:lnTo>
                    <a:pt x="22" y="92"/>
                  </a:lnTo>
                  <a:lnTo>
                    <a:pt x="16" y="90"/>
                  </a:lnTo>
                  <a:lnTo>
                    <a:pt x="14" y="84"/>
                  </a:lnTo>
                  <a:lnTo>
                    <a:pt x="20" y="78"/>
                  </a:lnTo>
                  <a:lnTo>
                    <a:pt x="18" y="72"/>
                  </a:lnTo>
                  <a:lnTo>
                    <a:pt x="18" y="66"/>
                  </a:lnTo>
                  <a:lnTo>
                    <a:pt x="18" y="64"/>
                  </a:lnTo>
                  <a:lnTo>
                    <a:pt x="12" y="60"/>
                  </a:lnTo>
                  <a:lnTo>
                    <a:pt x="14" y="5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2" name="Freeform 89"/>
            <p:cNvSpPr>
              <a:spLocks/>
            </p:cNvSpPr>
            <p:nvPr/>
          </p:nvSpPr>
          <p:spPr bwMode="auto">
            <a:xfrm>
              <a:off x="4537075" y="3155950"/>
              <a:ext cx="73025" cy="44450"/>
            </a:xfrm>
            <a:custGeom>
              <a:avLst/>
              <a:gdLst>
                <a:gd name="T0" fmla="*/ 2147483647 w 180"/>
                <a:gd name="T1" fmla="*/ 2147483647 h 110"/>
                <a:gd name="T2" fmla="*/ 2147483647 w 180"/>
                <a:gd name="T3" fmla="*/ 2147483647 h 110"/>
                <a:gd name="T4" fmla="*/ 0 w 180"/>
                <a:gd name="T5" fmla="*/ 2147483647 h 110"/>
                <a:gd name="T6" fmla="*/ 2147483647 w 180"/>
                <a:gd name="T7" fmla="*/ 2147483647 h 110"/>
                <a:gd name="T8" fmla="*/ 2147483647 w 180"/>
                <a:gd name="T9" fmla="*/ 2147483647 h 110"/>
                <a:gd name="T10" fmla="*/ 2147483647 w 180"/>
                <a:gd name="T11" fmla="*/ 2147483647 h 110"/>
                <a:gd name="T12" fmla="*/ 2147483647 w 180"/>
                <a:gd name="T13" fmla="*/ 2147483647 h 110"/>
                <a:gd name="T14" fmla="*/ 2147483647 w 180"/>
                <a:gd name="T15" fmla="*/ 2147483647 h 110"/>
                <a:gd name="T16" fmla="*/ 2147483647 w 180"/>
                <a:gd name="T17" fmla="*/ 2147483647 h 110"/>
                <a:gd name="T18" fmla="*/ 2147483647 w 180"/>
                <a:gd name="T19" fmla="*/ 2147483647 h 110"/>
                <a:gd name="T20" fmla="*/ 2147483647 w 180"/>
                <a:gd name="T21" fmla="*/ 2147483647 h 110"/>
                <a:gd name="T22" fmla="*/ 2147483647 w 180"/>
                <a:gd name="T23" fmla="*/ 2147483647 h 110"/>
                <a:gd name="T24" fmla="*/ 2147483647 w 180"/>
                <a:gd name="T25" fmla="*/ 2147483647 h 110"/>
                <a:gd name="T26" fmla="*/ 2147483647 w 180"/>
                <a:gd name="T27" fmla="*/ 2147483647 h 110"/>
                <a:gd name="T28" fmla="*/ 2147483647 w 180"/>
                <a:gd name="T29" fmla="*/ 2147483647 h 110"/>
                <a:gd name="T30" fmla="*/ 2147483647 w 180"/>
                <a:gd name="T31" fmla="*/ 2147483647 h 110"/>
                <a:gd name="T32" fmla="*/ 2147483647 w 180"/>
                <a:gd name="T33" fmla="*/ 2147483647 h 110"/>
                <a:gd name="T34" fmla="*/ 2147483647 w 180"/>
                <a:gd name="T35" fmla="*/ 2147483647 h 110"/>
                <a:gd name="T36" fmla="*/ 2147483647 w 180"/>
                <a:gd name="T37" fmla="*/ 2147483647 h 110"/>
                <a:gd name="T38" fmla="*/ 2147483647 w 180"/>
                <a:gd name="T39" fmla="*/ 2147483647 h 110"/>
                <a:gd name="T40" fmla="*/ 2147483647 w 180"/>
                <a:gd name="T41" fmla="*/ 2147483647 h 110"/>
                <a:gd name="T42" fmla="*/ 2147483647 w 180"/>
                <a:gd name="T43" fmla="*/ 2147483647 h 110"/>
                <a:gd name="T44" fmla="*/ 2147483647 w 180"/>
                <a:gd name="T45" fmla="*/ 2147483647 h 110"/>
                <a:gd name="T46" fmla="*/ 2147483647 w 180"/>
                <a:gd name="T47" fmla="*/ 2147483647 h 110"/>
                <a:gd name="T48" fmla="*/ 2147483647 w 180"/>
                <a:gd name="T49" fmla="*/ 2147483647 h 110"/>
                <a:gd name="T50" fmla="*/ 2147483647 w 180"/>
                <a:gd name="T51" fmla="*/ 2147483647 h 110"/>
                <a:gd name="T52" fmla="*/ 2147483647 w 180"/>
                <a:gd name="T53" fmla="*/ 2147483647 h 110"/>
                <a:gd name="T54" fmla="*/ 2147483647 w 180"/>
                <a:gd name="T55" fmla="*/ 2147483647 h 110"/>
                <a:gd name="T56" fmla="*/ 2147483647 w 180"/>
                <a:gd name="T57" fmla="*/ 2147483647 h 110"/>
                <a:gd name="T58" fmla="*/ 2147483647 w 180"/>
                <a:gd name="T59" fmla="*/ 2147483647 h 110"/>
                <a:gd name="T60" fmla="*/ 2147483647 w 180"/>
                <a:gd name="T61" fmla="*/ 2147483647 h 110"/>
                <a:gd name="T62" fmla="*/ 2147483647 w 180"/>
                <a:gd name="T63" fmla="*/ 2147483647 h 110"/>
                <a:gd name="T64" fmla="*/ 2147483647 w 180"/>
                <a:gd name="T65" fmla="*/ 2147483647 h 110"/>
                <a:gd name="T66" fmla="*/ 2147483647 w 180"/>
                <a:gd name="T67" fmla="*/ 2147483647 h 110"/>
                <a:gd name="T68" fmla="*/ 2147483647 w 180"/>
                <a:gd name="T69" fmla="*/ 2147483647 h 110"/>
                <a:gd name="T70" fmla="*/ 2147483647 w 180"/>
                <a:gd name="T71" fmla="*/ 2147483647 h 110"/>
                <a:gd name="T72" fmla="*/ 2147483647 w 180"/>
                <a:gd name="T73" fmla="*/ 2147483647 h 110"/>
                <a:gd name="T74" fmla="*/ 2147483647 w 180"/>
                <a:gd name="T75" fmla="*/ 2147483647 h 110"/>
                <a:gd name="T76" fmla="*/ 2147483647 w 180"/>
                <a:gd name="T77" fmla="*/ 2147483647 h 110"/>
                <a:gd name="T78" fmla="*/ 2147483647 w 180"/>
                <a:gd name="T79" fmla="*/ 2147483647 h 110"/>
                <a:gd name="T80" fmla="*/ 2147483647 w 180"/>
                <a:gd name="T81" fmla="*/ 2147483647 h 110"/>
                <a:gd name="T82" fmla="*/ 2147483647 w 180"/>
                <a:gd name="T83" fmla="*/ 2147483647 h 110"/>
                <a:gd name="T84" fmla="*/ 2147483647 w 180"/>
                <a:gd name="T85" fmla="*/ 2147483647 h 11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0"/>
                <a:gd name="T130" fmla="*/ 0 h 110"/>
                <a:gd name="T131" fmla="*/ 180 w 180"/>
                <a:gd name="T132" fmla="*/ 110 h 11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0" h="110">
                  <a:moveTo>
                    <a:pt x="22" y="50"/>
                  </a:moveTo>
                  <a:lnTo>
                    <a:pt x="16" y="50"/>
                  </a:lnTo>
                  <a:lnTo>
                    <a:pt x="10" y="50"/>
                  </a:lnTo>
                  <a:lnTo>
                    <a:pt x="6" y="44"/>
                  </a:lnTo>
                  <a:lnTo>
                    <a:pt x="0" y="40"/>
                  </a:lnTo>
                  <a:lnTo>
                    <a:pt x="0" y="36"/>
                  </a:lnTo>
                  <a:lnTo>
                    <a:pt x="0" y="30"/>
                  </a:lnTo>
                  <a:lnTo>
                    <a:pt x="2" y="22"/>
                  </a:lnTo>
                  <a:lnTo>
                    <a:pt x="4" y="18"/>
                  </a:lnTo>
                  <a:lnTo>
                    <a:pt x="10" y="14"/>
                  </a:lnTo>
                  <a:lnTo>
                    <a:pt x="14" y="10"/>
                  </a:lnTo>
                  <a:lnTo>
                    <a:pt x="20" y="14"/>
                  </a:lnTo>
                  <a:lnTo>
                    <a:pt x="26" y="18"/>
                  </a:lnTo>
                  <a:lnTo>
                    <a:pt x="30" y="18"/>
                  </a:lnTo>
                  <a:lnTo>
                    <a:pt x="34" y="12"/>
                  </a:lnTo>
                  <a:lnTo>
                    <a:pt x="40" y="8"/>
                  </a:lnTo>
                  <a:lnTo>
                    <a:pt x="46" y="6"/>
                  </a:lnTo>
                  <a:lnTo>
                    <a:pt x="52" y="8"/>
                  </a:lnTo>
                  <a:lnTo>
                    <a:pt x="58" y="14"/>
                  </a:lnTo>
                  <a:lnTo>
                    <a:pt x="64" y="18"/>
                  </a:lnTo>
                  <a:lnTo>
                    <a:pt x="70" y="20"/>
                  </a:lnTo>
                  <a:lnTo>
                    <a:pt x="76" y="22"/>
                  </a:lnTo>
                  <a:lnTo>
                    <a:pt x="82" y="20"/>
                  </a:lnTo>
                  <a:lnTo>
                    <a:pt x="86" y="18"/>
                  </a:lnTo>
                  <a:lnTo>
                    <a:pt x="92" y="18"/>
                  </a:lnTo>
                  <a:lnTo>
                    <a:pt x="98" y="18"/>
                  </a:lnTo>
                  <a:lnTo>
                    <a:pt x="104" y="18"/>
                  </a:lnTo>
                  <a:lnTo>
                    <a:pt x="110" y="18"/>
                  </a:lnTo>
                  <a:lnTo>
                    <a:pt x="116" y="18"/>
                  </a:lnTo>
                  <a:lnTo>
                    <a:pt x="122" y="16"/>
                  </a:lnTo>
                  <a:lnTo>
                    <a:pt x="128" y="10"/>
                  </a:lnTo>
                  <a:lnTo>
                    <a:pt x="134" y="10"/>
                  </a:lnTo>
                  <a:lnTo>
                    <a:pt x="140" y="6"/>
                  </a:lnTo>
                  <a:lnTo>
                    <a:pt x="144" y="10"/>
                  </a:lnTo>
                  <a:lnTo>
                    <a:pt x="152" y="10"/>
                  </a:lnTo>
                  <a:lnTo>
                    <a:pt x="158" y="6"/>
                  </a:lnTo>
                  <a:lnTo>
                    <a:pt x="162" y="6"/>
                  </a:lnTo>
                  <a:lnTo>
                    <a:pt x="168" y="4"/>
                  </a:lnTo>
                  <a:lnTo>
                    <a:pt x="174" y="0"/>
                  </a:lnTo>
                  <a:lnTo>
                    <a:pt x="180" y="2"/>
                  </a:lnTo>
                  <a:lnTo>
                    <a:pt x="176" y="6"/>
                  </a:lnTo>
                  <a:lnTo>
                    <a:pt x="174" y="14"/>
                  </a:lnTo>
                  <a:lnTo>
                    <a:pt x="170" y="18"/>
                  </a:lnTo>
                  <a:lnTo>
                    <a:pt x="166" y="24"/>
                  </a:lnTo>
                  <a:lnTo>
                    <a:pt x="162" y="30"/>
                  </a:lnTo>
                  <a:lnTo>
                    <a:pt x="160" y="34"/>
                  </a:lnTo>
                  <a:lnTo>
                    <a:pt x="158" y="40"/>
                  </a:lnTo>
                  <a:lnTo>
                    <a:pt x="156" y="46"/>
                  </a:lnTo>
                  <a:lnTo>
                    <a:pt x="154" y="52"/>
                  </a:lnTo>
                  <a:lnTo>
                    <a:pt x="150" y="56"/>
                  </a:lnTo>
                  <a:lnTo>
                    <a:pt x="150" y="62"/>
                  </a:lnTo>
                  <a:lnTo>
                    <a:pt x="150" y="64"/>
                  </a:lnTo>
                  <a:lnTo>
                    <a:pt x="156" y="70"/>
                  </a:lnTo>
                  <a:lnTo>
                    <a:pt x="156" y="76"/>
                  </a:lnTo>
                  <a:lnTo>
                    <a:pt x="160" y="82"/>
                  </a:lnTo>
                  <a:lnTo>
                    <a:pt x="164" y="86"/>
                  </a:lnTo>
                  <a:lnTo>
                    <a:pt x="158" y="92"/>
                  </a:lnTo>
                  <a:lnTo>
                    <a:pt x="154" y="98"/>
                  </a:lnTo>
                  <a:lnTo>
                    <a:pt x="152" y="104"/>
                  </a:lnTo>
                  <a:lnTo>
                    <a:pt x="154" y="110"/>
                  </a:lnTo>
                  <a:lnTo>
                    <a:pt x="148" y="110"/>
                  </a:lnTo>
                  <a:lnTo>
                    <a:pt x="146" y="110"/>
                  </a:lnTo>
                  <a:lnTo>
                    <a:pt x="140" y="108"/>
                  </a:lnTo>
                  <a:lnTo>
                    <a:pt x="134" y="110"/>
                  </a:lnTo>
                  <a:lnTo>
                    <a:pt x="128" y="108"/>
                  </a:lnTo>
                  <a:lnTo>
                    <a:pt x="124" y="106"/>
                  </a:lnTo>
                  <a:lnTo>
                    <a:pt x="118" y="104"/>
                  </a:lnTo>
                  <a:lnTo>
                    <a:pt x="114" y="98"/>
                  </a:lnTo>
                  <a:lnTo>
                    <a:pt x="110" y="92"/>
                  </a:lnTo>
                  <a:lnTo>
                    <a:pt x="110" y="90"/>
                  </a:lnTo>
                  <a:lnTo>
                    <a:pt x="102" y="86"/>
                  </a:lnTo>
                  <a:lnTo>
                    <a:pt x="98" y="82"/>
                  </a:lnTo>
                  <a:lnTo>
                    <a:pt x="92" y="82"/>
                  </a:lnTo>
                  <a:lnTo>
                    <a:pt x="90" y="82"/>
                  </a:lnTo>
                  <a:lnTo>
                    <a:pt x="86" y="82"/>
                  </a:lnTo>
                  <a:lnTo>
                    <a:pt x="80" y="80"/>
                  </a:lnTo>
                  <a:lnTo>
                    <a:pt x="74" y="78"/>
                  </a:lnTo>
                  <a:lnTo>
                    <a:pt x="68" y="74"/>
                  </a:lnTo>
                  <a:lnTo>
                    <a:pt x="62" y="70"/>
                  </a:lnTo>
                  <a:lnTo>
                    <a:pt x="56" y="68"/>
                  </a:lnTo>
                  <a:lnTo>
                    <a:pt x="52" y="64"/>
                  </a:lnTo>
                  <a:lnTo>
                    <a:pt x="48" y="62"/>
                  </a:lnTo>
                  <a:lnTo>
                    <a:pt x="42" y="56"/>
                  </a:lnTo>
                  <a:lnTo>
                    <a:pt x="36" y="54"/>
                  </a:lnTo>
                  <a:lnTo>
                    <a:pt x="30" y="52"/>
                  </a:lnTo>
                  <a:lnTo>
                    <a:pt x="26" y="50"/>
                  </a:lnTo>
                  <a:lnTo>
                    <a:pt x="22" y="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3" name="Freeform 90"/>
            <p:cNvSpPr>
              <a:spLocks/>
            </p:cNvSpPr>
            <p:nvPr/>
          </p:nvSpPr>
          <p:spPr bwMode="auto">
            <a:xfrm>
              <a:off x="5002213" y="3230563"/>
              <a:ext cx="53975" cy="30162"/>
            </a:xfrm>
            <a:custGeom>
              <a:avLst/>
              <a:gdLst>
                <a:gd name="T0" fmla="*/ 0 w 130"/>
                <a:gd name="T1" fmla="*/ 2147483647 h 76"/>
                <a:gd name="T2" fmla="*/ 2147483647 w 130"/>
                <a:gd name="T3" fmla="*/ 2147483647 h 76"/>
                <a:gd name="T4" fmla="*/ 2147483647 w 130"/>
                <a:gd name="T5" fmla="*/ 2147483647 h 76"/>
                <a:gd name="T6" fmla="*/ 2147483647 w 130"/>
                <a:gd name="T7" fmla="*/ 2147483647 h 76"/>
                <a:gd name="T8" fmla="*/ 2147483647 w 130"/>
                <a:gd name="T9" fmla="*/ 2147483647 h 76"/>
                <a:gd name="T10" fmla="*/ 2147483647 w 130"/>
                <a:gd name="T11" fmla="*/ 2147483647 h 76"/>
                <a:gd name="T12" fmla="*/ 2147483647 w 130"/>
                <a:gd name="T13" fmla="*/ 2147483647 h 76"/>
                <a:gd name="T14" fmla="*/ 2147483647 w 130"/>
                <a:gd name="T15" fmla="*/ 2147483647 h 76"/>
                <a:gd name="T16" fmla="*/ 2147483647 w 130"/>
                <a:gd name="T17" fmla="*/ 2147483647 h 76"/>
                <a:gd name="T18" fmla="*/ 2147483647 w 130"/>
                <a:gd name="T19" fmla="*/ 2147483647 h 76"/>
                <a:gd name="T20" fmla="*/ 2147483647 w 130"/>
                <a:gd name="T21" fmla="*/ 2147483647 h 76"/>
                <a:gd name="T22" fmla="*/ 2147483647 w 130"/>
                <a:gd name="T23" fmla="*/ 2147483647 h 76"/>
                <a:gd name="T24" fmla="*/ 2147483647 w 130"/>
                <a:gd name="T25" fmla="*/ 2147483647 h 76"/>
                <a:gd name="T26" fmla="*/ 2147483647 w 130"/>
                <a:gd name="T27" fmla="*/ 2147483647 h 76"/>
                <a:gd name="T28" fmla="*/ 2147483647 w 130"/>
                <a:gd name="T29" fmla="*/ 2147483647 h 76"/>
                <a:gd name="T30" fmla="*/ 2147483647 w 130"/>
                <a:gd name="T31" fmla="*/ 0 h 76"/>
                <a:gd name="T32" fmla="*/ 2147483647 w 130"/>
                <a:gd name="T33" fmla="*/ 2147483647 h 76"/>
                <a:gd name="T34" fmla="*/ 2147483647 w 130"/>
                <a:gd name="T35" fmla="*/ 2147483647 h 76"/>
                <a:gd name="T36" fmla="*/ 2147483647 w 130"/>
                <a:gd name="T37" fmla="*/ 2147483647 h 76"/>
                <a:gd name="T38" fmla="*/ 2147483647 w 130"/>
                <a:gd name="T39" fmla="*/ 2147483647 h 76"/>
                <a:gd name="T40" fmla="*/ 2147483647 w 130"/>
                <a:gd name="T41" fmla="*/ 2147483647 h 76"/>
                <a:gd name="T42" fmla="*/ 2147483647 w 130"/>
                <a:gd name="T43" fmla="*/ 2147483647 h 76"/>
                <a:gd name="T44" fmla="*/ 2147483647 w 130"/>
                <a:gd name="T45" fmla="*/ 2147483647 h 76"/>
                <a:gd name="T46" fmla="*/ 2147483647 w 130"/>
                <a:gd name="T47" fmla="*/ 2147483647 h 76"/>
                <a:gd name="T48" fmla="*/ 2147483647 w 130"/>
                <a:gd name="T49" fmla="*/ 2147483647 h 76"/>
                <a:gd name="T50" fmla="*/ 2147483647 w 130"/>
                <a:gd name="T51" fmla="*/ 2147483647 h 76"/>
                <a:gd name="T52" fmla="*/ 2147483647 w 130"/>
                <a:gd name="T53" fmla="*/ 2147483647 h 76"/>
                <a:gd name="T54" fmla="*/ 2147483647 w 130"/>
                <a:gd name="T55" fmla="*/ 2147483647 h 76"/>
                <a:gd name="T56" fmla="*/ 2147483647 w 130"/>
                <a:gd name="T57" fmla="*/ 2147483647 h 76"/>
                <a:gd name="T58" fmla="*/ 2147483647 w 130"/>
                <a:gd name="T59" fmla="*/ 2147483647 h 76"/>
                <a:gd name="T60" fmla="*/ 2147483647 w 130"/>
                <a:gd name="T61" fmla="*/ 2147483647 h 76"/>
                <a:gd name="T62" fmla="*/ 2147483647 w 130"/>
                <a:gd name="T63" fmla="*/ 2147483647 h 76"/>
                <a:gd name="T64" fmla="*/ 2147483647 w 130"/>
                <a:gd name="T65" fmla="*/ 2147483647 h 76"/>
                <a:gd name="T66" fmla="*/ 2147483647 w 130"/>
                <a:gd name="T67" fmla="*/ 2147483647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0"/>
                <a:gd name="T103" fmla="*/ 0 h 76"/>
                <a:gd name="T104" fmla="*/ 130 w 130"/>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0" h="76">
                  <a:moveTo>
                    <a:pt x="2" y="48"/>
                  </a:moveTo>
                  <a:lnTo>
                    <a:pt x="0" y="42"/>
                  </a:lnTo>
                  <a:lnTo>
                    <a:pt x="6" y="44"/>
                  </a:lnTo>
                  <a:lnTo>
                    <a:pt x="12" y="42"/>
                  </a:lnTo>
                  <a:lnTo>
                    <a:pt x="14" y="36"/>
                  </a:lnTo>
                  <a:lnTo>
                    <a:pt x="16" y="36"/>
                  </a:lnTo>
                  <a:lnTo>
                    <a:pt x="18" y="36"/>
                  </a:lnTo>
                  <a:lnTo>
                    <a:pt x="20" y="34"/>
                  </a:lnTo>
                  <a:lnTo>
                    <a:pt x="24" y="34"/>
                  </a:lnTo>
                  <a:lnTo>
                    <a:pt x="30" y="38"/>
                  </a:lnTo>
                  <a:lnTo>
                    <a:pt x="36" y="34"/>
                  </a:lnTo>
                  <a:lnTo>
                    <a:pt x="36" y="28"/>
                  </a:lnTo>
                  <a:lnTo>
                    <a:pt x="36" y="24"/>
                  </a:lnTo>
                  <a:lnTo>
                    <a:pt x="42" y="22"/>
                  </a:lnTo>
                  <a:lnTo>
                    <a:pt x="48" y="22"/>
                  </a:lnTo>
                  <a:lnTo>
                    <a:pt x="54" y="24"/>
                  </a:lnTo>
                  <a:lnTo>
                    <a:pt x="60" y="24"/>
                  </a:lnTo>
                  <a:lnTo>
                    <a:pt x="66" y="24"/>
                  </a:lnTo>
                  <a:lnTo>
                    <a:pt x="72" y="24"/>
                  </a:lnTo>
                  <a:lnTo>
                    <a:pt x="78" y="22"/>
                  </a:lnTo>
                  <a:lnTo>
                    <a:pt x="84" y="20"/>
                  </a:lnTo>
                  <a:lnTo>
                    <a:pt x="90" y="20"/>
                  </a:lnTo>
                  <a:lnTo>
                    <a:pt x="96" y="16"/>
                  </a:lnTo>
                  <a:lnTo>
                    <a:pt x="102" y="14"/>
                  </a:lnTo>
                  <a:lnTo>
                    <a:pt x="106" y="10"/>
                  </a:lnTo>
                  <a:lnTo>
                    <a:pt x="110" y="10"/>
                  </a:lnTo>
                  <a:lnTo>
                    <a:pt x="114" y="6"/>
                  </a:lnTo>
                  <a:lnTo>
                    <a:pt x="120" y="4"/>
                  </a:lnTo>
                  <a:lnTo>
                    <a:pt x="126" y="0"/>
                  </a:lnTo>
                  <a:lnTo>
                    <a:pt x="130" y="0"/>
                  </a:lnTo>
                  <a:lnTo>
                    <a:pt x="124" y="6"/>
                  </a:lnTo>
                  <a:lnTo>
                    <a:pt x="118" y="12"/>
                  </a:lnTo>
                  <a:lnTo>
                    <a:pt x="112" y="16"/>
                  </a:lnTo>
                  <a:lnTo>
                    <a:pt x="106" y="18"/>
                  </a:lnTo>
                  <a:lnTo>
                    <a:pt x="102" y="24"/>
                  </a:lnTo>
                  <a:lnTo>
                    <a:pt x="96" y="26"/>
                  </a:lnTo>
                  <a:lnTo>
                    <a:pt x="92" y="32"/>
                  </a:lnTo>
                  <a:lnTo>
                    <a:pt x="94" y="36"/>
                  </a:lnTo>
                  <a:lnTo>
                    <a:pt x="98" y="42"/>
                  </a:lnTo>
                  <a:lnTo>
                    <a:pt x="100" y="42"/>
                  </a:lnTo>
                  <a:lnTo>
                    <a:pt x="104" y="48"/>
                  </a:lnTo>
                  <a:lnTo>
                    <a:pt x="98" y="48"/>
                  </a:lnTo>
                  <a:lnTo>
                    <a:pt x="94" y="50"/>
                  </a:lnTo>
                  <a:lnTo>
                    <a:pt x="88" y="50"/>
                  </a:lnTo>
                  <a:lnTo>
                    <a:pt x="82" y="50"/>
                  </a:lnTo>
                  <a:lnTo>
                    <a:pt x="80" y="54"/>
                  </a:lnTo>
                  <a:lnTo>
                    <a:pt x="74" y="60"/>
                  </a:lnTo>
                  <a:lnTo>
                    <a:pt x="68" y="64"/>
                  </a:lnTo>
                  <a:lnTo>
                    <a:pt x="62" y="68"/>
                  </a:lnTo>
                  <a:lnTo>
                    <a:pt x="60" y="68"/>
                  </a:lnTo>
                  <a:lnTo>
                    <a:pt x="54" y="68"/>
                  </a:lnTo>
                  <a:lnTo>
                    <a:pt x="48" y="70"/>
                  </a:lnTo>
                  <a:lnTo>
                    <a:pt x="44" y="72"/>
                  </a:lnTo>
                  <a:lnTo>
                    <a:pt x="46" y="76"/>
                  </a:lnTo>
                  <a:lnTo>
                    <a:pt x="40" y="74"/>
                  </a:lnTo>
                  <a:lnTo>
                    <a:pt x="38" y="72"/>
                  </a:lnTo>
                  <a:lnTo>
                    <a:pt x="32" y="70"/>
                  </a:lnTo>
                  <a:lnTo>
                    <a:pt x="30" y="72"/>
                  </a:lnTo>
                  <a:lnTo>
                    <a:pt x="24" y="72"/>
                  </a:lnTo>
                  <a:lnTo>
                    <a:pt x="22" y="72"/>
                  </a:lnTo>
                  <a:lnTo>
                    <a:pt x="18" y="68"/>
                  </a:lnTo>
                  <a:lnTo>
                    <a:pt x="14" y="68"/>
                  </a:lnTo>
                  <a:lnTo>
                    <a:pt x="8" y="64"/>
                  </a:lnTo>
                  <a:lnTo>
                    <a:pt x="8" y="58"/>
                  </a:lnTo>
                  <a:lnTo>
                    <a:pt x="4" y="52"/>
                  </a:lnTo>
                  <a:lnTo>
                    <a:pt x="2" y="4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4" name="Freeform 91"/>
            <p:cNvSpPr>
              <a:spLocks/>
            </p:cNvSpPr>
            <p:nvPr/>
          </p:nvSpPr>
          <p:spPr bwMode="auto">
            <a:xfrm>
              <a:off x="4030663" y="3046413"/>
              <a:ext cx="80962" cy="146050"/>
            </a:xfrm>
            <a:custGeom>
              <a:avLst/>
              <a:gdLst>
                <a:gd name="T0" fmla="*/ 2147483647 w 198"/>
                <a:gd name="T1" fmla="*/ 2147483647 h 354"/>
                <a:gd name="T2" fmla="*/ 2147483647 w 198"/>
                <a:gd name="T3" fmla="*/ 2147483647 h 354"/>
                <a:gd name="T4" fmla="*/ 2147483647 w 198"/>
                <a:gd name="T5" fmla="*/ 2147483647 h 354"/>
                <a:gd name="T6" fmla="*/ 2147483647 w 198"/>
                <a:gd name="T7" fmla="*/ 2147483647 h 354"/>
                <a:gd name="T8" fmla="*/ 2147483647 w 198"/>
                <a:gd name="T9" fmla="*/ 2147483647 h 354"/>
                <a:gd name="T10" fmla="*/ 2147483647 w 198"/>
                <a:gd name="T11" fmla="*/ 2147483647 h 354"/>
                <a:gd name="T12" fmla="*/ 2147483647 w 198"/>
                <a:gd name="T13" fmla="*/ 2147483647 h 354"/>
                <a:gd name="T14" fmla="*/ 2147483647 w 198"/>
                <a:gd name="T15" fmla="*/ 2147483647 h 354"/>
                <a:gd name="T16" fmla="*/ 2147483647 w 198"/>
                <a:gd name="T17" fmla="*/ 2147483647 h 354"/>
                <a:gd name="T18" fmla="*/ 2147483647 w 198"/>
                <a:gd name="T19" fmla="*/ 2147483647 h 354"/>
                <a:gd name="T20" fmla="*/ 2147483647 w 198"/>
                <a:gd name="T21" fmla="*/ 2147483647 h 354"/>
                <a:gd name="T22" fmla="*/ 2147483647 w 198"/>
                <a:gd name="T23" fmla="*/ 2147483647 h 354"/>
                <a:gd name="T24" fmla="*/ 2147483647 w 198"/>
                <a:gd name="T25" fmla="*/ 0 h 354"/>
                <a:gd name="T26" fmla="*/ 2147483647 w 198"/>
                <a:gd name="T27" fmla="*/ 2147483647 h 354"/>
                <a:gd name="T28" fmla="*/ 2147483647 w 198"/>
                <a:gd name="T29" fmla="*/ 2147483647 h 354"/>
                <a:gd name="T30" fmla="*/ 2147483647 w 198"/>
                <a:gd name="T31" fmla="*/ 2147483647 h 354"/>
                <a:gd name="T32" fmla="*/ 2147483647 w 198"/>
                <a:gd name="T33" fmla="*/ 2147483647 h 354"/>
                <a:gd name="T34" fmla="*/ 2147483647 w 198"/>
                <a:gd name="T35" fmla="*/ 2147483647 h 354"/>
                <a:gd name="T36" fmla="*/ 2147483647 w 198"/>
                <a:gd name="T37" fmla="*/ 2147483647 h 354"/>
                <a:gd name="T38" fmla="*/ 2147483647 w 198"/>
                <a:gd name="T39" fmla="*/ 2147483647 h 354"/>
                <a:gd name="T40" fmla="*/ 2147483647 w 198"/>
                <a:gd name="T41" fmla="*/ 2147483647 h 354"/>
                <a:gd name="T42" fmla="*/ 2147483647 w 198"/>
                <a:gd name="T43" fmla="*/ 2147483647 h 354"/>
                <a:gd name="T44" fmla="*/ 2147483647 w 198"/>
                <a:gd name="T45" fmla="*/ 2147483647 h 354"/>
                <a:gd name="T46" fmla="*/ 2147483647 w 198"/>
                <a:gd name="T47" fmla="*/ 2147483647 h 354"/>
                <a:gd name="T48" fmla="*/ 2147483647 w 198"/>
                <a:gd name="T49" fmla="*/ 2147483647 h 354"/>
                <a:gd name="T50" fmla="*/ 2147483647 w 198"/>
                <a:gd name="T51" fmla="*/ 2147483647 h 354"/>
                <a:gd name="T52" fmla="*/ 2147483647 w 198"/>
                <a:gd name="T53" fmla="*/ 2147483647 h 354"/>
                <a:gd name="T54" fmla="*/ 2147483647 w 198"/>
                <a:gd name="T55" fmla="*/ 2147483647 h 354"/>
                <a:gd name="T56" fmla="*/ 2147483647 w 198"/>
                <a:gd name="T57" fmla="*/ 2147483647 h 354"/>
                <a:gd name="T58" fmla="*/ 2147483647 w 198"/>
                <a:gd name="T59" fmla="*/ 2147483647 h 354"/>
                <a:gd name="T60" fmla="*/ 2147483647 w 198"/>
                <a:gd name="T61" fmla="*/ 2147483647 h 354"/>
                <a:gd name="T62" fmla="*/ 2147483647 w 198"/>
                <a:gd name="T63" fmla="*/ 2147483647 h 354"/>
                <a:gd name="T64" fmla="*/ 2147483647 w 198"/>
                <a:gd name="T65" fmla="*/ 2147483647 h 354"/>
                <a:gd name="T66" fmla="*/ 2147483647 w 198"/>
                <a:gd name="T67" fmla="*/ 2147483647 h 354"/>
                <a:gd name="T68" fmla="*/ 2147483647 w 198"/>
                <a:gd name="T69" fmla="*/ 2147483647 h 354"/>
                <a:gd name="T70" fmla="*/ 2147483647 w 198"/>
                <a:gd name="T71" fmla="*/ 2147483647 h 354"/>
                <a:gd name="T72" fmla="*/ 2147483647 w 198"/>
                <a:gd name="T73" fmla="*/ 2147483647 h 354"/>
                <a:gd name="T74" fmla="*/ 2147483647 w 198"/>
                <a:gd name="T75" fmla="*/ 2147483647 h 354"/>
                <a:gd name="T76" fmla="*/ 2147483647 w 198"/>
                <a:gd name="T77" fmla="*/ 2147483647 h 354"/>
                <a:gd name="T78" fmla="*/ 2147483647 w 198"/>
                <a:gd name="T79" fmla="*/ 2147483647 h 354"/>
                <a:gd name="T80" fmla="*/ 2147483647 w 198"/>
                <a:gd name="T81" fmla="*/ 2147483647 h 354"/>
                <a:gd name="T82" fmla="*/ 2147483647 w 198"/>
                <a:gd name="T83" fmla="*/ 2147483647 h 354"/>
                <a:gd name="T84" fmla="*/ 2147483647 w 198"/>
                <a:gd name="T85" fmla="*/ 2147483647 h 354"/>
                <a:gd name="T86" fmla="*/ 2147483647 w 198"/>
                <a:gd name="T87" fmla="*/ 2147483647 h 354"/>
                <a:gd name="T88" fmla="*/ 2147483647 w 198"/>
                <a:gd name="T89" fmla="*/ 2147483647 h 354"/>
                <a:gd name="T90" fmla="*/ 2147483647 w 198"/>
                <a:gd name="T91" fmla="*/ 2147483647 h 354"/>
                <a:gd name="T92" fmla="*/ 2147483647 w 198"/>
                <a:gd name="T93" fmla="*/ 2147483647 h 354"/>
                <a:gd name="T94" fmla="*/ 2147483647 w 198"/>
                <a:gd name="T95" fmla="*/ 2147483647 h 354"/>
                <a:gd name="T96" fmla="*/ 2147483647 w 198"/>
                <a:gd name="T97" fmla="*/ 2147483647 h 354"/>
                <a:gd name="T98" fmla="*/ 2147483647 w 198"/>
                <a:gd name="T99" fmla="*/ 2147483647 h 354"/>
                <a:gd name="T100" fmla="*/ 2147483647 w 198"/>
                <a:gd name="T101" fmla="*/ 2147483647 h 354"/>
                <a:gd name="T102" fmla="*/ 2147483647 w 198"/>
                <a:gd name="T103" fmla="*/ 2147483647 h 354"/>
                <a:gd name="T104" fmla="*/ 2147483647 w 198"/>
                <a:gd name="T105" fmla="*/ 2147483647 h 354"/>
                <a:gd name="T106" fmla="*/ 2147483647 w 198"/>
                <a:gd name="T107" fmla="*/ 2147483647 h 354"/>
                <a:gd name="T108" fmla="*/ 2147483647 w 198"/>
                <a:gd name="T109" fmla="*/ 2147483647 h 354"/>
                <a:gd name="T110" fmla="*/ 2147483647 w 198"/>
                <a:gd name="T111" fmla="*/ 2147483647 h 354"/>
                <a:gd name="T112" fmla="*/ 2147483647 w 198"/>
                <a:gd name="T113" fmla="*/ 2147483647 h 354"/>
                <a:gd name="T114" fmla="*/ 2147483647 w 198"/>
                <a:gd name="T115" fmla="*/ 2147483647 h 354"/>
                <a:gd name="T116" fmla="*/ 2147483647 w 198"/>
                <a:gd name="T117" fmla="*/ 2147483647 h 354"/>
                <a:gd name="T118" fmla="*/ 2147483647 w 198"/>
                <a:gd name="T119" fmla="*/ 2147483647 h 3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8"/>
                <a:gd name="T181" fmla="*/ 0 h 354"/>
                <a:gd name="T182" fmla="*/ 198 w 198"/>
                <a:gd name="T183" fmla="*/ 354 h 3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8" h="354">
                  <a:moveTo>
                    <a:pt x="10" y="196"/>
                  </a:moveTo>
                  <a:lnTo>
                    <a:pt x="8" y="192"/>
                  </a:lnTo>
                  <a:lnTo>
                    <a:pt x="16" y="190"/>
                  </a:lnTo>
                  <a:lnTo>
                    <a:pt x="20" y="184"/>
                  </a:lnTo>
                  <a:lnTo>
                    <a:pt x="26" y="178"/>
                  </a:lnTo>
                  <a:lnTo>
                    <a:pt x="28" y="172"/>
                  </a:lnTo>
                  <a:lnTo>
                    <a:pt x="30" y="166"/>
                  </a:lnTo>
                  <a:lnTo>
                    <a:pt x="34" y="160"/>
                  </a:lnTo>
                  <a:lnTo>
                    <a:pt x="36" y="154"/>
                  </a:lnTo>
                  <a:lnTo>
                    <a:pt x="38" y="148"/>
                  </a:lnTo>
                  <a:lnTo>
                    <a:pt x="40" y="144"/>
                  </a:lnTo>
                  <a:lnTo>
                    <a:pt x="42" y="140"/>
                  </a:lnTo>
                  <a:lnTo>
                    <a:pt x="42" y="138"/>
                  </a:lnTo>
                  <a:lnTo>
                    <a:pt x="42" y="132"/>
                  </a:lnTo>
                  <a:lnTo>
                    <a:pt x="44" y="126"/>
                  </a:lnTo>
                  <a:lnTo>
                    <a:pt x="46" y="120"/>
                  </a:lnTo>
                  <a:lnTo>
                    <a:pt x="48" y="114"/>
                  </a:lnTo>
                  <a:lnTo>
                    <a:pt x="48" y="112"/>
                  </a:lnTo>
                  <a:lnTo>
                    <a:pt x="50" y="106"/>
                  </a:lnTo>
                  <a:lnTo>
                    <a:pt x="54" y="104"/>
                  </a:lnTo>
                  <a:lnTo>
                    <a:pt x="58" y="100"/>
                  </a:lnTo>
                  <a:lnTo>
                    <a:pt x="56" y="94"/>
                  </a:lnTo>
                  <a:lnTo>
                    <a:pt x="54" y="100"/>
                  </a:lnTo>
                  <a:lnTo>
                    <a:pt x="54" y="94"/>
                  </a:lnTo>
                  <a:lnTo>
                    <a:pt x="56" y="88"/>
                  </a:lnTo>
                  <a:lnTo>
                    <a:pt x="58" y="82"/>
                  </a:lnTo>
                  <a:lnTo>
                    <a:pt x="58" y="78"/>
                  </a:lnTo>
                  <a:lnTo>
                    <a:pt x="58" y="72"/>
                  </a:lnTo>
                  <a:lnTo>
                    <a:pt x="60" y="70"/>
                  </a:lnTo>
                  <a:lnTo>
                    <a:pt x="56" y="66"/>
                  </a:lnTo>
                  <a:lnTo>
                    <a:pt x="56" y="60"/>
                  </a:lnTo>
                  <a:lnTo>
                    <a:pt x="54" y="56"/>
                  </a:lnTo>
                  <a:lnTo>
                    <a:pt x="54" y="50"/>
                  </a:lnTo>
                  <a:lnTo>
                    <a:pt x="54" y="48"/>
                  </a:lnTo>
                  <a:lnTo>
                    <a:pt x="54" y="42"/>
                  </a:lnTo>
                  <a:lnTo>
                    <a:pt x="52" y="38"/>
                  </a:lnTo>
                  <a:lnTo>
                    <a:pt x="52" y="32"/>
                  </a:lnTo>
                  <a:lnTo>
                    <a:pt x="54" y="32"/>
                  </a:lnTo>
                  <a:lnTo>
                    <a:pt x="58" y="32"/>
                  </a:lnTo>
                  <a:lnTo>
                    <a:pt x="52" y="32"/>
                  </a:lnTo>
                  <a:lnTo>
                    <a:pt x="50" y="26"/>
                  </a:lnTo>
                  <a:lnTo>
                    <a:pt x="52" y="20"/>
                  </a:lnTo>
                  <a:lnTo>
                    <a:pt x="58" y="16"/>
                  </a:lnTo>
                  <a:lnTo>
                    <a:pt x="58" y="14"/>
                  </a:lnTo>
                  <a:lnTo>
                    <a:pt x="64" y="8"/>
                  </a:lnTo>
                  <a:lnTo>
                    <a:pt x="70" y="6"/>
                  </a:lnTo>
                  <a:lnTo>
                    <a:pt x="76" y="6"/>
                  </a:lnTo>
                  <a:lnTo>
                    <a:pt x="82" y="4"/>
                  </a:lnTo>
                  <a:lnTo>
                    <a:pt x="88" y="2"/>
                  </a:lnTo>
                  <a:lnTo>
                    <a:pt x="90" y="0"/>
                  </a:lnTo>
                  <a:lnTo>
                    <a:pt x="90" y="6"/>
                  </a:lnTo>
                  <a:lnTo>
                    <a:pt x="96" y="8"/>
                  </a:lnTo>
                  <a:lnTo>
                    <a:pt x="90" y="14"/>
                  </a:lnTo>
                  <a:lnTo>
                    <a:pt x="88" y="18"/>
                  </a:lnTo>
                  <a:lnTo>
                    <a:pt x="88" y="20"/>
                  </a:lnTo>
                  <a:lnTo>
                    <a:pt x="90" y="20"/>
                  </a:lnTo>
                  <a:lnTo>
                    <a:pt x="90" y="24"/>
                  </a:lnTo>
                  <a:lnTo>
                    <a:pt x="96" y="24"/>
                  </a:lnTo>
                  <a:lnTo>
                    <a:pt x="102" y="20"/>
                  </a:lnTo>
                  <a:lnTo>
                    <a:pt x="108" y="20"/>
                  </a:lnTo>
                  <a:lnTo>
                    <a:pt x="114" y="18"/>
                  </a:lnTo>
                  <a:lnTo>
                    <a:pt x="120" y="20"/>
                  </a:lnTo>
                  <a:lnTo>
                    <a:pt x="126" y="22"/>
                  </a:lnTo>
                  <a:lnTo>
                    <a:pt x="132" y="24"/>
                  </a:lnTo>
                  <a:lnTo>
                    <a:pt x="138" y="22"/>
                  </a:lnTo>
                  <a:lnTo>
                    <a:pt x="144" y="18"/>
                  </a:lnTo>
                  <a:lnTo>
                    <a:pt x="146" y="14"/>
                  </a:lnTo>
                  <a:lnTo>
                    <a:pt x="152" y="14"/>
                  </a:lnTo>
                  <a:lnTo>
                    <a:pt x="156" y="14"/>
                  </a:lnTo>
                  <a:lnTo>
                    <a:pt x="160" y="14"/>
                  </a:lnTo>
                  <a:lnTo>
                    <a:pt x="164" y="14"/>
                  </a:lnTo>
                  <a:lnTo>
                    <a:pt x="172" y="16"/>
                  </a:lnTo>
                  <a:lnTo>
                    <a:pt x="178" y="14"/>
                  </a:lnTo>
                  <a:lnTo>
                    <a:pt x="182" y="20"/>
                  </a:lnTo>
                  <a:lnTo>
                    <a:pt x="180" y="26"/>
                  </a:lnTo>
                  <a:lnTo>
                    <a:pt x="180" y="30"/>
                  </a:lnTo>
                  <a:lnTo>
                    <a:pt x="186" y="32"/>
                  </a:lnTo>
                  <a:lnTo>
                    <a:pt x="192" y="34"/>
                  </a:lnTo>
                  <a:lnTo>
                    <a:pt x="198" y="38"/>
                  </a:lnTo>
                  <a:lnTo>
                    <a:pt x="198" y="40"/>
                  </a:lnTo>
                  <a:lnTo>
                    <a:pt x="194" y="46"/>
                  </a:lnTo>
                  <a:lnTo>
                    <a:pt x="190" y="52"/>
                  </a:lnTo>
                  <a:lnTo>
                    <a:pt x="186" y="56"/>
                  </a:lnTo>
                  <a:lnTo>
                    <a:pt x="182" y="60"/>
                  </a:lnTo>
                  <a:lnTo>
                    <a:pt x="176" y="64"/>
                  </a:lnTo>
                  <a:lnTo>
                    <a:pt x="170" y="64"/>
                  </a:lnTo>
                  <a:lnTo>
                    <a:pt x="164" y="70"/>
                  </a:lnTo>
                  <a:lnTo>
                    <a:pt x="162" y="76"/>
                  </a:lnTo>
                  <a:lnTo>
                    <a:pt x="156" y="76"/>
                  </a:lnTo>
                  <a:lnTo>
                    <a:pt x="156" y="78"/>
                  </a:lnTo>
                  <a:lnTo>
                    <a:pt x="156" y="80"/>
                  </a:lnTo>
                  <a:lnTo>
                    <a:pt x="160" y="86"/>
                  </a:lnTo>
                  <a:lnTo>
                    <a:pt x="162" y="90"/>
                  </a:lnTo>
                  <a:lnTo>
                    <a:pt x="160" y="96"/>
                  </a:lnTo>
                  <a:lnTo>
                    <a:pt x="160" y="102"/>
                  </a:lnTo>
                  <a:lnTo>
                    <a:pt x="160" y="106"/>
                  </a:lnTo>
                  <a:lnTo>
                    <a:pt x="158" y="108"/>
                  </a:lnTo>
                  <a:lnTo>
                    <a:pt x="160" y="114"/>
                  </a:lnTo>
                  <a:lnTo>
                    <a:pt x="158" y="120"/>
                  </a:lnTo>
                  <a:lnTo>
                    <a:pt x="160" y="126"/>
                  </a:lnTo>
                  <a:lnTo>
                    <a:pt x="156" y="130"/>
                  </a:lnTo>
                  <a:lnTo>
                    <a:pt x="150" y="130"/>
                  </a:lnTo>
                  <a:lnTo>
                    <a:pt x="146" y="136"/>
                  </a:lnTo>
                  <a:lnTo>
                    <a:pt x="152" y="142"/>
                  </a:lnTo>
                  <a:lnTo>
                    <a:pt x="152" y="148"/>
                  </a:lnTo>
                  <a:lnTo>
                    <a:pt x="152" y="154"/>
                  </a:lnTo>
                  <a:lnTo>
                    <a:pt x="148" y="160"/>
                  </a:lnTo>
                  <a:lnTo>
                    <a:pt x="146" y="160"/>
                  </a:lnTo>
                  <a:lnTo>
                    <a:pt x="146" y="162"/>
                  </a:lnTo>
                  <a:lnTo>
                    <a:pt x="146" y="166"/>
                  </a:lnTo>
                  <a:lnTo>
                    <a:pt x="144" y="170"/>
                  </a:lnTo>
                  <a:lnTo>
                    <a:pt x="142" y="172"/>
                  </a:lnTo>
                  <a:lnTo>
                    <a:pt x="136" y="172"/>
                  </a:lnTo>
                  <a:lnTo>
                    <a:pt x="130" y="170"/>
                  </a:lnTo>
                  <a:lnTo>
                    <a:pt x="122" y="172"/>
                  </a:lnTo>
                  <a:lnTo>
                    <a:pt x="118" y="172"/>
                  </a:lnTo>
                  <a:lnTo>
                    <a:pt x="114" y="170"/>
                  </a:lnTo>
                  <a:lnTo>
                    <a:pt x="118" y="178"/>
                  </a:lnTo>
                  <a:lnTo>
                    <a:pt x="122" y="182"/>
                  </a:lnTo>
                  <a:lnTo>
                    <a:pt x="126" y="184"/>
                  </a:lnTo>
                  <a:lnTo>
                    <a:pt x="126" y="192"/>
                  </a:lnTo>
                  <a:lnTo>
                    <a:pt x="130" y="198"/>
                  </a:lnTo>
                  <a:lnTo>
                    <a:pt x="132" y="204"/>
                  </a:lnTo>
                  <a:lnTo>
                    <a:pt x="138" y="210"/>
                  </a:lnTo>
                  <a:lnTo>
                    <a:pt x="140" y="208"/>
                  </a:lnTo>
                  <a:lnTo>
                    <a:pt x="144" y="214"/>
                  </a:lnTo>
                  <a:lnTo>
                    <a:pt x="144" y="216"/>
                  </a:lnTo>
                  <a:lnTo>
                    <a:pt x="140" y="222"/>
                  </a:lnTo>
                  <a:lnTo>
                    <a:pt x="140" y="226"/>
                  </a:lnTo>
                  <a:lnTo>
                    <a:pt x="136" y="228"/>
                  </a:lnTo>
                  <a:lnTo>
                    <a:pt x="130" y="234"/>
                  </a:lnTo>
                  <a:lnTo>
                    <a:pt x="128" y="234"/>
                  </a:lnTo>
                  <a:lnTo>
                    <a:pt x="124" y="240"/>
                  </a:lnTo>
                  <a:lnTo>
                    <a:pt x="124" y="246"/>
                  </a:lnTo>
                  <a:lnTo>
                    <a:pt x="122" y="252"/>
                  </a:lnTo>
                  <a:lnTo>
                    <a:pt x="122" y="254"/>
                  </a:lnTo>
                  <a:lnTo>
                    <a:pt x="120" y="256"/>
                  </a:lnTo>
                  <a:lnTo>
                    <a:pt x="124" y="260"/>
                  </a:lnTo>
                  <a:lnTo>
                    <a:pt x="128" y="266"/>
                  </a:lnTo>
                  <a:lnTo>
                    <a:pt x="132" y="272"/>
                  </a:lnTo>
                  <a:lnTo>
                    <a:pt x="138" y="272"/>
                  </a:lnTo>
                  <a:lnTo>
                    <a:pt x="142" y="272"/>
                  </a:lnTo>
                  <a:lnTo>
                    <a:pt x="140" y="278"/>
                  </a:lnTo>
                  <a:lnTo>
                    <a:pt x="136" y="284"/>
                  </a:lnTo>
                  <a:lnTo>
                    <a:pt x="130" y="282"/>
                  </a:lnTo>
                  <a:lnTo>
                    <a:pt x="126" y="286"/>
                  </a:lnTo>
                  <a:lnTo>
                    <a:pt x="122" y="288"/>
                  </a:lnTo>
                  <a:lnTo>
                    <a:pt x="122" y="290"/>
                  </a:lnTo>
                  <a:lnTo>
                    <a:pt x="120" y="296"/>
                  </a:lnTo>
                  <a:lnTo>
                    <a:pt x="114" y="302"/>
                  </a:lnTo>
                  <a:lnTo>
                    <a:pt x="110" y="308"/>
                  </a:lnTo>
                  <a:lnTo>
                    <a:pt x="106" y="314"/>
                  </a:lnTo>
                  <a:lnTo>
                    <a:pt x="106" y="318"/>
                  </a:lnTo>
                  <a:lnTo>
                    <a:pt x="108" y="324"/>
                  </a:lnTo>
                  <a:lnTo>
                    <a:pt x="110" y="330"/>
                  </a:lnTo>
                  <a:lnTo>
                    <a:pt x="110" y="336"/>
                  </a:lnTo>
                  <a:lnTo>
                    <a:pt x="110" y="338"/>
                  </a:lnTo>
                  <a:lnTo>
                    <a:pt x="110" y="342"/>
                  </a:lnTo>
                  <a:lnTo>
                    <a:pt x="104" y="344"/>
                  </a:lnTo>
                  <a:lnTo>
                    <a:pt x="98" y="348"/>
                  </a:lnTo>
                  <a:lnTo>
                    <a:pt x="92" y="352"/>
                  </a:lnTo>
                  <a:lnTo>
                    <a:pt x="88" y="352"/>
                  </a:lnTo>
                  <a:lnTo>
                    <a:pt x="82" y="354"/>
                  </a:lnTo>
                  <a:lnTo>
                    <a:pt x="76" y="352"/>
                  </a:lnTo>
                  <a:lnTo>
                    <a:pt x="70" y="350"/>
                  </a:lnTo>
                  <a:lnTo>
                    <a:pt x="64" y="348"/>
                  </a:lnTo>
                  <a:lnTo>
                    <a:pt x="58" y="350"/>
                  </a:lnTo>
                  <a:lnTo>
                    <a:pt x="52" y="348"/>
                  </a:lnTo>
                  <a:lnTo>
                    <a:pt x="46" y="346"/>
                  </a:lnTo>
                  <a:lnTo>
                    <a:pt x="46" y="344"/>
                  </a:lnTo>
                  <a:lnTo>
                    <a:pt x="46" y="346"/>
                  </a:lnTo>
                  <a:lnTo>
                    <a:pt x="40" y="346"/>
                  </a:lnTo>
                  <a:lnTo>
                    <a:pt x="34" y="350"/>
                  </a:lnTo>
                  <a:lnTo>
                    <a:pt x="28" y="350"/>
                  </a:lnTo>
                  <a:lnTo>
                    <a:pt x="22" y="354"/>
                  </a:lnTo>
                  <a:lnTo>
                    <a:pt x="20" y="348"/>
                  </a:lnTo>
                  <a:lnTo>
                    <a:pt x="24" y="344"/>
                  </a:lnTo>
                  <a:lnTo>
                    <a:pt x="28" y="338"/>
                  </a:lnTo>
                  <a:lnTo>
                    <a:pt x="28" y="332"/>
                  </a:lnTo>
                  <a:lnTo>
                    <a:pt x="32" y="326"/>
                  </a:lnTo>
                  <a:lnTo>
                    <a:pt x="32" y="324"/>
                  </a:lnTo>
                  <a:lnTo>
                    <a:pt x="34" y="318"/>
                  </a:lnTo>
                  <a:lnTo>
                    <a:pt x="32" y="312"/>
                  </a:lnTo>
                  <a:lnTo>
                    <a:pt x="34" y="306"/>
                  </a:lnTo>
                  <a:lnTo>
                    <a:pt x="36" y="306"/>
                  </a:lnTo>
                  <a:lnTo>
                    <a:pt x="34" y="298"/>
                  </a:lnTo>
                  <a:lnTo>
                    <a:pt x="34" y="292"/>
                  </a:lnTo>
                  <a:lnTo>
                    <a:pt x="30" y="290"/>
                  </a:lnTo>
                  <a:lnTo>
                    <a:pt x="34" y="284"/>
                  </a:lnTo>
                  <a:lnTo>
                    <a:pt x="36" y="278"/>
                  </a:lnTo>
                  <a:lnTo>
                    <a:pt x="38" y="272"/>
                  </a:lnTo>
                  <a:lnTo>
                    <a:pt x="38" y="264"/>
                  </a:lnTo>
                  <a:lnTo>
                    <a:pt x="36" y="258"/>
                  </a:lnTo>
                  <a:lnTo>
                    <a:pt x="34" y="254"/>
                  </a:lnTo>
                  <a:lnTo>
                    <a:pt x="36" y="258"/>
                  </a:lnTo>
                  <a:lnTo>
                    <a:pt x="42" y="254"/>
                  </a:lnTo>
                  <a:lnTo>
                    <a:pt x="42" y="246"/>
                  </a:lnTo>
                  <a:lnTo>
                    <a:pt x="40" y="248"/>
                  </a:lnTo>
                  <a:lnTo>
                    <a:pt x="36" y="254"/>
                  </a:lnTo>
                  <a:lnTo>
                    <a:pt x="30" y="250"/>
                  </a:lnTo>
                  <a:lnTo>
                    <a:pt x="24" y="254"/>
                  </a:lnTo>
                  <a:lnTo>
                    <a:pt x="18" y="256"/>
                  </a:lnTo>
                  <a:lnTo>
                    <a:pt x="12" y="258"/>
                  </a:lnTo>
                  <a:lnTo>
                    <a:pt x="16" y="252"/>
                  </a:lnTo>
                  <a:lnTo>
                    <a:pt x="14" y="246"/>
                  </a:lnTo>
                  <a:lnTo>
                    <a:pt x="16" y="240"/>
                  </a:lnTo>
                  <a:lnTo>
                    <a:pt x="22" y="242"/>
                  </a:lnTo>
                  <a:lnTo>
                    <a:pt x="24" y="236"/>
                  </a:lnTo>
                  <a:lnTo>
                    <a:pt x="32" y="234"/>
                  </a:lnTo>
                  <a:lnTo>
                    <a:pt x="30" y="228"/>
                  </a:lnTo>
                  <a:lnTo>
                    <a:pt x="28" y="222"/>
                  </a:lnTo>
                  <a:lnTo>
                    <a:pt x="30" y="220"/>
                  </a:lnTo>
                  <a:lnTo>
                    <a:pt x="24" y="226"/>
                  </a:lnTo>
                  <a:lnTo>
                    <a:pt x="22" y="232"/>
                  </a:lnTo>
                  <a:lnTo>
                    <a:pt x="16" y="238"/>
                  </a:lnTo>
                  <a:lnTo>
                    <a:pt x="10" y="238"/>
                  </a:lnTo>
                  <a:lnTo>
                    <a:pt x="4" y="238"/>
                  </a:lnTo>
                  <a:lnTo>
                    <a:pt x="0" y="232"/>
                  </a:lnTo>
                  <a:lnTo>
                    <a:pt x="2" y="226"/>
                  </a:lnTo>
                  <a:lnTo>
                    <a:pt x="4" y="220"/>
                  </a:lnTo>
                  <a:lnTo>
                    <a:pt x="4" y="214"/>
                  </a:lnTo>
                  <a:lnTo>
                    <a:pt x="6" y="208"/>
                  </a:lnTo>
                  <a:lnTo>
                    <a:pt x="10" y="202"/>
                  </a:lnTo>
                  <a:lnTo>
                    <a:pt x="10" y="19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5" name="Freeform 92"/>
            <p:cNvSpPr>
              <a:spLocks/>
            </p:cNvSpPr>
            <p:nvPr/>
          </p:nvSpPr>
          <p:spPr bwMode="auto">
            <a:xfrm>
              <a:off x="4846638" y="3048000"/>
              <a:ext cx="68262" cy="57150"/>
            </a:xfrm>
            <a:custGeom>
              <a:avLst/>
              <a:gdLst>
                <a:gd name="T0" fmla="*/ 2147483647 w 168"/>
                <a:gd name="T1" fmla="*/ 2147483647 h 140"/>
                <a:gd name="T2" fmla="*/ 2147483647 w 168"/>
                <a:gd name="T3" fmla="*/ 2147483647 h 140"/>
                <a:gd name="T4" fmla="*/ 2147483647 w 168"/>
                <a:gd name="T5" fmla="*/ 2147483647 h 140"/>
                <a:gd name="T6" fmla="*/ 2147483647 w 168"/>
                <a:gd name="T7" fmla="*/ 2147483647 h 140"/>
                <a:gd name="T8" fmla="*/ 2147483647 w 168"/>
                <a:gd name="T9" fmla="*/ 2147483647 h 140"/>
                <a:gd name="T10" fmla="*/ 2147483647 w 168"/>
                <a:gd name="T11" fmla="*/ 2147483647 h 140"/>
                <a:gd name="T12" fmla="*/ 2147483647 w 168"/>
                <a:gd name="T13" fmla="*/ 2147483647 h 140"/>
                <a:gd name="T14" fmla="*/ 2147483647 w 168"/>
                <a:gd name="T15" fmla="*/ 2147483647 h 140"/>
                <a:gd name="T16" fmla="*/ 2147483647 w 168"/>
                <a:gd name="T17" fmla="*/ 2147483647 h 140"/>
                <a:gd name="T18" fmla="*/ 2147483647 w 168"/>
                <a:gd name="T19" fmla="*/ 2147483647 h 140"/>
                <a:gd name="T20" fmla="*/ 2147483647 w 168"/>
                <a:gd name="T21" fmla="*/ 2147483647 h 140"/>
                <a:gd name="T22" fmla="*/ 2147483647 w 168"/>
                <a:gd name="T23" fmla="*/ 2147483647 h 140"/>
                <a:gd name="T24" fmla="*/ 2147483647 w 168"/>
                <a:gd name="T25" fmla="*/ 2147483647 h 140"/>
                <a:gd name="T26" fmla="*/ 2147483647 w 168"/>
                <a:gd name="T27" fmla="*/ 2147483647 h 140"/>
                <a:gd name="T28" fmla="*/ 2147483647 w 168"/>
                <a:gd name="T29" fmla="*/ 2147483647 h 140"/>
                <a:gd name="T30" fmla="*/ 2147483647 w 168"/>
                <a:gd name="T31" fmla="*/ 2147483647 h 140"/>
                <a:gd name="T32" fmla="*/ 2147483647 w 168"/>
                <a:gd name="T33" fmla="*/ 2147483647 h 140"/>
                <a:gd name="T34" fmla="*/ 2147483647 w 168"/>
                <a:gd name="T35" fmla="*/ 2147483647 h 140"/>
                <a:gd name="T36" fmla="*/ 2147483647 w 168"/>
                <a:gd name="T37" fmla="*/ 2147483647 h 140"/>
                <a:gd name="T38" fmla="*/ 2147483647 w 168"/>
                <a:gd name="T39" fmla="*/ 2147483647 h 140"/>
                <a:gd name="T40" fmla="*/ 2147483647 w 168"/>
                <a:gd name="T41" fmla="*/ 2147483647 h 140"/>
                <a:gd name="T42" fmla="*/ 2147483647 w 168"/>
                <a:gd name="T43" fmla="*/ 2147483647 h 140"/>
                <a:gd name="T44" fmla="*/ 2147483647 w 168"/>
                <a:gd name="T45" fmla="*/ 2147483647 h 140"/>
                <a:gd name="T46" fmla="*/ 2147483647 w 168"/>
                <a:gd name="T47" fmla="*/ 2147483647 h 140"/>
                <a:gd name="T48" fmla="*/ 2147483647 w 168"/>
                <a:gd name="T49" fmla="*/ 2147483647 h 140"/>
                <a:gd name="T50" fmla="*/ 2147483647 w 168"/>
                <a:gd name="T51" fmla="*/ 2147483647 h 140"/>
                <a:gd name="T52" fmla="*/ 2147483647 w 168"/>
                <a:gd name="T53" fmla="*/ 2147483647 h 140"/>
                <a:gd name="T54" fmla="*/ 2147483647 w 168"/>
                <a:gd name="T55" fmla="*/ 2147483647 h 140"/>
                <a:gd name="T56" fmla="*/ 2147483647 w 168"/>
                <a:gd name="T57" fmla="*/ 2147483647 h 140"/>
                <a:gd name="T58" fmla="*/ 2147483647 w 168"/>
                <a:gd name="T59" fmla="*/ 2147483647 h 140"/>
                <a:gd name="T60" fmla="*/ 2147483647 w 168"/>
                <a:gd name="T61" fmla="*/ 2147483647 h 140"/>
                <a:gd name="T62" fmla="*/ 2147483647 w 168"/>
                <a:gd name="T63" fmla="*/ 2147483647 h 140"/>
                <a:gd name="T64" fmla="*/ 2147483647 w 168"/>
                <a:gd name="T65" fmla="*/ 2147483647 h 140"/>
                <a:gd name="T66" fmla="*/ 2147483647 w 168"/>
                <a:gd name="T67" fmla="*/ 2147483647 h 140"/>
                <a:gd name="T68" fmla="*/ 2147483647 w 168"/>
                <a:gd name="T69" fmla="*/ 2147483647 h 140"/>
                <a:gd name="T70" fmla="*/ 2147483647 w 168"/>
                <a:gd name="T71" fmla="*/ 2147483647 h 140"/>
                <a:gd name="T72" fmla="*/ 2147483647 w 168"/>
                <a:gd name="T73" fmla="*/ 2147483647 h 140"/>
                <a:gd name="T74" fmla="*/ 2147483647 w 168"/>
                <a:gd name="T75" fmla="*/ 2147483647 h 140"/>
                <a:gd name="T76" fmla="*/ 2147483647 w 168"/>
                <a:gd name="T77" fmla="*/ 2147483647 h 140"/>
                <a:gd name="T78" fmla="*/ 2147483647 w 168"/>
                <a:gd name="T79" fmla="*/ 2147483647 h 140"/>
                <a:gd name="T80" fmla="*/ 2147483647 w 168"/>
                <a:gd name="T81" fmla="*/ 2147483647 h 140"/>
                <a:gd name="T82" fmla="*/ 2147483647 w 168"/>
                <a:gd name="T83" fmla="*/ 2147483647 h 140"/>
                <a:gd name="T84" fmla="*/ 2147483647 w 168"/>
                <a:gd name="T85" fmla="*/ 2147483647 h 140"/>
                <a:gd name="T86" fmla="*/ 2147483647 w 168"/>
                <a:gd name="T87" fmla="*/ 2147483647 h 140"/>
                <a:gd name="T88" fmla="*/ 2147483647 w 168"/>
                <a:gd name="T89" fmla="*/ 2147483647 h 140"/>
                <a:gd name="T90" fmla="*/ 2147483647 w 168"/>
                <a:gd name="T91" fmla="*/ 2147483647 h 140"/>
                <a:gd name="T92" fmla="*/ 2147483647 w 168"/>
                <a:gd name="T93" fmla="*/ 2147483647 h 140"/>
                <a:gd name="T94" fmla="*/ 2147483647 w 168"/>
                <a:gd name="T95" fmla="*/ 2147483647 h 140"/>
                <a:gd name="T96" fmla="*/ 2147483647 w 168"/>
                <a:gd name="T97" fmla="*/ 2147483647 h 140"/>
                <a:gd name="T98" fmla="*/ 2147483647 w 168"/>
                <a:gd name="T99" fmla="*/ 2147483647 h 140"/>
                <a:gd name="T100" fmla="*/ 2147483647 w 168"/>
                <a:gd name="T101" fmla="*/ 2147483647 h 140"/>
                <a:gd name="T102" fmla="*/ 2147483647 w 168"/>
                <a:gd name="T103" fmla="*/ 2147483647 h 140"/>
                <a:gd name="T104" fmla="*/ 0 w 168"/>
                <a:gd name="T105" fmla="*/ 2147483647 h 1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8"/>
                <a:gd name="T160" fmla="*/ 0 h 140"/>
                <a:gd name="T161" fmla="*/ 168 w 168"/>
                <a:gd name="T162" fmla="*/ 140 h 1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68" h="140">
                  <a:moveTo>
                    <a:pt x="0" y="94"/>
                  </a:moveTo>
                  <a:lnTo>
                    <a:pt x="6" y="90"/>
                  </a:lnTo>
                  <a:lnTo>
                    <a:pt x="10" y="84"/>
                  </a:lnTo>
                  <a:lnTo>
                    <a:pt x="16" y="80"/>
                  </a:lnTo>
                  <a:lnTo>
                    <a:pt x="18" y="76"/>
                  </a:lnTo>
                  <a:lnTo>
                    <a:pt x="14" y="70"/>
                  </a:lnTo>
                  <a:lnTo>
                    <a:pt x="14" y="64"/>
                  </a:lnTo>
                  <a:lnTo>
                    <a:pt x="20" y="58"/>
                  </a:lnTo>
                  <a:lnTo>
                    <a:pt x="26" y="52"/>
                  </a:lnTo>
                  <a:lnTo>
                    <a:pt x="32" y="50"/>
                  </a:lnTo>
                  <a:lnTo>
                    <a:pt x="30" y="46"/>
                  </a:lnTo>
                  <a:lnTo>
                    <a:pt x="28" y="40"/>
                  </a:lnTo>
                  <a:lnTo>
                    <a:pt x="28" y="34"/>
                  </a:lnTo>
                  <a:lnTo>
                    <a:pt x="24" y="32"/>
                  </a:lnTo>
                  <a:lnTo>
                    <a:pt x="22" y="30"/>
                  </a:lnTo>
                  <a:lnTo>
                    <a:pt x="20" y="30"/>
                  </a:lnTo>
                  <a:lnTo>
                    <a:pt x="14" y="26"/>
                  </a:lnTo>
                  <a:lnTo>
                    <a:pt x="12" y="26"/>
                  </a:lnTo>
                  <a:lnTo>
                    <a:pt x="12" y="22"/>
                  </a:lnTo>
                  <a:lnTo>
                    <a:pt x="18" y="18"/>
                  </a:lnTo>
                  <a:lnTo>
                    <a:pt x="24" y="16"/>
                  </a:lnTo>
                  <a:lnTo>
                    <a:pt x="24" y="14"/>
                  </a:lnTo>
                  <a:lnTo>
                    <a:pt x="24" y="12"/>
                  </a:lnTo>
                  <a:lnTo>
                    <a:pt x="28" y="8"/>
                  </a:lnTo>
                  <a:lnTo>
                    <a:pt x="34" y="10"/>
                  </a:lnTo>
                  <a:lnTo>
                    <a:pt x="40" y="8"/>
                  </a:lnTo>
                  <a:lnTo>
                    <a:pt x="46" y="6"/>
                  </a:lnTo>
                  <a:lnTo>
                    <a:pt x="46" y="4"/>
                  </a:lnTo>
                  <a:lnTo>
                    <a:pt x="50" y="0"/>
                  </a:lnTo>
                  <a:lnTo>
                    <a:pt x="56" y="2"/>
                  </a:lnTo>
                  <a:lnTo>
                    <a:pt x="62" y="0"/>
                  </a:lnTo>
                  <a:lnTo>
                    <a:pt x="68" y="2"/>
                  </a:lnTo>
                  <a:lnTo>
                    <a:pt x="72" y="8"/>
                  </a:lnTo>
                  <a:lnTo>
                    <a:pt x="76" y="10"/>
                  </a:lnTo>
                  <a:lnTo>
                    <a:pt x="82" y="12"/>
                  </a:lnTo>
                  <a:lnTo>
                    <a:pt x="88" y="8"/>
                  </a:lnTo>
                  <a:lnTo>
                    <a:pt x="92" y="10"/>
                  </a:lnTo>
                  <a:lnTo>
                    <a:pt x="98" y="8"/>
                  </a:lnTo>
                  <a:lnTo>
                    <a:pt x="104" y="8"/>
                  </a:lnTo>
                  <a:lnTo>
                    <a:pt x="106" y="14"/>
                  </a:lnTo>
                  <a:lnTo>
                    <a:pt x="104" y="20"/>
                  </a:lnTo>
                  <a:lnTo>
                    <a:pt x="108" y="26"/>
                  </a:lnTo>
                  <a:lnTo>
                    <a:pt x="110" y="32"/>
                  </a:lnTo>
                  <a:lnTo>
                    <a:pt x="116" y="38"/>
                  </a:lnTo>
                  <a:lnTo>
                    <a:pt x="118" y="38"/>
                  </a:lnTo>
                  <a:lnTo>
                    <a:pt x="124" y="42"/>
                  </a:lnTo>
                  <a:lnTo>
                    <a:pt x="130" y="46"/>
                  </a:lnTo>
                  <a:lnTo>
                    <a:pt x="134" y="48"/>
                  </a:lnTo>
                  <a:lnTo>
                    <a:pt x="142" y="50"/>
                  </a:lnTo>
                  <a:lnTo>
                    <a:pt x="148" y="52"/>
                  </a:lnTo>
                  <a:lnTo>
                    <a:pt x="152" y="56"/>
                  </a:lnTo>
                  <a:lnTo>
                    <a:pt x="160" y="58"/>
                  </a:lnTo>
                  <a:lnTo>
                    <a:pt x="164" y="60"/>
                  </a:lnTo>
                  <a:lnTo>
                    <a:pt x="166" y="64"/>
                  </a:lnTo>
                  <a:lnTo>
                    <a:pt x="168" y="70"/>
                  </a:lnTo>
                  <a:lnTo>
                    <a:pt x="162" y="76"/>
                  </a:lnTo>
                  <a:lnTo>
                    <a:pt x="156" y="78"/>
                  </a:lnTo>
                  <a:lnTo>
                    <a:pt x="150" y="78"/>
                  </a:lnTo>
                  <a:lnTo>
                    <a:pt x="144" y="78"/>
                  </a:lnTo>
                  <a:lnTo>
                    <a:pt x="142" y="72"/>
                  </a:lnTo>
                  <a:lnTo>
                    <a:pt x="140" y="74"/>
                  </a:lnTo>
                  <a:lnTo>
                    <a:pt x="134" y="74"/>
                  </a:lnTo>
                  <a:lnTo>
                    <a:pt x="128" y="72"/>
                  </a:lnTo>
                  <a:lnTo>
                    <a:pt x="122" y="70"/>
                  </a:lnTo>
                  <a:lnTo>
                    <a:pt x="118" y="70"/>
                  </a:lnTo>
                  <a:lnTo>
                    <a:pt x="112" y="72"/>
                  </a:lnTo>
                  <a:lnTo>
                    <a:pt x="110" y="72"/>
                  </a:lnTo>
                  <a:lnTo>
                    <a:pt x="104" y="78"/>
                  </a:lnTo>
                  <a:lnTo>
                    <a:pt x="98" y="76"/>
                  </a:lnTo>
                  <a:lnTo>
                    <a:pt x="92" y="74"/>
                  </a:lnTo>
                  <a:lnTo>
                    <a:pt x="86" y="76"/>
                  </a:lnTo>
                  <a:lnTo>
                    <a:pt x="80" y="78"/>
                  </a:lnTo>
                  <a:lnTo>
                    <a:pt x="80" y="84"/>
                  </a:lnTo>
                  <a:lnTo>
                    <a:pt x="74" y="90"/>
                  </a:lnTo>
                  <a:lnTo>
                    <a:pt x="72" y="96"/>
                  </a:lnTo>
                  <a:lnTo>
                    <a:pt x="66" y="100"/>
                  </a:lnTo>
                  <a:lnTo>
                    <a:pt x="60" y="102"/>
                  </a:lnTo>
                  <a:lnTo>
                    <a:pt x="54" y="106"/>
                  </a:lnTo>
                  <a:lnTo>
                    <a:pt x="48" y="108"/>
                  </a:lnTo>
                  <a:lnTo>
                    <a:pt x="42" y="110"/>
                  </a:lnTo>
                  <a:lnTo>
                    <a:pt x="36" y="116"/>
                  </a:lnTo>
                  <a:lnTo>
                    <a:pt x="32" y="122"/>
                  </a:lnTo>
                  <a:lnTo>
                    <a:pt x="26" y="128"/>
                  </a:lnTo>
                  <a:lnTo>
                    <a:pt x="20" y="130"/>
                  </a:lnTo>
                  <a:lnTo>
                    <a:pt x="20" y="136"/>
                  </a:lnTo>
                  <a:lnTo>
                    <a:pt x="14" y="140"/>
                  </a:lnTo>
                  <a:lnTo>
                    <a:pt x="14" y="134"/>
                  </a:lnTo>
                  <a:lnTo>
                    <a:pt x="16" y="128"/>
                  </a:lnTo>
                  <a:lnTo>
                    <a:pt x="14" y="122"/>
                  </a:lnTo>
                  <a:lnTo>
                    <a:pt x="20" y="118"/>
                  </a:lnTo>
                  <a:lnTo>
                    <a:pt x="24" y="114"/>
                  </a:lnTo>
                  <a:lnTo>
                    <a:pt x="30" y="110"/>
                  </a:lnTo>
                  <a:lnTo>
                    <a:pt x="36" y="110"/>
                  </a:lnTo>
                  <a:lnTo>
                    <a:pt x="42" y="106"/>
                  </a:lnTo>
                  <a:lnTo>
                    <a:pt x="44" y="100"/>
                  </a:lnTo>
                  <a:lnTo>
                    <a:pt x="42" y="98"/>
                  </a:lnTo>
                  <a:lnTo>
                    <a:pt x="36" y="100"/>
                  </a:lnTo>
                  <a:lnTo>
                    <a:pt x="30" y="102"/>
                  </a:lnTo>
                  <a:lnTo>
                    <a:pt x="24" y="102"/>
                  </a:lnTo>
                  <a:lnTo>
                    <a:pt x="18" y="102"/>
                  </a:lnTo>
                  <a:lnTo>
                    <a:pt x="12" y="102"/>
                  </a:lnTo>
                  <a:lnTo>
                    <a:pt x="6" y="104"/>
                  </a:lnTo>
                  <a:lnTo>
                    <a:pt x="2" y="98"/>
                  </a:lnTo>
                  <a:lnTo>
                    <a:pt x="0" y="9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6" name="Freeform 93"/>
            <p:cNvSpPr>
              <a:spLocks/>
            </p:cNvSpPr>
            <p:nvPr/>
          </p:nvSpPr>
          <p:spPr bwMode="auto">
            <a:xfrm>
              <a:off x="4849813" y="3048000"/>
              <a:ext cx="439737" cy="177800"/>
            </a:xfrm>
            <a:custGeom>
              <a:avLst/>
              <a:gdLst>
                <a:gd name="T0" fmla="*/ 2147483647 w 1080"/>
                <a:gd name="T1" fmla="*/ 2147483647 h 432"/>
                <a:gd name="T2" fmla="*/ 2147483647 w 1080"/>
                <a:gd name="T3" fmla="*/ 2147483647 h 432"/>
                <a:gd name="T4" fmla="*/ 2147483647 w 1080"/>
                <a:gd name="T5" fmla="*/ 2147483647 h 432"/>
                <a:gd name="T6" fmla="*/ 2147483647 w 1080"/>
                <a:gd name="T7" fmla="*/ 2147483647 h 432"/>
                <a:gd name="T8" fmla="*/ 2147483647 w 1080"/>
                <a:gd name="T9" fmla="*/ 2147483647 h 432"/>
                <a:gd name="T10" fmla="*/ 2147483647 w 1080"/>
                <a:gd name="T11" fmla="*/ 2147483647 h 432"/>
                <a:gd name="T12" fmla="*/ 2147483647 w 1080"/>
                <a:gd name="T13" fmla="*/ 2147483647 h 432"/>
                <a:gd name="T14" fmla="*/ 2147483647 w 1080"/>
                <a:gd name="T15" fmla="*/ 2147483647 h 432"/>
                <a:gd name="T16" fmla="*/ 2147483647 w 1080"/>
                <a:gd name="T17" fmla="*/ 2147483647 h 432"/>
                <a:gd name="T18" fmla="*/ 2147483647 w 1080"/>
                <a:gd name="T19" fmla="*/ 2147483647 h 432"/>
                <a:gd name="T20" fmla="*/ 2147483647 w 1080"/>
                <a:gd name="T21" fmla="*/ 2147483647 h 432"/>
                <a:gd name="T22" fmla="*/ 2147483647 w 1080"/>
                <a:gd name="T23" fmla="*/ 2147483647 h 432"/>
                <a:gd name="T24" fmla="*/ 2147483647 w 1080"/>
                <a:gd name="T25" fmla="*/ 2147483647 h 432"/>
                <a:gd name="T26" fmla="*/ 2147483647 w 1080"/>
                <a:gd name="T27" fmla="*/ 2147483647 h 432"/>
                <a:gd name="T28" fmla="*/ 2147483647 w 1080"/>
                <a:gd name="T29" fmla="*/ 2147483647 h 432"/>
                <a:gd name="T30" fmla="*/ 2147483647 w 1080"/>
                <a:gd name="T31" fmla="*/ 2147483647 h 432"/>
                <a:gd name="T32" fmla="*/ 2147483647 w 1080"/>
                <a:gd name="T33" fmla="*/ 2147483647 h 432"/>
                <a:gd name="T34" fmla="*/ 2147483647 w 1080"/>
                <a:gd name="T35" fmla="*/ 2147483647 h 432"/>
                <a:gd name="T36" fmla="*/ 2147483647 w 1080"/>
                <a:gd name="T37" fmla="*/ 2147483647 h 432"/>
                <a:gd name="T38" fmla="*/ 2147483647 w 1080"/>
                <a:gd name="T39" fmla="*/ 2147483647 h 432"/>
                <a:gd name="T40" fmla="*/ 2147483647 w 1080"/>
                <a:gd name="T41" fmla="*/ 2147483647 h 432"/>
                <a:gd name="T42" fmla="*/ 2147483647 w 1080"/>
                <a:gd name="T43" fmla="*/ 2147483647 h 432"/>
                <a:gd name="T44" fmla="*/ 2147483647 w 1080"/>
                <a:gd name="T45" fmla="*/ 2147483647 h 432"/>
                <a:gd name="T46" fmla="*/ 2147483647 w 1080"/>
                <a:gd name="T47" fmla="*/ 2147483647 h 432"/>
                <a:gd name="T48" fmla="*/ 2147483647 w 1080"/>
                <a:gd name="T49" fmla="*/ 2147483647 h 432"/>
                <a:gd name="T50" fmla="*/ 2147483647 w 1080"/>
                <a:gd name="T51" fmla="*/ 2147483647 h 432"/>
                <a:gd name="T52" fmla="*/ 2147483647 w 1080"/>
                <a:gd name="T53" fmla="*/ 2147483647 h 432"/>
                <a:gd name="T54" fmla="*/ 2147483647 w 1080"/>
                <a:gd name="T55" fmla="*/ 2147483647 h 432"/>
                <a:gd name="T56" fmla="*/ 2147483647 w 1080"/>
                <a:gd name="T57" fmla="*/ 2147483647 h 432"/>
                <a:gd name="T58" fmla="*/ 2147483647 w 1080"/>
                <a:gd name="T59" fmla="*/ 2147483647 h 432"/>
                <a:gd name="T60" fmla="*/ 2147483647 w 1080"/>
                <a:gd name="T61" fmla="*/ 2147483647 h 432"/>
                <a:gd name="T62" fmla="*/ 2147483647 w 1080"/>
                <a:gd name="T63" fmla="*/ 2147483647 h 432"/>
                <a:gd name="T64" fmla="*/ 2147483647 w 1080"/>
                <a:gd name="T65" fmla="*/ 2147483647 h 432"/>
                <a:gd name="T66" fmla="*/ 2147483647 w 1080"/>
                <a:gd name="T67" fmla="*/ 2147483647 h 432"/>
                <a:gd name="T68" fmla="*/ 2147483647 w 1080"/>
                <a:gd name="T69" fmla="*/ 2147483647 h 432"/>
                <a:gd name="T70" fmla="*/ 2147483647 w 1080"/>
                <a:gd name="T71" fmla="*/ 2147483647 h 432"/>
                <a:gd name="T72" fmla="*/ 2147483647 w 1080"/>
                <a:gd name="T73" fmla="*/ 2147483647 h 432"/>
                <a:gd name="T74" fmla="*/ 2147483647 w 1080"/>
                <a:gd name="T75" fmla="*/ 2147483647 h 432"/>
                <a:gd name="T76" fmla="*/ 2147483647 w 1080"/>
                <a:gd name="T77" fmla="*/ 2147483647 h 432"/>
                <a:gd name="T78" fmla="*/ 2147483647 w 1080"/>
                <a:gd name="T79" fmla="*/ 2147483647 h 432"/>
                <a:gd name="T80" fmla="*/ 2147483647 w 1080"/>
                <a:gd name="T81" fmla="*/ 2147483647 h 432"/>
                <a:gd name="T82" fmla="*/ 2147483647 w 1080"/>
                <a:gd name="T83" fmla="*/ 2147483647 h 432"/>
                <a:gd name="T84" fmla="*/ 2147483647 w 1080"/>
                <a:gd name="T85" fmla="*/ 2147483647 h 432"/>
                <a:gd name="T86" fmla="*/ 2147483647 w 1080"/>
                <a:gd name="T87" fmla="*/ 2147483647 h 432"/>
                <a:gd name="T88" fmla="*/ 2147483647 w 1080"/>
                <a:gd name="T89" fmla="*/ 2147483647 h 432"/>
                <a:gd name="T90" fmla="*/ 2147483647 w 1080"/>
                <a:gd name="T91" fmla="*/ 2147483647 h 432"/>
                <a:gd name="T92" fmla="*/ 2147483647 w 1080"/>
                <a:gd name="T93" fmla="*/ 2147483647 h 432"/>
                <a:gd name="T94" fmla="*/ 2147483647 w 1080"/>
                <a:gd name="T95" fmla="*/ 2147483647 h 432"/>
                <a:gd name="T96" fmla="*/ 2147483647 w 1080"/>
                <a:gd name="T97" fmla="*/ 2147483647 h 432"/>
                <a:gd name="T98" fmla="*/ 2147483647 w 1080"/>
                <a:gd name="T99" fmla="*/ 2147483647 h 432"/>
                <a:gd name="T100" fmla="*/ 2147483647 w 1080"/>
                <a:gd name="T101" fmla="*/ 2147483647 h 432"/>
                <a:gd name="T102" fmla="*/ 2147483647 w 1080"/>
                <a:gd name="T103" fmla="*/ 2147483647 h 432"/>
                <a:gd name="T104" fmla="*/ 2147483647 w 1080"/>
                <a:gd name="T105" fmla="*/ 2147483647 h 432"/>
                <a:gd name="T106" fmla="*/ 2147483647 w 1080"/>
                <a:gd name="T107" fmla="*/ 2147483647 h 432"/>
                <a:gd name="T108" fmla="*/ 2147483647 w 1080"/>
                <a:gd name="T109" fmla="*/ 2147483647 h 432"/>
                <a:gd name="T110" fmla="*/ 2147483647 w 1080"/>
                <a:gd name="T111" fmla="*/ 2147483647 h 432"/>
                <a:gd name="T112" fmla="*/ 2147483647 w 1080"/>
                <a:gd name="T113" fmla="*/ 2147483647 h 432"/>
                <a:gd name="T114" fmla="*/ 2147483647 w 1080"/>
                <a:gd name="T115" fmla="*/ 2147483647 h 432"/>
                <a:gd name="T116" fmla="*/ 2147483647 w 1080"/>
                <a:gd name="T117" fmla="*/ 2147483647 h 432"/>
                <a:gd name="T118" fmla="*/ 2147483647 w 1080"/>
                <a:gd name="T119" fmla="*/ 2147483647 h 432"/>
                <a:gd name="T120" fmla="*/ 2147483647 w 1080"/>
                <a:gd name="T121" fmla="*/ 2147483647 h 4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0"/>
                <a:gd name="T184" fmla="*/ 0 h 432"/>
                <a:gd name="T185" fmla="*/ 1080 w 1080"/>
                <a:gd name="T186" fmla="*/ 432 h 4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0" h="432">
                  <a:moveTo>
                    <a:pt x="0" y="180"/>
                  </a:moveTo>
                  <a:lnTo>
                    <a:pt x="2" y="174"/>
                  </a:lnTo>
                  <a:lnTo>
                    <a:pt x="4" y="170"/>
                  </a:lnTo>
                  <a:lnTo>
                    <a:pt x="4" y="162"/>
                  </a:lnTo>
                  <a:lnTo>
                    <a:pt x="4" y="158"/>
                  </a:lnTo>
                  <a:lnTo>
                    <a:pt x="4" y="152"/>
                  </a:lnTo>
                  <a:lnTo>
                    <a:pt x="4" y="146"/>
                  </a:lnTo>
                  <a:lnTo>
                    <a:pt x="4" y="144"/>
                  </a:lnTo>
                  <a:lnTo>
                    <a:pt x="6" y="144"/>
                  </a:lnTo>
                  <a:lnTo>
                    <a:pt x="10" y="144"/>
                  </a:lnTo>
                  <a:lnTo>
                    <a:pt x="14" y="138"/>
                  </a:lnTo>
                  <a:lnTo>
                    <a:pt x="16" y="132"/>
                  </a:lnTo>
                  <a:lnTo>
                    <a:pt x="22" y="130"/>
                  </a:lnTo>
                  <a:lnTo>
                    <a:pt x="28" y="124"/>
                  </a:lnTo>
                  <a:lnTo>
                    <a:pt x="32" y="118"/>
                  </a:lnTo>
                  <a:lnTo>
                    <a:pt x="38" y="116"/>
                  </a:lnTo>
                  <a:lnTo>
                    <a:pt x="44" y="116"/>
                  </a:lnTo>
                  <a:lnTo>
                    <a:pt x="50" y="118"/>
                  </a:lnTo>
                  <a:lnTo>
                    <a:pt x="56" y="114"/>
                  </a:lnTo>
                  <a:lnTo>
                    <a:pt x="62" y="114"/>
                  </a:lnTo>
                  <a:lnTo>
                    <a:pt x="66" y="116"/>
                  </a:lnTo>
                  <a:lnTo>
                    <a:pt x="66" y="118"/>
                  </a:lnTo>
                  <a:lnTo>
                    <a:pt x="72" y="122"/>
                  </a:lnTo>
                  <a:lnTo>
                    <a:pt x="78" y="124"/>
                  </a:lnTo>
                  <a:lnTo>
                    <a:pt x="80" y="122"/>
                  </a:lnTo>
                  <a:lnTo>
                    <a:pt x="86" y="124"/>
                  </a:lnTo>
                  <a:lnTo>
                    <a:pt x="92" y="122"/>
                  </a:lnTo>
                  <a:lnTo>
                    <a:pt x="92" y="116"/>
                  </a:lnTo>
                  <a:lnTo>
                    <a:pt x="86" y="110"/>
                  </a:lnTo>
                  <a:lnTo>
                    <a:pt x="92" y="110"/>
                  </a:lnTo>
                  <a:lnTo>
                    <a:pt x="98" y="110"/>
                  </a:lnTo>
                  <a:lnTo>
                    <a:pt x="104" y="110"/>
                  </a:lnTo>
                  <a:lnTo>
                    <a:pt x="100" y="116"/>
                  </a:lnTo>
                  <a:lnTo>
                    <a:pt x="102" y="120"/>
                  </a:lnTo>
                  <a:lnTo>
                    <a:pt x="108" y="118"/>
                  </a:lnTo>
                  <a:lnTo>
                    <a:pt x="114" y="116"/>
                  </a:lnTo>
                  <a:lnTo>
                    <a:pt x="116" y="118"/>
                  </a:lnTo>
                  <a:lnTo>
                    <a:pt x="122" y="116"/>
                  </a:lnTo>
                  <a:lnTo>
                    <a:pt x="128" y="118"/>
                  </a:lnTo>
                  <a:lnTo>
                    <a:pt x="132" y="116"/>
                  </a:lnTo>
                  <a:lnTo>
                    <a:pt x="138" y="118"/>
                  </a:lnTo>
                  <a:lnTo>
                    <a:pt x="144" y="118"/>
                  </a:lnTo>
                  <a:lnTo>
                    <a:pt x="150" y="118"/>
                  </a:lnTo>
                  <a:lnTo>
                    <a:pt x="156" y="120"/>
                  </a:lnTo>
                  <a:lnTo>
                    <a:pt x="162" y="120"/>
                  </a:lnTo>
                  <a:lnTo>
                    <a:pt x="168" y="116"/>
                  </a:lnTo>
                  <a:lnTo>
                    <a:pt x="168" y="114"/>
                  </a:lnTo>
                  <a:lnTo>
                    <a:pt x="164" y="110"/>
                  </a:lnTo>
                  <a:lnTo>
                    <a:pt x="156" y="112"/>
                  </a:lnTo>
                  <a:lnTo>
                    <a:pt x="152" y="110"/>
                  </a:lnTo>
                  <a:lnTo>
                    <a:pt x="154" y="104"/>
                  </a:lnTo>
                  <a:lnTo>
                    <a:pt x="160" y="100"/>
                  </a:lnTo>
                  <a:lnTo>
                    <a:pt x="166" y="100"/>
                  </a:lnTo>
                  <a:lnTo>
                    <a:pt x="172" y="98"/>
                  </a:lnTo>
                  <a:lnTo>
                    <a:pt x="178" y="98"/>
                  </a:lnTo>
                  <a:lnTo>
                    <a:pt x="182" y="98"/>
                  </a:lnTo>
                  <a:lnTo>
                    <a:pt x="188" y="96"/>
                  </a:lnTo>
                  <a:lnTo>
                    <a:pt x="194" y="96"/>
                  </a:lnTo>
                  <a:lnTo>
                    <a:pt x="200" y="96"/>
                  </a:lnTo>
                  <a:lnTo>
                    <a:pt x="206" y="94"/>
                  </a:lnTo>
                  <a:lnTo>
                    <a:pt x="200" y="92"/>
                  </a:lnTo>
                  <a:lnTo>
                    <a:pt x="194" y="90"/>
                  </a:lnTo>
                  <a:lnTo>
                    <a:pt x="188" y="92"/>
                  </a:lnTo>
                  <a:lnTo>
                    <a:pt x="182" y="90"/>
                  </a:lnTo>
                  <a:lnTo>
                    <a:pt x="178" y="90"/>
                  </a:lnTo>
                  <a:lnTo>
                    <a:pt x="174" y="86"/>
                  </a:lnTo>
                  <a:lnTo>
                    <a:pt x="172" y="84"/>
                  </a:lnTo>
                  <a:lnTo>
                    <a:pt x="166" y="82"/>
                  </a:lnTo>
                  <a:lnTo>
                    <a:pt x="160" y="78"/>
                  </a:lnTo>
                  <a:lnTo>
                    <a:pt x="160" y="72"/>
                  </a:lnTo>
                  <a:lnTo>
                    <a:pt x="160" y="70"/>
                  </a:lnTo>
                  <a:lnTo>
                    <a:pt x="160" y="64"/>
                  </a:lnTo>
                  <a:lnTo>
                    <a:pt x="166" y="60"/>
                  </a:lnTo>
                  <a:lnTo>
                    <a:pt x="168" y="60"/>
                  </a:lnTo>
                  <a:lnTo>
                    <a:pt x="174" y="60"/>
                  </a:lnTo>
                  <a:lnTo>
                    <a:pt x="180" y="62"/>
                  </a:lnTo>
                  <a:lnTo>
                    <a:pt x="186" y="62"/>
                  </a:lnTo>
                  <a:lnTo>
                    <a:pt x="192" y="64"/>
                  </a:lnTo>
                  <a:lnTo>
                    <a:pt x="198" y="64"/>
                  </a:lnTo>
                  <a:lnTo>
                    <a:pt x="204" y="66"/>
                  </a:lnTo>
                  <a:lnTo>
                    <a:pt x="212" y="66"/>
                  </a:lnTo>
                  <a:lnTo>
                    <a:pt x="218" y="66"/>
                  </a:lnTo>
                  <a:lnTo>
                    <a:pt x="224" y="64"/>
                  </a:lnTo>
                  <a:lnTo>
                    <a:pt x="230" y="62"/>
                  </a:lnTo>
                  <a:lnTo>
                    <a:pt x="236" y="64"/>
                  </a:lnTo>
                  <a:lnTo>
                    <a:pt x="242" y="66"/>
                  </a:lnTo>
                  <a:lnTo>
                    <a:pt x="248" y="66"/>
                  </a:lnTo>
                  <a:lnTo>
                    <a:pt x="254" y="68"/>
                  </a:lnTo>
                  <a:lnTo>
                    <a:pt x="260" y="70"/>
                  </a:lnTo>
                  <a:lnTo>
                    <a:pt x="266" y="70"/>
                  </a:lnTo>
                  <a:lnTo>
                    <a:pt x="272" y="70"/>
                  </a:lnTo>
                  <a:lnTo>
                    <a:pt x="278" y="70"/>
                  </a:lnTo>
                  <a:lnTo>
                    <a:pt x="284" y="68"/>
                  </a:lnTo>
                  <a:lnTo>
                    <a:pt x="288" y="66"/>
                  </a:lnTo>
                  <a:lnTo>
                    <a:pt x="290" y="60"/>
                  </a:lnTo>
                  <a:lnTo>
                    <a:pt x="290" y="54"/>
                  </a:lnTo>
                  <a:lnTo>
                    <a:pt x="296" y="52"/>
                  </a:lnTo>
                  <a:lnTo>
                    <a:pt x="302" y="50"/>
                  </a:lnTo>
                  <a:lnTo>
                    <a:pt x="308" y="46"/>
                  </a:lnTo>
                  <a:lnTo>
                    <a:pt x="314" y="42"/>
                  </a:lnTo>
                  <a:lnTo>
                    <a:pt x="320" y="38"/>
                  </a:lnTo>
                  <a:lnTo>
                    <a:pt x="324" y="36"/>
                  </a:lnTo>
                  <a:lnTo>
                    <a:pt x="330" y="34"/>
                  </a:lnTo>
                  <a:lnTo>
                    <a:pt x="334" y="30"/>
                  </a:lnTo>
                  <a:lnTo>
                    <a:pt x="338" y="26"/>
                  </a:lnTo>
                  <a:lnTo>
                    <a:pt x="344" y="22"/>
                  </a:lnTo>
                  <a:lnTo>
                    <a:pt x="350" y="20"/>
                  </a:lnTo>
                  <a:lnTo>
                    <a:pt x="356" y="18"/>
                  </a:lnTo>
                  <a:lnTo>
                    <a:pt x="358" y="18"/>
                  </a:lnTo>
                  <a:lnTo>
                    <a:pt x="364" y="16"/>
                  </a:lnTo>
                  <a:lnTo>
                    <a:pt x="370" y="16"/>
                  </a:lnTo>
                  <a:lnTo>
                    <a:pt x="376" y="12"/>
                  </a:lnTo>
                  <a:lnTo>
                    <a:pt x="382" y="10"/>
                  </a:lnTo>
                  <a:lnTo>
                    <a:pt x="388" y="8"/>
                  </a:lnTo>
                  <a:lnTo>
                    <a:pt x="394" y="6"/>
                  </a:lnTo>
                  <a:lnTo>
                    <a:pt x="400" y="6"/>
                  </a:lnTo>
                  <a:lnTo>
                    <a:pt x="406" y="6"/>
                  </a:lnTo>
                  <a:lnTo>
                    <a:pt x="410" y="8"/>
                  </a:lnTo>
                  <a:lnTo>
                    <a:pt x="418" y="8"/>
                  </a:lnTo>
                  <a:lnTo>
                    <a:pt x="422" y="8"/>
                  </a:lnTo>
                  <a:lnTo>
                    <a:pt x="428" y="8"/>
                  </a:lnTo>
                  <a:lnTo>
                    <a:pt x="434" y="8"/>
                  </a:lnTo>
                  <a:lnTo>
                    <a:pt x="440" y="10"/>
                  </a:lnTo>
                  <a:lnTo>
                    <a:pt x="442" y="10"/>
                  </a:lnTo>
                  <a:lnTo>
                    <a:pt x="448" y="10"/>
                  </a:lnTo>
                  <a:lnTo>
                    <a:pt x="454" y="10"/>
                  </a:lnTo>
                  <a:lnTo>
                    <a:pt x="460" y="10"/>
                  </a:lnTo>
                  <a:lnTo>
                    <a:pt x="466" y="12"/>
                  </a:lnTo>
                  <a:lnTo>
                    <a:pt x="472" y="10"/>
                  </a:lnTo>
                  <a:lnTo>
                    <a:pt x="478" y="8"/>
                  </a:lnTo>
                  <a:lnTo>
                    <a:pt x="482" y="2"/>
                  </a:lnTo>
                  <a:lnTo>
                    <a:pt x="486" y="0"/>
                  </a:lnTo>
                  <a:lnTo>
                    <a:pt x="490" y="4"/>
                  </a:lnTo>
                  <a:lnTo>
                    <a:pt x="494" y="4"/>
                  </a:lnTo>
                  <a:lnTo>
                    <a:pt x="492" y="10"/>
                  </a:lnTo>
                  <a:lnTo>
                    <a:pt x="494" y="16"/>
                  </a:lnTo>
                  <a:lnTo>
                    <a:pt x="500" y="22"/>
                  </a:lnTo>
                  <a:lnTo>
                    <a:pt x="506" y="26"/>
                  </a:lnTo>
                  <a:lnTo>
                    <a:pt x="512" y="28"/>
                  </a:lnTo>
                  <a:lnTo>
                    <a:pt x="516" y="32"/>
                  </a:lnTo>
                  <a:lnTo>
                    <a:pt x="522" y="32"/>
                  </a:lnTo>
                  <a:lnTo>
                    <a:pt x="528" y="30"/>
                  </a:lnTo>
                  <a:lnTo>
                    <a:pt x="534" y="28"/>
                  </a:lnTo>
                  <a:lnTo>
                    <a:pt x="540" y="26"/>
                  </a:lnTo>
                  <a:lnTo>
                    <a:pt x="540" y="32"/>
                  </a:lnTo>
                  <a:lnTo>
                    <a:pt x="542" y="26"/>
                  </a:lnTo>
                  <a:lnTo>
                    <a:pt x="548" y="28"/>
                  </a:lnTo>
                  <a:lnTo>
                    <a:pt x="552" y="34"/>
                  </a:lnTo>
                  <a:lnTo>
                    <a:pt x="552" y="40"/>
                  </a:lnTo>
                  <a:lnTo>
                    <a:pt x="552" y="42"/>
                  </a:lnTo>
                  <a:lnTo>
                    <a:pt x="558" y="48"/>
                  </a:lnTo>
                  <a:lnTo>
                    <a:pt x="564" y="52"/>
                  </a:lnTo>
                  <a:lnTo>
                    <a:pt x="570" y="58"/>
                  </a:lnTo>
                  <a:lnTo>
                    <a:pt x="576" y="58"/>
                  </a:lnTo>
                  <a:lnTo>
                    <a:pt x="580" y="52"/>
                  </a:lnTo>
                  <a:lnTo>
                    <a:pt x="584" y="52"/>
                  </a:lnTo>
                  <a:lnTo>
                    <a:pt x="590" y="52"/>
                  </a:lnTo>
                  <a:lnTo>
                    <a:pt x="596" y="52"/>
                  </a:lnTo>
                  <a:lnTo>
                    <a:pt x="600" y="56"/>
                  </a:lnTo>
                  <a:lnTo>
                    <a:pt x="606" y="60"/>
                  </a:lnTo>
                  <a:lnTo>
                    <a:pt x="612" y="66"/>
                  </a:lnTo>
                  <a:lnTo>
                    <a:pt x="614" y="66"/>
                  </a:lnTo>
                  <a:lnTo>
                    <a:pt x="620" y="66"/>
                  </a:lnTo>
                  <a:lnTo>
                    <a:pt x="626" y="68"/>
                  </a:lnTo>
                  <a:lnTo>
                    <a:pt x="630" y="70"/>
                  </a:lnTo>
                  <a:lnTo>
                    <a:pt x="636" y="74"/>
                  </a:lnTo>
                  <a:lnTo>
                    <a:pt x="642" y="68"/>
                  </a:lnTo>
                  <a:lnTo>
                    <a:pt x="648" y="68"/>
                  </a:lnTo>
                  <a:lnTo>
                    <a:pt x="652" y="72"/>
                  </a:lnTo>
                  <a:lnTo>
                    <a:pt x="656" y="76"/>
                  </a:lnTo>
                  <a:lnTo>
                    <a:pt x="658" y="76"/>
                  </a:lnTo>
                  <a:lnTo>
                    <a:pt x="664" y="78"/>
                  </a:lnTo>
                  <a:lnTo>
                    <a:pt x="668" y="78"/>
                  </a:lnTo>
                  <a:lnTo>
                    <a:pt x="674" y="80"/>
                  </a:lnTo>
                  <a:lnTo>
                    <a:pt x="680" y="82"/>
                  </a:lnTo>
                  <a:lnTo>
                    <a:pt x="686" y="82"/>
                  </a:lnTo>
                  <a:lnTo>
                    <a:pt x="692" y="82"/>
                  </a:lnTo>
                  <a:lnTo>
                    <a:pt x="698" y="78"/>
                  </a:lnTo>
                  <a:lnTo>
                    <a:pt x="704" y="78"/>
                  </a:lnTo>
                  <a:lnTo>
                    <a:pt x="710" y="74"/>
                  </a:lnTo>
                  <a:lnTo>
                    <a:pt x="716" y="72"/>
                  </a:lnTo>
                  <a:lnTo>
                    <a:pt x="722" y="72"/>
                  </a:lnTo>
                  <a:lnTo>
                    <a:pt x="726" y="70"/>
                  </a:lnTo>
                  <a:lnTo>
                    <a:pt x="732" y="72"/>
                  </a:lnTo>
                  <a:lnTo>
                    <a:pt x="738" y="70"/>
                  </a:lnTo>
                  <a:lnTo>
                    <a:pt x="744" y="68"/>
                  </a:lnTo>
                  <a:lnTo>
                    <a:pt x="750" y="74"/>
                  </a:lnTo>
                  <a:lnTo>
                    <a:pt x="756" y="76"/>
                  </a:lnTo>
                  <a:lnTo>
                    <a:pt x="762" y="76"/>
                  </a:lnTo>
                  <a:lnTo>
                    <a:pt x="768" y="78"/>
                  </a:lnTo>
                  <a:lnTo>
                    <a:pt x="774" y="78"/>
                  </a:lnTo>
                  <a:lnTo>
                    <a:pt x="776" y="78"/>
                  </a:lnTo>
                  <a:lnTo>
                    <a:pt x="782" y="82"/>
                  </a:lnTo>
                  <a:lnTo>
                    <a:pt x="788" y="80"/>
                  </a:lnTo>
                  <a:lnTo>
                    <a:pt x="794" y="78"/>
                  </a:lnTo>
                  <a:lnTo>
                    <a:pt x="794" y="76"/>
                  </a:lnTo>
                  <a:lnTo>
                    <a:pt x="796" y="74"/>
                  </a:lnTo>
                  <a:lnTo>
                    <a:pt x="804" y="74"/>
                  </a:lnTo>
                  <a:lnTo>
                    <a:pt x="808" y="70"/>
                  </a:lnTo>
                  <a:lnTo>
                    <a:pt x="816" y="64"/>
                  </a:lnTo>
                  <a:lnTo>
                    <a:pt x="820" y="62"/>
                  </a:lnTo>
                  <a:lnTo>
                    <a:pt x="826" y="60"/>
                  </a:lnTo>
                  <a:lnTo>
                    <a:pt x="834" y="56"/>
                  </a:lnTo>
                  <a:lnTo>
                    <a:pt x="838" y="54"/>
                  </a:lnTo>
                  <a:lnTo>
                    <a:pt x="844" y="50"/>
                  </a:lnTo>
                  <a:lnTo>
                    <a:pt x="850" y="46"/>
                  </a:lnTo>
                  <a:lnTo>
                    <a:pt x="854" y="40"/>
                  </a:lnTo>
                  <a:lnTo>
                    <a:pt x="856" y="40"/>
                  </a:lnTo>
                  <a:lnTo>
                    <a:pt x="862" y="42"/>
                  </a:lnTo>
                  <a:lnTo>
                    <a:pt x="866" y="44"/>
                  </a:lnTo>
                  <a:lnTo>
                    <a:pt x="872" y="46"/>
                  </a:lnTo>
                  <a:lnTo>
                    <a:pt x="878" y="40"/>
                  </a:lnTo>
                  <a:lnTo>
                    <a:pt x="884" y="42"/>
                  </a:lnTo>
                  <a:lnTo>
                    <a:pt x="890" y="40"/>
                  </a:lnTo>
                  <a:lnTo>
                    <a:pt x="896" y="42"/>
                  </a:lnTo>
                  <a:lnTo>
                    <a:pt x="902" y="44"/>
                  </a:lnTo>
                  <a:lnTo>
                    <a:pt x="908" y="46"/>
                  </a:lnTo>
                  <a:lnTo>
                    <a:pt x="912" y="40"/>
                  </a:lnTo>
                  <a:lnTo>
                    <a:pt x="914" y="36"/>
                  </a:lnTo>
                  <a:lnTo>
                    <a:pt x="920" y="34"/>
                  </a:lnTo>
                  <a:lnTo>
                    <a:pt x="926" y="36"/>
                  </a:lnTo>
                  <a:lnTo>
                    <a:pt x="928" y="36"/>
                  </a:lnTo>
                  <a:lnTo>
                    <a:pt x="926" y="40"/>
                  </a:lnTo>
                  <a:lnTo>
                    <a:pt x="932" y="40"/>
                  </a:lnTo>
                  <a:lnTo>
                    <a:pt x="938" y="46"/>
                  </a:lnTo>
                  <a:lnTo>
                    <a:pt x="944" y="50"/>
                  </a:lnTo>
                  <a:lnTo>
                    <a:pt x="948" y="54"/>
                  </a:lnTo>
                  <a:lnTo>
                    <a:pt x="952" y="56"/>
                  </a:lnTo>
                  <a:lnTo>
                    <a:pt x="948" y="58"/>
                  </a:lnTo>
                  <a:lnTo>
                    <a:pt x="954" y="64"/>
                  </a:lnTo>
                  <a:lnTo>
                    <a:pt x="960" y="62"/>
                  </a:lnTo>
                  <a:lnTo>
                    <a:pt x="966" y="64"/>
                  </a:lnTo>
                  <a:lnTo>
                    <a:pt x="966" y="68"/>
                  </a:lnTo>
                  <a:lnTo>
                    <a:pt x="968" y="74"/>
                  </a:lnTo>
                  <a:lnTo>
                    <a:pt x="974" y="76"/>
                  </a:lnTo>
                  <a:lnTo>
                    <a:pt x="980" y="80"/>
                  </a:lnTo>
                  <a:lnTo>
                    <a:pt x="982" y="86"/>
                  </a:lnTo>
                  <a:lnTo>
                    <a:pt x="986" y="92"/>
                  </a:lnTo>
                  <a:lnTo>
                    <a:pt x="986" y="94"/>
                  </a:lnTo>
                  <a:lnTo>
                    <a:pt x="988" y="98"/>
                  </a:lnTo>
                  <a:lnTo>
                    <a:pt x="986" y="102"/>
                  </a:lnTo>
                  <a:lnTo>
                    <a:pt x="986" y="104"/>
                  </a:lnTo>
                  <a:lnTo>
                    <a:pt x="982" y="110"/>
                  </a:lnTo>
                  <a:lnTo>
                    <a:pt x="982" y="116"/>
                  </a:lnTo>
                  <a:lnTo>
                    <a:pt x="982" y="120"/>
                  </a:lnTo>
                  <a:lnTo>
                    <a:pt x="988" y="126"/>
                  </a:lnTo>
                  <a:lnTo>
                    <a:pt x="990" y="132"/>
                  </a:lnTo>
                  <a:lnTo>
                    <a:pt x="986" y="136"/>
                  </a:lnTo>
                  <a:lnTo>
                    <a:pt x="994" y="138"/>
                  </a:lnTo>
                  <a:lnTo>
                    <a:pt x="998" y="140"/>
                  </a:lnTo>
                  <a:lnTo>
                    <a:pt x="1004" y="144"/>
                  </a:lnTo>
                  <a:lnTo>
                    <a:pt x="1010" y="144"/>
                  </a:lnTo>
                  <a:lnTo>
                    <a:pt x="1016" y="144"/>
                  </a:lnTo>
                  <a:lnTo>
                    <a:pt x="1018" y="142"/>
                  </a:lnTo>
                  <a:lnTo>
                    <a:pt x="1024" y="140"/>
                  </a:lnTo>
                  <a:lnTo>
                    <a:pt x="1030" y="144"/>
                  </a:lnTo>
                  <a:lnTo>
                    <a:pt x="1036" y="148"/>
                  </a:lnTo>
                  <a:lnTo>
                    <a:pt x="1042" y="154"/>
                  </a:lnTo>
                  <a:lnTo>
                    <a:pt x="1048" y="158"/>
                  </a:lnTo>
                  <a:lnTo>
                    <a:pt x="1054" y="164"/>
                  </a:lnTo>
                  <a:lnTo>
                    <a:pt x="1058" y="170"/>
                  </a:lnTo>
                  <a:lnTo>
                    <a:pt x="1054" y="168"/>
                  </a:lnTo>
                  <a:lnTo>
                    <a:pt x="1050" y="164"/>
                  </a:lnTo>
                  <a:lnTo>
                    <a:pt x="1044" y="160"/>
                  </a:lnTo>
                  <a:lnTo>
                    <a:pt x="1038" y="166"/>
                  </a:lnTo>
                  <a:lnTo>
                    <a:pt x="1036" y="172"/>
                  </a:lnTo>
                  <a:lnTo>
                    <a:pt x="1036" y="178"/>
                  </a:lnTo>
                  <a:lnTo>
                    <a:pt x="1036" y="184"/>
                  </a:lnTo>
                  <a:lnTo>
                    <a:pt x="1034" y="186"/>
                  </a:lnTo>
                  <a:lnTo>
                    <a:pt x="1028" y="186"/>
                  </a:lnTo>
                  <a:lnTo>
                    <a:pt x="1022" y="186"/>
                  </a:lnTo>
                  <a:lnTo>
                    <a:pt x="1016" y="188"/>
                  </a:lnTo>
                  <a:lnTo>
                    <a:pt x="1020" y="194"/>
                  </a:lnTo>
                  <a:lnTo>
                    <a:pt x="1022" y="200"/>
                  </a:lnTo>
                  <a:lnTo>
                    <a:pt x="1028" y="206"/>
                  </a:lnTo>
                  <a:lnTo>
                    <a:pt x="1028" y="212"/>
                  </a:lnTo>
                  <a:lnTo>
                    <a:pt x="1026" y="214"/>
                  </a:lnTo>
                  <a:lnTo>
                    <a:pt x="1030" y="220"/>
                  </a:lnTo>
                  <a:lnTo>
                    <a:pt x="1036" y="224"/>
                  </a:lnTo>
                  <a:lnTo>
                    <a:pt x="1036" y="230"/>
                  </a:lnTo>
                  <a:lnTo>
                    <a:pt x="1036" y="236"/>
                  </a:lnTo>
                  <a:lnTo>
                    <a:pt x="1040" y="242"/>
                  </a:lnTo>
                  <a:lnTo>
                    <a:pt x="1040" y="248"/>
                  </a:lnTo>
                  <a:lnTo>
                    <a:pt x="1040" y="250"/>
                  </a:lnTo>
                  <a:lnTo>
                    <a:pt x="1046" y="256"/>
                  </a:lnTo>
                  <a:lnTo>
                    <a:pt x="1050" y="260"/>
                  </a:lnTo>
                  <a:lnTo>
                    <a:pt x="1046" y="266"/>
                  </a:lnTo>
                  <a:lnTo>
                    <a:pt x="1046" y="272"/>
                  </a:lnTo>
                  <a:lnTo>
                    <a:pt x="1044" y="276"/>
                  </a:lnTo>
                  <a:lnTo>
                    <a:pt x="1042" y="284"/>
                  </a:lnTo>
                  <a:lnTo>
                    <a:pt x="1040" y="288"/>
                  </a:lnTo>
                  <a:lnTo>
                    <a:pt x="1040" y="290"/>
                  </a:lnTo>
                  <a:lnTo>
                    <a:pt x="1046" y="290"/>
                  </a:lnTo>
                  <a:lnTo>
                    <a:pt x="1052" y="294"/>
                  </a:lnTo>
                  <a:lnTo>
                    <a:pt x="1058" y="298"/>
                  </a:lnTo>
                  <a:lnTo>
                    <a:pt x="1064" y="302"/>
                  </a:lnTo>
                  <a:lnTo>
                    <a:pt x="1064" y="304"/>
                  </a:lnTo>
                  <a:lnTo>
                    <a:pt x="1064" y="310"/>
                  </a:lnTo>
                  <a:lnTo>
                    <a:pt x="1064" y="314"/>
                  </a:lnTo>
                  <a:lnTo>
                    <a:pt x="1066" y="322"/>
                  </a:lnTo>
                  <a:lnTo>
                    <a:pt x="1072" y="324"/>
                  </a:lnTo>
                  <a:lnTo>
                    <a:pt x="1078" y="330"/>
                  </a:lnTo>
                  <a:lnTo>
                    <a:pt x="1078" y="336"/>
                  </a:lnTo>
                  <a:lnTo>
                    <a:pt x="1080" y="340"/>
                  </a:lnTo>
                  <a:lnTo>
                    <a:pt x="1076" y="340"/>
                  </a:lnTo>
                  <a:lnTo>
                    <a:pt x="1070" y="338"/>
                  </a:lnTo>
                  <a:lnTo>
                    <a:pt x="1064" y="344"/>
                  </a:lnTo>
                  <a:lnTo>
                    <a:pt x="1058" y="348"/>
                  </a:lnTo>
                  <a:lnTo>
                    <a:pt x="1054" y="352"/>
                  </a:lnTo>
                  <a:lnTo>
                    <a:pt x="1048" y="348"/>
                  </a:lnTo>
                  <a:lnTo>
                    <a:pt x="1046" y="342"/>
                  </a:lnTo>
                  <a:lnTo>
                    <a:pt x="1048" y="336"/>
                  </a:lnTo>
                  <a:lnTo>
                    <a:pt x="1044" y="332"/>
                  </a:lnTo>
                  <a:lnTo>
                    <a:pt x="1038" y="330"/>
                  </a:lnTo>
                  <a:lnTo>
                    <a:pt x="1032" y="330"/>
                  </a:lnTo>
                  <a:lnTo>
                    <a:pt x="1026" y="336"/>
                  </a:lnTo>
                  <a:lnTo>
                    <a:pt x="1020" y="336"/>
                  </a:lnTo>
                  <a:lnTo>
                    <a:pt x="1014" y="336"/>
                  </a:lnTo>
                  <a:lnTo>
                    <a:pt x="1008" y="334"/>
                  </a:lnTo>
                  <a:lnTo>
                    <a:pt x="1004" y="332"/>
                  </a:lnTo>
                  <a:lnTo>
                    <a:pt x="996" y="330"/>
                  </a:lnTo>
                  <a:lnTo>
                    <a:pt x="990" y="328"/>
                  </a:lnTo>
                  <a:lnTo>
                    <a:pt x="986" y="326"/>
                  </a:lnTo>
                  <a:lnTo>
                    <a:pt x="980" y="326"/>
                  </a:lnTo>
                  <a:lnTo>
                    <a:pt x="974" y="328"/>
                  </a:lnTo>
                  <a:lnTo>
                    <a:pt x="968" y="326"/>
                  </a:lnTo>
                  <a:lnTo>
                    <a:pt x="962" y="326"/>
                  </a:lnTo>
                  <a:lnTo>
                    <a:pt x="960" y="328"/>
                  </a:lnTo>
                  <a:lnTo>
                    <a:pt x="956" y="334"/>
                  </a:lnTo>
                  <a:lnTo>
                    <a:pt x="952" y="340"/>
                  </a:lnTo>
                  <a:lnTo>
                    <a:pt x="950" y="342"/>
                  </a:lnTo>
                  <a:lnTo>
                    <a:pt x="944" y="344"/>
                  </a:lnTo>
                  <a:lnTo>
                    <a:pt x="940" y="344"/>
                  </a:lnTo>
                  <a:lnTo>
                    <a:pt x="938" y="340"/>
                  </a:lnTo>
                  <a:lnTo>
                    <a:pt x="936" y="332"/>
                  </a:lnTo>
                  <a:lnTo>
                    <a:pt x="930" y="328"/>
                  </a:lnTo>
                  <a:lnTo>
                    <a:pt x="926" y="336"/>
                  </a:lnTo>
                  <a:lnTo>
                    <a:pt x="920" y="340"/>
                  </a:lnTo>
                  <a:lnTo>
                    <a:pt x="914" y="340"/>
                  </a:lnTo>
                  <a:lnTo>
                    <a:pt x="908" y="342"/>
                  </a:lnTo>
                  <a:lnTo>
                    <a:pt x="904" y="344"/>
                  </a:lnTo>
                  <a:lnTo>
                    <a:pt x="902" y="342"/>
                  </a:lnTo>
                  <a:lnTo>
                    <a:pt x="900" y="344"/>
                  </a:lnTo>
                  <a:lnTo>
                    <a:pt x="898" y="344"/>
                  </a:lnTo>
                  <a:lnTo>
                    <a:pt x="892" y="346"/>
                  </a:lnTo>
                  <a:lnTo>
                    <a:pt x="888" y="346"/>
                  </a:lnTo>
                  <a:lnTo>
                    <a:pt x="882" y="346"/>
                  </a:lnTo>
                  <a:lnTo>
                    <a:pt x="876" y="346"/>
                  </a:lnTo>
                  <a:lnTo>
                    <a:pt x="870" y="344"/>
                  </a:lnTo>
                  <a:lnTo>
                    <a:pt x="864" y="344"/>
                  </a:lnTo>
                  <a:lnTo>
                    <a:pt x="860" y="342"/>
                  </a:lnTo>
                  <a:lnTo>
                    <a:pt x="854" y="344"/>
                  </a:lnTo>
                  <a:lnTo>
                    <a:pt x="848" y="344"/>
                  </a:lnTo>
                  <a:lnTo>
                    <a:pt x="844" y="346"/>
                  </a:lnTo>
                  <a:lnTo>
                    <a:pt x="838" y="348"/>
                  </a:lnTo>
                  <a:lnTo>
                    <a:pt x="832" y="350"/>
                  </a:lnTo>
                  <a:lnTo>
                    <a:pt x="826" y="354"/>
                  </a:lnTo>
                  <a:lnTo>
                    <a:pt x="822" y="356"/>
                  </a:lnTo>
                  <a:lnTo>
                    <a:pt x="818" y="360"/>
                  </a:lnTo>
                  <a:lnTo>
                    <a:pt x="816" y="360"/>
                  </a:lnTo>
                  <a:lnTo>
                    <a:pt x="812" y="362"/>
                  </a:lnTo>
                  <a:lnTo>
                    <a:pt x="810" y="362"/>
                  </a:lnTo>
                  <a:lnTo>
                    <a:pt x="808" y="364"/>
                  </a:lnTo>
                  <a:lnTo>
                    <a:pt x="802" y="366"/>
                  </a:lnTo>
                  <a:lnTo>
                    <a:pt x="796" y="368"/>
                  </a:lnTo>
                  <a:lnTo>
                    <a:pt x="790" y="370"/>
                  </a:lnTo>
                  <a:lnTo>
                    <a:pt x="784" y="370"/>
                  </a:lnTo>
                  <a:lnTo>
                    <a:pt x="778" y="372"/>
                  </a:lnTo>
                  <a:lnTo>
                    <a:pt x="776" y="372"/>
                  </a:lnTo>
                  <a:lnTo>
                    <a:pt x="770" y="374"/>
                  </a:lnTo>
                  <a:lnTo>
                    <a:pt x="766" y="374"/>
                  </a:lnTo>
                  <a:lnTo>
                    <a:pt x="760" y="374"/>
                  </a:lnTo>
                  <a:lnTo>
                    <a:pt x="754" y="372"/>
                  </a:lnTo>
                  <a:lnTo>
                    <a:pt x="752" y="372"/>
                  </a:lnTo>
                  <a:lnTo>
                    <a:pt x="748" y="372"/>
                  </a:lnTo>
                  <a:lnTo>
                    <a:pt x="744" y="372"/>
                  </a:lnTo>
                  <a:lnTo>
                    <a:pt x="738" y="372"/>
                  </a:lnTo>
                  <a:lnTo>
                    <a:pt x="732" y="368"/>
                  </a:lnTo>
                  <a:lnTo>
                    <a:pt x="730" y="368"/>
                  </a:lnTo>
                  <a:lnTo>
                    <a:pt x="724" y="362"/>
                  </a:lnTo>
                  <a:lnTo>
                    <a:pt x="718" y="360"/>
                  </a:lnTo>
                  <a:lnTo>
                    <a:pt x="712" y="358"/>
                  </a:lnTo>
                  <a:lnTo>
                    <a:pt x="706" y="356"/>
                  </a:lnTo>
                  <a:lnTo>
                    <a:pt x="700" y="360"/>
                  </a:lnTo>
                  <a:lnTo>
                    <a:pt x="694" y="362"/>
                  </a:lnTo>
                  <a:lnTo>
                    <a:pt x="694" y="364"/>
                  </a:lnTo>
                  <a:lnTo>
                    <a:pt x="688" y="366"/>
                  </a:lnTo>
                  <a:lnTo>
                    <a:pt x="682" y="368"/>
                  </a:lnTo>
                  <a:lnTo>
                    <a:pt x="676" y="370"/>
                  </a:lnTo>
                  <a:lnTo>
                    <a:pt x="670" y="372"/>
                  </a:lnTo>
                  <a:lnTo>
                    <a:pt x="666" y="374"/>
                  </a:lnTo>
                  <a:lnTo>
                    <a:pt x="666" y="376"/>
                  </a:lnTo>
                  <a:lnTo>
                    <a:pt x="660" y="374"/>
                  </a:lnTo>
                  <a:lnTo>
                    <a:pt x="654" y="374"/>
                  </a:lnTo>
                  <a:lnTo>
                    <a:pt x="648" y="376"/>
                  </a:lnTo>
                  <a:lnTo>
                    <a:pt x="642" y="378"/>
                  </a:lnTo>
                  <a:lnTo>
                    <a:pt x="640" y="370"/>
                  </a:lnTo>
                  <a:lnTo>
                    <a:pt x="634" y="366"/>
                  </a:lnTo>
                  <a:lnTo>
                    <a:pt x="632" y="366"/>
                  </a:lnTo>
                  <a:lnTo>
                    <a:pt x="626" y="366"/>
                  </a:lnTo>
                  <a:lnTo>
                    <a:pt x="620" y="364"/>
                  </a:lnTo>
                  <a:lnTo>
                    <a:pt x="618" y="362"/>
                  </a:lnTo>
                  <a:lnTo>
                    <a:pt x="616" y="368"/>
                  </a:lnTo>
                  <a:lnTo>
                    <a:pt x="614" y="374"/>
                  </a:lnTo>
                  <a:lnTo>
                    <a:pt x="614" y="380"/>
                  </a:lnTo>
                  <a:lnTo>
                    <a:pt x="614" y="386"/>
                  </a:lnTo>
                  <a:lnTo>
                    <a:pt x="614" y="392"/>
                  </a:lnTo>
                  <a:lnTo>
                    <a:pt x="618" y="394"/>
                  </a:lnTo>
                  <a:lnTo>
                    <a:pt x="618" y="398"/>
                  </a:lnTo>
                  <a:lnTo>
                    <a:pt x="620" y="398"/>
                  </a:lnTo>
                  <a:lnTo>
                    <a:pt x="622" y="404"/>
                  </a:lnTo>
                  <a:lnTo>
                    <a:pt x="616" y="404"/>
                  </a:lnTo>
                  <a:lnTo>
                    <a:pt x="614" y="404"/>
                  </a:lnTo>
                  <a:lnTo>
                    <a:pt x="608" y="406"/>
                  </a:lnTo>
                  <a:lnTo>
                    <a:pt x="606" y="404"/>
                  </a:lnTo>
                  <a:lnTo>
                    <a:pt x="604" y="404"/>
                  </a:lnTo>
                  <a:lnTo>
                    <a:pt x="604" y="408"/>
                  </a:lnTo>
                  <a:lnTo>
                    <a:pt x="606" y="414"/>
                  </a:lnTo>
                  <a:lnTo>
                    <a:pt x="606" y="420"/>
                  </a:lnTo>
                  <a:lnTo>
                    <a:pt x="600" y="424"/>
                  </a:lnTo>
                  <a:lnTo>
                    <a:pt x="596" y="428"/>
                  </a:lnTo>
                  <a:lnTo>
                    <a:pt x="594" y="432"/>
                  </a:lnTo>
                  <a:lnTo>
                    <a:pt x="588" y="428"/>
                  </a:lnTo>
                  <a:lnTo>
                    <a:pt x="586" y="426"/>
                  </a:lnTo>
                  <a:lnTo>
                    <a:pt x="580" y="424"/>
                  </a:lnTo>
                  <a:lnTo>
                    <a:pt x="584" y="420"/>
                  </a:lnTo>
                  <a:lnTo>
                    <a:pt x="582" y="418"/>
                  </a:lnTo>
                  <a:lnTo>
                    <a:pt x="580" y="412"/>
                  </a:lnTo>
                  <a:lnTo>
                    <a:pt x="576" y="406"/>
                  </a:lnTo>
                  <a:lnTo>
                    <a:pt x="570" y="400"/>
                  </a:lnTo>
                  <a:lnTo>
                    <a:pt x="574" y="394"/>
                  </a:lnTo>
                  <a:lnTo>
                    <a:pt x="580" y="388"/>
                  </a:lnTo>
                  <a:lnTo>
                    <a:pt x="586" y="382"/>
                  </a:lnTo>
                  <a:lnTo>
                    <a:pt x="592" y="376"/>
                  </a:lnTo>
                  <a:lnTo>
                    <a:pt x="592" y="370"/>
                  </a:lnTo>
                  <a:lnTo>
                    <a:pt x="590" y="364"/>
                  </a:lnTo>
                  <a:lnTo>
                    <a:pt x="584" y="358"/>
                  </a:lnTo>
                  <a:lnTo>
                    <a:pt x="578" y="356"/>
                  </a:lnTo>
                  <a:lnTo>
                    <a:pt x="576" y="360"/>
                  </a:lnTo>
                  <a:lnTo>
                    <a:pt x="570" y="366"/>
                  </a:lnTo>
                  <a:lnTo>
                    <a:pt x="564" y="368"/>
                  </a:lnTo>
                  <a:lnTo>
                    <a:pt x="558" y="370"/>
                  </a:lnTo>
                  <a:lnTo>
                    <a:pt x="556" y="372"/>
                  </a:lnTo>
                  <a:lnTo>
                    <a:pt x="562" y="370"/>
                  </a:lnTo>
                  <a:lnTo>
                    <a:pt x="560" y="376"/>
                  </a:lnTo>
                  <a:lnTo>
                    <a:pt x="556" y="380"/>
                  </a:lnTo>
                  <a:lnTo>
                    <a:pt x="550" y="380"/>
                  </a:lnTo>
                  <a:lnTo>
                    <a:pt x="546" y="382"/>
                  </a:lnTo>
                  <a:lnTo>
                    <a:pt x="542" y="380"/>
                  </a:lnTo>
                  <a:lnTo>
                    <a:pt x="536" y="378"/>
                  </a:lnTo>
                  <a:lnTo>
                    <a:pt x="530" y="374"/>
                  </a:lnTo>
                  <a:lnTo>
                    <a:pt x="524" y="372"/>
                  </a:lnTo>
                  <a:lnTo>
                    <a:pt x="522" y="370"/>
                  </a:lnTo>
                  <a:lnTo>
                    <a:pt x="518" y="370"/>
                  </a:lnTo>
                  <a:lnTo>
                    <a:pt x="514" y="366"/>
                  </a:lnTo>
                  <a:lnTo>
                    <a:pt x="508" y="364"/>
                  </a:lnTo>
                  <a:lnTo>
                    <a:pt x="502" y="366"/>
                  </a:lnTo>
                  <a:lnTo>
                    <a:pt x="500" y="366"/>
                  </a:lnTo>
                  <a:lnTo>
                    <a:pt x="494" y="370"/>
                  </a:lnTo>
                  <a:lnTo>
                    <a:pt x="488" y="376"/>
                  </a:lnTo>
                  <a:lnTo>
                    <a:pt x="482" y="380"/>
                  </a:lnTo>
                  <a:lnTo>
                    <a:pt x="478" y="386"/>
                  </a:lnTo>
                  <a:lnTo>
                    <a:pt x="474" y="390"/>
                  </a:lnTo>
                  <a:lnTo>
                    <a:pt x="472" y="396"/>
                  </a:lnTo>
                  <a:lnTo>
                    <a:pt x="470" y="398"/>
                  </a:lnTo>
                  <a:lnTo>
                    <a:pt x="466" y="404"/>
                  </a:lnTo>
                  <a:lnTo>
                    <a:pt x="462" y="398"/>
                  </a:lnTo>
                  <a:lnTo>
                    <a:pt x="456" y="404"/>
                  </a:lnTo>
                  <a:lnTo>
                    <a:pt x="452" y="410"/>
                  </a:lnTo>
                  <a:lnTo>
                    <a:pt x="446" y="408"/>
                  </a:lnTo>
                  <a:lnTo>
                    <a:pt x="440" y="410"/>
                  </a:lnTo>
                  <a:lnTo>
                    <a:pt x="434" y="412"/>
                  </a:lnTo>
                  <a:lnTo>
                    <a:pt x="428" y="412"/>
                  </a:lnTo>
                  <a:lnTo>
                    <a:pt x="422" y="412"/>
                  </a:lnTo>
                  <a:lnTo>
                    <a:pt x="416" y="414"/>
                  </a:lnTo>
                  <a:lnTo>
                    <a:pt x="410" y="414"/>
                  </a:lnTo>
                  <a:lnTo>
                    <a:pt x="404" y="416"/>
                  </a:lnTo>
                  <a:lnTo>
                    <a:pt x="402" y="418"/>
                  </a:lnTo>
                  <a:lnTo>
                    <a:pt x="396" y="418"/>
                  </a:lnTo>
                  <a:lnTo>
                    <a:pt x="388" y="416"/>
                  </a:lnTo>
                  <a:lnTo>
                    <a:pt x="388" y="414"/>
                  </a:lnTo>
                  <a:lnTo>
                    <a:pt x="380" y="412"/>
                  </a:lnTo>
                  <a:lnTo>
                    <a:pt x="376" y="408"/>
                  </a:lnTo>
                  <a:lnTo>
                    <a:pt x="370" y="402"/>
                  </a:lnTo>
                  <a:lnTo>
                    <a:pt x="364" y="396"/>
                  </a:lnTo>
                  <a:lnTo>
                    <a:pt x="362" y="392"/>
                  </a:lnTo>
                  <a:lnTo>
                    <a:pt x="356" y="386"/>
                  </a:lnTo>
                  <a:lnTo>
                    <a:pt x="350" y="382"/>
                  </a:lnTo>
                  <a:lnTo>
                    <a:pt x="346" y="380"/>
                  </a:lnTo>
                  <a:lnTo>
                    <a:pt x="338" y="378"/>
                  </a:lnTo>
                  <a:lnTo>
                    <a:pt x="334" y="376"/>
                  </a:lnTo>
                  <a:lnTo>
                    <a:pt x="332" y="374"/>
                  </a:lnTo>
                  <a:lnTo>
                    <a:pt x="326" y="372"/>
                  </a:lnTo>
                  <a:lnTo>
                    <a:pt x="320" y="368"/>
                  </a:lnTo>
                  <a:lnTo>
                    <a:pt x="314" y="366"/>
                  </a:lnTo>
                  <a:lnTo>
                    <a:pt x="308" y="364"/>
                  </a:lnTo>
                  <a:lnTo>
                    <a:pt x="304" y="362"/>
                  </a:lnTo>
                  <a:lnTo>
                    <a:pt x="298" y="362"/>
                  </a:lnTo>
                  <a:lnTo>
                    <a:pt x="292" y="360"/>
                  </a:lnTo>
                  <a:lnTo>
                    <a:pt x="288" y="360"/>
                  </a:lnTo>
                  <a:lnTo>
                    <a:pt x="282" y="362"/>
                  </a:lnTo>
                  <a:lnTo>
                    <a:pt x="276" y="360"/>
                  </a:lnTo>
                  <a:lnTo>
                    <a:pt x="270" y="362"/>
                  </a:lnTo>
                  <a:lnTo>
                    <a:pt x="270" y="368"/>
                  </a:lnTo>
                  <a:lnTo>
                    <a:pt x="270" y="374"/>
                  </a:lnTo>
                  <a:lnTo>
                    <a:pt x="270" y="380"/>
                  </a:lnTo>
                  <a:lnTo>
                    <a:pt x="268" y="386"/>
                  </a:lnTo>
                  <a:lnTo>
                    <a:pt x="266" y="392"/>
                  </a:lnTo>
                  <a:lnTo>
                    <a:pt x="268" y="398"/>
                  </a:lnTo>
                  <a:lnTo>
                    <a:pt x="264" y="404"/>
                  </a:lnTo>
                  <a:lnTo>
                    <a:pt x="262" y="406"/>
                  </a:lnTo>
                  <a:lnTo>
                    <a:pt x="256" y="400"/>
                  </a:lnTo>
                  <a:lnTo>
                    <a:pt x="250" y="398"/>
                  </a:lnTo>
                  <a:lnTo>
                    <a:pt x="246" y="400"/>
                  </a:lnTo>
                  <a:lnTo>
                    <a:pt x="240" y="402"/>
                  </a:lnTo>
                  <a:lnTo>
                    <a:pt x="240" y="404"/>
                  </a:lnTo>
                  <a:lnTo>
                    <a:pt x="234" y="406"/>
                  </a:lnTo>
                  <a:lnTo>
                    <a:pt x="228" y="410"/>
                  </a:lnTo>
                  <a:lnTo>
                    <a:pt x="222" y="410"/>
                  </a:lnTo>
                  <a:lnTo>
                    <a:pt x="216" y="408"/>
                  </a:lnTo>
                  <a:lnTo>
                    <a:pt x="210" y="406"/>
                  </a:lnTo>
                  <a:lnTo>
                    <a:pt x="204" y="402"/>
                  </a:lnTo>
                  <a:lnTo>
                    <a:pt x="198" y="402"/>
                  </a:lnTo>
                  <a:lnTo>
                    <a:pt x="196" y="400"/>
                  </a:lnTo>
                  <a:lnTo>
                    <a:pt x="190" y="396"/>
                  </a:lnTo>
                  <a:lnTo>
                    <a:pt x="188" y="390"/>
                  </a:lnTo>
                  <a:lnTo>
                    <a:pt x="188" y="384"/>
                  </a:lnTo>
                  <a:lnTo>
                    <a:pt x="182" y="382"/>
                  </a:lnTo>
                  <a:lnTo>
                    <a:pt x="184" y="376"/>
                  </a:lnTo>
                  <a:lnTo>
                    <a:pt x="180" y="370"/>
                  </a:lnTo>
                  <a:lnTo>
                    <a:pt x="174" y="370"/>
                  </a:lnTo>
                  <a:lnTo>
                    <a:pt x="172" y="376"/>
                  </a:lnTo>
                  <a:lnTo>
                    <a:pt x="166" y="372"/>
                  </a:lnTo>
                  <a:lnTo>
                    <a:pt x="164" y="372"/>
                  </a:lnTo>
                  <a:lnTo>
                    <a:pt x="158" y="372"/>
                  </a:lnTo>
                  <a:lnTo>
                    <a:pt x="156" y="366"/>
                  </a:lnTo>
                  <a:lnTo>
                    <a:pt x="156" y="364"/>
                  </a:lnTo>
                  <a:lnTo>
                    <a:pt x="150" y="366"/>
                  </a:lnTo>
                  <a:lnTo>
                    <a:pt x="148" y="360"/>
                  </a:lnTo>
                  <a:lnTo>
                    <a:pt x="144" y="366"/>
                  </a:lnTo>
                  <a:lnTo>
                    <a:pt x="140" y="366"/>
                  </a:lnTo>
                  <a:lnTo>
                    <a:pt x="136" y="372"/>
                  </a:lnTo>
                  <a:lnTo>
                    <a:pt x="130" y="376"/>
                  </a:lnTo>
                  <a:lnTo>
                    <a:pt x="124" y="382"/>
                  </a:lnTo>
                  <a:lnTo>
                    <a:pt x="126" y="378"/>
                  </a:lnTo>
                  <a:lnTo>
                    <a:pt x="120" y="374"/>
                  </a:lnTo>
                  <a:lnTo>
                    <a:pt x="126" y="370"/>
                  </a:lnTo>
                  <a:lnTo>
                    <a:pt x="128" y="364"/>
                  </a:lnTo>
                  <a:lnTo>
                    <a:pt x="122" y="368"/>
                  </a:lnTo>
                  <a:lnTo>
                    <a:pt x="116" y="368"/>
                  </a:lnTo>
                  <a:lnTo>
                    <a:pt x="110" y="368"/>
                  </a:lnTo>
                  <a:lnTo>
                    <a:pt x="106" y="370"/>
                  </a:lnTo>
                  <a:lnTo>
                    <a:pt x="100" y="374"/>
                  </a:lnTo>
                  <a:lnTo>
                    <a:pt x="94" y="374"/>
                  </a:lnTo>
                  <a:lnTo>
                    <a:pt x="88" y="374"/>
                  </a:lnTo>
                  <a:lnTo>
                    <a:pt x="92" y="368"/>
                  </a:lnTo>
                  <a:lnTo>
                    <a:pt x="100" y="368"/>
                  </a:lnTo>
                  <a:lnTo>
                    <a:pt x="106" y="366"/>
                  </a:lnTo>
                  <a:lnTo>
                    <a:pt x="112" y="364"/>
                  </a:lnTo>
                  <a:lnTo>
                    <a:pt x="118" y="366"/>
                  </a:lnTo>
                  <a:lnTo>
                    <a:pt x="124" y="366"/>
                  </a:lnTo>
                  <a:lnTo>
                    <a:pt x="124" y="360"/>
                  </a:lnTo>
                  <a:lnTo>
                    <a:pt x="130" y="356"/>
                  </a:lnTo>
                  <a:lnTo>
                    <a:pt x="136" y="350"/>
                  </a:lnTo>
                  <a:lnTo>
                    <a:pt x="130" y="348"/>
                  </a:lnTo>
                  <a:lnTo>
                    <a:pt x="124" y="350"/>
                  </a:lnTo>
                  <a:lnTo>
                    <a:pt x="118" y="350"/>
                  </a:lnTo>
                  <a:lnTo>
                    <a:pt x="112" y="350"/>
                  </a:lnTo>
                  <a:lnTo>
                    <a:pt x="106" y="352"/>
                  </a:lnTo>
                  <a:lnTo>
                    <a:pt x="104" y="352"/>
                  </a:lnTo>
                  <a:lnTo>
                    <a:pt x="98" y="352"/>
                  </a:lnTo>
                  <a:lnTo>
                    <a:pt x="92" y="352"/>
                  </a:lnTo>
                  <a:lnTo>
                    <a:pt x="86" y="350"/>
                  </a:lnTo>
                  <a:lnTo>
                    <a:pt x="80" y="354"/>
                  </a:lnTo>
                  <a:lnTo>
                    <a:pt x="76" y="348"/>
                  </a:lnTo>
                  <a:lnTo>
                    <a:pt x="78" y="342"/>
                  </a:lnTo>
                  <a:lnTo>
                    <a:pt x="84" y="340"/>
                  </a:lnTo>
                  <a:lnTo>
                    <a:pt x="90" y="346"/>
                  </a:lnTo>
                  <a:lnTo>
                    <a:pt x="96" y="342"/>
                  </a:lnTo>
                  <a:lnTo>
                    <a:pt x="96" y="336"/>
                  </a:lnTo>
                  <a:lnTo>
                    <a:pt x="92" y="334"/>
                  </a:lnTo>
                  <a:lnTo>
                    <a:pt x="90" y="328"/>
                  </a:lnTo>
                  <a:lnTo>
                    <a:pt x="84" y="328"/>
                  </a:lnTo>
                  <a:lnTo>
                    <a:pt x="86" y="322"/>
                  </a:lnTo>
                  <a:lnTo>
                    <a:pt x="80" y="328"/>
                  </a:lnTo>
                  <a:lnTo>
                    <a:pt x="74" y="326"/>
                  </a:lnTo>
                  <a:lnTo>
                    <a:pt x="74" y="320"/>
                  </a:lnTo>
                  <a:lnTo>
                    <a:pt x="72" y="318"/>
                  </a:lnTo>
                  <a:lnTo>
                    <a:pt x="72" y="314"/>
                  </a:lnTo>
                  <a:lnTo>
                    <a:pt x="68" y="308"/>
                  </a:lnTo>
                  <a:lnTo>
                    <a:pt x="62" y="306"/>
                  </a:lnTo>
                  <a:lnTo>
                    <a:pt x="68" y="304"/>
                  </a:lnTo>
                  <a:lnTo>
                    <a:pt x="74" y="302"/>
                  </a:lnTo>
                  <a:lnTo>
                    <a:pt x="76" y="294"/>
                  </a:lnTo>
                  <a:lnTo>
                    <a:pt x="74" y="290"/>
                  </a:lnTo>
                  <a:lnTo>
                    <a:pt x="74" y="284"/>
                  </a:lnTo>
                  <a:lnTo>
                    <a:pt x="68" y="284"/>
                  </a:lnTo>
                  <a:lnTo>
                    <a:pt x="62" y="280"/>
                  </a:lnTo>
                  <a:lnTo>
                    <a:pt x="58" y="278"/>
                  </a:lnTo>
                  <a:lnTo>
                    <a:pt x="50" y="280"/>
                  </a:lnTo>
                  <a:lnTo>
                    <a:pt x="50" y="272"/>
                  </a:lnTo>
                  <a:lnTo>
                    <a:pt x="46" y="268"/>
                  </a:lnTo>
                  <a:lnTo>
                    <a:pt x="40" y="268"/>
                  </a:lnTo>
                  <a:lnTo>
                    <a:pt x="36" y="274"/>
                  </a:lnTo>
                  <a:lnTo>
                    <a:pt x="30" y="272"/>
                  </a:lnTo>
                  <a:lnTo>
                    <a:pt x="24" y="268"/>
                  </a:lnTo>
                  <a:lnTo>
                    <a:pt x="20" y="266"/>
                  </a:lnTo>
                  <a:lnTo>
                    <a:pt x="18" y="260"/>
                  </a:lnTo>
                  <a:lnTo>
                    <a:pt x="24" y="260"/>
                  </a:lnTo>
                  <a:lnTo>
                    <a:pt x="28" y="254"/>
                  </a:lnTo>
                  <a:lnTo>
                    <a:pt x="24" y="248"/>
                  </a:lnTo>
                  <a:lnTo>
                    <a:pt x="20" y="242"/>
                  </a:lnTo>
                  <a:lnTo>
                    <a:pt x="20" y="238"/>
                  </a:lnTo>
                  <a:lnTo>
                    <a:pt x="26" y="236"/>
                  </a:lnTo>
                  <a:lnTo>
                    <a:pt x="32" y="240"/>
                  </a:lnTo>
                  <a:lnTo>
                    <a:pt x="36" y="246"/>
                  </a:lnTo>
                  <a:lnTo>
                    <a:pt x="34" y="252"/>
                  </a:lnTo>
                  <a:lnTo>
                    <a:pt x="38" y="258"/>
                  </a:lnTo>
                  <a:lnTo>
                    <a:pt x="40" y="260"/>
                  </a:lnTo>
                  <a:lnTo>
                    <a:pt x="40" y="254"/>
                  </a:lnTo>
                  <a:lnTo>
                    <a:pt x="46" y="256"/>
                  </a:lnTo>
                  <a:lnTo>
                    <a:pt x="50" y="256"/>
                  </a:lnTo>
                  <a:lnTo>
                    <a:pt x="56" y="254"/>
                  </a:lnTo>
                  <a:lnTo>
                    <a:pt x="62" y="254"/>
                  </a:lnTo>
                  <a:lnTo>
                    <a:pt x="64" y="250"/>
                  </a:lnTo>
                  <a:lnTo>
                    <a:pt x="58" y="250"/>
                  </a:lnTo>
                  <a:lnTo>
                    <a:pt x="52" y="250"/>
                  </a:lnTo>
                  <a:lnTo>
                    <a:pt x="48" y="244"/>
                  </a:lnTo>
                  <a:lnTo>
                    <a:pt x="46" y="242"/>
                  </a:lnTo>
                  <a:lnTo>
                    <a:pt x="42" y="236"/>
                  </a:lnTo>
                  <a:lnTo>
                    <a:pt x="46" y="232"/>
                  </a:lnTo>
                  <a:lnTo>
                    <a:pt x="52" y="226"/>
                  </a:lnTo>
                  <a:lnTo>
                    <a:pt x="58" y="224"/>
                  </a:lnTo>
                  <a:lnTo>
                    <a:pt x="54" y="218"/>
                  </a:lnTo>
                  <a:lnTo>
                    <a:pt x="46" y="220"/>
                  </a:lnTo>
                  <a:lnTo>
                    <a:pt x="44" y="216"/>
                  </a:lnTo>
                  <a:lnTo>
                    <a:pt x="46" y="210"/>
                  </a:lnTo>
                  <a:lnTo>
                    <a:pt x="46" y="204"/>
                  </a:lnTo>
                  <a:lnTo>
                    <a:pt x="40" y="202"/>
                  </a:lnTo>
                  <a:lnTo>
                    <a:pt x="38" y="200"/>
                  </a:lnTo>
                  <a:lnTo>
                    <a:pt x="34" y="194"/>
                  </a:lnTo>
                  <a:lnTo>
                    <a:pt x="38" y="188"/>
                  </a:lnTo>
                  <a:lnTo>
                    <a:pt x="44" y="182"/>
                  </a:lnTo>
                  <a:lnTo>
                    <a:pt x="48" y="178"/>
                  </a:lnTo>
                  <a:lnTo>
                    <a:pt x="42" y="174"/>
                  </a:lnTo>
                  <a:lnTo>
                    <a:pt x="38" y="174"/>
                  </a:lnTo>
                  <a:lnTo>
                    <a:pt x="34" y="174"/>
                  </a:lnTo>
                  <a:lnTo>
                    <a:pt x="28" y="176"/>
                  </a:lnTo>
                  <a:lnTo>
                    <a:pt x="22" y="178"/>
                  </a:lnTo>
                  <a:lnTo>
                    <a:pt x="16" y="180"/>
                  </a:lnTo>
                  <a:lnTo>
                    <a:pt x="10" y="182"/>
                  </a:lnTo>
                  <a:lnTo>
                    <a:pt x="4" y="182"/>
                  </a:lnTo>
                  <a:lnTo>
                    <a:pt x="0" y="18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7" name="Freeform 94"/>
            <p:cNvSpPr>
              <a:spLocks/>
            </p:cNvSpPr>
            <p:nvPr/>
          </p:nvSpPr>
          <p:spPr bwMode="auto">
            <a:xfrm>
              <a:off x="5159375" y="3181350"/>
              <a:ext cx="242888" cy="236538"/>
            </a:xfrm>
            <a:custGeom>
              <a:avLst/>
              <a:gdLst>
                <a:gd name="T0" fmla="*/ 2147483647 w 594"/>
                <a:gd name="T1" fmla="*/ 2147483647 h 574"/>
                <a:gd name="T2" fmla="*/ 2147483647 w 594"/>
                <a:gd name="T3" fmla="*/ 2147483647 h 574"/>
                <a:gd name="T4" fmla="*/ 2147483647 w 594"/>
                <a:gd name="T5" fmla="*/ 2147483647 h 574"/>
                <a:gd name="T6" fmla="*/ 2147483647 w 594"/>
                <a:gd name="T7" fmla="*/ 2147483647 h 574"/>
                <a:gd name="T8" fmla="*/ 2147483647 w 594"/>
                <a:gd name="T9" fmla="*/ 2147483647 h 574"/>
                <a:gd name="T10" fmla="*/ 2147483647 w 594"/>
                <a:gd name="T11" fmla="*/ 2147483647 h 574"/>
                <a:gd name="T12" fmla="*/ 2147483647 w 594"/>
                <a:gd name="T13" fmla="*/ 2147483647 h 574"/>
                <a:gd name="T14" fmla="*/ 2147483647 w 594"/>
                <a:gd name="T15" fmla="*/ 2147483647 h 574"/>
                <a:gd name="T16" fmla="*/ 2147483647 w 594"/>
                <a:gd name="T17" fmla="*/ 2147483647 h 574"/>
                <a:gd name="T18" fmla="*/ 2147483647 w 594"/>
                <a:gd name="T19" fmla="*/ 2147483647 h 574"/>
                <a:gd name="T20" fmla="*/ 2147483647 w 594"/>
                <a:gd name="T21" fmla="*/ 2147483647 h 574"/>
                <a:gd name="T22" fmla="*/ 2147483647 w 594"/>
                <a:gd name="T23" fmla="*/ 2147483647 h 574"/>
                <a:gd name="T24" fmla="*/ 2147483647 w 594"/>
                <a:gd name="T25" fmla="*/ 0 h 574"/>
                <a:gd name="T26" fmla="*/ 2147483647 w 594"/>
                <a:gd name="T27" fmla="*/ 2147483647 h 574"/>
                <a:gd name="T28" fmla="*/ 2147483647 w 594"/>
                <a:gd name="T29" fmla="*/ 2147483647 h 574"/>
                <a:gd name="T30" fmla="*/ 2147483647 w 594"/>
                <a:gd name="T31" fmla="*/ 2147483647 h 574"/>
                <a:gd name="T32" fmla="*/ 2147483647 w 594"/>
                <a:gd name="T33" fmla="*/ 2147483647 h 574"/>
                <a:gd name="T34" fmla="*/ 2147483647 w 594"/>
                <a:gd name="T35" fmla="*/ 2147483647 h 574"/>
                <a:gd name="T36" fmla="*/ 2147483647 w 594"/>
                <a:gd name="T37" fmla="*/ 2147483647 h 574"/>
                <a:gd name="T38" fmla="*/ 2147483647 w 594"/>
                <a:gd name="T39" fmla="*/ 2147483647 h 574"/>
                <a:gd name="T40" fmla="*/ 2147483647 w 594"/>
                <a:gd name="T41" fmla="*/ 2147483647 h 574"/>
                <a:gd name="T42" fmla="*/ 2147483647 w 594"/>
                <a:gd name="T43" fmla="*/ 2147483647 h 574"/>
                <a:gd name="T44" fmla="*/ 2147483647 w 594"/>
                <a:gd name="T45" fmla="*/ 2147483647 h 574"/>
                <a:gd name="T46" fmla="*/ 2147483647 w 594"/>
                <a:gd name="T47" fmla="*/ 2147483647 h 574"/>
                <a:gd name="T48" fmla="*/ 2147483647 w 594"/>
                <a:gd name="T49" fmla="*/ 2147483647 h 574"/>
                <a:gd name="T50" fmla="*/ 2147483647 w 594"/>
                <a:gd name="T51" fmla="*/ 2147483647 h 574"/>
                <a:gd name="T52" fmla="*/ 2147483647 w 594"/>
                <a:gd name="T53" fmla="*/ 2147483647 h 574"/>
                <a:gd name="T54" fmla="*/ 2147483647 w 594"/>
                <a:gd name="T55" fmla="*/ 2147483647 h 574"/>
                <a:gd name="T56" fmla="*/ 2147483647 w 594"/>
                <a:gd name="T57" fmla="*/ 2147483647 h 574"/>
                <a:gd name="T58" fmla="*/ 2147483647 w 594"/>
                <a:gd name="T59" fmla="*/ 2147483647 h 574"/>
                <a:gd name="T60" fmla="*/ 2147483647 w 594"/>
                <a:gd name="T61" fmla="*/ 2147483647 h 574"/>
                <a:gd name="T62" fmla="*/ 2147483647 w 594"/>
                <a:gd name="T63" fmla="*/ 2147483647 h 574"/>
                <a:gd name="T64" fmla="*/ 2147483647 w 594"/>
                <a:gd name="T65" fmla="*/ 2147483647 h 574"/>
                <a:gd name="T66" fmla="*/ 2147483647 w 594"/>
                <a:gd name="T67" fmla="*/ 2147483647 h 574"/>
                <a:gd name="T68" fmla="*/ 2147483647 w 594"/>
                <a:gd name="T69" fmla="*/ 2147483647 h 574"/>
                <a:gd name="T70" fmla="*/ 2147483647 w 594"/>
                <a:gd name="T71" fmla="*/ 2147483647 h 574"/>
                <a:gd name="T72" fmla="*/ 2147483647 w 594"/>
                <a:gd name="T73" fmla="*/ 2147483647 h 574"/>
                <a:gd name="T74" fmla="*/ 2147483647 w 594"/>
                <a:gd name="T75" fmla="*/ 2147483647 h 574"/>
                <a:gd name="T76" fmla="*/ 2147483647 w 594"/>
                <a:gd name="T77" fmla="*/ 2147483647 h 574"/>
                <a:gd name="T78" fmla="*/ 2147483647 w 594"/>
                <a:gd name="T79" fmla="*/ 2147483647 h 574"/>
                <a:gd name="T80" fmla="*/ 2147483647 w 594"/>
                <a:gd name="T81" fmla="*/ 2147483647 h 574"/>
                <a:gd name="T82" fmla="*/ 2147483647 w 594"/>
                <a:gd name="T83" fmla="*/ 2147483647 h 574"/>
                <a:gd name="T84" fmla="*/ 2147483647 w 594"/>
                <a:gd name="T85" fmla="*/ 2147483647 h 574"/>
                <a:gd name="T86" fmla="*/ 2147483647 w 594"/>
                <a:gd name="T87" fmla="*/ 2147483647 h 574"/>
                <a:gd name="T88" fmla="*/ 2147483647 w 594"/>
                <a:gd name="T89" fmla="*/ 2147483647 h 574"/>
                <a:gd name="T90" fmla="*/ 2147483647 w 594"/>
                <a:gd name="T91" fmla="*/ 2147483647 h 574"/>
                <a:gd name="T92" fmla="*/ 2147483647 w 594"/>
                <a:gd name="T93" fmla="*/ 2147483647 h 574"/>
                <a:gd name="T94" fmla="*/ 2147483647 w 594"/>
                <a:gd name="T95" fmla="*/ 2147483647 h 574"/>
                <a:gd name="T96" fmla="*/ 2147483647 w 594"/>
                <a:gd name="T97" fmla="*/ 2147483647 h 574"/>
                <a:gd name="T98" fmla="*/ 2147483647 w 594"/>
                <a:gd name="T99" fmla="*/ 2147483647 h 574"/>
                <a:gd name="T100" fmla="*/ 2147483647 w 594"/>
                <a:gd name="T101" fmla="*/ 2147483647 h 574"/>
                <a:gd name="T102" fmla="*/ 2147483647 w 594"/>
                <a:gd name="T103" fmla="*/ 2147483647 h 574"/>
                <a:gd name="T104" fmla="*/ 2147483647 w 594"/>
                <a:gd name="T105" fmla="*/ 2147483647 h 574"/>
                <a:gd name="T106" fmla="*/ 2147483647 w 594"/>
                <a:gd name="T107" fmla="*/ 2147483647 h 574"/>
                <a:gd name="T108" fmla="*/ 2147483647 w 594"/>
                <a:gd name="T109" fmla="*/ 2147483647 h 574"/>
                <a:gd name="T110" fmla="*/ 2147483647 w 594"/>
                <a:gd name="T111" fmla="*/ 2147483647 h 574"/>
                <a:gd name="T112" fmla="*/ 2147483647 w 594"/>
                <a:gd name="T113" fmla="*/ 2147483647 h 574"/>
                <a:gd name="T114" fmla="*/ 2147483647 w 594"/>
                <a:gd name="T115" fmla="*/ 2147483647 h 574"/>
                <a:gd name="T116" fmla="*/ 2147483647 w 594"/>
                <a:gd name="T117" fmla="*/ 2147483647 h 574"/>
                <a:gd name="T118" fmla="*/ 2147483647 w 594"/>
                <a:gd name="T119" fmla="*/ 2147483647 h 57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4"/>
                <a:gd name="T181" fmla="*/ 0 h 574"/>
                <a:gd name="T182" fmla="*/ 594 w 594"/>
                <a:gd name="T183" fmla="*/ 574 h 57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4" h="574">
                  <a:moveTo>
                    <a:pt x="0" y="276"/>
                  </a:moveTo>
                  <a:lnTo>
                    <a:pt x="6" y="272"/>
                  </a:lnTo>
                  <a:lnTo>
                    <a:pt x="8" y="272"/>
                  </a:lnTo>
                  <a:lnTo>
                    <a:pt x="14" y="268"/>
                  </a:lnTo>
                  <a:lnTo>
                    <a:pt x="20" y="264"/>
                  </a:lnTo>
                  <a:lnTo>
                    <a:pt x="26" y="260"/>
                  </a:lnTo>
                  <a:lnTo>
                    <a:pt x="32" y="256"/>
                  </a:lnTo>
                  <a:lnTo>
                    <a:pt x="38" y="254"/>
                  </a:lnTo>
                  <a:lnTo>
                    <a:pt x="42" y="250"/>
                  </a:lnTo>
                  <a:lnTo>
                    <a:pt x="50" y="246"/>
                  </a:lnTo>
                  <a:lnTo>
                    <a:pt x="52" y="244"/>
                  </a:lnTo>
                  <a:lnTo>
                    <a:pt x="58" y="242"/>
                  </a:lnTo>
                  <a:lnTo>
                    <a:pt x="64" y="238"/>
                  </a:lnTo>
                  <a:lnTo>
                    <a:pt x="66" y="236"/>
                  </a:lnTo>
                  <a:lnTo>
                    <a:pt x="72" y="232"/>
                  </a:lnTo>
                  <a:lnTo>
                    <a:pt x="78" y="230"/>
                  </a:lnTo>
                  <a:lnTo>
                    <a:pt x="84" y="226"/>
                  </a:lnTo>
                  <a:lnTo>
                    <a:pt x="90" y="222"/>
                  </a:lnTo>
                  <a:lnTo>
                    <a:pt x="96" y="218"/>
                  </a:lnTo>
                  <a:lnTo>
                    <a:pt x="102" y="216"/>
                  </a:lnTo>
                  <a:lnTo>
                    <a:pt x="106" y="212"/>
                  </a:lnTo>
                  <a:lnTo>
                    <a:pt x="108" y="212"/>
                  </a:lnTo>
                  <a:lnTo>
                    <a:pt x="110" y="210"/>
                  </a:lnTo>
                  <a:lnTo>
                    <a:pt x="116" y="206"/>
                  </a:lnTo>
                  <a:lnTo>
                    <a:pt x="120" y="204"/>
                  </a:lnTo>
                  <a:lnTo>
                    <a:pt x="122" y="202"/>
                  </a:lnTo>
                  <a:lnTo>
                    <a:pt x="124" y="196"/>
                  </a:lnTo>
                  <a:lnTo>
                    <a:pt x="126" y="190"/>
                  </a:lnTo>
                  <a:lnTo>
                    <a:pt x="128" y="184"/>
                  </a:lnTo>
                  <a:lnTo>
                    <a:pt x="132" y="178"/>
                  </a:lnTo>
                  <a:lnTo>
                    <a:pt x="130" y="172"/>
                  </a:lnTo>
                  <a:lnTo>
                    <a:pt x="130" y="166"/>
                  </a:lnTo>
                  <a:lnTo>
                    <a:pt x="130" y="164"/>
                  </a:lnTo>
                  <a:lnTo>
                    <a:pt x="128" y="156"/>
                  </a:lnTo>
                  <a:lnTo>
                    <a:pt x="128" y="154"/>
                  </a:lnTo>
                  <a:lnTo>
                    <a:pt x="128" y="148"/>
                  </a:lnTo>
                  <a:lnTo>
                    <a:pt x="128" y="142"/>
                  </a:lnTo>
                  <a:lnTo>
                    <a:pt x="130" y="136"/>
                  </a:lnTo>
                  <a:lnTo>
                    <a:pt x="130" y="130"/>
                  </a:lnTo>
                  <a:lnTo>
                    <a:pt x="132" y="124"/>
                  </a:lnTo>
                  <a:lnTo>
                    <a:pt x="134" y="120"/>
                  </a:lnTo>
                  <a:lnTo>
                    <a:pt x="134" y="112"/>
                  </a:lnTo>
                  <a:lnTo>
                    <a:pt x="132" y="106"/>
                  </a:lnTo>
                  <a:lnTo>
                    <a:pt x="130" y="100"/>
                  </a:lnTo>
                  <a:lnTo>
                    <a:pt x="126" y="94"/>
                  </a:lnTo>
                  <a:lnTo>
                    <a:pt x="124" y="88"/>
                  </a:lnTo>
                  <a:lnTo>
                    <a:pt x="124" y="82"/>
                  </a:lnTo>
                  <a:lnTo>
                    <a:pt x="124" y="76"/>
                  </a:lnTo>
                  <a:lnTo>
                    <a:pt x="124" y="74"/>
                  </a:lnTo>
                  <a:lnTo>
                    <a:pt x="124" y="70"/>
                  </a:lnTo>
                  <a:lnTo>
                    <a:pt x="124" y="68"/>
                  </a:lnTo>
                  <a:lnTo>
                    <a:pt x="126" y="64"/>
                  </a:lnTo>
                  <a:lnTo>
                    <a:pt x="128" y="60"/>
                  </a:lnTo>
                  <a:lnTo>
                    <a:pt x="134" y="56"/>
                  </a:lnTo>
                  <a:lnTo>
                    <a:pt x="140" y="56"/>
                  </a:lnTo>
                  <a:lnTo>
                    <a:pt x="146" y="54"/>
                  </a:lnTo>
                  <a:lnTo>
                    <a:pt x="152" y="52"/>
                  </a:lnTo>
                  <a:lnTo>
                    <a:pt x="158" y="48"/>
                  </a:lnTo>
                  <a:lnTo>
                    <a:pt x="162" y="40"/>
                  </a:lnTo>
                  <a:lnTo>
                    <a:pt x="164" y="38"/>
                  </a:lnTo>
                  <a:lnTo>
                    <a:pt x="168" y="34"/>
                  </a:lnTo>
                  <a:lnTo>
                    <a:pt x="172" y="30"/>
                  </a:lnTo>
                  <a:lnTo>
                    <a:pt x="174" y="28"/>
                  </a:lnTo>
                  <a:lnTo>
                    <a:pt x="176" y="26"/>
                  </a:lnTo>
                  <a:lnTo>
                    <a:pt x="180" y="20"/>
                  </a:lnTo>
                  <a:lnTo>
                    <a:pt x="178" y="18"/>
                  </a:lnTo>
                  <a:lnTo>
                    <a:pt x="182" y="18"/>
                  </a:lnTo>
                  <a:lnTo>
                    <a:pt x="188" y="16"/>
                  </a:lnTo>
                  <a:lnTo>
                    <a:pt x="190" y="14"/>
                  </a:lnTo>
                  <a:lnTo>
                    <a:pt x="194" y="8"/>
                  </a:lnTo>
                  <a:lnTo>
                    <a:pt x="198" y="2"/>
                  </a:lnTo>
                  <a:lnTo>
                    <a:pt x="200" y="0"/>
                  </a:lnTo>
                  <a:lnTo>
                    <a:pt x="206" y="0"/>
                  </a:lnTo>
                  <a:lnTo>
                    <a:pt x="212" y="2"/>
                  </a:lnTo>
                  <a:lnTo>
                    <a:pt x="218" y="0"/>
                  </a:lnTo>
                  <a:lnTo>
                    <a:pt x="224" y="0"/>
                  </a:lnTo>
                  <a:lnTo>
                    <a:pt x="228" y="2"/>
                  </a:lnTo>
                  <a:lnTo>
                    <a:pt x="234" y="4"/>
                  </a:lnTo>
                  <a:lnTo>
                    <a:pt x="242" y="6"/>
                  </a:lnTo>
                  <a:lnTo>
                    <a:pt x="246" y="8"/>
                  </a:lnTo>
                  <a:lnTo>
                    <a:pt x="252" y="10"/>
                  </a:lnTo>
                  <a:lnTo>
                    <a:pt x="258" y="10"/>
                  </a:lnTo>
                  <a:lnTo>
                    <a:pt x="264" y="10"/>
                  </a:lnTo>
                  <a:lnTo>
                    <a:pt x="270" y="4"/>
                  </a:lnTo>
                  <a:lnTo>
                    <a:pt x="276" y="4"/>
                  </a:lnTo>
                  <a:lnTo>
                    <a:pt x="282" y="6"/>
                  </a:lnTo>
                  <a:lnTo>
                    <a:pt x="286" y="10"/>
                  </a:lnTo>
                  <a:lnTo>
                    <a:pt x="284" y="16"/>
                  </a:lnTo>
                  <a:lnTo>
                    <a:pt x="286" y="22"/>
                  </a:lnTo>
                  <a:lnTo>
                    <a:pt x="292" y="26"/>
                  </a:lnTo>
                  <a:lnTo>
                    <a:pt x="296" y="22"/>
                  </a:lnTo>
                  <a:lnTo>
                    <a:pt x="302" y="18"/>
                  </a:lnTo>
                  <a:lnTo>
                    <a:pt x="308" y="12"/>
                  </a:lnTo>
                  <a:lnTo>
                    <a:pt x="314" y="14"/>
                  </a:lnTo>
                  <a:lnTo>
                    <a:pt x="318" y="14"/>
                  </a:lnTo>
                  <a:lnTo>
                    <a:pt x="318" y="18"/>
                  </a:lnTo>
                  <a:lnTo>
                    <a:pt x="322" y="22"/>
                  </a:lnTo>
                  <a:lnTo>
                    <a:pt x="324" y="28"/>
                  </a:lnTo>
                  <a:lnTo>
                    <a:pt x="324" y="34"/>
                  </a:lnTo>
                  <a:lnTo>
                    <a:pt x="326" y="40"/>
                  </a:lnTo>
                  <a:lnTo>
                    <a:pt x="332" y="42"/>
                  </a:lnTo>
                  <a:lnTo>
                    <a:pt x="334" y="42"/>
                  </a:lnTo>
                  <a:lnTo>
                    <a:pt x="338" y="48"/>
                  </a:lnTo>
                  <a:lnTo>
                    <a:pt x="336" y="52"/>
                  </a:lnTo>
                  <a:lnTo>
                    <a:pt x="336" y="58"/>
                  </a:lnTo>
                  <a:lnTo>
                    <a:pt x="340" y="62"/>
                  </a:lnTo>
                  <a:lnTo>
                    <a:pt x="346" y="66"/>
                  </a:lnTo>
                  <a:lnTo>
                    <a:pt x="352" y="68"/>
                  </a:lnTo>
                  <a:lnTo>
                    <a:pt x="354" y="76"/>
                  </a:lnTo>
                  <a:lnTo>
                    <a:pt x="356" y="82"/>
                  </a:lnTo>
                  <a:lnTo>
                    <a:pt x="360" y="88"/>
                  </a:lnTo>
                  <a:lnTo>
                    <a:pt x="358" y="94"/>
                  </a:lnTo>
                  <a:lnTo>
                    <a:pt x="368" y="94"/>
                  </a:lnTo>
                  <a:lnTo>
                    <a:pt x="372" y="94"/>
                  </a:lnTo>
                  <a:lnTo>
                    <a:pt x="374" y="96"/>
                  </a:lnTo>
                  <a:lnTo>
                    <a:pt x="376" y="96"/>
                  </a:lnTo>
                  <a:lnTo>
                    <a:pt x="378" y="98"/>
                  </a:lnTo>
                  <a:lnTo>
                    <a:pt x="382" y="104"/>
                  </a:lnTo>
                  <a:lnTo>
                    <a:pt x="388" y="106"/>
                  </a:lnTo>
                  <a:lnTo>
                    <a:pt x="394" y="106"/>
                  </a:lnTo>
                  <a:lnTo>
                    <a:pt x="400" y="104"/>
                  </a:lnTo>
                  <a:lnTo>
                    <a:pt x="406" y="104"/>
                  </a:lnTo>
                  <a:lnTo>
                    <a:pt x="412" y="106"/>
                  </a:lnTo>
                  <a:lnTo>
                    <a:pt x="418" y="106"/>
                  </a:lnTo>
                  <a:lnTo>
                    <a:pt x="414" y="112"/>
                  </a:lnTo>
                  <a:lnTo>
                    <a:pt x="410" y="114"/>
                  </a:lnTo>
                  <a:lnTo>
                    <a:pt x="404" y="116"/>
                  </a:lnTo>
                  <a:lnTo>
                    <a:pt x="402" y="120"/>
                  </a:lnTo>
                  <a:lnTo>
                    <a:pt x="400" y="124"/>
                  </a:lnTo>
                  <a:lnTo>
                    <a:pt x="402" y="130"/>
                  </a:lnTo>
                  <a:lnTo>
                    <a:pt x="406" y="136"/>
                  </a:lnTo>
                  <a:lnTo>
                    <a:pt x="410" y="142"/>
                  </a:lnTo>
                  <a:lnTo>
                    <a:pt x="410" y="144"/>
                  </a:lnTo>
                  <a:lnTo>
                    <a:pt x="414" y="150"/>
                  </a:lnTo>
                  <a:lnTo>
                    <a:pt x="414" y="156"/>
                  </a:lnTo>
                  <a:lnTo>
                    <a:pt x="412" y="156"/>
                  </a:lnTo>
                  <a:lnTo>
                    <a:pt x="406" y="160"/>
                  </a:lnTo>
                  <a:lnTo>
                    <a:pt x="400" y="156"/>
                  </a:lnTo>
                  <a:lnTo>
                    <a:pt x="400" y="158"/>
                  </a:lnTo>
                  <a:lnTo>
                    <a:pt x="398" y="164"/>
                  </a:lnTo>
                  <a:lnTo>
                    <a:pt x="398" y="166"/>
                  </a:lnTo>
                  <a:lnTo>
                    <a:pt x="394" y="170"/>
                  </a:lnTo>
                  <a:lnTo>
                    <a:pt x="388" y="176"/>
                  </a:lnTo>
                  <a:lnTo>
                    <a:pt x="388" y="182"/>
                  </a:lnTo>
                  <a:lnTo>
                    <a:pt x="392" y="188"/>
                  </a:lnTo>
                  <a:lnTo>
                    <a:pt x="394" y="194"/>
                  </a:lnTo>
                  <a:lnTo>
                    <a:pt x="388" y="194"/>
                  </a:lnTo>
                  <a:lnTo>
                    <a:pt x="380" y="190"/>
                  </a:lnTo>
                  <a:lnTo>
                    <a:pt x="380" y="194"/>
                  </a:lnTo>
                  <a:lnTo>
                    <a:pt x="378" y="200"/>
                  </a:lnTo>
                  <a:lnTo>
                    <a:pt x="380" y="206"/>
                  </a:lnTo>
                  <a:lnTo>
                    <a:pt x="384" y="208"/>
                  </a:lnTo>
                  <a:lnTo>
                    <a:pt x="388" y="214"/>
                  </a:lnTo>
                  <a:lnTo>
                    <a:pt x="386" y="220"/>
                  </a:lnTo>
                  <a:lnTo>
                    <a:pt x="384" y="226"/>
                  </a:lnTo>
                  <a:lnTo>
                    <a:pt x="382" y="232"/>
                  </a:lnTo>
                  <a:lnTo>
                    <a:pt x="380" y="234"/>
                  </a:lnTo>
                  <a:lnTo>
                    <a:pt x="380" y="236"/>
                  </a:lnTo>
                  <a:lnTo>
                    <a:pt x="382" y="236"/>
                  </a:lnTo>
                  <a:lnTo>
                    <a:pt x="388" y="240"/>
                  </a:lnTo>
                  <a:lnTo>
                    <a:pt x="392" y="246"/>
                  </a:lnTo>
                  <a:lnTo>
                    <a:pt x="396" y="252"/>
                  </a:lnTo>
                  <a:lnTo>
                    <a:pt x="402" y="258"/>
                  </a:lnTo>
                  <a:lnTo>
                    <a:pt x="408" y="258"/>
                  </a:lnTo>
                  <a:lnTo>
                    <a:pt x="414" y="262"/>
                  </a:lnTo>
                  <a:lnTo>
                    <a:pt x="412" y="268"/>
                  </a:lnTo>
                  <a:lnTo>
                    <a:pt x="418" y="268"/>
                  </a:lnTo>
                  <a:lnTo>
                    <a:pt x="420" y="272"/>
                  </a:lnTo>
                  <a:lnTo>
                    <a:pt x="424" y="276"/>
                  </a:lnTo>
                  <a:lnTo>
                    <a:pt x="430" y="282"/>
                  </a:lnTo>
                  <a:lnTo>
                    <a:pt x="432" y="288"/>
                  </a:lnTo>
                  <a:lnTo>
                    <a:pt x="428" y="292"/>
                  </a:lnTo>
                  <a:lnTo>
                    <a:pt x="424" y="294"/>
                  </a:lnTo>
                  <a:lnTo>
                    <a:pt x="430" y="298"/>
                  </a:lnTo>
                  <a:lnTo>
                    <a:pt x="430" y="304"/>
                  </a:lnTo>
                  <a:lnTo>
                    <a:pt x="436" y="304"/>
                  </a:lnTo>
                  <a:lnTo>
                    <a:pt x="442" y="304"/>
                  </a:lnTo>
                  <a:lnTo>
                    <a:pt x="448" y="306"/>
                  </a:lnTo>
                  <a:lnTo>
                    <a:pt x="452" y="310"/>
                  </a:lnTo>
                  <a:lnTo>
                    <a:pt x="458" y="312"/>
                  </a:lnTo>
                  <a:lnTo>
                    <a:pt x="458" y="314"/>
                  </a:lnTo>
                  <a:lnTo>
                    <a:pt x="464" y="318"/>
                  </a:lnTo>
                  <a:lnTo>
                    <a:pt x="470" y="322"/>
                  </a:lnTo>
                  <a:lnTo>
                    <a:pt x="476" y="328"/>
                  </a:lnTo>
                  <a:lnTo>
                    <a:pt x="482" y="332"/>
                  </a:lnTo>
                  <a:lnTo>
                    <a:pt x="488" y="336"/>
                  </a:lnTo>
                  <a:lnTo>
                    <a:pt x="494" y="338"/>
                  </a:lnTo>
                  <a:lnTo>
                    <a:pt x="498" y="338"/>
                  </a:lnTo>
                  <a:lnTo>
                    <a:pt x="500" y="338"/>
                  </a:lnTo>
                  <a:lnTo>
                    <a:pt x="502" y="338"/>
                  </a:lnTo>
                  <a:lnTo>
                    <a:pt x="506" y="340"/>
                  </a:lnTo>
                  <a:lnTo>
                    <a:pt x="510" y="346"/>
                  </a:lnTo>
                  <a:lnTo>
                    <a:pt x="508" y="346"/>
                  </a:lnTo>
                  <a:lnTo>
                    <a:pt x="512" y="352"/>
                  </a:lnTo>
                  <a:lnTo>
                    <a:pt x="516" y="356"/>
                  </a:lnTo>
                  <a:lnTo>
                    <a:pt x="520" y="362"/>
                  </a:lnTo>
                  <a:lnTo>
                    <a:pt x="522" y="364"/>
                  </a:lnTo>
                  <a:lnTo>
                    <a:pt x="528" y="370"/>
                  </a:lnTo>
                  <a:lnTo>
                    <a:pt x="530" y="372"/>
                  </a:lnTo>
                  <a:lnTo>
                    <a:pt x="534" y="378"/>
                  </a:lnTo>
                  <a:lnTo>
                    <a:pt x="538" y="384"/>
                  </a:lnTo>
                  <a:lnTo>
                    <a:pt x="538" y="390"/>
                  </a:lnTo>
                  <a:lnTo>
                    <a:pt x="538" y="392"/>
                  </a:lnTo>
                  <a:lnTo>
                    <a:pt x="536" y="398"/>
                  </a:lnTo>
                  <a:lnTo>
                    <a:pt x="534" y="404"/>
                  </a:lnTo>
                  <a:lnTo>
                    <a:pt x="534" y="410"/>
                  </a:lnTo>
                  <a:lnTo>
                    <a:pt x="534" y="416"/>
                  </a:lnTo>
                  <a:lnTo>
                    <a:pt x="534" y="422"/>
                  </a:lnTo>
                  <a:lnTo>
                    <a:pt x="534" y="428"/>
                  </a:lnTo>
                  <a:lnTo>
                    <a:pt x="534" y="434"/>
                  </a:lnTo>
                  <a:lnTo>
                    <a:pt x="538" y="440"/>
                  </a:lnTo>
                  <a:lnTo>
                    <a:pt x="544" y="440"/>
                  </a:lnTo>
                  <a:lnTo>
                    <a:pt x="550" y="440"/>
                  </a:lnTo>
                  <a:lnTo>
                    <a:pt x="556" y="440"/>
                  </a:lnTo>
                  <a:lnTo>
                    <a:pt x="556" y="446"/>
                  </a:lnTo>
                  <a:lnTo>
                    <a:pt x="556" y="452"/>
                  </a:lnTo>
                  <a:lnTo>
                    <a:pt x="558" y="458"/>
                  </a:lnTo>
                  <a:lnTo>
                    <a:pt x="558" y="466"/>
                  </a:lnTo>
                  <a:lnTo>
                    <a:pt x="558" y="472"/>
                  </a:lnTo>
                  <a:lnTo>
                    <a:pt x="562" y="478"/>
                  </a:lnTo>
                  <a:lnTo>
                    <a:pt x="566" y="480"/>
                  </a:lnTo>
                  <a:lnTo>
                    <a:pt x="568" y="480"/>
                  </a:lnTo>
                  <a:lnTo>
                    <a:pt x="570" y="486"/>
                  </a:lnTo>
                  <a:lnTo>
                    <a:pt x="576" y="486"/>
                  </a:lnTo>
                  <a:lnTo>
                    <a:pt x="580" y="492"/>
                  </a:lnTo>
                  <a:lnTo>
                    <a:pt x="584" y="498"/>
                  </a:lnTo>
                  <a:lnTo>
                    <a:pt x="586" y="504"/>
                  </a:lnTo>
                  <a:lnTo>
                    <a:pt x="588" y="510"/>
                  </a:lnTo>
                  <a:lnTo>
                    <a:pt x="592" y="512"/>
                  </a:lnTo>
                  <a:lnTo>
                    <a:pt x="594" y="514"/>
                  </a:lnTo>
                  <a:lnTo>
                    <a:pt x="588" y="514"/>
                  </a:lnTo>
                  <a:lnTo>
                    <a:pt x="582" y="512"/>
                  </a:lnTo>
                  <a:lnTo>
                    <a:pt x="576" y="510"/>
                  </a:lnTo>
                  <a:lnTo>
                    <a:pt x="570" y="506"/>
                  </a:lnTo>
                  <a:lnTo>
                    <a:pt x="564" y="506"/>
                  </a:lnTo>
                  <a:lnTo>
                    <a:pt x="558" y="508"/>
                  </a:lnTo>
                  <a:lnTo>
                    <a:pt x="556" y="502"/>
                  </a:lnTo>
                  <a:lnTo>
                    <a:pt x="558" y="506"/>
                  </a:lnTo>
                  <a:lnTo>
                    <a:pt x="558" y="508"/>
                  </a:lnTo>
                  <a:lnTo>
                    <a:pt x="552" y="506"/>
                  </a:lnTo>
                  <a:lnTo>
                    <a:pt x="546" y="504"/>
                  </a:lnTo>
                  <a:lnTo>
                    <a:pt x="544" y="504"/>
                  </a:lnTo>
                  <a:lnTo>
                    <a:pt x="538" y="504"/>
                  </a:lnTo>
                  <a:lnTo>
                    <a:pt x="532" y="504"/>
                  </a:lnTo>
                  <a:lnTo>
                    <a:pt x="530" y="504"/>
                  </a:lnTo>
                  <a:lnTo>
                    <a:pt x="524" y="504"/>
                  </a:lnTo>
                  <a:lnTo>
                    <a:pt x="518" y="506"/>
                  </a:lnTo>
                  <a:lnTo>
                    <a:pt x="512" y="508"/>
                  </a:lnTo>
                  <a:lnTo>
                    <a:pt x="512" y="510"/>
                  </a:lnTo>
                  <a:lnTo>
                    <a:pt x="508" y="516"/>
                  </a:lnTo>
                  <a:lnTo>
                    <a:pt x="508" y="522"/>
                  </a:lnTo>
                  <a:lnTo>
                    <a:pt x="504" y="528"/>
                  </a:lnTo>
                  <a:lnTo>
                    <a:pt x="504" y="534"/>
                  </a:lnTo>
                  <a:lnTo>
                    <a:pt x="502" y="538"/>
                  </a:lnTo>
                  <a:lnTo>
                    <a:pt x="498" y="544"/>
                  </a:lnTo>
                  <a:lnTo>
                    <a:pt x="496" y="550"/>
                  </a:lnTo>
                  <a:lnTo>
                    <a:pt x="492" y="556"/>
                  </a:lnTo>
                  <a:lnTo>
                    <a:pt x="490" y="562"/>
                  </a:lnTo>
                  <a:lnTo>
                    <a:pt x="488" y="562"/>
                  </a:lnTo>
                  <a:lnTo>
                    <a:pt x="486" y="566"/>
                  </a:lnTo>
                  <a:lnTo>
                    <a:pt x="482" y="570"/>
                  </a:lnTo>
                  <a:lnTo>
                    <a:pt x="482" y="572"/>
                  </a:lnTo>
                  <a:lnTo>
                    <a:pt x="480" y="572"/>
                  </a:lnTo>
                  <a:lnTo>
                    <a:pt x="474" y="574"/>
                  </a:lnTo>
                  <a:lnTo>
                    <a:pt x="468" y="574"/>
                  </a:lnTo>
                  <a:lnTo>
                    <a:pt x="456" y="572"/>
                  </a:lnTo>
                  <a:lnTo>
                    <a:pt x="444" y="572"/>
                  </a:lnTo>
                  <a:lnTo>
                    <a:pt x="436" y="570"/>
                  </a:lnTo>
                  <a:lnTo>
                    <a:pt x="426" y="570"/>
                  </a:lnTo>
                  <a:lnTo>
                    <a:pt x="416" y="568"/>
                  </a:lnTo>
                  <a:lnTo>
                    <a:pt x="406" y="568"/>
                  </a:lnTo>
                  <a:lnTo>
                    <a:pt x="396" y="566"/>
                  </a:lnTo>
                  <a:lnTo>
                    <a:pt x="390" y="566"/>
                  </a:lnTo>
                  <a:lnTo>
                    <a:pt x="386" y="566"/>
                  </a:lnTo>
                  <a:lnTo>
                    <a:pt x="380" y="564"/>
                  </a:lnTo>
                  <a:lnTo>
                    <a:pt x="372" y="564"/>
                  </a:lnTo>
                  <a:lnTo>
                    <a:pt x="366" y="560"/>
                  </a:lnTo>
                  <a:lnTo>
                    <a:pt x="360" y="554"/>
                  </a:lnTo>
                  <a:lnTo>
                    <a:pt x="352" y="548"/>
                  </a:lnTo>
                  <a:lnTo>
                    <a:pt x="342" y="540"/>
                  </a:lnTo>
                  <a:lnTo>
                    <a:pt x="330" y="532"/>
                  </a:lnTo>
                  <a:lnTo>
                    <a:pt x="324" y="526"/>
                  </a:lnTo>
                  <a:lnTo>
                    <a:pt x="316" y="520"/>
                  </a:lnTo>
                  <a:lnTo>
                    <a:pt x="316" y="518"/>
                  </a:lnTo>
                  <a:lnTo>
                    <a:pt x="308" y="514"/>
                  </a:lnTo>
                  <a:lnTo>
                    <a:pt x="302" y="510"/>
                  </a:lnTo>
                  <a:lnTo>
                    <a:pt x="302" y="508"/>
                  </a:lnTo>
                  <a:lnTo>
                    <a:pt x="294" y="502"/>
                  </a:lnTo>
                  <a:lnTo>
                    <a:pt x="286" y="496"/>
                  </a:lnTo>
                  <a:lnTo>
                    <a:pt x="280" y="492"/>
                  </a:lnTo>
                  <a:lnTo>
                    <a:pt x="274" y="488"/>
                  </a:lnTo>
                  <a:lnTo>
                    <a:pt x="266" y="480"/>
                  </a:lnTo>
                  <a:lnTo>
                    <a:pt x="258" y="476"/>
                  </a:lnTo>
                  <a:lnTo>
                    <a:pt x="254" y="472"/>
                  </a:lnTo>
                  <a:lnTo>
                    <a:pt x="242" y="462"/>
                  </a:lnTo>
                  <a:lnTo>
                    <a:pt x="232" y="454"/>
                  </a:lnTo>
                  <a:lnTo>
                    <a:pt x="226" y="448"/>
                  </a:lnTo>
                  <a:lnTo>
                    <a:pt x="216" y="440"/>
                  </a:lnTo>
                  <a:lnTo>
                    <a:pt x="206" y="432"/>
                  </a:lnTo>
                  <a:lnTo>
                    <a:pt x="198" y="430"/>
                  </a:lnTo>
                  <a:lnTo>
                    <a:pt x="194" y="426"/>
                  </a:lnTo>
                  <a:lnTo>
                    <a:pt x="186" y="424"/>
                  </a:lnTo>
                  <a:lnTo>
                    <a:pt x="180" y="420"/>
                  </a:lnTo>
                  <a:lnTo>
                    <a:pt x="174" y="418"/>
                  </a:lnTo>
                  <a:lnTo>
                    <a:pt x="166" y="414"/>
                  </a:lnTo>
                  <a:lnTo>
                    <a:pt x="156" y="408"/>
                  </a:lnTo>
                  <a:lnTo>
                    <a:pt x="144" y="400"/>
                  </a:lnTo>
                  <a:lnTo>
                    <a:pt x="134" y="394"/>
                  </a:lnTo>
                  <a:lnTo>
                    <a:pt x="124" y="386"/>
                  </a:lnTo>
                  <a:lnTo>
                    <a:pt x="114" y="382"/>
                  </a:lnTo>
                  <a:lnTo>
                    <a:pt x="104" y="374"/>
                  </a:lnTo>
                  <a:lnTo>
                    <a:pt x="98" y="374"/>
                  </a:lnTo>
                  <a:lnTo>
                    <a:pt x="90" y="372"/>
                  </a:lnTo>
                  <a:lnTo>
                    <a:pt x="82" y="370"/>
                  </a:lnTo>
                  <a:lnTo>
                    <a:pt x="80" y="370"/>
                  </a:lnTo>
                  <a:lnTo>
                    <a:pt x="68" y="368"/>
                  </a:lnTo>
                  <a:lnTo>
                    <a:pt x="62" y="368"/>
                  </a:lnTo>
                  <a:lnTo>
                    <a:pt x="56" y="366"/>
                  </a:lnTo>
                  <a:lnTo>
                    <a:pt x="48" y="366"/>
                  </a:lnTo>
                  <a:lnTo>
                    <a:pt x="46" y="364"/>
                  </a:lnTo>
                  <a:lnTo>
                    <a:pt x="38" y="364"/>
                  </a:lnTo>
                  <a:lnTo>
                    <a:pt x="30" y="362"/>
                  </a:lnTo>
                  <a:lnTo>
                    <a:pt x="36" y="356"/>
                  </a:lnTo>
                  <a:lnTo>
                    <a:pt x="38" y="354"/>
                  </a:lnTo>
                  <a:lnTo>
                    <a:pt x="36" y="348"/>
                  </a:lnTo>
                  <a:lnTo>
                    <a:pt x="34" y="346"/>
                  </a:lnTo>
                  <a:lnTo>
                    <a:pt x="32" y="346"/>
                  </a:lnTo>
                  <a:lnTo>
                    <a:pt x="24" y="348"/>
                  </a:lnTo>
                  <a:lnTo>
                    <a:pt x="20" y="344"/>
                  </a:lnTo>
                  <a:lnTo>
                    <a:pt x="20" y="340"/>
                  </a:lnTo>
                  <a:lnTo>
                    <a:pt x="18" y="338"/>
                  </a:lnTo>
                  <a:lnTo>
                    <a:pt x="22" y="336"/>
                  </a:lnTo>
                  <a:lnTo>
                    <a:pt x="22" y="334"/>
                  </a:lnTo>
                  <a:lnTo>
                    <a:pt x="20" y="330"/>
                  </a:lnTo>
                  <a:lnTo>
                    <a:pt x="18" y="322"/>
                  </a:lnTo>
                  <a:lnTo>
                    <a:pt x="16" y="320"/>
                  </a:lnTo>
                  <a:lnTo>
                    <a:pt x="16" y="318"/>
                  </a:lnTo>
                  <a:lnTo>
                    <a:pt x="10" y="302"/>
                  </a:lnTo>
                  <a:lnTo>
                    <a:pt x="8" y="294"/>
                  </a:lnTo>
                  <a:lnTo>
                    <a:pt x="4" y="284"/>
                  </a:lnTo>
                  <a:lnTo>
                    <a:pt x="0" y="27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8" name="Freeform 95"/>
            <p:cNvSpPr>
              <a:spLocks/>
            </p:cNvSpPr>
            <p:nvPr/>
          </p:nvSpPr>
          <p:spPr bwMode="auto">
            <a:xfrm>
              <a:off x="5083175" y="3182938"/>
              <a:ext cx="149225" cy="142875"/>
            </a:xfrm>
            <a:custGeom>
              <a:avLst/>
              <a:gdLst>
                <a:gd name="T0" fmla="*/ 2147483647 w 370"/>
                <a:gd name="T1" fmla="*/ 2147483647 h 346"/>
                <a:gd name="T2" fmla="*/ 2147483647 w 370"/>
                <a:gd name="T3" fmla="*/ 2147483647 h 346"/>
                <a:gd name="T4" fmla="*/ 2147483647 w 370"/>
                <a:gd name="T5" fmla="*/ 2147483647 h 346"/>
                <a:gd name="T6" fmla="*/ 2147483647 w 370"/>
                <a:gd name="T7" fmla="*/ 2147483647 h 346"/>
                <a:gd name="T8" fmla="*/ 2147483647 w 370"/>
                <a:gd name="T9" fmla="*/ 2147483647 h 346"/>
                <a:gd name="T10" fmla="*/ 2147483647 w 370"/>
                <a:gd name="T11" fmla="*/ 2147483647 h 346"/>
                <a:gd name="T12" fmla="*/ 2147483647 w 370"/>
                <a:gd name="T13" fmla="*/ 2147483647 h 346"/>
                <a:gd name="T14" fmla="*/ 2147483647 w 370"/>
                <a:gd name="T15" fmla="*/ 2147483647 h 346"/>
                <a:gd name="T16" fmla="*/ 2147483647 w 370"/>
                <a:gd name="T17" fmla="*/ 2147483647 h 346"/>
                <a:gd name="T18" fmla="*/ 2147483647 w 370"/>
                <a:gd name="T19" fmla="*/ 2147483647 h 346"/>
                <a:gd name="T20" fmla="*/ 2147483647 w 370"/>
                <a:gd name="T21" fmla="*/ 2147483647 h 346"/>
                <a:gd name="T22" fmla="*/ 2147483647 w 370"/>
                <a:gd name="T23" fmla="*/ 2147483647 h 346"/>
                <a:gd name="T24" fmla="*/ 2147483647 w 370"/>
                <a:gd name="T25" fmla="*/ 2147483647 h 346"/>
                <a:gd name="T26" fmla="*/ 2147483647 w 370"/>
                <a:gd name="T27" fmla="*/ 2147483647 h 346"/>
                <a:gd name="T28" fmla="*/ 2147483647 w 370"/>
                <a:gd name="T29" fmla="*/ 2147483647 h 346"/>
                <a:gd name="T30" fmla="*/ 2147483647 w 370"/>
                <a:gd name="T31" fmla="*/ 2147483647 h 346"/>
                <a:gd name="T32" fmla="*/ 2147483647 w 370"/>
                <a:gd name="T33" fmla="*/ 2147483647 h 346"/>
                <a:gd name="T34" fmla="*/ 2147483647 w 370"/>
                <a:gd name="T35" fmla="*/ 2147483647 h 346"/>
                <a:gd name="T36" fmla="*/ 2147483647 w 370"/>
                <a:gd name="T37" fmla="*/ 2147483647 h 346"/>
                <a:gd name="T38" fmla="*/ 2147483647 w 370"/>
                <a:gd name="T39" fmla="*/ 2147483647 h 346"/>
                <a:gd name="T40" fmla="*/ 2147483647 w 370"/>
                <a:gd name="T41" fmla="*/ 2147483647 h 346"/>
                <a:gd name="T42" fmla="*/ 2147483647 w 370"/>
                <a:gd name="T43" fmla="*/ 2147483647 h 346"/>
                <a:gd name="T44" fmla="*/ 2147483647 w 370"/>
                <a:gd name="T45" fmla="*/ 2147483647 h 346"/>
                <a:gd name="T46" fmla="*/ 2147483647 w 370"/>
                <a:gd name="T47" fmla="*/ 2147483647 h 346"/>
                <a:gd name="T48" fmla="*/ 2147483647 w 370"/>
                <a:gd name="T49" fmla="*/ 2147483647 h 346"/>
                <a:gd name="T50" fmla="*/ 2147483647 w 370"/>
                <a:gd name="T51" fmla="*/ 2147483647 h 346"/>
                <a:gd name="T52" fmla="*/ 2147483647 w 370"/>
                <a:gd name="T53" fmla="*/ 2147483647 h 346"/>
                <a:gd name="T54" fmla="*/ 2147483647 w 370"/>
                <a:gd name="T55" fmla="*/ 2147483647 h 346"/>
                <a:gd name="T56" fmla="*/ 2147483647 w 370"/>
                <a:gd name="T57" fmla="*/ 2147483647 h 346"/>
                <a:gd name="T58" fmla="*/ 2147483647 w 370"/>
                <a:gd name="T59" fmla="*/ 2147483647 h 346"/>
                <a:gd name="T60" fmla="*/ 2147483647 w 370"/>
                <a:gd name="T61" fmla="*/ 2147483647 h 346"/>
                <a:gd name="T62" fmla="*/ 2147483647 w 370"/>
                <a:gd name="T63" fmla="*/ 2147483647 h 346"/>
                <a:gd name="T64" fmla="*/ 2147483647 w 370"/>
                <a:gd name="T65" fmla="*/ 2147483647 h 346"/>
                <a:gd name="T66" fmla="*/ 2147483647 w 370"/>
                <a:gd name="T67" fmla="*/ 2147483647 h 346"/>
                <a:gd name="T68" fmla="*/ 2147483647 w 370"/>
                <a:gd name="T69" fmla="*/ 2147483647 h 346"/>
                <a:gd name="T70" fmla="*/ 2147483647 w 370"/>
                <a:gd name="T71" fmla="*/ 2147483647 h 346"/>
                <a:gd name="T72" fmla="*/ 2147483647 w 370"/>
                <a:gd name="T73" fmla="*/ 2147483647 h 346"/>
                <a:gd name="T74" fmla="*/ 2147483647 w 370"/>
                <a:gd name="T75" fmla="*/ 2147483647 h 346"/>
                <a:gd name="T76" fmla="*/ 2147483647 w 370"/>
                <a:gd name="T77" fmla="*/ 2147483647 h 346"/>
                <a:gd name="T78" fmla="*/ 2147483647 w 370"/>
                <a:gd name="T79" fmla="*/ 2147483647 h 346"/>
                <a:gd name="T80" fmla="*/ 2147483647 w 370"/>
                <a:gd name="T81" fmla="*/ 2147483647 h 346"/>
                <a:gd name="T82" fmla="*/ 2147483647 w 370"/>
                <a:gd name="T83" fmla="*/ 2147483647 h 346"/>
                <a:gd name="T84" fmla="*/ 2147483647 w 370"/>
                <a:gd name="T85" fmla="*/ 2147483647 h 346"/>
                <a:gd name="T86" fmla="*/ 2147483647 w 370"/>
                <a:gd name="T87" fmla="*/ 2147483647 h 346"/>
                <a:gd name="T88" fmla="*/ 2147483647 w 370"/>
                <a:gd name="T89" fmla="*/ 2147483647 h 346"/>
                <a:gd name="T90" fmla="*/ 2147483647 w 370"/>
                <a:gd name="T91" fmla="*/ 2147483647 h 346"/>
                <a:gd name="T92" fmla="*/ 2147483647 w 370"/>
                <a:gd name="T93" fmla="*/ 2147483647 h 346"/>
                <a:gd name="T94" fmla="*/ 2147483647 w 370"/>
                <a:gd name="T95" fmla="*/ 2147483647 h 346"/>
                <a:gd name="T96" fmla="*/ 2147483647 w 370"/>
                <a:gd name="T97" fmla="*/ 2147483647 h 346"/>
                <a:gd name="T98" fmla="*/ 2147483647 w 370"/>
                <a:gd name="T99" fmla="*/ 2147483647 h 346"/>
                <a:gd name="T100" fmla="*/ 2147483647 w 370"/>
                <a:gd name="T101" fmla="*/ 2147483647 h 346"/>
                <a:gd name="T102" fmla="*/ 2147483647 w 370"/>
                <a:gd name="T103" fmla="*/ 2147483647 h 346"/>
                <a:gd name="T104" fmla="*/ 2147483647 w 370"/>
                <a:gd name="T105" fmla="*/ 2147483647 h 346"/>
                <a:gd name="T106" fmla="*/ 2147483647 w 370"/>
                <a:gd name="T107" fmla="*/ 2147483647 h 346"/>
                <a:gd name="T108" fmla="*/ 2147483647 w 370"/>
                <a:gd name="T109" fmla="*/ 2147483647 h 346"/>
                <a:gd name="T110" fmla="*/ 2147483647 w 370"/>
                <a:gd name="T111" fmla="*/ 2147483647 h 346"/>
                <a:gd name="T112" fmla="*/ 2147483647 w 370"/>
                <a:gd name="T113" fmla="*/ 2147483647 h 346"/>
                <a:gd name="T114" fmla="*/ 2147483647 w 370"/>
                <a:gd name="T115" fmla="*/ 2147483647 h 346"/>
                <a:gd name="T116" fmla="*/ 2147483647 w 370"/>
                <a:gd name="T117" fmla="*/ 2147483647 h 346"/>
                <a:gd name="T118" fmla="*/ 2147483647 w 370"/>
                <a:gd name="T119" fmla="*/ 2147483647 h 346"/>
                <a:gd name="T120" fmla="*/ 2147483647 w 370"/>
                <a:gd name="T121" fmla="*/ 2147483647 h 346"/>
                <a:gd name="T122" fmla="*/ 2147483647 w 370"/>
                <a:gd name="T123" fmla="*/ 2147483647 h 34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0"/>
                <a:gd name="T187" fmla="*/ 0 h 346"/>
                <a:gd name="T188" fmla="*/ 370 w 370"/>
                <a:gd name="T189" fmla="*/ 346 h 34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0" h="346">
                  <a:moveTo>
                    <a:pt x="8" y="280"/>
                  </a:moveTo>
                  <a:lnTo>
                    <a:pt x="8" y="280"/>
                  </a:lnTo>
                  <a:lnTo>
                    <a:pt x="10" y="280"/>
                  </a:lnTo>
                  <a:lnTo>
                    <a:pt x="14" y="276"/>
                  </a:lnTo>
                  <a:lnTo>
                    <a:pt x="16" y="276"/>
                  </a:lnTo>
                  <a:lnTo>
                    <a:pt x="20" y="270"/>
                  </a:lnTo>
                  <a:lnTo>
                    <a:pt x="22" y="270"/>
                  </a:lnTo>
                  <a:lnTo>
                    <a:pt x="24" y="266"/>
                  </a:lnTo>
                  <a:lnTo>
                    <a:pt x="24" y="262"/>
                  </a:lnTo>
                  <a:lnTo>
                    <a:pt x="30" y="260"/>
                  </a:lnTo>
                  <a:lnTo>
                    <a:pt x="30" y="258"/>
                  </a:lnTo>
                  <a:lnTo>
                    <a:pt x="28" y="258"/>
                  </a:lnTo>
                  <a:lnTo>
                    <a:pt x="24" y="252"/>
                  </a:lnTo>
                  <a:lnTo>
                    <a:pt x="26" y="248"/>
                  </a:lnTo>
                  <a:lnTo>
                    <a:pt x="30" y="242"/>
                  </a:lnTo>
                  <a:lnTo>
                    <a:pt x="34" y="240"/>
                  </a:lnTo>
                  <a:lnTo>
                    <a:pt x="36" y="242"/>
                  </a:lnTo>
                  <a:lnTo>
                    <a:pt x="42" y="240"/>
                  </a:lnTo>
                  <a:lnTo>
                    <a:pt x="48" y="242"/>
                  </a:lnTo>
                  <a:lnTo>
                    <a:pt x="48" y="240"/>
                  </a:lnTo>
                  <a:lnTo>
                    <a:pt x="42" y="236"/>
                  </a:lnTo>
                  <a:lnTo>
                    <a:pt x="46" y="230"/>
                  </a:lnTo>
                  <a:lnTo>
                    <a:pt x="52" y="226"/>
                  </a:lnTo>
                  <a:lnTo>
                    <a:pt x="58" y="220"/>
                  </a:lnTo>
                  <a:lnTo>
                    <a:pt x="60" y="216"/>
                  </a:lnTo>
                  <a:lnTo>
                    <a:pt x="58" y="210"/>
                  </a:lnTo>
                  <a:lnTo>
                    <a:pt x="54" y="204"/>
                  </a:lnTo>
                  <a:lnTo>
                    <a:pt x="54" y="200"/>
                  </a:lnTo>
                  <a:lnTo>
                    <a:pt x="50" y="198"/>
                  </a:lnTo>
                  <a:lnTo>
                    <a:pt x="48" y="196"/>
                  </a:lnTo>
                  <a:lnTo>
                    <a:pt x="42" y="196"/>
                  </a:lnTo>
                  <a:lnTo>
                    <a:pt x="42" y="194"/>
                  </a:lnTo>
                  <a:lnTo>
                    <a:pt x="46" y="188"/>
                  </a:lnTo>
                  <a:lnTo>
                    <a:pt x="44" y="186"/>
                  </a:lnTo>
                  <a:lnTo>
                    <a:pt x="42" y="184"/>
                  </a:lnTo>
                  <a:lnTo>
                    <a:pt x="38" y="182"/>
                  </a:lnTo>
                  <a:lnTo>
                    <a:pt x="38" y="184"/>
                  </a:lnTo>
                  <a:lnTo>
                    <a:pt x="38" y="186"/>
                  </a:lnTo>
                  <a:lnTo>
                    <a:pt x="36" y="186"/>
                  </a:lnTo>
                  <a:lnTo>
                    <a:pt x="30" y="186"/>
                  </a:lnTo>
                  <a:lnTo>
                    <a:pt x="28" y="186"/>
                  </a:lnTo>
                  <a:lnTo>
                    <a:pt x="24" y="186"/>
                  </a:lnTo>
                  <a:lnTo>
                    <a:pt x="20" y="186"/>
                  </a:lnTo>
                  <a:lnTo>
                    <a:pt x="18" y="182"/>
                  </a:lnTo>
                  <a:lnTo>
                    <a:pt x="16" y="176"/>
                  </a:lnTo>
                  <a:lnTo>
                    <a:pt x="14" y="170"/>
                  </a:lnTo>
                  <a:lnTo>
                    <a:pt x="12" y="164"/>
                  </a:lnTo>
                  <a:lnTo>
                    <a:pt x="12" y="162"/>
                  </a:lnTo>
                  <a:lnTo>
                    <a:pt x="12" y="156"/>
                  </a:lnTo>
                  <a:lnTo>
                    <a:pt x="14" y="150"/>
                  </a:lnTo>
                  <a:lnTo>
                    <a:pt x="14" y="144"/>
                  </a:lnTo>
                  <a:lnTo>
                    <a:pt x="12" y="142"/>
                  </a:lnTo>
                  <a:lnTo>
                    <a:pt x="12" y="138"/>
                  </a:lnTo>
                  <a:lnTo>
                    <a:pt x="12" y="132"/>
                  </a:lnTo>
                  <a:lnTo>
                    <a:pt x="4" y="126"/>
                  </a:lnTo>
                  <a:lnTo>
                    <a:pt x="0" y="120"/>
                  </a:lnTo>
                  <a:lnTo>
                    <a:pt x="2" y="114"/>
                  </a:lnTo>
                  <a:lnTo>
                    <a:pt x="6" y="110"/>
                  </a:lnTo>
                  <a:lnTo>
                    <a:pt x="2" y="104"/>
                  </a:lnTo>
                  <a:lnTo>
                    <a:pt x="8" y="98"/>
                  </a:lnTo>
                  <a:lnTo>
                    <a:pt x="8" y="96"/>
                  </a:lnTo>
                  <a:lnTo>
                    <a:pt x="14" y="98"/>
                  </a:lnTo>
                  <a:lnTo>
                    <a:pt x="16" y="100"/>
                  </a:lnTo>
                  <a:lnTo>
                    <a:pt x="22" y="104"/>
                  </a:lnTo>
                  <a:lnTo>
                    <a:pt x="24" y="100"/>
                  </a:lnTo>
                  <a:lnTo>
                    <a:pt x="28" y="96"/>
                  </a:lnTo>
                  <a:lnTo>
                    <a:pt x="34" y="92"/>
                  </a:lnTo>
                  <a:lnTo>
                    <a:pt x="34" y="86"/>
                  </a:lnTo>
                  <a:lnTo>
                    <a:pt x="32" y="80"/>
                  </a:lnTo>
                  <a:lnTo>
                    <a:pt x="32" y="76"/>
                  </a:lnTo>
                  <a:lnTo>
                    <a:pt x="34" y="76"/>
                  </a:lnTo>
                  <a:lnTo>
                    <a:pt x="36" y="78"/>
                  </a:lnTo>
                  <a:lnTo>
                    <a:pt x="42" y="76"/>
                  </a:lnTo>
                  <a:lnTo>
                    <a:pt x="44" y="76"/>
                  </a:lnTo>
                  <a:lnTo>
                    <a:pt x="50" y="76"/>
                  </a:lnTo>
                  <a:lnTo>
                    <a:pt x="48" y="70"/>
                  </a:lnTo>
                  <a:lnTo>
                    <a:pt x="46" y="70"/>
                  </a:lnTo>
                  <a:lnTo>
                    <a:pt x="46" y="66"/>
                  </a:lnTo>
                  <a:lnTo>
                    <a:pt x="42" y="64"/>
                  </a:lnTo>
                  <a:lnTo>
                    <a:pt x="42" y="58"/>
                  </a:lnTo>
                  <a:lnTo>
                    <a:pt x="42" y="52"/>
                  </a:lnTo>
                  <a:lnTo>
                    <a:pt x="42" y="46"/>
                  </a:lnTo>
                  <a:lnTo>
                    <a:pt x="44" y="40"/>
                  </a:lnTo>
                  <a:lnTo>
                    <a:pt x="46" y="34"/>
                  </a:lnTo>
                  <a:lnTo>
                    <a:pt x="48" y="36"/>
                  </a:lnTo>
                  <a:lnTo>
                    <a:pt x="54" y="38"/>
                  </a:lnTo>
                  <a:lnTo>
                    <a:pt x="60" y="38"/>
                  </a:lnTo>
                  <a:lnTo>
                    <a:pt x="62" y="38"/>
                  </a:lnTo>
                  <a:lnTo>
                    <a:pt x="68" y="42"/>
                  </a:lnTo>
                  <a:lnTo>
                    <a:pt x="70" y="50"/>
                  </a:lnTo>
                  <a:lnTo>
                    <a:pt x="76" y="48"/>
                  </a:lnTo>
                  <a:lnTo>
                    <a:pt x="82" y="46"/>
                  </a:lnTo>
                  <a:lnTo>
                    <a:pt x="88" y="46"/>
                  </a:lnTo>
                  <a:lnTo>
                    <a:pt x="94" y="48"/>
                  </a:lnTo>
                  <a:lnTo>
                    <a:pt x="94" y="46"/>
                  </a:lnTo>
                  <a:lnTo>
                    <a:pt x="98" y="44"/>
                  </a:lnTo>
                  <a:lnTo>
                    <a:pt x="104" y="42"/>
                  </a:lnTo>
                  <a:lnTo>
                    <a:pt x="110" y="40"/>
                  </a:lnTo>
                  <a:lnTo>
                    <a:pt x="116" y="38"/>
                  </a:lnTo>
                  <a:lnTo>
                    <a:pt x="122" y="36"/>
                  </a:lnTo>
                  <a:lnTo>
                    <a:pt x="122" y="34"/>
                  </a:lnTo>
                  <a:lnTo>
                    <a:pt x="128" y="32"/>
                  </a:lnTo>
                  <a:lnTo>
                    <a:pt x="134" y="28"/>
                  </a:lnTo>
                  <a:lnTo>
                    <a:pt x="140" y="30"/>
                  </a:lnTo>
                  <a:lnTo>
                    <a:pt x="146" y="32"/>
                  </a:lnTo>
                  <a:lnTo>
                    <a:pt x="152" y="34"/>
                  </a:lnTo>
                  <a:lnTo>
                    <a:pt x="158" y="40"/>
                  </a:lnTo>
                  <a:lnTo>
                    <a:pt x="160" y="40"/>
                  </a:lnTo>
                  <a:lnTo>
                    <a:pt x="166" y="44"/>
                  </a:lnTo>
                  <a:lnTo>
                    <a:pt x="172" y="44"/>
                  </a:lnTo>
                  <a:lnTo>
                    <a:pt x="176" y="44"/>
                  </a:lnTo>
                  <a:lnTo>
                    <a:pt x="180" y="44"/>
                  </a:lnTo>
                  <a:lnTo>
                    <a:pt x="182" y="44"/>
                  </a:lnTo>
                  <a:lnTo>
                    <a:pt x="188" y="46"/>
                  </a:lnTo>
                  <a:lnTo>
                    <a:pt x="194" y="46"/>
                  </a:lnTo>
                  <a:lnTo>
                    <a:pt x="198" y="46"/>
                  </a:lnTo>
                  <a:lnTo>
                    <a:pt x="204" y="44"/>
                  </a:lnTo>
                  <a:lnTo>
                    <a:pt x="206" y="44"/>
                  </a:lnTo>
                  <a:lnTo>
                    <a:pt x="212" y="42"/>
                  </a:lnTo>
                  <a:lnTo>
                    <a:pt x="218" y="42"/>
                  </a:lnTo>
                  <a:lnTo>
                    <a:pt x="224" y="40"/>
                  </a:lnTo>
                  <a:lnTo>
                    <a:pt x="230" y="38"/>
                  </a:lnTo>
                  <a:lnTo>
                    <a:pt x="236" y="36"/>
                  </a:lnTo>
                  <a:lnTo>
                    <a:pt x="238" y="34"/>
                  </a:lnTo>
                  <a:lnTo>
                    <a:pt x="240" y="34"/>
                  </a:lnTo>
                  <a:lnTo>
                    <a:pt x="244" y="32"/>
                  </a:lnTo>
                  <a:lnTo>
                    <a:pt x="246" y="32"/>
                  </a:lnTo>
                  <a:lnTo>
                    <a:pt x="250" y="28"/>
                  </a:lnTo>
                  <a:lnTo>
                    <a:pt x="254" y="26"/>
                  </a:lnTo>
                  <a:lnTo>
                    <a:pt x="260" y="22"/>
                  </a:lnTo>
                  <a:lnTo>
                    <a:pt x="266" y="20"/>
                  </a:lnTo>
                  <a:lnTo>
                    <a:pt x="272" y="18"/>
                  </a:lnTo>
                  <a:lnTo>
                    <a:pt x="276" y="16"/>
                  </a:lnTo>
                  <a:lnTo>
                    <a:pt x="282" y="16"/>
                  </a:lnTo>
                  <a:lnTo>
                    <a:pt x="288" y="14"/>
                  </a:lnTo>
                  <a:lnTo>
                    <a:pt x="292" y="16"/>
                  </a:lnTo>
                  <a:lnTo>
                    <a:pt x="298" y="16"/>
                  </a:lnTo>
                  <a:lnTo>
                    <a:pt x="304" y="18"/>
                  </a:lnTo>
                  <a:lnTo>
                    <a:pt x="310" y="18"/>
                  </a:lnTo>
                  <a:lnTo>
                    <a:pt x="316" y="18"/>
                  </a:lnTo>
                  <a:lnTo>
                    <a:pt x="320" y="18"/>
                  </a:lnTo>
                  <a:lnTo>
                    <a:pt x="326" y="16"/>
                  </a:lnTo>
                  <a:lnTo>
                    <a:pt x="328" y="16"/>
                  </a:lnTo>
                  <a:lnTo>
                    <a:pt x="330" y="14"/>
                  </a:lnTo>
                  <a:lnTo>
                    <a:pt x="332" y="16"/>
                  </a:lnTo>
                  <a:lnTo>
                    <a:pt x="336" y="14"/>
                  </a:lnTo>
                  <a:lnTo>
                    <a:pt x="342" y="12"/>
                  </a:lnTo>
                  <a:lnTo>
                    <a:pt x="348" y="12"/>
                  </a:lnTo>
                  <a:lnTo>
                    <a:pt x="354" y="8"/>
                  </a:lnTo>
                  <a:lnTo>
                    <a:pt x="358" y="0"/>
                  </a:lnTo>
                  <a:lnTo>
                    <a:pt x="364" y="4"/>
                  </a:lnTo>
                  <a:lnTo>
                    <a:pt x="366" y="12"/>
                  </a:lnTo>
                  <a:lnTo>
                    <a:pt x="368" y="16"/>
                  </a:lnTo>
                  <a:lnTo>
                    <a:pt x="370" y="18"/>
                  </a:lnTo>
                  <a:lnTo>
                    <a:pt x="366" y="24"/>
                  </a:lnTo>
                  <a:lnTo>
                    <a:pt x="364" y="26"/>
                  </a:lnTo>
                  <a:lnTo>
                    <a:pt x="362" y="28"/>
                  </a:lnTo>
                  <a:lnTo>
                    <a:pt x="358" y="32"/>
                  </a:lnTo>
                  <a:lnTo>
                    <a:pt x="354" y="36"/>
                  </a:lnTo>
                  <a:lnTo>
                    <a:pt x="352" y="38"/>
                  </a:lnTo>
                  <a:lnTo>
                    <a:pt x="348" y="46"/>
                  </a:lnTo>
                  <a:lnTo>
                    <a:pt x="342" y="50"/>
                  </a:lnTo>
                  <a:lnTo>
                    <a:pt x="336" y="52"/>
                  </a:lnTo>
                  <a:lnTo>
                    <a:pt x="330" y="54"/>
                  </a:lnTo>
                  <a:lnTo>
                    <a:pt x="324" y="54"/>
                  </a:lnTo>
                  <a:lnTo>
                    <a:pt x="318" y="58"/>
                  </a:lnTo>
                  <a:lnTo>
                    <a:pt x="316" y="62"/>
                  </a:lnTo>
                  <a:lnTo>
                    <a:pt x="314" y="66"/>
                  </a:lnTo>
                  <a:lnTo>
                    <a:pt x="314" y="68"/>
                  </a:lnTo>
                  <a:lnTo>
                    <a:pt x="314" y="72"/>
                  </a:lnTo>
                  <a:lnTo>
                    <a:pt x="314" y="74"/>
                  </a:lnTo>
                  <a:lnTo>
                    <a:pt x="314" y="80"/>
                  </a:lnTo>
                  <a:lnTo>
                    <a:pt x="314" y="86"/>
                  </a:lnTo>
                  <a:lnTo>
                    <a:pt x="316" y="92"/>
                  </a:lnTo>
                  <a:lnTo>
                    <a:pt x="320" y="98"/>
                  </a:lnTo>
                  <a:lnTo>
                    <a:pt x="322" y="104"/>
                  </a:lnTo>
                  <a:lnTo>
                    <a:pt x="324" y="110"/>
                  </a:lnTo>
                  <a:lnTo>
                    <a:pt x="324" y="118"/>
                  </a:lnTo>
                  <a:lnTo>
                    <a:pt x="322" y="122"/>
                  </a:lnTo>
                  <a:lnTo>
                    <a:pt x="320" y="128"/>
                  </a:lnTo>
                  <a:lnTo>
                    <a:pt x="320" y="134"/>
                  </a:lnTo>
                  <a:lnTo>
                    <a:pt x="318" y="140"/>
                  </a:lnTo>
                  <a:lnTo>
                    <a:pt x="318" y="146"/>
                  </a:lnTo>
                  <a:lnTo>
                    <a:pt x="318" y="152"/>
                  </a:lnTo>
                  <a:lnTo>
                    <a:pt x="318" y="154"/>
                  </a:lnTo>
                  <a:lnTo>
                    <a:pt x="320" y="162"/>
                  </a:lnTo>
                  <a:lnTo>
                    <a:pt x="320" y="164"/>
                  </a:lnTo>
                  <a:lnTo>
                    <a:pt x="320" y="170"/>
                  </a:lnTo>
                  <a:lnTo>
                    <a:pt x="322" y="176"/>
                  </a:lnTo>
                  <a:lnTo>
                    <a:pt x="318" y="182"/>
                  </a:lnTo>
                  <a:lnTo>
                    <a:pt x="316" y="188"/>
                  </a:lnTo>
                  <a:lnTo>
                    <a:pt x="314" y="194"/>
                  </a:lnTo>
                  <a:lnTo>
                    <a:pt x="312" y="200"/>
                  </a:lnTo>
                  <a:lnTo>
                    <a:pt x="310" y="202"/>
                  </a:lnTo>
                  <a:lnTo>
                    <a:pt x="306" y="204"/>
                  </a:lnTo>
                  <a:lnTo>
                    <a:pt x="300" y="208"/>
                  </a:lnTo>
                  <a:lnTo>
                    <a:pt x="298" y="210"/>
                  </a:lnTo>
                  <a:lnTo>
                    <a:pt x="296" y="210"/>
                  </a:lnTo>
                  <a:lnTo>
                    <a:pt x="292" y="214"/>
                  </a:lnTo>
                  <a:lnTo>
                    <a:pt x="286" y="216"/>
                  </a:lnTo>
                  <a:lnTo>
                    <a:pt x="280" y="220"/>
                  </a:lnTo>
                  <a:lnTo>
                    <a:pt x="274" y="224"/>
                  </a:lnTo>
                  <a:lnTo>
                    <a:pt x="268" y="228"/>
                  </a:lnTo>
                  <a:lnTo>
                    <a:pt x="262" y="230"/>
                  </a:lnTo>
                  <a:lnTo>
                    <a:pt x="256" y="234"/>
                  </a:lnTo>
                  <a:lnTo>
                    <a:pt x="254" y="236"/>
                  </a:lnTo>
                  <a:lnTo>
                    <a:pt x="248" y="240"/>
                  </a:lnTo>
                  <a:lnTo>
                    <a:pt x="242" y="242"/>
                  </a:lnTo>
                  <a:lnTo>
                    <a:pt x="240" y="244"/>
                  </a:lnTo>
                  <a:lnTo>
                    <a:pt x="232" y="248"/>
                  </a:lnTo>
                  <a:lnTo>
                    <a:pt x="228" y="252"/>
                  </a:lnTo>
                  <a:lnTo>
                    <a:pt x="222" y="254"/>
                  </a:lnTo>
                  <a:lnTo>
                    <a:pt x="216" y="258"/>
                  </a:lnTo>
                  <a:lnTo>
                    <a:pt x="210" y="262"/>
                  </a:lnTo>
                  <a:lnTo>
                    <a:pt x="204" y="266"/>
                  </a:lnTo>
                  <a:lnTo>
                    <a:pt x="198" y="270"/>
                  </a:lnTo>
                  <a:lnTo>
                    <a:pt x="196" y="270"/>
                  </a:lnTo>
                  <a:lnTo>
                    <a:pt x="190" y="274"/>
                  </a:lnTo>
                  <a:lnTo>
                    <a:pt x="188" y="274"/>
                  </a:lnTo>
                  <a:lnTo>
                    <a:pt x="188" y="276"/>
                  </a:lnTo>
                  <a:lnTo>
                    <a:pt x="182" y="278"/>
                  </a:lnTo>
                  <a:lnTo>
                    <a:pt x="176" y="282"/>
                  </a:lnTo>
                  <a:lnTo>
                    <a:pt x="170" y="286"/>
                  </a:lnTo>
                  <a:lnTo>
                    <a:pt x="164" y="290"/>
                  </a:lnTo>
                  <a:lnTo>
                    <a:pt x="164" y="292"/>
                  </a:lnTo>
                  <a:lnTo>
                    <a:pt x="156" y="296"/>
                  </a:lnTo>
                  <a:lnTo>
                    <a:pt x="152" y="300"/>
                  </a:lnTo>
                  <a:lnTo>
                    <a:pt x="146" y="304"/>
                  </a:lnTo>
                  <a:lnTo>
                    <a:pt x="140" y="308"/>
                  </a:lnTo>
                  <a:lnTo>
                    <a:pt x="138" y="308"/>
                  </a:lnTo>
                  <a:lnTo>
                    <a:pt x="130" y="312"/>
                  </a:lnTo>
                  <a:lnTo>
                    <a:pt x="126" y="316"/>
                  </a:lnTo>
                  <a:lnTo>
                    <a:pt x="120" y="320"/>
                  </a:lnTo>
                  <a:lnTo>
                    <a:pt x="118" y="322"/>
                  </a:lnTo>
                  <a:lnTo>
                    <a:pt x="112" y="326"/>
                  </a:lnTo>
                  <a:lnTo>
                    <a:pt x="106" y="330"/>
                  </a:lnTo>
                  <a:lnTo>
                    <a:pt x="100" y="334"/>
                  </a:lnTo>
                  <a:lnTo>
                    <a:pt x="98" y="336"/>
                  </a:lnTo>
                  <a:lnTo>
                    <a:pt x="92" y="340"/>
                  </a:lnTo>
                  <a:lnTo>
                    <a:pt x="86" y="344"/>
                  </a:lnTo>
                  <a:lnTo>
                    <a:pt x="80" y="346"/>
                  </a:lnTo>
                  <a:lnTo>
                    <a:pt x="76" y="346"/>
                  </a:lnTo>
                  <a:lnTo>
                    <a:pt x="70" y="344"/>
                  </a:lnTo>
                  <a:lnTo>
                    <a:pt x="64" y="344"/>
                  </a:lnTo>
                  <a:lnTo>
                    <a:pt x="60" y="342"/>
                  </a:lnTo>
                  <a:lnTo>
                    <a:pt x="58" y="342"/>
                  </a:lnTo>
                  <a:lnTo>
                    <a:pt x="54" y="338"/>
                  </a:lnTo>
                  <a:lnTo>
                    <a:pt x="48" y="334"/>
                  </a:lnTo>
                  <a:lnTo>
                    <a:pt x="46" y="332"/>
                  </a:lnTo>
                  <a:lnTo>
                    <a:pt x="42" y="334"/>
                  </a:lnTo>
                  <a:lnTo>
                    <a:pt x="42" y="332"/>
                  </a:lnTo>
                  <a:lnTo>
                    <a:pt x="36" y="328"/>
                  </a:lnTo>
                  <a:lnTo>
                    <a:pt x="34" y="324"/>
                  </a:lnTo>
                  <a:lnTo>
                    <a:pt x="32" y="324"/>
                  </a:lnTo>
                  <a:lnTo>
                    <a:pt x="28" y="320"/>
                  </a:lnTo>
                  <a:lnTo>
                    <a:pt x="26" y="318"/>
                  </a:lnTo>
                  <a:lnTo>
                    <a:pt x="24" y="318"/>
                  </a:lnTo>
                  <a:lnTo>
                    <a:pt x="20" y="316"/>
                  </a:lnTo>
                  <a:lnTo>
                    <a:pt x="18" y="316"/>
                  </a:lnTo>
                  <a:lnTo>
                    <a:pt x="18" y="318"/>
                  </a:lnTo>
                  <a:lnTo>
                    <a:pt x="14" y="320"/>
                  </a:lnTo>
                  <a:lnTo>
                    <a:pt x="12" y="322"/>
                  </a:lnTo>
                  <a:lnTo>
                    <a:pt x="12" y="320"/>
                  </a:lnTo>
                  <a:lnTo>
                    <a:pt x="10" y="320"/>
                  </a:lnTo>
                  <a:lnTo>
                    <a:pt x="8" y="320"/>
                  </a:lnTo>
                  <a:lnTo>
                    <a:pt x="10" y="316"/>
                  </a:lnTo>
                  <a:lnTo>
                    <a:pt x="12" y="316"/>
                  </a:lnTo>
                  <a:lnTo>
                    <a:pt x="12" y="314"/>
                  </a:lnTo>
                  <a:lnTo>
                    <a:pt x="12" y="312"/>
                  </a:lnTo>
                  <a:lnTo>
                    <a:pt x="10" y="312"/>
                  </a:lnTo>
                  <a:lnTo>
                    <a:pt x="10" y="308"/>
                  </a:lnTo>
                  <a:lnTo>
                    <a:pt x="8" y="306"/>
                  </a:lnTo>
                  <a:lnTo>
                    <a:pt x="8" y="304"/>
                  </a:lnTo>
                  <a:lnTo>
                    <a:pt x="8" y="300"/>
                  </a:lnTo>
                  <a:lnTo>
                    <a:pt x="8" y="296"/>
                  </a:lnTo>
                  <a:lnTo>
                    <a:pt x="10" y="294"/>
                  </a:lnTo>
                  <a:lnTo>
                    <a:pt x="10" y="290"/>
                  </a:lnTo>
                  <a:lnTo>
                    <a:pt x="10" y="284"/>
                  </a:lnTo>
                  <a:lnTo>
                    <a:pt x="10" y="282"/>
                  </a:lnTo>
                  <a:lnTo>
                    <a:pt x="8" y="282"/>
                  </a:lnTo>
                  <a:lnTo>
                    <a:pt x="8" y="28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79" name="Freeform 96"/>
            <p:cNvSpPr>
              <a:spLocks/>
            </p:cNvSpPr>
            <p:nvPr/>
          </p:nvSpPr>
          <p:spPr bwMode="auto">
            <a:xfrm>
              <a:off x="4044950" y="3000375"/>
              <a:ext cx="284163" cy="220663"/>
            </a:xfrm>
            <a:custGeom>
              <a:avLst/>
              <a:gdLst>
                <a:gd name="T0" fmla="*/ 2147483647 w 696"/>
                <a:gd name="T1" fmla="*/ 2147483647 h 534"/>
                <a:gd name="T2" fmla="*/ 2147483647 w 696"/>
                <a:gd name="T3" fmla="*/ 2147483647 h 534"/>
                <a:gd name="T4" fmla="*/ 2147483647 w 696"/>
                <a:gd name="T5" fmla="*/ 2147483647 h 534"/>
                <a:gd name="T6" fmla="*/ 2147483647 w 696"/>
                <a:gd name="T7" fmla="*/ 2147483647 h 534"/>
                <a:gd name="T8" fmla="*/ 2147483647 w 696"/>
                <a:gd name="T9" fmla="*/ 2147483647 h 534"/>
                <a:gd name="T10" fmla="*/ 2147483647 w 696"/>
                <a:gd name="T11" fmla="*/ 2147483647 h 534"/>
                <a:gd name="T12" fmla="*/ 2147483647 w 696"/>
                <a:gd name="T13" fmla="*/ 2147483647 h 534"/>
                <a:gd name="T14" fmla="*/ 2147483647 w 696"/>
                <a:gd name="T15" fmla="*/ 2147483647 h 534"/>
                <a:gd name="T16" fmla="*/ 2147483647 w 696"/>
                <a:gd name="T17" fmla="*/ 2147483647 h 534"/>
                <a:gd name="T18" fmla="*/ 2147483647 w 696"/>
                <a:gd name="T19" fmla="*/ 2147483647 h 534"/>
                <a:gd name="T20" fmla="*/ 2147483647 w 696"/>
                <a:gd name="T21" fmla="*/ 2147483647 h 534"/>
                <a:gd name="T22" fmla="*/ 2147483647 w 696"/>
                <a:gd name="T23" fmla="*/ 2147483647 h 534"/>
                <a:gd name="T24" fmla="*/ 2147483647 w 696"/>
                <a:gd name="T25" fmla="*/ 2147483647 h 534"/>
                <a:gd name="T26" fmla="*/ 2147483647 w 696"/>
                <a:gd name="T27" fmla="*/ 2147483647 h 534"/>
                <a:gd name="T28" fmla="*/ 2147483647 w 696"/>
                <a:gd name="T29" fmla="*/ 2147483647 h 534"/>
                <a:gd name="T30" fmla="*/ 2147483647 w 696"/>
                <a:gd name="T31" fmla="*/ 2147483647 h 534"/>
                <a:gd name="T32" fmla="*/ 2147483647 w 696"/>
                <a:gd name="T33" fmla="*/ 2147483647 h 534"/>
                <a:gd name="T34" fmla="*/ 2147483647 w 696"/>
                <a:gd name="T35" fmla="*/ 2147483647 h 534"/>
                <a:gd name="T36" fmla="*/ 2147483647 w 696"/>
                <a:gd name="T37" fmla="*/ 2147483647 h 534"/>
                <a:gd name="T38" fmla="*/ 2147483647 w 696"/>
                <a:gd name="T39" fmla="*/ 2147483647 h 534"/>
                <a:gd name="T40" fmla="*/ 2147483647 w 696"/>
                <a:gd name="T41" fmla="*/ 2147483647 h 534"/>
                <a:gd name="T42" fmla="*/ 2147483647 w 696"/>
                <a:gd name="T43" fmla="*/ 2147483647 h 534"/>
                <a:gd name="T44" fmla="*/ 2147483647 w 696"/>
                <a:gd name="T45" fmla="*/ 2147483647 h 534"/>
                <a:gd name="T46" fmla="*/ 2147483647 w 696"/>
                <a:gd name="T47" fmla="*/ 2147483647 h 534"/>
                <a:gd name="T48" fmla="*/ 2147483647 w 696"/>
                <a:gd name="T49" fmla="*/ 2147483647 h 534"/>
                <a:gd name="T50" fmla="*/ 2147483647 w 696"/>
                <a:gd name="T51" fmla="*/ 2147483647 h 534"/>
                <a:gd name="T52" fmla="*/ 2147483647 w 696"/>
                <a:gd name="T53" fmla="*/ 2147483647 h 534"/>
                <a:gd name="T54" fmla="*/ 2147483647 w 696"/>
                <a:gd name="T55" fmla="*/ 2147483647 h 534"/>
                <a:gd name="T56" fmla="*/ 2147483647 w 696"/>
                <a:gd name="T57" fmla="*/ 2147483647 h 534"/>
                <a:gd name="T58" fmla="*/ 2147483647 w 696"/>
                <a:gd name="T59" fmla="*/ 2147483647 h 534"/>
                <a:gd name="T60" fmla="*/ 2147483647 w 696"/>
                <a:gd name="T61" fmla="*/ 2147483647 h 534"/>
                <a:gd name="T62" fmla="*/ 2147483647 w 696"/>
                <a:gd name="T63" fmla="*/ 2147483647 h 534"/>
                <a:gd name="T64" fmla="*/ 2147483647 w 696"/>
                <a:gd name="T65" fmla="*/ 2147483647 h 534"/>
                <a:gd name="T66" fmla="*/ 2147483647 w 696"/>
                <a:gd name="T67" fmla="*/ 2147483647 h 534"/>
                <a:gd name="T68" fmla="*/ 2147483647 w 696"/>
                <a:gd name="T69" fmla="*/ 2147483647 h 534"/>
                <a:gd name="T70" fmla="*/ 2147483647 w 696"/>
                <a:gd name="T71" fmla="*/ 2147483647 h 534"/>
                <a:gd name="T72" fmla="*/ 2147483647 w 696"/>
                <a:gd name="T73" fmla="*/ 2147483647 h 534"/>
                <a:gd name="T74" fmla="*/ 2147483647 w 696"/>
                <a:gd name="T75" fmla="*/ 2147483647 h 534"/>
                <a:gd name="T76" fmla="*/ 2147483647 w 696"/>
                <a:gd name="T77" fmla="*/ 2147483647 h 534"/>
                <a:gd name="T78" fmla="*/ 2147483647 w 696"/>
                <a:gd name="T79" fmla="*/ 2147483647 h 534"/>
                <a:gd name="T80" fmla="*/ 2147483647 w 696"/>
                <a:gd name="T81" fmla="*/ 2147483647 h 534"/>
                <a:gd name="T82" fmla="*/ 2147483647 w 696"/>
                <a:gd name="T83" fmla="*/ 2147483647 h 534"/>
                <a:gd name="T84" fmla="*/ 2147483647 w 696"/>
                <a:gd name="T85" fmla="*/ 2147483647 h 534"/>
                <a:gd name="T86" fmla="*/ 2147483647 w 696"/>
                <a:gd name="T87" fmla="*/ 2147483647 h 534"/>
                <a:gd name="T88" fmla="*/ 2147483647 w 696"/>
                <a:gd name="T89" fmla="*/ 2147483647 h 534"/>
                <a:gd name="T90" fmla="*/ 2147483647 w 696"/>
                <a:gd name="T91" fmla="*/ 2147483647 h 534"/>
                <a:gd name="T92" fmla="*/ 2147483647 w 696"/>
                <a:gd name="T93" fmla="*/ 2147483647 h 534"/>
                <a:gd name="T94" fmla="*/ 2147483647 w 696"/>
                <a:gd name="T95" fmla="*/ 2147483647 h 534"/>
                <a:gd name="T96" fmla="*/ 2147483647 w 696"/>
                <a:gd name="T97" fmla="*/ 2147483647 h 534"/>
                <a:gd name="T98" fmla="*/ 2147483647 w 696"/>
                <a:gd name="T99" fmla="*/ 2147483647 h 534"/>
                <a:gd name="T100" fmla="*/ 2147483647 w 696"/>
                <a:gd name="T101" fmla="*/ 2147483647 h 534"/>
                <a:gd name="T102" fmla="*/ 2147483647 w 696"/>
                <a:gd name="T103" fmla="*/ 2147483647 h 534"/>
                <a:gd name="T104" fmla="*/ 2147483647 w 696"/>
                <a:gd name="T105" fmla="*/ 2147483647 h 534"/>
                <a:gd name="T106" fmla="*/ 2147483647 w 696"/>
                <a:gd name="T107" fmla="*/ 2147483647 h 534"/>
                <a:gd name="T108" fmla="*/ 2147483647 w 696"/>
                <a:gd name="T109" fmla="*/ 2147483647 h 534"/>
                <a:gd name="T110" fmla="*/ 2147483647 w 696"/>
                <a:gd name="T111" fmla="*/ 2147483647 h 534"/>
                <a:gd name="T112" fmla="*/ 2147483647 w 696"/>
                <a:gd name="T113" fmla="*/ 2147483647 h 5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6"/>
                <a:gd name="T172" fmla="*/ 0 h 534"/>
                <a:gd name="T173" fmla="*/ 696 w 696"/>
                <a:gd name="T174" fmla="*/ 534 h 53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6" h="534">
                  <a:moveTo>
                    <a:pt x="6" y="62"/>
                  </a:moveTo>
                  <a:lnTo>
                    <a:pt x="8" y="60"/>
                  </a:lnTo>
                  <a:lnTo>
                    <a:pt x="2" y="58"/>
                  </a:lnTo>
                  <a:lnTo>
                    <a:pt x="0" y="52"/>
                  </a:lnTo>
                  <a:lnTo>
                    <a:pt x="2" y="46"/>
                  </a:lnTo>
                  <a:lnTo>
                    <a:pt x="6" y="40"/>
                  </a:lnTo>
                  <a:lnTo>
                    <a:pt x="12" y="40"/>
                  </a:lnTo>
                  <a:lnTo>
                    <a:pt x="18" y="36"/>
                  </a:lnTo>
                  <a:lnTo>
                    <a:pt x="22" y="30"/>
                  </a:lnTo>
                  <a:lnTo>
                    <a:pt x="28" y="30"/>
                  </a:lnTo>
                  <a:lnTo>
                    <a:pt x="34" y="32"/>
                  </a:lnTo>
                  <a:lnTo>
                    <a:pt x="40" y="30"/>
                  </a:lnTo>
                  <a:lnTo>
                    <a:pt x="46" y="28"/>
                  </a:lnTo>
                  <a:lnTo>
                    <a:pt x="52" y="30"/>
                  </a:lnTo>
                  <a:lnTo>
                    <a:pt x="58" y="26"/>
                  </a:lnTo>
                  <a:lnTo>
                    <a:pt x="64" y="24"/>
                  </a:lnTo>
                  <a:lnTo>
                    <a:pt x="56" y="24"/>
                  </a:lnTo>
                  <a:lnTo>
                    <a:pt x="62" y="20"/>
                  </a:lnTo>
                  <a:lnTo>
                    <a:pt x="64" y="18"/>
                  </a:lnTo>
                  <a:lnTo>
                    <a:pt x="62" y="18"/>
                  </a:lnTo>
                  <a:lnTo>
                    <a:pt x="62" y="20"/>
                  </a:lnTo>
                  <a:lnTo>
                    <a:pt x="56" y="22"/>
                  </a:lnTo>
                  <a:lnTo>
                    <a:pt x="56" y="16"/>
                  </a:lnTo>
                  <a:lnTo>
                    <a:pt x="62" y="12"/>
                  </a:lnTo>
                  <a:lnTo>
                    <a:pt x="68" y="8"/>
                  </a:lnTo>
                  <a:lnTo>
                    <a:pt x="74" y="4"/>
                  </a:lnTo>
                  <a:lnTo>
                    <a:pt x="80" y="0"/>
                  </a:lnTo>
                  <a:lnTo>
                    <a:pt x="80" y="6"/>
                  </a:lnTo>
                  <a:lnTo>
                    <a:pt x="86" y="4"/>
                  </a:lnTo>
                  <a:lnTo>
                    <a:pt x="90" y="0"/>
                  </a:lnTo>
                  <a:lnTo>
                    <a:pt x="90" y="2"/>
                  </a:lnTo>
                  <a:lnTo>
                    <a:pt x="98" y="6"/>
                  </a:lnTo>
                  <a:lnTo>
                    <a:pt x="104" y="2"/>
                  </a:lnTo>
                  <a:lnTo>
                    <a:pt x="108" y="6"/>
                  </a:lnTo>
                  <a:lnTo>
                    <a:pt x="114" y="12"/>
                  </a:lnTo>
                  <a:lnTo>
                    <a:pt x="120" y="14"/>
                  </a:lnTo>
                  <a:lnTo>
                    <a:pt x="124" y="14"/>
                  </a:lnTo>
                  <a:lnTo>
                    <a:pt x="126" y="18"/>
                  </a:lnTo>
                  <a:lnTo>
                    <a:pt x="132" y="14"/>
                  </a:lnTo>
                  <a:lnTo>
                    <a:pt x="138" y="14"/>
                  </a:lnTo>
                  <a:lnTo>
                    <a:pt x="140" y="14"/>
                  </a:lnTo>
                  <a:lnTo>
                    <a:pt x="144" y="16"/>
                  </a:lnTo>
                  <a:lnTo>
                    <a:pt x="150" y="14"/>
                  </a:lnTo>
                  <a:lnTo>
                    <a:pt x="156" y="14"/>
                  </a:lnTo>
                  <a:lnTo>
                    <a:pt x="162" y="14"/>
                  </a:lnTo>
                  <a:lnTo>
                    <a:pt x="168" y="14"/>
                  </a:lnTo>
                  <a:lnTo>
                    <a:pt x="174" y="14"/>
                  </a:lnTo>
                  <a:lnTo>
                    <a:pt x="180" y="14"/>
                  </a:lnTo>
                  <a:lnTo>
                    <a:pt x="186" y="14"/>
                  </a:lnTo>
                  <a:lnTo>
                    <a:pt x="192" y="10"/>
                  </a:lnTo>
                  <a:lnTo>
                    <a:pt x="196" y="12"/>
                  </a:lnTo>
                  <a:lnTo>
                    <a:pt x="204" y="16"/>
                  </a:lnTo>
                  <a:lnTo>
                    <a:pt x="210" y="14"/>
                  </a:lnTo>
                  <a:lnTo>
                    <a:pt x="216" y="14"/>
                  </a:lnTo>
                  <a:lnTo>
                    <a:pt x="222" y="16"/>
                  </a:lnTo>
                  <a:lnTo>
                    <a:pt x="226" y="20"/>
                  </a:lnTo>
                  <a:lnTo>
                    <a:pt x="232" y="20"/>
                  </a:lnTo>
                  <a:lnTo>
                    <a:pt x="234" y="20"/>
                  </a:lnTo>
                  <a:lnTo>
                    <a:pt x="238" y="22"/>
                  </a:lnTo>
                  <a:lnTo>
                    <a:pt x="244" y="22"/>
                  </a:lnTo>
                  <a:lnTo>
                    <a:pt x="252" y="22"/>
                  </a:lnTo>
                  <a:lnTo>
                    <a:pt x="256" y="24"/>
                  </a:lnTo>
                  <a:lnTo>
                    <a:pt x="262" y="26"/>
                  </a:lnTo>
                  <a:lnTo>
                    <a:pt x="264" y="26"/>
                  </a:lnTo>
                  <a:lnTo>
                    <a:pt x="270" y="26"/>
                  </a:lnTo>
                  <a:lnTo>
                    <a:pt x="272" y="26"/>
                  </a:lnTo>
                  <a:lnTo>
                    <a:pt x="278" y="26"/>
                  </a:lnTo>
                  <a:lnTo>
                    <a:pt x="284" y="24"/>
                  </a:lnTo>
                  <a:lnTo>
                    <a:pt x="290" y="22"/>
                  </a:lnTo>
                  <a:lnTo>
                    <a:pt x="292" y="22"/>
                  </a:lnTo>
                  <a:lnTo>
                    <a:pt x="292" y="24"/>
                  </a:lnTo>
                  <a:lnTo>
                    <a:pt x="298" y="20"/>
                  </a:lnTo>
                  <a:lnTo>
                    <a:pt x="304" y="20"/>
                  </a:lnTo>
                  <a:lnTo>
                    <a:pt x="310" y="20"/>
                  </a:lnTo>
                  <a:lnTo>
                    <a:pt x="316" y="18"/>
                  </a:lnTo>
                  <a:lnTo>
                    <a:pt x="322" y="20"/>
                  </a:lnTo>
                  <a:lnTo>
                    <a:pt x="328" y="24"/>
                  </a:lnTo>
                  <a:lnTo>
                    <a:pt x="334" y="24"/>
                  </a:lnTo>
                  <a:lnTo>
                    <a:pt x="340" y="28"/>
                  </a:lnTo>
                  <a:lnTo>
                    <a:pt x="346" y="30"/>
                  </a:lnTo>
                  <a:lnTo>
                    <a:pt x="348" y="30"/>
                  </a:lnTo>
                  <a:lnTo>
                    <a:pt x="350" y="24"/>
                  </a:lnTo>
                  <a:lnTo>
                    <a:pt x="352" y="24"/>
                  </a:lnTo>
                  <a:lnTo>
                    <a:pt x="358" y="22"/>
                  </a:lnTo>
                  <a:lnTo>
                    <a:pt x="364" y="24"/>
                  </a:lnTo>
                  <a:lnTo>
                    <a:pt x="370" y="26"/>
                  </a:lnTo>
                  <a:lnTo>
                    <a:pt x="376" y="26"/>
                  </a:lnTo>
                  <a:lnTo>
                    <a:pt x="380" y="30"/>
                  </a:lnTo>
                  <a:lnTo>
                    <a:pt x="388" y="32"/>
                  </a:lnTo>
                  <a:lnTo>
                    <a:pt x="392" y="30"/>
                  </a:lnTo>
                  <a:lnTo>
                    <a:pt x="398" y="32"/>
                  </a:lnTo>
                  <a:lnTo>
                    <a:pt x="404" y="30"/>
                  </a:lnTo>
                  <a:lnTo>
                    <a:pt x="406" y="30"/>
                  </a:lnTo>
                  <a:lnTo>
                    <a:pt x="412" y="28"/>
                  </a:lnTo>
                  <a:lnTo>
                    <a:pt x="416" y="28"/>
                  </a:lnTo>
                  <a:lnTo>
                    <a:pt x="418" y="30"/>
                  </a:lnTo>
                  <a:lnTo>
                    <a:pt x="418" y="32"/>
                  </a:lnTo>
                  <a:lnTo>
                    <a:pt x="424" y="32"/>
                  </a:lnTo>
                  <a:lnTo>
                    <a:pt x="430" y="32"/>
                  </a:lnTo>
                  <a:lnTo>
                    <a:pt x="436" y="34"/>
                  </a:lnTo>
                  <a:lnTo>
                    <a:pt x="438" y="40"/>
                  </a:lnTo>
                  <a:lnTo>
                    <a:pt x="434" y="46"/>
                  </a:lnTo>
                  <a:lnTo>
                    <a:pt x="438" y="50"/>
                  </a:lnTo>
                  <a:lnTo>
                    <a:pt x="442" y="44"/>
                  </a:lnTo>
                  <a:lnTo>
                    <a:pt x="444" y="44"/>
                  </a:lnTo>
                  <a:lnTo>
                    <a:pt x="448" y="50"/>
                  </a:lnTo>
                  <a:lnTo>
                    <a:pt x="454" y="52"/>
                  </a:lnTo>
                  <a:lnTo>
                    <a:pt x="460" y="56"/>
                  </a:lnTo>
                  <a:lnTo>
                    <a:pt x="466" y="56"/>
                  </a:lnTo>
                  <a:lnTo>
                    <a:pt x="472" y="56"/>
                  </a:lnTo>
                  <a:lnTo>
                    <a:pt x="474" y="58"/>
                  </a:lnTo>
                  <a:lnTo>
                    <a:pt x="480" y="64"/>
                  </a:lnTo>
                  <a:lnTo>
                    <a:pt x="484" y="68"/>
                  </a:lnTo>
                  <a:lnTo>
                    <a:pt x="484" y="66"/>
                  </a:lnTo>
                  <a:lnTo>
                    <a:pt x="490" y="66"/>
                  </a:lnTo>
                  <a:lnTo>
                    <a:pt x="496" y="64"/>
                  </a:lnTo>
                  <a:lnTo>
                    <a:pt x="502" y="66"/>
                  </a:lnTo>
                  <a:lnTo>
                    <a:pt x="508" y="72"/>
                  </a:lnTo>
                  <a:lnTo>
                    <a:pt x="512" y="74"/>
                  </a:lnTo>
                  <a:lnTo>
                    <a:pt x="518" y="72"/>
                  </a:lnTo>
                  <a:lnTo>
                    <a:pt x="524" y="72"/>
                  </a:lnTo>
                  <a:lnTo>
                    <a:pt x="530" y="74"/>
                  </a:lnTo>
                  <a:lnTo>
                    <a:pt x="536" y="74"/>
                  </a:lnTo>
                  <a:lnTo>
                    <a:pt x="540" y="74"/>
                  </a:lnTo>
                  <a:lnTo>
                    <a:pt x="544" y="74"/>
                  </a:lnTo>
                  <a:lnTo>
                    <a:pt x="550" y="74"/>
                  </a:lnTo>
                  <a:lnTo>
                    <a:pt x="550" y="68"/>
                  </a:lnTo>
                  <a:lnTo>
                    <a:pt x="552" y="62"/>
                  </a:lnTo>
                  <a:lnTo>
                    <a:pt x="554" y="64"/>
                  </a:lnTo>
                  <a:lnTo>
                    <a:pt x="556" y="64"/>
                  </a:lnTo>
                  <a:lnTo>
                    <a:pt x="560" y="64"/>
                  </a:lnTo>
                  <a:lnTo>
                    <a:pt x="566" y="66"/>
                  </a:lnTo>
                  <a:lnTo>
                    <a:pt x="572" y="68"/>
                  </a:lnTo>
                  <a:lnTo>
                    <a:pt x="578" y="72"/>
                  </a:lnTo>
                  <a:lnTo>
                    <a:pt x="584" y="72"/>
                  </a:lnTo>
                  <a:lnTo>
                    <a:pt x="590" y="74"/>
                  </a:lnTo>
                  <a:lnTo>
                    <a:pt x="592" y="80"/>
                  </a:lnTo>
                  <a:lnTo>
                    <a:pt x="594" y="86"/>
                  </a:lnTo>
                  <a:lnTo>
                    <a:pt x="594" y="90"/>
                  </a:lnTo>
                  <a:lnTo>
                    <a:pt x="600" y="90"/>
                  </a:lnTo>
                  <a:lnTo>
                    <a:pt x="606" y="86"/>
                  </a:lnTo>
                  <a:lnTo>
                    <a:pt x="608" y="86"/>
                  </a:lnTo>
                  <a:lnTo>
                    <a:pt x="608" y="88"/>
                  </a:lnTo>
                  <a:lnTo>
                    <a:pt x="614" y="88"/>
                  </a:lnTo>
                  <a:lnTo>
                    <a:pt x="618" y="90"/>
                  </a:lnTo>
                  <a:lnTo>
                    <a:pt x="620" y="90"/>
                  </a:lnTo>
                  <a:lnTo>
                    <a:pt x="620" y="92"/>
                  </a:lnTo>
                  <a:lnTo>
                    <a:pt x="626" y="96"/>
                  </a:lnTo>
                  <a:lnTo>
                    <a:pt x="632" y="92"/>
                  </a:lnTo>
                  <a:lnTo>
                    <a:pt x="638" y="92"/>
                  </a:lnTo>
                  <a:lnTo>
                    <a:pt x="644" y="94"/>
                  </a:lnTo>
                  <a:lnTo>
                    <a:pt x="648" y="96"/>
                  </a:lnTo>
                  <a:lnTo>
                    <a:pt x="654" y="96"/>
                  </a:lnTo>
                  <a:lnTo>
                    <a:pt x="660" y="98"/>
                  </a:lnTo>
                  <a:lnTo>
                    <a:pt x="666" y="92"/>
                  </a:lnTo>
                  <a:lnTo>
                    <a:pt x="672" y="90"/>
                  </a:lnTo>
                  <a:lnTo>
                    <a:pt x="678" y="88"/>
                  </a:lnTo>
                  <a:lnTo>
                    <a:pt x="684" y="92"/>
                  </a:lnTo>
                  <a:lnTo>
                    <a:pt x="688" y="92"/>
                  </a:lnTo>
                  <a:lnTo>
                    <a:pt x="690" y="98"/>
                  </a:lnTo>
                  <a:lnTo>
                    <a:pt x="696" y="98"/>
                  </a:lnTo>
                  <a:lnTo>
                    <a:pt x="694" y="104"/>
                  </a:lnTo>
                  <a:lnTo>
                    <a:pt x="688" y="102"/>
                  </a:lnTo>
                  <a:lnTo>
                    <a:pt x="684" y="106"/>
                  </a:lnTo>
                  <a:lnTo>
                    <a:pt x="686" y="114"/>
                  </a:lnTo>
                  <a:lnTo>
                    <a:pt x="688" y="120"/>
                  </a:lnTo>
                  <a:lnTo>
                    <a:pt x="690" y="126"/>
                  </a:lnTo>
                  <a:lnTo>
                    <a:pt x="686" y="132"/>
                  </a:lnTo>
                  <a:lnTo>
                    <a:pt x="684" y="132"/>
                  </a:lnTo>
                  <a:lnTo>
                    <a:pt x="680" y="136"/>
                  </a:lnTo>
                  <a:lnTo>
                    <a:pt x="674" y="140"/>
                  </a:lnTo>
                  <a:lnTo>
                    <a:pt x="668" y="142"/>
                  </a:lnTo>
                  <a:lnTo>
                    <a:pt x="666" y="144"/>
                  </a:lnTo>
                  <a:lnTo>
                    <a:pt x="660" y="148"/>
                  </a:lnTo>
                  <a:lnTo>
                    <a:pt x="654" y="150"/>
                  </a:lnTo>
                  <a:lnTo>
                    <a:pt x="648" y="152"/>
                  </a:lnTo>
                  <a:lnTo>
                    <a:pt x="642" y="156"/>
                  </a:lnTo>
                  <a:lnTo>
                    <a:pt x="636" y="158"/>
                  </a:lnTo>
                  <a:lnTo>
                    <a:pt x="630" y="164"/>
                  </a:lnTo>
                  <a:lnTo>
                    <a:pt x="628" y="168"/>
                  </a:lnTo>
                  <a:lnTo>
                    <a:pt x="622" y="170"/>
                  </a:lnTo>
                  <a:lnTo>
                    <a:pt x="616" y="172"/>
                  </a:lnTo>
                  <a:lnTo>
                    <a:pt x="612" y="174"/>
                  </a:lnTo>
                  <a:lnTo>
                    <a:pt x="604" y="174"/>
                  </a:lnTo>
                  <a:lnTo>
                    <a:pt x="600" y="176"/>
                  </a:lnTo>
                  <a:lnTo>
                    <a:pt x="594" y="176"/>
                  </a:lnTo>
                  <a:lnTo>
                    <a:pt x="588" y="178"/>
                  </a:lnTo>
                  <a:lnTo>
                    <a:pt x="582" y="180"/>
                  </a:lnTo>
                  <a:lnTo>
                    <a:pt x="578" y="182"/>
                  </a:lnTo>
                  <a:lnTo>
                    <a:pt x="572" y="184"/>
                  </a:lnTo>
                  <a:lnTo>
                    <a:pt x="570" y="186"/>
                  </a:lnTo>
                  <a:lnTo>
                    <a:pt x="564" y="186"/>
                  </a:lnTo>
                  <a:lnTo>
                    <a:pt x="558" y="192"/>
                  </a:lnTo>
                  <a:lnTo>
                    <a:pt x="552" y="196"/>
                  </a:lnTo>
                  <a:lnTo>
                    <a:pt x="546" y="202"/>
                  </a:lnTo>
                  <a:lnTo>
                    <a:pt x="552" y="206"/>
                  </a:lnTo>
                  <a:lnTo>
                    <a:pt x="556" y="208"/>
                  </a:lnTo>
                  <a:lnTo>
                    <a:pt x="554" y="212"/>
                  </a:lnTo>
                  <a:lnTo>
                    <a:pt x="548" y="214"/>
                  </a:lnTo>
                  <a:lnTo>
                    <a:pt x="542" y="220"/>
                  </a:lnTo>
                  <a:lnTo>
                    <a:pt x="536" y="218"/>
                  </a:lnTo>
                  <a:lnTo>
                    <a:pt x="536" y="222"/>
                  </a:lnTo>
                  <a:lnTo>
                    <a:pt x="532" y="228"/>
                  </a:lnTo>
                  <a:lnTo>
                    <a:pt x="528" y="234"/>
                  </a:lnTo>
                  <a:lnTo>
                    <a:pt x="522" y="240"/>
                  </a:lnTo>
                  <a:lnTo>
                    <a:pt x="518" y="246"/>
                  </a:lnTo>
                  <a:lnTo>
                    <a:pt x="514" y="252"/>
                  </a:lnTo>
                  <a:lnTo>
                    <a:pt x="508" y="256"/>
                  </a:lnTo>
                  <a:lnTo>
                    <a:pt x="506" y="258"/>
                  </a:lnTo>
                  <a:lnTo>
                    <a:pt x="504" y="264"/>
                  </a:lnTo>
                  <a:lnTo>
                    <a:pt x="498" y="270"/>
                  </a:lnTo>
                  <a:lnTo>
                    <a:pt x="494" y="276"/>
                  </a:lnTo>
                  <a:lnTo>
                    <a:pt x="494" y="278"/>
                  </a:lnTo>
                  <a:lnTo>
                    <a:pt x="492" y="280"/>
                  </a:lnTo>
                  <a:lnTo>
                    <a:pt x="492" y="282"/>
                  </a:lnTo>
                  <a:lnTo>
                    <a:pt x="488" y="288"/>
                  </a:lnTo>
                  <a:lnTo>
                    <a:pt x="484" y="294"/>
                  </a:lnTo>
                  <a:lnTo>
                    <a:pt x="484" y="298"/>
                  </a:lnTo>
                  <a:lnTo>
                    <a:pt x="486" y="304"/>
                  </a:lnTo>
                  <a:lnTo>
                    <a:pt x="486" y="306"/>
                  </a:lnTo>
                  <a:lnTo>
                    <a:pt x="488" y="312"/>
                  </a:lnTo>
                  <a:lnTo>
                    <a:pt x="488" y="316"/>
                  </a:lnTo>
                  <a:lnTo>
                    <a:pt x="490" y="322"/>
                  </a:lnTo>
                  <a:lnTo>
                    <a:pt x="494" y="328"/>
                  </a:lnTo>
                  <a:lnTo>
                    <a:pt x="498" y="334"/>
                  </a:lnTo>
                  <a:lnTo>
                    <a:pt x="500" y="336"/>
                  </a:lnTo>
                  <a:lnTo>
                    <a:pt x="502" y="336"/>
                  </a:lnTo>
                  <a:lnTo>
                    <a:pt x="506" y="336"/>
                  </a:lnTo>
                  <a:lnTo>
                    <a:pt x="512" y="340"/>
                  </a:lnTo>
                  <a:lnTo>
                    <a:pt x="512" y="346"/>
                  </a:lnTo>
                  <a:lnTo>
                    <a:pt x="506" y="350"/>
                  </a:lnTo>
                  <a:lnTo>
                    <a:pt x="502" y="352"/>
                  </a:lnTo>
                  <a:lnTo>
                    <a:pt x="498" y="358"/>
                  </a:lnTo>
                  <a:lnTo>
                    <a:pt x="492" y="360"/>
                  </a:lnTo>
                  <a:lnTo>
                    <a:pt x="484" y="362"/>
                  </a:lnTo>
                  <a:lnTo>
                    <a:pt x="480" y="366"/>
                  </a:lnTo>
                  <a:lnTo>
                    <a:pt x="476" y="372"/>
                  </a:lnTo>
                  <a:lnTo>
                    <a:pt x="470" y="376"/>
                  </a:lnTo>
                  <a:lnTo>
                    <a:pt x="470" y="382"/>
                  </a:lnTo>
                  <a:lnTo>
                    <a:pt x="464" y="384"/>
                  </a:lnTo>
                  <a:lnTo>
                    <a:pt x="464" y="388"/>
                  </a:lnTo>
                  <a:lnTo>
                    <a:pt x="462" y="394"/>
                  </a:lnTo>
                  <a:lnTo>
                    <a:pt x="460" y="400"/>
                  </a:lnTo>
                  <a:lnTo>
                    <a:pt x="456" y="406"/>
                  </a:lnTo>
                  <a:lnTo>
                    <a:pt x="452" y="412"/>
                  </a:lnTo>
                  <a:lnTo>
                    <a:pt x="452" y="418"/>
                  </a:lnTo>
                  <a:lnTo>
                    <a:pt x="458" y="420"/>
                  </a:lnTo>
                  <a:lnTo>
                    <a:pt x="456" y="414"/>
                  </a:lnTo>
                  <a:lnTo>
                    <a:pt x="458" y="420"/>
                  </a:lnTo>
                  <a:lnTo>
                    <a:pt x="452" y="426"/>
                  </a:lnTo>
                  <a:lnTo>
                    <a:pt x="446" y="426"/>
                  </a:lnTo>
                  <a:lnTo>
                    <a:pt x="440" y="426"/>
                  </a:lnTo>
                  <a:lnTo>
                    <a:pt x="434" y="426"/>
                  </a:lnTo>
                  <a:lnTo>
                    <a:pt x="428" y="426"/>
                  </a:lnTo>
                  <a:lnTo>
                    <a:pt x="422" y="426"/>
                  </a:lnTo>
                  <a:lnTo>
                    <a:pt x="416" y="430"/>
                  </a:lnTo>
                  <a:lnTo>
                    <a:pt x="412" y="436"/>
                  </a:lnTo>
                  <a:lnTo>
                    <a:pt x="408" y="436"/>
                  </a:lnTo>
                  <a:lnTo>
                    <a:pt x="404" y="440"/>
                  </a:lnTo>
                  <a:lnTo>
                    <a:pt x="400" y="446"/>
                  </a:lnTo>
                  <a:lnTo>
                    <a:pt x="392" y="446"/>
                  </a:lnTo>
                  <a:lnTo>
                    <a:pt x="394" y="452"/>
                  </a:lnTo>
                  <a:lnTo>
                    <a:pt x="392" y="458"/>
                  </a:lnTo>
                  <a:lnTo>
                    <a:pt x="388" y="464"/>
                  </a:lnTo>
                  <a:lnTo>
                    <a:pt x="386" y="470"/>
                  </a:lnTo>
                  <a:lnTo>
                    <a:pt x="382" y="476"/>
                  </a:lnTo>
                  <a:lnTo>
                    <a:pt x="376" y="482"/>
                  </a:lnTo>
                  <a:lnTo>
                    <a:pt x="370" y="484"/>
                  </a:lnTo>
                  <a:lnTo>
                    <a:pt x="366" y="478"/>
                  </a:lnTo>
                  <a:lnTo>
                    <a:pt x="360" y="476"/>
                  </a:lnTo>
                  <a:lnTo>
                    <a:pt x="356" y="478"/>
                  </a:lnTo>
                  <a:lnTo>
                    <a:pt x="350" y="478"/>
                  </a:lnTo>
                  <a:lnTo>
                    <a:pt x="346" y="484"/>
                  </a:lnTo>
                  <a:lnTo>
                    <a:pt x="340" y="488"/>
                  </a:lnTo>
                  <a:lnTo>
                    <a:pt x="334" y="486"/>
                  </a:lnTo>
                  <a:lnTo>
                    <a:pt x="328" y="482"/>
                  </a:lnTo>
                  <a:lnTo>
                    <a:pt x="322" y="482"/>
                  </a:lnTo>
                  <a:lnTo>
                    <a:pt x="316" y="482"/>
                  </a:lnTo>
                  <a:lnTo>
                    <a:pt x="310" y="482"/>
                  </a:lnTo>
                  <a:lnTo>
                    <a:pt x="304" y="484"/>
                  </a:lnTo>
                  <a:lnTo>
                    <a:pt x="298" y="486"/>
                  </a:lnTo>
                  <a:lnTo>
                    <a:pt x="294" y="484"/>
                  </a:lnTo>
                  <a:lnTo>
                    <a:pt x="292" y="484"/>
                  </a:lnTo>
                  <a:lnTo>
                    <a:pt x="286" y="484"/>
                  </a:lnTo>
                  <a:lnTo>
                    <a:pt x="280" y="484"/>
                  </a:lnTo>
                  <a:lnTo>
                    <a:pt x="274" y="484"/>
                  </a:lnTo>
                  <a:lnTo>
                    <a:pt x="268" y="484"/>
                  </a:lnTo>
                  <a:lnTo>
                    <a:pt x="262" y="482"/>
                  </a:lnTo>
                  <a:lnTo>
                    <a:pt x="258" y="484"/>
                  </a:lnTo>
                  <a:lnTo>
                    <a:pt x="252" y="484"/>
                  </a:lnTo>
                  <a:lnTo>
                    <a:pt x="246" y="484"/>
                  </a:lnTo>
                  <a:lnTo>
                    <a:pt x="242" y="488"/>
                  </a:lnTo>
                  <a:lnTo>
                    <a:pt x="236" y="494"/>
                  </a:lnTo>
                  <a:lnTo>
                    <a:pt x="230" y="498"/>
                  </a:lnTo>
                  <a:lnTo>
                    <a:pt x="224" y="500"/>
                  </a:lnTo>
                  <a:lnTo>
                    <a:pt x="218" y="500"/>
                  </a:lnTo>
                  <a:lnTo>
                    <a:pt x="212" y="500"/>
                  </a:lnTo>
                  <a:lnTo>
                    <a:pt x="210" y="502"/>
                  </a:lnTo>
                  <a:lnTo>
                    <a:pt x="202" y="504"/>
                  </a:lnTo>
                  <a:lnTo>
                    <a:pt x="196" y="508"/>
                  </a:lnTo>
                  <a:lnTo>
                    <a:pt x="194" y="512"/>
                  </a:lnTo>
                  <a:lnTo>
                    <a:pt x="192" y="514"/>
                  </a:lnTo>
                  <a:lnTo>
                    <a:pt x="188" y="522"/>
                  </a:lnTo>
                  <a:lnTo>
                    <a:pt x="188" y="524"/>
                  </a:lnTo>
                  <a:lnTo>
                    <a:pt x="182" y="524"/>
                  </a:lnTo>
                  <a:lnTo>
                    <a:pt x="182" y="530"/>
                  </a:lnTo>
                  <a:lnTo>
                    <a:pt x="176" y="532"/>
                  </a:lnTo>
                  <a:lnTo>
                    <a:pt x="172" y="534"/>
                  </a:lnTo>
                  <a:lnTo>
                    <a:pt x="166" y="530"/>
                  </a:lnTo>
                  <a:lnTo>
                    <a:pt x="160" y="528"/>
                  </a:lnTo>
                  <a:lnTo>
                    <a:pt x="154" y="522"/>
                  </a:lnTo>
                  <a:lnTo>
                    <a:pt x="148" y="522"/>
                  </a:lnTo>
                  <a:lnTo>
                    <a:pt x="146" y="516"/>
                  </a:lnTo>
                  <a:lnTo>
                    <a:pt x="142" y="510"/>
                  </a:lnTo>
                  <a:lnTo>
                    <a:pt x="138" y="506"/>
                  </a:lnTo>
                  <a:lnTo>
                    <a:pt x="136" y="500"/>
                  </a:lnTo>
                  <a:lnTo>
                    <a:pt x="142" y="500"/>
                  </a:lnTo>
                  <a:lnTo>
                    <a:pt x="142" y="498"/>
                  </a:lnTo>
                  <a:lnTo>
                    <a:pt x="138" y="494"/>
                  </a:lnTo>
                  <a:lnTo>
                    <a:pt x="132" y="492"/>
                  </a:lnTo>
                  <a:lnTo>
                    <a:pt x="128" y="486"/>
                  </a:lnTo>
                  <a:lnTo>
                    <a:pt x="132" y="480"/>
                  </a:lnTo>
                  <a:lnTo>
                    <a:pt x="132" y="478"/>
                  </a:lnTo>
                  <a:lnTo>
                    <a:pt x="134" y="474"/>
                  </a:lnTo>
                  <a:lnTo>
                    <a:pt x="140" y="472"/>
                  </a:lnTo>
                  <a:lnTo>
                    <a:pt x="134" y="472"/>
                  </a:lnTo>
                  <a:lnTo>
                    <a:pt x="134" y="474"/>
                  </a:lnTo>
                  <a:lnTo>
                    <a:pt x="132" y="478"/>
                  </a:lnTo>
                  <a:lnTo>
                    <a:pt x="128" y="472"/>
                  </a:lnTo>
                  <a:lnTo>
                    <a:pt x="124" y="466"/>
                  </a:lnTo>
                  <a:lnTo>
                    <a:pt x="116" y="462"/>
                  </a:lnTo>
                  <a:lnTo>
                    <a:pt x="112" y="458"/>
                  </a:lnTo>
                  <a:lnTo>
                    <a:pt x="106" y="456"/>
                  </a:lnTo>
                  <a:lnTo>
                    <a:pt x="102" y="450"/>
                  </a:lnTo>
                  <a:lnTo>
                    <a:pt x="104" y="446"/>
                  </a:lnTo>
                  <a:lnTo>
                    <a:pt x="100" y="446"/>
                  </a:lnTo>
                  <a:lnTo>
                    <a:pt x="100" y="452"/>
                  </a:lnTo>
                  <a:lnTo>
                    <a:pt x="94" y="450"/>
                  </a:lnTo>
                  <a:lnTo>
                    <a:pt x="88" y="450"/>
                  </a:lnTo>
                  <a:lnTo>
                    <a:pt x="82" y="450"/>
                  </a:lnTo>
                  <a:lnTo>
                    <a:pt x="76" y="454"/>
                  </a:lnTo>
                  <a:lnTo>
                    <a:pt x="74" y="450"/>
                  </a:lnTo>
                  <a:lnTo>
                    <a:pt x="74" y="448"/>
                  </a:lnTo>
                  <a:lnTo>
                    <a:pt x="74" y="446"/>
                  </a:lnTo>
                  <a:lnTo>
                    <a:pt x="74" y="440"/>
                  </a:lnTo>
                  <a:lnTo>
                    <a:pt x="72" y="434"/>
                  </a:lnTo>
                  <a:lnTo>
                    <a:pt x="70" y="428"/>
                  </a:lnTo>
                  <a:lnTo>
                    <a:pt x="70" y="424"/>
                  </a:lnTo>
                  <a:lnTo>
                    <a:pt x="74" y="418"/>
                  </a:lnTo>
                  <a:lnTo>
                    <a:pt x="78" y="412"/>
                  </a:lnTo>
                  <a:lnTo>
                    <a:pt x="84" y="406"/>
                  </a:lnTo>
                  <a:lnTo>
                    <a:pt x="86" y="400"/>
                  </a:lnTo>
                  <a:lnTo>
                    <a:pt x="86" y="398"/>
                  </a:lnTo>
                  <a:lnTo>
                    <a:pt x="90" y="396"/>
                  </a:lnTo>
                  <a:lnTo>
                    <a:pt x="94" y="392"/>
                  </a:lnTo>
                  <a:lnTo>
                    <a:pt x="100" y="394"/>
                  </a:lnTo>
                  <a:lnTo>
                    <a:pt x="104" y="388"/>
                  </a:lnTo>
                  <a:lnTo>
                    <a:pt x="106" y="382"/>
                  </a:lnTo>
                  <a:lnTo>
                    <a:pt x="102" y="382"/>
                  </a:lnTo>
                  <a:lnTo>
                    <a:pt x="96" y="382"/>
                  </a:lnTo>
                  <a:lnTo>
                    <a:pt x="92" y="376"/>
                  </a:lnTo>
                  <a:lnTo>
                    <a:pt x="88" y="370"/>
                  </a:lnTo>
                  <a:lnTo>
                    <a:pt x="84" y="366"/>
                  </a:lnTo>
                  <a:lnTo>
                    <a:pt x="86" y="364"/>
                  </a:lnTo>
                  <a:lnTo>
                    <a:pt x="86" y="362"/>
                  </a:lnTo>
                  <a:lnTo>
                    <a:pt x="88" y="356"/>
                  </a:lnTo>
                  <a:lnTo>
                    <a:pt x="88" y="350"/>
                  </a:lnTo>
                  <a:lnTo>
                    <a:pt x="92" y="344"/>
                  </a:lnTo>
                  <a:lnTo>
                    <a:pt x="94" y="344"/>
                  </a:lnTo>
                  <a:lnTo>
                    <a:pt x="100" y="338"/>
                  </a:lnTo>
                  <a:lnTo>
                    <a:pt x="104" y="336"/>
                  </a:lnTo>
                  <a:lnTo>
                    <a:pt x="104" y="332"/>
                  </a:lnTo>
                  <a:lnTo>
                    <a:pt x="108" y="326"/>
                  </a:lnTo>
                  <a:lnTo>
                    <a:pt x="108" y="324"/>
                  </a:lnTo>
                  <a:lnTo>
                    <a:pt x="104" y="318"/>
                  </a:lnTo>
                  <a:lnTo>
                    <a:pt x="102" y="320"/>
                  </a:lnTo>
                  <a:lnTo>
                    <a:pt x="96" y="314"/>
                  </a:lnTo>
                  <a:lnTo>
                    <a:pt x="94" y="308"/>
                  </a:lnTo>
                  <a:lnTo>
                    <a:pt x="90" y="302"/>
                  </a:lnTo>
                  <a:lnTo>
                    <a:pt x="90" y="294"/>
                  </a:lnTo>
                  <a:lnTo>
                    <a:pt x="86" y="292"/>
                  </a:lnTo>
                  <a:lnTo>
                    <a:pt x="82" y="288"/>
                  </a:lnTo>
                  <a:lnTo>
                    <a:pt x="78" y="280"/>
                  </a:lnTo>
                  <a:lnTo>
                    <a:pt x="82" y="282"/>
                  </a:lnTo>
                  <a:lnTo>
                    <a:pt x="86" y="282"/>
                  </a:lnTo>
                  <a:lnTo>
                    <a:pt x="94" y="280"/>
                  </a:lnTo>
                  <a:lnTo>
                    <a:pt x="100" y="282"/>
                  </a:lnTo>
                  <a:lnTo>
                    <a:pt x="106" y="282"/>
                  </a:lnTo>
                  <a:lnTo>
                    <a:pt x="108" y="280"/>
                  </a:lnTo>
                  <a:lnTo>
                    <a:pt x="110" y="276"/>
                  </a:lnTo>
                  <a:lnTo>
                    <a:pt x="110" y="272"/>
                  </a:lnTo>
                  <a:lnTo>
                    <a:pt x="110" y="270"/>
                  </a:lnTo>
                  <a:lnTo>
                    <a:pt x="112" y="270"/>
                  </a:lnTo>
                  <a:lnTo>
                    <a:pt x="116" y="264"/>
                  </a:lnTo>
                  <a:lnTo>
                    <a:pt x="116" y="258"/>
                  </a:lnTo>
                  <a:lnTo>
                    <a:pt x="116" y="252"/>
                  </a:lnTo>
                  <a:lnTo>
                    <a:pt x="110" y="246"/>
                  </a:lnTo>
                  <a:lnTo>
                    <a:pt x="114" y="240"/>
                  </a:lnTo>
                  <a:lnTo>
                    <a:pt x="120" y="240"/>
                  </a:lnTo>
                  <a:lnTo>
                    <a:pt x="124" y="236"/>
                  </a:lnTo>
                  <a:lnTo>
                    <a:pt x="122" y="230"/>
                  </a:lnTo>
                  <a:lnTo>
                    <a:pt x="124" y="224"/>
                  </a:lnTo>
                  <a:lnTo>
                    <a:pt x="122" y="218"/>
                  </a:lnTo>
                  <a:lnTo>
                    <a:pt x="124" y="216"/>
                  </a:lnTo>
                  <a:lnTo>
                    <a:pt x="124" y="212"/>
                  </a:lnTo>
                  <a:lnTo>
                    <a:pt x="124" y="206"/>
                  </a:lnTo>
                  <a:lnTo>
                    <a:pt x="126" y="200"/>
                  </a:lnTo>
                  <a:lnTo>
                    <a:pt x="124" y="196"/>
                  </a:lnTo>
                  <a:lnTo>
                    <a:pt x="120" y="190"/>
                  </a:lnTo>
                  <a:lnTo>
                    <a:pt x="120" y="188"/>
                  </a:lnTo>
                  <a:lnTo>
                    <a:pt x="120" y="186"/>
                  </a:lnTo>
                  <a:lnTo>
                    <a:pt x="126" y="186"/>
                  </a:lnTo>
                  <a:lnTo>
                    <a:pt x="128" y="180"/>
                  </a:lnTo>
                  <a:lnTo>
                    <a:pt x="134" y="174"/>
                  </a:lnTo>
                  <a:lnTo>
                    <a:pt x="140" y="174"/>
                  </a:lnTo>
                  <a:lnTo>
                    <a:pt x="146" y="170"/>
                  </a:lnTo>
                  <a:lnTo>
                    <a:pt x="150" y="166"/>
                  </a:lnTo>
                  <a:lnTo>
                    <a:pt x="154" y="162"/>
                  </a:lnTo>
                  <a:lnTo>
                    <a:pt x="158" y="156"/>
                  </a:lnTo>
                  <a:lnTo>
                    <a:pt x="162" y="150"/>
                  </a:lnTo>
                  <a:lnTo>
                    <a:pt x="162" y="148"/>
                  </a:lnTo>
                  <a:lnTo>
                    <a:pt x="156" y="144"/>
                  </a:lnTo>
                  <a:lnTo>
                    <a:pt x="150" y="142"/>
                  </a:lnTo>
                  <a:lnTo>
                    <a:pt x="144" y="140"/>
                  </a:lnTo>
                  <a:lnTo>
                    <a:pt x="144" y="136"/>
                  </a:lnTo>
                  <a:lnTo>
                    <a:pt x="146" y="130"/>
                  </a:lnTo>
                  <a:lnTo>
                    <a:pt x="142" y="124"/>
                  </a:lnTo>
                  <a:lnTo>
                    <a:pt x="136" y="126"/>
                  </a:lnTo>
                  <a:lnTo>
                    <a:pt x="128" y="124"/>
                  </a:lnTo>
                  <a:lnTo>
                    <a:pt x="124" y="124"/>
                  </a:lnTo>
                  <a:lnTo>
                    <a:pt x="120" y="124"/>
                  </a:lnTo>
                  <a:lnTo>
                    <a:pt x="116" y="124"/>
                  </a:lnTo>
                  <a:lnTo>
                    <a:pt x="110" y="124"/>
                  </a:lnTo>
                  <a:lnTo>
                    <a:pt x="108" y="128"/>
                  </a:lnTo>
                  <a:lnTo>
                    <a:pt x="102" y="132"/>
                  </a:lnTo>
                  <a:lnTo>
                    <a:pt x="96" y="134"/>
                  </a:lnTo>
                  <a:lnTo>
                    <a:pt x="90" y="132"/>
                  </a:lnTo>
                  <a:lnTo>
                    <a:pt x="84" y="130"/>
                  </a:lnTo>
                  <a:lnTo>
                    <a:pt x="78" y="128"/>
                  </a:lnTo>
                  <a:lnTo>
                    <a:pt x="72" y="130"/>
                  </a:lnTo>
                  <a:lnTo>
                    <a:pt x="66" y="130"/>
                  </a:lnTo>
                  <a:lnTo>
                    <a:pt x="60" y="134"/>
                  </a:lnTo>
                  <a:lnTo>
                    <a:pt x="54" y="134"/>
                  </a:lnTo>
                  <a:lnTo>
                    <a:pt x="54" y="130"/>
                  </a:lnTo>
                  <a:lnTo>
                    <a:pt x="52" y="130"/>
                  </a:lnTo>
                  <a:lnTo>
                    <a:pt x="52" y="128"/>
                  </a:lnTo>
                  <a:lnTo>
                    <a:pt x="54" y="124"/>
                  </a:lnTo>
                  <a:lnTo>
                    <a:pt x="60" y="118"/>
                  </a:lnTo>
                  <a:lnTo>
                    <a:pt x="54" y="116"/>
                  </a:lnTo>
                  <a:lnTo>
                    <a:pt x="54" y="110"/>
                  </a:lnTo>
                  <a:lnTo>
                    <a:pt x="52" y="112"/>
                  </a:lnTo>
                  <a:lnTo>
                    <a:pt x="46" y="114"/>
                  </a:lnTo>
                  <a:lnTo>
                    <a:pt x="40" y="116"/>
                  </a:lnTo>
                  <a:lnTo>
                    <a:pt x="34" y="116"/>
                  </a:lnTo>
                  <a:lnTo>
                    <a:pt x="28" y="118"/>
                  </a:lnTo>
                  <a:lnTo>
                    <a:pt x="22" y="124"/>
                  </a:lnTo>
                  <a:lnTo>
                    <a:pt x="16" y="128"/>
                  </a:lnTo>
                  <a:lnTo>
                    <a:pt x="14" y="122"/>
                  </a:lnTo>
                  <a:lnTo>
                    <a:pt x="14" y="116"/>
                  </a:lnTo>
                  <a:lnTo>
                    <a:pt x="20" y="110"/>
                  </a:lnTo>
                  <a:lnTo>
                    <a:pt x="26" y="104"/>
                  </a:lnTo>
                  <a:lnTo>
                    <a:pt x="30" y="102"/>
                  </a:lnTo>
                  <a:lnTo>
                    <a:pt x="34" y="98"/>
                  </a:lnTo>
                  <a:lnTo>
                    <a:pt x="32" y="96"/>
                  </a:lnTo>
                  <a:lnTo>
                    <a:pt x="30" y="102"/>
                  </a:lnTo>
                  <a:lnTo>
                    <a:pt x="24" y="104"/>
                  </a:lnTo>
                  <a:lnTo>
                    <a:pt x="18" y="104"/>
                  </a:lnTo>
                  <a:lnTo>
                    <a:pt x="20" y="98"/>
                  </a:lnTo>
                  <a:lnTo>
                    <a:pt x="26" y="94"/>
                  </a:lnTo>
                  <a:lnTo>
                    <a:pt x="30" y="92"/>
                  </a:lnTo>
                  <a:lnTo>
                    <a:pt x="24" y="94"/>
                  </a:lnTo>
                  <a:lnTo>
                    <a:pt x="18" y="92"/>
                  </a:lnTo>
                  <a:lnTo>
                    <a:pt x="18" y="86"/>
                  </a:lnTo>
                  <a:lnTo>
                    <a:pt x="24" y="80"/>
                  </a:lnTo>
                  <a:lnTo>
                    <a:pt x="28" y="76"/>
                  </a:lnTo>
                  <a:lnTo>
                    <a:pt x="28" y="72"/>
                  </a:lnTo>
                  <a:lnTo>
                    <a:pt x="22" y="76"/>
                  </a:lnTo>
                  <a:lnTo>
                    <a:pt x="16" y="78"/>
                  </a:lnTo>
                  <a:lnTo>
                    <a:pt x="12" y="84"/>
                  </a:lnTo>
                  <a:lnTo>
                    <a:pt x="10" y="78"/>
                  </a:lnTo>
                  <a:lnTo>
                    <a:pt x="12" y="72"/>
                  </a:lnTo>
                  <a:lnTo>
                    <a:pt x="18" y="68"/>
                  </a:lnTo>
                  <a:lnTo>
                    <a:pt x="22" y="64"/>
                  </a:lnTo>
                  <a:lnTo>
                    <a:pt x="16" y="68"/>
                  </a:lnTo>
                  <a:lnTo>
                    <a:pt x="10" y="70"/>
                  </a:lnTo>
                  <a:lnTo>
                    <a:pt x="8" y="64"/>
                  </a:lnTo>
                  <a:lnTo>
                    <a:pt x="6" y="6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0" name="Freeform 97"/>
            <p:cNvSpPr>
              <a:spLocks/>
            </p:cNvSpPr>
            <p:nvPr/>
          </p:nvSpPr>
          <p:spPr bwMode="auto">
            <a:xfrm>
              <a:off x="4276725" y="3132138"/>
              <a:ext cx="9525" cy="7937"/>
            </a:xfrm>
            <a:custGeom>
              <a:avLst/>
              <a:gdLst>
                <a:gd name="T0" fmla="*/ 2147483647 w 24"/>
                <a:gd name="T1" fmla="*/ 2147483647 h 18"/>
                <a:gd name="T2" fmla="*/ 2147483647 w 24"/>
                <a:gd name="T3" fmla="*/ 2147483647 h 18"/>
                <a:gd name="T4" fmla="*/ 0 w 24"/>
                <a:gd name="T5" fmla="*/ 2147483647 h 18"/>
                <a:gd name="T6" fmla="*/ 2147483647 w 24"/>
                <a:gd name="T7" fmla="*/ 2147483647 h 18"/>
                <a:gd name="T8" fmla="*/ 2147483647 w 24"/>
                <a:gd name="T9" fmla="*/ 2147483647 h 18"/>
                <a:gd name="T10" fmla="*/ 2147483647 w 24"/>
                <a:gd name="T11" fmla="*/ 0 h 18"/>
                <a:gd name="T12" fmla="*/ 2147483647 w 24"/>
                <a:gd name="T13" fmla="*/ 2147483647 h 18"/>
                <a:gd name="T14" fmla="*/ 2147483647 w 24"/>
                <a:gd name="T15" fmla="*/ 2147483647 h 18"/>
                <a:gd name="T16" fmla="*/ 2147483647 w 24"/>
                <a:gd name="T17" fmla="*/ 2147483647 h 18"/>
                <a:gd name="T18" fmla="*/ 2147483647 w 24"/>
                <a:gd name="T19" fmla="*/ 2147483647 h 1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
                <a:gd name="T31" fmla="*/ 0 h 18"/>
                <a:gd name="T32" fmla="*/ 24 w 24"/>
                <a:gd name="T33" fmla="*/ 18 h 1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 h="18">
                  <a:moveTo>
                    <a:pt x="10" y="18"/>
                  </a:moveTo>
                  <a:lnTo>
                    <a:pt x="4" y="16"/>
                  </a:lnTo>
                  <a:lnTo>
                    <a:pt x="0" y="10"/>
                  </a:lnTo>
                  <a:lnTo>
                    <a:pt x="6" y="4"/>
                  </a:lnTo>
                  <a:lnTo>
                    <a:pt x="12" y="2"/>
                  </a:lnTo>
                  <a:lnTo>
                    <a:pt x="18" y="0"/>
                  </a:lnTo>
                  <a:lnTo>
                    <a:pt x="24" y="6"/>
                  </a:lnTo>
                  <a:lnTo>
                    <a:pt x="18" y="10"/>
                  </a:lnTo>
                  <a:lnTo>
                    <a:pt x="12" y="14"/>
                  </a:lnTo>
                  <a:lnTo>
                    <a:pt x="10" y="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1" name="Freeform 98"/>
            <p:cNvSpPr>
              <a:spLocks/>
            </p:cNvSpPr>
            <p:nvPr/>
          </p:nvSpPr>
          <p:spPr bwMode="auto">
            <a:xfrm>
              <a:off x="4281488" y="3143250"/>
              <a:ext cx="1587" cy="3175"/>
            </a:xfrm>
            <a:custGeom>
              <a:avLst/>
              <a:gdLst>
                <a:gd name="T0" fmla="*/ 0 w 6"/>
                <a:gd name="T1" fmla="*/ 2147483647 h 6"/>
                <a:gd name="T2" fmla="*/ 0 w 6"/>
                <a:gd name="T3" fmla="*/ 0 h 6"/>
                <a:gd name="T4" fmla="*/ 2147483647 w 6"/>
                <a:gd name="T5" fmla="*/ 2147483647 h 6"/>
                <a:gd name="T6" fmla="*/ 0 w 6"/>
                <a:gd name="T7" fmla="*/ 2147483647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0" y="6"/>
                  </a:moveTo>
                  <a:lnTo>
                    <a:pt x="0" y="0"/>
                  </a:lnTo>
                  <a:lnTo>
                    <a:pt x="6" y="2"/>
                  </a:lnTo>
                  <a:lnTo>
                    <a:pt x="0"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2" name="Freeform 99"/>
            <p:cNvSpPr>
              <a:spLocks/>
            </p:cNvSpPr>
            <p:nvPr/>
          </p:nvSpPr>
          <p:spPr bwMode="auto">
            <a:xfrm>
              <a:off x="4303713" y="3108325"/>
              <a:ext cx="26987" cy="19050"/>
            </a:xfrm>
            <a:custGeom>
              <a:avLst/>
              <a:gdLst>
                <a:gd name="T0" fmla="*/ 2147483647 w 64"/>
                <a:gd name="T1" fmla="*/ 2147483647 h 48"/>
                <a:gd name="T2" fmla="*/ 2147483647 w 64"/>
                <a:gd name="T3" fmla="*/ 2147483647 h 48"/>
                <a:gd name="T4" fmla="*/ 2147483647 w 64"/>
                <a:gd name="T5" fmla="*/ 2147483647 h 48"/>
                <a:gd name="T6" fmla="*/ 2147483647 w 64"/>
                <a:gd name="T7" fmla="*/ 2147483647 h 48"/>
                <a:gd name="T8" fmla="*/ 2147483647 w 64"/>
                <a:gd name="T9" fmla="*/ 2147483647 h 48"/>
                <a:gd name="T10" fmla="*/ 2147483647 w 64"/>
                <a:gd name="T11" fmla="*/ 2147483647 h 48"/>
                <a:gd name="T12" fmla="*/ 2147483647 w 64"/>
                <a:gd name="T13" fmla="*/ 2147483647 h 48"/>
                <a:gd name="T14" fmla="*/ 2147483647 w 64"/>
                <a:gd name="T15" fmla="*/ 2147483647 h 48"/>
                <a:gd name="T16" fmla="*/ 2147483647 w 64"/>
                <a:gd name="T17" fmla="*/ 2147483647 h 48"/>
                <a:gd name="T18" fmla="*/ 2147483647 w 64"/>
                <a:gd name="T19" fmla="*/ 2147483647 h 48"/>
                <a:gd name="T20" fmla="*/ 0 w 64"/>
                <a:gd name="T21" fmla="*/ 2147483647 h 48"/>
                <a:gd name="T22" fmla="*/ 2147483647 w 64"/>
                <a:gd name="T23" fmla="*/ 2147483647 h 48"/>
                <a:gd name="T24" fmla="*/ 2147483647 w 64"/>
                <a:gd name="T25" fmla="*/ 2147483647 h 48"/>
                <a:gd name="T26" fmla="*/ 2147483647 w 64"/>
                <a:gd name="T27" fmla="*/ 2147483647 h 48"/>
                <a:gd name="T28" fmla="*/ 2147483647 w 64"/>
                <a:gd name="T29" fmla="*/ 2147483647 h 48"/>
                <a:gd name="T30" fmla="*/ 2147483647 w 64"/>
                <a:gd name="T31" fmla="*/ 2147483647 h 48"/>
                <a:gd name="T32" fmla="*/ 2147483647 w 64"/>
                <a:gd name="T33" fmla="*/ 2147483647 h 48"/>
                <a:gd name="T34" fmla="*/ 2147483647 w 64"/>
                <a:gd name="T35" fmla="*/ 2147483647 h 48"/>
                <a:gd name="T36" fmla="*/ 2147483647 w 64"/>
                <a:gd name="T37" fmla="*/ 2147483647 h 48"/>
                <a:gd name="T38" fmla="*/ 2147483647 w 64"/>
                <a:gd name="T39" fmla="*/ 0 h 48"/>
                <a:gd name="T40" fmla="*/ 2147483647 w 64"/>
                <a:gd name="T41" fmla="*/ 2147483647 h 48"/>
                <a:gd name="T42" fmla="*/ 2147483647 w 64"/>
                <a:gd name="T43" fmla="*/ 2147483647 h 48"/>
                <a:gd name="T44" fmla="*/ 2147483647 w 64"/>
                <a:gd name="T45" fmla="*/ 2147483647 h 48"/>
                <a:gd name="T46" fmla="*/ 2147483647 w 64"/>
                <a:gd name="T47" fmla="*/ 2147483647 h 48"/>
                <a:gd name="T48" fmla="*/ 2147483647 w 64"/>
                <a:gd name="T49" fmla="*/ 2147483647 h 48"/>
                <a:gd name="T50" fmla="*/ 2147483647 w 64"/>
                <a:gd name="T51" fmla="*/ 2147483647 h 48"/>
                <a:gd name="T52" fmla="*/ 2147483647 w 64"/>
                <a:gd name="T53" fmla="*/ 2147483647 h 48"/>
                <a:gd name="T54" fmla="*/ 2147483647 w 64"/>
                <a:gd name="T55" fmla="*/ 2147483647 h 48"/>
                <a:gd name="T56" fmla="*/ 2147483647 w 64"/>
                <a:gd name="T57" fmla="*/ 2147483647 h 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4"/>
                <a:gd name="T88" fmla="*/ 0 h 48"/>
                <a:gd name="T89" fmla="*/ 64 w 64"/>
                <a:gd name="T90" fmla="*/ 48 h 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4" h="48">
                  <a:moveTo>
                    <a:pt x="52" y="38"/>
                  </a:moveTo>
                  <a:lnTo>
                    <a:pt x="48" y="44"/>
                  </a:lnTo>
                  <a:lnTo>
                    <a:pt x="40" y="48"/>
                  </a:lnTo>
                  <a:lnTo>
                    <a:pt x="34" y="42"/>
                  </a:lnTo>
                  <a:lnTo>
                    <a:pt x="28" y="42"/>
                  </a:lnTo>
                  <a:lnTo>
                    <a:pt x="22" y="40"/>
                  </a:lnTo>
                  <a:lnTo>
                    <a:pt x="22" y="34"/>
                  </a:lnTo>
                  <a:lnTo>
                    <a:pt x="18" y="28"/>
                  </a:lnTo>
                  <a:lnTo>
                    <a:pt x="14" y="30"/>
                  </a:lnTo>
                  <a:lnTo>
                    <a:pt x="6" y="32"/>
                  </a:lnTo>
                  <a:lnTo>
                    <a:pt x="0" y="30"/>
                  </a:lnTo>
                  <a:lnTo>
                    <a:pt x="2" y="24"/>
                  </a:lnTo>
                  <a:lnTo>
                    <a:pt x="8" y="20"/>
                  </a:lnTo>
                  <a:lnTo>
                    <a:pt x="14" y="18"/>
                  </a:lnTo>
                  <a:lnTo>
                    <a:pt x="20" y="12"/>
                  </a:lnTo>
                  <a:lnTo>
                    <a:pt x="26" y="8"/>
                  </a:lnTo>
                  <a:lnTo>
                    <a:pt x="32" y="6"/>
                  </a:lnTo>
                  <a:lnTo>
                    <a:pt x="38" y="4"/>
                  </a:lnTo>
                  <a:lnTo>
                    <a:pt x="44" y="2"/>
                  </a:lnTo>
                  <a:lnTo>
                    <a:pt x="50" y="0"/>
                  </a:lnTo>
                  <a:lnTo>
                    <a:pt x="44" y="4"/>
                  </a:lnTo>
                  <a:lnTo>
                    <a:pt x="44" y="10"/>
                  </a:lnTo>
                  <a:lnTo>
                    <a:pt x="50" y="16"/>
                  </a:lnTo>
                  <a:lnTo>
                    <a:pt x="56" y="14"/>
                  </a:lnTo>
                  <a:lnTo>
                    <a:pt x="62" y="16"/>
                  </a:lnTo>
                  <a:lnTo>
                    <a:pt x="64" y="22"/>
                  </a:lnTo>
                  <a:lnTo>
                    <a:pt x="58" y="28"/>
                  </a:lnTo>
                  <a:lnTo>
                    <a:pt x="54" y="32"/>
                  </a:lnTo>
                  <a:lnTo>
                    <a:pt x="52" y="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3" name="Freeform 100"/>
            <p:cNvSpPr>
              <a:spLocks/>
            </p:cNvSpPr>
            <p:nvPr/>
          </p:nvSpPr>
          <p:spPr bwMode="auto">
            <a:xfrm>
              <a:off x="4337050" y="3105150"/>
              <a:ext cx="12700" cy="6350"/>
            </a:xfrm>
            <a:custGeom>
              <a:avLst/>
              <a:gdLst>
                <a:gd name="T0" fmla="*/ 0 w 30"/>
                <a:gd name="T1" fmla="*/ 2147483647 h 16"/>
                <a:gd name="T2" fmla="*/ 2147483647 w 30"/>
                <a:gd name="T3" fmla="*/ 0 h 16"/>
                <a:gd name="T4" fmla="*/ 2147483647 w 30"/>
                <a:gd name="T5" fmla="*/ 0 h 16"/>
                <a:gd name="T6" fmla="*/ 2147483647 w 30"/>
                <a:gd name="T7" fmla="*/ 0 h 16"/>
                <a:gd name="T8" fmla="*/ 2147483647 w 30"/>
                <a:gd name="T9" fmla="*/ 2147483647 h 16"/>
                <a:gd name="T10" fmla="*/ 2147483647 w 30"/>
                <a:gd name="T11" fmla="*/ 2147483647 h 16"/>
                <a:gd name="T12" fmla="*/ 2147483647 w 30"/>
                <a:gd name="T13" fmla="*/ 2147483647 h 16"/>
                <a:gd name="T14" fmla="*/ 2147483647 w 30"/>
                <a:gd name="T15" fmla="*/ 2147483647 h 16"/>
                <a:gd name="T16" fmla="*/ 2147483647 w 30"/>
                <a:gd name="T17" fmla="*/ 2147483647 h 16"/>
                <a:gd name="T18" fmla="*/ 2147483647 w 30"/>
                <a:gd name="T19" fmla="*/ 2147483647 h 16"/>
                <a:gd name="T20" fmla="*/ 2147483647 w 30"/>
                <a:gd name="T21" fmla="*/ 2147483647 h 16"/>
                <a:gd name="T22" fmla="*/ 2147483647 w 30"/>
                <a:gd name="T23" fmla="*/ 2147483647 h 16"/>
                <a:gd name="T24" fmla="*/ 0 w 30"/>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16"/>
                <a:gd name="T41" fmla="*/ 30 w 30"/>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16">
                  <a:moveTo>
                    <a:pt x="0" y="4"/>
                  </a:moveTo>
                  <a:lnTo>
                    <a:pt x="8" y="0"/>
                  </a:lnTo>
                  <a:lnTo>
                    <a:pt x="12" y="0"/>
                  </a:lnTo>
                  <a:lnTo>
                    <a:pt x="18" y="0"/>
                  </a:lnTo>
                  <a:lnTo>
                    <a:pt x="24" y="4"/>
                  </a:lnTo>
                  <a:lnTo>
                    <a:pt x="28" y="10"/>
                  </a:lnTo>
                  <a:lnTo>
                    <a:pt x="30" y="16"/>
                  </a:lnTo>
                  <a:lnTo>
                    <a:pt x="24" y="16"/>
                  </a:lnTo>
                  <a:lnTo>
                    <a:pt x="18" y="12"/>
                  </a:lnTo>
                  <a:lnTo>
                    <a:pt x="12" y="10"/>
                  </a:lnTo>
                  <a:lnTo>
                    <a:pt x="6" y="10"/>
                  </a:lnTo>
                  <a:lnTo>
                    <a:pt x="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4" name="Freeform 101"/>
            <p:cNvSpPr>
              <a:spLocks/>
            </p:cNvSpPr>
            <p:nvPr/>
          </p:nvSpPr>
          <p:spPr bwMode="auto">
            <a:xfrm>
              <a:off x="4710113" y="3057525"/>
              <a:ext cx="149225" cy="150813"/>
            </a:xfrm>
            <a:custGeom>
              <a:avLst/>
              <a:gdLst>
                <a:gd name="T0" fmla="*/ 2147483647 w 366"/>
                <a:gd name="T1" fmla="*/ 2147483647 h 366"/>
                <a:gd name="T2" fmla="*/ 2147483647 w 366"/>
                <a:gd name="T3" fmla="*/ 2147483647 h 366"/>
                <a:gd name="T4" fmla="*/ 2147483647 w 366"/>
                <a:gd name="T5" fmla="*/ 2147483647 h 366"/>
                <a:gd name="T6" fmla="*/ 2147483647 w 366"/>
                <a:gd name="T7" fmla="*/ 2147483647 h 366"/>
                <a:gd name="T8" fmla="*/ 2147483647 w 366"/>
                <a:gd name="T9" fmla="*/ 2147483647 h 366"/>
                <a:gd name="T10" fmla="*/ 2147483647 w 366"/>
                <a:gd name="T11" fmla="*/ 2147483647 h 366"/>
                <a:gd name="T12" fmla="*/ 2147483647 w 366"/>
                <a:gd name="T13" fmla="*/ 2147483647 h 366"/>
                <a:gd name="T14" fmla="*/ 2147483647 w 366"/>
                <a:gd name="T15" fmla="*/ 2147483647 h 366"/>
                <a:gd name="T16" fmla="*/ 2147483647 w 366"/>
                <a:gd name="T17" fmla="*/ 2147483647 h 366"/>
                <a:gd name="T18" fmla="*/ 2147483647 w 366"/>
                <a:gd name="T19" fmla="*/ 2147483647 h 366"/>
                <a:gd name="T20" fmla="*/ 2147483647 w 366"/>
                <a:gd name="T21" fmla="*/ 2147483647 h 366"/>
                <a:gd name="T22" fmla="*/ 2147483647 w 366"/>
                <a:gd name="T23" fmla="*/ 2147483647 h 366"/>
                <a:gd name="T24" fmla="*/ 2147483647 w 366"/>
                <a:gd name="T25" fmla="*/ 2147483647 h 366"/>
                <a:gd name="T26" fmla="*/ 2147483647 w 366"/>
                <a:gd name="T27" fmla="*/ 2147483647 h 366"/>
                <a:gd name="T28" fmla="*/ 2147483647 w 366"/>
                <a:gd name="T29" fmla="*/ 2147483647 h 366"/>
                <a:gd name="T30" fmla="*/ 2147483647 w 366"/>
                <a:gd name="T31" fmla="*/ 2147483647 h 366"/>
                <a:gd name="T32" fmla="*/ 2147483647 w 366"/>
                <a:gd name="T33" fmla="*/ 2147483647 h 366"/>
                <a:gd name="T34" fmla="*/ 2147483647 w 366"/>
                <a:gd name="T35" fmla="*/ 2147483647 h 366"/>
                <a:gd name="T36" fmla="*/ 2147483647 w 366"/>
                <a:gd name="T37" fmla="*/ 2147483647 h 366"/>
                <a:gd name="T38" fmla="*/ 2147483647 w 366"/>
                <a:gd name="T39" fmla="*/ 2147483647 h 366"/>
                <a:gd name="T40" fmla="*/ 2147483647 w 366"/>
                <a:gd name="T41" fmla="*/ 2147483647 h 366"/>
                <a:gd name="T42" fmla="*/ 2147483647 w 366"/>
                <a:gd name="T43" fmla="*/ 2147483647 h 366"/>
                <a:gd name="T44" fmla="*/ 2147483647 w 366"/>
                <a:gd name="T45" fmla="*/ 2147483647 h 366"/>
                <a:gd name="T46" fmla="*/ 2147483647 w 366"/>
                <a:gd name="T47" fmla="*/ 2147483647 h 366"/>
                <a:gd name="T48" fmla="*/ 2147483647 w 366"/>
                <a:gd name="T49" fmla="*/ 2147483647 h 366"/>
                <a:gd name="T50" fmla="*/ 2147483647 w 366"/>
                <a:gd name="T51" fmla="*/ 2147483647 h 366"/>
                <a:gd name="T52" fmla="*/ 2147483647 w 366"/>
                <a:gd name="T53" fmla="*/ 2147483647 h 366"/>
                <a:gd name="T54" fmla="*/ 2147483647 w 366"/>
                <a:gd name="T55" fmla="*/ 2147483647 h 366"/>
                <a:gd name="T56" fmla="*/ 2147483647 w 366"/>
                <a:gd name="T57" fmla="*/ 2147483647 h 366"/>
                <a:gd name="T58" fmla="*/ 2147483647 w 366"/>
                <a:gd name="T59" fmla="*/ 2147483647 h 366"/>
                <a:gd name="T60" fmla="*/ 2147483647 w 366"/>
                <a:gd name="T61" fmla="*/ 2147483647 h 366"/>
                <a:gd name="T62" fmla="*/ 2147483647 w 366"/>
                <a:gd name="T63" fmla="*/ 2147483647 h 366"/>
                <a:gd name="T64" fmla="*/ 2147483647 w 366"/>
                <a:gd name="T65" fmla="*/ 2147483647 h 366"/>
                <a:gd name="T66" fmla="*/ 2147483647 w 366"/>
                <a:gd name="T67" fmla="*/ 2147483647 h 366"/>
                <a:gd name="T68" fmla="*/ 2147483647 w 366"/>
                <a:gd name="T69" fmla="*/ 2147483647 h 366"/>
                <a:gd name="T70" fmla="*/ 2147483647 w 366"/>
                <a:gd name="T71" fmla="*/ 2147483647 h 366"/>
                <a:gd name="T72" fmla="*/ 2147483647 w 366"/>
                <a:gd name="T73" fmla="*/ 2147483647 h 366"/>
                <a:gd name="T74" fmla="*/ 2147483647 w 366"/>
                <a:gd name="T75" fmla="*/ 2147483647 h 366"/>
                <a:gd name="T76" fmla="*/ 2147483647 w 366"/>
                <a:gd name="T77" fmla="*/ 2147483647 h 366"/>
                <a:gd name="T78" fmla="*/ 2147483647 w 366"/>
                <a:gd name="T79" fmla="*/ 2147483647 h 366"/>
                <a:gd name="T80" fmla="*/ 2147483647 w 366"/>
                <a:gd name="T81" fmla="*/ 2147483647 h 366"/>
                <a:gd name="T82" fmla="*/ 2147483647 w 366"/>
                <a:gd name="T83" fmla="*/ 2147483647 h 366"/>
                <a:gd name="T84" fmla="*/ 2147483647 w 366"/>
                <a:gd name="T85" fmla="*/ 2147483647 h 366"/>
                <a:gd name="T86" fmla="*/ 2147483647 w 366"/>
                <a:gd name="T87" fmla="*/ 2147483647 h 366"/>
                <a:gd name="T88" fmla="*/ 2147483647 w 366"/>
                <a:gd name="T89" fmla="*/ 2147483647 h 366"/>
                <a:gd name="T90" fmla="*/ 2147483647 w 366"/>
                <a:gd name="T91" fmla="*/ 2147483647 h 366"/>
                <a:gd name="T92" fmla="*/ 2147483647 w 366"/>
                <a:gd name="T93" fmla="*/ 2147483647 h 366"/>
                <a:gd name="T94" fmla="*/ 2147483647 w 366"/>
                <a:gd name="T95" fmla="*/ 2147483647 h 366"/>
                <a:gd name="T96" fmla="*/ 2147483647 w 366"/>
                <a:gd name="T97" fmla="*/ 2147483647 h 366"/>
                <a:gd name="T98" fmla="*/ 2147483647 w 366"/>
                <a:gd name="T99" fmla="*/ 2147483647 h 366"/>
                <a:gd name="T100" fmla="*/ 2147483647 w 366"/>
                <a:gd name="T101" fmla="*/ 2147483647 h 366"/>
                <a:gd name="T102" fmla="*/ 2147483647 w 366"/>
                <a:gd name="T103" fmla="*/ 2147483647 h 366"/>
                <a:gd name="T104" fmla="*/ 2147483647 w 366"/>
                <a:gd name="T105" fmla="*/ 2147483647 h 366"/>
                <a:gd name="T106" fmla="*/ 2147483647 w 366"/>
                <a:gd name="T107" fmla="*/ 2147483647 h 366"/>
                <a:gd name="T108" fmla="*/ 2147483647 w 366"/>
                <a:gd name="T109" fmla="*/ 2147483647 h 366"/>
                <a:gd name="T110" fmla="*/ 2147483647 w 366"/>
                <a:gd name="T111" fmla="*/ 2147483647 h 366"/>
                <a:gd name="T112" fmla="*/ 2147483647 w 366"/>
                <a:gd name="T113" fmla="*/ 2147483647 h 366"/>
                <a:gd name="T114" fmla="*/ 2147483647 w 366"/>
                <a:gd name="T115" fmla="*/ 2147483647 h 366"/>
                <a:gd name="T116" fmla="*/ 2147483647 w 366"/>
                <a:gd name="T117" fmla="*/ 2147483647 h 366"/>
                <a:gd name="T118" fmla="*/ 2147483647 w 366"/>
                <a:gd name="T119" fmla="*/ 2147483647 h 366"/>
                <a:gd name="T120" fmla="*/ 2147483647 w 366"/>
                <a:gd name="T121" fmla="*/ 2147483647 h 366"/>
                <a:gd name="T122" fmla="*/ 2147483647 w 366"/>
                <a:gd name="T123" fmla="*/ 2147483647 h 3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
                <a:gd name="T187" fmla="*/ 0 h 366"/>
                <a:gd name="T188" fmla="*/ 366 w 366"/>
                <a:gd name="T189" fmla="*/ 366 h 3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 h="366">
                  <a:moveTo>
                    <a:pt x="0" y="142"/>
                  </a:moveTo>
                  <a:lnTo>
                    <a:pt x="6" y="144"/>
                  </a:lnTo>
                  <a:lnTo>
                    <a:pt x="10" y="144"/>
                  </a:lnTo>
                  <a:lnTo>
                    <a:pt x="16" y="138"/>
                  </a:lnTo>
                  <a:lnTo>
                    <a:pt x="16" y="134"/>
                  </a:lnTo>
                  <a:lnTo>
                    <a:pt x="22" y="134"/>
                  </a:lnTo>
                  <a:lnTo>
                    <a:pt x="20" y="128"/>
                  </a:lnTo>
                  <a:lnTo>
                    <a:pt x="18" y="128"/>
                  </a:lnTo>
                  <a:lnTo>
                    <a:pt x="16" y="120"/>
                  </a:lnTo>
                  <a:lnTo>
                    <a:pt x="20" y="120"/>
                  </a:lnTo>
                  <a:lnTo>
                    <a:pt x="24" y="116"/>
                  </a:lnTo>
                  <a:lnTo>
                    <a:pt x="30" y="116"/>
                  </a:lnTo>
                  <a:lnTo>
                    <a:pt x="32" y="114"/>
                  </a:lnTo>
                  <a:lnTo>
                    <a:pt x="36" y="108"/>
                  </a:lnTo>
                  <a:lnTo>
                    <a:pt x="36" y="102"/>
                  </a:lnTo>
                  <a:lnTo>
                    <a:pt x="40" y="96"/>
                  </a:lnTo>
                  <a:lnTo>
                    <a:pt x="40" y="92"/>
                  </a:lnTo>
                  <a:lnTo>
                    <a:pt x="40" y="90"/>
                  </a:lnTo>
                  <a:lnTo>
                    <a:pt x="46" y="88"/>
                  </a:lnTo>
                  <a:lnTo>
                    <a:pt x="52" y="82"/>
                  </a:lnTo>
                  <a:lnTo>
                    <a:pt x="54" y="78"/>
                  </a:lnTo>
                  <a:lnTo>
                    <a:pt x="54" y="74"/>
                  </a:lnTo>
                  <a:lnTo>
                    <a:pt x="54" y="72"/>
                  </a:lnTo>
                  <a:lnTo>
                    <a:pt x="50" y="66"/>
                  </a:lnTo>
                  <a:lnTo>
                    <a:pt x="50" y="62"/>
                  </a:lnTo>
                  <a:lnTo>
                    <a:pt x="56" y="62"/>
                  </a:lnTo>
                  <a:lnTo>
                    <a:pt x="58" y="62"/>
                  </a:lnTo>
                  <a:lnTo>
                    <a:pt x="64" y="60"/>
                  </a:lnTo>
                  <a:lnTo>
                    <a:pt x="70" y="60"/>
                  </a:lnTo>
                  <a:lnTo>
                    <a:pt x="74" y="58"/>
                  </a:lnTo>
                  <a:lnTo>
                    <a:pt x="76" y="58"/>
                  </a:lnTo>
                  <a:lnTo>
                    <a:pt x="82" y="60"/>
                  </a:lnTo>
                  <a:lnTo>
                    <a:pt x="88" y="58"/>
                  </a:lnTo>
                  <a:lnTo>
                    <a:pt x="94" y="56"/>
                  </a:lnTo>
                  <a:lnTo>
                    <a:pt x="96" y="56"/>
                  </a:lnTo>
                  <a:lnTo>
                    <a:pt x="100" y="50"/>
                  </a:lnTo>
                  <a:lnTo>
                    <a:pt x="102" y="46"/>
                  </a:lnTo>
                  <a:lnTo>
                    <a:pt x="102" y="44"/>
                  </a:lnTo>
                  <a:lnTo>
                    <a:pt x="108" y="42"/>
                  </a:lnTo>
                  <a:lnTo>
                    <a:pt x="114" y="42"/>
                  </a:lnTo>
                  <a:lnTo>
                    <a:pt x="118" y="40"/>
                  </a:lnTo>
                  <a:lnTo>
                    <a:pt x="124" y="40"/>
                  </a:lnTo>
                  <a:lnTo>
                    <a:pt x="126" y="42"/>
                  </a:lnTo>
                  <a:lnTo>
                    <a:pt x="132" y="44"/>
                  </a:lnTo>
                  <a:lnTo>
                    <a:pt x="136" y="42"/>
                  </a:lnTo>
                  <a:lnTo>
                    <a:pt x="138" y="42"/>
                  </a:lnTo>
                  <a:lnTo>
                    <a:pt x="144" y="38"/>
                  </a:lnTo>
                  <a:lnTo>
                    <a:pt x="148" y="40"/>
                  </a:lnTo>
                  <a:lnTo>
                    <a:pt x="148" y="34"/>
                  </a:lnTo>
                  <a:lnTo>
                    <a:pt x="148" y="32"/>
                  </a:lnTo>
                  <a:lnTo>
                    <a:pt x="148" y="30"/>
                  </a:lnTo>
                  <a:lnTo>
                    <a:pt x="154" y="28"/>
                  </a:lnTo>
                  <a:lnTo>
                    <a:pt x="158" y="28"/>
                  </a:lnTo>
                  <a:lnTo>
                    <a:pt x="164" y="28"/>
                  </a:lnTo>
                  <a:lnTo>
                    <a:pt x="170" y="30"/>
                  </a:lnTo>
                  <a:lnTo>
                    <a:pt x="176" y="26"/>
                  </a:lnTo>
                  <a:lnTo>
                    <a:pt x="180" y="26"/>
                  </a:lnTo>
                  <a:lnTo>
                    <a:pt x="182" y="26"/>
                  </a:lnTo>
                  <a:lnTo>
                    <a:pt x="182" y="24"/>
                  </a:lnTo>
                  <a:lnTo>
                    <a:pt x="188" y="24"/>
                  </a:lnTo>
                  <a:lnTo>
                    <a:pt x="194" y="26"/>
                  </a:lnTo>
                  <a:lnTo>
                    <a:pt x="196" y="26"/>
                  </a:lnTo>
                  <a:lnTo>
                    <a:pt x="202" y="24"/>
                  </a:lnTo>
                  <a:lnTo>
                    <a:pt x="208" y="22"/>
                  </a:lnTo>
                  <a:lnTo>
                    <a:pt x="214" y="20"/>
                  </a:lnTo>
                  <a:lnTo>
                    <a:pt x="218" y="20"/>
                  </a:lnTo>
                  <a:lnTo>
                    <a:pt x="224" y="14"/>
                  </a:lnTo>
                  <a:lnTo>
                    <a:pt x="228" y="14"/>
                  </a:lnTo>
                  <a:lnTo>
                    <a:pt x="234" y="14"/>
                  </a:lnTo>
                  <a:lnTo>
                    <a:pt x="240" y="14"/>
                  </a:lnTo>
                  <a:lnTo>
                    <a:pt x="246" y="12"/>
                  </a:lnTo>
                  <a:lnTo>
                    <a:pt x="248" y="18"/>
                  </a:lnTo>
                  <a:lnTo>
                    <a:pt x="254" y="22"/>
                  </a:lnTo>
                  <a:lnTo>
                    <a:pt x="260" y="26"/>
                  </a:lnTo>
                  <a:lnTo>
                    <a:pt x="264" y="28"/>
                  </a:lnTo>
                  <a:lnTo>
                    <a:pt x="270" y="24"/>
                  </a:lnTo>
                  <a:lnTo>
                    <a:pt x="274" y="26"/>
                  </a:lnTo>
                  <a:lnTo>
                    <a:pt x="280" y="28"/>
                  </a:lnTo>
                  <a:lnTo>
                    <a:pt x="284" y="32"/>
                  </a:lnTo>
                  <a:lnTo>
                    <a:pt x="288" y="34"/>
                  </a:lnTo>
                  <a:lnTo>
                    <a:pt x="292" y="34"/>
                  </a:lnTo>
                  <a:lnTo>
                    <a:pt x="298" y="32"/>
                  </a:lnTo>
                  <a:lnTo>
                    <a:pt x="300" y="32"/>
                  </a:lnTo>
                  <a:lnTo>
                    <a:pt x="306" y="30"/>
                  </a:lnTo>
                  <a:lnTo>
                    <a:pt x="312" y="30"/>
                  </a:lnTo>
                  <a:lnTo>
                    <a:pt x="318" y="28"/>
                  </a:lnTo>
                  <a:lnTo>
                    <a:pt x="324" y="30"/>
                  </a:lnTo>
                  <a:lnTo>
                    <a:pt x="326" y="30"/>
                  </a:lnTo>
                  <a:lnTo>
                    <a:pt x="332" y="28"/>
                  </a:lnTo>
                  <a:lnTo>
                    <a:pt x="338" y="24"/>
                  </a:lnTo>
                  <a:lnTo>
                    <a:pt x="338" y="18"/>
                  </a:lnTo>
                  <a:lnTo>
                    <a:pt x="338" y="12"/>
                  </a:lnTo>
                  <a:lnTo>
                    <a:pt x="332" y="6"/>
                  </a:lnTo>
                  <a:lnTo>
                    <a:pt x="338" y="0"/>
                  </a:lnTo>
                  <a:lnTo>
                    <a:pt x="340" y="0"/>
                  </a:lnTo>
                  <a:lnTo>
                    <a:pt x="342" y="2"/>
                  </a:lnTo>
                  <a:lnTo>
                    <a:pt x="348" y="2"/>
                  </a:lnTo>
                  <a:lnTo>
                    <a:pt x="354" y="6"/>
                  </a:lnTo>
                  <a:lnTo>
                    <a:pt x="356" y="6"/>
                  </a:lnTo>
                  <a:lnTo>
                    <a:pt x="358" y="8"/>
                  </a:lnTo>
                  <a:lnTo>
                    <a:pt x="362" y="10"/>
                  </a:lnTo>
                  <a:lnTo>
                    <a:pt x="362" y="16"/>
                  </a:lnTo>
                  <a:lnTo>
                    <a:pt x="364" y="22"/>
                  </a:lnTo>
                  <a:lnTo>
                    <a:pt x="366" y="26"/>
                  </a:lnTo>
                  <a:lnTo>
                    <a:pt x="360" y="28"/>
                  </a:lnTo>
                  <a:lnTo>
                    <a:pt x="354" y="34"/>
                  </a:lnTo>
                  <a:lnTo>
                    <a:pt x="348" y="40"/>
                  </a:lnTo>
                  <a:lnTo>
                    <a:pt x="348" y="46"/>
                  </a:lnTo>
                  <a:lnTo>
                    <a:pt x="352" y="52"/>
                  </a:lnTo>
                  <a:lnTo>
                    <a:pt x="350" y="56"/>
                  </a:lnTo>
                  <a:lnTo>
                    <a:pt x="344" y="60"/>
                  </a:lnTo>
                  <a:lnTo>
                    <a:pt x="340" y="66"/>
                  </a:lnTo>
                  <a:lnTo>
                    <a:pt x="334" y="70"/>
                  </a:lnTo>
                  <a:lnTo>
                    <a:pt x="336" y="64"/>
                  </a:lnTo>
                  <a:lnTo>
                    <a:pt x="330" y="62"/>
                  </a:lnTo>
                  <a:lnTo>
                    <a:pt x="324" y="62"/>
                  </a:lnTo>
                  <a:lnTo>
                    <a:pt x="318" y="62"/>
                  </a:lnTo>
                  <a:lnTo>
                    <a:pt x="312" y="62"/>
                  </a:lnTo>
                  <a:lnTo>
                    <a:pt x="306" y="60"/>
                  </a:lnTo>
                  <a:lnTo>
                    <a:pt x="300" y="58"/>
                  </a:lnTo>
                  <a:lnTo>
                    <a:pt x="294" y="56"/>
                  </a:lnTo>
                  <a:lnTo>
                    <a:pt x="288" y="56"/>
                  </a:lnTo>
                  <a:lnTo>
                    <a:pt x="284" y="52"/>
                  </a:lnTo>
                  <a:lnTo>
                    <a:pt x="278" y="52"/>
                  </a:lnTo>
                  <a:lnTo>
                    <a:pt x="276" y="54"/>
                  </a:lnTo>
                  <a:lnTo>
                    <a:pt x="270" y="58"/>
                  </a:lnTo>
                  <a:lnTo>
                    <a:pt x="266" y="60"/>
                  </a:lnTo>
                  <a:lnTo>
                    <a:pt x="264" y="62"/>
                  </a:lnTo>
                  <a:lnTo>
                    <a:pt x="258" y="62"/>
                  </a:lnTo>
                  <a:lnTo>
                    <a:pt x="252" y="58"/>
                  </a:lnTo>
                  <a:lnTo>
                    <a:pt x="248" y="54"/>
                  </a:lnTo>
                  <a:lnTo>
                    <a:pt x="242" y="56"/>
                  </a:lnTo>
                  <a:lnTo>
                    <a:pt x="238" y="62"/>
                  </a:lnTo>
                  <a:lnTo>
                    <a:pt x="232" y="66"/>
                  </a:lnTo>
                  <a:lnTo>
                    <a:pt x="226" y="70"/>
                  </a:lnTo>
                  <a:lnTo>
                    <a:pt x="220" y="70"/>
                  </a:lnTo>
                  <a:lnTo>
                    <a:pt x="214" y="68"/>
                  </a:lnTo>
                  <a:lnTo>
                    <a:pt x="214" y="66"/>
                  </a:lnTo>
                  <a:lnTo>
                    <a:pt x="212" y="66"/>
                  </a:lnTo>
                  <a:lnTo>
                    <a:pt x="206" y="68"/>
                  </a:lnTo>
                  <a:lnTo>
                    <a:pt x="204" y="74"/>
                  </a:lnTo>
                  <a:lnTo>
                    <a:pt x="208" y="78"/>
                  </a:lnTo>
                  <a:lnTo>
                    <a:pt x="214" y="82"/>
                  </a:lnTo>
                  <a:lnTo>
                    <a:pt x="212" y="88"/>
                  </a:lnTo>
                  <a:lnTo>
                    <a:pt x="216" y="94"/>
                  </a:lnTo>
                  <a:lnTo>
                    <a:pt x="222" y="90"/>
                  </a:lnTo>
                  <a:lnTo>
                    <a:pt x="228" y="96"/>
                  </a:lnTo>
                  <a:lnTo>
                    <a:pt x="234" y="98"/>
                  </a:lnTo>
                  <a:lnTo>
                    <a:pt x="240" y="104"/>
                  </a:lnTo>
                  <a:lnTo>
                    <a:pt x="244" y="110"/>
                  </a:lnTo>
                  <a:lnTo>
                    <a:pt x="240" y="112"/>
                  </a:lnTo>
                  <a:lnTo>
                    <a:pt x="234" y="106"/>
                  </a:lnTo>
                  <a:lnTo>
                    <a:pt x="228" y="100"/>
                  </a:lnTo>
                  <a:lnTo>
                    <a:pt x="222" y="100"/>
                  </a:lnTo>
                  <a:lnTo>
                    <a:pt x="218" y="96"/>
                  </a:lnTo>
                  <a:lnTo>
                    <a:pt x="210" y="96"/>
                  </a:lnTo>
                  <a:lnTo>
                    <a:pt x="206" y="98"/>
                  </a:lnTo>
                  <a:lnTo>
                    <a:pt x="206" y="104"/>
                  </a:lnTo>
                  <a:lnTo>
                    <a:pt x="212" y="108"/>
                  </a:lnTo>
                  <a:lnTo>
                    <a:pt x="214" y="108"/>
                  </a:lnTo>
                  <a:lnTo>
                    <a:pt x="220" y="112"/>
                  </a:lnTo>
                  <a:lnTo>
                    <a:pt x="222" y="116"/>
                  </a:lnTo>
                  <a:lnTo>
                    <a:pt x="222" y="120"/>
                  </a:lnTo>
                  <a:lnTo>
                    <a:pt x="218" y="120"/>
                  </a:lnTo>
                  <a:lnTo>
                    <a:pt x="216" y="120"/>
                  </a:lnTo>
                  <a:lnTo>
                    <a:pt x="210" y="114"/>
                  </a:lnTo>
                  <a:lnTo>
                    <a:pt x="206" y="108"/>
                  </a:lnTo>
                  <a:lnTo>
                    <a:pt x="202" y="104"/>
                  </a:lnTo>
                  <a:lnTo>
                    <a:pt x="196" y="104"/>
                  </a:lnTo>
                  <a:lnTo>
                    <a:pt x="190" y="100"/>
                  </a:lnTo>
                  <a:lnTo>
                    <a:pt x="184" y="106"/>
                  </a:lnTo>
                  <a:lnTo>
                    <a:pt x="190" y="112"/>
                  </a:lnTo>
                  <a:lnTo>
                    <a:pt x="196" y="118"/>
                  </a:lnTo>
                  <a:lnTo>
                    <a:pt x="200" y="120"/>
                  </a:lnTo>
                  <a:lnTo>
                    <a:pt x="206" y="124"/>
                  </a:lnTo>
                  <a:lnTo>
                    <a:pt x="200" y="126"/>
                  </a:lnTo>
                  <a:lnTo>
                    <a:pt x="194" y="122"/>
                  </a:lnTo>
                  <a:lnTo>
                    <a:pt x="188" y="122"/>
                  </a:lnTo>
                  <a:lnTo>
                    <a:pt x="188" y="120"/>
                  </a:lnTo>
                  <a:lnTo>
                    <a:pt x="184" y="114"/>
                  </a:lnTo>
                  <a:lnTo>
                    <a:pt x="184" y="108"/>
                  </a:lnTo>
                  <a:lnTo>
                    <a:pt x="178" y="102"/>
                  </a:lnTo>
                  <a:lnTo>
                    <a:pt x="172" y="100"/>
                  </a:lnTo>
                  <a:lnTo>
                    <a:pt x="168" y="98"/>
                  </a:lnTo>
                  <a:lnTo>
                    <a:pt x="162" y="94"/>
                  </a:lnTo>
                  <a:lnTo>
                    <a:pt x="156" y="88"/>
                  </a:lnTo>
                  <a:lnTo>
                    <a:pt x="162" y="84"/>
                  </a:lnTo>
                  <a:lnTo>
                    <a:pt x="162" y="78"/>
                  </a:lnTo>
                  <a:lnTo>
                    <a:pt x="156" y="80"/>
                  </a:lnTo>
                  <a:lnTo>
                    <a:pt x="150" y="84"/>
                  </a:lnTo>
                  <a:lnTo>
                    <a:pt x="148" y="86"/>
                  </a:lnTo>
                  <a:lnTo>
                    <a:pt x="148" y="84"/>
                  </a:lnTo>
                  <a:lnTo>
                    <a:pt x="146" y="86"/>
                  </a:lnTo>
                  <a:lnTo>
                    <a:pt x="146" y="88"/>
                  </a:lnTo>
                  <a:lnTo>
                    <a:pt x="144" y="94"/>
                  </a:lnTo>
                  <a:lnTo>
                    <a:pt x="144" y="100"/>
                  </a:lnTo>
                  <a:lnTo>
                    <a:pt x="142" y="104"/>
                  </a:lnTo>
                  <a:lnTo>
                    <a:pt x="140" y="110"/>
                  </a:lnTo>
                  <a:lnTo>
                    <a:pt x="142" y="116"/>
                  </a:lnTo>
                  <a:lnTo>
                    <a:pt x="144" y="120"/>
                  </a:lnTo>
                  <a:lnTo>
                    <a:pt x="148" y="122"/>
                  </a:lnTo>
                  <a:lnTo>
                    <a:pt x="152" y="128"/>
                  </a:lnTo>
                  <a:lnTo>
                    <a:pt x="158" y="134"/>
                  </a:lnTo>
                  <a:lnTo>
                    <a:pt x="160" y="140"/>
                  </a:lnTo>
                  <a:lnTo>
                    <a:pt x="162" y="146"/>
                  </a:lnTo>
                  <a:lnTo>
                    <a:pt x="164" y="148"/>
                  </a:lnTo>
                  <a:lnTo>
                    <a:pt x="170" y="152"/>
                  </a:lnTo>
                  <a:lnTo>
                    <a:pt x="176" y="158"/>
                  </a:lnTo>
                  <a:lnTo>
                    <a:pt x="180" y="164"/>
                  </a:lnTo>
                  <a:lnTo>
                    <a:pt x="186" y="170"/>
                  </a:lnTo>
                  <a:lnTo>
                    <a:pt x="188" y="176"/>
                  </a:lnTo>
                  <a:lnTo>
                    <a:pt x="182" y="180"/>
                  </a:lnTo>
                  <a:lnTo>
                    <a:pt x="176" y="184"/>
                  </a:lnTo>
                  <a:lnTo>
                    <a:pt x="174" y="184"/>
                  </a:lnTo>
                  <a:lnTo>
                    <a:pt x="180" y="178"/>
                  </a:lnTo>
                  <a:lnTo>
                    <a:pt x="180" y="172"/>
                  </a:lnTo>
                  <a:lnTo>
                    <a:pt x="174" y="168"/>
                  </a:lnTo>
                  <a:lnTo>
                    <a:pt x="172" y="168"/>
                  </a:lnTo>
                  <a:lnTo>
                    <a:pt x="166" y="164"/>
                  </a:lnTo>
                  <a:lnTo>
                    <a:pt x="160" y="170"/>
                  </a:lnTo>
                  <a:lnTo>
                    <a:pt x="160" y="176"/>
                  </a:lnTo>
                  <a:lnTo>
                    <a:pt x="166" y="182"/>
                  </a:lnTo>
                  <a:lnTo>
                    <a:pt x="168" y="188"/>
                  </a:lnTo>
                  <a:lnTo>
                    <a:pt x="174" y="186"/>
                  </a:lnTo>
                  <a:lnTo>
                    <a:pt x="172" y="190"/>
                  </a:lnTo>
                  <a:lnTo>
                    <a:pt x="164" y="194"/>
                  </a:lnTo>
                  <a:lnTo>
                    <a:pt x="160" y="198"/>
                  </a:lnTo>
                  <a:lnTo>
                    <a:pt x="154" y="198"/>
                  </a:lnTo>
                  <a:lnTo>
                    <a:pt x="148" y="196"/>
                  </a:lnTo>
                  <a:lnTo>
                    <a:pt x="154" y="200"/>
                  </a:lnTo>
                  <a:lnTo>
                    <a:pt x="156" y="202"/>
                  </a:lnTo>
                  <a:lnTo>
                    <a:pt x="162" y="204"/>
                  </a:lnTo>
                  <a:lnTo>
                    <a:pt x="168" y="206"/>
                  </a:lnTo>
                  <a:lnTo>
                    <a:pt x="174" y="208"/>
                  </a:lnTo>
                  <a:lnTo>
                    <a:pt x="176" y="214"/>
                  </a:lnTo>
                  <a:lnTo>
                    <a:pt x="182" y="210"/>
                  </a:lnTo>
                  <a:lnTo>
                    <a:pt x="188" y="214"/>
                  </a:lnTo>
                  <a:lnTo>
                    <a:pt x="188" y="218"/>
                  </a:lnTo>
                  <a:lnTo>
                    <a:pt x="190" y="224"/>
                  </a:lnTo>
                  <a:lnTo>
                    <a:pt x="196" y="224"/>
                  </a:lnTo>
                  <a:lnTo>
                    <a:pt x="202" y="224"/>
                  </a:lnTo>
                  <a:lnTo>
                    <a:pt x="206" y="226"/>
                  </a:lnTo>
                  <a:lnTo>
                    <a:pt x="210" y="232"/>
                  </a:lnTo>
                  <a:lnTo>
                    <a:pt x="212" y="234"/>
                  </a:lnTo>
                  <a:lnTo>
                    <a:pt x="214" y="234"/>
                  </a:lnTo>
                  <a:lnTo>
                    <a:pt x="220" y="236"/>
                  </a:lnTo>
                  <a:lnTo>
                    <a:pt x="226" y="238"/>
                  </a:lnTo>
                  <a:lnTo>
                    <a:pt x="232" y="244"/>
                  </a:lnTo>
                  <a:lnTo>
                    <a:pt x="234" y="248"/>
                  </a:lnTo>
                  <a:lnTo>
                    <a:pt x="232" y="256"/>
                  </a:lnTo>
                  <a:lnTo>
                    <a:pt x="232" y="260"/>
                  </a:lnTo>
                  <a:lnTo>
                    <a:pt x="232" y="266"/>
                  </a:lnTo>
                  <a:lnTo>
                    <a:pt x="236" y="270"/>
                  </a:lnTo>
                  <a:lnTo>
                    <a:pt x="236" y="276"/>
                  </a:lnTo>
                  <a:lnTo>
                    <a:pt x="234" y="282"/>
                  </a:lnTo>
                  <a:lnTo>
                    <a:pt x="228" y="278"/>
                  </a:lnTo>
                  <a:lnTo>
                    <a:pt x="224" y="272"/>
                  </a:lnTo>
                  <a:lnTo>
                    <a:pt x="218" y="268"/>
                  </a:lnTo>
                  <a:lnTo>
                    <a:pt x="214" y="262"/>
                  </a:lnTo>
                  <a:lnTo>
                    <a:pt x="208" y="260"/>
                  </a:lnTo>
                  <a:lnTo>
                    <a:pt x="202" y="256"/>
                  </a:lnTo>
                  <a:lnTo>
                    <a:pt x="196" y="260"/>
                  </a:lnTo>
                  <a:lnTo>
                    <a:pt x="190" y="260"/>
                  </a:lnTo>
                  <a:lnTo>
                    <a:pt x="186" y="260"/>
                  </a:lnTo>
                  <a:lnTo>
                    <a:pt x="180" y="264"/>
                  </a:lnTo>
                  <a:lnTo>
                    <a:pt x="174" y="264"/>
                  </a:lnTo>
                  <a:lnTo>
                    <a:pt x="176" y="270"/>
                  </a:lnTo>
                  <a:lnTo>
                    <a:pt x="182" y="270"/>
                  </a:lnTo>
                  <a:lnTo>
                    <a:pt x="182" y="274"/>
                  </a:lnTo>
                  <a:lnTo>
                    <a:pt x="184" y="278"/>
                  </a:lnTo>
                  <a:lnTo>
                    <a:pt x="184" y="284"/>
                  </a:lnTo>
                  <a:lnTo>
                    <a:pt x="188" y="286"/>
                  </a:lnTo>
                  <a:lnTo>
                    <a:pt x="194" y="290"/>
                  </a:lnTo>
                  <a:lnTo>
                    <a:pt x="194" y="284"/>
                  </a:lnTo>
                  <a:lnTo>
                    <a:pt x="198" y="290"/>
                  </a:lnTo>
                  <a:lnTo>
                    <a:pt x="204" y="294"/>
                  </a:lnTo>
                  <a:lnTo>
                    <a:pt x="202" y="298"/>
                  </a:lnTo>
                  <a:lnTo>
                    <a:pt x="196" y="298"/>
                  </a:lnTo>
                  <a:lnTo>
                    <a:pt x="190" y="300"/>
                  </a:lnTo>
                  <a:lnTo>
                    <a:pt x="188" y="306"/>
                  </a:lnTo>
                  <a:lnTo>
                    <a:pt x="182" y="302"/>
                  </a:lnTo>
                  <a:lnTo>
                    <a:pt x="184" y="296"/>
                  </a:lnTo>
                  <a:lnTo>
                    <a:pt x="178" y="294"/>
                  </a:lnTo>
                  <a:lnTo>
                    <a:pt x="172" y="290"/>
                  </a:lnTo>
                  <a:lnTo>
                    <a:pt x="166" y="290"/>
                  </a:lnTo>
                  <a:lnTo>
                    <a:pt x="160" y="288"/>
                  </a:lnTo>
                  <a:lnTo>
                    <a:pt x="160" y="290"/>
                  </a:lnTo>
                  <a:lnTo>
                    <a:pt x="162" y="296"/>
                  </a:lnTo>
                  <a:lnTo>
                    <a:pt x="164" y="302"/>
                  </a:lnTo>
                  <a:lnTo>
                    <a:pt x="168" y="308"/>
                  </a:lnTo>
                  <a:lnTo>
                    <a:pt x="172" y="314"/>
                  </a:lnTo>
                  <a:lnTo>
                    <a:pt x="174" y="320"/>
                  </a:lnTo>
                  <a:lnTo>
                    <a:pt x="176" y="324"/>
                  </a:lnTo>
                  <a:lnTo>
                    <a:pt x="178" y="330"/>
                  </a:lnTo>
                  <a:lnTo>
                    <a:pt x="180" y="336"/>
                  </a:lnTo>
                  <a:lnTo>
                    <a:pt x="182" y="342"/>
                  </a:lnTo>
                  <a:lnTo>
                    <a:pt x="180" y="348"/>
                  </a:lnTo>
                  <a:lnTo>
                    <a:pt x="180" y="354"/>
                  </a:lnTo>
                  <a:lnTo>
                    <a:pt x="188" y="358"/>
                  </a:lnTo>
                  <a:lnTo>
                    <a:pt x="190" y="364"/>
                  </a:lnTo>
                  <a:lnTo>
                    <a:pt x="188" y="366"/>
                  </a:lnTo>
                  <a:lnTo>
                    <a:pt x="182" y="360"/>
                  </a:lnTo>
                  <a:lnTo>
                    <a:pt x="176" y="358"/>
                  </a:lnTo>
                  <a:lnTo>
                    <a:pt x="172" y="354"/>
                  </a:lnTo>
                  <a:lnTo>
                    <a:pt x="168" y="346"/>
                  </a:lnTo>
                  <a:lnTo>
                    <a:pt x="166" y="342"/>
                  </a:lnTo>
                  <a:lnTo>
                    <a:pt x="160" y="340"/>
                  </a:lnTo>
                  <a:lnTo>
                    <a:pt x="154" y="342"/>
                  </a:lnTo>
                  <a:lnTo>
                    <a:pt x="152" y="348"/>
                  </a:lnTo>
                  <a:lnTo>
                    <a:pt x="150" y="352"/>
                  </a:lnTo>
                  <a:lnTo>
                    <a:pt x="150" y="358"/>
                  </a:lnTo>
                  <a:lnTo>
                    <a:pt x="150" y="364"/>
                  </a:lnTo>
                  <a:lnTo>
                    <a:pt x="144" y="362"/>
                  </a:lnTo>
                  <a:lnTo>
                    <a:pt x="144" y="358"/>
                  </a:lnTo>
                  <a:lnTo>
                    <a:pt x="142" y="352"/>
                  </a:lnTo>
                  <a:lnTo>
                    <a:pt x="140" y="346"/>
                  </a:lnTo>
                  <a:lnTo>
                    <a:pt x="140" y="344"/>
                  </a:lnTo>
                  <a:lnTo>
                    <a:pt x="136" y="338"/>
                  </a:lnTo>
                  <a:lnTo>
                    <a:pt x="130" y="334"/>
                  </a:lnTo>
                  <a:lnTo>
                    <a:pt x="128" y="328"/>
                  </a:lnTo>
                  <a:lnTo>
                    <a:pt x="126" y="326"/>
                  </a:lnTo>
                  <a:lnTo>
                    <a:pt x="120" y="326"/>
                  </a:lnTo>
                  <a:lnTo>
                    <a:pt x="116" y="332"/>
                  </a:lnTo>
                  <a:lnTo>
                    <a:pt x="116" y="338"/>
                  </a:lnTo>
                  <a:lnTo>
                    <a:pt x="116" y="344"/>
                  </a:lnTo>
                  <a:lnTo>
                    <a:pt x="112" y="342"/>
                  </a:lnTo>
                  <a:lnTo>
                    <a:pt x="106" y="340"/>
                  </a:lnTo>
                  <a:lnTo>
                    <a:pt x="102" y="334"/>
                  </a:lnTo>
                  <a:lnTo>
                    <a:pt x="104" y="334"/>
                  </a:lnTo>
                  <a:lnTo>
                    <a:pt x="100" y="328"/>
                  </a:lnTo>
                  <a:lnTo>
                    <a:pt x="96" y="322"/>
                  </a:lnTo>
                  <a:lnTo>
                    <a:pt x="94" y="316"/>
                  </a:lnTo>
                  <a:lnTo>
                    <a:pt x="98" y="310"/>
                  </a:lnTo>
                  <a:lnTo>
                    <a:pt x="102" y="304"/>
                  </a:lnTo>
                  <a:lnTo>
                    <a:pt x="100" y="300"/>
                  </a:lnTo>
                  <a:lnTo>
                    <a:pt x="96" y="294"/>
                  </a:lnTo>
                  <a:lnTo>
                    <a:pt x="92" y="288"/>
                  </a:lnTo>
                  <a:lnTo>
                    <a:pt x="88" y="286"/>
                  </a:lnTo>
                  <a:lnTo>
                    <a:pt x="80" y="282"/>
                  </a:lnTo>
                  <a:lnTo>
                    <a:pt x="78" y="276"/>
                  </a:lnTo>
                  <a:lnTo>
                    <a:pt x="72" y="270"/>
                  </a:lnTo>
                  <a:lnTo>
                    <a:pt x="66" y="264"/>
                  </a:lnTo>
                  <a:lnTo>
                    <a:pt x="72" y="262"/>
                  </a:lnTo>
                  <a:lnTo>
                    <a:pt x="78" y="256"/>
                  </a:lnTo>
                  <a:lnTo>
                    <a:pt x="80" y="250"/>
                  </a:lnTo>
                  <a:lnTo>
                    <a:pt x="80" y="248"/>
                  </a:lnTo>
                  <a:lnTo>
                    <a:pt x="86" y="246"/>
                  </a:lnTo>
                  <a:lnTo>
                    <a:pt x="92" y="248"/>
                  </a:lnTo>
                  <a:lnTo>
                    <a:pt x="98" y="244"/>
                  </a:lnTo>
                  <a:lnTo>
                    <a:pt x="102" y="240"/>
                  </a:lnTo>
                  <a:lnTo>
                    <a:pt x="108" y="236"/>
                  </a:lnTo>
                  <a:lnTo>
                    <a:pt x="112" y="236"/>
                  </a:lnTo>
                  <a:lnTo>
                    <a:pt x="118" y="240"/>
                  </a:lnTo>
                  <a:lnTo>
                    <a:pt x="124" y="242"/>
                  </a:lnTo>
                  <a:lnTo>
                    <a:pt x="130" y="246"/>
                  </a:lnTo>
                  <a:lnTo>
                    <a:pt x="136" y="248"/>
                  </a:lnTo>
                  <a:lnTo>
                    <a:pt x="138" y="248"/>
                  </a:lnTo>
                  <a:lnTo>
                    <a:pt x="146" y="248"/>
                  </a:lnTo>
                  <a:lnTo>
                    <a:pt x="150" y="252"/>
                  </a:lnTo>
                  <a:lnTo>
                    <a:pt x="156" y="254"/>
                  </a:lnTo>
                  <a:lnTo>
                    <a:pt x="162" y="260"/>
                  </a:lnTo>
                  <a:lnTo>
                    <a:pt x="164" y="260"/>
                  </a:lnTo>
                  <a:lnTo>
                    <a:pt x="168" y="262"/>
                  </a:lnTo>
                  <a:lnTo>
                    <a:pt x="168" y="256"/>
                  </a:lnTo>
                  <a:lnTo>
                    <a:pt x="174" y="254"/>
                  </a:lnTo>
                  <a:lnTo>
                    <a:pt x="180" y="254"/>
                  </a:lnTo>
                  <a:lnTo>
                    <a:pt x="182" y="252"/>
                  </a:lnTo>
                  <a:lnTo>
                    <a:pt x="186" y="248"/>
                  </a:lnTo>
                  <a:lnTo>
                    <a:pt x="180" y="244"/>
                  </a:lnTo>
                  <a:lnTo>
                    <a:pt x="174" y="244"/>
                  </a:lnTo>
                  <a:lnTo>
                    <a:pt x="168" y="244"/>
                  </a:lnTo>
                  <a:lnTo>
                    <a:pt x="162" y="242"/>
                  </a:lnTo>
                  <a:lnTo>
                    <a:pt x="156" y="236"/>
                  </a:lnTo>
                  <a:lnTo>
                    <a:pt x="152" y="234"/>
                  </a:lnTo>
                  <a:lnTo>
                    <a:pt x="150" y="238"/>
                  </a:lnTo>
                  <a:lnTo>
                    <a:pt x="144" y="232"/>
                  </a:lnTo>
                  <a:lnTo>
                    <a:pt x="138" y="228"/>
                  </a:lnTo>
                  <a:lnTo>
                    <a:pt x="138" y="234"/>
                  </a:lnTo>
                  <a:lnTo>
                    <a:pt x="132" y="234"/>
                  </a:lnTo>
                  <a:lnTo>
                    <a:pt x="126" y="236"/>
                  </a:lnTo>
                  <a:lnTo>
                    <a:pt x="120" y="232"/>
                  </a:lnTo>
                  <a:lnTo>
                    <a:pt x="114" y="230"/>
                  </a:lnTo>
                  <a:lnTo>
                    <a:pt x="108" y="232"/>
                  </a:lnTo>
                  <a:lnTo>
                    <a:pt x="104" y="234"/>
                  </a:lnTo>
                  <a:lnTo>
                    <a:pt x="98" y="234"/>
                  </a:lnTo>
                  <a:lnTo>
                    <a:pt x="92" y="236"/>
                  </a:lnTo>
                  <a:lnTo>
                    <a:pt x="86" y="236"/>
                  </a:lnTo>
                  <a:lnTo>
                    <a:pt x="82" y="230"/>
                  </a:lnTo>
                  <a:lnTo>
                    <a:pt x="80" y="228"/>
                  </a:lnTo>
                  <a:lnTo>
                    <a:pt x="78" y="226"/>
                  </a:lnTo>
                  <a:lnTo>
                    <a:pt x="78" y="228"/>
                  </a:lnTo>
                  <a:lnTo>
                    <a:pt x="74" y="234"/>
                  </a:lnTo>
                  <a:lnTo>
                    <a:pt x="68" y="238"/>
                  </a:lnTo>
                  <a:lnTo>
                    <a:pt x="66" y="232"/>
                  </a:lnTo>
                  <a:lnTo>
                    <a:pt x="64" y="226"/>
                  </a:lnTo>
                  <a:lnTo>
                    <a:pt x="60" y="220"/>
                  </a:lnTo>
                  <a:lnTo>
                    <a:pt x="58" y="214"/>
                  </a:lnTo>
                  <a:lnTo>
                    <a:pt x="56" y="212"/>
                  </a:lnTo>
                  <a:lnTo>
                    <a:pt x="54" y="212"/>
                  </a:lnTo>
                  <a:lnTo>
                    <a:pt x="52" y="206"/>
                  </a:lnTo>
                  <a:lnTo>
                    <a:pt x="46" y="206"/>
                  </a:lnTo>
                  <a:lnTo>
                    <a:pt x="44" y="200"/>
                  </a:lnTo>
                  <a:lnTo>
                    <a:pt x="44" y="194"/>
                  </a:lnTo>
                  <a:lnTo>
                    <a:pt x="44" y="192"/>
                  </a:lnTo>
                  <a:lnTo>
                    <a:pt x="50" y="192"/>
                  </a:lnTo>
                  <a:lnTo>
                    <a:pt x="56" y="192"/>
                  </a:lnTo>
                  <a:lnTo>
                    <a:pt x="58" y="196"/>
                  </a:lnTo>
                  <a:lnTo>
                    <a:pt x="64" y="196"/>
                  </a:lnTo>
                  <a:lnTo>
                    <a:pt x="66" y="190"/>
                  </a:lnTo>
                  <a:lnTo>
                    <a:pt x="64" y="186"/>
                  </a:lnTo>
                  <a:lnTo>
                    <a:pt x="58" y="188"/>
                  </a:lnTo>
                  <a:lnTo>
                    <a:pt x="52" y="184"/>
                  </a:lnTo>
                  <a:lnTo>
                    <a:pt x="46" y="182"/>
                  </a:lnTo>
                  <a:lnTo>
                    <a:pt x="44" y="188"/>
                  </a:lnTo>
                  <a:lnTo>
                    <a:pt x="44" y="192"/>
                  </a:lnTo>
                  <a:lnTo>
                    <a:pt x="40" y="186"/>
                  </a:lnTo>
                  <a:lnTo>
                    <a:pt x="36" y="182"/>
                  </a:lnTo>
                  <a:lnTo>
                    <a:pt x="30" y="176"/>
                  </a:lnTo>
                  <a:lnTo>
                    <a:pt x="26" y="170"/>
                  </a:lnTo>
                  <a:lnTo>
                    <a:pt x="20" y="170"/>
                  </a:lnTo>
                  <a:lnTo>
                    <a:pt x="18" y="168"/>
                  </a:lnTo>
                  <a:lnTo>
                    <a:pt x="14" y="162"/>
                  </a:lnTo>
                  <a:lnTo>
                    <a:pt x="12" y="156"/>
                  </a:lnTo>
                  <a:lnTo>
                    <a:pt x="6" y="150"/>
                  </a:lnTo>
                  <a:lnTo>
                    <a:pt x="6" y="144"/>
                  </a:lnTo>
                  <a:lnTo>
                    <a:pt x="0" y="1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5" name="Freeform 102"/>
            <p:cNvSpPr>
              <a:spLocks/>
            </p:cNvSpPr>
            <p:nvPr/>
          </p:nvSpPr>
          <p:spPr bwMode="auto">
            <a:xfrm>
              <a:off x="5695950" y="3190875"/>
              <a:ext cx="373063" cy="379413"/>
            </a:xfrm>
            <a:custGeom>
              <a:avLst/>
              <a:gdLst>
                <a:gd name="T0" fmla="*/ 2147483647 w 916"/>
                <a:gd name="T1" fmla="*/ 2147483647 h 922"/>
                <a:gd name="T2" fmla="*/ 2147483647 w 916"/>
                <a:gd name="T3" fmla="*/ 2147483647 h 922"/>
                <a:gd name="T4" fmla="*/ 2147483647 w 916"/>
                <a:gd name="T5" fmla="*/ 2147483647 h 922"/>
                <a:gd name="T6" fmla="*/ 2147483647 w 916"/>
                <a:gd name="T7" fmla="*/ 2147483647 h 922"/>
                <a:gd name="T8" fmla="*/ 2147483647 w 916"/>
                <a:gd name="T9" fmla="*/ 2147483647 h 922"/>
                <a:gd name="T10" fmla="*/ 2147483647 w 916"/>
                <a:gd name="T11" fmla="*/ 2147483647 h 922"/>
                <a:gd name="T12" fmla="*/ 2147483647 w 916"/>
                <a:gd name="T13" fmla="*/ 2147483647 h 922"/>
                <a:gd name="T14" fmla="*/ 2147483647 w 916"/>
                <a:gd name="T15" fmla="*/ 2147483647 h 922"/>
                <a:gd name="T16" fmla="*/ 2147483647 w 916"/>
                <a:gd name="T17" fmla="*/ 2147483647 h 922"/>
                <a:gd name="T18" fmla="*/ 2147483647 w 916"/>
                <a:gd name="T19" fmla="*/ 2147483647 h 922"/>
                <a:gd name="T20" fmla="*/ 2147483647 w 916"/>
                <a:gd name="T21" fmla="*/ 2147483647 h 922"/>
                <a:gd name="T22" fmla="*/ 2147483647 w 916"/>
                <a:gd name="T23" fmla="*/ 2147483647 h 922"/>
                <a:gd name="T24" fmla="*/ 2147483647 w 916"/>
                <a:gd name="T25" fmla="*/ 2147483647 h 922"/>
                <a:gd name="T26" fmla="*/ 2147483647 w 916"/>
                <a:gd name="T27" fmla="*/ 2147483647 h 922"/>
                <a:gd name="T28" fmla="*/ 2147483647 w 916"/>
                <a:gd name="T29" fmla="*/ 2147483647 h 922"/>
                <a:gd name="T30" fmla="*/ 2147483647 w 916"/>
                <a:gd name="T31" fmla="*/ 2147483647 h 922"/>
                <a:gd name="T32" fmla="*/ 2147483647 w 916"/>
                <a:gd name="T33" fmla="*/ 2147483647 h 922"/>
                <a:gd name="T34" fmla="*/ 2147483647 w 916"/>
                <a:gd name="T35" fmla="*/ 2147483647 h 922"/>
                <a:gd name="T36" fmla="*/ 2147483647 w 916"/>
                <a:gd name="T37" fmla="*/ 2147483647 h 922"/>
                <a:gd name="T38" fmla="*/ 2147483647 w 916"/>
                <a:gd name="T39" fmla="*/ 2147483647 h 922"/>
                <a:gd name="T40" fmla="*/ 2147483647 w 916"/>
                <a:gd name="T41" fmla="*/ 2147483647 h 922"/>
                <a:gd name="T42" fmla="*/ 2147483647 w 916"/>
                <a:gd name="T43" fmla="*/ 2147483647 h 922"/>
                <a:gd name="T44" fmla="*/ 2147483647 w 916"/>
                <a:gd name="T45" fmla="*/ 2147483647 h 922"/>
                <a:gd name="T46" fmla="*/ 2147483647 w 916"/>
                <a:gd name="T47" fmla="*/ 2147483647 h 922"/>
                <a:gd name="T48" fmla="*/ 2147483647 w 916"/>
                <a:gd name="T49" fmla="*/ 2147483647 h 922"/>
                <a:gd name="T50" fmla="*/ 2147483647 w 916"/>
                <a:gd name="T51" fmla="*/ 2147483647 h 922"/>
                <a:gd name="T52" fmla="*/ 2147483647 w 916"/>
                <a:gd name="T53" fmla="*/ 2147483647 h 922"/>
                <a:gd name="T54" fmla="*/ 2147483647 w 916"/>
                <a:gd name="T55" fmla="*/ 2147483647 h 922"/>
                <a:gd name="T56" fmla="*/ 2147483647 w 916"/>
                <a:gd name="T57" fmla="*/ 2147483647 h 922"/>
                <a:gd name="T58" fmla="*/ 2147483647 w 916"/>
                <a:gd name="T59" fmla="*/ 2147483647 h 922"/>
                <a:gd name="T60" fmla="*/ 2147483647 w 916"/>
                <a:gd name="T61" fmla="*/ 2147483647 h 922"/>
                <a:gd name="T62" fmla="*/ 2147483647 w 916"/>
                <a:gd name="T63" fmla="*/ 2147483647 h 922"/>
                <a:gd name="T64" fmla="*/ 2147483647 w 916"/>
                <a:gd name="T65" fmla="*/ 2147483647 h 922"/>
                <a:gd name="T66" fmla="*/ 2147483647 w 916"/>
                <a:gd name="T67" fmla="*/ 2147483647 h 922"/>
                <a:gd name="T68" fmla="*/ 2147483647 w 916"/>
                <a:gd name="T69" fmla="*/ 2147483647 h 922"/>
                <a:gd name="T70" fmla="*/ 2147483647 w 916"/>
                <a:gd name="T71" fmla="*/ 2147483647 h 922"/>
                <a:gd name="T72" fmla="*/ 2147483647 w 916"/>
                <a:gd name="T73" fmla="*/ 2147483647 h 922"/>
                <a:gd name="T74" fmla="*/ 2147483647 w 916"/>
                <a:gd name="T75" fmla="*/ 2147483647 h 922"/>
                <a:gd name="T76" fmla="*/ 2147483647 w 916"/>
                <a:gd name="T77" fmla="*/ 2147483647 h 922"/>
                <a:gd name="T78" fmla="*/ 2147483647 w 916"/>
                <a:gd name="T79" fmla="*/ 2147483647 h 922"/>
                <a:gd name="T80" fmla="*/ 2147483647 w 916"/>
                <a:gd name="T81" fmla="*/ 2147483647 h 922"/>
                <a:gd name="T82" fmla="*/ 2147483647 w 916"/>
                <a:gd name="T83" fmla="*/ 2147483647 h 922"/>
                <a:gd name="T84" fmla="*/ 2147483647 w 916"/>
                <a:gd name="T85" fmla="*/ 2147483647 h 922"/>
                <a:gd name="T86" fmla="*/ 2147483647 w 916"/>
                <a:gd name="T87" fmla="*/ 2147483647 h 922"/>
                <a:gd name="T88" fmla="*/ 2147483647 w 916"/>
                <a:gd name="T89" fmla="*/ 2147483647 h 922"/>
                <a:gd name="T90" fmla="*/ 2147483647 w 916"/>
                <a:gd name="T91" fmla="*/ 2147483647 h 922"/>
                <a:gd name="T92" fmla="*/ 2147483647 w 916"/>
                <a:gd name="T93" fmla="*/ 2147483647 h 922"/>
                <a:gd name="T94" fmla="*/ 2147483647 w 916"/>
                <a:gd name="T95" fmla="*/ 2147483647 h 922"/>
                <a:gd name="T96" fmla="*/ 2147483647 w 916"/>
                <a:gd name="T97" fmla="*/ 2147483647 h 922"/>
                <a:gd name="T98" fmla="*/ 2147483647 w 916"/>
                <a:gd name="T99" fmla="*/ 2147483647 h 922"/>
                <a:gd name="T100" fmla="*/ 2147483647 w 916"/>
                <a:gd name="T101" fmla="*/ 2147483647 h 922"/>
                <a:gd name="T102" fmla="*/ 2147483647 w 916"/>
                <a:gd name="T103" fmla="*/ 2147483647 h 922"/>
                <a:gd name="T104" fmla="*/ 2147483647 w 916"/>
                <a:gd name="T105" fmla="*/ 2147483647 h 922"/>
                <a:gd name="T106" fmla="*/ 2147483647 w 916"/>
                <a:gd name="T107" fmla="*/ 2147483647 h 922"/>
                <a:gd name="T108" fmla="*/ 2147483647 w 916"/>
                <a:gd name="T109" fmla="*/ 2147483647 h 922"/>
                <a:gd name="T110" fmla="*/ 2147483647 w 916"/>
                <a:gd name="T111" fmla="*/ 2147483647 h 922"/>
                <a:gd name="T112" fmla="*/ 2147483647 w 916"/>
                <a:gd name="T113" fmla="*/ 2147483647 h 922"/>
                <a:gd name="T114" fmla="*/ 2147483647 w 916"/>
                <a:gd name="T115" fmla="*/ 2147483647 h 922"/>
                <a:gd name="T116" fmla="*/ 2147483647 w 916"/>
                <a:gd name="T117" fmla="*/ 2147483647 h 922"/>
                <a:gd name="T118" fmla="*/ 2147483647 w 916"/>
                <a:gd name="T119" fmla="*/ 2147483647 h 922"/>
                <a:gd name="T120" fmla="*/ 2147483647 w 916"/>
                <a:gd name="T121" fmla="*/ 2147483647 h 922"/>
                <a:gd name="T122" fmla="*/ 0 w 916"/>
                <a:gd name="T123" fmla="*/ 2147483647 h 9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16"/>
                <a:gd name="T187" fmla="*/ 0 h 922"/>
                <a:gd name="T188" fmla="*/ 916 w 916"/>
                <a:gd name="T189" fmla="*/ 922 h 9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16" h="922">
                  <a:moveTo>
                    <a:pt x="0" y="498"/>
                  </a:moveTo>
                  <a:lnTo>
                    <a:pt x="8" y="500"/>
                  </a:lnTo>
                  <a:lnTo>
                    <a:pt x="14" y="502"/>
                  </a:lnTo>
                  <a:lnTo>
                    <a:pt x="20" y="504"/>
                  </a:lnTo>
                  <a:lnTo>
                    <a:pt x="26" y="506"/>
                  </a:lnTo>
                  <a:lnTo>
                    <a:pt x="32" y="508"/>
                  </a:lnTo>
                  <a:lnTo>
                    <a:pt x="38" y="510"/>
                  </a:lnTo>
                  <a:lnTo>
                    <a:pt x="44" y="512"/>
                  </a:lnTo>
                  <a:lnTo>
                    <a:pt x="50" y="514"/>
                  </a:lnTo>
                  <a:lnTo>
                    <a:pt x="56" y="516"/>
                  </a:lnTo>
                  <a:lnTo>
                    <a:pt x="62" y="518"/>
                  </a:lnTo>
                  <a:lnTo>
                    <a:pt x="68" y="520"/>
                  </a:lnTo>
                  <a:lnTo>
                    <a:pt x="74" y="522"/>
                  </a:lnTo>
                  <a:lnTo>
                    <a:pt x="80" y="524"/>
                  </a:lnTo>
                  <a:lnTo>
                    <a:pt x="86" y="526"/>
                  </a:lnTo>
                  <a:lnTo>
                    <a:pt x="92" y="528"/>
                  </a:lnTo>
                  <a:lnTo>
                    <a:pt x="98" y="530"/>
                  </a:lnTo>
                  <a:lnTo>
                    <a:pt x="104" y="530"/>
                  </a:lnTo>
                  <a:lnTo>
                    <a:pt x="110" y="530"/>
                  </a:lnTo>
                  <a:lnTo>
                    <a:pt x="116" y="528"/>
                  </a:lnTo>
                  <a:lnTo>
                    <a:pt x="122" y="528"/>
                  </a:lnTo>
                  <a:lnTo>
                    <a:pt x="128" y="528"/>
                  </a:lnTo>
                  <a:lnTo>
                    <a:pt x="136" y="526"/>
                  </a:lnTo>
                  <a:lnTo>
                    <a:pt x="140" y="526"/>
                  </a:lnTo>
                  <a:lnTo>
                    <a:pt x="144" y="526"/>
                  </a:lnTo>
                  <a:lnTo>
                    <a:pt x="150" y="526"/>
                  </a:lnTo>
                  <a:lnTo>
                    <a:pt x="156" y="524"/>
                  </a:lnTo>
                  <a:lnTo>
                    <a:pt x="162" y="524"/>
                  </a:lnTo>
                  <a:lnTo>
                    <a:pt x="168" y="524"/>
                  </a:lnTo>
                  <a:lnTo>
                    <a:pt x="174" y="526"/>
                  </a:lnTo>
                  <a:lnTo>
                    <a:pt x="180" y="526"/>
                  </a:lnTo>
                  <a:lnTo>
                    <a:pt x="186" y="528"/>
                  </a:lnTo>
                  <a:lnTo>
                    <a:pt x="192" y="530"/>
                  </a:lnTo>
                  <a:lnTo>
                    <a:pt x="198" y="528"/>
                  </a:lnTo>
                  <a:lnTo>
                    <a:pt x="204" y="524"/>
                  </a:lnTo>
                  <a:lnTo>
                    <a:pt x="208" y="520"/>
                  </a:lnTo>
                  <a:lnTo>
                    <a:pt x="214" y="518"/>
                  </a:lnTo>
                  <a:lnTo>
                    <a:pt x="220" y="518"/>
                  </a:lnTo>
                  <a:lnTo>
                    <a:pt x="226" y="518"/>
                  </a:lnTo>
                  <a:lnTo>
                    <a:pt x="232" y="518"/>
                  </a:lnTo>
                  <a:lnTo>
                    <a:pt x="234" y="518"/>
                  </a:lnTo>
                  <a:lnTo>
                    <a:pt x="240" y="518"/>
                  </a:lnTo>
                  <a:lnTo>
                    <a:pt x="242" y="518"/>
                  </a:lnTo>
                  <a:lnTo>
                    <a:pt x="244" y="520"/>
                  </a:lnTo>
                  <a:lnTo>
                    <a:pt x="246" y="520"/>
                  </a:lnTo>
                  <a:lnTo>
                    <a:pt x="252" y="520"/>
                  </a:lnTo>
                  <a:lnTo>
                    <a:pt x="260" y="518"/>
                  </a:lnTo>
                  <a:lnTo>
                    <a:pt x="264" y="516"/>
                  </a:lnTo>
                  <a:lnTo>
                    <a:pt x="272" y="514"/>
                  </a:lnTo>
                  <a:lnTo>
                    <a:pt x="276" y="512"/>
                  </a:lnTo>
                  <a:lnTo>
                    <a:pt x="282" y="510"/>
                  </a:lnTo>
                  <a:lnTo>
                    <a:pt x="288" y="508"/>
                  </a:lnTo>
                  <a:lnTo>
                    <a:pt x="290" y="508"/>
                  </a:lnTo>
                  <a:lnTo>
                    <a:pt x="292" y="508"/>
                  </a:lnTo>
                  <a:lnTo>
                    <a:pt x="298" y="506"/>
                  </a:lnTo>
                  <a:lnTo>
                    <a:pt x="304" y="504"/>
                  </a:lnTo>
                  <a:lnTo>
                    <a:pt x="310" y="502"/>
                  </a:lnTo>
                  <a:lnTo>
                    <a:pt x="316" y="500"/>
                  </a:lnTo>
                  <a:lnTo>
                    <a:pt x="322" y="494"/>
                  </a:lnTo>
                  <a:lnTo>
                    <a:pt x="320" y="490"/>
                  </a:lnTo>
                  <a:lnTo>
                    <a:pt x="314" y="484"/>
                  </a:lnTo>
                  <a:lnTo>
                    <a:pt x="316" y="478"/>
                  </a:lnTo>
                  <a:lnTo>
                    <a:pt x="318" y="472"/>
                  </a:lnTo>
                  <a:lnTo>
                    <a:pt x="318" y="466"/>
                  </a:lnTo>
                  <a:lnTo>
                    <a:pt x="318" y="460"/>
                  </a:lnTo>
                  <a:lnTo>
                    <a:pt x="314" y="454"/>
                  </a:lnTo>
                  <a:lnTo>
                    <a:pt x="312" y="446"/>
                  </a:lnTo>
                  <a:lnTo>
                    <a:pt x="312" y="442"/>
                  </a:lnTo>
                  <a:lnTo>
                    <a:pt x="314" y="436"/>
                  </a:lnTo>
                  <a:lnTo>
                    <a:pt x="314" y="430"/>
                  </a:lnTo>
                  <a:lnTo>
                    <a:pt x="316" y="424"/>
                  </a:lnTo>
                  <a:lnTo>
                    <a:pt x="322" y="422"/>
                  </a:lnTo>
                  <a:lnTo>
                    <a:pt x="328" y="416"/>
                  </a:lnTo>
                  <a:lnTo>
                    <a:pt x="330" y="410"/>
                  </a:lnTo>
                  <a:lnTo>
                    <a:pt x="336" y="404"/>
                  </a:lnTo>
                  <a:lnTo>
                    <a:pt x="336" y="402"/>
                  </a:lnTo>
                  <a:lnTo>
                    <a:pt x="342" y="398"/>
                  </a:lnTo>
                  <a:lnTo>
                    <a:pt x="348" y="398"/>
                  </a:lnTo>
                  <a:lnTo>
                    <a:pt x="348" y="402"/>
                  </a:lnTo>
                  <a:lnTo>
                    <a:pt x="352" y="404"/>
                  </a:lnTo>
                  <a:lnTo>
                    <a:pt x="358" y="404"/>
                  </a:lnTo>
                  <a:lnTo>
                    <a:pt x="362" y="404"/>
                  </a:lnTo>
                  <a:lnTo>
                    <a:pt x="368" y="404"/>
                  </a:lnTo>
                  <a:lnTo>
                    <a:pt x="374" y="404"/>
                  </a:lnTo>
                  <a:lnTo>
                    <a:pt x="380" y="402"/>
                  </a:lnTo>
                  <a:lnTo>
                    <a:pt x="386" y="400"/>
                  </a:lnTo>
                  <a:lnTo>
                    <a:pt x="390" y="396"/>
                  </a:lnTo>
                  <a:lnTo>
                    <a:pt x="392" y="396"/>
                  </a:lnTo>
                  <a:lnTo>
                    <a:pt x="386" y="392"/>
                  </a:lnTo>
                  <a:lnTo>
                    <a:pt x="380" y="390"/>
                  </a:lnTo>
                  <a:lnTo>
                    <a:pt x="378" y="384"/>
                  </a:lnTo>
                  <a:lnTo>
                    <a:pt x="382" y="384"/>
                  </a:lnTo>
                  <a:lnTo>
                    <a:pt x="388" y="382"/>
                  </a:lnTo>
                  <a:lnTo>
                    <a:pt x="394" y="376"/>
                  </a:lnTo>
                  <a:lnTo>
                    <a:pt x="400" y="374"/>
                  </a:lnTo>
                  <a:lnTo>
                    <a:pt x="406" y="368"/>
                  </a:lnTo>
                  <a:lnTo>
                    <a:pt x="408" y="362"/>
                  </a:lnTo>
                  <a:lnTo>
                    <a:pt x="416" y="366"/>
                  </a:lnTo>
                  <a:lnTo>
                    <a:pt x="420" y="366"/>
                  </a:lnTo>
                  <a:lnTo>
                    <a:pt x="426" y="368"/>
                  </a:lnTo>
                  <a:lnTo>
                    <a:pt x="428" y="362"/>
                  </a:lnTo>
                  <a:lnTo>
                    <a:pt x="434" y="366"/>
                  </a:lnTo>
                  <a:lnTo>
                    <a:pt x="440" y="366"/>
                  </a:lnTo>
                  <a:lnTo>
                    <a:pt x="442" y="372"/>
                  </a:lnTo>
                  <a:lnTo>
                    <a:pt x="448" y="378"/>
                  </a:lnTo>
                  <a:lnTo>
                    <a:pt x="452" y="378"/>
                  </a:lnTo>
                  <a:lnTo>
                    <a:pt x="458" y="374"/>
                  </a:lnTo>
                  <a:lnTo>
                    <a:pt x="464" y="370"/>
                  </a:lnTo>
                  <a:lnTo>
                    <a:pt x="466" y="364"/>
                  </a:lnTo>
                  <a:lnTo>
                    <a:pt x="470" y="358"/>
                  </a:lnTo>
                  <a:lnTo>
                    <a:pt x="474" y="354"/>
                  </a:lnTo>
                  <a:lnTo>
                    <a:pt x="472" y="350"/>
                  </a:lnTo>
                  <a:lnTo>
                    <a:pt x="470" y="342"/>
                  </a:lnTo>
                  <a:lnTo>
                    <a:pt x="468" y="336"/>
                  </a:lnTo>
                  <a:lnTo>
                    <a:pt x="468" y="330"/>
                  </a:lnTo>
                  <a:lnTo>
                    <a:pt x="466" y="324"/>
                  </a:lnTo>
                  <a:lnTo>
                    <a:pt x="464" y="318"/>
                  </a:lnTo>
                  <a:lnTo>
                    <a:pt x="466" y="312"/>
                  </a:lnTo>
                  <a:lnTo>
                    <a:pt x="472" y="308"/>
                  </a:lnTo>
                  <a:lnTo>
                    <a:pt x="470" y="300"/>
                  </a:lnTo>
                  <a:lnTo>
                    <a:pt x="470" y="294"/>
                  </a:lnTo>
                  <a:lnTo>
                    <a:pt x="472" y="290"/>
                  </a:lnTo>
                  <a:lnTo>
                    <a:pt x="470" y="282"/>
                  </a:lnTo>
                  <a:lnTo>
                    <a:pt x="472" y="278"/>
                  </a:lnTo>
                  <a:lnTo>
                    <a:pt x="474" y="276"/>
                  </a:lnTo>
                  <a:lnTo>
                    <a:pt x="480" y="276"/>
                  </a:lnTo>
                  <a:lnTo>
                    <a:pt x="486" y="274"/>
                  </a:lnTo>
                  <a:lnTo>
                    <a:pt x="492" y="276"/>
                  </a:lnTo>
                  <a:lnTo>
                    <a:pt x="498" y="272"/>
                  </a:lnTo>
                  <a:lnTo>
                    <a:pt x="504" y="268"/>
                  </a:lnTo>
                  <a:lnTo>
                    <a:pt x="510" y="262"/>
                  </a:lnTo>
                  <a:lnTo>
                    <a:pt x="514" y="256"/>
                  </a:lnTo>
                  <a:lnTo>
                    <a:pt x="508" y="252"/>
                  </a:lnTo>
                  <a:lnTo>
                    <a:pt x="504" y="248"/>
                  </a:lnTo>
                  <a:lnTo>
                    <a:pt x="502" y="242"/>
                  </a:lnTo>
                  <a:lnTo>
                    <a:pt x="502" y="236"/>
                  </a:lnTo>
                  <a:lnTo>
                    <a:pt x="496" y="232"/>
                  </a:lnTo>
                  <a:lnTo>
                    <a:pt x="490" y="230"/>
                  </a:lnTo>
                  <a:lnTo>
                    <a:pt x="486" y="226"/>
                  </a:lnTo>
                  <a:lnTo>
                    <a:pt x="484" y="222"/>
                  </a:lnTo>
                  <a:lnTo>
                    <a:pt x="480" y="218"/>
                  </a:lnTo>
                  <a:lnTo>
                    <a:pt x="480" y="212"/>
                  </a:lnTo>
                  <a:lnTo>
                    <a:pt x="482" y="210"/>
                  </a:lnTo>
                  <a:lnTo>
                    <a:pt x="486" y="208"/>
                  </a:lnTo>
                  <a:lnTo>
                    <a:pt x="492" y="210"/>
                  </a:lnTo>
                  <a:lnTo>
                    <a:pt x="498" y="212"/>
                  </a:lnTo>
                  <a:lnTo>
                    <a:pt x="504" y="214"/>
                  </a:lnTo>
                  <a:lnTo>
                    <a:pt x="510" y="214"/>
                  </a:lnTo>
                  <a:lnTo>
                    <a:pt x="516" y="216"/>
                  </a:lnTo>
                  <a:lnTo>
                    <a:pt x="522" y="216"/>
                  </a:lnTo>
                  <a:lnTo>
                    <a:pt x="528" y="216"/>
                  </a:lnTo>
                  <a:lnTo>
                    <a:pt x="534" y="216"/>
                  </a:lnTo>
                  <a:lnTo>
                    <a:pt x="540" y="212"/>
                  </a:lnTo>
                  <a:lnTo>
                    <a:pt x="546" y="210"/>
                  </a:lnTo>
                  <a:lnTo>
                    <a:pt x="548" y="204"/>
                  </a:lnTo>
                  <a:lnTo>
                    <a:pt x="550" y="198"/>
                  </a:lnTo>
                  <a:lnTo>
                    <a:pt x="548" y="196"/>
                  </a:lnTo>
                  <a:lnTo>
                    <a:pt x="548" y="190"/>
                  </a:lnTo>
                  <a:lnTo>
                    <a:pt x="542" y="184"/>
                  </a:lnTo>
                  <a:lnTo>
                    <a:pt x="536" y="178"/>
                  </a:lnTo>
                  <a:lnTo>
                    <a:pt x="536" y="174"/>
                  </a:lnTo>
                  <a:lnTo>
                    <a:pt x="542" y="172"/>
                  </a:lnTo>
                  <a:lnTo>
                    <a:pt x="540" y="168"/>
                  </a:lnTo>
                  <a:lnTo>
                    <a:pt x="546" y="162"/>
                  </a:lnTo>
                  <a:lnTo>
                    <a:pt x="550" y="156"/>
                  </a:lnTo>
                  <a:lnTo>
                    <a:pt x="552" y="150"/>
                  </a:lnTo>
                  <a:lnTo>
                    <a:pt x="558" y="148"/>
                  </a:lnTo>
                  <a:lnTo>
                    <a:pt x="560" y="146"/>
                  </a:lnTo>
                  <a:lnTo>
                    <a:pt x="560" y="144"/>
                  </a:lnTo>
                  <a:lnTo>
                    <a:pt x="560" y="140"/>
                  </a:lnTo>
                  <a:lnTo>
                    <a:pt x="562" y="134"/>
                  </a:lnTo>
                  <a:lnTo>
                    <a:pt x="566" y="130"/>
                  </a:lnTo>
                  <a:lnTo>
                    <a:pt x="560" y="124"/>
                  </a:lnTo>
                  <a:lnTo>
                    <a:pt x="558" y="120"/>
                  </a:lnTo>
                  <a:lnTo>
                    <a:pt x="556" y="120"/>
                  </a:lnTo>
                  <a:lnTo>
                    <a:pt x="560" y="116"/>
                  </a:lnTo>
                  <a:lnTo>
                    <a:pt x="558" y="108"/>
                  </a:lnTo>
                  <a:lnTo>
                    <a:pt x="556" y="104"/>
                  </a:lnTo>
                  <a:lnTo>
                    <a:pt x="550" y="100"/>
                  </a:lnTo>
                  <a:lnTo>
                    <a:pt x="552" y="94"/>
                  </a:lnTo>
                  <a:lnTo>
                    <a:pt x="546" y="88"/>
                  </a:lnTo>
                  <a:lnTo>
                    <a:pt x="542" y="82"/>
                  </a:lnTo>
                  <a:lnTo>
                    <a:pt x="536" y="78"/>
                  </a:lnTo>
                  <a:lnTo>
                    <a:pt x="530" y="74"/>
                  </a:lnTo>
                  <a:lnTo>
                    <a:pt x="526" y="72"/>
                  </a:lnTo>
                  <a:lnTo>
                    <a:pt x="528" y="66"/>
                  </a:lnTo>
                  <a:lnTo>
                    <a:pt x="532" y="60"/>
                  </a:lnTo>
                  <a:lnTo>
                    <a:pt x="538" y="54"/>
                  </a:lnTo>
                  <a:lnTo>
                    <a:pt x="542" y="48"/>
                  </a:lnTo>
                  <a:lnTo>
                    <a:pt x="544" y="42"/>
                  </a:lnTo>
                  <a:lnTo>
                    <a:pt x="550" y="44"/>
                  </a:lnTo>
                  <a:lnTo>
                    <a:pt x="556" y="46"/>
                  </a:lnTo>
                  <a:lnTo>
                    <a:pt x="558" y="40"/>
                  </a:lnTo>
                  <a:lnTo>
                    <a:pt x="564" y="34"/>
                  </a:lnTo>
                  <a:lnTo>
                    <a:pt x="570" y="30"/>
                  </a:lnTo>
                  <a:lnTo>
                    <a:pt x="576" y="24"/>
                  </a:lnTo>
                  <a:lnTo>
                    <a:pt x="582" y="22"/>
                  </a:lnTo>
                  <a:lnTo>
                    <a:pt x="586" y="22"/>
                  </a:lnTo>
                  <a:lnTo>
                    <a:pt x="594" y="18"/>
                  </a:lnTo>
                  <a:lnTo>
                    <a:pt x="598" y="16"/>
                  </a:lnTo>
                  <a:lnTo>
                    <a:pt x="606" y="16"/>
                  </a:lnTo>
                  <a:lnTo>
                    <a:pt x="610" y="16"/>
                  </a:lnTo>
                  <a:lnTo>
                    <a:pt x="616" y="16"/>
                  </a:lnTo>
                  <a:lnTo>
                    <a:pt x="624" y="14"/>
                  </a:lnTo>
                  <a:lnTo>
                    <a:pt x="628" y="14"/>
                  </a:lnTo>
                  <a:lnTo>
                    <a:pt x="634" y="14"/>
                  </a:lnTo>
                  <a:lnTo>
                    <a:pt x="640" y="14"/>
                  </a:lnTo>
                  <a:lnTo>
                    <a:pt x="646" y="14"/>
                  </a:lnTo>
                  <a:lnTo>
                    <a:pt x="654" y="12"/>
                  </a:lnTo>
                  <a:lnTo>
                    <a:pt x="658" y="12"/>
                  </a:lnTo>
                  <a:lnTo>
                    <a:pt x="666" y="12"/>
                  </a:lnTo>
                  <a:lnTo>
                    <a:pt x="670" y="14"/>
                  </a:lnTo>
                  <a:lnTo>
                    <a:pt x="676" y="18"/>
                  </a:lnTo>
                  <a:lnTo>
                    <a:pt x="682" y="12"/>
                  </a:lnTo>
                  <a:lnTo>
                    <a:pt x="688" y="12"/>
                  </a:lnTo>
                  <a:lnTo>
                    <a:pt x="694" y="6"/>
                  </a:lnTo>
                  <a:lnTo>
                    <a:pt x="700" y="4"/>
                  </a:lnTo>
                  <a:lnTo>
                    <a:pt x="704" y="2"/>
                  </a:lnTo>
                  <a:lnTo>
                    <a:pt x="710" y="0"/>
                  </a:lnTo>
                  <a:lnTo>
                    <a:pt x="716" y="4"/>
                  </a:lnTo>
                  <a:lnTo>
                    <a:pt x="720" y="4"/>
                  </a:lnTo>
                  <a:lnTo>
                    <a:pt x="724" y="10"/>
                  </a:lnTo>
                  <a:lnTo>
                    <a:pt x="730" y="6"/>
                  </a:lnTo>
                  <a:lnTo>
                    <a:pt x="734" y="6"/>
                  </a:lnTo>
                  <a:lnTo>
                    <a:pt x="742" y="8"/>
                  </a:lnTo>
                  <a:lnTo>
                    <a:pt x="746" y="10"/>
                  </a:lnTo>
                  <a:lnTo>
                    <a:pt x="752" y="10"/>
                  </a:lnTo>
                  <a:lnTo>
                    <a:pt x="756" y="16"/>
                  </a:lnTo>
                  <a:lnTo>
                    <a:pt x="758" y="22"/>
                  </a:lnTo>
                  <a:lnTo>
                    <a:pt x="764" y="22"/>
                  </a:lnTo>
                  <a:lnTo>
                    <a:pt x="764" y="20"/>
                  </a:lnTo>
                  <a:lnTo>
                    <a:pt x="770" y="22"/>
                  </a:lnTo>
                  <a:lnTo>
                    <a:pt x="776" y="24"/>
                  </a:lnTo>
                  <a:lnTo>
                    <a:pt x="782" y="28"/>
                  </a:lnTo>
                  <a:lnTo>
                    <a:pt x="788" y="32"/>
                  </a:lnTo>
                  <a:lnTo>
                    <a:pt x="790" y="36"/>
                  </a:lnTo>
                  <a:lnTo>
                    <a:pt x="796" y="42"/>
                  </a:lnTo>
                  <a:lnTo>
                    <a:pt x="798" y="46"/>
                  </a:lnTo>
                  <a:lnTo>
                    <a:pt x="798" y="52"/>
                  </a:lnTo>
                  <a:lnTo>
                    <a:pt x="800" y="58"/>
                  </a:lnTo>
                  <a:lnTo>
                    <a:pt x="798" y="64"/>
                  </a:lnTo>
                  <a:lnTo>
                    <a:pt x="798" y="70"/>
                  </a:lnTo>
                  <a:lnTo>
                    <a:pt x="804" y="74"/>
                  </a:lnTo>
                  <a:lnTo>
                    <a:pt x="810" y="76"/>
                  </a:lnTo>
                  <a:lnTo>
                    <a:pt x="814" y="82"/>
                  </a:lnTo>
                  <a:lnTo>
                    <a:pt x="820" y="86"/>
                  </a:lnTo>
                  <a:lnTo>
                    <a:pt x="826" y="86"/>
                  </a:lnTo>
                  <a:lnTo>
                    <a:pt x="830" y="82"/>
                  </a:lnTo>
                  <a:lnTo>
                    <a:pt x="838" y="80"/>
                  </a:lnTo>
                  <a:lnTo>
                    <a:pt x="838" y="86"/>
                  </a:lnTo>
                  <a:lnTo>
                    <a:pt x="844" y="92"/>
                  </a:lnTo>
                  <a:lnTo>
                    <a:pt x="850" y="96"/>
                  </a:lnTo>
                  <a:lnTo>
                    <a:pt x="856" y="98"/>
                  </a:lnTo>
                  <a:lnTo>
                    <a:pt x="860" y="102"/>
                  </a:lnTo>
                  <a:lnTo>
                    <a:pt x="866" y="102"/>
                  </a:lnTo>
                  <a:lnTo>
                    <a:pt x="872" y="104"/>
                  </a:lnTo>
                  <a:lnTo>
                    <a:pt x="878" y="106"/>
                  </a:lnTo>
                  <a:lnTo>
                    <a:pt x="884" y="106"/>
                  </a:lnTo>
                  <a:lnTo>
                    <a:pt x="890" y="110"/>
                  </a:lnTo>
                  <a:lnTo>
                    <a:pt x="896" y="110"/>
                  </a:lnTo>
                  <a:lnTo>
                    <a:pt x="902" y="110"/>
                  </a:lnTo>
                  <a:lnTo>
                    <a:pt x="908" y="112"/>
                  </a:lnTo>
                  <a:lnTo>
                    <a:pt x="914" y="108"/>
                  </a:lnTo>
                  <a:lnTo>
                    <a:pt x="916" y="108"/>
                  </a:lnTo>
                  <a:lnTo>
                    <a:pt x="910" y="112"/>
                  </a:lnTo>
                  <a:lnTo>
                    <a:pt x="904" y="116"/>
                  </a:lnTo>
                  <a:lnTo>
                    <a:pt x="898" y="122"/>
                  </a:lnTo>
                  <a:lnTo>
                    <a:pt x="890" y="126"/>
                  </a:lnTo>
                  <a:lnTo>
                    <a:pt x="886" y="130"/>
                  </a:lnTo>
                  <a:lnTo>
                    <a:pt x="878" y="134"/>
                  </a:lnTo>
                  <a:lnTo>
                    <a:pt x="878" y="136"/>
                  </a:lnTo>
                  <a:lnTo>
                    <a:pt x="880" y="142"/>
                  </a:lnTo>
                  <a:lnTo>
                    <a:pt x="878" y="144"/>
                  </a:lnTo>
                  <a:lnTo>
                    <a:pt x="874" y="150"/>
                  </a:lnTo>
                  <a:lnTo>
                    <a:pt x="874" y="148"/>
                  </a:lnTo>
                  <a:lnTo>
                    <a:pt x="870" y="146"/>
                  </a:lnTo>
                  <a:lnTo>
                    <a:pt x="866" y="146"/>
                  </a:lnTo>
                  <a:lnTo>
                    <a:pt x="866" y="154"/>
                  </a:lnTo>
                  <a:lnTo>
                    <a:pt x="864" y="160"/>
                  </a:lnTo>
                  <a:lnTo>
                    <a:pt x="858" y="162"/>
                  </a:lnTo>
                  <a:lnTo>
                    <a:pt x="852" y="160"/>
                  </a:lnTo>
                  <a:lnTo>
                    <a:pt x="846" y="160"/>
                  </a:lnTo>
                  <a:lnTo>
                    <a:pt x="840" y="164"/>
                  </a:lnTo>
                  <a:lnTo>
                    <a:pt x="834" y="166"/>
                  </a:lnTo>
                  <a:lnTo>
                    <a:pt x="830" y="166"/>
                  </a:lnTo>
                  <a:lnTo>
                    <a:pt x="826" y="168"/>
                  </a:lnTo>
                  <a:lnTo>
                    <a:pt x="820" y="172"/>
                  </a:lnTo>
                  <a:lnTo>
                    <a:pt x="814" y="178"/>
                  </a:lnTo>
                  <a:lnTo>
                    <a:pt x="806" y="178"/>
                  </a:lnTo>
                  <a:lnTo>
                    <a:pt x="802" y="176"/>
                  </a:lnTo>
                  <a:lnTo>
                    <a:pt x="796" y="176"/>
                  </a:lnTo>
                  <a:lnTo>
                    <a:pt x="790" y="174"/>
                  </a:lnTo>
                  <a:lnTo>
                    <a:pt x="784" y="170"/>
                  </a:lnTo>
                  <a:lnTo>
                    <a:pt x="782" y="170"/>
                  </a:lnTo>
                  <a:lnTo>
                    <a:pt x="776" y="170"/>
                  </a:lnTo>
                  <a:lnTo>
                    <a:pt x="770" y="168"/>
                  </a:lnTo>
                  <a:lnTo>
                    <a:pt x="766" y="168"/>
                  </a:lnTo>
                  <a:lnTo>
                    <a:pt x="760" y="166"/>
                  </a:lnTo>
                  <a:lnTo>
                    <a:pt x="754" y="166"/>
                  </a:lnTo>
                  <a:lnTo>
                    <a:pt x="748" y="164"/>
                  </a:lnTo>
                  <a:lnTo>
                    <a:pt x="742" y="162"/>
                  </a:lnTo>
                  <a:lnTo>
                    <a:pt x="736" y="160"/>
                  </a:lnTo>
                  <a:lnTo>
                    <a:pt x="730" y="158"/>
                  </a:lnTo>
                  <a:lnTo>
                    <a:pt x="726" y="158"/>
                  </a:lnTo>
                  <a:lnTo>
                    <a:pt x="720" y="160"/>
                  </a:lnTo>
                  <a:lnTo>
                    <a:pt x="714" y="164"/>
                  </a:lnTo>
                  <a:lnTo>
                    <a:pt x="708" y="166"/>
                  </a:lnTo>
                  <a:lnTo>
                    <a:pt x="706" y="172"/>
                  </a:lnTo>
                  <a:lnTo>
                    <a:pt x="704" y="178"/>
                  </a:lnTo>
                  <a:lnTo>
                    <a:pt x="702" y="184"/>
                  </a:lnTo>
                  <a:lnTo>
                    <a:pt x="702" y="188"/>
                  </a:lnTo>
                  <a:lnTo>
                    <a:pt x="708" y="190"/>
                  </a:lnTo>
                  <a:lnTo>
                    <a:pt x="714" y="194"/>
                  </a:lnTo>
                  <a:lnTo>
                    <a:pt x="716" y="200"/>
                  </a:lnTo>
                  <a:lnTo>
                    <a:pt x="712" y="206"/>
                  </a:lnTo>
                  <a:lnTo>
                    <a:pt x="716" y="212"/>
                  </a:lnTo>
                  <a:lnTo>
                    <a:pt x="722" y="210"/>
                  </a:lnTo>
                  <a:lnTo>
                    <a:pt x="728" y="212"/>
                  </a:lnTo>
                  <a:lnTo>
                    <a:pt x="734" y="212"/>
                  </a:lnTo>
                  <a:lnTo>
                    <a:pt x="736" y="218"/>
                  </a:lnTo>
                  <a:lnTo>
                    <a:pt x="730" y="222"/>
                  </a:lnTo>
                  <a:lnTo>
                    <a:pt x="726" y="224"/>
                  </a:lnTo>
                  <a:lnTo>
                    <a:pt x="722" y="230"/>
                  </a:lnTo>
                  <a:lnTo>
                    <a:pt x="720" y="230"/>
                  </a:lnTo>
                  <a:lnTo>
                    <a:pt x="722" y="232"/>
                  </a:lnTo>
                  <a:lnTo>
                    <a:pt x="724" y="236"/>
                  </a:lnTo>
                  <a:lnTo>
                    <a:pt x="730" y="240"/>
                  </a:lnTo>
                  <a:lnTo>
                    <a:pt x="734" y="244"/>
                  </a:lnTo>
                  <a:lnTo>
                    <a:pt x="736" y="250"/>
                  </a:lnTo>
                  <a:lnTo>
                    <a:pt x="734" y="256"/>
                  </a:lnTo>
                  <a:lnTo>
                    <a:pt x="730" y="262"/>
                  </a:lnTo>
                  <a:lnTo>
                    <a:pt x="730" y="268"/>
                  </a:lnTo>
                  <a:lnTo>
                    <a:pt x="736" y="272"/>
                  </a:lnTo>
                  <a:lnTo>
                    <a:pt x="738" y="274"/>
                  </a:lnTo>
                  <a:lnTo>
                    <a:pt x="744" y="280"/>
                  </a:lnTo>
                  <a:lnTo>
                    <a:pt x="750" y="280"/>
                  </a:lnTo>
                  <a:lnTo>
                    <a:pt x="754" y="286"/>
                  </a:lnTo>
                  <a:lnTo>
                    <a:pt x="754" y="292"/>
                  </a:lnTo>
                  <a:lnTo>
                    <a:pt x="754" y="294"/>
                  </a:lnTo>
                  <a:lnTo>
                    <a:pt x="760" y="296"/>
                  </a:lnTo>
                  <a:lnTo>
                    <a:pt x="766" y="298"/>
                  </a:lnTo>
                  <a:lnTo>
                    <a:pt x="772" y="298"/>
                  </a:lnTo>
                  <a:lnTo>
                    <a:pt x="776" y="304"/>
                  </a:lnTo>
                  <a:lnTo>
                    <a:pt x="776" y="310"/>
                  </a:lnTo>
                  <a:lnTo>
                    <a:pt x="776" y="312"/>
                  </a:lnTo>
                  <a:lnTo>
                    <a:pt x="780" y="318"/>
                  </a:lnTo>
                  <a:lnTo>
                    <a:pt x="786" y="318"/>
                  </a:lnTo>
                  <a:lnTo>
                    <a:pt x="792" y="320"/>
                  </a:lnTo>
                  <a:lnTo>
                    <a:pt x="798" y="318"/>
                  </a:lnTo>
                  <a:lnTo>
                    <a:pt x="804" y="320"/>
                  </a:lnTo>
                  <a:lnTo>
                    <a:pt x="810" y="322"/>
                  </a:lnTo>
                  <a:lnTo>
                    <a:pt x="816" y="326"/>
                  </a:lnTo>
                  <a:lnTo>
                    <a:pt x="818" y="328"/>
                  </a:lnTo>
                  <a:lnTo>
                    <a:pt x="822" y="332"/>
                  </a:lnTo>
                  <a:lnTo>
                    <a:pt x="820" y="338"/>
                  </a:lnTo>
                  <a:lnTo>
                    <a:pt x="814" y="342"/>
                  </a:lnTo>
                  <a:lnTo>
                    <a:pt x="810" y="346"/>
                  </a:lnTo>
                  <a:lnTo>
                    <a:pt x="804" y="346"/>
                  </a:lnTo>
                  <a:lnTo>
                    <a:pt x="802" y="346"/>
                  </a:lnTo>
                  <a:lnTo>
                    <a:pt x="798" y="350"/>
                  </a:lnTo>
                  <a:lnTo>
                    <a:pt x="792" y="354"/>
                  </a:lnTo>
                  <a:lnTo>
                    <a:pt x="786" y="358"/>
                  </a:lnTo>
                  <a:lnTo>
                    <a:pt x="780" y="364"/>
                  </a:lnTo>
                  <a:lnTo>
                    <a:pt x="780" y="370"/>
                  </a:lnTo>
                  <a:lnTo>
                    <a:pt x="780" y="372"/>
                  </a:lnTo>
                  <a:lnTo>
                    <a:pt x="784" y="378"/>
                  </a:lnTo>
                  <a:lnTo>
                    <a:pt x="786" y="382"/>
                  </a:lnTo>
                  <a:lnTo>
                    <a:pt x="790" y="388"/>
                  </a:lnTo>
                  <a:lnTo>
                    <a:pt x="788" y="394"/>
                  </a:lnTo>
                  <a:lnTo>
                    <a:pt x="788" y="398"/>
                  </a:lnTo>
                  <a:lnTo>
                    <a:pt x="788" y="404"/>
                  </a:lnTo>
                  <a:lnTo>
                    <a:pt x="788" y="410"/>
                  </a:lnTo>
                  <a:lnTo>
                    <a:pt x="792" y="412"/>
                  </a:lnTo>
                  <a:lnTo>
                    <a:pt x="798" y="414"/>
                  </a:lnTo>
                  <a:lnTo>
                    <a:pt x="796" y="418"/>
                  </a:lnTo>
                  <a:lnTo>
                    <a:pt x="792" y="416"/>
                  </a:lnTo>
                  <a:lnTo>
                    <a:pt x="790" y="418"/>
                  </a:lnTo>
                  <a:lnTo>
                    <a:pt x="790" y="420"/>
                  </a:lnTo>
                  <a:lnTo>
                    <a:pt x="792" y="420"/>
                  </a:lnTo>
                  <a:lnTo>
                    <a:pt x="790" y="422"/>
                  </a:lnTo>
                  <a:lnTo>
                    <a:pt x="784" y="428"/>
                  </a:lnTo>
                  <a:lnTo>
                    <a:pt x="778" y="430"/>
                  </a:lnTo>
                  <a:lnTo>
                    <a:pt x="776" y="434"/>
                  </a:lnTo>
                  <a:lnTo>
                    <a:pt x="774" y="440"/>
                  </a:lnTo>
                  <a:lnTo>
                    <a:pt x="768" y="446"/>
                  </a:lnTo>
                  <a:lnTo>
                    <a:pt x="768" y="452"/>
                  </a:lnTo>
                  <a:lnTo>
                    <a:pt x="764" y="458"/>
                  </a:lnTo>
                  <a:lnTo>
                    <a:pt x="758" y="462"/>
                  </a:lnTo>
                  <a:lnTo>
                    <a:pt x="758" y="464"/>
                  </a:lnTo>
                  <a:lnTo>
                    <a:pt x="762" y="466"/>
                  </a:lnTo>
                  <a:lnTo>
                    <a:pt x="764" y="468"/>
                  </a:lnTo>
                  <a:lnTo>
                    <a:pt x="764" y="470"/>
                  </a:lnTo>
                  <a:lnTo>
                    <a:pt x="768" y="476"/>
                  </a:lnTo>
                  <a:lnTo>
                    <a:pt x="764" y="478"/>
                  </a:lnTo>
                  <a:lnTo>
                    <a:pt x="762" y="480"/>
                  </a:lnTo>
                  <a:lnTo>
                    <a:pt x="756" y="484"/>
                  </a:lnTo>
                  <a:lnTo>
                    <a:pt x="750" y="486"/>
                  </a:lnTo>
                  <a:lnTo>
                    <a:pt x="744" y="490"/>
                  </a:lnTo>
                  <a:lnTo>
                    <a:pt x="742" y="490"/>
                  </a:lnTo>
                  <a:lnTo>
                    <a:pt x="736" y="496"/>
                  </a:lnTo>
                  <a:lnTo>
                    <a:pt x="736" y="502"/>
                  </a:lnTo>
                  <a:lnTo>
                    <a:pt x="734" y="508"/>
                  </a:lnTo>
                  <a:lnTo>
                    <a:pt x="734" y="514"/>
                  </a:lnTo>
                  <a:lnTo>
                    <a:pt x="732" y="520"/>
                  </a:lnTo>
                  <a:lnTo>
                    <a:pt x="730" y="528"/>
                  </a:lnTo>
                  <a:lnTo>
                    <a:pt x="728" y="532"/>
                  </a:lnTo>
                  <a:lnTo>
                    <a:pt x="726" y="540"/>
                  </a:lnTo>
                  <a:lnTo>
                    <a:pt x="724" y="544"/>
                  </a:lnTo>
                  <a:lnTo>
                    <a:pt x="720" y="550"/>
                  </a:lnTo>
                  <a:lnTo>
                    <a:pt x="718" y="556"/>
                  </a:lnTo>
                  <a:lnTo>
                    <a:pt x="712" y="560"/>
                  </a:lnTo>
                  <a:lnTo>
                    <a:pt x="706" y="564"/>
                  </a:lnTo>
                  <a:lnTo>
                    <a:pt x="700" y="568"/>
                  </a:lnTo>
                  <a:lnTo>
                    <a:pt x="694" y="572"/>
                  </a:lnTo>
                  <a:lnTo>
                    <a:pt x="686" y="578"/>
                  </a:lnTo>
                  <a:lnTo>
                    <a:pt x="684" y="584"/>
                  </a:lnTo>
                  <a:lnTo>
                    <a:pt x="684" y="590"/>
                  </a:lnTo>
                  <a:lnTo>
                    <a:pt x="684" y="596"/>
                  </a:lnTo>
                  <a:lnTo>
                    <a:pt x="682" y="604"/>
                  </a:lnTo>
                  <a:lnTo>
                    <a:pt x="676" y="608"/>
                  </a:lnTo>
                  <a:lnTo>
                    <a:pt x="672" y="614"/>
                  </a:lnTo>
                  <a:lnTo>
                    <a:pt x="670" y="620"/>
                  </a:lnTo>
                  <a:lnTo>
                    <a:pt x="670" y="626"/>
                  </a:lnTo>
                  <a:lnTo>
                    <a:pt x="664" y="632"/>
                  </a:lnTo>
                  <a:lnTo>
                    <a:pt x="658" y="636"/>
                  </a:lnTo>
                  <a:lnTo>
                    <a:pt x="650" y="636"/>
                  </a:lnTo>
                  <a:lnTo>
                    <a:pt x="644" y="636"/>
                  </a:lnTo>
                  <a:lnTo>
                    <a:pt x="638" y="638"/>
                  </a:lnTo>
                  <a:lnTo>
                    <a:pt x="632" y="638"/>
                  </a:lnTo>
                  <a:lnTo>
                    <a:pt x="628" y="640"/>
                  </a:lnTo>
                  <a:lnTo>
                    <a:pt x="622" y="642"/>
                  </a:lnTo>
                  <a:lnTo>
                    <a:pt x="616" y="646"/>
                  </a:lnTo>
                  <a:lnTo>
                    <a:pt x="610" y="648"/>
                  </a:lnTo>
                  <a:lnTo>
                    <a:pt x="606" y="648"/>
                  </a:lnTo>
                  <a:lnTo>
                    <a:pt x="600" y="642"/>
                  </a:lnTo>
                  <a:lnTo>
                    <a:pt x="598" y="636"/>
                  </a:lnTo>
                  <a:lnTo>
                    <a:pt x="594" y="630"/>
                  </a:lnTo>
                  <a:lnTo>
                    <a:pt x="588" y="624"/>
                  </a:lnTo>
                  <a:lnTo>
                    <a:pt x="582" y="626"/>
                  </a:lnTo>
                  <a:lnTo>
                    <a:pt x="576" y="630"/>
                  </a:lnTo>
                  <a:lnTo>
                    <a:pt x="570" y="636"/>
                  </a:lnTo>
                  <a:lnTo>
                    <a:pt x="566" y="640"/>
                  </a:lnTo>
                  <a:lnTo>
                    <a:pt x="564" y="646"/>
                  </a:lnTo>
                  <a:lnTo>
                    <a:pt x="564" y="652"/>
                  </a:lnTo>
                  <a:lnTo>
                    <a:pt x="560" y="658"/>
                  </a:lnTo>
                  <a:lnTo>
                    <a:pt x="556" y="664"/>
                  </a:lnTo>
                  <a:lnTo>
                    <a:pt x="554" y="670"/>
                  </a:lnTo>
                  <a:lnTo>
                    <a:pt x="548" y="676"/>
                  </a:lnTo>
                  <a:lnTo>
                    <a:pt x="542" y="682"/>
                  </a:lnTo>
                  <a:lnTo>
                    <a:pt x="540" y="688"/>
                  </a:lnTo>
                  <a:lnTo>
                    <a:pt x="538" y="692"/>
                  </a:lnTo>
                  <a:lnTo>
                    <a:pt x="538" y="700"/>
                  </a:lnTo>
                  <a:lnTo>
                    <a:pt x="538" y="706"/>
                  </a:lnTo>
                  <a:lnTo>
                    <a:pt x="538" y="710"/>
                  </a:lnTo>
                  <a:lnTo>
                    <a:pt x="544" y="716"/>
                  </a:lnTo>
                  <a:lnTo>
                    <a:pt x="550" y="718"/>
                  </a:lnTo>
                  <a:lnTo>
                    <a:pt x="556" y="722"/>
                  </a:lnTo>
                  <a:lnTo>
                    <a:pt x="562" y="726"/>
                  </a:lnTo>
                  <a:lnTo>
                    <a:pt x="568" y="726"/>
                  </a:lnTo>
                  <a:lnTo>
                    <a:pt x="570" y="726"/>
                  </a:lnTo>
                  <a:lnTo>
                    <a:pt x="572" y="724"/>
                  </a:lnTo>
                  <a:lnTo>
                    <a:pt x="576" y="726"/>
                  </a:lnTo>
                  <a:lnTo>
                    <a:pt x="582" y="732"/>
                  </a:lnTo>
                  <a:lnTo>
                    <a:pt x="582" y="738"/>
                  </a:lnTo>
                  <a:lnTo>
                    <a:pt x="582" y="744"/>
                  </a:lnTo>
                  <a:lnTo>
                    <a:pt x="584" y="750"/>
                  </a:lnTo>
                  <a:lnTo>
                    <a:pt x="582" y="756"/>
                  </a:lnTo>
                  <a:lnTo>
                    <a:pt x="580" y="760"/>
                  </a:lnTo>
                  <a:lnTo>
                    <a:pt x="580" y="766"/>
                  </a:lnTo>
                  <a:lnTo>
                    <a:pt x="584" y="772"/>
                  </a:lnTo>
                  <a:lnTo>
                    <a:pt x="590" y="778"/>
                  </a:lnTo>
                  <a:lnTo>
                    <a:pt x="594" y="784"/>
                  </a:lnTo>
                  <a:lnTo>
                    <a:pt x="594" y="786"/>
                  </a:lnTo>
                  <a:lnTo>
                    <a:pt x="600" y="788"/>
                  </a:lnTo>
                  <a:lnTo>
                    <a:pt x="606" y="788"/>
                  </a:lnTo>
                  <a:lnTo>
                    <a:pt x="612" y="786"/>
                  </a:lnTo>
                  <a:lnTo>
                    <a:pt x="618" y="788"/>
                  </a:lnTo>
                  <a:lnTo>
                    <a:pt x="620" y="794"/>
                  </a:lnTo>
                  <a:lnTo>
                    <a:pt x="620" y="800"/>
                  </a:lnTo>
                  <a:lnTo>
                    <a:pt x="620" y="806"/>
                  </a:lnTo>
                  <a:lnTo>
                    <a:pt x="624" y="812"/>
                  </a:lnTo>
                  <a:lnTo>
                    <a:pt x="628" y="818"/>
                  </a:lnTo>
                  <a:lnTo>
                    <a:pt x="634" y="824"/>
                  </a:lnTo>
                  <a:lnTo>
                    <a:pt x="636" y="830"/>
                  </a:lnTo>
                  <a:lnTo>
                    <a:pt x="638" y="836"/>
                  </a:lnTo>
                  <a:lnTo>
                    <a:pt x="640" y="840"/>
                  </a:lnTo>
                  <a:lnTo>
                    <a:pt x="644" y="846"/>
                  </a:lnTo>
                  <a:lnTo>
                    <a:pt x="648" y="852"/>
                  </a:lnTo>
                  <a:lnTo>
                    <a:pt x="650" y="858"/>
                  </a:lnTo>
                  <a:lnTo>
                    <a:pt x="644" y="862"/>
                  </a:lnTo>
                  <a:lnTo>
                    <a:pt x="646" y="866"/>
                  </a:lnTo>
                  <a:lnTo>
                    <a:pt x="648" y="874"/>
                  </a:lnTo>
                  <a:lnTo>
                    <a:pt x="654" y="876"/>
                  </a:lnTo>
                  <a:lnTo>
                    <a:pt x="648" y="880"/>
                  </a:lnTo>
                  <a:lnTo>
                    <a:pt x="642" y="882"/>
                  </a:lnTo>
                  <a:lnTo>
                    <a:pt x="638" y="888"/>
                  </a:lnTo>
                  <a:lnTo>
                    <a:pt x="632" y="888"/>
                  </a:lnTo>
                  <a:lnTo>
                    <a:pt x="626" y="886"/>
                  </a:lnTo>
                  <a:lnTo>
                    <a:pt x="624" y="880"/>
                  </a:lnTo>
                  <a:lnTo>
                    <a:pt x="620" y="874"/>
                  </a:lnTo>
                  <a:lnTo>
                    <a:pt x="614" y="876"/>
                  </a:lnTo>
                  <a:lnTo>
                    <a:pt x="608" y="878"/>
                  </a:lnTo>
                  <a:lnTo>
                    <a:pt x="602" y="882"/>
                  </a:lnTo>
                  <a:lnTo>
                    <a:pt x="596" y="884"/>
                  </a:lnTo>
                  <a:lnTo>
                    <a:pt x="594" y="890"/>
                  </a:lnTo>
                  <a:lnTo>
                    <a:pt x="594" y="892"/>
                  </a:lnTo>
                  <a:lnTo>
                    <a:pt x="590" y="892"/>
                  </a:lnTo>
                  <a:lnTo>
                    <a:pt x="584" y="892"/>
                  </a:lnTo>
                  <a:lnTo>
                    <a:pt x="578" y="892"/>
                  </a:lnTo>
                  <a:lnTo>
                    <a:pt x="572" y="892"/>
                  </a:lnTo>
                  <a:lnTo>
                    <a:pt x="566" y="886"/>
                  </a:lnTo>
                  <a:lnTo>
                    <a:pt x="560" y="886"/>
                  </a:lnTo>
                  <a:lnTo>
                    <a:pt x="556" y="884"/>
                  </a:lnTo>
                  <a:lnTo>
                    <a:pt x="548" y="884"/>
                  </a:lnTo>
                  <a:lnTo>
                    <a:pt x="542" y="886"/>
                  </a:lnTo>
                  <a:lnTo>
                    <a:pt x="540" y="886"/>
                  </a:lnTo>
                  <a:lnTo>
                    <a:pt x="534" y="884"/>
                  </a:lnTo>
                  <a:lnTo>
                    <a:pt x="532" y="886"/>
                  </a:lnTo>
                  <a:lnTo>
                    <a:pt x="526" y="882"/>
                  </a:lnTo>
                  <a:lnTo>
                    <a:pt x="520" y="884"/>
                  </a:lnTo>
                  <a:lnTo>
                    <a:pt x="514" y="882"/>
                  </a:lnTo>
                  <a:lnTo>
                    <a:pt x="514" y="884"/>
                  </a:lnTo>
                  <a:lnTo>
                    <a:pt x="514" y="888"/>
                  </a:lnTo>
                  <a:lnTo>
                    <a:pt x="516" y="894"/>
                  </a:lnTo>
                  <a:lnTo>
                    <a:pt x="516" y="900"/>
                  </a:lnTo>
                  <a:lnTo>
                    <a:pt x="514" y="906"/>
                  </a:lnTo>
                  <a:lnTo>
                    <a:pt x="506" y="906"/>
                  </a:lnTo>
                  <a:lnTo>
                    <a:pt x="500" y="906"/>
                  </a:lnTo>
                  <a:lnTo>
                    <a:pt x="494" y="908"/>
                  </a:lnTo>
                  <a:lnTo>
                    <a:pt x="488" y="908"/>
                  </a:lnTo>
                  <a:lnTo>
                    <a:pt x="486" y="914"/>
                  </a:lnTo>
                  <a:lnTo>
                    <a:pt x="484" y="920"/>
                  </a:lnTo>
                  <a:lnTo>
                    <a:pt x="484" y="914"/>
                  </a:lnTo>
                  <a:lnTo>
                    <a:pt x="482" y="922"/>
                  </a:lnTo>
                  <a:lnTo>
                    <a:pt x="476" y="916"/>
                  </a:lnTo>
                  <a:lnTo>
                    <a:pt x="474" y="908"/>
                  </a:lnTo>
                  <a:lnTo>
                    <a:pt x="472" y="908"/>
                  </a:lnTo>
                  <a:lnTo>
                    <a:pt x="476" y="914"/>
                  </a:lnTo>
                  <a:lnTo>
                    <a:pt x="474" y="920"/>
                  </a:lnTo>
                  <a:lnTo>
                    <a:pt x="468" y="916"/>
                  </a:lnTo>
                  <a:lnTo>
                    <a:pt x="464" y="912"/>
                  </a:lnTo>
                  <a:lnTo>
                    <a:pt x="464" y="910"/>
                  </a:lnTo>
                  <a:lnTo>
                    <a:pt x="464" y="916"/>
                  </a:lnTo>
                  <a:lnTo>
                    <a:pt x="458" y="916"/>
                  </a:lnTo>
                  <a:lnTo>
                    <a:pt x="452" y="918"/>
                  </a:lnTo>
                  <a:lnTo>
                    <a:pt x="452" y="912"/>
                  </a:lnTo>
                  <a:lnTo>
                    <a:pt x="452" y="910"/>
                  </a:lnTo>
                  <a:lnTo>
                    <a:pt x="446" y="912"/>
                  </a:lnTo>
                  <a:lnTo>
                    <a:pt x="444" y="908"/>
                  </a:lnTo>
                  <a:lnTo>
                    <a:pt x="440" y="904"/>
                  </a:lnTo>
                  <a:lnTo>
                    <a:pt x="444" y="900"/>
                  </a:lnTo>
                  <a:lnTo>
                    <a:pt x="438" y="900"/>
                  </a:lnTo>
                  <a:lnTo>
                    <a:pt x="432" y="896"/>
                  </a:lnTo>
                  <a:lnTo>
                    <a:pt x="428" y="890"/>
                  </a:lnTo>
                  <a:lnTo>
                    <a:pt x="428" y="884"/>
                  </a:lnTo>
                  <a:lnTo>
                    <a:pt x="430" y="880"/>
                  </a:lnTo>
                  <a:lnTo>
                    <a:pt x="424" y="876"/>
                  </a:lnTo>
                  <a:lnTo>
                    <a:pt x="422" y="870"/>
                  </a:lnTo>
                  <a:lnTo>
                    <a:pt x="424" y="864"/>
                  </a:lnTo>
                  <a:lnTo>
                    <a:pt x="418" y="858"/>
                  </a:lnTo>
                  <a:lnTo>
                    <a:pt x="418" y="852"/>
                  </a:lnTo>
                  <a:lnTo>
                    <a:pt x="412" y="850"/>
                  </a:lnTo>
                  <a:lnTo>
                    <a:pt x="406" y="848"/>
                  </a:lnTo>
                  <a:lnTo>
                    <a:pt x="400" y="846"/>
                  </a:lnTo>
                  <a:lnTo>
                    <a:pt x="394" y="846"/>
                  </a:lnTo>
                  <a:lnTo>
                    <a:pt x="388" y="842"/>
                  </a:lnTo>
                  <a:lnTo>
                    <a:pt x="386" y="842"/>
                  </a:lnTo>
                  <a:lnTo>
                    <a:pt x="386" y="836"/>
                  </a:lnTo>
                  <a:lnTo>
                    <a:pt x="386" y="834"/>
                  </a:lnTo>
                  <a:lnTo>
                    <a:pt x="386" y="828"/>
                  </a:lnTo>
                  <a:lnTo>
                    <a:pt x="388" y="822"/>
                  </a:lnTo>
                  <a:lnTo>
                    <a:pt x="382" y="816"/>
                  </a:lnTo>
                  <a:lnTo>
                    <a:pt x="376" y="812"/>
                  </a:lnTo>
                  <a:lnTo>
                    <a:pt x="376" y="806"/>
                  </a:lnTo>
                  <a:lnTo>
                    <a:pt x="374" y="800"/>
                  </a:lnTo>
                  <a:lnTo>
                    <a:pt x="368" y="794"/>
                  </a:lnTo>
                  <a:lnTo>
                    <a:pt x="362" y="794"/>
                  </a:lnTo>
                  <a:lnTo>
                    <a:pt x="356" y="794"/>
                  </a:lnTo>
                  <a:lnTo>
                    <a:pt x="350" y="798"/>
                  </a:lnTo>
                  <a:lnTo>
                    <a:pt x="348" y="802"/>
                  </a:lnTo>
                  <a:lnTo>
                    <a:pt x="354" y="802"/>
                  </a:lnTo>
                  <a:lnTo>
                    <a:pt x="360" y="798"/>
                  </a:lnTo>
                  <a:lnTo>
                    <a:pt x="366" y="800"/>
                  </a:lnTo>
                  <a:lnTo>
                    <a:pt x="370" y="806"/>
                  </a:lnTo>
                  <a:lnTo>
                    <a:pt x="364" y="804"/>
                  </a:lnTo>
                  <a:lnTo>
                    <a:pt x="358" y="802"/>
                  </a:lnTo>
                  <a:lnTo>
                    <a:pt x="352" y="804"/>
                  </a:lnTo>
                  <a:lnTo>
                    <a:pt x="346" y="804"/>
                  </a:lnTo>
                  <a:lnTo>
                    <a:pt x="340" y="806"/>
                  </a:lnTo>
                  <a:lnTo>
                    <a:pt x="334" y="806"/>
                  </a:lnTo>
                  <a:lnTo>
                    <a:pt x="328" y="810"/>
                  </a:lnTo>
                  <a:lnTo>
                    <a:pt x="322" y="812"/>
                  </a:lnTo>
                  <a:lnTo>
                    <a:pt x="316" y="810"/>
                  </a:lnTo>
                  <a:lnTo>
                    <a:pt x="310" y="808"/>
                  </a:lnTo>
                  <a:lnTo>
                    <a:pt x="308" y="810"/>
                  </a:lnTo>
                  <a:lnTo>
                    <a:pt x="302" y="810"/>
                  </a:lnTo>
                  <a:lnTo>
                    <a:pt x="296" y="812"/>
                  </a:lnTo>
                  <a:lnTo>
                    <a:pt x="290" y="814"/>
                  </a:lnTo>
                  <a:lnTo>
                    <a:pt x="284" y="814"/>
                  </a:lnTo>
                  <a:lnTo>
                    <a:pt x="282" y="814"/>
                  </a:lnTo>
                  <a:lnTo>
                    <a:pt x="276" y="814"/>
                  </a:lnTo>
                  <a:lnTo>
                    <a:pt x="270" y="814"/>
                  </a:lnTo>
                  <a:lnTo>
                    <a:pt x="264" y="818"/>
                  </a:lnTo>
                  <a:lnTo>
                    <a:pt x="268" y="824"/>
                  </a:lnTo>
                  <a:lnTo>
                    <a:pt x="262" y="824"/>
                  </a:lnTo>
                  <a:lnTo>
                    <a:pt x="260" y="818"/>
                  </a:lnTo>
                  <a:lnTo>
                    <a:pt x="254" y="820"/>
                  </a:lnTo>
                  <a:lnTo>
                    <a:pt x="248" y="816"/>
                  </a:lnTo>
                  <a:lnTo>
                    <a:pt x="242" y="816"/>
                  </a:lnTo>
                  <a:lnTo>
                    <a:pt x="236" y="814"/>
                  </a:lnTo>
                  <a:lnTo>
                    <a:pt x="230" y="810"/>
                  </a:lnTo>
                  <a:lnTo>
                    <a:pt x="230" y="804"/>
                  </a:lnTo>
                  <a:lnTo>
                    <a:pt x="222" y="806"/>
                  </a:lnTo>
                  <a:lnTo>
                    <a:pt x="226" y="812"/>
                  </a:lnTo>
                  <a:lnTo>
                    <a:pt x="222" y="812"/>
                  </a:lnTo>
                  <a:lnTo>
                    <a:pt x="214" y="810"/>
                  </a:lnTo>
                  <a:lnTo>
                    <a:pt x="208" y="808"/>
                  </a:lnTo>
                  <a:lnTo>
                    <a:pt x="204" y="810"/>
                  </a:lnTo>
                  <a:lnTo>
                    <a:pt x="196" y="812"/>
                  </a:lnTo>
                  <a:lnTo>
                    <a:pt x="194" y="816"/>
                  </a:lnTo>
                  <a:lnTo>
                    <a:pt x="194" y="822"/>
                  </a:lnTo>
                  <a:lnTo>
                    <a:pt x="188" y="820"/>
                  </a:lnTo>
                  <a:lnTo>
                    <a:pt x="182" y="820"/>
                  </a:lnTo>
                  <a:lnTo>
                    <a:pt x="176" y="818"/>
                  </a:lnTo>
                  <a:lnTo>
                    <a:pt x="170" y="820"/>
                  </a:lnTo>
                  <a:lnTo>
                    <a:pt x="164" y="820"/>
                  </a:lnTo>
                  <a:lnTo>
                    <a:pt x="158" y="820"/>
                  </a:lnTo>
                  <a:lnTo>
                    <a:pt x="152" y="818"/>
                  </a:lnTo>
                  <a:lnTo>
                    <a:pt x="146" y="818"/>
                  </a:lnTo>
                  <a:lnTo>
                    <a:pt x="140" y="818"/>
                  </a:lnTo>
                  <a:lnTo>
                    <a:pt x="134" y="820"/>
                  </a:lnTo>
                  <a:lnTo>
                    <a:pt x="128" y="824"/>
                  </a:lnTo>
                  <a:lnTo>
                    <a:pt x="130" y="828"/>
                  </a:lnTo>
                  <a:lnTo>
                    <a:pt x="124" y="828"/>
                  </a:lnTo>
                  <a:lnTo>
                    <a:pt x="124" y="822"/>
                  </a:lnTo>
                  <a:lnTo>
                    <a:pt x="118" y="820"/>
                  </a:lnTo>
                  <a:lnTo>
                    <a:pt x="112" y="822"/>
                  </a:lnTo>
                  <a:lnTo>
                    <a:pt x="110" y="828"/>
                  </a:lnTo>
                  <a:lnTo>
                    <a:pt x="104" y="828"/>
                  </a:lnTo>
                  <a:lnTo>
                    <a:pt x="98" y="832"/>
                  </a:lnTo>
                  <a:lnTo>
                    <a:pt x="92" y="830"/>
                  </a:lnTo>
                  <a:lnTo>
                    <a:pt x="92" y="828"/>
                  </a:lnTo>
                  <a:lnTo>
                    <a:pt x="88" y="822"/>
                  </a:lnTo>
                  <a:lnTo>
                    <a:pt x="84" y="822"/>
                  </a:lnTo>
                  <a:lnTo>
                    <a:pt x="84" y="816"/>
                  </a:lnTo>
                  <a:lnTo>
                    <a:pt x="84" y="810"/>
                  </a:lnTo>
                  <a:lnTo>
                    <a:pt x="84" y="802"/>
                  </a:lnTo>
                  <a:lnTo>
                    <a:pt x="84" y="798"/>
                  </a:lnTo>
                  <a:lnTo>
                    <a:pt x="84" y="792"/>
                  </a:lnTo>
                  <a:lnTo>
                    <a:pt x="84" y="786"/>
                  </a:lnTo>
                  <a:lnTo>
                    <a:pt x="84" y="780"/>
                  </a:lnTo>
                  <a:lnTo>
                    <a:pt x="88" y="774"/>
                  </a:lnTo>
                  <a:lnTo>
                    <a:pt x="88" y="768"/>
                  </a:lnTo>
                  <a:lnTo>
                    <a:pt x="90" y="762"/>
                  </a:lnTo>
                  <a:lnTo>
                    <a:pt x="88" y="760"/>
                  </a:lnTo>
                  <a:lnTo>
                    <a:pt x="90" y="754"/>
                  </a:lnTo>
                  <a:lnTo>
                    <a:pt x="92" y="748"/>
                  </a:lnTo>
                  <a:lnTo>
                    <a:pt x="98" y="748"/>
                  </a:lnTo>
                  <a:lnTo>
                    <a:pt x="104" y="744"/>
                  </a:lnTo>
                  <a:lnTo>
                    <a:pt x="110" y="740"/>
                  </a:lnTo>
                  <a:lnTo>
                    <a:pt x="114" y="742"/>
                  </a:lnTo>
                  <a:lnTo>
                    <a:pt x="114" y="736"/>
                  </a:lnTo>
                  <a:lnTo>
                    <a:pt x="116" y="730"/>
                  </a:lnTo>
                  <a:lnTo>
                    <a:pt x="122" y="728"/>
                  </a:lnTo>
                  <a:lnTo>
                    <a:pt x="128" y="726"/>
                  </a:lnTo>
                  <a:lnTo>
                    <a:pt x="134" y="726"/>
                  </a:lnTo>
                  <a:lnTo>
                    <a:pt x="140" y="724"/>
                  </a:lnTo>
                  <a:lnTo>
                    <a:pt x="144" y="722"/>
                  </a:lnTo>
                  <a:lnTo>
                    <a:pt x="150" y="722"/>
                  </a:lnTo>
                  <a:lnTo>
                    <a:pt x="158" y="722"/>
                  </a:lnTo>
                  <a:lnTo>
                    <a:pt x="164" y="722"/>
                  </a:lnTo>
                  <a:lnTo>
                    <a:pt x="166" y="716"/>
                  </a:lnTo>
                  <a:lnTo>
                    <a:pt x="166" y="710"/>
                  </a:lnTo>
                  <a:lnTo>
                    <a:pt x="170" y="704"/>
                  </a:lnTo>
                  <a:lnTo>
                    <a:pt x="168" y="698"/>
                  </a:lnTo>
                  <a:lnTo>
                    <a:pt x="166" y="696"/>
                  </a:lnTo>
                  <a:lnTo>
                    <a:pt x="168" y="690"/>
                  </a:lnTo>
                  <a:lnTo>
                    <a:pt x="168" y="688"/>
                  </a:lnTo>
                  <a:lnTo>
                    <a:pt x="170" y="688"/>
                  </a:lnTo>
                  <a:lnTo>
                    <a:pt x="170" y="686"/>
                  </a:lnTo>
                  <a:lnTo>
                    <a:pt x="164" y="680"/>
                  </a:lnTo>
                  <a:lnTo>
                    <a:pt x="158" y="680"/>
                  </a:lnTo>
                  <a:lnTo>
                    <a:pt x="154" y="680"/>
                  </a:lnTo>
                  <a:lnTo>
                    <a:pt x="146" y="682"/>
                  </a:lnTo>
                  <a:lnTo>
                    <a:pt x="140" y="680"/>
                  </a:lnTo>
                  <a:lnTo>
                    <a:pt x="138" y="674"/>
                  </a:lnTo>
                  <a:lnTo>
                    <a:pt x="138" y="668"/>
                  </a:lnTo>
                  <a:lnTo>
                    <a:pt x="138" y="662"/>
                  </a:lnTo>
                  <a:lnTo>
                    <a:pt x="136" y="656"/>
                  </a:lnTo>
                  <a:lnTo>
                    <a:pt x="136" y="650"/>
                  </a:lnTo>
                  <a:lnTo>
                    <a:pt x="136" y="644"/>
                  </a:lnTo>
                  <a:lnTo>
                    <a:pt x="132" y="638"/>
                  </a:lnTo>
                  <a:lnTo>
                    <a:pt x="130" y="632"/>
                  </a:lnTo>
                  <a:lnTo>
                    <a:pt x="130" y="626"/>
                  </a:lnTo>
                  <a:lnTo>
                    <a:pt x="130" y="624"/>
                  </a:lnTo>
                  <a:lnTo>
                    <a:pt x="130" y="618"/>
                  </a:lnTo>
                  <a:lnTo>
                    <a:pt x="130" y="616"/>
                  </a:lnTo>
                  <a:lnTo>
                    <a:pt x="128" y="612"/>
                  </a:lnTo>
                  <a:lnTo>
                    <a:pt x="124" y="610"/>
                  </a:lnTo>
                  <a:lnTo>
                    <a:pt x="120" y="612"/>
                  </a:lnTo>
                  <a:lnTo>
                    <a:pt x="114" y="608"/>
                  </a:lnTo>
                  <a:lnTo>
                    <a:pt x="108" y="602"/>
                  </a:lnTo>
                  <a:lnTo>
                    <a:pt x="102" y="598"/>
                  </a:lnTo>
                  <a:lnTo>
                    <a:pt x="96" y="596"/>
                  </a:lnTo>
                  <a:lnTo>
                    <a:pt x="90" y="594"/>
                  </a:lnTo>
                  <a:lnTo>
                    <a:pt x="84" y="594"/>
                  </a:lnTo>
                  <a:lnTo>
                    <a:pt x="78" y="590"/>
                  </a:lnTo>
                  <a:lnTo>
                    <a:pt x="72" y="586"/>
                  </a:lnTo>
                  <a:lnTo>
                    <a:pt x="66" y="582"/>
                  </a:lnTo>
                  <a:lnTo>
                    <a:pt x="60" y="576"/>
                  </a:lnTo>
                  <a:lnTo>
                    <a:pt x="56" y="570"/>
                  </a:lnTo>
                  <a:lnTo>
                    <a:pt x="52" y="564"/>
                  </a:lnTo>
                  <a:lnTo>
                    <a:pt x="50" y="560"/>
                  </a:lnTo>
                  <a:lnTo>
                    <a:pt x="48" y="558"/>
                  </a:lnTo>
                  <a:lnTo>
                    <a:pt x="46" y="552"/>
                  </a:lnTo>
                  <a:lnTo>
                    <a:pt x="40" y="548"/>
                  </a:lnTo>
                  <a:lnTo>
                    <a:pt x="38" y="542"/>
                  </a:lnTo>
                  <a:lnTo>
                    <a:pt x="36" y="536"/>
                  </a:lnTo>
                  <a:lnTo>
                    <a:pt x="30" y="528"/>
                  </a:lnTo>
                  <a:lnTo>
                    <a:pt x="24" y="522"/>
                  </a:lnTo>
                  <a:lnTo>
                    <a:pt x="18" y="516"/>
                  </a:lnTo>
                  <a:lnTo>
                    <a:pt x="14" y="510"/>
                  </a:lnTo>
                  <a:lnTo>
                    <a:pt x="8" y="506"/>
                  </a:lnTo>
                  <a:lnTo>
                    <a:pt x="2" y="500"/>
                  </a:lnTo>
                  <a:lnTo>
                    <a:pt x="0" y="4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6" name="Freeform 103"/>
            <p:cNvSpPr>
              <a:spLocks/>
            </p:cNvSpPr>
            <p:nvPr/>
          </p:nvSpPr>
          <p:spPr bwMode="auto">
            <a:xfrm>
              <a:off x="5943600" y="2730500"/>
              <a:ext cx="1281113" cy="938213"/>
            </a:xfrm>
            <a:custGeom>
              <a:avLst/>
              <a:gdLst>
                <a:gd name="T0" fmla="*/ 2147483647 w 3144"/>
                <a:gd name="T1" fmla="*/ 2147483647 h 2280"/>
                <a:gd name="T2" fmla="*/ 2147483647 w 3144"/>
                <a:gd name="T3" fmla="*/ 2147483647 h 2280"/>
                <a:gd name="T4" fmla="*/ 2147483647 w 3144"/>
                <a:gd name="T5" fmla="*/ 2147483647 h 2280"/>
                <a:gd name="T6" fmla="*/ 2147483647 w 3144"/>
                <a:gd name="T7" fmla="*/ 2147483647 h 2280"/>
                <a:gd name="T8" fmla="*/ 2147483647 w 3144"/>
                <a:gd name="T9" fmla="*/ 2147483647 h 2280"/>
                <a:gd name="T10" fmla="*/ 2147483647 w 3144"/>
                <a:gd name="T11" fmla="*/ 2147483647 h 2280"/>
                <a:gd name="T12" fmla="*/ 2147483647 w 3144"/>
                <a:gd name="T13" fmla="*/ 2147483647 h 2280"/>
                <a:gd name="T14" fmla="*/ 2147483647 w 3144"/>
                <a:gd name="T15" fmla="*/ 2147483647 h 2280"/>
                <a:gd name="T16" fmla="*/ 2147483647 w 3144"/>
                <a:gd name="T17" fmla="*/ 2147483647 h 2280"/>
                <a:gd name="T18" fmla="*/ 2147483647 w 3144"/>
                <a:gd name="T19" fmla="*/ 2147483647 h 2280"/>
                <a:gd name="T20" fmla="*/ 2147483647 w 3144"/>
                <a:gd name="T21" fmla="*/ 2147483647 h 2280"/>
                <a:gd name="T22" fmla="*/ 2147483647 w 3144"/>
                <a:gd name="T23" fmla="*/ 2147483647 h 2280"/>
                <a:gd name="T24" fmla="*/ 2147483647 w 3144"/>
                <a:gd name="T25" fmla="*/ 2147483647 h 2280"/>
                <a:gd name="T26" fmla="*/ 2147483647 w 3144"/>
                <a:gd name="T27" fmla="*/ 2147483647 h 2280"/>
                <a:gd name="T28" fmla="*/ 2147483647 w 3144"/>
                <a:gd name="T29" fmla="*/ 2147483647 h 2280"/>
                <a:gd name="T30" fmla="*/ 2147483647 w 3144"/>
                <a:gd name="T31" fmla="*/ 2147483647 h 2280"/>
                <a:gd name="T32" fmla="*/ 2147483647 w 3144"/>
                <a:gd name="T33" fmla="*/ 2147483647 h 2280"/>
                <a:gd name="T34" fmla="*/ 2147483647 w 3144"/>
                <a:gd name="T35" fmla="*/ 2147483647 h 2280"/>
                <a:gd name="T36" fmla="*/ 2147483647 w 3144"/>
                <a:gd name="T37" fmla="*/ 2147483647 h 2280"/>
                <a:gd name="T38" fmla="*/ 2147483647 w 3144"/>
                <a:gd name="T39" fmla="*/ 2147483647 h 2280"/>
                <a:gd name="T40" fmla="*/ 2147483647 w 3144"/>
                <a:gd name="T41" fmla="*/ 2147483647 h 2280"/>
                <a:gd name="T42" fmla="*/ 2147483647 w 3144"/>
                <a:gd name="T43" fmla="*/ 2147483647 h 2280"/>
                <a:gd name="T44" fmla="*/ 2147483647 w 3144"/>
                <a:gd name="T45" fmla="*/ 2147483647 h 2280"/>
                <a:gd name="T46" fmla="*/ 2147483647 w 3144"/>
                <a:gd name="T47" fmla="*/ 2147483647 h 2280"/>
                <a:gd name="T48" fmla="*/ 2147483647 w 3144"/>
                <a:gd name="T49" fmla="*/ 2147483647 h 2280"/>
                <a:gd name="T50" fmla="*/ 2147483647 w 3144"/>
                <a:gd name="T51" fmla="*/ 2147483647 h 2280"/>
                <a:gd name="T52" fmla="*/ 2147483647 w 3144"/>
                <a:gd name="T53" fmla="*/ 2147483647 h 2280"/>
                <a:gd name="T54" fmla="*/ 2147483647 w 3144"/>
                <a:gd name="T55" fmla="*/ 2147483647 h 2280"/>
                <a:gd name="T56" fmla="*/ 2147483647 w 3144"/>
                <a:gd name="T57" fmla="*/ 2147483647 h 2280"/>
                <a:gd name="T58" fmla="*/ 2147483647 w 3144"/>
                <a:gd name="T59" fmla="*/ 2147483647 h 2280"/>
                <a:gd name="T60" fmla="*/ 2147483647 w 3144"/>
                <a:gd name="T61" fmla="*/ 2147483647 h 2280"/>
                <a:gd name="T62" fmla="*/ 2147483647 w 3144"/>
                <a:gd name="T63" fmla="*/ 2147483647 h 2280"/>
                <a:gd name="T64" fmla="*/ 2147483647 w 3144"/>
                <a:gd name="T65" fmla="*/ 2147483647 h 2280"/>
                <a:gd name="T66" fmla="*/ 2147483647 w 3144"/>
                <a:gd name="T67" fmla="*/ 2147483647 h 2280"/>
                <a:gd name="T68" fmla="*/ 2147483647 w 3144"/>
                <a:gd name="T69" fmla="*/ 2147483647 h 2280"/>
                <a:gd name="T70" fmla="*/ 2147483647 w 3144"/>
                <a:gd name="T71" fmla="*/ 2147483647 h 2280"/>
                <a:gd name="T72" fmla="*/ 2147483647 w 3144"/>
                <a:gd name="T73" fmla="*/ 2147483647 h 2280"/>
                <a:gd name="T74" fmla="*/ 2147483647 w 3144"/>
                <a:gd name="T75" fmla="*/ 2147483647 h 2280"/>
                <a:gd name="T76" fmla="*/ 2147483647 w 3144"/>
                <a:gd name="T77" fmla="*/ 2147483647 h 2280"/>
                <a:gd name="T78" fmla="*/ 2147483647 w 3144"/>
                <a:gd name="T79" fmla="*/ 2147483647 h 2280"/>
                <a:gd name="T80" fmla="*/ 2147483647 w 3144"/>
                <a:gd name="T81" fmla="*/ 2147483647 h 2280"/>
                <a:gd name="T82" fmla="*/ 2147483647 w 3144"/>
                <a:gd name="T83" fmla="*/ 2147483647 h 2280"/>
                <a:gd name="T84" fmla="*/ 2147483647 w 3144"/>
                <a:gd name="T85" fmla="*/ 2147483647 h 2280"/>
                <a:gd name="T86" fmla="*/ 2147483647 w 3144"/>
                <a:gd name="T87" fmla="*/ 2147483647 h 2280"/>
                <a:gd name="T88" fmla="*/ 2147483647 w 3144"/>
                <a:gd name="T89" fmla="*/ 2147483647 h 2280"/>
                <a:gd name="T90" fmla="*/ 2147483647 w 3144"/>
                <a:gd name="T91" fmla="*/ 2147483647 h 2280"/>
                <a:gd name="T92" fmla="*/ 2147483647 w 3144"/>
                <a:gd name="T93" fmla="*/ 2147483647 h 2280"/>
                <a:gd name="T94" fmla="*/ 2147483647 w 3144"/>
                <a:gd name="T95" fmla="*/ 2147483647 h 2280"/>
                <a:gd name="T96" fmla="*/ 2147483647 w 3144"/>
                <a:gd name="T97" fmla="*/ 2147483647 h 2280"/>
                <a:gd name="T98" fmla="*/ 2147483647 w 3144"/>
                <a:gd name="T99" fmla="*/ 2147483647 h 2280"/>
                <a:gd name="T100" fmla="*/ 2147483647 w 3144"/>
                <a:gd name="T101" fmla="*/ 2147483647 h 2280"/>
                <a:gd name="T102" fmla="*/ 2147483647 w 3144"/>
                <a:gd name="T103" fmla="*/ 2147483647 h 2280"/>
                <a:gd name="T104" fmla="*/ 2147483647 w 3144"/>
                <a:gd name="T105" fmla="*/ 2147483647 h 2280"/>
                <a:gd name="T106" fmla="*/ 2147483647 w 3144"/>
                <a:gd name="T107" fmla="*/ 2147483647 h 2280"/>
                <a:gd name="T108" fmla="*/ 2147483647 w 3144"/>
                <a:gd name="T109" fmla="*/ 2147483647 h 2280"/>
                <a:gd name="T110" fmla="*/ 2147483647 w 3144"/>
                <a:gd name="T111" fmla="*/ 2147483647 h 2280"/>
                <a:gd name="T112" fmla="*/ 2147483647 w 3144"/>
                <a:gd name="T113" fmla="*/ 2147483647 h 2280"/>
                <a:gd name="T114" fmla="*/ 2147483647 w 3144"/>
                <a:gd name="T115" fmla="*/ 2147483647 h 2280"/>
                <a:gd name="T116" fmla="*/ 2147483647 w 3144"/>
                <a:gd name="T117" fmla="*/ 2147483647 h 2280"/>
                <a:gd name="T118" fmla="*/ 2147483647 w 3144"/>
                <a:gd name="T119" fmla="*/ 2147483647 h 2280"/>
                <a:gd name="T120" fmla="*/ 2147483647 w 3144"/>
                <a:gd name="T121" fmla="*/ 2147483647 h 2280"/>
                <a:gd name="T122" fmla="*/ 2147483647 w 3144"/>
                <a:gd name="T123" fmla="*/ 2147483647 h 22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44"/>
                <a:gd name="T187" fmla="*/ 0 h 2280"/>
                <a:gd name="T188" fmla="*/ 3144 w 3144"/>
                <a:gd name="T189" fmla="*/ 2280 h 22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44" h="2280">
                  <a:moveTo>
                    <a:pt x="0" y="952"/>
                  </a:moveTo>
                  <a:lnTo>
                    <a:pt x="6" y="952"/>
                  </a:lnTo>
                  <a:lnTo>
                    <a:pt x="12" y="948"/>
                  </a:lnTo>
                  <a:lnTo>
                    <a:pt x="16" y="942"/>
                  </a:lnTo>
                  <a:lnTo>
                    <a:pt x="14" y="940"/>
                  </a:lnTo>
                  <a:lnTo>
                    <a:pt x="10" y="932"/>
                  </a:lnTo>
                  <a:lnTo>
                    <a:pt x="4" y="928"/>
                  </a:lnTo>
                  <a:lnTo>
                    <a:pt x="8" y="922"/>
                  </a:lnTo>
                  <a:lnTo>
                    <a:pt x="10" y="916"/>
                  </a:lnTo>
                  <a:lnTo>
                    <a:pt x="10" y="914"/>
                  </a:lnTo>
                  <a:lnTo>
                    <a:pt x="16" y="910"/>
                  </a:lnTo>
                  <a:lnTo>
                    <a:pt x="22" y="906"/>
                  </a:lnTo>
                  <a:lnTo>
                    <a:pt x="28" y="908"/>
                  </a:lnTo>
                  <a:lnTo>
                    <a:pt x="34" y="904"/>
                  </a:lnTo>
                  <a:lnTo>
                    <a:pt x="38" y="898"/>
                  </a:lnTo>
                  <a:lnTo>
                    <a:pt x="44" y="892"/>
                  </a:lnTo>
                  <a:lnTo>
                    <a:pt x="50" y="892"/>
                  </a:lnTo>
                  <a:lnTo>
                    <a:pt x="48" y="886"/>
                  </a:lnTo>
                  <a:lnTo>
                    <a:pt x="48" y="880"/>
                  </a:lnTo>
                  <a:lnTo>
                    <a:pt x="56" y="880"/>
                  </a:lnTo>
                  <a:lnTo>
                    <a:pt x="58" y="882"/>
                  </a:lnTo>
                  <a:lnTo>
                    <a:pt x="64" y="882"/>
                  </a:lnTo>
                  <a:lnTo>
                    <a:pt x="70" y="884"/>
                  </a:lnTo>
                  <a:lnTo>
                    <a:pt x="76" y="878"/>
                  </a:lnTo>
                  <a:lnTo>
                    <a:pt x="78" y="876"/>
                  </a:lnTo>
                  <a:lnTo>
                    <a:pt x="86" y="872"/>
                  </a:lnTo>
                  <a:lnTo>
                    <a:pt x="90" y="872"/>
                  </a:lnTo>
                  <a:lnTo>
                    <a:pt x="94" y="880"/>
                  </a:lnTo>
                  <a:lnTo>
                    <a:pt x="98" y="886"/>
                  </a:lnTo>
                  <a:lnTo>
                    <a:pt x="98" y="890"/>
                  </a:lnTo>
                  <a:lnTo>
                    <a:pt x="104" y="892"/>
                  </a:lnTo>
                  <a:lnTo>
                    <a:pt x="110" y="894"/>
                  </a:lnTo>
                  <a:lnTo>
                    <a:pt x="116" y="888"/>
                  </a:lnTo>
                  <a:lnTo>
                    <a:pt x="122" y="888"/>
                  </a:lnTo>
                  <a:lnTo>
                    <a:pt x="128" y="886"/>
                  </a:lnTo>
                  <a:lnTo>
                    <a:pt x="134" y="888"/>
                  </a:lnTo>
                  <a:lnTo>
                    <a:pt x="140" y="886"/>
                  </a:lnTo>
                  <a:lnTo>
                    <a:pt x="144" y="880"/>
                  </a:lnTo>
                  <a:lnTo>
                    <a:pt x="144" y="876"/>
                  </a:lnTo>
                  <a:lnTo>
                    <a:pt x="146" y="870"/>
                  </a:lnTo>
                  <a:lnTo>
                    <a:pt x="146" y="864"/>
                  </a:lnTo>
                  <a:lnTo>
                    <a:pt x="148" y="858"/>
                  </a:lnTo>
                  <a:lnTo>
                    <a:pt x="152" y="854"/>
                  </a:lnTo>
                  <a:lnTo>
                    <a:pt x="150" y="848"/>
                  </a:lnTo>
                  <a:lnTo>
                    <a:pt x="156" y="844"/>
                  </a:lnTo>
                  <a:lnTo>
                    <a:pt x="162" y="842"/>
                  </a:lnTo>
                  <a:lnTo>
                    <a:pt x="168" y="844"/>
                  </a:lnTo>
                  <a:lnTo>
                    <a:pt x="174" y="844"/>
                  </a:lnTo>
                  <a:lnTo>
                    <a:pt x="180" y="844"/>
                  </a:lnTo>
                  <a:lnTo>
                    <a:pt x="186" y="846"/>
                  </a:lnTo>
                  <a:lnTo>
                    <a:pt x="192" y="846"/>
                  </a:lnTo>
                  <a:lnTo>
                    <a:pt x="198" y="846"/>
                  </a:lnTo>
                  <a:lnTo>
                    <a:pt x="204" y="842"/>
                  </a:lnTo>
                  <a:lnTo>
                    <a:pt x="210" y="840"/>
                  </a:lnTo>
                  <a:lnTo>
                    <a:pt x="216" y="842"/>
                  </a:lnTo>
                  <a:lnTo>
                    <a:pt x="220" y="842"/>
                  </a:lnTo>
                  <a:lnTo>
                    <a:pt x="226" y="836"/>
                  </a:lnTo>
                  <a:lnTo>
                    <a:pt x="226" y="834"/>
                  </a:lnTo>
                  <a:lnTo>
                    <a:pt x="230" y="828"/>
                  </a:lnTo>
                  <a:lnTo>
                    <a:pt x="230" y="822"/>
                  </a:lnTo>
                  <a:lnTo>
                    <a:pt x="234" y="816"/>
                  </a:lnTo>
                  <a:lnTo>
                    <a:pt x="242" y="814"/>
                  </a:lnTo>
                  <a:lnTo>
                    <a:pt x="248" y="806"/>
                  </a:lnTo>
                  <a:lnTo>
                    <a:pt x="254" y="804"/>
                  </a:lnTo>
                  <a:lnTo>
                    <a:pt x="260" y="800"/>
                  </a:lnTo>
                  <a:lnTo>
                    <a:pt x="264" y="796"/>
                  </a:lnTo>
                  <a:lnTo>
                    <a:pt x="270" y="794"/>
                  </a:lnTo>
                  <a:lnTo>
                    <a:pt x="276" y="792"/>
                  </a:lnTo>
                  <a:lnTo>
                    <a:pt x="282" y="790"/>
                  </a:lnTo>
                  <a:lnTo>
                    <a:pt x="288" y="788"/>
                  </a:lnTo>
                  <a:lnTo>
                    <a:pt x="294" y="784"/>
                  </a:lnTo>
                  <a:lnTo>
                    <a:pt x="298" y="780"/>
                  </a:lnTo>
                  <a:lnTo>
                    <a:pt x="304" y="776"/>
                  </a:lnTo>
                  <a:lnTo>
                    <a:pt x="306" y="774"/>
                  </a:lnTo>
                  <a:lnTo>
                    <a:pt x="312" y="776"/>
                  </a:lnTo>
                  <a:lnTo>
                    <a:pt x="318" y="776"/>
                  </a:lnTo>
                  <a:lnTo>
                    <a:pt x="320" y="768"/>
                  </a:lnTo>
                  <a:lnTo>
                    <a:pt x="316" y="764"/>
                  </a:lnTo>
                  <a:lnTo>
                    <a:pt x="316" y="758"/>
                  </a:lnTo>
                  <a:lnTo>
                    <a:pt x="316" y="756"/>
                  </a:lnTo>
                  <a:lnTo>
                    <a:pt x="312" y="750"/>
                  </a:lnTo>
                  <a:lnTo>
                    <a:pt x="310" y="744"/>
                  </a:lnTo>
                  <a:lnTo>
                    <a:pt x="306" y="738"/>
                  </a:lnTo>
                  <a:lnTo>
                    <a:pt x="302" y="732"/>
                  </a:lnTo>
                  <a:lnTo>
                    <a:pt x="304" y="726"/>
                  </a:lnTo>
                  <a:lnTo>
                    <a:pt x="304" y="720"/>
                  </a:lnTo>
                  <a:lnTo>
                    <a:pt x="310" y="720"/>
                  </a:lnTo>
                  <a:lnTo>
                    <a:pt x="316" y="718"/>
                  </a:lnTo>
                  <a:lnTo>
                    <a:pt x="320" y="716"/>
                  </a:lnTo>
                  <a:lnTo>
                    <a:pt x="314" y="712"/>
                  </a:lnTo>
                  <a:lnTo>
                    <a:pt x="308" y="710"/>
                  </a:lnTo>
                  <a:lnTo>
                    <a:pt x="312" y="704"/>
                  </a:lnTo>
                  <a:lnTo>
                    <a:pt x="318" y="698"/>
                  </a:lnTo>
                  <a:lnTo>
                    <a:pt x="324" y="702"/>
                  </a:lnTo>
                  <a:lnTo>
                    <a:pt x="326" y="696"/>
                  </a:lnTo>
                  <a:lnTo>
                    <a:pt x="322" y="690"/>
                  </a:lnTo>
                  <a:lnTo>
                    <a:pt x="316" y="686"/>
                  </a:lnTo>
                  <a:lnTo>
                    <a:pt x="316" y="682"/>
                  </a:lnTo>
                  <a:lnTo>
                    <a:pt x="314" y="676"/>
                  </a:lnTo>
                  <a:lnTo>
                    <a:pt x="310" y="670"/>
                  </a:lnTo>
                  <a:lnTo>
                    <a:pt x="306" y="664"/>
                  </a:lnTo>
                  <a:lnTo>
                    <a:pt x="300" y="656"/>
                  </a:lnTo>
                  <a:lnTo>
                    <a:pt x="298" y="652"/>
                  </a:lnTo>
                  <a:lnTo>
                    <a:pt x="294" y="646"/>
                  </a:lnTo>
                  <a:lnTo>
                    <a:pt x="288" y="640"/>
                  </a:lnTo>
                  <a:lnTo>
                    <a:pt x="284" y="636"/>
                  </a:lnTo>
                  <a:lnTo>
                    <a:pt x="280" y="630"/>
                  </a:lnTo>
                  <a:lnTo>
                    <a:pt x="280" y="628"/>
                  </a:lnTo>
                  <a:lnTo>
                    <a:pt x="280" y="622"/>
                  </a:lnTo>
                  <a:lnTo>
                    <a:pt x="276" y="616"/>
                  </a:lnTo>
                  <a:lnTo>
                    <a:pt x="272" y="610"/>
                  </a:lnTo>
                  <a:lnTo>
                    <a:pt x="272" y="604"/>
                  </a:lnTo>
                  <a:lnTo>
                    <a:pt x="272" y="598"/>
                  </a:lnTo>
                  <a:lnTo>
                    <a:pt x="276" y="592"/>
                  </a:lnTo>
                  <a:lnTo>
                    <a:pt x="270" y="588"/>
                  </a:lnTo>
                  <a:lnTo>
                    <a:pt x="264" y="586"/>
                  </a:lnTo>
                  <a:lnTo>
                    <a:pt x="258" y="584"/>
                  </a:lnTo>
                  <a:lnTo>
                    <a:pt x="250" y="584"/>
                  </a:lnTo>
                  <a:lnTo>
                    <a:pt x="248" y="586"/>
                  </a:lnTo>
                  <a:lnTo>
                    <a:pt x="244" y="586"/>
                  </a:lnTo>
                  <a:lnTo>
                    <a:pt x="238" y="582"/>
                  </a:lnTo>
                  <a:lnTo>
                    <a:pt x="238" y="576"/>
                  </a:lnTo>
                  <a:lnTo>
                    <a:pt x="240" y="574"/>
                  </a:lnTo>
                  <a:lnTo>
                    <a:pt x="242" y="572"/>
                  </a:lnTo>
                  <a:lnTo>
                    <a:pt x="248" y="570"/>
                  </a:lnTo>
                  <a:lnTo>
                    <a:pt x="254" y="568"/>
                  </a:lnTo>
                  <a:lnTo>
                    <a:pt x="260" y="568"/>
                  </a:lnTo>
                  <a:lnTo>
                    <a:pt x="266" y="564"/>
                  </a:lnTo>
                  <a:lnTo>
                    <a:pt x="272" y="564"/>
                  </a:lnTo>
                  <a:lnTo>
                    <a:pt x="278" y="562"/>
                  </a:lnTo>
                  <a:lnTo>
                    <a:pt x="284" y="564"/>
                  </a:lnTo>
                  <a:lnTo>
                    <a:pt x="290" y="560"/>
                  </a:lnTo>
                  <a:lnTo>
                    <a:pt x="296" y="560"/>
                  </a:lnTo>
                  <a:lnTo>
                    <a:pt x="302" y="556"/>
                  </a:lnTo>
                  <a:lnTo>
                    <a:pt x="308" y="554"/>
                  </a:lnTo>
                  <a:lnTo>
                    <a:pt x="314" y="554"/>
                  </a:lnTo>
                  <a:lnTo>
                    <a:pt x="320" y="550"/>
                  </a:lnTo>
                  <a:lnTo>
                    <a:pt x="326" y="548"/>
                  </a:lnTo>
                  <a:lnTo>
                    <a:pt x="332" y="552"/>
                  </a:lnTo>
                  <a:lnTo>
                    <a:pt x="334" y="558"/>
                  </a:lnTo>
                  <a:lnTo>
                    <a:pt x="340" y="560"/>
                  </a:lnTo>
                  <a:lnTo>
                    <a:pt x="346" y="562"/>
                  </a:lnTo>
                  <a:lnTo>
                    <a:pt x="352" y="558"/>
                  </a:lnTo>
                  <a:lnTo>
                    <a:pt x="358" y="556"/>
                  </a:lnTo>
                  <a:lnTo>
                    <a:pt x="364" y="558"/>
                  </a:lnTo>
                  <a:lnTo>
                    <a:pt x="370" y="562"/>
                  </a:lnTo>
                  <a:lnTo>
                    <a:pt x="376" y="564"/>
                  </a:lnTo>
                  <a:lnTo>
                    <a:pt x="378" y="560"/>
                  </a:lnTo>
                  <a:lnTo>
                    <a:pt x="378" y="558"/>
                  </a:lnTo>
                  <a:lnTo>
                    <a:pt x="378" y="552"/>
                  </a:lnTo>
                  <a:lnTo>
                    <a:pt x="376" y="546"/>
                  </a:lnTo>
                  <a:lnTo>
                    <a:pt x="370" y="540"/>
                  </a:lnTo>
                  <a:lnTo>
                    <a:pt x="364" y="540"/>
                  </a:lnTo>
                  <a:lnTo>
                    <a:pt x="358" y="538"/>
                  </a:lnTo>
                  <a:lnTo>
                    <a:pt x="354" y="534"/>
                  </a:lnTo>
                  <a:lnTo>
                    <a:pt x="354" y="530"/>
                  </a:lnTo>
                  <a:lnTo>
                    <a:pt x="354" y="522"/>
                  </a:lnTo>
                  <a:lnTo>
                    <a:pt x="356" y="516"/>
                  </a:lnTo>
                  <a:lnTo>
                    <a:pt x="356" y="512"/>
                  </a:lnTo>
                  <a:lnTo>
                    <a:pt x="356" y="506"/>
                  </a:lnTo>
                  <a:lnTo>
                    <a:pt x="354" y="500"/>
                  </a:lnTo>
                  <a:lnTo>
                    <a:pt x="352" y="494"/>
                  </a:lnTo>
                  <a:lnTo>
                    <a:pt x="354" y="488"/>
                  </a:lnTo>
                  <a:lnTo>
                    <a:pt x="356" y="482"/>
                  </a:lnTo>
                  <a:lnTo>
                    <a:pt x="354" y="476"/>
                  </a:lnTo>
                  <a:lnTo>
                    <a:pt x="356" y="472"/>
                  </a:lnTo>
                  <a:lnTo>
                    <a:pt x="354" y="466"/>
                  </a:lnTo>
                  <a:lnTo>
                    <a:pt x="354" y="460"/>
                  </a:lnTo>
                  <a:lnTo>
                    <a:pt x="354" y="456"/>
                  </a:lnTo>
                  <a:lnTo>
                    <a:pt x="354" y="450"/>
                  </a:lnTo>
                  <a:lnTo>
                    <a:pt x="356" y="444"/>
                  </a:lnTo>
                  <a:lnTo>
                    <a:pt x="356" y="438"/>
                  </a:lnTo>
                  <a:lnTo>
                    <a:pt x="356" y="432"/>
                  </a:lnTo>
                  <a:lnTo>
                    <a:pt x="354" y="426"/>
                  </a:lnTo>
                  <a:lnTo>
                    <a:pt x="360" y="422"/>
                  </a:lnTo>
                  <a:lnTo>
                    <a:pt x="366" y="424"/>
                  </a:lnTo>
                  <a:lnTo>
                    <a:pt x="372" y="426"/>
                  </a:lnTo>
                  <a:lnTo>
                    <a:pt x="378" y="428"/>
                  </a:lnTo>
                  <a:lnTo>
                    <a:pt x="384" y="432"/>
                  </a:lnTo>
                  <a:lnTo>
                    <a:pt x="390" y="434"/>
                  </a:lnTo>
                  <a:lnTo>
                    <a:pt x="396" y="434"/>
                  </a:lnTo>
                  <a:lnTo>
                    <a:pt x="402" y="436"/>
                  </a:lnTo>
                  <a:lnTo>
                    <a:pt x="408" y="438"/>
                  </a:lnTo>
                  <a:lnTo>
                    <a:pt x="414" y="438"/>
                  </a:lnTo>
                  <a:lnTo>
                    <a:pt x="420" y="436"/>
                  </a:lnTo>
                  <a:lnTo>
                    <a:pt x="424" y="436"/>
                  </a:lnTo>
                  <a:lnTo>
                    <a:pt x="430" y="436"/>
                  </a:lnTo>
                  <a:lnTo>
                    <a:pt x="436" y="438"/>
                  </a:lnTo>
                  <a:lnTo>
                    <a:pt x="442" y="436"/>
                  </a:lnTo>
                  <a:lnTo>
                    <a:pt x="448" y="438"/>
                  </a:lnTo>
                  <a:lnTo>
                    <a:pt x="454" y="442"/>
                  </a:lnTo>
                  <a:lnTo>
                    <a:pt x="460" y="446"/>
                  </a:lnTo>
                  <a:lnTo>
                    <a:pt x="466" y="442"/>
                  </a:lnTo>
                  <a:lnTo>
                    <a:pt x="472" y="438"/>
                  </a:lnTo>
                  <a:lnTo>
                    <a:pt x="478" y="432"/>
                  </a:lnTo>
                  <a:lnTo>
                    <a:pt x="484" y="432"/>
                  </a:lnTo>
                  <a:lnTo>
                    <a:pt x="490" y="432"/>
                  </a:lnTo>
                  <a:lnTo>
                    <a:pt x="490" y="428"/>
                  </a:lnTo>
                  <a:lnTo>
                    <a:pt x="496" y="422"/>
                  </a:lnTo>
                  <a:lnTo>
                    <a:pt x="494" y="416"/>
                  </a:lnTo>
                  <a:lnTo>
                    <a:pt x="492" y="410"/>
                  </a:lnTo>
                  <a:lnTo>
                    <a:pt x="486" y="404"/>
                  </a:lnTo>
                  <a:lnTo>
                    <a:pt x="484" y="402"/>
                  </a:lnTo>
                  <a:lnTo>
                    <a:pt x="482" y="398"/>
                  </a:lnTo>
                  <a:lnTo>
                    <a:pt x="480" y="390"/>
                  </a:lnTo>
                  <a:lnTo>
                    <a:pt x="476" y="384"/>
                  </a:lnTo>
                  <a:lnTo>
                    <a:pt x="472" y="378"/>
                  </a:lnTo>
                  <a:lnTo>
                    <a:pt x="468" y="372"/>
                  </a:lnTo>
                  <a:lnTo>
                    <a:pt x="468" y="370"/>
                  </a:lnTo>
                  <a:lnTo>
                    <a:pt x="468" y="368"/>
                  </a:lnTo>
                  <a:lnTo>
                    <a:pt x="468" y="364"/>
                  </a:lnTo>
                  <a:lnTo>
                    <a:pt x="466" y="358"/>
                  </a:lnTo>
                  <a:lnTo>
                    <a:pt x="468" y="352"/>
                  </a:lnTo>
                  <a:lnTo>
                    <a:pt x="468" y="346"/>
                  </a:lnTo>
                  <a:lnTo>
                    <a:pt x="474" y="340"/>
                  </a:lnTo>
                  <a:lnTo>
                    <a:pt x="480" y="340"/>
                  </a:lnTo>
                  <a:lnTo>
                    <a:pt x="486" y="340"/>
                  </a:lnTo>
                  <a:lnTo>
                    <a:pt x="492" y="340"/>
                  </a:lnTo>
                  <a:lnTo>
                    <a:pt x="498" y="334"/>
                  </a:lnTo>
                  <a:lnTo>
                    <a:pt x="504" y="334"/>
                  </a:lnTo>
                  <a:lnTo>
                    <a:pt x="508" y="330"/>
                  </a:lnTo>
                  <a:lnTo>
                    <a:pt x="512" y="324"/>
                  </a:lnTo>
                  <a:lnTo>
                    <a:pt x="512" y="318"/>
                  </a:lnTo>
                  <a:lnTo>
                    <a:pt x="512" y="312"/>
                  </a:lnTo>
                  <a:lnTo>
                    <a:pt x="506" y="308"/>
                  </a:lnTo>
                  <a:lnTo>
                    <a:pt x="504" y="300"/>
                  </a:lnTo>
                  <a:lnTo>
                    <a:pt x="508" y="296"/>
                  </a:lnTo>
                  <a:lnTo>
                    <a:pt x="514" y="294"/>
                  </a:lnTo>
                  <a:lnTo>
                    <a:pt x="520" y="292"/>
                  </a:lnTo>
                  <a:lnTo>
                    <a:pt x="526" y="294"/>
                  </a:lnTo>
                  <a:lnTo>
                    <a:pt x="532" y="294"/>
                  </a:lnTo>
                  <a:lnTo>
                    <a:pt x="534" y="296"/>
                  </a:lnTo>
                  <a:lnTo>
                    <a:pt x="540" y="296"/>
                  </a:lnTo>
                  <a:lnTo>
                    <a:pt x="546" y="292"/>
                  </a:lnTo>
                  <a:lnTo>
                    <a:pt x="552" y="290"/>
                  </a:lnTo>
                  <a:lnTo>
                    <a:pt x="558" y="290"/>
                  </a:lnTo>
                  <a:lnTo>
                    <a:pt x="562" y="296"/>
                  </a:lnTo>
                  <a:lnTo>
                    <a:pt x="566" y="302"/>
                  </a:lnTo>
                  <a:lnTo>
                    <a:pt x="562" y="308"/>
                  </a:lnTo>
                  <a:lnTo>
                    <a:pt x="568" y="314"/>
                  </a:lnTo>
                  <a:lnTo>
                    <a:pt x="572" y="318"/>
                  </a:lnTo>
                  <a:lnTo>
                    <a:pt x="578" y="318"/>
                  </a:lnTo>
                  <a:lnTo>
                    <a:pt x="586" y="322"/>
                  </a:lnTo>
                  <a:lnTo>
                    <a:pt x="580" y="328"/>
                  </a:lnTo>
                  <a:lnTo>
                    <a:pt x="586" y="332"/>
                  </a:lnTo>
                  <a:lnTo>
                    <a:pt x="592" y="334"/>
                  </a:lnTo>
                  <a:lnTo>
                    <a:pt x="598" y="334"/>
                  </a:lnTo>
                  <a:lnTo>
                    <a:pt x="604" y="338"/>
                  </a:lnTo>
                  <a:lnTo>
                    <a:pt x="610" y="342"/>
                  </a:lnTo>
                  <a:lnTo>
                    <a:pt x="616" y="342"/>
                  </a:lnTo>
                  <a:lnTo>
                    <a:pt x="622" y="348"/>
                  </a:lnTo>
                  <a:lnTo>
                    <a:pt x="626" y="354"/>
                  </a:lnTo>
                  <a:lnTo>
                    <a:pt x="632" y="356"/>
                  </a:lnTo>
                  <a:lnTo>
                    <a:pt x="638" y="360"/>
                  </a:lnTo>
                  <a:lnTo>
                    <a:pt x="644" y="360"/>
                  </a:lnTo>
                  <a:lnTo>
                    <a:pt x="650" y="364"/>
                  </a:lnTo>
                  <a:lnTo>
                    <a:pt x="656" y="368"/>
                  </a:lnTo>
                  <a:lnTo>
                    <a:pt x="662" y="370"/>
                  </a:lnTo>
                  <a:lnTo>
                    <a:pt x="666" y="370"/>
                  </a:lnTo>
                  <a:lnTo>
                    <a:pt x="672" y="366"/>
                  </a:lnTo>
                  <a:lnTo>
                    <a:pt x="678" y="366"/>
                  </a:lnTo>
                  <a:lnTo>
                    <a:pt x="684" y="368"/>
                  </a:lnTo>
                  <a:lnTo>
                    <a:pt x="690" y="374"/>
                  </a:lnTo>
                  <a:lnTo>
                    <a:pt x="696" y="376"/>
                  </a:lnTo>
                  <a:lnTo>
                    <a:pt x="702" y="380"/>
                  </a:lnTo>
                  <a:lnTo>
                    <a:pt x="708" y="380"/>
                  </a:lnTo>
                  <a:lnTo>
                    <a:pt x="710" y="376"/>
                  </a:lnTo>
                  <a:lnTo>
                    <a:pt x="716" y="380"/>
                  </a:lnTo>
                  <a:lnTo>
                    <a:pt x="720" y="386"/>
                  </a:lnTo>
                  <a:lnTo>
                    <a:pt x="724" y="388"/>
                  </a:lnTo>
                  <a:lnTo>
                    <a:pt x="730" y="390"/>
                  </a:lnTo>
                  <a:lnTo>
                    <a:pt x="736" y="392"/>
                  </a:lnTo>
                  <a:lnTo>
                    <a:pt x="740" y="398"/>
                  </a:lnTo>
                  <a:lnTo>
                    <a:pt x="746" y="404"/>
                  </a:lnTo>
                  <a:lnTo>
                    <a:pt x="750" y="410"/>
                  </a:lnTo>
                  <a:lnTo>
                    <a:pt x="752" y="416"/>
                  </a:lnTo>
                  <a:lnTo>
                    <a:pt x="758" y="420"/>
                  </a:lnTo>
                  <a:lnTo>
                    <a:pt x="764" y="426"/>
                  </a:lnTo>
                  <a:lnTo>
                    <a:pt x="770" y="432"/>
                  </a:lnTo>
                  <a:lnTo>
                    <a:pt x="776" y="436"/>
                  </a:lnTo>
                  <a:lnTo>
                    <a:pt x="782" y="438"/>
                  </a:lnTo>
                  <a:lnTo>
                    <a:pt x="788" y="444"/>
                  </a:lnTo>
                  <a:lnTo>
                    <a:pt x="792" y="448"/>
                  </a:lnTo>
                  <a:lnTo>
                    <a:pt x="796" y="454"/>
                  </a:lnTo>
                  <a:lnTo>
                    <a:pt x="800" y="458"/>
                  </a:lnTo>
                  <a:lnTo>
                    <a:pt x="804" y="464"/>
                  </a:lnTo>
                  <a:lnTo>
                    <a:pt x="804" y="470"/>
                  </a:lnTo>
                  <a:lnTo>
                    <a:pt x="804" y="476"/>
                  </a:lnTo>
                  <a:lnTo>
                    <a:pt x="804" y="482"/>
                  </a:lnTo>
                  <a:lnTo>
                    <a:pt x="808" y="488"/>
                  </a:lnTo>
                  <a:lnTo>
                    <a:pt x="812" y="494"/>
                  </a:lnTo>
                  <a:lnTo>
                    <a:pt x="814" y="496"/>
                  </a:lnTo>
                  <a:lnTo>
                    <a:pt x="814" y="498"/>
                  </a:lnTo>
                  <a:lnTo>
                    <a:pt x="816" y="504"/>
                  </a:lnTo>
                  <a:lnTo>
                    <a:pt x="812" y="510"/>
                  </a:lnTo>
                  <a:lnTo>
                    <a:pt x="810" y="516"/>
                  </a:lnTo>
                  <a:lnTo>
                    <a:pt x="808" y="520"/>
                  </a:lnTo>
                  <a:lnTo>
                    <a:pt x="810" y="526"/>
                  </a:lnTo>
                  <a:lnTo>
                    <a:pt x="810" y="532"/>
                  </a:lnTo>
                  <a:lnTo>
                    <a:pt x="812" y="538"/>
                  </a:lnTo>
                  <a:lnTo>
                    <a:pt x="814" y="538"/>
                  </a:lnTo>
                  <a:lnTo>
                    <a:pt x="818" y="542"/>
                  </a:lnTo>
                  <a:lnTo>
                    <a:pt x="824" y="548"/>
                  </a:lnTo>
                  <a:lnTo>
                    <a:pt x="830" y="554"/>
                  </a:lnTo>
                  <a:lnTo>
                    <a:pt x="836" y="558"/>
                  </a:lnTo>
                  <a:lnTo>
                    <a:pt x="840" y="558"/>
                  </a:lnTo>
                  <a:lnTo>
                    <a:pt x="848" y="560"/>
                  </a:lnTo>
                  <a:lnTo>
                    <a:pt x="852" y="562"/>
                  </a:lnTo>
                  <a:lnTo>
                    <a:pt x="858" y="564"/>
                  </a:lnTo>
                  <a:lnTo>
                    <a:pt x="864" y="562"/>
                  </a:lnTo>
                  <a:lnTo>
                    <a:pt x="870" y="566"/>
                  </a:lnTo>
                  <a:lnTo>
                    <a:pt x="876" y="566"/>
                  </a:lnTo>
                  <a:lnTo>
                    <a:pt x="882" y="566"/>
                  </a:lnTo>
                  <a:lnTo>
                    <a:pt x="888" y="568"/>
                  </a:lnTo>
                  <a:lnTo>
                    <a:pt x="894" y="568"/>
                  </a:lnTo>
                  <a:lnTo>
                    <a:pt x="900" y="566"/>
                  </a:lnTo>
                  <a:lnTo>
                    <a:pt x="906" y="568"/>
                  </a:lnTo>
                  <a:lnTo>
                    <a:pt x="912" y="570"/>
                  </a:lnTo>
                  <a:lnTo>
                    <a:pt x="918" y="572"/>
                  </a:lnTo>
                  <a:lnTo>
                    <a:pt x="924" y="572"/>
                  </a:lnTo>
                  <a:lnTo>
                    <a:pt x="928" y="570"/>
                  </a:lnTo>
                  <a:lnTo>
                    <a:pt x="936" y="570"/>
                  </a:lnTo>
                  <a:lnTo>
                    <a:pt x="940" y="570"/>
                  </a:lnTo>
                  <a:lnTo>
                    <a:pt x="946" y="570"/>
                  </a:lnTo>
                  <a:lnTo>
                    <a:pt x="952" y="572"/>
                  </a:lnTo>
                  <a:lnTo>
                    <a:pt x="958" y="572"/>
                  </a:lnTo>
                  <a:lnTo>
                    <a:pt x="964" y="572"/>
                  </a:lnTo>
                  <a:lnTo>
                    <a:pt x="966" y="572"/>
                  </a:lnTo>
                  <a:lnTo>
                    <a:pt x="970" y="572"/>
                  </a:lnTo>
                  <a:lnTo>
                    <a:pt x="976" y="574"/>
                  </a:lnTo>
                  <a:lnTo>
                    <a:pt x="984" y="574"/>
                  </a:lnTo>
                  <a:lnTo>
                    <a:pt x="990" y="576"/>
                  </a:lnTo>
                  <a:lnTo>
                    <a:pt x="996" y="580"/>
                  </a:lnTo>
                  <a:lnTo>
                    <a:pt x="1000" y="584"/>
                  </a:lnTo>
                  <a:lnTo>
                    <a:pt x="1008" y="588"/>
                  </a:lnTo>
                  <a:lnTo>
                    <a:pt x="1014" y="594"/>
                  </a:lnTo>
                  <a:lnTo>
                    <a:pt x="1022" y="596"/>
                  </a:lnTo>
                  <a:lnTo>
                    <a:pt x="1028" y="596"/>
                  </a:lnTo>
                  <a:lnTo>
                    <a:pt x="1034" y="600"/>
                  </a:lnTo>
                  <a:lnTo>
                    <a:pt x="1040" y="604"/>
                  </a:lnTo>
                  <a:lnTo>
                    <a:pt x="1046" y="606"/>
                  </a:lnTo>
                  <a:lnTo>
                    <a:pt x="1052" y="608"/>
                  </a:lnTo>
                  <a:lnTo>
                    <a:pt x="1058" y="612"/>
                  </a:lnTo>
                  <a:lnTo>
                    <a:pt x="1064" y="616"/>
                  </a:lnTo>
                  <a:lnTo>
                    <a:pt x="1070" y="618"/>
                  </a:lnTo>
                  <a:lnTo>
                    <a:pt x="1076" y="620"/>
                  </a:lnTo>
                  <a:lnTo>
                    <a:pt x="1082" y="622"/>
                  </a:lnTo>
                  <a:lnTo>
                    <a:pt x="1088" y="622"/>
                  </a:lnTo>
                  <a:lnTo>
                    <a:pt x="1094" y="622"/>
                  </a:lnTo>
                  <a:lnTo>
                    <a:pt x="1100" y="620"/>
                  </a:lnTo>
                  <a:lnTo>
                    <a:pt x="1106" y="622"/>
                  </a:lnTo>
                  <a:lnTo>
                    <a:pt x="1104" y="628"/>
                  </a:lnTo>
                  <a:lnTo>
                    <a:pt x="1106" y="634"/>
                  </a:lnTo>
                  <a:lnTo>
                    <a:pt x="1108" y="640"/>
                  </a:lnTo>
                  <a:lnTo>
                    <a:pt x="1114" y="640"/>
                  </a:lnTo>
                  <a:lnTo>
                    <a:pt x="1120" y="642"/>
                  </a:lnTo>
                  <a:lnTo>
                    <a:pt x="1126" y="648"/>
                  </a:lnTo>
                  <a:lnTo>
                    <a:pt x="1132" y="654"/>
                  </a:lnTo>
                  <a:lnTo>
                    <a:pt x="1136" y="660"/>
                  </a:lnTo>
                  <a:lnTo>
                    <a:pt x="1140" y="666"/>
                  </a:lnTo>
                  <a:lnTo>
                    <a:pt x="1146" y="672"/>
                  </a:lnTo>
                  <a:lnTo>
                    <a:pt x="1152" y="678"/>
                  </a:lnTo>
                  <a:lnTo>
                    <a:pt x="1156" y="684"/>
                  </a:lnTo>
                  <a:lnTo>
                    <a:pt x="1158" y="690"/>
                  </a:lnTo>
                  <a:lnTo>
                    <a:pt x="1164" y="694"/>
                  </a:lnTo>
                  <a:lnTo>
                    <a:pt x="1170" y="698"/>
                  </a:lnTo>
                  <a:lnTo>
                    <a:pt x="1176" y="702"/>
                  </a:lnTo>
                  <a:lnTo>
                    <a:pt x="1182" y="706"/>
                  </a:lnTo>
                  <a:lnTo>
                    <a:pt x="1188" y="710"/>
                  </a:lnTo>
                  <a:lnTo>
                    <a:pt x="1194" y="714"/>
                  </a:lnTo>
                  <a:lnTo>
                    <a:pt x="1198" y="720"/>
                  </a:lnTo>
                  <a:lnTo>
                    <a:pt x="1202" y="728"/>
                  </a:lnTo>
                  <a:lnTo>
                    <a:pt x="1208" y="726"/>
                  </a:lnTo>
                  <a:lnTo>
                    <a:pt x="1214" y="726"/>
                  </a:lnTo>
                  <a:lnTo>
                    <a:pt x="1220" y="726"/>
                  </a:lnTo>
                  <a:lnTo>
                    <a:pt x="1226" y="724"/>
                  </a:lnTo>
                  <a:lnTo>
                    <a:pt x="1232" y="724"/>
                  </a:lnTo>
                  <a:lnTo>
                    <a:pt x="1238" y="724"/>
                  </a:lnTo>
                  <a:lnTo>
                    <a:pt x="1244" y="722"/>
                  </a:lnTo>
                  <a:lnTo>
                    <a:pt x="1250" y="724"/>
                  </a:lnTo>
                  <a:lnTo>
                    <a:pt x="1256" y="724"/>
                  </a:lnTo>
                  <a:lnTo>
                    <a:pt x="1262" y="726"/>
                  </a:lnTo>
                  <a:lnTo>
                    <a:pt x="1268" y="726"/>
                  </a:lnTo>
                  <a:lnTo>
                    <a:pt x="1274" y="728"/>
                  </a:lnTo>
                  <a:lnTo>
                    <a:pt x="1280" y="728"/>
                  </a:lnTo>
                  <a:lnTo>
                    <a:pt x="1284" y="728"/>
                  </a:lnTo>
                  <a:lnTo>
                    <a:pt x="1290" y="730"/>
                  </a:lnTo>
                  <a:lnTo>
                    <a:pt x="1296" y="732"/>
                  </a:lnTo>
                  <a:lnTo>
                    <a:pt x="1302" y="732"/>
                  </a:lnTo>
                  <a:lnTo>
                    <a:pt x="1308" y="732"/>
                  </a:lnTo>
                  <a:lnTo>
                    <a:pt x="1314" y="734"/>
                  </a:lnTo>
                  <a:lnTo>
                    <a:pt x="1322" y="734"/>
                  </a:lnTo>
                  <a:lnTo>
                    <a:pt x="1328" y="734"/>
                  </a:lnTo>
                  <a:lnTo>
                    <a:pt x="1334" y="734"/>
                  </a:lnTo>
                  <a:lnTo>
                    <a:pt x="1340" y="736"/>
                  </a:lnTo>
                  <a:lnTo>
                    <a:pt x="1346" y="736"/>
                  </a:lnTo>
                  <a:lnTo>
                    <a:pt x="1354" y="736"/>
                  </a:lnTo>
                  <a:lnTo>
                    <a:pt x="1360" y="736"/>
                  </a:lnTo>
                  <a:lnTo>
                    <a:pt x="1366" y="736"/>
                  </a:lnTo>
                  <a:lnTo>
                    <a:pt x="1372" y="738"/>
                  </a:lnTo>
                  <a:lnTo>
                    <a:pt x="1378" y="738"/>
                  </a:lnTo>
                  <a:lnTo>
                    <a:pt x="1394" y="734"/>
                  </a:lnTo>
                  <a:lnTo>
                    <a:pt x="1400" y="732"/>
                  </a:lnTo>
                  <a:lnTo>
                    <a:pt x="1404" y="730"/>
                  </a:lnTo>
                  <a:lnTo>
                    <a:pt x="1408" y="730"/>
                  </a:lnTo>
                  <a:lnTo>
                    <a:pt x="1416" y="732"/>
                  </a:lnTo>
                  <a:lnTo>
                    <a:pt x="1426" y="732"/>
                  </a:lnTo>
                  <a:lnTo>
                    <a:pt x="1432" y="732"/>
                  </a:lnTo>
                  <a:lnTo>
                    <a:pt x="1442" y="734"/>
                  </a:lnTo>
                  <a:lnTo>
                    <a:pt x="1452" y="736"/>
                  </a:lnTo>
                  <a:lnTo>
                    <a:pt x="1460" y="738"/>
                  </a:lnTo>
                  <a:lnTo>
                    <a:pt x="1468" y="738"/>
                  </a:lnTo>
                  <a:lnTo>
                    <a:pt x="1478" y="740"/>
                  </a:lnTo>
                  <a:lnTo>
                    <a:pt x="1482" y="740"/>
                  </a:lnTo>
                  <a:lnTo>
                    <a:pt x="1492" y="740"/>
                  </a:lnTo>
                  <a:lnTo>
                    <a:pt x="1498" y="740"/>
                  </a:lnTo>
                  <a:lnTo>
                    <a:pt x="1504" y="742"/>
                  </a:lnTo>
                  <a:lnTo>
                    <a:pt x="1510" y="748"/>
                  </a:lnTo>
                  <a:lnTo>
                    <a:pt x="1516" y="752"/>
                  </a:lnTo>
                  <a:lnTo>
                    <a:pt x="1528" y="762"/>
                  </a:lnTo>
                  <a:lnTo>
                    <a:pt x="1534" y="764"/>
                  </a:lnTo>
                  <a:lnTo>
                    <a:pt x="1544" y="766"/>
                  </a:lnTo>
                  <a:lnTo>
                    <a:pt x="1552" y="770"/>
                  </a:lnTo>
                  <a:lnTo>
                    <a:pt x="1560" y="770"/>
                  </a:lnTo>
                  <a:lnTo>
                    <a:pt x="1570" y="772"/>
                  </a:lnTo>
                  <a:lnTo>
                    <a:pt x="1580" y="774"/>
                  </a:lnTo>
                  <a:lnTo>
                    <a:pt x="1590" y="776"/>
                  </a:lnTo>
                  <a:lnTo>
                    <a:pt x="1600" y="778"/>
                  </a:lnTo>
                  <a:lnTo>
                    <a:pt x="1606" y="780"/>
                  </a:lnTo>
                  <a:lnTo>
                    <a:pt x="1612" y="784"/>
                  </a:lnTo>
                  <a:lnTo>
                    <a:pt x="1618" y="784"/>
                  </a:lnTo>
                  <a:lnTo>
                    <a:pt x="1624" y="788"/>
                  </a:lnTo>
                  <a:lnTo>
                    <a:pt x="1632" y="792"/>
                  </a:lnTo>
                  <a:lnTo>
                    <a:pt x="1644" y="792"/>
                  </a:lnTo>
                  <a:lnTo>
                    <a:pt x="1650" y="790"/>
                  </a:lnTo>
                  <a:lnTo>
                    <a:pt x="1656" y="790"/>
                  </a:lnTo>
                  <a:lnTo>
                    <a:pt x="1662" y="788"/>
                  </a:lnTo>
                  <a:lnTo>
                    <a:pt x="1668" y="788"/>
                  </a:lnTo>
                  <a:lnTo>
                    <a:pt x="1674" y="786"/>
                  </a:lnTo>
                  <a:lnTo>
                    <a:pt x="1680" y="790"/>
                  </a:lnTo>
                  <a:lnTo>
                    <a:pt x="1682" y="796"/>
                  </a:lnTo>
                  <a:lnTo>
                    <a:pt x="1688" y="800"/>
                  </a:lnTo>
                  <a:lnTo>
                    <a:pt x="1694" y="800"/>
                  </a:lnTo>
                  <a:lnTo>
                    <a:pt x="1702" y="800"/>
                  </a:lnTo>
                  <a:lnTo>
                    <a:pt x="1708" y="800"/>
                  </a:lnTo>
                  <a:lnTo>
                    <a:pt x="1714" y="804"/>
                  </a:lnTo>
                  <a:lnTo>
                    <a:pt x="1718" y="800"/>
                  </a:lnTo>
                  <a:lnTo>
                    <a:pt x="1722" y="794"/>
                  </a:lnTo>
                  <a:lnTo>
                    <a:pt x="1724" y="794"/>
                  </a:lnTo>
                  <a:lnTo>
                    <a:pt x="1730" y="790"/>
                  </a:lnTo>
                  <a:lnTo>
                    <a:pt x="1736" y="786"/>
                  </a:lnTo>
                  <a:lnTo>
                    <a:pt x="1742" y="782"/>
                  </a:lnTo>
                  <a:lnTo>
                    <a:pt x="1748" y="778"/>
                  </a:lnTo>
                  <a:lnTo>
                    <a:pt x="1754" y="776"/>
                  </a:lnTo>
                  <a:lnTo>
                    <a:pt x="1760" y="772"/>
                  </a:lnTo>
                  <a:lnTo>
                    <a:pt x="1766" y="770"/>
                  </a:lnTo>
                  <a:lnTo>
                    <a:pt x="1774" y="766"/>
                  </a:lnTo>
                  <a:lnTo>
                    <a:pt x="1780" y="762"/>
                  </a:lnTo>
                  <a:lnTo>
                    <a:pt x="1786" y="760"/>
                  </a:lnTo>
                  <a:lnTo>
                    <a:pt x="1792" y="756"/>
                  </a:lnTo>
                  <a:lnTo>
                    <a:pt x="1798" y="756"/>
                  </a:lnTo>
                  <a:lnTo>
                    <a:pt x="1804" y="756"/>
                  </a:lnTo>
                  <a:lnTo>
                    <a:pt x="1810" y="754"/>
                  </a:lnTo>
                  <a:lnTo>
                    <a:pt x="1818" y="752"/>
                  </a:lnTo>
                  <a:lnTo>
                    <a:pt x="1828" y="750"/>
                  </a:lnTo>
                  <a:lnTo>
                    <a:pt x="1838" y="748"/>
                  </a:lnTo>
                  <a:lnTo>
                    <a:pt x="1844" y="748"/>
                  </a:lnTo>
                  <a:lnTo>
                    <a:pt x="1850" y="750"/>
                  </a:lnTo>
                  <a:lnTo>
                    <a:pt x="1856" y="748"/>
                  </a:lnTo>
                  <a:lnTo>
                    <a:pt x="1862" y="746"/>
                  </a:lnTo>
                  <a:lnTo>
                    <a:pt x="1868" y="746"/>
                  </a:lnTo>
                  <a:lnTo>
                    <a:pt x="1874" y="746"/>
                  </a:lnTo>
                  <a:lnTo>
                    <a:pt x="1882" y="746"/>
                  </a:lnTo>
                  <a:lnTo>
                    <a:pt x="1888" y="748"/>
                  </a:lnTo>
                  <a:lnTo>
                    <a:pt x="1894" y="748"/>
                  </a:lnTo>
                  <a:lnTo>
                    <a:pt x="1898" y="750"/>
                  </a:lnTo>
                  <a:lnTo>
                    <a:pt x="1904" y="750"/>
                  </a:lnTo>
                  <a:lnTo>
                    <a:pt x="1910" y="746"/>
                  </a:lnTo>
                  <a:lnTo>
                    <a:pt x="1918" y="746"/>
                  </a:lnTo>
                  <a:lnTo>
                    <a:pt x="1924" y="746"/>
                  </a:lnTo>
                  <a:lnTo>
                    <a:pt x="1930" y="746"/>
                  </a:lnTo>
                  <a:lnTo>
                    <a:pt x="1936" y="746"/>
                  </a:lnTo>
                  <a:lnTo>
                    <a:pt x="1942" y="742"/>
                  </a:lnTo>
                  <a:lnTo>
                    <a:pt x="1948" y="738"/>
                  </a:lnTo>
                  <a:lnTo>
                    <a:pt x="1954" y="734"/>
                  </a:lnTo>
                  <a:lnTo>
                    <a:pt x="1960" y="732"/>
                  </a:lnTo>
                  <a:lnTo>
                    <a:pt x="1966" y="732"/>
                  </a:lnTo>
                  <a:lnTo>
                    <a:pt x="1972" y="728"/>
                  </a:lnTo>
                  <a:lnTo>
                    <a:pt x="1978" y="726"/>
                  </a:lnTo>
                  <a:lnTo>
                    <a:pt x="1980" y="720"/>
                  </a:lnTo>
                  <a:lnTo>
                    <a:pt x="1986" y="714"/>
                  </a:lnTo>
                  <a:lnTo>
                    <a:pt x="1986" y="708"/>
                  </a:lnTo>
                  <a:lnTo>
                    <a:pt x="1988" y="700"/>
                  </a:lnTo>
                  <a:lnTo>
                    <a:pt x="1992" y="694"/>
                  </a:lnTo>
                  <a:lnTo>
                    <a:pt x="1994" y="688"/>
                  </a:lnTo>
                  <a:lnTo>
                    <a:pt x="2000" y="682"/>
                  </a:lnTo>
                  <a:lnTo>
                    <a:pt x="2006" y="680"/>
                  </a:lnTo>
                  <a:lnTo>
                    <a:pt x="2012" y="678"/>
                  </a:lnTo>
                  <a:lnTo>
                    <a:pt x="2012" y="676"/>
                  </a:lnTo>
                  <a:lnTo>
                    <a:pt x="2018" y="674"/>
                  </a:lnTo>
                  <a:lnTo>
                    <a:pt x="2024" y="670"/>
                  </a:lnTo>
                  <a:lnTo>
                    <a:pt x="2026" y="662"/>
                  </a:lnTo>
                  <a:lnTo>
                    <a:pt x="2032" y="662"/>
                  </a:lnTo>
                  <a:lnTo>
                    <a:pt x="2034" y="662"/>
                  </a:lnTo>
                  <a:lnTo>
                    <a:pt x="2034" y="654"/>
                  </a:lnTo>
                  <a:lnTo>
                    <a:pt x="2026" y="648"/>
                  </a:lnTo>
                  <a:lnTo>
                    <a:pt x="2020" y="644"/>
                  </a:lnTo>
                  <a:lnTo>
                    <a:pt x="2016" y="640"/>
                  </a:lnTo>
                  <a:lnTo>
                    <a:pt x="2008" y="638"/>
                  </a:lnTo>
                  <a:lnTo>
                    <a:pt x="2002" y="632"/>
                  </a:lnTo>
                  <a:lnTo>
                    <a:pt x="1996" y="628"/>
                  </a:lnTo>
                  <a:lnTo>
                    <a:pt x="1992" y="622"/>
                  </a:lnTo>
                  <a:lnTo>
                    <a:pt x="1986" y="618"/>
                  </a:lnTo>
                  <a:lnTo>
                    <a:pt x="1982" y="612"/>
                  </a:lnTo>
                  <a:lnTo>
                    <a:pt x="1982" y="606"/>
                  </a:lnTo>
                  <a:lnTo>
                    <a:pt x="1984" y="600"/>
                  </a:lnTo>
                  <a:lnTo>
                    <a:pt x="1982" y="594"/>
                  </a:lnTo>
                  <a:lnTo>
                    <a:pt x="1980" y="588"/>
                  </a:lnTo>
                  <a:lnTo>
                    <a:pt x="1982" y="582"/>
                  </a:lnTo>
                  <a:lnTo>
                    <a:pt x="1982" y="576"/>
                  </a:lnTo>
                  <a:lnTo>
                    <a:pt x="1982" y="572"/>
                  </a:lnTo>
                  <a:lnTo>
                    <a:pt x="1988" y="568"/>
                  </a:lnTo>
                  <a:lnTo>
                    <a:pt x="1994" y="566"/>
                  </a:lnTo>
                  <a:lnTo>
                    <a:pt x="2000" y="568"/>
                  </a:lnTo>
                  <a:lnTo>
                    <a:pt x="2006" y="568"/>
                  </a:lnTo>
                  <a:lnTo>
                    <a:pt x="2012" y="568"/>
                  </a:lnTo>
                  <a:lnTo>
                    <a:pt x="2016" y="568"/>
                  </a:lnTo>
                  <a:lnTo>
                    <a:pt x="2024" y="572"/>
                  </a:lnTo>
                  <a:lnTo>
                    <a:pt x="2030" y="578"/>
                  </a:lnTo>
                  <a:lnTo>
                    <a:pt x="2036" y="580"/>
                  </a:lnTo>
                  <a:lnTo>
                    <a:pt x="2042" y="582"/>
                  </a:lnTo>
                  <a:lnTo>
                    <a:pt x="2048" y="582"/>
                  </a:lnTo>
                  <a:lnTo>
                    <a:pt x="2054" y="584"/>
                  </a:lnTo>
                  <a:lnTo>
                    <a:pt x="2060" y="586"/>
                  </a:lnTo>
                  <a:lnTo>
                    <a:pt x="2068" y="586"/>
                  </a:lnTo>
                  <a:lnTo>
                    <a:pt x="2074" y="586"/>
                  </a:lnTo>
                  <a:lnTo>
                    <a:pt x="2080" y="586"/>
                  </a:lnTo>
                  <a:lnTo>
                    <a:pt x="2084" y="588"/>
                  </a:lnTo>
                  <a:lnTo>
                    <a:pt x="2092" y="588"/>
                  </a:lnTo>
                  <a:lnTo>
                    <a:pt x="2098" y="584"/>
                  </a:lnTo>
                  <a:lnTo>
                    <a:pt x="2102" y="578"/>
                  </a:lnTo>
                  <a:lnTo>
                    <a:pt x="2108" y="576"/>
                  </a:lnTo>
                  <a:lnTo>
                    <a:pt x="2112" y="572"/>
                  </a:lnTo>
                  <a:lnTo>
                    <a:pt x="2114" y="566"/>
                  </a:lnTo>
                  <a:lnTo>
                    <a:pt x="2118" y="560"/>
                  </a:lnTo>
                  <a:lnTo>
                    <a:pt x="2122" y="554"/>
                  </a:lnTo>
                  <a:lnTo>
                    <a:pt x="2122" y="548"/>
                  </a:lnTo>
                  <a:lnTo>
                    <a:pt x="2126" y="542"/>
                  </a:lnTo>
                  <a:lnTo>
                    <a:pt x="2132" y="544"/>
                  </a:lnTo>
                  <a:lnTo>
                    <a:pt x="2138" y="546"/>
                  </a:lnTo>
                  <a:lnTo>
                    <a:pt x="2144" y="546"/>
                  </a:lnTo>
                  <a:lnTo>
                    <a:pt x="2152" y="544"/>
                  </a:lnTo>
                  <a:lnTo>
                    <a:pt x="2156" y="544"/>
                  </a:lnTo>
                  <a:lnTo>
                    <a:pt x="2162" y="544"/>
                  </a:lnTo>
                  <a:lnTo>
                    <a:pt x="2168" y="544"/>
                  </a:lnTo>
                  <a:lnTo>
                    <a:pt x="2170" y="544"/>
                  </a:lnTo>
                  <a:lnTo>
                    <a:pt x="2174" y="542"/>
                  </a:lnTo>
                  <a:lnTo>
                    <a:pt x="2180" y="540"/>
                  </a:lnTo>
                  <a:lnTo>
                    <a:pt x="2184" y="534"/>
                  </a:lnTo>
                  <a:lnTo>
                    <a:pt x="2190" y="528"/>
                  </a:lnTo>
                  <a:lnTo>
                    <a:pt x="2194" y="526"/>
                  </a:lnTo>
                  <a:lnTo>
                    <a:pt x="2200" y="520"/>
                  </a:lnTo>
                  <a:lnTo>
                    <a:pt x="2200" y="518"/>
                  </a:lnTo>
                  <a:lnTo>
                    <a:pt x="2194" y="512"/>
                  </a:lnTo>
                  <a:lnTo>
                    <a:pt x="2194" y="506"/>
                  </a:lnTo>
                  <a:lnTo>
                    <a:pt x="2194" y="500"/>
                  </a:lnTo>
                  <a:lnTo>
                    <a:pt x="2196" y="494"/>
                  </a:lnTo>
                  <a:lnTo>
                    <a:pt x="2200" y="488"/>
                  </a:lnTo>
                  <a:lnTo>
                    <a:pt x="2202" y="482"/>
                  </a:lnTo>
                  <a:lnTo>
                    <a:pt x="2208" y="480"/>
                  </a:lnTo>
                  <a:lnTo>
                    <a:pt x="2214" y="478"/>
                  </a:lnTo>
                  <a:lnTo>
                    <a:pt x="2220" y="478"/>
                  </a:lnTo>
                  <a:lnTo>
                    <a:pt x="2226" y="480"/>
                  </a:lnTo>
                  <a:lnTo>
                    <a:pt x="2232" y="478"/>
                  </a:lnTo>
                  <a:lnTo>
                    <a:pt x="2234" y="480"/>
                  </a:lnTo>
                  <a:lnTo>
                    <a:pt x="2236" y="474"/>
                  </a:lnTo>
                  <a:lnTo>
                    <a:pt x="2236" y="466"/>
                  </a:lnTo>
                  <a:lnTo>
                    <a:pt x="2242" y="464"/>
                  </a:lnTo>
                  <a:lnTo>
                    <a:pt x="2248" y="468"/>
                  </a:lnTo>
                  <a:lnTo>
                    <a:pt x="2254" y="468"/>
                  </a:lnTo>
                  <a:lnTo>
                    <a:pt x="2260" y="462"/>
                  </a:lnTo>
                  <a:lnTo>
                    <a:pt x="2266" y="462"/>
                  </a:lnTo>
                  <a:lnTo>
                    <a:pt x="2272" y="458"/>
                  </a:lnTo>
                  <a:lnTo>
                    <a:pt x="2278" y="454"/>
                  </a:lnTo>
                  <a:lnTo>
                    <a:pt x="2284" y="456"/>
                  </a:lnTo>
                  <a:lnTo>
                    <a:pt x="2290" y="458"/>
                  </a:lnTo>
                  <a:lnTo>
                    <a:pt x="2296" y="456"/>
                  </a:lnTo>
                  <a:lnTo>
                    <a:pt x="2300" y="458"/>
                  </a:lnTo>
                  <a:lnTo>
                    <a:pt x="2304" y="452"/>
                  </a:lnTo>
                  <a:lnTo>
                    <a:pt x="2310" y="456"/>
                  </a:lnTo>
                  <a:lnTo>
                    <a:pt x="2318" y="456"/>
                  </a:lnTo>
                  <a:lnTo>
                    <a:pt x="2322" y="460"/>
                  </a:lnTo>
                  <a:lnTo>
                    <a:pt x="2330" y="460"/>
                  </a:lnTo>
                  <a:lnTo>
                    <a:pt x="2334" y="462"/>
                  </a:lnTo>
                  <a:lnTo>
                    <a:pt x="2340" y="462"/>
                  </a:lnTo>
                  <a:lnTo>
                    <a:pt x="2348" y="462"/>
                  </a:lnTo>
                  <a:lnTo>
                    <a:pt x="2352" y="462"/>
                  </a:lnTo>
                  <a:lnTo>
                    <a:pt x="2360" y="462"/>
                  </a:lnTo>
                  <a:lnTo>
                    <a:pt x="2364" y="458"/>
                  </a:lnTo>
                  <a:lnTo>
                    <a:pt x="2362" y="452"/>
                  </a:lnTo>
                  <a:lnTo>
                    <a:pt x="2360" y="446"/>
                  </a:lnTo>
                  <a:lnTo>
                    <a:pt x="2354" y="442"/>
                  </a:lnTo>
                  <a:lnTo>
                    <a:pt x="2348" y="436"/>
                  </a:lnTo>
                  <a:lnTo>
                    <a:pt x="2344" y="432"/>
                  </a:lnTo>
                  <a:lnTo>
                    <a:pt x="2338" y="426"/>
                  </a:lnTo>
                  <a:lnTo>
                    <a:pt x="2332" y="422"/>
                  </a:lnTo>
                  <a:lnTo>
                    <a:pt x="2326" y="420"/>
                  </a:lnTo>
                  <a:lnTo>
                    <a:pt x="2320" y="416"/>
                  </a:lnTo>
                  <a:lnTo>
                    <a:pt x="2318" y="414"/>
                  </a:lnTo>
                  <a:lnTo>
                    <a:pt x="2312" y="410"/>
                  </a:lnTo>
                  <a:lnTo>
                    <a:pt x="2306" y="408"/>
                  </a:lnTo>
                  <a:lnTo>
                    <a:pt x="2304" y="408"/>
                  </a:lnTo>
                  <a:lnTo>
                    <a:pt x="2298" y="402"/>
                  </a:lnTo>
                  <a:lnTo>
                    <a:pt x="2292" y="400"/>
                  </a:lnTo>
                  <a:lnTo>
                    <a:pt x="2288" y="394"/>
                  </a:lnTo>
                  <a:lnTo>
                    <a:pt x="2282" y="390"/>
                  </a:lnTo>
                  <a:lnTo>
                    <a:pt x="2276" y="388"/>
                  </a:lnTo>
                  <a:lnTo>
                    <a:pt x="2268" y="386"/>
                  </a:lnTo>
                  <a:lnTo>
                    <a:pt x="2262" y="384"/>
                  </a:lnTo>
                  <a:lnTo>
                    <a:pt x="2256" y="380"/>
                  </a:lnTo>
                  <a:lnTo>
                    <a:pt x="2250" y="376"/>
                  </a:lnTo>
                  <a:lnTo>
                    <a:pt x="2244" y="370"/>
                  </a:lnTo>
                  <a:lnTo>
                    <a:pt x="2236" y="368"/>
                  </a:lnTo>
                  <a:lnTo>
                    <a:pt x="2230" y="368"/>
                  </a:lnTo>
                  <a:lnTo>
                    <a:pt x="2224" y="366"/>
                  </a:lnTo>
                  <a:lnTo>
                    <a:pt x="2218" y="366"/>
                  </a:lnTo>
                  <a:lnTo>
                    <a:pt x="2212" y="368"/>
                  </a:lnTo>
                  <a:lnTo>
                    <a:pt x="2210" y="368"/>
                  </a:lnTo>
                  <a:lnTo>
                    <a:pt x="2208" y="368"/>
                  </a:lnTo>
                  <a:lnTo>
                    <a:pt x="2200" y="370"/>
                  </a:lnTo>
                  <a:lnTo>
                    <a:pt x="2200" y="372"/>
                  </a:lnTo>
                  <a:lnTo>
                    <a:pt x="2198" y="378"/>
                  </a:lnTo>
                  <a:lnTo>
                    <a:pt x="2194" y="384"/>
                  </a:lnTo>
                  <a:lnTo>
                    <a:pt x="2194" y="386"/>
                  </a:lnTo>
                  <a:lnTo>
                    <a:pt x="2188" y="392"/>
                  </a:lnTo>
                  <a:lnTo>
                    <a:pt x="2182" y="388"/>
                  </a:lnTo>
                  <a:lnTo>
                    <a:pt x="2176" y="384"/>
                  </a:lnTo>
                  <a:lnTo>
                    <a:pt x="2170" y="380"/>
                  </a:lnTo>
                  <a:lnTo>
                    <a:pt x="2162" y="378"/>
                  </a:lnTo>
                  <a:lnTo>
                    <a:pt x="2156" y="376"/>
                  </a:lnTo>
                  <a:lnTo>
                    <a:pt x="2150" y="376"/>
                  </a:lnTo>
                  <a:lnTo>
                    <a:pt x="2144" y="378"/>
                  </a:lnTo>
                  <a:lnTo>
                    <a:pt x="2138" y="380"/>
                  </a:lnTo>
                  <a:lnTo>
                    <a:pt x="2132" y="378"/>
                  </a:lnTo>
                  <a:lnTo>
                    <a:pt x="2126" y="378"/>
                  </a:lnTo>
                  <a:lnTo>
                    <a:pt x="2120" y="380"/>
                  </a:lnTo>
                  <a:lnTo>
                    <a:pt x="2116" y="386"/>
                  </a:lnTo>
                  <a:lnTo>
                    <a:pt x="2110" y="388"/>
                  </a:lnTo>
                  <a:lnTo>
                    <a:pt x="2104" y="386"/>
                  </a:lnTo>
                  <a:lnTo>
                    <a:pt x="2098" y="382"/>
                  </a:lnTo>
                  <a:lnTo>
                    <a:pt x="2092" y="378"/>
                  </a:lnTo>
                  <a:lnTo>
                    <a:pt x="2088" y="376"/>
                  </a:lnTo>
                  <a:lnTo>
                    <a:pt x="2082" y="368"/>
                  </a:lnTo>
                  <a:lnTo>
                    <a:pt x="2080" y="366"/>
                  </a:lnTo>
                  <a:lnTo>
                    <a:pt x="2078" y="362"/>
                  </a:lnTo>
                  <a:lnTo>
                    <a:pt x="2080" y="356"/>
                  </a:lnTo>
                  <a:lnTo>
                    <a:pt x="2086" y="352"/>
                  </a:lnTo>
                  <a:lnTo>
                    <a:pt x="2084" y="346"/>
                  </a:lnTo>
                  <a:lnTo>
                    <a:pt x="2080" y="340"/>
                  </a:lnTo>
                  <a:lnTo>
                    <a:pt x="2076" y="334"/>
                  </a:lnTo>
                  <a:lnTo>
                    <a:pt x="2076" y="328"/>
                  </a:lnTo>
                  <a:lnTo>
                    <a:pt x="2078" y="322"/>
                  </a:lnTo>
                  <a:lnTo>
                    <a:pt x="2078" y="316"/>
                  </a:lnTo>
                  <a:lnTo>
                    <a:pt x="2076" y="310"/>
                  </a:lnTo>
                  <a:lnTo>
                    <a:pt x="2076" y="304"/>
                  </a:lnTo>
                  <a:lnTo>
                    <a:pt x="2076" y="298"/>
                  </a:lnTo>
                  <a:lnTo>
                    <a:pt x="2076" y="292"/>
                  </a:lnTo>
                  <a:lnTo>
                    <a:pt x="2074" y="284"/>
                  </a:lnTo>
                  <a:lnTo>
                    <a:pt x="2074" y="278"/>
                  </a:lnTo>
                  <a:lnTo>
                    <a:pt x="2074" y="272"/>
                  </a:lnTo>
                  <a:lnTo>
                    <a:pt x="2074" y="266"/>
                  </a:lnTo>
                  <a:lnTo>
                    <a:pt x="2074" y="260"/>
                  </a:lnTo>
                  <a:lnTo>
                    <a:pt x="2074" y="254"/>
                  </a:lnTo>
                  <a:lnTo>
                    <a:pt x="2074" y="248"/>
                  </a:lnTo>
                  <a:lnTo>
                    <a:pt x="2074" y="246"/>
                  </a:lnTo>
                  <a:lnTo>
                    <a:pt x="2080" y="248"/>
                  </a:lnTo>
                  <a:lnTo>
                    <a:pt x="2086" y="250"/>
                  </a:lnTo>
                  <a:lnTo>
                    <a:pt x="2092" y="254"/>
                  </a:lnTo>
                  <a:lnTo>
                    <a:pt x="2098" y="256"/>
                  </a:lnTo>
                  <a:lnTo>
                    <a:pt x="2104" y="258"/>
                  </a:lnTo>
                  <a:lnTo>
                    <a:pt x="2110" y="258"/>
                  </a:lnTo>
                  <a:lnTo>
                    <a:pt x="2116" y="260"/>
                  </a:lnTo>
                  <a:lnTo>
                    <a:pt x="2122" y="260"/>
                  </a:lnTo>
                  <a:lnTo>
                    <a:pt x="2128" y="262"/>
                  </a:lnTo>
                  <a:lnTo>
                    <a:pt x="2134" y="264"/>
                  </a:lnTo>
                  <a:lnTo>
                    <a:pt x="2140" y="266"/>
                  </a:lnTo>
                  <a:lnTo>
                    <a:pt x="2144" y="266"/>
                  </a:lnTo>
                  <a:lnTo>
                    <a:pt x="2148" y="266"/>
                  </a:lnTo>
                  <a:lnTo>
                    <a:pt x="2152" y="262"/>
                  </a:lnTo>
                  <a:lnTo>
                    <a:pt x="2154" y="260"/>
                  </a:lnTo>
                  <a:lnTo>
                    <a:pt x="2158" y="254"/>
                  </a:lnTo>
                  <a:lnTo>
                    <a:pt x="2164" y="248"/>
                  </a:lnTo>
                  <a:lnTo>
                    <a:pt x="2166" y="242"/>
                  </a:lnTo>
                  <a:lnTo>
                    <a:pt x="2172" y="238"/>
                  </a:lnTo>
                  <a:lnTo>
                    <a:pt x="2178" y="238"/>
                  </a:lnTo>
                  <a:lnTo>
                    <a:pt x="2182" y="236"/>
                  </a:lnTo>
                  <a:lnTo>
                    <a:pt x="2190" y="236"/>
                  </a:lnTo>
                  <a:lnTo>
                    <a:pt x="2194" y="234"/>
                  </a:lnTo>
                  <a:lnTo>
                    <a:pt x="2198" y="234"/>
                  </a:lnTo>
                  <a:lnTo>
                    <a:pt x="2202" y="228"/>
                  </a:lnTo>
                  <a:lnTo>
                    <a:pt x="2200" y="224"/>
                  </a:lnTo>
                  <a:lnTo>
                    <a:pt x="2198" y="222"/>
                  </a:lnTo>
                  <a:lnTo>
                    <a:pt x="2194" y="216"/>
                  </a:lnTo>
                  <a:lnTo>
                    <a:pt x="2194" y="214"/>
                  </a:lnTo>
                  <a:lnTo>
                    <a:pt x="2190" y="212"/>
                  </a:lnTo>
                  <a:lnTo>
                    <a:pt x="2182" y="210"/>
                  </a:lnTo>
                  <a:lnTo>
                    <a:pt x="2182" y="204"/>
                  </a:lnTo>
                  <a:lnTo>
                    <a:pt x="2180" y="198"/>
                  </a:lnTo>
                  <a:lnTo>
                    <a:pt x="2180" y="192"/>
                  </a:lnTo>
                  <a:lnTo>
                    <a:pt x="2184" y="186"/>
                  </a:lnTo>
                  <a:lnTo>
                    <a:pt x="2182" y="180"/>
                  </a:lnTo>
                  <a:lnTo>
                    <a:pt x="2180" y="178"/>
                  </a:lnTo>
                  <a:lnTo>
                    <a:pt x="2180" y="172"/>
                  </a:lnTo>
                  <a:lnTo>
                    <a:pt x="2182" y="166"/>
                  </a:lnTo>
                  <a:lnTo>
                    <a:pt x="2182" y="160"/>
                  </a:lnTo>
                  <a:lnTo>
                    <a:pt x="2180" y="156"/>
                  </a:lnTo>
                  <a:lnTo>
                    <a:pt x="2180" y="148"/>
                  </a:lnTo>
                  <a:lnTo>
                    <a:pt x="2180" y="146"/>
                  </a:lnTo>
                  <a:lnTo>
                    <a:pt x="2180" y="140"/>
                  </a:lnTo>
                  <a:lnTo>
                    <a:pt x="2178" y="134"/>
                  </a:lnTo>
                  <a:lnTo>
                    <a:pt x="2178" y="128"/>
                  </a:lnTo>
                  <a:lnTo>
                    <a:pt x="2180" y="122"/>
                  </a:lnTo>
                  <a:lnTo>
                    <a:pt x="2182" y="116"/>
                  </a:lnTo>
                  <a:lnTo>
                    <a:pt x="2188" y="110"/>
                  </a:lnTo>
                  <a:lnTo>
                    <a:pt x="2194" y="108"/>
                  </a:lnTo>
                  <a:lnTo>
                    <a:pt x="2194" y="102"/>
                  </a:lnTo>
                  <a:lnTo>
                    <a:pt x="2192" y="98"/>
                  </a:lnTo>
                  <a:lnTo>
                    <a:pt x="2192" y="94"/>
                  </a:lnTo>
                  <a:lnTo>
                    <a:pt x="2186" y="88"/>
                  </a:lnTo>
                  <a:lnTo>
                    <a:pt x="2180" y="82"/>
                  </a:lnTo>
                  <a:lnTo>
                    <a:pt x="2174" y="78"/>
                  </a:lnTo>
                  <a:lnTo>
                    <a:pt x="2174" y="72"/>
                  </a:lnTo>
                  <a:lnTo>
                    <a:pt x="2170" y="68"/>
                  </a:lnTo>
                  <a:lnTo>
                    <a:pt x="2164" y="64"/>
                  </a:lnTo>
                  <a:lnTo>
                    <a:pt x="2158" y="62"/>
                  </a:lnTo>
                  <a:lnTo>
                    <a:pt x="2152" y="60"/>
                  </a:lnTo>
                  <a:lnTo>
                    <a:pt x="2146" y="60"/>
                  </a:lnTo>
                  <a:lnTo>
                    <a:pt x="2140" y="62"/>
                  </a:lnTo>
                  <a:lnTo>
                    <a:pt x="2134" y="62"/>
                  </a:lnTo>
                  <a:lnTo>
                    <a:pt x="2130" y="56"/>
                  </a:lnTo>
                  <a:lnTo>
                    <a:pt x="2124" y="50"/>
                  </a:lnTo>
                  <a:lnTo>
                    <a:pt x="2130" y="46"/>
                  </a:lnTo>
                  <a:lnTo>
                    <a:pt x="2134" y="40"/>
                  </a:lnTo>
                  <a:lnTo>
                    <a:pt x="2134" y="38"/>
                  </a:lnTo>
                  <a:lnTo>
                    <a:pt x="2136" y="34"/>
                  </a:lnTo>
                  <a:lnTo>
                    <a:pt x="2140" y="28"/>
                  </a:lnTo>
                  <a:lnTo>
                    <a:pt x="2142" y="22"/>
                  </a:lnTo>
                  <a:lnTo>
                    <a:pt x="2148" y="16"/>
                  </a:lnTo>
                  <a:lnTo>
                    <a:pt x="2154" y="16"/>
                  </a:lnTo>
                  <a:lnTo>
                    <a:pt x="2160" y="16"/>
                  </a:lnTo>
                  <a:lnTo>
                    <a:pt x="2166" y="16"/>
                  </a:lnTo>
                  <a:lnTo>
                    <a:pt x="2172" y="14"/>
                  </a:lnTo>
                  <a:lnTo>
                    <a:pt x="2174" y="14"/>
                  </a:lnTo>
                  <a:lnTo>
                    <a:pt x="2176" y="12"/>
                  </a:lnTo>
                  <a:lnTo>
                    <a:pt x="2182" y="10"/>
                  </a:lnTo>
                  <a:lnTo>
                    <a:pt x="2186" y="8"/>
                  </a:lnTo>
                  <a:lnTo>
                    <a:pt x="2192" y="8"/>
                  </a:lnTo>
                  <a:lnTo>
                    <a:pt x="2198" y="8"/>
                  </a:lnTo>
                  <a:lnTo>
                    <a:pt x="2204" y="4"/>
                  </a:lnTo>
                  <a:lnTo>
                    <a:pt x="2210" y="2"/>
                  </a:lnTo>
                  <a:lnTo>
                    <a:pt x="2216" y="6"/>
                  </a:lnTo>
                  <a:lnTo>
                    <a:pt x="2222" y="6"/>
                  </a:lnTo>
                  <a:lnTo>
                    <a:pt x="2228" y="4"/>
                  </a:lnTo>
                  <a:lnTo>
                    <a:pt x="2234" y="4"/>
                  </a:lnTo>
                  <a:lnTo>
                    <a:pt x="2240" y="4"/>
                  </a:lnTo>
                  <a:lnTo>
                    <a:pt x="2246" y="2"/>
                  </a:lnTo>
                  <a:lnTo>
                    <a:pt x="2252" y="2"/>
                  </a:lnTo>
                  <a:lnTo>
                    <a:pt x="2254" y="0"/>
                  </a:lnTo>
                  <a:lnTo>
                    <a:pt x="2260" y="0"/>
                  </a:lnTo>
                  <a:lnTo>
                    <a:pt x="2266" y="0"/>
                  </a:lnTo>
                  <a:lnTo>
                    <a:pt x="2272" y="2"/>
                  </a:lnTo>
                  <a:lnTo>
                    <a:pt x="2274" y="0"/>
                  </a:lnTo>
                  <a:lnTo>
                    <a:pt x="2280" y="2"/>
                  </a:lnTo>
                  <a:lnTo>
                    <a:pt x="2284" y="2"/>
                  </a:lnTo>
                  <a:lnTo>
                    <a:pt x="2290" y="4"/>
                  </a:lnTo>
                  <a:lnTo>
                    <a:pt x="2296" y="6"/>
                  </a:lnTo>
                  <a:lnTo>
                    <a:pt x="2302" y="8"/>
                  </a:lnTo>
                  <a:lnTo>
                    <a:pt x="2308" y="12"/>
                  </a:lnTo>
                  <a:lnTo>
                    <a:pt x="2314" y="10"/>
                  </a:lnTo>
                  <a:lnTo>
                    <a:pt x="2320" y="14"/>
                  </a:lnTo>
                  <a:lnTo>
                    <a:pt x="2326" y="18"/>
                  </a:lnTo>
                  <a:lnTo>
                    <a:pt x="2332" y="22"/>
                  </a:lnTo>
                  <a:lnTo>
                    <a:pt x="2338" y="22"/>
                  </a:lnTo>
                  <a:lnTo>
                    <a:pt x="2344" y="22"/>
                  </a:lnTo>
                  <a:lnTo>
                    <a:pt x="2350" y="26"/>
                  </a:lnTo>
                  <a:lnTo>
                    <a:pt x="2356" y="26"/>
                  </a:lnTo>
                  <a:lnTo>
                    <a:pt x="2362" y="28"/>
                  </a:lnTo>
                  <a:lnTo>
                    <a:pt x="2364" y="22"/>
                  </a:lnTo>
                  <a:lnTo>
                    <a:pt x="2366" y="22"/>
                  </a:lnTo>
                  <a:lnTo>
                    <a:pt x="2372" y="22"/>
                  </a:lnTo>
                  <a:lnTo>
                    <a:pt x="2378" y="24"/>
                  </a:lnTo>
                  <a:lnTo>
                    <a:pt x="2384" y="26"/>
                  </a:lnTo>
                  <a:lnTo>
                    <a:pt x="2390" y="30"/>
                  </a:lnTo>
                  <a:lnTo>
                    <a:pt x="2396" y="32"/>
                  </a:lnTo>
                  <a:lnTo>
                    <a:pt x="2402" y="32"/>
                  </a:lnTo>
                  <a:lnTo>
                    <a:pt x="2408" y="34"/>
                  </a:lnTo>
                  <a:lnTo>
                    <a:pt x="2410" y="40"/>
                  </a:lnTo>
                  <a:lnTo>
                    <a:pt x="2416" y="42"/>
                  </a:lnTo>
                  <a:lnTo>
                    <a:pt x="2422" y="42"/>
                  </a:lnTo>
                  <a:lnTo>
                    <a:pt x="2428" y="46"/>
                  </a:lnTo>
                  <a:lnTo>
                    <a:pt x="2434" y="50"/>
                  </a:lnTo>
                  <a:lnTo>
                    <a:pt x="2440" y="54"/>
                  </a:lnTo>
                  <a:lnTo>
                    <a:pt x="2440" y="60"/>
                  </a:lnTo>
                  <a:lnTo>
                    <a:pt x="2446" y="64"/>
                  </a:lnTo>
                  <a:lnTo>
                    <a:pt x="2452" y="64"/>
                  </a:lnTo>
                  <a:lnTo>
                    <a:pt x="2458" y="68"/>
                  </a:lnTo>
                  <a:lnTo>
                    <a:pt x="2464" y="72"/>
                  </a:lnTo>
                  <a:lnTo>
                    <a:pt x="2470" y="76"/>
                  </a:lnTo>
                  <a:lnTo>
                    <a:pt x="2474" y="80"/>
                  </a:lnTo>
                  <a:lnTo>
                    <a:pt x="2480" y="84"/>
                  </a:lnTo>
                  <a:lnTo>
                    <a:pt x="2482" y="88"/>
                  </a:lnTo>
                  <a:lnTo>
                    <a:pt x="2488" y="90"/>
                  </a:lnTo>
                  <a:lnTo>
                    <a:pt x="2494" y="94"/>
                  </a:lnTo>
                  <a:lnTo>
                    <a:pt x="2494" y="100"/>
                  </a:lnTo>
                  <a:lnTo>
                    <a:pt x="2498" y="106"/>
                  </a:lnTo>
                  <a:lnTo>
                    <a:pt x="2504" y="110"/>
                  </a:lnTo>
                  <a:lnTo>
                    <a:pt x="2510" y="114"/>
                  </a:lnTo>
                  <a:lnTo>
                    <a:pt x="2516" y="118"/>
                  </a:lnTo>
                  <a:lnTo>
                    <a:pt x="2522" y="122"/>
                  </a:lnTo>
                  <a:lnTo>
                    <a:pt x="2526" y="126"/>
                  </a:lnTo>
                  <a:lnTo>
                    <a:pt x="2530" y="132"/>
                  </a:lnTo>
                  <a:lnTo>
                    <a:pt x="2536" y="134"/>
                  </a:lnTo>
                  <a:lnTo>
                    <a:pt x="2538" y="140"/>
                  </a:lnTo>
                  <a:lnTo>
                    <a:pt x="2544" y="140"/>
                  </a:lnTo>
                  <a:lnTo>
                    <a:pt x="2548" y="146"/>
                  </a:lnTo>
                  <a:lnTo>
                    <a:pt x="2554" y="150"/>
                  </a:lnTo>
                  <a:lnTo>
                    <a:pt x="2554" y="156"/>
                  </a:lnTo>
                  <a:lnTo>
                    <a:pt x="2560" y="162"/>
                  </a:lnTo>
                  <a:lnTo>
                    <a:pt x="2566" y="166"/>
                  </a:lnTo>
                  <a:lnTo>
                    <a:pt x="2572" y="170"/>
                  </a:lnTo>
                  <a:lnTo>
                    <a:pt x="2576" y="172"/>
                  </a:lnTo>
                  <a:lnTo>
                    <a:pt x="2580" y="174"/>
                  </a:lnTo>
                  <a:lnTo>
                    <a:pt x="2588" y="180"/>
                  </a:lnTo>
                  <a:lnTo>
                    <a:pt x="2592" y="184"/>
                  </a:lnTo>
                  <a:lnTo>
                    <a:pt x="2598" y="190"/>
                  </a:lnTo>
                  <a:lnTo>
                    <a:pt x="2604" y="194"/>
                  </a:lnTo>
                  <a:lnTo>
                    <a:pt x="2608" y="200"/>
                  </a:lnTo>
                  <a:lnTo>
                    <a:pt x="2610" y="206"/>
                  </a:lnTo>
                  <a:lnTo>
                    <a:pt x="2616" y="212"/>
                  </a:lnTo>
                  <a:lnTo>
                    <a:pt x="2622" y="216"/>
                  </a:lnTo>
                  <a:lnTo>
                    <a:pt x="2628" y="218"/>
                  </a:lnTo>
                  <a:lnTo>
                    <a:pt x="2636" y="220"/>
                  </a:lnTo>
                  <a:lnTo>
                    <a:pt x="2636" y="222"/>
                  </a:lnTo>
                  <a:lnTo>
                    <a:pt x="2636" y="228"/>
                  </a:lnTo>
                  <a:lnTo>
                    <a:pt x="2640" y="234"/>
                  </a:lnTo>
                  <a:lnTo>
                    <a:pt x="2642" y="238"/>
                  </a:lnTo>
                  <a:lnTo>
                    <a:pt x="2646" y="242"/>
                  </a:lnTo>
                  <a:lnTo>
                    <a:pt x="2650" y="248"/>
                  </a:lnTo>
                  <a:lnTo>
                    <a:pt x="2656" y="250"/>
                  </a:lnTo>
                  <a:lnTo>
                    <a:pt x="2662" y="256"/>
                  </a:lnTo>
                  <a:lnTo>
                    <a:pt x="2668" y="258"/>
                  </a:lnTo>
                  <a:lnTo>
                    <a:pt x="2674" y="262"/>
                  </a:lnTo>
                  <a:lnTo>
                    <a:pt x="2680" y="262"/>
                  </a:lnTo>
                  <a:lnTo>
                    <a:pt x="2686" y="262"/>
                  </a:lnTo>
                  <a:lnTo>
                    <a:pt x="2692" y="266"/>
                  </a:lnTo>
                  <a:lnTo>
                    <a:pt x="2698" y="266"/>
                  </a:lnTo>
                  <a:lnTo>
                    <a:pt x="2702" y="266"/>
                  </a:lnTo>
                  <a:lnTo>
                    <a:pt x="2706" y="262"/>
                  </a:lnTo>
                  <a:lnTo>
                    <a:pt x="2712" y="262"/>
                  </a:lnTo>
                  <a:lnTo>
                    <a:pt x="2718" y="262"/>
                  </a:lnTo>
                  <a:lnTo>
                    <a:pt x="2718" y="260"/>
                  </a:lnTo>
                  <a:lnTo>
                    <a:pt x="2720" y="260"/>
                  </a:lnTo>
                  <a:lnTo>
                    <a:pt x="2724" y="262"/>
                  </a:lnTo>
                  <a:lnTo>
                    <a:pt x="2728" y="264"/>
                  </a:lnTo>
                  <a:lnTo>
                    <a:pt x="2732" y="270"/>
                  </a:lnTo>
                  <a:lnTo>
                    <a:pt x="2738" y="272"/>
                  </a:lnTo>
                  <a:lnTo>
                    <a:pt x="2742" y="272"/>
                  </a:lnTo>
                  <a:lnTo>
                    <a:pt x="2750" y="276"/>
                  </a:lnTo>
                  <a:lnTo>
                    <a:pt x="2754" y="276"/>
                  </a:lnTo>
                  <a:lnTo>
                    <a:pt x="2760" y="276"/>
                  </a:lnTo>
                  <a:lnTo>
                    <a:pt x="2766" y="278"/>
                  </a:lnTo>
                  <a:lnTo>
                    <a:pt x="2764" y="272"/>
                  </a:lnTo>
                  <a:lnTo>
                    <a:pt x="2770" y="274"/>
                  </a:lnTo>
                  <a:lnTo>
                    <a:pt x="2774" y="276"/>
                  </a:lnTo>
                  <a:lnTo>
                    <a:pt x="2778" y="280"/>
                  </a:lnTo>
                  <a:lnTo>
                    <a:pt x="2784" y="284"/>
                  </a:lnTo>
                  <a:lnTo>
                    <a:pt x="2790" y="284"/>
                  </a:lnTo>
                  <a:lnTo>
                    <a:pt x="2794" y="290"/>
                  </a:lnTo>
                  <a:lnTo>
                    <a:pt x="2798" y="290"/>
                  </a:lnTo>
                  <a:lnTo>
                    <a:pt x="2804" y="296"/>
                  </a:lnTo>
                  <a:lnTo>
                    <a:pt x="2808" y="298"/>
                  </a:lnTo>
                  <a:lnTo>
                    <a:pt x="2814" y="300"/>
                  </a:lnTo>
                  <a:lnTo>
                    <a:pt x="2816" y="302"/>
                  </a:lnTo>
                  <a:lnTo>
                    <a:pt x="2820" y="304"/>
                  </a:lnTo>
                  <a:lnTo>
                    <a:pt x="2826" y="306"/>
                  </a:lnTo>
                  <a:lnTo>
                    <a:pt x="2830" y="310"/>
                  </a:lnTo>
                  <a:lnTo>
                    <a:pt x="2836" y="310"/>
                  </a:lnTo>
                  <a:lnTo>
                    <a:pt x="2842" y="308"/>
                  </a:lnTo>
                  <a:lnTo>
                    <a:pt x="2848" y="312"/>
                  </a:lnTo>
                  <a:lnTo>
                    <a:pt x="2854" y="310"/>
                  </a:lnTo>
                  <a:lnTo>
                    <a:pt x="2858" y="310"/>
                  </a:lnTo>
                  <a:lnTo>
                    <a:pt x="2858" y="316"/>
                  </a:lnTo>
                  <a:lnTo>
                    <a:pt x="2860" y="322"/>
                  </a:lnTo>
                  <a:lnTo>
                    <a:pt x="2862" y="328"/>
                  </a:lnTo>
                  <a:lnTo>
                    <a:pt x="2868" y="330"/>
                  </a:lnTo>
                  <a:lnTo>
                    <a:pt x="2872" y="336"/>
                  </a:lnTo>
                  <a:lnTo>
                    <a:pt x="2880" y="338"/>
                  </a:lnTo>
                  <a:lnTo>
                    <a:pt x="2882" y="344"/>
                  </a:lnTo>
                  <a:lnTo>
                    <a:pt x="2888" y="348"/>
                  </a:lnTo>
                  <a:lnTo>
                    <a:pt x="2890" y="350"/>
                  </a:lnTo>
                  <a:lnTo>
                    <a:pt x="2890" y="356"/>
                  </a:lnTo>
                  <a:lnTo>
                    <a:pt x="2890" y="362"/>
                  </a:lnTo>
                  <a:lnTo>
                    <a:pt x="2896" y="368"/>
                  </a:lnTo>
                  <a:lnTo>
                    <a:pt x="2898" y="368"/>
                  </a:lnTo>
                  <a:lnTo>
                    <a:pt x="2902" y="372"/>
                  </a:lnTo>
                  <a:lnTo>
                    <a:pt x="2910" y="376"/>
                  </a:lnTo>
                  <a:lnTo>
                    <a:pt x="2914" y="380"/>
                  </a:lnTo>
                  <a:lnTo>
                    <a:pt x="2918" y="386"/>
                  </a:lnTo>
                  <a:lnTo>
                    <a:pt x="2924" y="390"/>
                  </a:lnTo>
                  <a:lnTo>
                    <a:pt x="2930" y="390"/>
                  </a:lnTo>
                  <a:lnTo>
                    <a:pt x="2932" y="390"/>
                  </a:lnTo>
                  <a:lnTo>
                    <a:pt x="2938" y="386"/>
                  </a:lnTo>
                  <a:lnTo>
                    <a:pt x="2944" y="386"/>
                  </a:lnTo>
                  <a:lnTo>
                    <a:pt x="2950" y="386"/>
                  </a:lnTo>
                  <a:lnTo>
                    <a:pt x="2952" y="388"/>
                  </a:lnTo>
                  <a:lnTo>
                    <a:pt x="2958" y="392"/>
                  </a:lnTo>
                  <a:lnTo>
                    <a:pt x="2964" y="390"/>
                  </a:lnTo>
                  <a:lnTo>
                    <a:pt x="2970" y="390"/>
                  </a:lnTo>
                  <a:lnTo>
                    <a:pt x="2974" y="390"/>
                  </a:lnTo>
                  <a:lnTo>
                    <a:pt x="2982" y="390"/>
                  </a:lnTo>
                  <a:lnTo>
                    <a:pt x="2986" y="390"/>
                  </a:lnTo>
                  <a:lnTo>
                    <a:pt x="2992" y="386"/>
                  </a:lnTo>
                  <a:lnTo>
                    <a:pt x="3000" y="388"/>
                  </a:lnTo>
                  <a:lnTo>
                    <a:pt x="3006" y="388"/>
                  </a:lnTo>
                  <a:lnTo>
                    <a:pt x="3006" y="384"/>
                  </a:lnTo>
                  <a:lnTo>
                    <a:pt x="3006" y="378"/>
                  </a:lnTo>
                  <a:lnTo>
                    <a:pt x="3008" y="372"/>
                  </a:lnTo>
                  <a:lnTo>
                    <a:pt x="3014" y="368"/>
                  </a:lnTo>
                  <a:lnTo>
                    <a:pt x="3020" y="362"/>
                  </a:lnTo>
                  <a:lnTo>
                    <a:pt x="3024" y="362"/>
                  </a:lnTo>
                  <a:lnTo>
                    <a:pt x="3032" y="362"/>
                  </a:lnTo>
                  <a:lnTo>
                    <a:pt x="3038" y="362"/>
                  </a:lnTo>
                  <a:lnTo>
                    <a:pt x="3042" y="364"/>
                  </a:lnTo>
                  <a:lnTo>
                    <a:pt x="3044" y="364"/>
                  </a:lnTo>
                  <a:lnTo>
                    <a:pt x="3044" y="356"/>
                  </a:lnTo>
                  <a:lnTo>
                    <a:pt x="3050" y="352"/>
                  </a:lnTo>
                  <a:lnTo>
                    <a:pt x="3056" y="352"/>
                  </a:lnTo>
                  <a:lnTo>
                    <a:pt x="3062" y="348"/>
                  </a:lnTo>
                  <a:lnTo>
                    <a:pt x="3064" y="346"/>
                  </a:lnTo>
                  <a:lnTo>
                    <a:pt x="3070" y="346"/>
                  </a:lnTo>
                  <a:lnTo>
                    <a:pt x="3072" y="344"/>
                  </a:lnTo>
                  <a:lnTo>
                    <a:pt x="3078" y="342"/>
                  </a:lnTo>
                  <a:lnTo>
                    <a:pt x="3080" y="344"/>
                  </a:lnTo>
                  <a:lnTo>
                    <a:pt x="3082" y="344"/>
                  </a:lnTo>
                  <a:lnTo>
                    <a:pt x="3088" y="344"/>
                  </a:lnTo>
                  <a:lnTo>
                    <a:pt x="3088" y="346"/>
                  </a:lnTo>
                  <a:lnTo>
                    <a:pt x="3094" y="350"/>
                  </a:lnTo>
                  <a:lnTo>
                    <a:pt x="3100" y="352"/>
                  </a:lnTo>
                  <a:lnTo>
                    <a:pt x="3100" y="354"/>
                  </a:lnTo>
                  <a:lnTo>
                    <a:pt x="3104" y="360"/>
                  </a:lnTo>
                  <a:lnTo>
                    <a:pt x="3102" y="366"/>
                  </a:lnTo>
                  <a:lnTo>
                    <a:pt x="3106" y="372"/>
                  </a:lnTo>
                  <a:lnTo>
                    <a:pt x="3112" y="376"/>
                  </a:lnTo>
                  <a:lnTo>
                    <a:pt x="3118" y="382"/>
                  </a:lnTo>
                  <a:lnTo>
                    <a:pt x="3120" y="384"/>
                  </a:lnTo>
                  <a:lnTo>
                    <a:pt x="3126" y="388"/>
                  </a:lnTo>
                  <a:lnTo>
                    <a:pt x="3126" y="394"/>
                  </a:lnTo>
                  <a:lnTo>
                    <a:pt x="3126" y="398"/>
                  </a:lnTo>
                  <a:lnTo>
                    <a:pt x="3126" y="406"/>
                  </a:lnTo>
                  <a:lnTo>
                    <a:pt x="3120" y="406"/>
                  </a:lnTo>
                  <a:lnTo>
                    <a:pt x="3114" y="412"/>
                  </a:lnTo>
                  <a:lnTo>
                    <a:pt x="3114" y="418"/>
                  </a:lnTo>
                  <a:lnTo>
                    <a:pt x="3118" y="424"/>
                  </a:lnTo>
                  <a:lnTo>
                    <a:pt x="3122" y="430"/>
                  </a:lnTo>
                  <a:lnTo>
                    <a:pt x="3120" y="434"/>
                  </a:lnTo>
                  <a:lnTo>
                    <a:pt x="3122" y="440"/>
                  </a:lnTo>
                  <a:lnTo>
                    <a:pt x="3124" y="446"/>
                  </a:lnTo>
                  <a:lnTo>
                    <a:pt x="3124" y="448"/>
                  </a:lnTo>
                  <a:lnTo>
                    <a:pt x="3130" y="454"/>
                  </a:lnTo>
                  <a:lnTo>
                    <a:pt x="3130" y="462"/>
                  </a:lnTo>
                  <a:lnTo>
                    <a:pt x="3130" y="464"/>
                  </a:lnTo>
                  <a:lnTo>
                    <a:pt x="3130" y="468"/>
                  </a:lnTo>
                  <a:lnTo>
                    <a:pt x="3132" y="474"/>
                  </a:lnTo>
                  <a:lnTo>
                    <a:pt x="3138" y="478"/>
                  </a:lnTo>
                  <a:lnTo>
                    <a:pt x="3140" y="484"/>
                  </a:lnTo>
                  <a:lnTo>
                    <a:pt x="3140" y="490"/>
                  </a:lnTo>
                  <a:lnTo>
                    <a:pt x="3134" y="494"/>
                  </a:lnTo>
                  <a:lnTo>
                    <a:pt x="3140" y="500"/>
                  </a:lnTo>
                  <a:lnTo>
                    <a:pt x="3142" y="506"/>
                  </a:lnTo>
                  <a:lnTo>
                    <a:pt x="3142" y="508"/>
                  </a:lnTo>
                  <a:lnTo>
                    <a:pt x="3136" y="512"/>
                  </a:lnTo>
                  <a:lnTo>
                    <a:pt x="3136" y="516"/>
                  </a:lnTo>
                  <a:lnTo>
                    <a:pt x="3140" y="522"/>
                  </a:lnTo>
                  <a:lnTo>
                    <a:pt x="3144" y="528"/>
                  </a:lnTo>
                  <a:lnTo>
                    <a:pt x="3144" y="534"/>
                  </a:lnTo>
                  <a:lnTo>
                    <a:pt x="3138" y="536"/>
                  </a:lnTo>
                  <a:lnTo>
                    <a:pt x="3134" y="542"/>
                  </a:lnTo>
                  <a:lnTo>
                    <a:pt x="3134" y="544"/>
                  </a:lnTo>
                  <a:lnTo>
                    <a:pt x="3136" y="550"/>
                  </a:lnTo>
                  <a:lnTo>
                    <a:pt x="3140" y="556"/>
                  </a:lnTo>
                  <a:lnTo>
                    <a:pt x="3144" y="562"/>
                  </a:lnTo>
                  <a:lnTo>
                    <a:pt x="3144" y="568"/>
                  </a:lnTo>
                  <a:lnTo>
                    <a:pt x="3138" y="570"/>
                  </a:lnTo>
                  <a:lnTo>
                    <a:pt x="3134" y="568"/>
                  </a:lnTo>
                  <a:lnTo>
                    <a:pt x="3126" y="566"/>
                  </a:lnTo>
                  <a:lnTo>
                    <a:pt x="3122" y="566"/>
                  </a:lnTo>
                  <a:lnTo>
                    <a:pt x="3116" y="564"/>
                  </a:lnTo>
                  <a:lnTo>
                    <a:pt x="3110" y="562"/>
                  </a:lnTo>
                  <a:lnTo>
                    <a:pt x="3104" y="562"/>
                  </a:lnTo>
                  <a:lnTo>
                    <a:pt x="3098" y="560"/>
                  </a:lnTo>
                  <a:lnTo>
                    <a:pt x="3092" y="558"/>
                  </a:lnTo>
                  <a:lnTo>
                    <a:pt x="3086" y="558"/>
                  </a:lnTo>
                  <a:lnTo>
                    <a:pt x="3080" y="556"/>
                  </a:lnTo>
                  <a:lnTo>
                    <a:pt x="3078" y="556"/>
                  </a:lnTo>
                  <a:lnTo>
                    <a:pt x="3072" y="552"/>
                  </a:lnTo>
                  <a:lnTo>
                    <a:pt x="3068" y="552"/>
                  </a:lnTo>
                  <a:lnTo>
                    <a:pt x="3068" y="556"/>
                  </a:lnTo>
                  <a:lnTo>
                    <a:pt x="3064" y="562"/>
                  </a:lnTo>
                  <a:lnTo>
                    <a:pt x="3064" y="568"/>
                  </a:lnTo>
                  <a:lnTo>
                    <a:pt x="3062" y="572"/>
                  </a:lnTo>
                  <a:lnTo>
                    <a:pt x="3056" y="574"/>
                  </a:lnTo>
                  <a:lnTo>
                    <a:pt x="3050" y="578"/>
                  </a:lnTo>
                  <a:lnTo>
                    <a:pt x="3044" y="576"/>
                  </a:lnTo>
                  <a:lnTo>
                    <a:pt x="3040" y="582"/>
                  </a:lnTo>
                  <a:lnTo>
                    <a:pt x="3046" y="588"/>
                  </a:lnTo>
                  <a:lnTo>
                    <a:pt x="3052" y="592"/>
                  </a:lnTo>
                  <a:lnTo>
                    <a:pt x="3058" y="598"/>
                  </a:lnTo>
                  <a:lnTo>
                    <a:pt x="3060" y="602"/>
                  </a:lnTo>
                  <a:lnTo>
                    <a:pt x="3066" y="608"/>
                  </a:lnTo>
                  <a:lnTo>
                    <a:pt x="3070" y="614"/>
                  </a:lnTo>
                  <a:lnTo>
                    <a:pt x="3074" y="620"/>
                  </a:lnTo>
                  <a:lnTo>
                    <a:pt x="3080" y="626"/>
                  </a:lnTo>
                  <a:lnTo>
                    <a:pt x="3084" y="632"/>
                  </a:lnTo>
                  <a:lnTo>
                    <a:pt x="3088" y="638"/>
                  </a:lnTo>
                  <a:lnTo>
                    <a:pt x="3092" y="644"/>
                  </a:lnTo>
                  <a:lnTo>
                    <a:pt x="3092" y="650"/>
                  </a:lnTo>
                  <a:lnTo>
                    <a:pt x="3096" y="656"/>
                  </a:lnTo>
                  <a:lnTo>
                    <a:pt x="3100" y="662"/>
                  </a:lnTo>
                  <a:lnTo>
                    <a:pt x="3102" y="668"/>
                  </a:lnTo>
                  <a:lnTo>
                    <a:pt x="3108" y="674"/>
                  </a:lnTo>
                  <a:lnTo>
                    <a:pt x="3110" y="676"/>
                  </a:lnTo>
                  <a:lnTo>
                    <a:pt x="3116" y="682"/>
                  </a:lnTo>
                  <a:lnTo>
                    <a:pt x="3118" y="688"/>
                  </a:lnTo>
                  <a:lnTo>
                    <a:pt x="3116" y="694"/>
                  </a:lnTo>
                  <a:lnTo>
                    <a:pt x="3120" y="700"/>
                  </a:lnTo>
                  <a:lnTo>
                    <a:pt x="3118" y="706"/>
                  </a:lnTo>
                  <a:lnTo>
                    <a:pt x="3122" y="712"/>
                  </a:lnTo>
                  <a:lnTo>
                    <a:pt x="3120" y="718"/>
                  </a:lnTo>
                  <a:lnTo>
                    <a:pt x="3114" y="718"/>
                  </a:lnTo>
                  <a:lnTo>
                    <a:pt x="3108" y="716"/>
                  </a:lnTo>
                  <a:lnTo>
                    <a:pt x="3102" y="720"/>
                  </a:lnTo>
                  <a:lnTo>
                    <a:pt x="3096" y="722"/>
                  </a:lnTo>
                  <a:lnTo>
                    <a:pt x="3092" y="728"/>
                  </a:lnTo>
                  <a:lnTo>
                    <a:pt x="3098" y="730"/>
                  </a:lnTo>
                  <a:lnTo>
                    <a:pt x="3104" y="732"/>
                  </a:lnTo>
                  <a:lnTo>
                    <a:pt x="3108" y="738"/>
                  </a:lnTo>
                  <a:lnTo>
                    <a:pt x="3110" y="744"/>
                  </a:lnTo>
                  <a:lnTo>
                    <a:pt x="3114" y="748"/>
                  </a:lnTo>
                  <a:lnTo>
                    <a:pt x="3108" y="744"/>
                  </a:lnTo>
                  <a:lnTo>
                    <a:pt x="3106" y="742"/>
                  </a:lnTo>
                  <a:lnTo>
                    <a:pt x="3104" y="738"/>
                  </a:lnTo>
                  <a:lnTo>
                    <a:pt x="3098" y="736"/>
                  </a:lnTo>
                  <a:lnTo>
                    <a:pt x="3094" y="734"/>
                  </a:lnTo>
                  <a:lnTo>
                    <a:pt x="3088" y="732"/>
                  </a:lnTo>
                  <a:lnTo>
                    <a:pt x="3082" y="728"/>
                  </a:lnTo>
                  <a:lnTo>
                    <a:pt x="3080" y="724"/>
                  </a:lnTo>
                  <a:lnTo>
                    <a:pt x="3078" y="718"/>
                  </a:lnTo>
                  <a:lnTo>
                    <a:pt x="3076" y="716"/>
                  </a:lnTo>
                  <a:lnTo>
                    <a:pt x="3070" y="714"/>
                  </a:lnTo>
                  <a:lnTo>
                    <a:pt x="3064" y="710"/>
                  </a:lnTo>
                  <a:lnTo>
                    <a:pt x="3060" y="712"/>
                  </a:lnTo>
                  <a:lnTo>
                    <a:pt x="3058" y="710"/>
                  </a:lnTo>
                  <a:lnTo>
                    <a:pt x="3052" y="712"/>
                  </a:lnTo>
                  <a:lnTo>
                    <a:pt x="3054" y="718"/>
                  </a:lnTo>
                  <a:lnTo>
                    <a:pt x="3054" y="724"/>
                  </a:lnTo>
                  <a:lnTo>
                    <a:pt x="3056" y="728"/>
                  </a:lnTo>
                  <a:lnTo>
                    <a:pt x="3056" y="730"/>
                  </a:lnTo>
                  <a:lnTo>
                    <a:pt x="3060" y="736"/>
                  </a:lnTo>
                  <a:lnTo>
                    <a:pt x="3062" y="742"/>
                  </a:lnTo>
                  <a:lnTo>
                    <a:pt x="3060" y="748"/>
                  </a:lnTo>
                  <a:lnTo>
                    <a:pt x="3056" y="750"/>
                  </a:lnTo>
                  <a:lnTo>
                    <a:pt x="3052" y="750"/>
                  </a:lnTo>
                  <a:lnTo>
                    <a:pt x="3048" y="748"/>
                  </a:lnTo>
                  <a:lnTo>
                    <a:pt x="3042" y="750"/>
                  </a:lnTo>
                  <a:lnTo>
                    <a:pt x="3040" y="754"/>
                  </a:lnTo>
                  <a:lnTo>
                    <a:pt x="3042" y="758"/>
                  </a:lnTo>
                  <a:lnTo>
                    <a:pt x="3042" y="764"/>
                  </a:lnTo>
                  <a:lnTo>
                    <a:pt x="3038" y="770"/>
                  </a:lnTo>
                  <a:lnTo>
                    <a:pt x="3032" y="776"/>
                  </a:lnTo>
                  <a:lnTo>
                    <a:pt x="3026" y="774"/>
                  </a:lnTo>
                  <a:lnTo>
                    <a:pt x="3020" y="776"/>
                  </a:lnTo>
                  <a:lnTo>
                    <a:pt x="3014" y="776"/>
                  </a:lnTo>
                  <a:lnTo>
                    <a:pt x="3008" y="776"/>
                  </a:lnTo>
                  <a:lnTo>
                    <a:pt x="3004" y="774"/>
                  </a:lnTo>
                  <a:lnTo>
                    <a:pt x="2998" y="774"/>
                  </a:lnTo>
                  <a:lnTo>
                    <a:pt x="2994" y="776"/>
                  </a:lnTo>
                  <a:lnTo>
                    <a:pt x="2986" y="778"/>
                  </a:lnTo>
                  <a:lnTo>
                    <a:pt x="2988" y="780"/>
                  </a:lnTo>
                  <a:lnTo>
                    <a:pt x="2994" y="786"/>
                  </a:lnTo>
                  <a:lnTo>
                    <a:pt x="2996" y="790"/>
                  </a:lnTo>
                  <a:lnTo>
                    <a:pt x="3002" y="796"/>
                  </a:lnTo>
                  <a:lnTo>
                    <a:pt x="3004" y="798"/>
                  </a:lnTo>
                  <a:lnTo>
                    <a:pt x="3010" y="800"/>
                  </a:lnTo>
                  <a:lnTo>
                    <a:pt x="3016" y="806"/>
                  </a:lnTo>
                  <a:lnTo>
                    <a:pt x="3016" y="812"/>
                  </a:lnTo>
                  <a:lnTo>
                    <a:pt x="3016" y="818"/>
                  </a:lnTo>
                  <a:lnTo>
                    <a:pt x="3010" y="820"/>
                  </a:lnTo>
                  <a:lnTo>
                    <a:pt x="3004" y="816"/>
                  </a:lnTo>
                  <a:lnTo>
                    <a:pt x="3002" y="816"/>
                  </a:lnTo>
                  <a:lnTo>
                    <a:pt x="2996" y="818"/>
                  </a:lnTo>
                  <a:lnTo>
                    <a:pt x="2990" y="818"/>
                  </a:lnTo>
                  <a:lnTo>
                    <a:pt x="2984" y="818"/>
                  </a:lnTo>
                  <a:lnTo>
                    <a:pt x="2978" y="816"/>
                  </a:lnTo>
                  <a:lnTo>
                    <a:pt x="2974" y="814"/>
                  </a:lnTo>
                  <a:lnTo>
                    <a:pt x="2968" y="814"/>
                  </a:lnTo>
                  <a:lnTo>
                    <a:pt x="2962" y="812"/>
                  </a:lnTo>
                  <a:lnTo>
                    <a:pt x="2956" y="810"/>
                  </a:lnTo>
                  <a:lnTo>
                    <a:pt x="2950" y="804"/>
                  </a:lnTo>
                  <a:lnTo>
                    <a:pt x="2944" y="802"/>
                  </a:lnTo>
                  <a:lnTo>
                    <a:pt x="2942" y="798"/>
                  </a:lnTo>
                  <a:lnTo>
                    <a:pt x="2936" y="794"/>
                  </a:lnTo>
                  <a:lnTo>
                    <a:pt x="2930" y="792"/>
                  </a:lnTo>
                  <a:lnTo>
                    <a:pt x="2928" y="796"/>
                  </a:lnTo>
                  <a:lnTo>
                    <a:pt x="2922" y="800"/>
                  </a:lnTo>
                  <a:lnTo>
                    <a:pt x="2918" y="800"/>
                  </a:lnTo>
                  <a:lnTo>
                    <a:pt x="2920" y="806"/>
                  </a:lnTo>
                  <a:lnTo>
                    <a:pt x="2922" y="812"/>
                  </a:lnTo>
                  <a:lnTo>
                    <a:pt x="2920" y="816"/>
                  </a:lnTo>
                  <a:lnTo>
                    <a:pt x="2922" y="818"/>
                  </a:lnTo>
                  <a:lnTo>
                    <a:pt x="2920" y="824"/>
                  </a:lnTo>
                  <a:lnTo>
                    <a:pt x="2918" y="830"/>
                  </a:lnTo>
                  <a:lnTo>
                    <a:pt x="2918" y="834"/>
                  </a:lnTo>
                  <a:lnTo>
                    <a:pt x="2916" y="836"/>
                  </a:lnTo>
                  <a:lnTo>
                    <a:pt x="2914" y="842"/>
                  </a:lnTo>
                  <a:lnTo>
                    <a:pt x="2912" y="848"/>
                  </a:lnTo>
                  <a:lnTo>
                    <a:pt x="2908" y="854"/>
                  </a:lnTo>
                  <a:lnTo>
                    <a:pt x="2902" y="856"/>
                  </a:lnTo>
                  <a:lnTo>
                    <a:pt x="2896" y="856"/>
                  </a:lnTo>
                  <a:lnTo>
                    <a:pt x="2894" y="856"/>
                  </a:lnTo>
                  <a:lnTo>
                    <a:pt x="2894" y="862"/>
                  </a:lnTo>
                  <a:lnTo>
                    <a:pt x="2890" y="864"/>
                  </a:lnTo>
                  <a:lnTo>
                    <a:pt x="2886" y="870"/>
                  </a:lnTo>
                  <a:lnTo>
                    <a:pt x="2882" y="870"/>
                  </a:lnTo>
                  <a:lnTo>
                    <a:pt x="2876" y="872"/>
                  </a:lnTo>
                  <a:lnTo>
                    <a:pt x="2870" y="876"/>
                  </a:lnTo>
                  <a:lnTo>
                    <a:pt x="2870" y="882"/>
                  </a:lnTo>
                  <a:lnTo>
                    <a:pt x="2868" y="882"/>
                  </a:lnTo>
                  <a:lnTo>
                    <a:pt x="2868" y="884"/>
                  </a:lnTo>
                  <a:lnTo>
                    <a:pt x="2862" y="884"/>
                  </a:lnTo>
                  <a:lnTo>
                    <a:pt x="2858" y="890"/>
                  </a:lnTo>
                  <a:lnTo>
                    <a:pt x="2854" y="896"/>
                  </a:lnTo>
                  <a:lnTo>
                    <a:pt x="2850" y="902"/>
                  </a:lnTo>
                  <a:lnTo>
                    <a:pt x="2846" y="906"/>
                  </a:lnTo>
                  <a:lnTo>
                    <a:pt x="2846" y="908"/>
                  </a:lnTo>
                  <a:lnTo>
                    <a:pt x="2848" y="914"/>
                  </a:lnTo>
                  <a:lnTo>
                    <a:pt x="2844" y="920"/>
                  </a:lnTo>
                  <a:lnTo>
                    <a:pt x="2842" y="926"/>
                  </a:lnTo>
                  <a:lnTo>
                    <a:pt x="2834" y="928"/>
                  </a:lnTo>
                  <a:lnTo>
                    <a:pt x="2830" y="926"/>
                  </a:lnTo>
                  <a:lnTo>
                    <a:pt x="2824" y="926"/>
                  </a:lnTo>
                  <a:lnTo>
                    <a:pt x="2818" y="926"/>
                  </a:lnTo>
                  <a:lnTo>
                    <a:pt x="2812" y="922"/>
                  </a:lnTo>
                  <a:lnTo>
                    <a:pt x="2812" y="928"/>
                  </a:lnTo>
                  <a:lnTo>
                    <a:pt x="2808" y="928"/>
                  </a:lnTo>
                  <a:lnTo>
                    <a:pt x="2802" y="930"/>
                  </a:lnTo>
                  <a:lnTo>
                    <a:pt x="2796" y="930"/>
                  </a:lnTo>
                  <a:lnTo>
                    <a:pt x="2796" y="936"/>
                  </a:lnTo>
                  <a:lnTo>
                    <a:pt x="2790" y="938"/>
                  </a:lnTo>
                  <a:lnTo>
                    <a:pt x="2784" y="936"/>
                  </a:lnTo>
                  <a:lnTo>
                    <a:pt x="2778" y="940"/>
                  </a:lnTo>
                  <a:lnTo>
                    <a:pt x="2772" y="944"/>
                  </a:lnTo>
                  <a:lnTo>
                    <a:pt x="2766" y="946"/>
                  </a:lnTo>
                  <a:lnTo>
                    <a:pt x="2762" y="952"/>
                  </a:lnTo>
                  <a:lnTo>
                    <a:pt x="2756" y="954"/>
                  </a:lnTo>
                  <a:lnTo>
                    <a:pt x="2752" y="960"/>
                  </a:lnTo>
                  <a:lnTo>
                    <a:pt x="2750" y="966"/>
                  </a:lnTo>
                  <a:lnTo>
                    <a:pt x="2748" y="972"/>
                  </a:lnTo>
                  <a:lnTo>
                    <a:pt x="2748" y="978"/>
                  </a:lnTo>
                  <a:lnTo>
                    <a:pt x="2740" y="980"/>
                  </a:lnTo>
                  <a:lnTo>
                    <a:pt x="2740" y="986"/>
                  </a:lnTo>
                  <a:lnTo>
                    <a:pt x="2736" y="984"/>
                  </a:lnTo>
                  <a:lnTo>
                    <a:pt x="2734" y="982"/>
                  </a:lnTo>
                  <a:lnTo>
                    <a:pt x="2728" y="982"/>
                  </a:lnTo>
                  <a:lnTo>
                    <a:pt x="2730" y="988"/>
                  </a:lnTo>
                  <a:lnTo>
                    <a:pt x="2724" y="994"/>
                  </a:lnTo>
                  <a:lnTo>
                    <a:pt x="2720" y="996"/>
                  </a:lnTo>
                  <a:lnTo>
                    <a:pt x="2714" y="998"/>
                  </a:lnTo>
                  <a:lnTo>
                    <a:pt x="2708" y="1002"/>
                  </a:lnTo>
                  <a:lnTo>
                    <a:pt x="2702" y="996"/>
                  </a:lnTo>
                  <a:lnTo>
                    <a:pt x="2702" y="990"/>
                  </a:lnTo>
                  <a:lnTo>
                    <a:pt x="2708" y="986"/>
                  </a:lnTo>
                  <a:lnTo>
                    <a:pt x="2710" y="980"/>
                  </a:lnTo>
                  <a:lnTo>
                    <a:pt x="2716" y="982"/>
                  </a:lnTo>
                  <a:lnTo>
                    <a:pt x="2722" y="978"/>
                  </a:lnTo>
                  <a:lnTo>
                    <a:pt x="2722" y="974"/>
                  </a:lnTo>
                  <a:lnTo>
                    <a:pt x="2718" y="966"/>
                  </a:lnTo>
                  <a:lnTo>
                    <a:pt x="2722" y="962"/>
                  </a:lnTo>
                  <a:lnTo>
                    <a:pt x="2728" y="958"/>
                  </a:lnTo>
                  <a:lnTo>
                    <a:pt x="2730" y="954"/>
                  </a:lnTo>
                  <a:lnTo>
                    <a:pt x="2724" y="956"/>
                  </a:lnTo>
                  <a:lnTo>
                    <a:pt x="2718" y="956"/>
                  </a:lnTo>
                  <a:lnTo>
                    <a:pt x="2712" y="958"/>
                  </a:lnTo>
                  <a:lnTo>
                    <a:pt x="2706" y="958"/>
                  </a:lnTo>
                  <a:lnTo>
                    <a:pt x="2702" y="952"/>
                  </a:lnTo>
                  <a:lnTo>
                    <a:pt x="2698" y="948"/>
                  </a:lnTo>
                  <a:lnTo>
                    <a:pt x="2692" y="948"/>
                  </a:lnTo>
                  <a:lnTo>
                    <a:pt x="2686" y="948"/>
                  </a:lnTo>
                  <a:lnTo>
                    <a:pt x="2692" y="942"/>
                  </a:lnTo>
                  <a:lnTo>
                    <a:pt x="2698" y="940"/>
                  </a:lnTo>
                  <a:lnTo>
                    <a:pt x="2694" y="934"/>
                  </a:lnTo>
                  <a:lnTo>
                    <a:pt x="2692" y="928"/>
                  </a:lnTo>
                  <a:lnTo>
                    <a:pt x="2698" y="924"/>
                  </a:lnTo>
                  <a:lnTo>
                    <a:pt x="2702" y="920"/>
                  </a:lnTo>
                  <a:lnTo>
                    <a:pt x="2708" y="914"/>
                  </a:lnTo>
                  <a:lnTo>
                    <a:pt x="2708" y="908"/>
                  </a:lnTo>
                  <a:lnTo>
                    <a:pt x="2710" y="906"/>
                  </a:lnTo>
                  <a:lnTo>
                    <a:pt x="2712" y="900"/>
                  </a:lnTo>
                  <a:lnTo>
                    <a:pt x="2712" y="894"/>
                  </a:lnTo>
                  <a:lnTo>
                    <a:pt x="2716" y="888"/>
                  </a:lnTo>
                  <a:lnTo>
                    <a:pt x="2716" y="882"/>
                  </a:lnTo>
                  <a:lnTo>
                    <a:pt x="2712" y="876"/>
                  </a:lnTo>
                  <a:lnTo>
                    <a:pt x="2708" y="874"/>
                  </a:lnTo>
                  <a:lnTo>
                    <a:pt x="2702" y="868"/>
                  </a:lnTo>
                  <a:lnTo>
                    <a:pt x="2696" y="864"/>
                  </a:lnTo>
                  <a:lnTo>
                    <a:pt x="2690" y="862"/>
                  </a:lnTo>
                  <a:lnTo>
                    <a:pt x="2684" y="860"/>
                  </a:lnTo>
                  <a:lnTo>
                    <a:pt x="2678" y="854"/>
                  </a:lnTo>
                  <a:lnTo>
                    <a:pt x="2676" y="848"/>
                  </a:lnTo>
                  <a:lnTo>
                    <a:pt x="2676" y="846"/>
                  </a:lnTo>
                  <a:lnTo>
                    <a:pt x="2674" y="852"/>
                  </a:lnTo>
                  <a:lnTo>
                    <a:pt x="2668" y="856"/>
                  </a:lnTo>
                  <a:lnTo>
                    <a:pt x="2664" y="856"/>
                  </a:lnTo>
                  <a:lnTo>
                    <a:pt x="2658" y="852"/>
                  </a:lnTo>
                  <a:lnTo>
                    <a:pt x="2652" y="852"/>
                  </a:lnTo>
                  <a:lnTo>
                    <a:pt x="2646" y="852"/>
                  </a:lnTo>
                  <a:lnTo>
                    <a:pt x="2640" y="850"/>
                  </a:lnTo>
                  <a:lnTo>
                    <a:pt x="2636" y="854"/>
                  </a:lnTo>
                  <a:lnTo>
                    <a:pt x="2632" y="860"/>
                  </a:lnTo>
                  <a:lnTo>
                    <a:pt x="2638" y="866"/>
                  </a:lnTo>
                  <a:lnTo>
                    <a:pt x="2632" y="868"/>
                  </a:lnTo>
                  <a:lnTo>
                    <a:pt x="2630" y="868"/>
                  </a:lnTo>
                  <a:lnTo>
                    <a:pt x="2628" y="874"/>
                  </a:lnTo>
                  <a:lnTo>
                    <a:pt x="2624" y="880"/>
                  </a:lnTo>
                  <a:lnTo>
                    <a:pt x="2624" y="886"/>
                  </a:lnTo>
                  <a:lnTo>
                    <a:pt x="2622" y="892"/>
                  </a:lnTo>
                  <a:lnTo>
                    <a:pt x="2622" y="894"/>
                  </a:lnTo>
                  <a:lnTo>
                    <a:pt x="2622" y="900"/>
                  </a:lnTo>
                  <a:lnTo>
                    <a:pt x="2616" y="902"/>
                  </a:lnTo>
                  <a:lnTo>
                    <a:pt x="2610" y="906"/>
                  </a:lnTo>
                  <a:lnTo>
                    <a:pt x="2604" y="908"/>
                  </a:lnTo>
                  <a:lnTo>
                    <a:pt x="2602" y="910"/>
                  </a:lnTo>
                  <a:lnTo>
                    <a:pt x="2596" y="914"/>
                  </a:lnTo>
                  <a:lnTo>
                    <a:pt x="2594" y="916"/>
                  </a:lnTo>
                  <a:lnTo>
                    <a:pt x="2590" y="918"/>
                  </a:lnTo>
                  <a:lnTo>
                    <a:pt x="2584" y="920"/>
                  </a:lnTo>
                  <a:lnTo>
                    <a:pt x="2580" y="926"/>
                  </a:lnTo>
                  <a:lnTo>
                    <a:pt x="2576" y="932"/>
                  </a:lnTo>
                  <a:lnTo>
                    <a:pt x="2576" y="938"/>
                  </a:lnTo>
                  <a:lnTo>
                    <a:pt x="2572" y="944"/>
                  </a:lnTo>
                  <a:lnTo>
                    <a:pt x="2576" y="950"/>
                  </a:lnTo>
                  <a:lnTo>
                    <a:pt x="2580" y="956"/>
                  </a:lnTo>
                  <a:lnTo>
                    <a:pt x="2576" y="958"/>
                  </a:lnTo>
                  <a:lnTo>
                    <a:pt x="2574" y="964"/>
                  </a:lnTo>
                  <a:lnTo>
                    <a:pt x="2572" y="970"/>
                  </a:lnTo>
                  <a:lnTo>
                    <a:pt x="2566" y="970"/>
                  </a:lnTo>
                  <a:lnTo>
                    <a:pt x="2560" y="972"/>
                  </a:lnTo>
                  <a:lnTo>
                    <a:pt x="2554" y="972"/>
                  </a:lnTo>
                  <a:lnTo>
                    <a:pt x="2548" y="970"/>
                  </a:lnTo>
                  <a:lnTo>
                    <a:pt x="2544" y="976"/>
                  </a:lnTo>
                  <a:lnTo>
                    <a:pt x="2538" y="980"/>
                  </a:lnTo>
                  <a:lnTo>
                    <a:pt x="2532" y="978"/>
                  </a:lnTo>
                  <a:lnTo>
                    <a:pt x="2526" y="972"/>
                  </a:lnTo>
                  <a:lnTo>
                    <a:pt x="2520" y="970"/>
                  </a:lnTo>
                  <a:lnTo>
                    <a:pt x="2514" y="968"/>
                  </a:lnTo>
                  <a:lnTo>
                    <a:pt x="2510" y="970"/>
                  </a:lnTo>
                  <a:lnTo>
                    <a:pt x="2504" y="972"/>
                  </a:lnTo>
                  <a:lnTo>
                    <a:pt x="2502" y="978"/>
                  </a:lnTo>
                  <a:lnTo>
                    <a:pt x="2504" y="984"/>
                  </a:lnTo>
                  <a:lnTo>
                    <a:pt x="2504" y="988"/>
                  </a:lnTo>
                  <a:lnTo>
                    <a:pt x="2502" y="994"/>
                  </a:lnTo>
                  <a:lnTo>
                    <a:pt x="2502" y="1000"/>
                  </a:lnTo>
                  <a:lnTo>
                    <a:pt x="2504" y="1004"/>
                  </a:lnTo>
                  <a:lnTo>
                    <a:pt x="2506" y="1010"/>
                  </a:lnTo>
                  <a:lnTo>
                    <a:pt x="2508" y="1014"/>
                  </a:lnTo>
                  <a:lnTo>
                    <a:pt x="2514" y="1020"/>
                  </a:lnTo>
                  <a:lnTo>
                    <a:pt x="2520" y="1026"/>
                  </a:lnTo>
                  <a:lnTo>
                    <a:pt x="2526" y="1030"/>
                  </a:lnTo>
                  <a:lnTo>
                    <a:pt x="2532" y="1034"/>
                  </a:lnTo>
                  <a:lnTo>
                    <a:pt x="2536" y="1036"/>
                  </a:lnTo>
                  <a:lnTo>
                    <a:pt x="2542" y="1038"/>
                  </a:lnTo>
                  <a:lnTo>
                    <a:pt x="2546" y="1042"/>
                  </a:lnTo>
                  <a:lnTo>
                    <a:pt x="2550" y="1042"/>
                  </a:lnTo>
                  <a:lnTo>
                    <a:pt x="2554" y="1042"/>
                  </a:lnTo>
                  <a:lnTo>
                    <a:pt x="2560" y="1046"/>
                  </a:lnTo>
                  <a:lnTo>
                    <a:pt x="2566" y="1042"/>
                  </a:lnTo>
                  <a:lnTo>
                    <a:pt x="2572" y="1044"/>
                  </a:lnTo>
                  <a:lnTo>
                    <a:pt x="2576" y="1050"/>
                  </a:lnTo>
                  <a:lnTo>
                    <a:pt x="2582" y="1054"/>
                  </a:lnTo>
                  <a:lnTo>
                    <a:pt x="2584" y="1046"/>
                  </a:lnTo>
                  <a:lnTo>
                    <a:pt x="2582" y="1042"/>
                  </a:lnTo>
                  <a:lnTo>
                    <a:pt x="2588" y="1042"/>
                  </a:lnTo>
                  <a:lnTo>
                    <a:pt x="2592" y="1042"/>
                  </a:lnTo>
                  <a:lnTo>
                    <a:pt x="2600" y="1044"/>
                  </a:lnTo>
                  <a:lnTo>
                    <a:pt x="2602" y="1050"/>
                  </a:lnTo>
                  <a:lnTo>
                    <a:pt x="2608" y="1058"/>
                  </a:lnTo>
                  <a:lnTo>
                    <a:pt x="2616" y="1062"/>
                  </a:lnTo>
                  <a:lnTo>
                    <a:pt x="2618" y="1068"/>
                  </a:lnTo>
                  <a:lnTo>
                    <a:pt x="2616" y="1074"/>
                  </a:lnTo>
                  <a:lnTo>
                    <a:pt x="2616" y="1080"/>
                  </a:lnTo>
                  <a:lnTo>
                    <a:pt x="2618" y="1086"/>
                  </a:lnTo>
                  <a:lnTo>
                    <a:pt x="2618" y="1088"/>
                  </a:lnTo>
                  <a:lnTo>
                    <a:pt x="2620" y="1094"/>
                  </a:lnTo>
                  <a:lnTo>
                    <a:pt x="2622" y="1100"/>
                  </a:lnTo>
                  <a:lnTo>
                    <a:pt x="2626" y="1102"/>
                  </a:lnTo>
                  <a:lnTo>
                    <a:pt x="2634" y="1106"/>
                  </a:lnTo>
                  <a:lnTo>
                    <a:pt x="2640" y="1110"/>
                  </a:lnTo>
                  <a:lnTo>
                    <a:pt x="2644" y="1112"/>
                  </a:lnTo>
                  <a:lnTo>
                    <a:pt x="2650" y="1112"/>
                  </a:lnTo>
                  <a:lnTo>
                    <a:pt x="2656" y="1112"/>
                  </a:lnTo>
                  <a:lnTo>
                    <a:pt x="2662" y="1112"/>
                  </a:lnTo>
                  <a:lnTo>
                    <a:pt x="2664" y="1112"/>
                  </a:lnTo>
                  <a:lnTo>
                    <a:pt x="2670" y="1112"/>
                  </a:lnTo>
                  <a:lnTo>
                    <a:pt x="2676" y="1108"/>
                  </a:lnTo>
                  <a:lnTo>
                    <a:pt x="2678" y="1102"/>
                  </a:lnTo>
                  <a:lnTo>
                    <a:pt x="2674" y="1096"/>
                  </a:lnTo>
                  <a:lnTo>
                    <a:pt x="2680" y="1092"/>
                  </a:lnTo>
                  <a:lnTo>
                    <a:pt x="2686" y="1088"/>
                  </a:lnTo>
                  <a:lnTo>
                    <a:pt x="2690" y="1082"/>
                  </a:lnTo>
                  <a:lnTo>
                    <a:pt x="2690" y="1076"/>
                  </a:lnTo>
                  <a:lnTo>
                    <a:pt x="2684" y="1074"/>
                  </a:lnTo>
                  <a:lnTo>
                    <a:pt x="2690" y="1074"/>
                  </a:lnTo>
                  <a:lnTo>
                    <a:pt x="2696" y="1070"/>
                  </a:lnTo>
                  <a:lnTo>
                    <a:pt x="2702" y="1068"/>
                  </a:lnTo>
                  <a:lnTo>
                    <a:pt x="2708" y="1066"/>
                  </a:lnTo>
                  <a:lnTo>
                    <a:pt x="2712" y="1064"/>
                  </a:lnTo>
                  <a:lnTo>
                    <a:pt x="2718" y="1064"/>
                  </a:lnTo>
                  <a:lnTo>
                    <a:pt x="2724" y="1068"/>
                  </a:lnTo>
                  <a:lnTo>
                    <a:pt x="2730" y="1072"/>
                  </a:lnTo>
                  <a:lnTo>
                    <a:pt x="2736" y="1076"/>
                  </a:lnTo>
                  <a:lnTo>
                    <a:pt x="2742" y="1082"/>
                  </a:lnTo>
                  <a:lnTo>
                    <a:pt x="2748" y="1080"/>
                  </a:lnTo>
                  <a:lnTo>
                    <a:pt x="2754" y="1080"/>
                  </a:lnTo>
                  <a:lnTo>
                    <a:pt x="2758" y="1084"/>
                  </a:lnTo>
                  <a:lnTo>
                    <a:pt x="2764" y="1090"/>
                  </a:lnTo>
                  <a:lnTo>
                    <a:pt x="2770" y="1088"/>
                  </a:lnTo>
                  <a:lnTo>
                    <a:pt x="2776" y="1090"/>
                  </a:lnTo>
                  <a:lnTo>
                    <a:pt x="2782" y="1090"/>
                  </a:lnTo>
                  <a:lnTo>
                    <a:pt x="2788" y="1090"/>
                  </a:lnTo>
                  <a:lnTo>
                    <a:pt x="2790" y="1092"/>
                  </a:lnTo>
                  <a:lnTo>
                    <a:pt x="2792" y="1090"/>
                  </a:lnTo>
                  <a:lnTo>
                    <a:pt x="2792" y="1084"/>
                  </a:lnTo>
                  <a:lnTo>
                    <a:pt x="2798" y="1088"/>
                  </a:lnTo>
                  <a:lnTo>
                    <a:pt x="2804" y="1090"/>
                  </a:lnTo>
                  <a:lnTo>
                    <a:pt x="2810" y="1092"/>
                  </a:lnTo>
                  <a:lnTo>
                    <a:pt x="2816" y="1092"/>
                  </a:lnTo>
                  <a:lnTo>
                    <a:pt x="2822" y="1092"/>
                  </a:lnTo>
                  <a:lnTo>
                    <a:pt x="2828" y="1092"/>
                  </a:lnTo>
                  <a:lnTo>
                    <a:pt x="2834" y="1096"/>
                  </a:lnTo>
                  <a:lnTo>
                    <a:pt x="2828" y="1098"/>
                  </a:lnTo>
                  <a:lnTo>
                    <a:pt x="2832" y="1106"/>
                  </a:lnTo>
                  <a:lnTo>
                    <a:pt x="2834" y="1110"/>
                  </a:lnTo>
                  <a:lnTo>
                    <a:pt x="2828" y="1114"/>
                  </a:lnTo>
                  <a:lnTo>
                    <a:pt x="2830" y="1120"/>
                  </a:lnTo>
                  <a:lnTo>
                    <a:pt x="2836" y="1122"/>
                  </a:lnTo>
                  <a:lnTo>
                    <a:pt x="2836" y="1126"/>
                  </a:lnTo>
                  <a:lnTo>
                    <a:pt x="2834" y="1130"/>
                  </a:lnTo>
                  <a:lnTo>
                    <a:pt x="2826" y="1132"/>
                  </a:lnTo>
                  <a:lnTo>
                    <a:pt x="2820" y="1132"/>
                  </a:lnTo>
                  <a:lnTo>
                    <a:pt x="2818" y="1126"/>
                  </a:lnTo>
                  <a:lnTo>
                    <a:pt x="2814" y="1120"/>
                  </a:lnTo>
                  <a:lnTo>
                    <a:pt x="2814" y="1122"/>
                  </a:lnTo>
                  <a:lnTo>
                    <a:pt x="2810" y="1128"/>
                  </a:lnTo>
                  <a:lnTo>
                    <a:pt x="2808" y="1122"/>
                  </a:lnTo>
                  <a:lnTo>
                    <a:pt x="2802" y="1122"/>
                  </a:lnTo>
                  <a:lnTo>
                    <a:pt x="2800" y="1128"/>
                  </a:lnTo>
                  <a:lnTo>
                    <a:pt x="2796" y="1128"/>
                  </a:lnTo>
                  <a:lnTo>
                    <a:pt x="2792" y="1132"/>
                  </a:lnTo>
                  <a:lnTo>
                    <a:pt x="2790" y="1138"/>
                  </a:lnTo>
                  <a:lnTo>
                    <a:pt x="2784" y="1138"/>
                  </a:lnTo>
                  <a:lnTo>
                    <a:pt x="2788" y="1132"/>
                  </a:lnTo>
                  <a:lnTo>
                    <a:pt x="2780" y="1136"/>
                  </a:lnTo>
                  <a:lnTo>
                    <a:pt x="2780" y="1138"/>
                  </a:lnTo>
                  <a:lnTo>
                    <a:pt x="2774" y="1142"/>
                  </a:lnTo>
                  <a:lnTo>
                    <a:pt x="2768" y="1142"/>
                  </a:lnTo>
                  <a:lnTo>
                    <a:pt x="2762" y="1148"/>
                  </a:lnTo>
                  <a:lnTo>
                    <a:pt x="2756" y="1150"/>
                  </a:lnTo>
                  <a:lnTo>
                    <a:pt x="2754" y="1148"/>
                  </a:lnTo>
                  <a:lnTo>
                    <a:pt x="2748" y="1146"/>
                  </a:lnTo>
                  <a:lnTo>
                    <a:pt x="2746" y="1150"/>
                  </a:lnTo>
                  <a:lnTo>
                    <a:pt x="2746" y="1152"/>
                  </a:lnTo>
                  <a:lnTo>
                    <a:pt x="2752" y="1150"/>
                  </a:lnTo>
                  <a:lnTo>
                    <a:pt x="2758" y="1152"/>
                  </a:lnTo>
                  <a:lnTo>
                    <a:pt x="2760" y="1158"/>
                  </a:lnTo>
                  <a:lnTo>
                    <a:pt x="2758" y="1164"/>
                  </a:lnTo>
                  <a:lnTo>
                    <a:pt x="2754" y="1158"/>
                  </a:lnTo>
                  <a:lnTo>
                    <a:pt x="2748" y="1162"/>
                  </a:lnTo>
                  <a:lnTo>
                    <a:pt x="2746" y="1168"/>
                  </a:lnTo>
                  <a:lnTo>
                    <a:pt x="2748" y="1170"/>
                  </a:lnTo>
                  <a:lnTo>
                    <a:pt x="2752" y="1176"/>
                  </a:lnTo>
                  <a:lnTo>
                    <a:pt x="2750" y="1182"/>
                  </a:lnTo>
                  <a:lnTo>
                    <a:pt x="2746" y="1184"/>
                  </a:lnTo>
                  <a:lnTo>
                    <a:pt x="2740" y="1186"/>
                  </a:lnTo>
                  <a:lnTo>
                    <a:pt x="2732" y="1182"/>
                  </a:lnTo>
                  <a:lnTo>
                    <a:pt x="2734" y="1178"/>
                  </a:lnTo>
                  <a:lnTo>
                    <a:pt x="2728" y="1172"/>
                  </a:lnTo>
                  <a:lnTo>
                    <a:pt x="2730" y="1178"/>
                  </a:lnTo>
                  <a:lnTo>
                    <a:pt x="2724" y="1174"/>
                  </a:lnTo>
                  <a:lnTo>
                    <a:pt x="2718" y="1174"/>
                  </a:lnTo>
                  <a:lnTo>
                    <a:pt x="2720" y="1180"/>
                  </a:lnTo>
                  <a:lnTo>
                    <a:pt x="2720" y="1182"/>
                  </a:lnTo>
                  <a:lnTo>
                    <a:pt x="2728" y="1186"/>
                  </a:lnTo>
                  <a:lnTo>
                    <a:pt x="2730" y="1192"/>
                  </a:lnTo>
                  <a:lnTo>
                    <a:pt x="2736" y="1192"/>
                  </a:lnTo>
                  <a:lnTo>
                    <a:pt x="2730" y="1194"/>
                  </a:lnTo>
                  <a:lnTo>
                    <a:pt x="2726" y="1198"/>
                  </a:lnTo>
                  <a:lnTo>
                    <a:pt x="2724" y="1202"/>
                  </a:lnTo>
                  <a:lnTo>
                    <a:pt x="2726" y="1210"/>
                  </a:lnTo>
                  <a:lnTo>
                    <a:pt x="2722" y="1212"/>
                  </a:lnTo>
                  <a:lnTo>
                    <a:pt x="2720" y="1218"/>
                  </a:lnTo>
                  <a:lnTo>
                    <a:pt x="2716" y="1220"/>
                  </a:lnTo>
                  <a:lnTo>
                    <a:pt x="2710" y="1220"/>
                  </a:lnTo>
                  <a:lnTo>
                    <a:pt x="2710" y="1226"/>
                  </a:lnTo>
                  <a:lnTo>
                    <a:pt x="2708" y="1232"/>
                  </a:lnTo>
                  <a:lnTo>
                    <a:pt x="2706" y="1236"/>
                  </a:lnTo>
                  <a:lnTo>
                    <a:pt x="2704" y="1242"/>
                  </a:lnTo>
                  <a:lnTo>
                    <a:pt x="2704" y="1248"/>
                  </a:lnTo>
                  <a:lnTo>
                    <a:pt x="2702" y="1254"/>
                  </a:lnTo>
                  <a:lnTo>
                    <a:pt x="2698" y="1260"/>
                  </a:lnTo>
                  <a:lnTo>
                    <a:pt x="2700" y="1262"/>
                  </a:lnTo>
                  <a:lnTo>
                    <a:pt x="2700" y="1268"/>
                  </a:lnTo>
                  <a:lnTo>
                    <a:pt x="2704" y="1274"/>
                  </a:lnTo>
                  <a:lnTo>
                    <a:pt x="2706" y="1280"/>
                  </a:lnTo>
                  <a:lnTo>
                    <a:pt x="2710" y="1276"/>
                  </a:lnTo>
                  <a:lnTo>
                    <a:pt x="2716" y="1276"/>
                  </a:lnTo>
                  <a:lnTo>
                    <a:pt x="2722" y="1280"/>
                  </a:lnTo>
                  <a:lnTo>
                    <a:pt x="2726" y="1286"/>
                  </a:lnTo>
                  <a:lnTo>
                    <a:pt x="2732" y="1290"/>
                  </a:lnTo>
                  <a:lnTo>
                    <a:pt x="2740" y="1292"/>
                  </a:lnTo>
                  <a:lnTo>
                    <a:pt x="2746" y="1296"/>
                  </a:lnTo>
                  <a:lnTo>
                    <a:pt x="2748" y="1296"/>
                  </a:lnTo>
                  <a:lnTo>
                    <a:pt x="2754" y="1296"/>
                  </a:lnTo>
                  <a:lnTo>
                    <a:pt x="2760" y="1300"/>
                  </a:lnTo>
                  <a:lnTo>
                    <a:pt x="2766" y="1302"/>
                  </a:lnTo>
                  <a:lnTo>
                    <a:pt x="2772" y="1306"/>
                  </a:lnTo>
                  <a:lnTo>
                    <a:pt x="2778" y="1308"/>
                  </a:lnTo>
                  <a:lnTo>
                    <a:pt x="2782" y="1314"/>
                  </a:lnTo>
                  <a:lnTo>
                    <a:pt x="2788" y="1320"/>
                  </a:lnTo>
                  <a:lnTo>
                    <a:pt x="2788" y="1322"/>
                  </a:lnTo>
                  <a:lnTo>
                    <a:pt x="2792" y="1328"/>
                  </a:lnTo>
                  <a:lnTo>
                    <a:pt x="2796" y="1334"/>
                  </a:lnTo>
                  <a:lnTo>
                    <a:pt x="2800" y="1340"/>
                  </a:lnTo>
                  <a:lnTo>
                    <a:pt x="2804" y="1346"/>
                  </a:lnTo>
                  <a:lnTo>
                    <a:pt x="2808" y="1352"/>
                  </a:lnTo>
                  <a:lnTo>
                    <a:pt x="2812" y="1358"/>
                  </a:lnTo>
                  <a:lnTo>
                    <a:pt x="2818" y="1364"/>
                  </a:lnTo>
                  <a:lnTo>
                    <a:pt x="2822" y="1370"/>
                  </a:lnTo>
                  <a:lnTo>
                    <a:pt x="2826" y="1376"/>
                  </a:lnTo>
                  <a:lnTo>
                    <a:pt x="2832" y="1378"/>
                  </a:lnTo>
                  <a:lnTo>
                    <a:pt x="2832" y="1384"/>
                  </a:lnTo>
                  <a:lnTo>
                    <a:pt x="2838" y="1390"/>
                  </a:lnTo>
                  <a:lnTo>
                    <a:pt x="2842" y="1394"/>
                  </a:lnTo>
                  <a:lnTo>
                    <a:pt x="2846" y="1400"/>
                  </a:lnTo>
                  <a:lnTo>
                    <a:pt x="2848" y="1400"/>
                  </a:lnTo>
                  <a:lnTo>
                    <a:pt x="2850" y="1406"/>
                  </a:lnTo>
                  <a:lnTo>
                    <a:pt x="2848" y="1412"/>
                  </a:lnTo>
                  <a:lnTo>
                    <a:pt x="2850" y="1418"/>
                  </a:lnTo>
                  <a:lnTo>
                    <a:pt x="2856" y="1424"/>
                  </a:lnTo>
                  <a:lnTo>
                    <a:pt x="2858" y="1426"/>
                  </a:lnTo>
                  <a:lnTo>
                    <a:pt x="2864" y="1428"/>
                  </a:lnTo>
                  <a:lnTo>
                    <a:pt x="2868" y="1430"/>
                  </a:lnTo>
                  <a:lnTo>
                    <a:pt x="2874" y="1432"/>
                  </a:lnTo>
                  <a:lnTo>
                    <a:pt x="2880" y="1434"/>
                  </a:lnTo>
                  <a:lnTo>
                    <a:pt x="2884" y="1436"/>
                  </a:lnTo>
                  <a:lnTo>
                    <a:pt x="2892" y="1440"/>
                  </a:lnTo>
                  <a:lnTo>
                    <a:pt x="2894" y="1448"/>
                  </a:lnTo>
                  <a:lnTo>
                    <a:pt x="2894" y="1452"/>
                  </a:lnTo>
                  <a:lnTo>
                    <a:pt x="2900" y="1460"/>
                  </a:lnTo>
                  <a:lnTo>
                    <a:pt x="2906" y="1460"/>
                  </a:lnTo>
                  <a:lnTo>
                    <a:pt x="2910" y="1462"/>
                  </a:lnTo>
                  <a:lnTo>
                    <a:pt x="2916" y="1464"/>
                  </a:lnTo>
                  <a:lnTo>
                    <a:pt x="2918" y="1466"/>
                  </a:lnTo>
                  <a:lnTo>
                    <a:pt x="2924" y="1470"/>
                  </a:lnTo>
                  <a:lnTo>
                    <a:pt x="2928" y="1476"/>
                  </a:lnTo>
                  <a:lnTo>
                    <a:pt x="2932" y="1482"/>
                  </a:lnTo>
                  <a:lnTo>
                    <a:pt x="2932" y="1488"/>
                  </a:lnTo>
                  <a:lnTo>
                    <a:pt x="2926" y="1486"/>
                  </a:lnTo>
                  <a:lnTo>
                    <a:pt x="2918" y="1484"/>
                  </a:lnTo>
                  <a:lnTo>
                    <a:pt x="2912" y="1482"/>
                  </a:lnTo>
                  <a:lnTo>
                    <a:pt x="2906" y="1478"/>
                  </a:lnTo>
                  <a:lnTo>
                    <a:pt x="2900" y="1476"/>
                  </a:lnTo>
                  <a:lnTo>
                    <a:pt x="2894" y="1476"/>
                  </a:lnTo>
                  <a:lnTo>
                    <a:pt x="2888" y="1478"/>
                  </a:lnTo>
                  <a:lnTo>
                    <a:pt x="2882" y="1478"/>
                  </a:lnTo>
                  <a:lnTo>
                    <a:pt x="2876" y="1478"/>
                  </a:lnTo>
                  <a:lnTo>
                    <a:pt x="2872" y="1472"/>
                  </a:lnTo>
                  <a:lnTo>
                    <a:pt x="2866" y="1466"/>
                  </a:lnTo>
                  <a:lnTo>
                    <a:pt x="2860" y="1464"/>
                  </a:lnTo>
                  <a:lnTo>
                    <a:pt x="2856" y="1462"/>
                  </a:lnTo>
                  <a:lnTo>
                    <a:pt x="2850" y="1462"/>
                  </a:lnTo>
                  <a:lnTo>
                    <a:pt x="2844" y="1460"/>
                  </a:lnTo>
                  <a:lnTo>
                    <a:pt x="2838" y="1466"/>
                  </a:lnTo>
                  <a:lnTo>
                    <a:pt x="2832" y="1472"/>
                  </a:lnTo>
                  <a:lnTo>
                    <a:pt x="2830" y="1472"/>
                  </a:lnTo>
                  <a:lnTo>
                    <a:pt x="2824" y="1470"/>
                  </a:lnTo>
                  <a:lnTo>
                    <a:pt x="2818" y="1466"/>
                  </a:lnTo>
                  <a:lnTo>
                    <a:pt x="2812" y="1462"/>
                  </a:lnTo>
                  <a:lnTo>
                    <a:pt x="2808" y="1456"/>
                  </a:lnTo>
                  <a:lnTo>
                    <a:pt x="2804" y="1450"/>
                  </a:lnTo>
                  <a:lnTo>
                    <a:pt x="2800" y="1444"/>
                  </a:lnTo>
                  <a:lnTo>
                    <a:pt x="2794" y="1444"/>
                  </a:lnTo>
                  <a:lnTo>
                    <a:pt x="2788" y="1442"/>
                  </a:lnTo>
                  <a:lnTo>
                    <a:pt x="2792" y="1448"/>
                  </a:lnTo>
                  <a:lnTo>
                    <a:pt x="2790" y="1452"/>
                  </a:lnTo>
                  <a:lnTo>
                    <a:pt x="2790" y="1454"/>
                  </a:lnTo>
                  <a:lnTo>
                    <a:pt x="2792" y="1454"/>
                  </a:lnTo>
                  <a:lnTo>
                    <a:pt x="2796" y="1450"/>
                  </a:lnTo>
                  <a:lnTo>
                    <a:pt x="2802" y="1454"/>
                  </a:lnTo>
                  <a:lnTo>
                    <a:pt x="2800" y="1452"/>
                  </a:lnTo>
                  <a:lnTo>
                    <a:pt x="2796" y="1448"/>
                  </a:lnTo>
                  <a:lnTo>
                    <a:pt x="2800" y="1448"/>
                  </a:lnTo>
                  <a:lnTo>
                    <a:pt x="2804" y="1454"/>
                  </a:lnTo>
                  <a:lnTo>
                    <a:pt x="2808" y="1460"/>
                  </a:lnTo>
                  <a:lnTo>
                    <a:pt x="2802" y="1458"/>
                  </a:lnTo>
                  <a:lnTo>
                    <a:pt x="2804" y="1460"/>
                  </a:lnTo>
                  <a:lnTo>
                    <a:pt x="2808" y="1462"/>
                  </a:lnTo>
                  <a:lnTo>
                    <a:pt x="2812" y="1468"/>
                  </a:lnTo>
                  <a:lnTo>
                    <a:pt x="2820" y="1470"/>
                  </a:lnTo>
                  <a:lnTo>
                    <a:pt x="2822" y="1470"/>
                  </a:lnTo>
                  <a:lnTo>
                    <a:pt x="2828" y="1474"/>
                  </a:lnTo>
                  <a:lnTo>
                    <a:pt x="2834" y="1474"/>
                  </a:lnTo>
                  <a:lnTo>
                    <a:pt x="2840" y="1470"/>
                  </a:lnTo>
                  <a:lnTo>
                    <a:pt x="2842" y="1466"/>
                  </a:lnTo>
                  <a:lnTo>
                    <a:pt x="2848" y="1466"/>
                  </a:lnTo>
                  <a:lnTo>
                    <a:pt x="2856" y="1468"/>
                  </a:lnTo>
                  <a:lnTo>
                    <a:pt x="2860" y="1468"/>
                  </a:lnTo>
                  <a:lnTo>
                    <a:pt x="2866" y="1474"/>
                  </a:lnTo>
                  <a:lnTo>
                    <a:pt x="2866" y="1480"/>
                  </a:lnTo>
                  <a:lnTo>
                    <a:pt x="2870" y="1482"/>
                  </a:lnTo>
                  <a:lnTo>
                    <a:pt x="2876" y="1484"/>
                  </a:lnTo>
                  <a:lnTo>
                    <a:pt x="2882" y="1486"/>
                  </a:lnTo>
                  <a:lnTo>
                    <a:pt x="2888" y="1488"/>
                  </a:lnTo>
                  <a:lnTo>
                    <a:pt x="2890" y="1488"/>
                  </a:lnTo>
                  <a:lnTo>
                    <a:pt x="2896" y="1492"/>
                  </a:lnTo>
                  <a:lnTo>
                    <a:pt x="2902" y="1496"/>
                  </a:lnTo>
                  <a:lnTo>
                    <a:pt x="2906" y="1502"/>
                  </a:lnTo>
                  <a:lnTo>
                    <a:pt x="2908" y="1502"/>
                  </a:lnTo>
                  <a:lnTo>
                    <a:pt x="2914" y="1506"/>
                  </a:lnTo>
                  <a:lnTo>
                    <a:pt x="2920" y="1510"/>
                  </a:lnTo>
                  <a:lnTo>
                    <a:pt x="2922" y="1512"/>
                  </a:lnTo>
                  <a:lnTo>
                    <a:pt x="2928" y="1512"/>
                  </a:lnTo>
                  <a:lnTo>
                    <a:pt x="2934" y="1516"/>
                  </a:lnTo>
                  <a:lnTo>
                    <a:pt x="2940" y="1522"/>
                  </a:lnTo>
                  <a:lnTo>
                    <a:pt x="2944" y="1528"/>
                  </a:lnTo>
                  <a:lnTo>
                    <a:pt x="2948" y="1534"/>
                  </a:lnTo>
                  <a:lnTo>
                    <a:pt x="2952" y="1540"/>
                  </a:lnTo>
                  <a:lnTo>
                    <a:pt x="2952" y="1546"/>
                  </a:lnTo>
                  <a:lnTo>
                    <a:pt x="2944" y="1546"/>
                  </a:lnTo>
                  <a:lnTo>
                    <a:pt x="2938" y="1546"/>
                  </a:lnTo>
                  <a:lnTo>
                    <a:pt x="2932" y="1548"/>
                  </a:lnTo>
                  <a:lnTo>
                    <a:pt x="2928" y="1552"/>
                  </a:lnTo>
                  <a:lnTo>
                    <a:pt x="2922" y="1558"/>
                  </a:lnTo>
                  <a:lnTo>
                    <a:pt x="2918" y="1560"/>
                  </a:lnTo>
                  <a:lnTo>
                    <a:pt x="2912" y="1564"/>
                  </a:lnTo>
                  <a:lnTo>
                    <a:pt x="2906" y="1570"/>
                  </a:lnTo>
                  <a:lnTo>
                    <a:pt x="2906" y="1576"/>
                  </a:lnTo>
                  <a:lnTo>
                    <a:pt x="2902" y="1580"/>
                  </a:lnTo>
                  <a:lnTo>
                    <a:pt x="2900" y="1582"/>
                  </a:lnTo>
                  <a:lnTo>
                    <a:pt x="2894" y="1578"/>
                  </a:lnTo>
                  <a:lnTo>
                    <a:pt x="2888" y="1578"/>
                  </a:lnTo>
                  <a:lnTo>
                    <a:pt x="2882" y="1578"/>
                  </a:lnTo>
                  <a:lnTo>
                    <a:pt x="2876" y="1580"/>
                  </a:lnTo>
                  <a:lnTo>
                    <a:pt x="2872" y="1584"/>
                  </a:lnTo>
                  <a:lnTo>
                    <a:pt x="2868" y="1590"/>
                  </a:lnTo>
                  <a:lnTo>
                    <a:pt x="2866" y="1592"/>
                  </a:lnTo>
                  <a:lnTo>
                    <a:pt x="2868" y="1592"/>
                  </a:lnTo>
                  <a:lnTo>
                    <a:pt x="2874" y="1588"/>
                  </a:lnTo>
                  <a:lnTo>
                    <a:pt x="2880" y="1584"/>
                  </a:lnTo>
                  <a:lnTo>
                    <a:pt x="2886" y="1580"/>
                  </a:lnTo>
                  <a:lnTo>
                    <a:pt x="2892" y="1584"/>
                  </a:lnTo>
                  <a:lnTo>
                    <a:pt x="2894" y="1590"/>
                  </a:lnTo>
                  <a:lnTo>
                    <a:pt x="2896" y="1596"/>
                  </a:lnTo>
                  <a:lnTo>
                    <a:pt x="2900" y="1600"/>
                  </a:lnTo>
                  <a:lnTo>
                    <a:pt x="2906" y="1600"/>
                  </a:lnTo>
                  <a:lnTo>
                    <a:pt x="2898" y="1596"/>
                  </a:lnTo>
                  <a:lnTo>
                    <a:pt x="2906" y="1596"/>
                  </a:lnTo>
                  <a:lnTo>
                    <a:pt x="2912" y="1594"/>
                  </a:lnTo>
                  <a:lnTo>
                    <a:pt x="2914" y="1590"/>
                  </a:lnTo>
                  <a:lnTo>
                    <a:pt x="2920" y="1586"/>
                  </a:lnTo>
                  <a:lnTo>
                    <a:pt x="2926" y="1584"/>
                  </a:lnTo>
                  <a:lnTo>
                    <a:pt x="2932" y="1584"/>
                  </a:lnTo>
                  <a:lnTo>
                    <a:pt x="2938" y="1588"/>
                  </a:lnTo>
                  <a:lnTo>
                    <a:pt x="2944" y="1592"/>
                  </a:lnTo>
                  <a:lnTo>
                    <a:pt x="2950" y="1598"/>
                  </a:lnTo>
                  <a:lnTo>
                    <a:pt x="2956" y="1604"/>
                  </a:lnTo>
                  <a:lnTo>
                    <a:pt x="2956" y="1606"/>
                  </a:lnTo>
                  <a:lnTo>
                    <a:pt x="2960" y="1608"/>
                  </a:lnTo>
                  <a:lnTo>
                    <a:pt x="2964" y="1608"/>
                  </a:lnTo>
                  <a:lnTo>
                    <a:pt x="2970" y="1610"/>
                  </a:lnTo>
                  <a:lnTo>
                    <a:pt x="2976" y="1612"/>
                  </a:lnTo>
                  <a:lnTo>
                    <a:pt x="2982" y="1614"/>
                  </a:lnTo>
                  <a:lnTo>
                    <a:pt x="2988" y="1614"/>
                  </a:lnTo>
                  <a:lnTo>
                    <a:pt x="2982" y="1618"/>
                  </a:lnTo>
                  <a:lnTo>
                    <a:pt x="2974" y="1622"/>
                  </a:lnTo>
                  <a:lnTo>
                    <a:pt x="2974" y="1628"/>
                  </a:lnTo>
                  <a:lnTo>
                    <a:pt x="2970" y="1634"/>
                  </a:lnTo>
                  <a:lnTo>
                    <a:pt x="2968" y="1636"/>
                  </a:lnTo>
                  <a:lnTo>
                    <a:pt x="2962" y="1636"/>
                  </a:lnTo>
                  <a:lnTo>
                    <a:pt x="2956" y="1640"/>
                  </a:lnTo>
                  <a:lnTo>
                    <a:pt x="2960" y="1646"/>
                  </a:lnTo>
                  <a:lnTo>
                    <a:pt x="2966" y="1640"/>
                  </a:lnTo>
                  <a:lnTo>
                    <a:pt x="2972" y="1638"/>
                  </a:lnTo>
                  <a:lnTo>
                    <a:pt x="2978" y="1640"/>
                  </a:lnTo>
                  <a:lnTo>
                    <a:pt x="2974" y="1634"/>
                  </a:lnTo>
                  <a:lnTo>
                    <a:pt x="2980" y="1630"/>
                  </a:lnTo>
                  <a:lnTo>
                    <a:pt x="2986" y="1634"/>
                  </a:lnTo>
                  <a:lnTo>
                    <a:pt x="2984" y="1640"/>
                  </a:lnTo>
                  <a:lnTo>
                    <a:pt x="2984" y="1646"/>
                  </a:lnTo>
                  <a:lnTo>
                    <a:pt x="2988" y="1652"/>
                  </a:lnTo>
                  <a:lnTo>
                    <a:pt x="2990" y="1658"/>
                  </a:lnTo>
                  <a:lnTo>
                    <a:pt x="2986" y="1664"/>
                  </a:lnTo>
                  <a:lnTo>
                    <a:pt x="2982" y="1660"/>
                  </a:lnTo>
                  <a:lnTo>
                    <a:pt x="2982" y="1656"/>
                  </a:lnTo>
                  <a:lnTo>
                    <a:pt x="2978" y="1650"/>
                  </a:lnTo>
                  <a:lnTo>
                    <a:pt x="2978" y="1656"/>
                  </a:lnTo>
                  <a:lnTo>
                    <a:pt x="2980" y="1660"/>
                  </a:lnTo>
                  <a:lnTo>
                    <a:pt x="2974" y="1660"/>
                  </a:lnTo>
                  <a:lnTo>
                    <a:pt x="2970" y="1654"/>
                  </a:lnTo>
                  <a:lnTo>
                    <a:pt x="2972" y="1660"/>
                  </a:lnTo>
                  <a:lnTo>
                    <a:pt x="2966" y="1654"/>
                  </a:lnTo>
                  <a:lnTo>
                    <a:pt x="2966" y="1660"/>
                  </a:lnTo>
                  <a:lnTo>
                    <a:pt x="2962" y="1666"/>
                  </a:lnTo>
                  <a:lnTo>
                    <a:pt x="2962" y="1668"/>
                  </a:lnTo>
                  <a:lnTo>
                    <a:pt x="2968" y="1668"/>
                  </a:lnTo>
                  <a:lnTo>
                    <a:pt x="2974" y="1672"/>
                  </a:lnTo>
                  <a:lnTo>
                    <a:pt x="2972" y="1672"/>
                  </a:lnTo>
                  <a:lnTo>
                    <a:pt x="2978" y="1674"/>
                  </a:lnTo>
                  <a:lnTo>
                    <a:pt x="2980" y="1680"/>
                  </a:lnTo>
                  <a:lnTo>
                    <a:pt x="2974" y="1678"/>
                  </a:lnTo>
                  <a:lnTo>
                    <a:pt x="2972" y="1682"/>
                  </a:lnTo>
                  <a:lnTo>
                    <a:pt x="2978" y="1682"/>
                  </a:lnTo>
                  <a:lnTo>
                    <a:pt x="2982" y="1690"/>
                  </a:lnTo>
                  <a:lnTo>
                    <a:pt x="2976" y="1694"/>
                  </a:lnTo>
                  <a:lnTo>
                    <a:pt x="2970" y="1694"/>
                  </a:lnTo>
                  <a:lnTo>
                    <a:pt x="2968" y="1694"/>
                  </a:lnTo>
                  <a:lnTo>
                    <a:pt x="2962" y="1692"/>
                  </a:lnTo>
                  <a:lnTo>
                    <a:pt x="2956" y="1688"/>
                  </a:lnTo>
                  <a:lnTo>
                    <a:pt x="2950" y="1686"/>
                  </a:lnTo>
                  <a:lnTo>
                    <a:pt x="2952" y="1686"/>
                  </a:lnTo>
                  <a:lnTo>
                    <a:pt x="2958" y="1692"/>
                  </a:lnTo>
                  <a:lnTo>
                    <a:pt x="2962" y="1698"/>
                  </a:lnTo>
                  <a:lnTo>
                    <a:pt x="2968" y="1696"/>
                  </a:lnTo>
                  <a:lnTo>
                    <a:pt x="2974" y="1696"/>
                  </a:lnTo>
                  <a:lnTo>
                    <a:pt x="2974" y="1698"/>
                  </a:lnTo>
                  <a:lnTo>
                    <a:pt x="2978" y="1704"/>
                  </a:lnTo>
                  <a:lnTo>
                    <a:pt x="2982" y="1710"/>
                  </a:lnTo>
                  <a:lnTo>
                    <a:pt x="2986" y="1716"/>
                  </a:lnTo>
                  <a:lnTo>
                    <a:pt x="2986" y="1722"/>
                  </a:lnTo>
                  <a:lnTo>
                    <a:pt x="2978" y="1722"/>
                  </a:lnTo>
                  <a:lnTo>
                    <a:pt x="2976" y="1728"/>
                  </a:lnTo>
                  <a:lnTo>
                    <a:pt x="2976" y="1734"/>
                  </a:lnTo>
                  <a:lnTo>
                    <a:pt x="2970" y="1730"/>
                  </a:lnTo>
                  <a:lnTo>
                    <a:pt x="2968" y="1724"/>
                  </a:lnTo>
                  <a:lnTo>
                    <a:pt x="2964" y="1720"/>
                  </a:lnTo>
                  <a:lnTo>
                    <a:pt x="2960" y="1718"/>
                  </a:lnTo>
                  <a:lnTo>
                    <a:pt x="2958" y="1724"/>
                  </a:lnTo>
                  <a:lnTo>
                    <a:pt x="2954" y="1724"/>
                  </a:lnTo>
                  <a:lnTo>
                    <a:pt x="2960" y="1726"/>
                  </a:lnTo>
                  <a:lnTo>
                    <a:pt x="2958" y="1732"/>
                  </a:lnTo>
                  <a:lnTo>
                    <a:pt x="2956" y="1738"/>
                  </a:lnTo>
                  <a:lnTo>
                    <a:pt x="2952" y="1744"/>
                  </a:lnTo>
                  <a:lnTo>
                    <a:pt x="2948" y="1744"/>
                  </a:lnTo>
                  <a:lnTo>
                    <a:pt x="2942" y="1742"/>
                  </a:lnTo>
                  <a:lnTo>
                    <a:pt x="2936" y="1740"/>
                  </a:lnTo>
                  <a:lnTo>
                    <a:pt x="2930" y="1736"/>
                  </a:lnTo>
                  <a:lnTo>
                    <a:pt x="2932" y="1742"/>
                  </a:lnTo>
                  <a:lnTo>
                    <a:pt x="2938" y="1742"/>
                  </a:lnTo>
                  <a:lnTo>
                    <a:pt x="2944" y="1746"/>
                  </a:lnTo>
                  <a:lnTo>
                    <a:pt x="2950" y="1750"/>
                  </a:lnTo>
                  <a:lnTo>
                    <a:pt x="2948" y="1758"/>
                  </a:lnTo>
                  <a:lnTo>
                    <a:pt x="2944" y="1764"/>
                  </a:lnTo>
                  <a:lnTo>
                    <a:pt x="2944" y="1770"/>
                  </a:lnTo>
                  <a:lnTo>
                    <a:pt x="2942" y="1776"/>
                  </a:lnTo>
                  <a:lnTo>
                    <a:pt x="2948" y="1782"/>
                  </a:lnTo>
                  <a:lnTo>
                    <a:pt x="2942" y="1788"/>
                  </a:lnTo>
                  <a:lnTo>
                    <a:pt x="2944" y="1794"/>
                  </a:lnTo>
                  <a:lnTo>
                    <a:pt x="2944" y="1800"/>
                  </a:lnTo>
                  <a:lnTo>
                    <a:pt x="2938" y="1798"/>
                  </a:lnTo>
                  <a:lnTo>
                    <a:pt x="2938" y="1802"/>
                  </a:lnTo>
                  <a:lnTo>
                    <a:pt x="2934" y="1798"/>
                  </a:lnTo>
                  <a:lnTo>
                    <a:pt x="2932" y="1796"/>
                  </a:lnTo>
                  <a:lnTo>
                    <a:pt x="2928" y="1792"/>
                  </a:lnTo>
                  <a:lnTo>
                    <a:pt x="2928" y="1796"/>
                  </a:lnTo>
                  <a:lnTo>
                    <a:pt x="2934" y="1798"/>
                  </a:lnTo>
                  <a:lnTo>
                    <a:pt x="2938" y="1804"/>
                  </a:lnTo>
                  <a:lnTo>
                    <a:pt x="2936" y="1806"/>
                  </a:lnTo>
                  <a:lnTo>
                    <a:pt x="2930" y="1806"/>
                  </a:lnTo>
                  <a:lnTo>
                    <a:pt x="2932" y="1812"/>
                  </a:lnTo>
                  <a:lnTo>
                    <a:pt x="2928" y="1818"/>
                  </a:lnTo>
                  <a:lnTo>
                    <a:pt x="2922" y="1822"/>
                  </a:lnTo>
                  <a:lnTo>
                    <a:pt x="2926" y="1826"/>
                  </a:lnTo>
                  <a:lnTo>
                    <a:pt x="2930" y="1834"/>
                  </a:lnTo>
                  <a:lnTo>
                    <a:pt x="2930" y="1838"/>
                  </a:lnTo>
                  <a:lnTo>
                    <a:pt x="2924" y="1840"/>
                  </a:lnTo>
                  <a:lnTo>
                    <a:pt x="2920" y="1844"/>
                  </a:lnTo>
                  <a:lnTo>
                    <a:pt x="2914" y="1842"/>
                  </a:lnTo>
                  <a:lnTo>
                    <a:pt x="2920" y="1838"/>
                  </a:lnTo>
                  <a:lnTo>
                    <a:pt x="2922" y="1832"/>
                  </a:lnTo>
                  <a:lnTo>
                    <a:pt x="2920" y="1828"/>
                  </a:lnTo>
                  <a:lnTo>
                    <a:pt x="2916" y="1830"/>
                  </a:lnTo>
                  <a:lnTo>
                    <a:pt x="2914" y="1836"/>
                  </a:lnTo>
                  <a:lnTo>
                    <a:pt x="2908" y="1830"/>
                  </a:lnTo>
                  <a:lnTo>
                    <a:pt x="2906" y="1824"/>
                  </a:lnTo>
                  <a:lnTo>
                    <a:pt x="2900" y="1830"/>
                  </a:lnTo>
                  <a:lnTo>
                    <a:pt x="2894" y="1830"/>
                  </a:lnTo>
                  <a:lnTo>
                    <a:pt x="2898" y="1834"/>
                  </a:lnTo>
                  <a:lnTo>
                    <a:pt x="2898" y="1840"/>
                  </a:lnTo>
                  <a:lnTo>
                    <a:pt x="2904" y="1840"/>
                  </a:lnTo>
                  <a:lnTo>
                    <a:pt x="2910" y="1844"/>
                  </a:lnTo>
                  <a:lnTo>
                    <a:pt x="2910" y="1846"/>
                  </a:lnTo>
                  <a:lnTo>
                    <a:pt x="2910" y="1852"/>
                  </a:lnTo>
                  <a:lnTo>
                    <a:pt x="2904" y="1852"/>
                  </a:lnTo>
                  <a:lnTo>
                    <a:pt x="2906" y="1858"/>
                  </a:lnTo>
                  <a:lnTo>
                    <a:pt x="2912" y="1860"/>
                  </a:lnTo>
                  <a:lnTo>
                    <a:pt x="2916" y="1854"/>
                  </a:lnTo>
                  <a:lnTo>
                    <a:pt x="2920" y="1860"/>
                  </a:lnTo>
                  <a:lnTo>
                    <a:pt x="2914" y="1864"/>
                  </a:lnTo>
                  <a:lnTo>
                    <a:pt x="2908" y="1868"/>
                  </a:lnTo>
                  <a:lnTo>
                    <a:pt x="2904" y="1874"/>
                  </a:lnTo>
                  <a:lnTo>
                    <a:pt x="2902" y="1878"/>
                  </a:lnTo>
                  <a:lnTo>
                    <a:pt x="2900" y="1884"/>
                  </a:lnTo>
                  <a:lnTo>
                    <a:pt x="2898" y="1880"/>
                  </a:lnTo>
                  <a:lnTo>
                    <a:pt x="2890" y="1878"/>
                  </a:lnTo>
                  <a:lnTo>
                    <a:pt x="2888" y="1878"/>
                  </a:lnTo>
                  <a:lnTo>
                    <a:pt x="2882" y="1874"/>
                  </a:lnTo>
                  <a:lnTo>
                    <a:pt x="2876" y="1872"/>
                  </a:lnTo>
                  <a:lnTo>
                    <a:pt x="2880" y="1874"/>
                  </a:lnTo>
                  <a:lnTo>
                    <a:pt x="2884" y="1878"/>
                  </a:lnTo>
                  <a:lnTo>
                    <a:pt x="2888" y="1884"/>
                  </a:lnTo>
                  <a:lnTo>
                    <a:pt x="2890" y="1884"/>
                  </a:lnTo>
                  <a:lnTo>
                    <a:pt x="2896" y="1886"/>
                  </a:lnTo>
                  <a:lnTo>
                    <a:pt x="2902" y="1884"/>
                  </a:lnTo>
                  <a:lnTo>
                    <a:pt x="2904" y="1880"/>
                  </a:lnTo>
                  <a:lnTo>
                    <a:pt x="2910" y="1880"/>
                  </a:lnTo>
                  <a:lnTo>
                    <a:pt x="2914" y="1886"/>
                  </a:lnTo>
                  <a:lnTo>
                    <a:pt x="2910" y="1890"/>
                  </a:lnTo>
                  <a:lnTo>
                    <a:pt x="2914" y="1896"/>
                  </a:lnTo>
                  <a:lnTo>
                    <a:pt x="2910" y="1902"/>
                  </a:lnTo>
                  <a:lnTo>
                    <a:pt x="2908" y="1908"/>
                  </a:lnTo>
                  <a:lnTo>
                    <a:pt x="2908" y="1912"/>
                  </a:lnTo>
                  <a:lnTo>
                    <a:pt x="2914" y="1914"/>
                  </a:lnTo>
                  <a:lnTo>
                    <a:pt x="2918" y="1920"/>
                  </a:lnTo>
                  <a:lnTo>
                    <a:pt x="2918" y="1926"/>
                  </a:lnTo>
                  <a:lnTo>
                    <a:pt x="2916" y="1920"/>
                  </a:lnTo>
                  <a:lnTo>
                    <a:pt x="2912" y="1926"/>
                  </a:lnTo>
                  <a:lnTo>
                    <a:pt x="2908" y="1920"/>
                  </a:lnTo>
                  <a:lnTo>
                    <a:pt x="2902" y="1916"/>
                  </a:lnTo>
                  <a:lnTo>
                    <a:pt x="2898" y="1912"/>
                  </a:lnTo>
                  <a:lnTo>
                    <a:pt x="2896" y="1918"/>
                  </a:lnTo>
                  <a:lnTo>
                    <a:pt x="2890" y="1924"/>
                  </a:lnTo>
                  <a:lnTo>
                    <a:pt x="2896" y="1928"/>
                  </a:lnTo>
                  <a:lnTo>
                    <a:pt x="2902" y="1930"/>
                  </a:lnTo>
                  <a:lnTo>
                    <a:pt x="2904" y="1936"/>
                  </a:lnTo>
                  <a:lnTo>
                    <a:pt x="2898" y="1940"/>
                  </a:lnTo>
                  <a:lnTo>
                    <a:pt x="2892" y="1938"/>
                  </a:lnTo>
                  <a:lnTo>
                    <a:pt x="2892" y="1944"/>
                  </a:lnTo>
                  <a:lnTo>
                    <a:pt x="2890" y="1938"/>
                  </a:lnTo>
                  <a:lnTo>
                    <a:pt x="2884" y="1932"/>
                  </a:lnTo>
                  <a:lnTo>
                    <a:pt x="2878" y="1936"/>
                  </a:lnTo>
                  <a:lnTo>
                    <a:pt x="2882" y="1938"/>
                  </a:lnTo>
                  <a:lnTo>
                    <a:pt x="2884" y="1944"/>
                  </a:lnTo>
                  <a:lnTo>
                    <a:pt x="2884" y="1950"/>
                  </a:lnTo>
                  <a:lnTo>
                    <a:pt x="2890" y="1952"/>
                  </a:lnTo>
                  <a:lnTo>
                    <a:pt x="2886" y="1956"/>
                  </a:lnTo>
                  <a:lnTo>
                    <a:pt x="2880" y="1960"/>
                  </a:lnTo>
                  <a:lnTo>
                    <a:pt x="2874" y="1962"/>
                  </a:lnTo>
                  <a:lnTo>
                    <a:pt x="2874" y="1956"/>
                  </a:lnTo>
                  <a:lnTo>
                    <a:pt x="2868" y="1962"/>
                  </a:lnTo>
                  <a:lnTo>
                    <a:pt x="2870" y="1966"/>
                  </a:lnTo>
                  <a:lnTo>
                    <a:pt x="2876" y="1966"/>
                  </a:lnTo>
                  <a:lnTo>
                    <a:pt x="2878" y="1972"/>
                  </a:lnTo>
                  <a:lnTo>
                    <a:pt x="2876" y="1978"/>
                  </a:lnTo>
                  <a:lnTo>
                    <a:pt x="2872" y="1984"/>
                  </a:lnTo>
                  <a:lnTo>
                    <a:pt x="2868" y="1980"/>
                  </a:lnTo>
                  <a:lnTo>
                    <a:pt x="2862" y="1974"/>
                  </a:lnTo>
                  <a:lnTo>
                    <a:pt x="2860" y="1980"/>
                  </a:lnTo>
                  <a:lnTo>
                    <a:pt x="2858" y="1982"/>
                  </a:lnTo>
                  <a:lnTo>
                    <a:pt x="2852" y="1984"/>
                  </a:lnTo>
                  <a:lnTo>
                    <a:pt x="2846" y="1978"/>
                  </a:lnTo>
                  <a:lnTo>
                    <a:pt x="2842" y="1982"/>
                  </a:lnTo>
                  <a:lnTo>
                    <a:pt x="2840" y="1982"/>
                  </a:lnTo>
                  <a:lnTo>
                    <a:pt x="2834" y="1984"/>
                  </a:lnTo>
                  <a:lnTo>
                    <a:pt x="2838" y="1990"/>
                  </a:lnTo>
                  <a:lnTo>
                    <a:pt x="2834" y="1990"/>
                  </a:lnTo>
                  <a:lnTo>
                    <a:pt x="2830" y="1988"/>
                  </a:lnTo>
                  <a:lnTo>
                    <a:pt x="2824" y="1988"/>
                  </a:lnTo>
                  <a:lnTo>
                    <a:pt x="2828" y="1992"/>
                  </a:lnTo>
                  <a:lnTo>
                    <a:pt x="2834" y="1994"/>
                  </a:lnTo>
                  <a:lnTo>
                    <a:pt x="2840" y="1992"/>
                  </a:lnTo>
                  <a:lnTo>
                    <a:pt x="2840" y="1998"/>
                  </a:lnTo>
                  <a:lnTo>
                    <a:pt x="2846" y="2000"/>
                  </a:lnTo>
                  <a:lnTo>
                    <a:pt x="2842" y="2006"/>
                  </a:lnTo>
                  <a:lnTo>
                    <a:pt x="2836" y="2006"/>
                  </a:lnTo>
                  <a:lnTo>
                    <a:pt x="2836" y="2012"/>
                  </a:lnTo>
                  <a:lnTo>
                    <a:pt x="2834" y="2018"/>
                  </a:lnTo>
                  <a:lnTo>
                    <a:pt x="2828" y="2024"/>
                  </a:lnTo>
                  <a:lnTo>
                    <a:pt x="2828" y="2018"/>
                  </a:lnTo>
                  <a:lnTo>
                    <a:pt x="2822" y="2016"/>
                  </a:lnTo>
                  <a:lnTo>
                    <a:pt x="2822" y="2018"/>
                  </a:lnTo>
                  <a:lnTo>
                    <a:pt x="2824" y="2024"/>
                  </a:lnTo>
                  <a:lnTo>
                    <a:pt x="2822" y="2028"/>
                  </a:lnTo>
                  <a:lnTo>
                    <a:pt x="2822" y="2034"/>
                  </a:lnTo>
                  <a:lnTo>
                    <a:pt x="2820" y="2028"/>
                  </a:lnTo>
                  <a:lnTo>
                    <a:pt x="2812" y="2030"/>
                  </a:lnTo>
                  <a:lnTo>
                    <a:pt x="2808" y="2036"/>
                  </a:lnTo>
                  <a:lnTo>
                    <a:pt x="2802" y="2036"/>
                  </a:lnTo>
                  <a:lnTo>
                    <a:pt x="2802" y="2042"/>
                  </a:lnTo>
                  <a:lnTo>
                    <a:pt x="2798" y="2046"/>
                  </a:lnTo>
                  <a:lnTo>
                    <a:pt x="2792" y="2052"/>
                  </a:lnTo>
                  <a:lnTo>
                    <a:pt x="2788" y="2046"/>
                  </a:lnTo>
                  <a:lnTo>
                    <a:pt x="2782" y="2046"/>
                  </a:lnTo>
                  <a:lnTo>
                    <a:pt x="2782" y="2052"/>
                  </a:lnTo>
                  <a:lnTo>
                    <a:pt x="2780" y="2058"/>
                  </a:lnTo>
                  <a:lnTo>
                    <a:pt x="2778" y="2062"/>
                  </a:lnTo>
                  <a:lnTo>
                    <a:pt x="2778" y="2064"/>
                  </a:lnTo>
                  <a:lnTo>
                    <a:pt x="2772" y="2066"/>
                  </a:lnTo>
                  <a:lnTo>
                    <a:pt x="2768" y="2064"/>
                  </a:lnTo>
                  <a:lnTo>
                    <a:pt x="2762" y="2064"/>
                  </a:lnTo>
                  <a:lnTo>
                    <a:pt x="2768" y="2068"/>
                  </a:lnTo>
                  <a:lnTo>
                    <a:pt x="2770" y="2066"/>
                  </a:lnTo>
                  <a:lnTo>
                    <a:pt x="2776" y="2070"/>
                  </a:lnTo>
                  <a:lnTo>
                    <a:pt x="2780" y="2076"/>
                  </a:lnTo>
                  <a:lnTo>
                    <a:pt x="2774" y="2072"/>
                  </a:lnTo>
                  <a:lnTo>
                    <a:pt x="2770" y="2078"/>
                  </a:lnTo>
                  <a:lnTo>
                    <a:pt x="2768" y="2076"/>
                  </a:lnTo>
                  <a:lnTo>
                    <a:pt x="2766" y="2078"/>
                  </a:lnTo>
                  <a:lnTo>
                    <a:pt x="2766" y="2084"/>
                  </a:lnTo>
                  <a:lnTo>
                    <a:pt x="2766" y="2090"/>
                  </a:lnTo>
                  <a:lnTo>
                    <a:pt x="2766" y="2092"/>
                  </a:lnTo>
                  <a:lnTo>
                    <a:pt x="2760" y="2094"/>
                  </a:lnTo>
                  <a:lnTo>
                    <a:pt x="2754" y="2094"/>
                  </a:lnTo>
                  <a:lnTo>
                    <a:pt x="2748" y="2096"/>
                  </a:lnTo>
                  <a:lnTo>
                    <a:pt x="2742" y="2096"/>
                  </a:lnTo>
                  <a:lnTo>
                    <a:pt x="2738" y="2094"/>
                  </a:lnTo>
                  <a:lnTo>
                    <a:pt x="2740" y="2098"/>
                  </a:lnTo>
                  <a:lnTo>
                    <a:pt x="2738" y="2100"/>
                  </a:lnTo>
                  <a:lnTo>
                    <a:pt x="2732" y="2104"/>
                  </a:lnTo>
                  <a:lnTo>
                    <a:pt x="2726" y="2104"/>
                  </a:lnTo>
                  <a:lnTo>
                    <a:pt x="2726" y="2102"/>
                  </a:lnTo>
                  <a:lnTo>
                    <a:pt x="2720" y="2100"/>
                  </a:lnTo>
                  <a:lnTo>
                    <a:pt x="2720" y="2094"/>
                  </a:lnTo>
                  <a:lnTo>
                    <a:pt x="2714" y="2098"/>
                  </a:lnTo>
                  <a:lnTo>
                    <a:pt x="2708" y="2096"/>
                  </a:lnTo>
                  <a:lnTo>
                    <a:pt x="2702" y="2094"/>
                  </a:lnTo>
                  <a:lnTo>
                    <a:pt x="2706" y="2100"/>
                  </a:lnTo>
                  <a:lnTo>
                    <a:pt x="2712" y="2102"/>
                  </a:lnTo>
                  <a:lnTo>
                    <a:pt x="2712" y="2108"/>
                  </a:lnTo>
                  <a:lnTo>
                    <a:pt x="2714" y="2114"/>
                  </a:lnTo>
                  <a:lnTo>
                    <a:pt x="2712" y="2114"/>
                  </a:lnTo>
                  <a:lnTo>
                    <a:pt x="2706" y="2112"/>
                  </a:lnTo>
                  <a:lnTo>
                    <a:pt x="2700" y="2106"/>
                  </a:lnTo>
                  <a:lnTo>
                    <a:pt x="2694" y="2104"/>
                  </a:lnTo>
                  <a:lnTo>
                    <a:pt x="2692" y="2104"/>
                  </a:lnTo>
                  <a:lnTo>
                    <a:pt x="2692" y="2100"/>
                  </a:lnTo>
                  <a:lnTo>
                    <a:pt x="2686" y="2104"/>
                  </a:lnTo>
                  <a:lnTo>
                    <a:pt x="2682" y="2104"/>
                  </a:lnTo>
                  <a:lnTo>
                    <a:pt x="2680" y="2110"/>
                  </a:lnTo>
                  <a:lnTo>
                    <a:pt x="2678" y="2112"/>
                  </a:lnTo>
                  <a:lnTo>
                    <a:pt x="2672" y="2110"/>
                  </a:lnTo>
                  <a:lnTo>
                    <a:pt x="2678" y="2114"/>
                  </a:lnTo>
                  <a:lnTo>
                    <a:pt x="2674" y="2118"/>
                  </a:lnTo>
                  <a:lnTo>
                    <a:pt x="2666" y="2118"/>
                  </a:lnTo>
                  <a:lnTo>
                    <a:pt x="2664" y="2116"/>
                  </a:lnTo>
                  <a:lnTo>
                    <a:pt x="2662" y="2110"/>
                  </a:lnTo>
                  <a:lnTo>
                    <a:pt x="2666" y="2104"/>
                  </a:lnTo>
                  <a:lnTo>
                    <a:pt x="2660" y="2104"/>
                  </a:lnTo>
                  <a:lnTo>
                    <a:pt x="2656" y="2108"/>
                  </a:lnTo>
                  <a:lnTo>
                    <a:pt x="2650" y="2114"/>
                  </a:lnTo>
                  <a:lnTo>
                    <a:pt x="2654" y="2114"/>
                  </a:lnTo>
                  <a:lnTo>
                    <a:pt x="2652" y="2122"/>
                  </a:lnTo>
                  <a:lnTo>
                    <a:pt x="2658" y="2124"/>
                  </a:lnTo>
                  <a:lnTo>
                    <a:pt x="2652" y="2128"/>
                  </a:lnTo>
                  <a:lnTo>
                    <a:pt x="2650" y="2122"/>
                  </a:lnTo>
                  <a:lnTo>
                    <a:pt x="2646" y="2118"/>
                  </a:lnTo>
                  <a:lnTo>
                    <a:pt x="2644" y="2116"/>
                  </a:lnTo>
                  <a:lnTo>
                    <a:pt x="2640" y="2118"/>
                  </a:lnTo>
                  <a:lnTo>
                    <a:pt x="2638" y="2118"/>
                  </a:lnTo>
                  <a:lnTo>
                    <a:pt x="2634" y="2122"/>
                  </a:lnTo>
                  <a:lnTo>
                    <a:pt x="2634" y="2120"/>
                  </a:lnTo>
                  <a:lnTo>
                    <a:pt x="2628" y="2122"/>
                  </a:lnTo>
                  <a:lnTo>
                    <a:pt x="2624" y="2124"/>
                  </a:lnTo>
                  <a:lnTo>
                    <a:pt x="2620" y="2124"/>
                  </a:lnTo>
                  <a:lnTo>
                    <a:pt x="2618" y="2122"/>
                  </a:lnTo>
                  <a:lnTo>
                    <a:pt x="2614" y="2126"/>
                  </a:lnTo>
                  <a:lnTo>
                    <a:pt x="2610" y="2118"/>
                  </a:lnTo>
                  <a:lnTo>
                    <a:pt x="2608" y="2114"/>
                  </a:lnTo>
                  <a:lnTo>
                    <a:pt x="2604" y="2106"/>
                  </a:lnTo>
                  <a:lnTo>
                    <a:pt x="2598" y="2108"/>
                  </a:lnTo>
                  <a:lnTo>
                    <a:pt x="2598" y="2104"/>
                  </a:lnTo>
                  <a:lnTo>
                    <a:pt x="2594" y="2100"/>
                  </a:lnTo>
                  <a:lnTo>
                    <a:pt x="2594" y="2094"/>
                  </a:lnTo>
                  <a:lnTo>
                    <a:pt x="2594" y="2088"/>
                  </a:lnTo>
                  <a:lnTo>
                    <a:pt x="2592" y="2088"/>
                  </a:lnTo>
                  <a:lnTo>
                    <a:pt x="2592" y="2094"/>
                  </a:lnTo>
                  <a:lnTo>
                    <a:pt x="2590" y="2088"/>
                  </a:lnTo>
                  <a:lnTo>
                    <a:pt x="2588" y="2088"/>
                  </a:lnTo>
                  <a:lnTo>
                    <a:pt x="2592" y="2082"/>
                  </a:lnTo>
                  <a:lnTo>
                    <a:pt x="2594" y="2082"/>
                  </a:lnTo>
                  <a:lnTo>
                    <a:pt x="2600" y="2082"/>
                  </a:lnTo>
                  <a:lnTo>
                    <a:pt x="2604" y="2082"/>
                  </a:lnTo>
                  <a:lnTo>
                    <a:pt x="2598" y="2080"/>
                  </a:lnTo>
                  <a:lnTo>
                    <a:pt x="2592" y="2082"/>
                  </a:lnTo>
                  <a:lnTo>
                    <a:pt x="2590" y="2082"/>
                  </a:lnTo>
                  <a:lnTo>
                    <a:pt x="2584" y="2086"/>
                  </a:lnTo>
                  <a:lnTo>
                    <a:pt x="2580" y="2084"/>
                  </a:lnTo>
                  <a:lnTo>
                    <a:pt x="2580" y="2086"/>
                  </a:lnTo>
                  <a:lnTo>
                    <a:pt x="2586" y="2088"/>
                  </a:lnTo>
                  <a:lnTo>
                    <a:pt x="2582" y="2094"/>
                  </a:lnTo>
                  <a:lnTo>
                    <a:pt x="2580" y="2096"/>
                  </a:lnTo>
                  <a:lnTo>
                    <a:pt x="2576" y="2098"/>
                  </a:lnTo>
                  <a:lnTo>
                    <a:pt x="2574" y="2096"/>
                  </a:lnTo>
                  <a:lnTo>
                    <a:pt x="2570" y="2096"/>
                  </a:lnTo>
                  <a:lnTo>
                    <a:pt x="2574" y="2098"/>
                  </a:lnTo>
                  <a:lnTo>
                    <a:pt x="2576" y="2098"/>
                  </a:lnTo>
                  <a:lnTo>
                    <a:pt x="2580" y="2100"/>
                  </a:lnTo>
                  <a:lnTo>
                    <a:pt x="2586" y="2104"/>
                  </a:lnTo>
                  <a:lnTo>
                    <a:pt x="2584" y="2108"/>
                  </a:lnTo>
                  <a:lnTo>
                    <a:pt x="2582" y="2106"/>
                  </a:lnTo>
                  <a:lnTo>
                    <a:pt x="2584" y="2108"/>
                  </a:lnTo>
                  <a:lnTo>
                    <a:pt x="2592" y="2114"/>
                  </a:lnTo>
                  <a:lnTo>
                    <a:pt x="2594" y="2120"/>
                  </a:lnTo>
                  <a:lnTo>
                    <a:pt x="2596" y="2124"/>
                  </a:lnTo>
                  <a:lnTo>
                    <a:pt x="2594" y="2130"/>
                  </a:lnTo>
                  <a:lnTo>
                    <a:pt x="2596" y="2132"/>
                  </a:lnTo>
                  <a:lnTo>
                    <a:pt x="2598" y="2138"/>
                  </a:lnTo>
                  <a:lnTo>
                    <a:pt x="2598" y="2144"/>
                  </a:lnTo>
                  <a:lnTo>
                    <a:pt x="2598" y="2146"/>
                  </a:lnTo>
                  <a:lnTo>
                    <a:pt x="2596" y="2146"/>
                  </a:lnTo>
                  <a:lnTo>
                    <a:pt x="2590" y="2146"/>
                  </a:lnTo>
                  <a:lnTo>
                    <a:pt x="2586" y="2140"/>
                  </a:lnTo>
                  <a:lnTo>
                    <a:pt x="2582" y="2134"/>
                  </a:lnTo>
                  <a:lnTo>
                    <a:pt x="2578" y="2130"/>
                  </a:lnTo>
                  <a:lnTo>
                    <a:pt x="2576" y="2126"/>
                  </a:lnTo>
                  <a:lnTo>
                    <a:pt x="2572" y="2120"/>
                  </a:lnTo>
                  <a:lnTo>
                    <a:pt x="2572" y="2124"/>
                  </a:lnTo>
                  <a:lnTo>
                    <a:pt x="2576" y="2130"/>
                  </a:lnTo>
                  <a:lnTo>
                    <a:pt x="2580" y="2136"/>
                  </a:lnTo>
                  <a:lnTo>
                    <a:pt x="2584" y="2142"/>
                  </a:lnTo>
                  <a:lnTo>
                    <a:pt x="2588" y="2148"/>
                  </a:lnTo>
                  <a:lnTo>
                    <a:pt x="2582" y="2150"/>
                  </a:lnTo>
                  <a:lnTo>
                    <a:pt x="2580" y="2156"/>
                  </a:lnTo>
                  <a:lnTo>
                    <a:pt x="2574" y="2150"/>
                  </a:lnTo>
                  <a:lnTo>
                    <a:pt x="2572" y="2144"/>
                  </a:lnTo>
                  <a:lnTo>
                    <a:pt x="2568" y="2150"/>
                  </a:lnTo>
                  <a:lnTo>
                    <a:pt x="2568" y="2156"/>
                  </a:lnTo>
                  <a:lnTo>
                    <a:pt x="2570" y="2162"/>
                  </a:lnTo>
                  <a:lnTo>
                    <a:pt x="2566" y="2168"/>
                  </a:lnTo>
                  <a:lnTo>
                    <a:pt x="2560" y="2164"/>
                  </a:lnTo>
                  <a:lnTo>
                    <a:pt x="2554" y="2164"/>
                  </a:lnTo>
                  <a:lnTo>
                    <a:pt x="2550" y="2168"/>
                  </a:lnTo>
                  <a:lnTo>
                    <a:pt x="2546" y="2176"/>
                  </a:lnTo>
                  <a:lnTo>
                    <a:pt x="2540" y="2172"/>
                  </a:lnTo>
                  <a:lnTo>
                    <a:pt x="2534" y="2168"/>
                  </a:lnTo>
                  <a:lnTo>
                    <a:pt x="2538" y="2162"/>
                  </a:lnTo>
                  <a:lnTo>
                    <a:pt x="2532" y="2162"/>
                  </a:lnTo>
                  <a:lnTo>
                    <a:pt x="2530" y="2156"/>
                  </a:lnTo>
                  <a:lnTo>
                    <a:pt x="2530" y="2162"/>
                  </a:lnTo>
                  <a:lnTo>
                    <a:pt x="2532" y="2168"/>
                  </a:lnTo>
                  <a:lnTo>
                    <a:pt x="2534" y="2174"/>
                  </a:lnTo>
                  <a:lnTo>
                    <a:pt x="2528" y="2180"/>
                  </a:lnTo>
                  <a:lnTo>
                    <a:pt x="2522" y="2176"/>
                  </a:lnTo>
                  <a:lnTo>
                    <a:pt x="2516" y="2172"/>
                  </a:lnTo>
                  <a:lnTo>
                    <a:pt x="2512" y="2170"/>
                  </a:lnTo>
                  <a:lnTo>
                    <a:pt x="2510" y="2170"/>
                  </a:lnTo>
                  <a:lnTo>
                    <a:pt x="2506" y="2170"/>
                  </a:lnTo>
                  <a:lnTo>
                    <a:pt x="2506" y="2168"/>
                  </a:lnTo>
                  <a:lnTo>
                    <a:pt x="2504" y="2168"/>
                  </a:lnTo>
                  <a:lnTo>
                    <a:pt x="2506" y="2174"/>
                  </a:lnTo>
                  <a:lnTo>
                    <a:pt x="2506" y="2178"/>
                  </a:lnTo>
                  <a:lnTo>
                    <a:pt x="2504" y="2180"/>
                  </a:lnTo>
                  <a:lnTo>
                    <a:pt x="2498" y="2176"/>
                  </a:lnTo>
                  <a:lnTo>
                    <a:pt x="2492" y="2176"/>
                  </a:lnTo>
                  <a:lnTo>
                    <a:pt x="2498" y="2180"/>
                  </a:lnTo>
                  <a:lnTo>
                    <a:pt x="2496" y="2186"/>
                  </a:lnTo>
                  <a:lnTo>
                    <a:pt x="2490" y="2190"/>
                  </a:lnTo>
                  <a:lnTo>
                    <a:pt x="2484" y="2192"/>
                  </a:lnTo>
                  <a:lnTo>
                    <a:pt x="2478" y="2188"/>
                  </a:lnTo>
                  <a:lnTo>
                    <a:pt x="2478" y="2190"/>
                  </a:lnTo>
                  <a:lnTo>
                    <a:pt x="2476" y="2190"/>
                  </a:lnTo>
                  <a:lnTo>
                    <a:pt x="2476" y="2192"/>
                  </a:lnTo>
                  <a:lnTo>
                    <a:pt x="2476" y="2194"/>
                  </a:lnTo>
                  <a:lnTo>
                    <a:pt x="2470" y="2198"/>
                  </a:lnTo>
                  <a:lnTo>
                    <a:pt x="2472" y="2194"/>
                  </a:lnTo>
                  <a:lnTo>
                    <a:pt x="2466" y="2194"/>
                  </a:lnTo>
                  <a:lnTo>
                    <a:pt x="2464" y="2196"/>
                  </a:lnTo>
                  <a:lnTo>
                    <a:pt x="2458" y="2196"/>
                  </a:lnTo>
                  <a:lnTo>
                    <a:pt x="2452" y="2198"/>
                  </a:lnTo>
                  <a:lnTo>
                    <a:pt x="2446" y="2202"/>
                  </a:lnTo>
                  <a:lnTo>
                    <a:pt x="2440" y="2202"/>
                  </a:lnTo>
                  <a:lnTo>
                    <a:pt x="2434" y="2206"/>
                  </a:lnTo>
                  <a:lnTo>
                    <a:pt x="2436" y="2202"/>
                  </a:lnTo>
                  <a:lnTo>
                    <a:pt x="2440" y="2198"/>
                  </a:lnTo>
                  <a:lnTo>
                    <a:pt x="2436" y="2202"/>
                  </a:lnTo>
                  <a:lnTo>
                    <a:pt x="2432" y="2206"/>
                  </a:lnTo>
                  <a:lnTo>
                    <a:pt x="2434" y="2212"/>
                  </a:lnTo>
                  <a:lnTo>
                    <a:pt x="2428" y="2214"/>
                  </a:lnTo>
                  <a:lnTo>
                    <a:pt x="2424" y="2214"/>
                  </a:lnTo>
                  <a:lnTo>
                    <a:pt x="2424" y="2208"/>
                  </a:lnTo>
                  <a:lnTo>
                    <a:pt x="2420" y="2202"/>
                  </a:lnTo>
                  <a:lnTo>
                    <a:pt x="2418" y="2202"/>
                  </a:lnTo>
                  <a:lnTo>
                    <a:pt x="2418" y="2208"/>
                  </a:lnTo>
                  <a:lnTo>
                    <a:pt x="2422" y="2214"/>
                  </a:lnTo>
                  <a:lnTo>
                    <a:pt x="2422" y="2216"/>
                  </a:lnTo>
                  <a:lnTo>
                    <a:pt x="2416" y="2222"/>
                  </a:lnTo>
                  <a:lnTo>
                    <a:pt x="2414" y="2222"/>
                  </a:lnTo>
                  <a:lnTo>
                    <a:pt x="2410" y="2228"/>
                  </a:lnTo>
                  <a:lnTo>
                    <a:pt x="2410" y="2234"/>
                  </a:lnTo>
                  <a:lnTo>
                    <a:pt x="2412" y="2240"/>
                  </a:lnTo>
                  <a:lnTo>
                    <a:pt x="2418" y="2240"/>
                  </a:lnTo>
                  <a:lnTo>
                    <a:pt x="2424" y="2240"/>
                  </a:lnTo>
                  <a:lnTo>
                    <a:pt x="2426" y="2246"/>
                  </a:lnTo>
                  <a:lnTo>
                    <a:pt x="2424" y="2248"/>
                  </a:lnTo>
                  <a:lnTo>
                    <a:pt x="2422" y="2242"/>
                  </a:lnTo>
                  <a:lnTo>
                    <a:pt x="2422" y="2248"/>
                  </a:lnTo>
                  <a:lnTo>
                    <a:pt x="2426" y="2254"/>
                  </a:lnTo>
                  <a:lnTo>
                    <a:pt x="2432" y="2258"/>
                  </a:lnTo>
                  <a:lnTo>
                    <a:pt x="2436" y="2264"/>
                  </a:lnTo>
                  <a:lnTo>
                    <a:pt x="2436" y="2270"/>
                  </a:lnTo>
                  <a:lnTo>
                    <a:pt x="2432" y="2274"/>
                  </a:lnTo>
                  <a:lnTo>
                    <a:pt x="2426" y="2280"/>
                  </a:lnTo>
                  <a:lnTo>
                    <a:pt x="2420" y="2278"/>
                  </a:lnTo>
                  <a:lnTo>
                    <a:pt x="2418" y="2278"/>
                  </a:lnTo>
                  <a:lnTo>
                    <a:pt x="2412" y="2278"/>
                  </a:lnTo>
                  <a:lnTo>
                    <a:pt x="2406" y="2278"/>
                  </a:lnTo>
                  <a:lnTo>
                    <a:pt x="2402" y="2280"/>
                  </a:lnTo>
                  <a:lnTo>
                    <a:pt x="2402" y="2274"/>
                  </a:lnTo>
                  <a:lnTo>
                    <a:pt x="2400" y="2268"/>
                  </a:lnTo>
                  <a:lnTo>
                    <a:pt x="2406" y="2270"/>
                  </a:lnTo>
                  <a:lnTo>
                    <a:pt x="2406" y="2266"/>
                  </a:lnTo>
                  <a:lnTo>
                    <a:pt x="2400" y="2266"/>
                  </a:lnTo>
                  <a:lnTo>
                    <a:pt x="2394" y="2262"/>
                  </a:lnTo>
                  <a:lnTo>
                    <a:pt x="2392" y="2256"/>
                  </a:lnTo>
                  <a:lnTo>
                    <a:pt x="2394" y="2248"/>
                  </a:lnTo>
                  <a:lnTo>
                    <a:pt x="2390" y="2250"/>
                  </a:lnTo>
                  <a:lnTo>
                    <a:pt x="2388" y="2244"/>
                  </a:lnTo>
                  <a:lnTo>
                    <a:pt x="2386" y="2238"/>
                  </a:lnTo>
                  <a:lnTo>
                    <a:pt x="2380" y="2236"/>
                  </a:lnTo>
                  <a:lnTo>
                    <a:pt x="2380" y="2232"/>
                  </a:lnTo>
                  <a:lnTo>
                    <a:pt x="2380" y="2226"/>
                  </a:lnTo>
                  <a:lnTo>
                    <a:pt x="2378" y="2220"/>
                  </a:lnTo>
                  <a:lnTo>
                    <a:pt x="2382" y="2214"/>
                  </a:lnTo>
                  <a:lnTo>
                    <a:pt x="2382" y="2212"/>
                  </a:lnTo>
                  <a:lnTo>
                    <a:pt x="2382" y="2206"/>
                  </a:lnTo>
                  <a:lnTo>
                    <a:pt x="2388" y="2204"/>
                  </a:lnTo>
                  <a:lnTo>
                    <a:pt x="2392" y="2198"/>
                  </a:lnTo>
                  <a:lnTo>
                    <a:pt x="2392" y="2196"/>
                  </a:lnTo>
                  <a:lnTo>
                    <a:pt x="2390" y="2194"/>
                  </a:lnTo>
                  <a:lnTo>
                    <a:pt x="2384" y="2194"/>
                  </a:lnTo>
                  <a:lnTo>
                    <a:pt x="2380" y="2188"/>
                  </a:lnTo>
                  <a:lnTo>
                    <a:pt x="2378" y="2188"/>
                  </a:lnTo>
                  <a:lnTo>
                    <a:pt x="2380" y="2194"/>
                  </a:lnTo>
                  <a:lnTo>
                    <a:pt x="2376" y="2194"/>
                  </a:lnTo>
                  <a:lnTo>
                    <a:pt x="2370" y="2190"/>
                  </a:lnTo>
                  <a:lnTo>
                    <a:pt x="2368" y="2184"/>
                  </a:lnTo>
                  <a:lnTo>
                    <a:pt x="2364" y="2178"/>
                  </a:lnTo>
                  <a:lnTo>
                    <a:pt x="2362" y="2184"/>
                  </a:lnTo>
                  <a:lnTo>
                    <a:pt x="2368" y="2190"/>
                  </a:lnTo>
                  <a:lnTo>
                    <a:pt x="2362" y="2194"/>
                  </a:lnTo>
                  <a:lnTo>
                    <a:pt x="2356" y="2198"/>
                  </a:lnTo>
                  <a:lnTo>
                    <a:pt x="2350" y="2198"/>
                  </a:lnTo>
                  <a:lnTo>
                    <a:pt x="2348" y="2194"/>
                  </a:lnTo>
                  <a:lnTo>
                    <a:pt x="2344" y="2200"/>
                  </a:lnTo>
                  <a:lnTo>
                    <a:pt x="2338" y="2196"/>
                  </a:lnTo>
                  <a:lnTo>
                    <a:pt x="2342" y="2190"/>
                  </a:lnTo>
                  <a:lnTo>
                    <a:pt x="2336" y="2184"/>
                  </a:lnTo>
                  <a:lnTo>
                    <a:pt x="2330" y="2186"/>
                  </a:lnTo>
                  <a:lnTo>
                    <a:pt x="2324" y="2182"/>
                  </a:lnTo>
                  <a:lnTo>
                    <a:pt x="2326" y="2176"/>
                  </a:lnTo>
                  <a:lnTo>
                    <a:pt x="2320" y="2174"/>
                  </a:lnTo>
                  <a:lnTo>
                    <a:pt x="2320" y="2180"/>
                  </a:lnTo>
                  <a:lnTo>
                    <a:pt x="2322" y="2186"/>
                  </a:lnTo>
                  <a:lnTo>
                    <a:pt x="2316" y="2184"/>
                  </a:lnTo>
                  <a:lnTo>
                    <a:pt x="2316" y="2182"/>
                  </a:lnTo>
                  <a:lnTo>
                    <a:pt x="2310" y="2178"/>
                  </a:lnTo>
                  <a:lnTo>
                    <a:pt x="2310" y="2172"/>
                  </a:lnTo>
                  <a:lnTo>
                    <a:pt x="2304" y="2172"/>
                  </a:lnTo>
                  <a:lnTo>
                    <a:pt x="2308" y="2166"/>
                  </a:lnTo>
                  <a:lnTo>
                    <a:pt x="2302" y="2162"/>
                  </a:lnTo>
                  <a:lnTo>
                    <a:pt x="2298" y="2168"/>
                  </a:lnTo>
                  <a:lnTo>
                    <a:pt x="2298" y="2164"/>
                  </a:lnTo>
                  <a:lnTo>
                    <a:pt x="2296" y="2166"/>
                  </a:lnTo>
                  <a:lnTo>
                    <a:pt x="2298" y="2170"/>
                  </a:lnTo>
                  <a:lnTo>
                    <a:pt x="2300" y="2176"/>
                  </a:lnTo>
                  <a:lnTo>
                    <a:pt x="2304" y="2182"/>
                  </a:lnTo>
                  <a:lnTo>
                    <a:pt x="2302" y="2188"/>
                  </a:lnTo>
                  <a:lnTo>
                    <a:pt x="2300" y="2188"/>
                  </a:lnTo>
                  <a:lnTo>
                    <a:pt x="2296" y="2182"/>
                  </a:lnTo>
                  <a:lnTo>
                    <a:pt x="2290" y="2182"/>
                  </a:lnTo>
                  <a:lnTo>
                    <a:pt x="2292" y="2188"/>
                  </a:lnTo>
                  <a:lnTo>
                    <a:pt x="2286" y="2194"/>
                  </a:lnTo>
                  <a:lnTo>
                    <a:pt x="2284" y="2188"/>
                  </a:lnTo>
                  <a:lnTo>
                    <a:pt x="2278" y="2190"/>
                  </a:lnTo>
                  <a:lnTo>
                    <a:pt x="2272" y="2190"/>
                  </a:lnTo>
                  <a:lnTo>
                    <a:pt x="2266" y="2186"/>
                  </a:lnTo>
                  <a:lnTo>
                    <a:pt x="2262" y="2182"/>
                  </a:lnTo>
                  <a:lnTo>
                    <a:pt x="2260" y="2182"/>
                  </a:lnTo>
                  <a:lnTo>
                    <a:pt x="2256" y="2184"/>
                  </a:lnTo>
                  <a:lnTo>
                    <a:pt x="2250" y="2186"/>
                  </a:lnTo>
                  <a:lnTo>
                    <a:pt x="2244" y="2186"/>
                  </a:lnTo>
                  <a:lnTo>
                    <a:pt x="2242" y="2188"/>
                  </a:lnTo>
                  <a:lnTo>
                    <a:pt x="2240" y="2182"/>
                  </a:lnTo>
                  <a:lnTo>
                    <a:pt x="2234" y="2186"/>
                  </a:lnTo>
                  <a:lnTo>
                    <a:pt x="2234" y="2182"/>
                  </a:lnTo>
                  <a:lnTo>
                    <a:pt x="2228" y="2178"/>
                  </a:lnTo>
                  <a:lnTo>
                    <a:pt x="2224" y="2178"/>
                  </a:lnTo>
                  <a:lnTo>
                    <a:pt x="2218" y="2174"/>
                  </a:lnTo>
                  <a:lnTo>
                    <a:pt x="2212" y="2172"/>
                  </a:lnTo>
                  <a:lnTo>
                    <a:pt x="2212" y="2166"/>
                  </a:lnTo>
                  <a:lnTo>
                    <a:pt x="2208" y="2164"/>
                  </a:lnTo>
                  <a:lnTo>
                    <a:pt x="2202" y="2160"/>
                  </a:lnTo>
                  <a:lnTo>
                    <a:pt x="2194" y="2158"/>
                  </a:lnTo>
                  <a:lnTo>
                    <a:pt x="2192" y="2160"/>
                  </a:lnTo>
                  <a:lnTo>
                    <a:pt x="2190" y="2156"/>
                  </a:lnTo>
                  <a:lnTo>
                    <a:pt x="2188" y="2150"/>
                  </a:lnTo>
                  <a:lnTo>
                    <a:pt x="2186" y="2146"/>
                  </a:lnTo>
                  <a:lnTo>
                    <a:pt x="2186" y="2140"/>
                  </a:lnTo>
                  <a:lnTo>
                    <a:pt x="2180" y="2136"/>
                  </a:lnTo>
                  <a:lnTo>
                    <a:pt x="2178" y="2132"/>
                  </a:lnTo>
                  <a:lnTo>
                    <a:pt x="2178" y="2130"/>
                  </a:lnTo>
                  <a:lnTo>
                    <a:pt x="2178" y="2126"/>
                  </a:lnTo>
                  <a:lnTo>
                    <a:pt x="2178" y="2124"/>
                  </a:lnTo>
                  <a:lnTo>
                    <a:pt x="2178" y="2118"/>
                  </a:lnTo>
                  <a:lnTo>
                    <a:pt x="2184" y="2118"/>
                  </a:lnTo>
                  <a:lnTo>
                    <a:pt x="2186" y="2118"/>
                  </a:lnTo>
                  <a:lnTo>
                    <a:pt x="2186" y="2112"/>
                  </a:lnTo>
                  <a:lnTo>
                    <a:pt x="2188" y="2106"/>
                  </a:lnTo>
                  <a:lnTo>
                    <a:pt x="2182" y="2100"/>
                  </a:lnTo>
                  <a:lnTo>
                    <a:pt x="2180" y="2098"/>
                  </a:lnTo>
                  <a:lnTo>
                    <a:pt x="2174" y="2096"/>
                  </a:lnTo>
                  <a:lnTo>
                    <a:pt x="2170" y="2094"/>
                  </a:lnTo>
                  <a:lnTo>
                    <a:pt x="2168" y="2098"/>
                  </a:lnTo>
                  <a:lnTo>
                    <a:pt x="2162" y="2098"/>
                  </a:lnTo>
                  <a:lnTo>
                    <a:pt x="2156" y="2100"/>
                  </a:lnTo>
                  <a:lnTo>
                    <a:pt x="2152" y="2094"/>
                  </a:lnTo>
                  <a:lnTo>
                    <a:pt x="2146" y="2090"/>
                  </a:lnTo>
                  <a:lnTo>
                    <a:pt x="2142" y="2090"/>
                  </a:lnTo>
                  <a:lnTo>
                    <a:pt x="2138" y="2094"/>
                  </a:lnTo>
                  <a:lnTo>
                    <a:pt x="2132" y="2094"/>
                  </a:lnTo>
                  <a:lnTo>
                    <a:pt x="2126" y="2092"/>
                  </a:lnTo>
                  <a:lnTo>
                    <a:pt x="2122" y="2086"/>
                  </a:lnTo>
                  <a:lnTo>
                    <a:pt x="2116" y="2086"/>
                  </a:lnTo>
                  <a:lnTo>
                    <a:pt x="2110" y="2084"/>
                  </a:lnTo>
                  <a:lnTo>
                    <a:pt x="2108" y="2078"/>
                  </a:lnTo>
                  <a:lnTo>
                    <a:pt x="2104" y="2074"/>
                  </a:lnTo>
                  <a:lnTo>
                    <a:pt x="2098" y="2070"/>
                  </a:lnTo>
                  <a:lnTo>
                    <a:pt x="2094" y="2064"/>
                  </a:lnTo>
                  <a:lnTo>
                    <a:pt x="2092" y="2066"/>
                  </a:lnTo>
                  <a:lnTo>
                    <a:pt x="2088" y="2072"/>
                  </a:lnTo>
                  <a:lnTo>
                    <a:pt x="2082" y="2074"/>
                  </a:lnTo>
                  <a:lnTo>
                    <a:pt x="2076" y="2076"/>
                  </a:lnTo>
                  <a:lnTo>
                    <a:pt x="2076" y="2078"/>
                  </a:lnTo>
                  <a:lnTo>
                    <a:pt x="2070" y="2078"/>
                  </a:lnTo>
                  <a:lnTo>
                    <a:pt x="2066" y="2082"/>
                  </a:lnTo>
                  <a:lnTo>
                    <a:pt x="2068" y="2088"/>
                  </a:lnTo>
                  <a:lnTo>
                    <a:pt x="2070" y="2094"/>
                  </a:lnTo>
                  <a:lnTo>
                    <a:pt x="2070" y="2096"/>
                  </a:lnTo>
                  <a:lnTo>
                    <a:pt x="2066" y="2100"/>
                  </a:lnTo>
                  <a:lnTo>
                    <a:pt x="2060" y="2102"/>
                  </a:lnTo>
                  <a:lnTo>
                    <a:pt x="2054" y="2102"/>
                  </a:lnTo>
                  <a:lnTo>
                    <a:pt x="2050" y="2108"/>
                  </a:lnTo>
                  <a:lnTo>
                    <a:pt x="2044" y="2112"/>
                  </a:lnTo>
                  <a:lnTo>
                    <a:pt x="2042" y="2112"/>
                  </a:lnTo>
                  <a:lnTo>
                    <a:pt x="2038" y="2108"/>
                  </a:lnTo>
                  <a:lnTo>
                    <a:pt x="2036" y="2102"/>
                  </a:lnTo>
                  <a:lnTo>
                    <a:pt x="2034" y="2102"/>
                  </a:lnTo>
                  <a:lnTo>
                    <a:pt x="2028" y="2104"/>
                  </a:lnTo>
                  <a:lnTo>
                    <a:pt x="2026" y="2104"/>
                  </a:lnTo>
                  <a:lnTo>
                    <a:pt x="2024" y="2112"/>
                  </a:lnTo>
                  <a:lnTo>
                    <a:pt x="2024" y="2118"/>
                  </a:lnTo>
                  <a:lnTo>
                    <a:pt x="2024" y="2122"/>
                  </a:lnTo>
                  <a:lnTo>
                    <a:pt x="2022" y="2124"/>
                  </a:lnTo>
                  <a:lnTo>
                    <a:pt x="2018" y="2122"/>
                  </a:lnTo>
                  <a:lnTo>
                    <a:pt x="2012" y="2116"/>
                  </a:lnTo>
                  <a:lnTo>
                    <a:pt x="2006" y="2110"/>
                  </a:lnTo>
                  <a:lnTo>
                    <a:pt x="2000" y="2104"/>
                  </a:lnTo>
                  <a:lnTo>
                    <a:pt x="1998" y="2106"/>
                  </a:lnTo>
                  <a:lnTo>
                    <a:pt x="1996" y="2112"/>
                  </a:lnTo>
                  <a:lnTo>
                    <a:pt x="1994" y="2118"/>
                  </a:lnTo>
                  <a:lnTo>
                    <a:pt x="1990" y="2112"/>
                  </a:lnTo>
                  <a:lnTo>
                    <a:pt x="1986" y="2106"/>
                  </a:lnTo>
                  <a:lnTo>
                    <a:pt x="1980" y="2106"/>
                  </a:lnTo>
                  <a:lnTo>
                    <a:pt x="1978" y="2112"/>
                  </a:lnTo>
                  <a:lnTo>
                    <a:pt x="1974" y="2118"/>
                  </a:lnTo>
                  <a:lnTo>
                    <a:pt x="1972" y="2118"/>
                  </a:lnTo>
                  <a:lnTo>
                    <a:pt x="1970" y="2124"/>
                  </a:lnTo>
                  <a:lnTo>
                    <a:pt x="1966" y="2128"/>
                  </a:lnTo>
                  <a:lnTo>
                    <a:pt x="1960" y="2124"/>
                  </a:lnTo>
                  <a:lnTo>
                    <a:pt x="1958" y="2122"/>
                  </a:lnTo>
                  <a:lnTo>
                    <a:pt x="1952" y="2116"/>
                  </a:lnTo>
                  <a:lnTo>
                    <a:pt x="1946" y="2112"/>
                  </a:lnTo>
                  <a:lnTo>
                    <a:pt x="1940" y="2110"/>
                  </a:lnTo>
                  <a:lnTo>
                    <a:pt x="1934" y="2108"/>
                  </a:lnTo>
                  <a:lnTo>
                    <a:pt x="1928" y="2108"/>
                  </a:lnTo>
                  <a:lnTo>
                    <a:pt x="1926" y="2114"/>
                  </a:lnTo>
                  <a:lnTo>
                    <a:pt x="1924" y="2120"/>
                  </a:lnTo>
                  <a:lnTo>
                    <a:pt x="1920" y="2124"/>
                  </a:lnTo>
                  <a:lnTo>
                    <a:pt x="1920" y="2130"/>
                  </a:lnTo>
                  <a:lnTo>
                    <a:pt x="1914" y="2132"/>
                  </a:lnTo>
                  <a:lnTo>
                    <a:pt x="1908" y="2128"/>
                  </a:lnTo>
                  <a:lnTo>
                    <a:pt x="1902" y="2128"/>
                  </a:lnTo>
                  <a:lnTo>
                    <a:pt x="1896" y="2130"/>
                  </a:lnTo>
                  <a:lnTo>
                    <a:pt x="1892" y="2124"/>
                  </a:lnTo>
                  <a:lnTo>
                    <a:pt x="1890" y="2124"/>
                  </a:lnTo>
                  <a:lnTo>
                    <a:pt x="1886" y="2130"/>
                  </a:lnTo>
                  <a:lnTo>
                    <a:pt x="1886" y="2134"/>
                  </a:lnTo>
                  <a:lnTo>
                    <a:pt x="1882" y="2140"/>
                  </a:lnTo>
                  <a:lnTo>
                    <a:pt x="1882" y="2144"/>
                  </a:lnTo>
                  <a:lnTo>
                    <a:pt x="1884" y="2150"/>
                  </a:lnTo>
                  <a:lnTo>
                    <a:pt x="1886" y="2156"/>
                  </a:lnTo>
                  <a:lnTo>
                    <a:pt x="1886" y="2158"/>
                  </a:lnTo>
                  <a:lnTo>
                    <a:pt x="1890" y="2164"/>
                  </a:lnTo>
                  <a:lnTo>
                    <a:pt x="1896" y="2168"/>
                  </a:lnTo>
                  <a:lnTo>
                    <a:pt x="1898" y="2174"/>
                  </a:lnTo>
                  <a:lnTo>
                    <a:pt x="1900" y="2180"/>
                  </a:lnTo>
                  <a:lnTo>
                    <a:pt x="1904" y="2186"/>
                  </a:lnTo>
                  <a:lnTo>
                    <a:pt x="1902" y="2192"/>
                  </a:lnTo>
                  <a:lnTo>
                    <a:pt x="1900" y="2198"/>
                  </a:lnTo>
                  <a:lnTo>
                    <a:pt x="1900" y="2202"/>
                  </a:lnTo>
                  <a:lnTo>
                    <a:pt x="1902" y="2208"/>
                  </a:lnTo>
                  <a:lnTo>
                    <a:pt x="1908" y="2212"/>
                  </a:lnTo>
                  <a:lnTo>
                    <a:pt x="1906" y="2216"/>
                  </a:lnTo>
                  <a:lnTo>
                    <a:pt x="1902" y="2218"/>
                  </a:lnTo>
                  <a:lnTo>
                    <a:pt x="1898" y="2216"/>
                  </a:lnTo>
                  <a:lnTo>
                    <a:pt x="1896" y="2216"/>
                  </a:lnTo>
                  <a:lnTo>
                    <a:pt x="1890" y="2210"/>
                  </a:lnTo>
                  <a:lnTo>
                    <a:pt x="1884" y="2212"/>
                  </a:lnTo>
                  <a:lnTo>
                    <a:pt x="1878" y="2214"/>
                  </a:lnTo>
                  <a:lnTo>
                    <a:pt x="1872" y="2214"/>
                  </a:lnTo>
                  <a:lnTo>
                    <a:pt x="1872" y="2212"/>
                  </a:lnTo>
                  <a:lnTo>
                    <a:pt x="1870" y="2206"/>
                  </a:lnTo>
                  <a:lnTo>
                    <a:pt x="1868" y="2200"/>
                  </a:lnTo>
                  <a:lnTo>
                    <a:pt x="1868" y="2194"/>
                  </a:lnTo>
                  <a:lnTo>
                    <a:pt x="1864" y="2190"/>
                  </a:lnTo>
                  <a:lnTo>
                    <a:pt x="1862" y="2188"/>
                  </a:lnTo>
                  <a:lnTo>
                    <a:pt x="1864" y="2186"/>
                  </a:lnTo>
                  <a:lnTo>
                    <a:pt x="1860" y="2180"/>
                  </a:lnTo>
                  <a:lnTo>
                    <a:pt x="1860" y="2174"/>
                  </a:lnTo>
                  <a:lnTo>
                    <a:pt x="1858" y="2174"/>
                  </a:lnTo>
                  <a:lnTo>
                    <a:pt x="1852" y="2180"/>
                  </a:lnTo>
                  <a:lnTo>
                    <a:pt x="1846" y="2182"/>
                  </a:lnTo>
                  <a:lnTo>
                    <a:pt x="1842" y="2188"/>
                  </a:lnTo>
                  <a:lnTo>
                    <a:pt x="1840" y="2190"/>
                  </a:lnTo>
                  <a:lnTo>
                    <a:pt x="1834" y="2194"/>
                  </a:lnTo>
                  <a:lnTo>
                    <a:pt x="1828" y="2196"/>
                  </a:lnTo>
                  <a:lnTo>
                    <a:pt x="1822" y="2194"/>
                  </a:lnTo>
                  <a:lnTo>
                    <a:pt x="1816" y="2190"/>
                  </a:lnTo>
                  <a:lnTo>
                    <a:pt x="1810" y="2196"/>
                  </a:lnTo>
                  <a:lnTo>
                    <a:pt x="1808" y="2198"/>
                  </a:lnTo>
                  <a:lnTo>
                    <a:pt x="1802" y="2194"/>
                  </a:lnTo>
                  <a:lnTo>
                    <a:pt x="1800" y="2188"/>
                  </a:lnTo>
                  <a:lnTo>
                    <a:pt x="1802" y="2182"/>
                  </a:lnTo>
                  <a:lnTo>
                    <a:pt x="1796" y="2180"/>
                  </a:lnTo>
                  <a:lnTo>
                    <a:pt x="1792" y="2180"/>
                  </a:lnTo>
                  <a:lnTo>
                    <a:pt x="1790" y="2174"/>
                  </a:lnTo>
                  <a:lnTo>
                    <a:pt x="1788" y="2168"/>
                  </a:lnTo>
                  <a:lnTo>
                    <a:pt x="1790" y="2162"/>
                  </a:lnTo>
                  <a:lnTo>
                    <a:pt x="1788" y="2156"/>
                  </a:lnTo>
                  <a:lnTo>
                    <a:pt x="1782" y="2156"/>
                  </a:lnTo>
                  <a:lnTo>
                    <a:pt x="1776" y="2156"/>
                  </a:lnTo>
                  <a:lnTo>
                    <a:pt x="1770" y="2154"/>
                  </a:lnTo>
                  <a:lnTo>
                    <a:pt x="1764" y="2152"/>
                  </a:lnTo>
                  <a:lnTo>
                    <a:pt x="1758" y="2150"/>
                  </a:lnTo>
                  <a:lnTo>
                    <a:pt x="1752" y="2152"/>
                  </a:lnTo>
                  <a:lnTo>
                    <a:pt x="1746" y="2152"/>
                  </a:lnTo>
                  <a:lnTo>
                    <a:pt x="1740" y="2150"/>
                  </a:lnTo>
                  <a:lnTo>
                    <a:pt x="1738" y="2148"/>
                  </a:lnTo>
                  <a:lnTo>
                    <a:pt x="1740" y="2142"/>
                  </a:lnTo>
                  <a:lnTo>
                    <a:pt x="1742" y="2136"/>
                  </a:lnTo>
                  <a:lnTo>
                    <a:pt x="1744" y="2130"/>
                  </a:lnTo>
                  <a:lnTo>
                    <a:pt x="1748" y="2124"/>
                  </a:lnTo>
                  <a:lnTo>
                    <a:pt x="1748" y="2118"/>
                  </a:lnTo>
                  <a:lnTo>
                    <a:pt x="1744" y="2112"/>
                  </a:lnTo>
                  <a:lnTo>
                    <a:pt x="1742" y="2106"/>
                  </a:lnTo>
                  <a:lnTo>
                    <a:pt x="1746" y="2102"/>
                  </a:lnTo>
                  <a:lnTo>
                    <a:pt x="1748" y="2096"/>
                  </a:lnTo>
                  <a:lnTo>
                    <a:pt x="1754" y="2096"/>
                  </a:lnTo>
                  <a:lnTo>
                    <a:pt x="1752" y="2090"/>
                  </a:lnTo>
                  <a:lnTo>
                    <a:pt x="1750" y="2084"/>
                  </a:lnTo>
                  <a:lnTo>
                    <a:pt x="1744" y="2084"/>
                  </a:lnTo>
                  <a:lnTo>
                    <a:pt x="1738" y="2084"/>
                  </a:lnTo>
                  <a:lnTo>
                    <a:pt x="1732" y="2082"/>
                  </a:lnTo>
                  <a:lnTo>
                    <a:pt x="1726" y="2082"/>
                  </a:lnTo>
                  <a:lnTo>
                    <a:pt x="1720" y="2078"/>
                  </a:lnTo>
                  <a:lnTo>
                    <a:pt x="1714" y="2076"/>
                  </a:lnTo>
                  <a:lnTo>
                    <a:pt x="1712" y="2072"/>
                  </a:lnTo>
                  <a:lnTo>
                    <a:pt x="1712" y="2064"/>
                  </a:lnTo>
                  <a:lnTo>
                    <a:pt x="1710" y="2058"/>
                  </a:lnTo>
                  <a:lnTo>
                    <a:pt x="1708" y="2058"/>
                  </a:lnTo>
                  <a:lnTo>
                    <a:pt x="1704" y="2054"/>
                  </a:lnTo>
                  <a:lnTo>
                    <a:pt x="1708" y="2048"/>
                  </a:lnTo>
                  <a:lnTo>
                    <a:pt x="1702" y="2042"/>
                  </a:lnTo>
                  <a:lnTo>
                    <a:pt x="1698" y="2036"/>
                  </a:lnTo>
                  <a:lnTo>
                    <a:pt x="1694" y="2030"/>
                  </a:lnTo>
                  <a:lnTo>
                    <a:pt x="1692" y="2024"/>
                  </a:lnTo>
                  <a:lnTo>
                    <a:pt x="1696" y="2020"/>
                  </a:lnTo>
                  <a:lnTo>
                    <a:pt x="1702" y="2014"/>
                  </a:lnTo>
                  <a:lnTo>
                    <a:pt x="1702" y="2010"/>
                  </a:lnTo>
                  <a:lnTo>
                    <a:pt x="1700" y="2012"/>
                  </a:lnTo>
                  <a:lnTo>
                    <a:pt x="1694" y="2012"/>
                  </a:lnTo>
                  <a:lnTo>
                    <a:pt x="1690" y="2012"/>
                  </a:lnTo>
                  <a:lnTo>
                    <a:pt x="1684" y="2016"/>
                  </a:lnTo>
                  <a:lnTo>
                    <a:pt x="1678" y="2012"/>
                  </a:lnTo>
                  <a:lnTo>
                    <a:pt x="1674" y="2012"/>
                  </a:lnTo>
                  <a:lnTo>
                    <a:pt x="1668" y="2012"/>
                  </a:lnTo>
                  <a:lnTo>
                    <a:pt x="1660" y="2012"/>
                  </a:lnTo>
                  <a:lnTo>
                    <a:pt x="1656" y="2014"/>
                  </a:lnTo>
                  <a:lnTo>
                    <a:pt x="1652" y="2016"/>
                  </a:lnTo>
                  <a:lnTo>
                    <a:pt x="1648" y="2018"/>
                  </a:lnTo>
                  <a:lnTo>
                    <a:pt x="1642" y="2022"/>
                  </a:lnTo>
                  <a:lnTo>
                    <a:pt x="1642" y="2024"/>
                  </a:lnTo>
                  <a:lnTo>
                    <a:pt x="1636" y="2026"/>
                  </a:lnTo>
                  <a:lnTo>
                    <a:pt x="1630" y="2030"/>
                  </a:lnTo>
                  <a:lnTo>
                    <a:pt x="1624" y="2026"/>
                  </a:lnTo>
                  <a:lnTo>
                    <a:pt x="1628" y="2020"/>
                  </a:lnTo>
                  <a:lnTo>
                    <a:pt x="1632" y="2014"/>
                  </a:lnTo>
                  <a:lnTo>
                    <a:pt x="1634" y="2008"/>
                  </a:lnTo>
                  <a:lnTo>
                    <a:pt x="1632" y="2008"/>
                  </a:lnTo>
                  <a:lnTo>
                    <a:pt x="1632" y="2004"/>
                  </a:lnTo>
                  <a:lnTo>
                    <a:pt x="1628" y="2000"/>
                  </a:lnTo>
                  <a:lnTo>
                    <a:pt x="1628" y="1994"/>
                  </a:lnTo>
                  <a:lnTo>
                    <a:pt x="1620" y="1990"/>
                  </a:lnTo>
                  <a:lnTo>
                    <a:pt x="1618" y="1984"/>
                  </a:lnTo>
                  <a:lnTo>
                    <a:pt x="1618" y="1978"/>
                  </a:lnTo>
                  <a:lnTo>
                    <a:pt x="1616" y="1972"/>
                  </a:lnTo>
                  <a:lnTo>
                    <a:pt x="1616" y="1970"/>
                  </a:lnTo>
                  <a:lnTo>
                    <a:pt x="1622" y="1964"/>
                  </a:lnTo>
                  <a:lnTo>
                    <a:pt x="1628" y="1962"/>
                  </a:lnTo>
                  <a:lnTo>
                    <a:pt x="1624" y="1956"/>
                  </a:lnTo>
                  <a:lnTo>
                    <a:pt x="1622" y="1952"/>
                  </a:lnTo>
                  <a:lnTo>
                    <a:pt x="1622" y="1946"/>
                  </a:lnTo>
                  <a:lnTo>
                    <a:pt x="1626" y="1940"/>
                  </a:lnTo>
                  <a:lnTo>
                    <a:pt x="1626" y="1934"/>
                  </a:lnTo>
                  <a:lnTo>
                    <a:pt x="1632" y="1936"/>
                  </a:lnTo>
                  <a:lnTo>
                    <a:pt x="1636" y="1932"/>
                  </a:lnTo>
                  <a:lnTo>
                    <a:pt x="1640" y="1930"/>
                  </a:lnTo>
                  <a:lnTo>
                    <a:pt x="1642" y="1924"/>
                  </a:lnTo>
                  <a:lnTo>
                    <a:pt x="1644" y="1924"/>
                  </a:lnTo>
                  <a:lnTo>
                    <a:pt x="1640" y="1918"/>
                  </a:lnTo>
                  <a:lnTo>
                    <a:pt x="1642" y="1912"/>
                  </a:lnTo>
                  <a:lnTo>
                    <a:pt x="1642" y="1910"/>
                  </a:lnTo>
                  <a:lnTo>
                    <a:pt x="1648" y="1910"/>
                  </a:lnTo>
                  <a:lnTo>
                    <a:pt x="1654" y="1912"/>
                  </a:lnTo>
                  <a:lnTo>
                    <a:pt x="1654" y="1906"/>
                  </a:lnTo>
                  <a:lnTo>
                    <a:pt x="1658" y="1900"/>
                  </a:lnTo>
                  <a:lnTo>
                    <a:pt x="1660" y="1894"/>
                  </a:lnTo>
                  <a:lnTo>
                    <a:pt x="1666" y="1896"/>
                  </a:lnTo>
                  <a:lnTo>
                    <a:pt x="1670" y="1892"/>
                  </a:lnTo>
                  <a:lnTo>
                    <a:pt x="1668" y="1886"/>
                  </a:lnTo>
                  <a:lnTo>
                    <a:pt x="1662" y="1880"/>
                  </a:lnTo>
                  <a:lnTo>
                    <a:pt x="1660" y="1874"/>
                  </a:lnTo>
                  <a:lnTo>
                    <a:pt x="1666" y="1876"/>
                  </a:lnTo>
                  <a:lnTo>
                    <a:pt x="1668" y="1868"/>
                  </a:lnTo>
                  <a:lnTo>
                    <a:pt x="1664" y="1864"/>
                  </a:lnTo>
                  <a:lnTo>
                    <a:pt x="1666" y="1856"/>
                  </a:lnTo>
                  <a:lnTo>
                    <a:pt x="1666" y="1850"/>
                  </a:lnTo>
                  <a:lnTo>
                    <a:pt x="1664" y="1844"/>
                  </a:lnTo>
                  <a:lnTo>
                    <a:pt x="1666" y="1838"/>
                  </a:lnTo>
                  <a:lnTo>
                    <a:pt x="1664" y="1834"/>
                  </a:lnTo>
                  <a:lnTo>
                    <a:pt x="1662" y="1826"/>
                  </a:lnTo>
                  <a:lnTo>
                    <a:pt x="1660" y="1822"/>
                  </a:lnTo>
                  <a:lnTo>
                    <a:pt x="1658" y="1816"/>
                  </a:lnTo>
                  <a:lnTo>
                    <a:pt x="1658" y="1808"/>
                  </a:lnTo>
                  <a:lnTo>
                    <a:pt x="1654" y="1802"/>
                  </a:lnTo>
                  <a:lnTo>
                    <a:pt x="1652" y="1796"/>
                  </a:lnTo>
                  <a:lnTo>
                    <a:pt x="1652" y="1792"/>
                  </a:lnTo>
                  <a:lnTo>
                    <a:pt x="1650" y="1786"/>
                  </a:lnTo>
                  <a:lnTo>
                    <a:pt x="1648" y="1780"/>
                  </a:lnTo>
                  <a:lnTo>
                    <a:pt x="1648" y="1774"/>
                  </a:lnTo>
                  <a:lnTo>
                    <a:pt x="1642" y="1772"/>
                  </a:lnTo>
                  <a:lnTo>
                    <a:pt x="1636" y="1768"/>
                  </a:lnTo>
                  <a:lnTo>
                    <a:pt x="1630" y="1766"/>
                  </a:lnTo>
                  <a:lnTo>
                    <a:pt x="1632" y="1770"/>
                  </a:lnTo>
                  <a:lnTo>
                    <a:pt x="1626" y="1774"/>
                  </a:lnTo>
                  <a:lnTo>
                    <a:pt x="1622" y="1770"/>
                  </a:lnTo>
                  <a:lnTo>
                    <a:pt x="1620" y="1764"/>
                  </a:lnTo>
                  <a:lnTo>
                    <a:pt x="1616" y="1758"/>
                  </a:lnTo>
                  <a:lnTo>
                    <a:pt x="1612" y="1754"/>
                  </a:lnTo>
                  <a:lnTo>
                    <a:pt x="1610" y="1748"/>
                  </a:lnTo>
                  <a:lnTo>
                    <a:pt x="1608" y="1740"/>
                  </a:lnTo>
                  <a:lnTo>
                    <a:pt x="1608" y="1736"/>
                  </a:lnTo>
                  <a:lnTo>
                    <a:pt x="1606" y="1732"/>
                  </a:lnTo>
                  <a:lnTo>
                    <a:pt x="1602" y="1732"/>
                  </a:lnTo>
                  <a:lnTo>
                    <a:pt x="1598" y="1728"/>
                  </a:lnTo>
                  <a:lnTo>
                    <a:pt x="1594" y="1722"/>
                  </a:lnTo>
                  <a:lnTo>
                    <a:pt x="1588" y="1718"/>
                  </a:lnTo>
                  <a:lnTo>
                    <a:pt x="1582" y="1718"/>
                  </a:lnTo>
                  <a:lnTo>
                    <a:pt x="1578" y="1712"/>
                  </a:lnTo>
                  <a:lnTo>
                    <a:pt x="1572" y="1710"/>
                  </a:lnTo>
                  <a:lnTo>
                    <a:pt x="1566" y="1706"/>
                  </a:lnTo>
                  <a:lnTo>
                    <a:pt x="1566" y="1712"/>
                  </a:lnTo>
                  <a:lnTo>
                    <a:pt x="1564" y="1718"/>
                  </a:lnTo>
                  <a:lnTo>
                    <a:pt x="1564" y="1724"/>
                  </a:lnTo>
                  <a:lnTo>
                    <a:pt x="1558" y="1728"/>
                  </a:lnTo>
                  <a:lnTo>
                    <a:pt x="1556" y="1728"/>
                  </a:lnTo>
                  <a:lnTo>
                    <a:pt x="1550" y="1722"/>
                  </a:lnTo>
                  <a:lnTo>
                    <a:pt x="1544" y="1718"/>
                  </a:lnTo>
                  <a:lnTo>
                    <a:pt x="1538" y="1720"/>
                  </a:lnTo>
                  <a:lnTo>
                    <a:pt x="1536" y="1720"/>
                  </a:lnTo>
                  <a:lnTo>
                    <a:pt x="1530" y="1718"/>
                  </a:lnTo>
                  <a:lnTo>
                    <a:pt x="1524" y="1718"/>
                  </a:lnTo>
                  <a:lnTo>
                    <a:pt x="1518" y="1714"/>
                  </a:lnTo>
                  <a:lnTo>
                    <a:pt x="1512" y="1712"/>
                  </a:lnTo>
                  <a:lnTo>
                    <a:pt x="1508" y="1714"/>
                  </a:lnTo>
                  <a:lnTo>
                    <a:pt x="1500" y="1720"/>
                  </a:lnTo>
                  <a:lnTo>
                    <a:pt x="1496" y="1716"/>
                  </a:lnTo>
                  <a:lnTo>
                    <a:pt x="1496" y="1712"/>
                  </a:lnTo>
                  <a:lnTo>
                    <a:pt x="1494" y="1706"/>
                  </a:lnTo>
                  <a:lnTo>
                    <a:pt x="1500" y="1700"/>
                  </a:lnTo>
                  <a:lnTo>
                    <a:pt x="1504" y="1694"/>
                  </a:lnTo>
                  <a:lnTo>
                    <a:pt x="1506" y="1688"/>
                  </a:lnTo>
                  <a:lnTo>
                    <a:pt x="1500" y="1682"/>
                  </a:lnTo>
                  <a:lnTo>
                    <a:pt x="1496" y="1676"/>
                  </a:lnTo>
                  <a:lnTo>
                    <a:pt x="1496" y="1670"/>
                  </a:lnTo>
                  <a:lnTo>
                    <a:pt x="1490" y="1672"/>
                  </a:lnTo>
                  <a:lnTo>
                    <a:pt x="1484" y="1676"/>
                  </a:lnTo>
                  <a:lnTo>
                    <a:pt x="1478" y="1676"/>
                  </a:lnTo>
                  <a:lnTo>
                    <a:pt x="1478" y="1674"/>
                  </a:lnTo>
                  <a:lnTo>
                    <a:pt x="1474" y="1668"/>
                  </a:lnTo>
                  <a:lnTo>
                    <a:pt x="1480" y="1664"/>
                  </a:lnTo>
                  <a:lnTo>
                    <a:pt x="1486" y="1660"/>
                  </a:lnTo>
                  <a:lnTo>
                    <a:pt x="1482" y="1656"/>
                  </a:lnTo>
                  <a:lnTo>
                    <a:pt x="1476" y="1656"/>
                  </a:lnTo>
                  <a:lnTo>
                    <a:pt x="1472" y="1650"/>
                  </a:lnTo>
                  <a:lnTo>
                    <a:pt x="1472" y="1648"/>
                  </a:lnTo>
                  <a:lnTo>
                    <a:pt x="1466" y="1644"/>
                  </a:lnTo>
                  <a:lnTo>
                    <a:pt x="1460" y="1646"/>
                  </a:lnTo>
                  <a:lnTo>
                    <a:pt x="1454" y="1648"/>
                  </a:lnTo>
                  <a:lnTo>
                    <a:pt x="1450" y="1650"/>
                  </a:lnTo>
                  <a:lnTo>
                    <a:pt x="1444" y="1654"/>
                  </a:lnTo>
                  <a:lnTo>
                    <a:pt x="1440" y="1658"/>
                  </a:lnTo>
                  <a:lnTo>
                    <a:pt x="1438" y="1664"/>
                  </a:lnTo>
                  <a:lnTo>
                    <a:pt x="1436" y="1670"/>
                  </a:lnTo>
                  <a:lnTo>
                    <a:pt x="1430" y="1672"/>
                  </a:lnTo>
                  <a:lnTo>
                    <a:pt x="1424" y="1670"/>
                  </a:lnTo>
                  <a:lnTo>
                    <a:pt x="1418" y="1668"/>
                  </a:lnTo>
                  <a:lnTo>
                    <a:pt x="1412" y="1664"/>
                  </a:lnTo>
                  <a:lnTo>
                    <a:pt x="1406" y="1664"/>
                  </a:lnTo>
                  <a:lnTo>
                    <a:pt x="1404" y="1662"/>
                  </a:lnTo>
                  <a:lnTo>
                    <a:pt x="1406" y="1664"/>
                  </a:lnTo>
                  <a:lnTo>
                    <a:pt x="1406" y="1666"/>
                  </a:lnTo>
                  <a:lnTo>
                    <a:pt x="1406" y="1664"/>
                  </a:lnTo>
                  <a:lnTo>
                    <a:pt x="1400" y="1662"/>
                  </a:lnTo>
                  <a:lnTo>
                    <a:pt x="1394" y="1660"/>
                  </a:lnTo>
                  <a:lnTo>
                    <a:pt x="1388" y="1654"/>
                  </a:lnTo>
                  <a:lnTo>
                    <a:pt x="1382" y="1652"/>
                  </a:lnTo>
                  <a:lnTo>
                    <a:pt x="1380" y="1658"/>
                  </a:lnTo>
                  <a:lnTo>
                    <a:pt x="1374" y="1660"/>
                  </a:lnTo>
                  <a:lnTo>
                    <a:pt x="1368" y="1664"/>
                  </a:lnTo>
                  <a:lnTo>
                    <a:pt x="1362" y="1668"/>
                  </a:lnTo>
                  <a:lnTo>
                    <a:pt x="1360" y="1670"/>
                  </a:lnTo>
                  <a:lnTo>
                    <a:pt x="1358" y="1676"/>
                  </a:lnTo>
                  <a:lnTo>
                    <a:pt x="1354" y="1680"/>
                  </a:lnTo>
                  <a:lnTo>
                    <a:pt x="1350" y="1686"/>
                  </a:lnTo>
                  <a:lnTo>
                    <a:pt x="1348" y="1688"/>
                  </a:lnTo>
                  <a:lnTo>
                    <a:pt x="1342" y="1692"/>
                  </a:lnTo>
                  <a:lnTo>
                    <a:pt x="1336" y="1694"/>
                  </a:lnTo>
                  <a:lnTo>
                    <a:pt x="1330" y="1696"/>
                  </a:lnTo>
                  <a:lnTo>
                    <a:pt x="1324" y="1696"/>
                  </a:lnTo>
                  <a:lnTo>
                    <a:pt x="1318" y="1698"/>
                  </a:lnTo>
                  <a:lnTo>
                    <a:pt x="1316" y="1698"/>
                  </a:lnTo>
                  <a:lnTo>
                    <a:pt x="1310" y="1702"/>
                  </a:lnTo>
                  <a:lnTo>
                    <a:pt x="1308" y="1708"/>
                  </a:lnTo>
                  <a:lnTo>
                    <a:pt x="1308" y="1714"/>
                  </a:lnTo>
                  <a:lnTo>
                    <a:pt x="1308" y="1716"/>
                  </a:lnTo>
                  <a:lnTo>
                    <a:pt x="1306" y="1718"/>
                  </a:lnTo>
                  <a:lnTo>
                    <a:pt x="1304" y="1720"/>
                  </a:lnTo>
                  <a:lnTo>
                    <a:pt x="1298" y="1726"/>
                  </a:lnTo>
                  <a:lnTo>
                    <a:pt x="1294" y="1730"/>
                  </a:lnTo>
                  <a:lnTo>
                    <a:pt x="1288" y="1732"/>
                  </a:lnTo>
                  <a:lnTo>
                    <a:pt x="1284" y="1736"/>
                  </a:lnTo>
                  <a:lnTo>
                    <a:pt x="1288" y="1742"/>
                  </a:lnTo>
                  <a:lnTo>
                    <a:pt x="1286" y="1748"/>
                  </a:lnTo>
                  <a:lnTo>
                    <a:pt x="1280" y="1754"/>
                  </a:lnTo>
                  <a:lnTo>
                    <a:pt x="1274" y="1756"/>
                  </a:lnTo>
                  <a:lnTo>
                    <a:pt x="1268" y="1758"/>
                  </a:lnTo>
                  <a:lnTo>
                    <a:pt x="1262" y="1756"/>
                  </a:lnTo>
                  <a:lnTo>
                    <a:pt x="1256" y="1756"/>
                  </a:lnTo>
                  <a:lnTo>
                    <a:pt x="1250" y="1762"/>
                  </a:lnTo>
                  <a:lnTo>
                    <a:pt x="1244" y="1762"/>
                  </a:lnTo>
                  <a:lnTo>
                    <a:pt x="1242" y="1762"/>
                  </a:lnTo>
                  <a:lnTo>
                    <a:pt x="1236" y="1760"/>
                  </a:lnTo>
                  <a:lnTo>
                    <a:pt x="1234" y="1760"/>
                  </a:lnTo>
                  <a:lnTo>
                    <a:pt x="1228" y="1760"/>
                  </a:lnTo>
                  <a:lnTo>
                    <a:pt x="1228" y="1754"/>
                  </a:lnTo>
                  <a:lnTo>
                    <a:pt x="1228" y="1748"/>
                  </a:lnTo>
                  <a:lnTo>
                    <a:pt x="1222" y="1746"/>
                  </a:lnTo>
                  <a:lnTo>
                    <a:pt x="1216" y="1744"/>
                  </a:lnTo>
                  <a:lnTo>
                    <a:pt x="1210" y="1742"/>
                  </a:lnTo>
                  <a:lnTo>
                    <a:pt x="1204" y="1738"/>
                  </a:lnTo>
                  <a:lnTo>
                    <a:pt x="1198" y="1740"/>
                  </a:lnTo>
                  <a:lnTo>
                    <a:pt x="1194" y="1744"/>
                  </a:lnTo>
                  <a:lnTo>
                    <a:pt x="1190" y="1746"/>
                  </a:lnTo>
                  <a:lnTo>
                    <a:pt x="1188" y="1746"/>
                  </a:lnTo>
                  <a:lnTo>
                    <a:pt x="1188" y="1744"/>
                  </a:lnTo>
                  <a:lnTo>
                    <a:pt x="1182" y="1740"/>
                  </a:lnTo>
                  <a:lnTo>
                    <a:pt x="1176" y="1740"/>
                  </a:lnTo>
                  <a:lnTo>
                    <a:pt x="1170" y="1738"/>
                  </a:lnTo>
                  <a:lnTo>
                    <a:pt x="1164" y="1738"/>
                  </a:lnTo>
                  <a:lnTo>
                    <a:pt x="1160" y="1738"/>
                  </a:lnTo>
                  <a:lnTo>
                    <a:pt x="1154" y="1738"/>
                  </a:lnTo>
                  <a:lnTo>
                    <a:pt x="1148" y="1738"/>
                  </a:lnTo>
                  <a:lnTo>
                    <a:pt x="1148" y="1732"/>
                  </a:lnTo>
                  <a:lnTo>
                    <a:pt x="1146" y="1726"/>
                  </a:lnTo>
                  <a:lnTo>
                    <a:pt x="1140" y="1724"/>
                  </a:lnTo>
                  <a:lnTo>
                    <a:pt x="1134" y="1724"/>
                  </a:lnTo>
                  <a:lnTo>
                    <a:pt x="1130" y="1722"/>
                  </a:lnTo>
                  <a:lnTo>
                    <a:pt x="1124" y="1722"/>
                  </a:lnTo>
                  <a:lnTo>
                    <a:pt x="1122" y="1724"/>
                  </a:lnTo>
                  <a:lnTo>
                    <a:pt x="1114" y="1726"/>
                  </a:lnTo>
                  <a:lnTo>
                    <a:pt x="1110" y="1732"/>
                  </a:lnTo>
                  <a:lnTo>
                    <a:pt x="1104" y="1732"/>
                  </a:lnTo>
                  <a:lnTo>
                    <a:pt x="1098" y="1738"/>
                  </a:lnTo>
                  <a:lnTo>
                    <a:pt x="1096" y="1742"/>
                  </a:lnTo>
                  <a:lnTo>
                    <a:pt x="1094" y="1748"/>
                  </a:lnTo>
                  <a:lnTo>
                    <a:pt x="1090" y="1754"/>
                  </a:lnTo>
                  <a:lnTo>
                    <a:pt x="1084" y="1760"/>
                  </a:lnTo>
                  <a:lnTo>
                    <a:pt x="1082" y="1766"/>
                  </a:lnTo>
                  <a:lnTo>
                    <a:pt x="1080" y="1772"/>
                  </a:lnTo>
                  <a:lnTo>
                    <a:pt x="1080" y="1776"/>
                  </a:lnTo>
                  <a:lnTo>
                    <a:pt x="1074" y="1780"/>
                  </a:lnTo>
                  <a:lnTo>
                    <a:pt x="1074" y="1786"/>
                  </a:lnTo>
                  <a:lnTo>
                    <a:pt x="1072" y="1790"/>
                  </a:lnTo>
                  <a:lnTo>
                    <a:pt x="1066" y="1786"/>
                  </a:lnTo>
                  <a:lnTo>
                    <a:pt x="1062" y="1780"/>
                  </a:lnTo>
                  <a:lnTo>
                    <a:pt x="1062" y="1774"/>
                  </a:lnTo>
                  <a:lnTo>
                    <a:pt x="1064" y="1768"/>
                  </a:lnTo>
                  <a:lnTo>
                    <a:pt x="1064" y="1762"/>
                  </a:lnTo>
                  <a:lnTo>
                    <a:pt x="1064" y="1756"/>
                  </a:lnTo>
                  <a:lnTo>
                    <a:pt x="1062" y="1750"/>
                  </a:lnTo>
                  <a:lnTo>
                    <a:pt x="1060" y="1744"/>
                  </a:lnTo>
                  <a:lnTo>
                    <a:pt x="1054" y="1740"/>
                  </a:lnTo>
                  <a:lnTo>
                    <a:pt x="1048" y="1738"/>
                  </a:lnTo>
                  <a:lnTo>
                    <a:pt x="1042" y="1738"/>
                  </a:lnTo>
                  <a:lnTo>
                    <a:pt x="1036" y="1742"/>
                  </a:lnTo>
                  <a:lnTo>
                    <a:pt x="1030" y="1744"/>
                  </a:lnTo>
                  <a:lnTo>
                    <a:pt x="1024" y="1746"/>
                  </a:lnTo>
                  <a:lnTo>
                    <a:pt x="1018" y="1746"/>
                  </a:lnTo>
                  <a:lnTo>
                    <a:pt x="1020" y="1754"/>
                  </a:lnTo>
                  <a:lnTo>
                    <a:pt x="1012" y="1752"/>
                  </a:lnTo>
                  <a:lnTo>
                    <a:pt x="1006" y="1750"/>
                  </a:lnTo>
                  <a:lnTo>
                    <a:pt x="1000" y="1754"/>
                  </a:lnTo>
                  <a:lnTo>
                    <a:pt x="992" y="1756"/>
                  </a:lnTo>
                  <a:lnTo>
                    <a:pt x="984" y="1754"/>
                  </a:lnTo>
                  <a:lnTo>
                    <a:pt x="978" y="1756"/>
                  </a:lnTo>
                  <a:lnTo>
                    <a:pt x="974" y="1754"/>
                  </a:lnTo>
                  <a:lnTo>
                    <a:pt x="968" y="1754"/>
                  </a:lnTo>
                  <a:lnTo>
                    <a:pt x="962" y="1754"/>
                  </a:lnTo>
                  <a:lnTo>
                    <a:pt x="956" y="1748"/>
                  </a:lnTo>
                  <a:lnTo>
                    <a:pt x="950" y="1748"/>
                  </a:lnTo>
                  <a:lnTo>
                    <a:pt x="942" y="1742"/>
                  </a:lnTo>
                  <a:lnTo>
                    <a:pt x="936" y="1742"/>
                  </a:lnTo>
                  <a:lnTo>
                    <a:pt x="930" y="1736"/>
                  </a:lnTo>
                  <a:lnTo>
                    <a:pt x="924" y="1740"/>
                  </a:lnTo>
                  <a:lnTo>
                    <a:pt x="924" y="1746"/>
                  </a:lnTo>
                  <a:lnTo>
                    <a:pt x="922" y="1748"/>
                  </a:lnTo>
                  <a:lnTo>
                    <a:pt x="916" y="1748"/>
                  </a:lnTo>
                  <a:lnTo>
                    <a:pt x="910" y="1744"/>
                  </a:lnTo>
                  <a:lnTo>
                    <a:pt x="902" y="1738"/>
                  </a:lnTo>
                  <a:lnTo>
                    <a:pt x="900" y="1732"/>
                  </a:lnTo>
                  <a:lnTo>
                    <a:pt x="896" y="1738"/>
                  </a:lnTo>
                  <a:lnTo>
                    <a:pt x="898" y="1744"/>
                  </a:lnTo>
                  <a:lnTo>
                    <a:pt x="896" y="1750"/>
                  </a:lnTo>
                  <a:lnTo>
                    <a:pt x="890" y="1750"/>
                  </a:lnTo>
                  <a:lnTo>
                    <a:pt x="890" y="1744"/>
                  </a:lnTo>
                  <a:lnTo>
                    <a:pt x="888" y="1742"/>
                  </a:lnTo>
                  <a:lnTo>
                    <a:pt x="886" y="1738"/>
                  </a:lnTo>
                  <a:lnTo>
                    <a:pt x="880" y="1732"/>
                  </a:lnTo>
                  <a:lnTo>
                    <a:pt x="874" y="1726"/>
                  </a:lnTo>
                  <a:lnTo>
                    <a:pt x="870" y="1720"/>
                  </a:lnTo>
                  <a:lnTo>
                    <a:pt x="866" y="1726"/>
                  </a:lnTo>
                  <a:lnTo>
                    <a:pt x="860" y="1724"/>
                  </a:lnTo>
                  <a:lnTo>
                    <a:pt x="854" y="1724"/>
                  </a:lnTo>
                  <a:lnTo>
                    <a:pt x="848" y="1724"/>
                  </a:lnTo>
                  <a:lnTo>
                    <a:pt x="840" y="1722"/>
                  </a:lnTo>
                  <a:lnTo>
                    <a:pt x="834" y="1720"/>
                  </a:lnTo>
                  <a:lnTo>
                    <a:pt x="832" y="1712"/>
                  </a:lnTo>
                  <a:lnTo>
                    <a:pt x="836" y="1706"/>
                  </a:lnTo>
                  <a:lnTo>
                    <a:pt x="832" y="1700"/>
                  </a:lnTo>
                  <a:lnTo>
                    <a:pt x="826" y="1702"/>
                  </a:lnTo>
                  <a:lnTo>
                    <a:pt x="824" y="1702"/>
                  </a:lnTo>
                  <a:lnTo>
                    <a:pt x="818" y="1706"/>
                  </a:lnTo>
                  <a:lnTo>
                    <a:pt x="812" y="1702"/>
                  </a:lnTo>
                  <a:lnTo>
                    <a:pt x="806" y="1698"/>
                  </a:lnTo>
                  <a:lnTo>
                    <a:pt x="800" y="1694"/>
                  </a:lnTo>
                  <a:lnTo>
                    <a:pt x="794" y="1694"/>
                  </a:lnTo>
                  <a:lnTo>
                    <a:pt x="788" y="1686"/>
                  </a:lnTo>
                  <a:lnTo>
                    <a:pt x="782" y="1684"/>
                  </a:lnTo>
                  <a:lnTo>
                    <a:pt x="776" y="1680"/>
                  </a:lnTo>
                  <a:lnTo>
                    <a:pt x="776" y="1678"/>
                  </a:lnTo>
                  <a:lnTo>
                    <a:pt x="776" y="1672"/>
                  </a:lnTo>
                  <a:lnTo>
                    <a:pt x="770" y="1666"/>
                  </a:lnTo>
                  <a:lnTo>
                    <a:pt x="766" y="1660"/>
                  </a:lnTo>
                  <a:lnTo>
                    <a:pt x="760" y="1656"/>
                  </a:lnTo>
                  <a:lnTo>
                    <a:pt x="758" y="1654"/>
                  </a:lnTo>
                  <a:lnTo>
                    <a:pt x="750" y="1656"/>
                  </a:lnTo>
                  <a:lnTo>
                    <a:pt x="744" y="1658"/>
                  </a:lnTo>
                  <a:lnTo>
                    <a:pt x="738" y="1664"/>
                  </a:lnTo>
                  <a:lnTo>
                    <a:pt x="730" y="1658"/>
                  </a:lnTo>
                  <a:lnTo>
                    <a:pt x="724" y="1652"/>
                  </a:lnTo>
                  <a:lnTo>
                    <a:pt x="722" y="1648"/>
                  </a:lnTo>
                  <a:lnTo>
                    <a:pt x="718" y="1642"/>
                  </a:lnTo>
                  <a:lnTo>
                    <a:pt x="712" y="1638"/>
                  </a:lnTo>
                  <a:lnTo>
                    <a:pt x="706" y="1632"/>
                  </a:lnTo>
                  <a:lnTo>
                    <a:pt x="700" y="1634"/>
                  </a:lnTo>
                  <a:lnTo>
                    <a:pt x="694" y="1628"/>
                  </a:lnTo>
                  <a:lnTo>
                    <a:pt x="688" y="1626"/>
                  </a:lnTo>
                  <a:lnTo>
                    <a:pt x="682" y="1626"/>
                  </a:lnTo>
                  <a:lnTo>
                    <a:pt x="676" y="1620"/>
                  </a:lnTo>
                  <a:lnTo>
                    <a:pt x="670" y="1614"/>
                  </a:lnTo>
                  <a:lnTo>
                    <a:pt x="662" y="1610"/>
                  </a:lnTo>
                  <a:lnTo>
                    <a:pt x="656" y="1606"/>
                  </a:lnTo>
                  <a:lnTo>
                    <a:pt x="650" y="1602"/>
                  </a:lnTo>
                  <a:lnTo>
                    <a:pt x="644" y="1600"/>
                  </a:lnTo>
                  <a:lnTo>
                    <a:pt x="638" y="1596"/>
                  </a:lnTo>
                  <a:lnTo>
                    <a:pt x="634" y="1590"/>
                  </a:lnTo>
                  <a:lnTo>
                    <a:pt x="628" y="1582"/>
                  </a:lnTo>
                  <a:lnTo>
                    <a:pt x="622" y="1580"/>
                  </a:lnTo>
                  <a:lnTo>
                    <a:pt x="616" y="1580"/>
                  </a:lnTo>
                  <a:lnTo>
                    <a:pt x="610" y="1578"/>
                  </a:lnTo>
                  <a:lnTo>
                    <a:pt x="602" y="1576"/>
                  </a:lnTo>
                  <a:lnTo>
                    <a:pt x="598" y="1582"/>
                  </a:lnTo>
                  <a:lnTo>
                    <a:pt x="592" y="1582"/>
                  </a:lnTo>
                  <a:lnTo>
                    <a:pt x="592" y="1588"/>
                  </a:lnTo>
                  <a:lnTo>
                    <a:pt x="592" y="1594"/>
                  </a:lnTo>
                  <a:lnTo>
                    <a:pt x="590" y="1594"/>
                  </a:lnTo>
                  <a:lnTo>
                    <a:pt x="588" y="1600"/>
                  </a:lnTo>
                  <a:lnTo>
                    <a:pt x="584" y="1604"/>
                  </a:lnTo>
                  <a:lnTo>
                    <a:pt x="576" y="1602"/>
                  </a:lnTo>
                  <a:lnTo>
                    <a:pt x="574" y="1596"/>
                  </a:lnTo>
                  <a:lnTo>
                    <a:pt x="570" y="1592"/>
                  </a:lnTo>
                  <a:lnTo>
                    <a:pt x="564" y="1586"/>
                  </a:lnTo>
                  <a:lnTo>
                    <a:pt x="560" y="1584"/>
                  </a:lnTo>
                  <a:lnTo>
                    <a:pt x="552" y="1580"/>
                  </a:lnTo>
                  <a:lnTo>
                    <a:pt x="548" y="1576"/>
                  </a:lnTo>
                  <a:lnTo>
                    <a:pt x="542" y="1572"/>
                  </a:lnTo>
                  <a:lnTo>
                    <a:pt x="534" y="1572"/>
                  </a:lnTo>
                  <a:lnTo>
                    <a:pt x="530" y="1568"/>
                  </a:lnTo>
                  <a:lnTo>
                    <a:pt x="522" y="1566"/>
                  </a:lnTo>
                  <a:lnTo>
                    <a:pt x="518" y="1566"/>
                  </a:lnTo>
                  <a:lnTo>
                    <a:pt x="518" y="1562"/>
                  </a:lnTo>
                  <a:lnTo>
                    <a:pt x="518" y="1556"/>
                  </a:lnTo>
                  <a:lnTo>
                    <a:pt x="514" y="1550"/>
                  </a:lnTo>
                  <a:lnTo>
                    <a:pt x="506" y="1550"/>
                  </a:lnTo>
                  <a:lnTo>
                    <a:pt x="502" y="1546"/>
                  </a:lnTo>
                  <a:lnTo>
                    <a:pt x="498" y="1544"/>
                  </a:lnTo>
                  <a:lnTo>
                    <a:pt x="494" y="1538"/>
                  </a:lnTo>
                  <a:lnTo>
                    <a:pt x="488" y="1538"/>
                  </a:lnTo>
                  <a:lnTo>
                    <a:pt x="482" y="1538"/>
                  </a:lnTo>
                  <a:lnTo>
                    <a:pt x="476" y="1540"/>
                  </a:lnTo>
                  <a:lnTo>
                    <a:pt x="470" y="1534"/>
                  </a:lnTo>
                  <a:lnTo>
                    <a:pt x="464" y="1530"/>
                  </a:lnTo>
                  <a:lnTo>
                    <a:pt x="462" y="1528"/>
                  </a:lnTo>
                  <a:lnTo>
                    <a:pt x="458" y="1526"/>
                  </a:lnTo>
                  <a:lnTo>
                    <a:pt x="454" y="1520"/>
                  </a:lnTo>
                  <a:lnTo>
                    <a:pt x="452" y="1520"/>
                  </a:lnTo>
                  <a:lnTo>
                    <a:pt x="450" y="1514"/>
                  </a:lnTo>
                  <a:lnTo>
                    <a:pt x="444" y="1508"/>
                  </a:lnTo>
                  <a:lnTo>
                    <a:pt x="442" y="1508"/>
                  </a:lnTo>
                  <a:lnTo>
                    <a:pt x="436" y="1508"/>
                  </a:lnTo>
                  <a:lnTo>
                    <a:pt x="436" y="1514"/>
                  </a:lnTo>
                  <a:lnTo>
                    <a:pt x="430" y="1516"/>
                  </a:lnTo>
                  <a:lnTo>
                    <a:pt x="424" y="1516"/>
                  </a:lnTo>
                  <a:lnTo>
                    <a:pt x="422" y="1508"/>
                  </a:lnTo>
                  <a:lnTo>
                    <a:pt x="420" y="1504"/>
                  </a:lnTo>
                  <a:lnTo>
                    <a:pt x="420" y="1498"/>
                  </a:lnTo>
                  <a:lnTo>
                    <a:pt x="420" y="1492"/>
                  </a:lnTo>
                  <a:lnTo>
                    <a:pt x="414" y="1486"/>
                  </a:lnTo>
                  <a:lnTo>
                    <a:pt x="412" y="1480"/>
                  </a:lnTo>
                  <a:lnTo>
                    <a:pt x="414" y="1478"/>
                  </a:lnTo>
                  <a:lnTo>
                    <a:pt x="414" y="1474"/>
                  </a:lnTo>
                  <a:lnTo>
                    <a:pt x="412" y="1468"/>
                  </a:lnTo>
                  <a:lnTo>
                    <a:pt x="408" y="1464"/>
                  </a:lnTo>
                  <a:lnTo>
                    <a:pt x="406" y="1462"/>
                  </a:lnTo>
                  <a:lnTo>
                    <a:pt x="400" y="1456"/>
                  </a:lnTo>
                  <a:lnTo>
                    <a:pt x="394" y="1450"/>
                  </a:lnTo>
                  <a:lnTo>
                    <a:pt x="392" y="1444"/>
                  </a:lnTo>
                  <a:lnTo>
                    <a:pt x="390" y="1438"/>
                  </a:lnTo>
                  <a:lnTo>
                    <a:pt x="386" y="1432"/>
                  </a:lnTo>
                  <a:lnTo>
                    <a:pt x="384" y="1430"/>
                  </a:lnTo>
                  <a:lnTo>
                    <a:pt x="390" y="1426"/>
                  </a:lnTo>
                  <a:lnTo>
                    <a:pt x="396" y="1428"/>
                  </a:lnTo>
                  <a:lnTo>
                    <a:pt x="402" y="1424"/>
                  </a:lnTo>
                  <a:lnTo>
                    <a:pt x="406" y="1424"/>
                  </a:lnTo>
                  <a:lnTo>
                    <a:pt x="406" y="1430"/>
                  </a:lnTo>
                  <a:lnTo>
                    <a:pt x="410" y="1436"/>
                  </a:lnTo>
                  <a:lnTo>
                    <a:pt x="416" y="1440"/>
                  </a:lnTo>
                  <a:lnTo>
                    <a:pt x="422" y="1442"/>
                  </a:lnTo>
                  <a:lnTo>
                    <a:pt x="428" y="1440"/>
                  </a:lnTo>
                  <a:lnTo>
                    <a:pt x="428" y="1434"/>
                  </a:lnTo>
                  <a:lnTo>
                    <a:pt x="434" y="1432"/>
                  </a:lnTo>
                  <a:lnTo>
                    <a:pt x="440" y="1430"/>
                  </a:lnTo>
                  <a:lnTo>
                    <a:pt x="442" y="1428"/>
                  </a:lnTo>
                  <a:lnTo>
                    <a:pt x="446" y="1422"/>
                  </a:lnTo>
                  <a:lnTo>
                    <a:pt x="448" y="1420"/>
                  </a:lnTo>
                  <a:lnTo>
                    <a:pt x="446" y="1414"/>
                  </a:lnTo>
                  <a:lnTo>
                    <a:pt x="442" y="1408"/>
                  </a:lnTo>
                  <a:lnTo>
                    <a:pt x="436" y="1402"/>
                  </a:lnTo>
                  <a:lnTo>
                    <a:pt x="434" y="1398"/>
                  </a:lnTo>
                  <a:lnTo>
                    <a:pt x="432" y="1392"/>
                  </a:lnTo>
                  <a:lnTo>
                    <a:pt x="432" y="1386"/>
                  </a:lnTo>
                  <a:lnTo>
                    <a:pt x="426" y="1384"/>
                  </a:lnTo>
                  <a:lnTo>
                    <a:pt x="420" y="1382"/>
                  </a:lnTo>
                  <a:lnTo>
                    <a:pt x="412" y="1378"/>
                  </a:lnTo>
                  <a:lnTo>
                    <a:pt x="408" y="1376"/>
                  </a:lnTo>
                  <a:lnTo>
                    <a:pt x="404" y="1370"/>
                  </a:lnTo>
                  <a:lnTo>
                    <a:pt x="402" y="1364"/>
                  </a:lnTo>
                  <a:lnTo>
                    <a:pt x="402" y="1362"/>
                  </a:lnTo>
                  <a:lnTo>
                    <a:pt x="400" y="1360"/>
                  </a:lnTo>
                  <a:lnTo>
                    <a:pt x="398" y="1354"/>
                  </a:lnTo>
                  <a:lnTo>
                    <a:pt x="404" y="1354"/>
                  </a:lnTo>
                  <a:lnTo>
                    <a:pt x="404" y="1348"/>
                  </a:lnTo>
                  <a:lnTo>
                    <a:pt x="402" y="1346"/>
                  </a:lnTo>
                  <a:lnTo>
                    <a:pt x="402" y="1344"/>
                  </a:lnTo>
                  <a:lnTo>
                    <a:pt x="398" y="1342"/>
                  </a:lnTo>
                  <a:lnTo>
                    <a:pt x="396" y="1338"/>
                  </a:lnTo>
                  <a:lnTo>
                    <a:pt x="392" y="1332"/>
                  </a:lnTo>
                  <a:lnTo>
                    <a:pt x="398" y="1328"/>
                  </a:lnTo>
                  <a:lnTo>
                    <a:pt x="404" y="1326"/>
                  </a:lnTo>
                  <a:lnTo>
                    <a:pt x="410" y="1326"/>
                  </a:lnTo>
                  <a:lnTo>
                    <a:pt x="416" y="1326"/>
                  </a:lnTo>
                  <a:lnTo>
                    <a:pt x="422" y="1326"/>
                  </a:lnTo>
                  <a:lnTo>
                    <a:pt x="424" y="1322"/>
                  </a:lnTo>
                  <a:lnTo>
                    <a:pt x="424" y="1316"/>
                  </a:lnTo>
                  <a:lnTo>
                    <a:pt x="426" y="1310"/>
                  </a:lnTo>
                  <a:lnTo>
                    <a:pt x="424" y="1304"/>
                  </a:lnTo>
                  <a:lnTo>
                    <a:pt x="422" y="1300"/>
                  </a:lnTo>
                  <a:lnTo>
                    <a:pt x="426" y="1300"/>
                  </a:lnTo>
                  <a:lnTo>
                    <a:pt x="432" y="1300"/>
                  </a:lnTo>
                  <a:lnTo>
                    <a:pt x="434" y="1298"/>
                  </a:lnTo>
                  <a:lnTo>
                    <a:pt x="432" y="1292"/>
                  </a:lnTo>
                  <a:lnTo>
                    <a:pt x="436" y="1288"/>
                  </a:lnTo>
                  <a:lnTo>
                    <a:pt x="438" y="1284"/>
                  </a:lnTo>
                  <a:lnTo>
                    <a:pt x="442" y="1282"/>
                  </a:lnTo>
                  <a:lnTo>
                    <a:pt x="444" y="1284"/>
                  </a:lnTo>
                  <a:lnTo>
                    <a:pt x="448" y="1276"/>
                  </a:lnTo>
                  <a:lnTo>
                    <a:pt x="448" y="1274"/>
                  </a:lnTo>
                  <a:lnTo>
                    <a:pt x="452" y="1270"/>
                  </a:lnTo>
                  <a:lnTo>
                    <a:pt x="452" y="1268"/>
                  </a:lnTo>
                  <a:lnTo>
                    <a:pt x="452" y="1264"/>
                  </a:lnTo>
                  <a:lnTo>
                    <a:pt x="450" y="1260"/>
                  </a:lnTo>
                  <a:lnTo>
                    <a:pt x="448" y="1254"/>
                  </a:lnTo>
                  <a:lnTo>
                    <a:pt x="452" y="1248"/>
                  </a:lnTo>
                  <a:lnTo>
                    <a:pt x="452" y="1240"/>
                  </a:lnTo>
                  <a:lnTo>
                    <a:pt x="450" y="1236"/>
                  </a:lnTo>
                  <a:lnTo>
                    <a:pt x="454" y="1228"/>
                  </a:lnTo>
                  <a:lnTo>
                    <a:pt x="450" y="1224"/>
                  </a:lnTo>
                  <a:lnTo>
                    <a:pt x="446" y="1222"/>
                  </a:lnTo>
                  <a:lnTo>
                    <a:pt x="440" y="1228"/>
                  </a:lnTo>
                  <a:lnTo>
                    <a:pt x="434" y="1230"/>
                  </a:lnTo>
                  <a:lnTo>
                    <a:pt x="430" y="1224"/>
                  </a:lnTo>
                  <a:lnTo>
                    <a:pt x="428" y="1218"/>
                  </a:lnTo>
                  <a:lnTo>
                    <a:pt x="422" y="1220"/>
                  </a:lnTo>
                  <a:lnTo>
                    <a:pt x="416" y="1216"/>
                  </a:lnTo>
                  <a:lnTo>
                    <a:pt x="410" y="1212"/>
                  </a:lnTo>
                  <a:lnTo>
                    <a:pt x="406" y="1206"/>
                  </a:lnTo>
                  <a:lnTo>
                    <a:pt x="402" y="1200"/>
                  </a:lnTo>
                  <a:lnTo>
                    <a:pt x="398" y="1200"/>
                  </a:lnTo>
                  <a:lnTo>
                    <a:pt x="396" y="1200"/>
                  </a:lnTo>
                  <a:lnTo>
                    <a:pt x="392" y="1194"/>
                  </a:lnTo>
                  <a:lnTo>
                    <a:pt x="386" y="1192"/>
                  </a:lnTo>
                  <a:lnTo>
                    <a:pt x="380" y="1194"/>
                  </a:lnTo>
                  <a:lnTo>
                    <a:pt x="378" y="1194"/>
                  </a:lnTo>
                  <a:lnTo>
                    <a:pt x="374" y="1194"/>
                  </a:lnTo>
                  <a:lnTo>
                    <a:pt x="366" y="1196"/>
                  </a:lnTo>
                  <a:lnTo>
                    <a:pt x="362" y="1196"/>
                  </a:lnTo>
                  <a:lnTo>
                    <a:pt x="360" y="1198"/>
                  </a:lnTo>
                  <a:lnTo>
                    <a:pt x="356" y="1194"/>
                  </a:lnTo>
                  <a:lnTo>
                    <a:pt x="350" y="1200"/>
                  </a:lnTo>
                  <a:lnTo>
                    <a:pt x="344" y="1204"/>
                  </a:lnTo>
                  <a:lnTo>
                    <a:pt x="338" y="1206"/>
                  </a:lnTo>
                  <a:lnTo>
                    <a:pt x="332" y="1210"/>
                  </a:lnTo>
                  <a:lnTo>
                    <a:pt x="326" y="1214"/>
                  </a:lnTo>
                  <a:lnTo>
                    <a:pt x="322" y="1220"/>
                  </a:lnTo>
                  <a:lnTo>
                    <a:pt x="318" y="1220"/>
                  </a:lnTo>
                  <a:lnTo>
                    <a:pt x="312" y="1226"/>
                  </a:lnTo>
                  <a:lnTo>
                    <a:pt x="308" y="1224"/>
                  </a:lnTo>
                  <a:lnTo>
                    <a:pt x="306" y="1224"/>
                  </a:lnTo>
                  <a:lnTo>
                    <a:pt x="304" y="1224"/>
                  </a:lnTo>
                  <a:lnTo>
                    <a:pt x="298" y="1228"/>
                  </a:lnTo>
                  <a:lnTo>
                    <a:pt x="292" y="1226"/>
                  </a:lnTo>
                  <a:lnTo>
                    <a:pt x="286" y="1226"/>
                  </a:lnTo>
                  <a:lnTo>
                    <a:pt x="280" y="1226"/>
                  </a:lnTo>
                  <a:lnTo>
                    <a:pt x="274" y="1222"/>
                  </a:lnTo>
                  <a:lnTo>
                    <a:pt x="268" y="1222"/>
                  </a:lnTo>
                  <a:lnTo>
                    <a:pt x="262" y="1220"/>
                  </a:lnTo>
                  <a:lnTo>
                    <a:pt x="256" y="1218"/>
                  </a:lnTo>
                  <a:lnTo>
                    <a:pt x="250" y="1218"/>
                  </a:lnTo>
                  <a:lnTo>
                    <a:pt x="246" y="1214"/>
                  </a:lnTo>
                  <a:lnTo>
                    <a:pt x="240" y="1212"/>
                  </a:lnTo>
                  <a:lnTo>
                    <a:pt x="234" y="1208"/>
                  </a:lnTo>
                  <a:lnTo>
                    <a:pt x="228" y="1202"/>
                  </a:lnTo>
                  <a:lnTo>
                    <a:pt x="228" y="1196"/>
                  </a:lnTo>
                  <a:lnTo>
                    <a:pt x="220" y="1198"/>
                  </a:lnTo>
                  <a:lnTo>
                    <a:pt x="216" y="1202"/>
                  </a:lnTo>
                  <a:lnTo>
                    <a:pt x="210" y="1202"/>
                  </a:lnTo>
                  <a:lnTo>
                    <a:pt x="204" y="1198"/>
                  </a:lnTo>
                  <a:lnTo>
                    <a:pt x="200" y="1192"/>
                  </a:lnTo>
                  <a:lnTo>
                    <a:pt x="194" y="1190"/>
                  </a:lnTo>
                  <a:lnTo>
                    <a:pt x="188" y="1186"/>
                  </a:lnTo>
                  <a:lnTo>
                    <a:pt x="188" y="1180"/>
                  </a:lnTo>
                  <a:lnTo>
                    <a:pt x="190" y="1174"/>
                  </a:lnTo>
                  <a:lnTo>
                    <a:pt x="188" y="1168"/>
                  </a:lnTo>
                  <a:lnTo>
                    <a:pt x="188" y="1162"/>
                  </a:lnTo>
                  <a:lnTo>
                    <a:pt x="186" y="1158"/>
                  </a:lnTo>
                  <a:lnTo>
                    <a:pt x="180" y="1152"/>
                  </a:lnTo>
                  <a:lnTo>
                    <a:pt x="178" y="1148"/>
                  </a:lnTo>
                  <a:lnTo>
                    <a:pt x="172" y="1144"/>
                  </a:lnTo>
                  <a:lnTo>
                    <a:pt x="166" y="1140"/>
                  </a:lnTo>
                  <a:lnTo>
                    <a:pt x="160" y="1138"/>
                  </a:lnTo>
                  <a:lnTo>
                    <a:pt x="154" y="1136"/>
                  </a:lnTo>
                  <a:lnTo>
                    <a:pt x="154" y="1138"/>
                  </a:lnTo>
                  <a:lnTo>
                    <a:pt x="148" y="1138"/>
                  </a:lnTo>
                  <a:lnTo>
                    <a:pt x="146" y="1132"/>
                  </a:lnTo>
                  <a:lnTo>
                    <a:pt x="142" y="1126"/>
                  </a:lnTo>
                  <a:lnTo>
                    <a:pt x="136" y="1126"/>
                  </a:lnTo>
                  <a:lnTo>
                    <a:pt x="132" y="1124"/>
                  </a:lnTo>
                  <a:lnTo>
                    <a:pt x="124" y="1122"/>
                  </a:lnTo>
                  <a:lnTo>
                    <a:pt x="120" y="1122"/>
                  </a:lnTo>
                  <a:lnTo>
                    <a:pt x="114" y="1126"/>
                  </a:lnTo>
                  <a:lnTo>
                    <a:pt x="110" y="1120"/>
                  </a:lnTo>
                  <a:lnTo>
                    <a:pt x="106" y="1120"/>
                  </a:lnTo>
                  <a:lnTo>
                    <a:pt x="100" y="1116"/>
                  </a:lnTo>
                  <a:lnTo>
                    <a:pt x="94" y="1118"/>
                  </a:lnTo>
                  <a:lnTo>
                    <a:pt x="92" y="1118"/>
                  </a:lnTo>
                  <a:lnTo>
                    <a:pt x="86" y="1114"/>
                  </a:lnTo>
                  <a:lnTo>
                    <a:pt x="86" y="1108"/>
                  </a:lnTo>
                  <a:lnTo>
                    <a:pt x="92" y="1104"/>
                  </a:lnTo>
                  <a:lnTo>
                    <a:pt x="98" y="1102"/>
                  </a:lnTo>
                  <a:lnTo>
                    <a:pt x="104" y="1106"/>
                  </a:lnTo>
                  <a:lnTo>
                    <a:pt x="110" y="1104"/>
                  </a:lnTo>
                  <a:lnTo>
                    <a:pt x="114" y="1102"/>
                  </a:lnTo>
                  <a:lnTo>
                    <a:pt x="120" y="1096"/>
                  </a:lnTo>
                  <a:lnTo>
                    <a:pt x="118" y="1090"/>
                  </a:lnTo>
                  <a:lnTo>
                    <a:pt x="112" y="1084"/>
                  </a:lnTo>
                  <a:lnTo>
                    <a:pt x="110" y="1084"/>
                  </a:lnTo>
                  <a:lnTo>
                    <a:pt x="104" y="1080"/>
                  </a:lnTo>
                  <a:lnTo>
                    <a:pt x="104" y="1072"/>
                  </a:lnTo>
                  <a:lnTo>
                    <a:pt x="106" y="1068"/>
                  </a:lnTo>
                  <a:lnTo>
                    <a:pt x="100" y="1064"/>
                  </a:lnTo>
                  <a:lnTo>
                    <a:pt x="98" y="1058"/>
                  </a:lnTo>
                  <a:lnTo>
                    <a:pt x="98" y="1050"/>
                  </a:lnTo>
                  <a:lnTo>
                    <a:pt x="92" y="1048"/>
                  </a:lnTo>
                  <a:lnTo>
                    <a:pt x="88" y="1042"/>
                  </a:lnTo>
                  <a:lnTo>
                    <a:pt x="86" y="1036"/>
                  </a:lnTo>
                  <a:lnTo>
                    <a:pt x="86" y="1030"/>
                  </a:lnTo>
                  <a:lnTo>
                    <a:pt x="88" y="1024"/>
                  </a:lnTo>
                  <a:lnTo>
                    <a:pt x="86" y="1020"/>
                  </a:lnTo>
                  <a:lnTo>
                    <a:pt x="80" y="1016"/>
                  </a:lnTo>
                  <a:lnTo>
                    <a:pt x="72" y="1012"/>
                  </a:lnTo>
                  <a:lnTo>
                    <a:pt x="68" y="1010"/>
                  </a:lnTo>
                  <a:lnTo>
                    <a:pt x="62" y="1008"/>
                  </a:lnTo>
                  <a:lnTo>
                    <a:pt x="56" y="1006"/>
                  </a:lnTo>
                  <a:lnTo>
                    <a:pt x="50" y="1006"/>
                  </a:lnTo>
                  <a:lnTo>
                    <a:pt x="44" y="1006"/>
                  </a:lnTo>
                  <a:lnTo>
                    <a:pt x="38" y="1012"/>
                  </a:lnTo>
                  <a:lnTo>
                    <a:pt x="34" y="1014"/>
                  </a:lnTo>
                  <a:lnTo>
                    <a:pt x="26" y="1012"/>
                  </a:lnTo>
                  <a:lnTo>
                    <a:pt x="22" y="1008"/>
                  </a:lnTo>
                  <a:lnTo>
                    <a:pt x="22" y="1006"/>
                  </a:lnTo>
                  <a:lnTo>
                    <a:pt x="18" y="1000"/>
                  </a:lnTo>
                  <a:lnTo>
                    <a:pt x="16" y="994"/>
                  </a:lnTo>
                  <a:lnTo>
                    <a:pt x="14" y="988"/>
                  </a:lnTo>
                  <a:lnTo>
                    <a:pt x="20" y="986"/>
                  </a:lnTo>
                  <a:lnTo>
                    <a:pt x="16" y="980"/>
                  </a:lnTo>
                  <a:lnTo>
                    <a:pt x="10" y="976"/>
                  </a:lnTo>
                  <a:lnTo>
                    <a:pt x="4" y="970"/>
                  </a:lnTo>
                  <a:lnTo>
                    <a:pt x="4" y="964"/>
                  </a:lnTo>
                  <a:lnTo>
                    <a:pt x="2" y="958"/>
                  </a:lnTo>
                  <a:lnTo>
                    <a:pt x="0" y="9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7" name="Freeform 104"/>
            <p:cNvSpPr>
              <a:spLocks/>
            </p:cNvSpPr>
            <p:nvPr/>
          </p:nvSpPr>
          <p:spPr bwMode="auto">
            <a:xfrm>
              <a:off x="4813300" y="2135188"/>
              <a:ext cx="3046413" cy="938212"/>
            </a:xfrm>
            <a:custGeom>
              <a:avLst/>
              <a:gdLst>
                <a:gd name="T0" fmla="*/ 2147483647 w 7480"/>
                <a:gd name="T1" fmla="*/ 2147483647 h 2280"/>
                <a:gd name="T2" fmla="*/ 2147483647 w 7480"/>
                <a:gd name="T3" fmla="*/ 2147483647 h 2280"/>
                <a:gd name="T4" fmla="*/ 2147483647 w 7480"/>
                <a:gd name="T5" fmla="*/ 2147483647 h 2280"/>
                <a:gd name="T6" fmla="*/ 2147483647 w 7480"/>
                <a:gd name="T7" fmla="*/ 2147483647 h 2280"/>
                <a:gd name="T8" fmla="*/ 2147483647 w 7480"/>
                <a:gd name="T9" fmla="*/ 2147483647 h 2280"/>
                <a:gd name="T10" fmla="*/ 2147483647 w 7480"/>
                <a:gd name="T11" fmla="*/ 2147483647 h 2280"/>
                <a:gd name="T12" fmla="*/ 2147483647 w 7480"/>
                <a:gd name="T13" fmla="*/ 2147483647 h 2280"/>
                <a:gd name="T14" fmla="*/ 2147483647 w 7480"/>
                <a:gd name="T15" fmla="*/ 2147483647 h 2280"/>
                <a:gd name="T16" fmla="*/ 2147483647 w 7480"/>
                <a:gd name="T17" fmla="*/ 2147483647 h 2280"/>
                <a:gd name="T18" fmla="*/ 2147483647 w 7480"/>
                <a:gd name="T19" fmla="*/ 2147483647 h 2280"/>
                <a:gd name="T20" fmla="*/ 2147483647 w 7480"/>
                <a:gd name="T21" fmla="*/ 2147483647 h 2280"/>
                <a:gd name="T22" fmla="*/ 2147483647 w 7480"/>
                <a:gd name="T23" fmla="*/ 2147483647 h 2280"/>
                <a:gd name="T24" fmla="*/ 2147483647 w 7480"/>
                <a:gd name="T25" fmla="*/ 2147483647 h 2280"/>
                <a:gd name="T26" fmla="*/ 2147483647 w 7480"/>
                <a:gd name="T27" fmla="*/ 2147483647 h 2280"/>
                <a:gd name="T28" fmla="*/ 2147483647 w 7480"/>
                <a:gd name="T29" fmla="*/ 2147483647 h 2280"/>
                <a:gd name="T30" fmla="*/ 2147483647 w 7480"/>
                <a:gd name="T31" fmla="*/ 2147483647 h 2280"/>
                <a:gd name="T32" fmla="*/ 2147483647 w 7480"/>
                <a:gd name="T33" fmla="*/ 2147483647 h 2280"/>
                <a:gd name="T34" fmla="*/ 2147483647 w 7480"/>
                <a:gd name="T35" fmla="*/ 2147483647 h 2280"/>
                <a:gd name="T36" fmla="*/ 2147483647 w 7480"/>
                <a:gd name="T37" fmla="*/ 2147483647 h 2280"/>
                <a:gd name="T38" fmla="*/ 2147483647 w 7480"/>
                <a:gd name="T39" fmla="*/ 2147483647 h 2280"/>
                <a:gd name="T40" fmla="*/ 2147483647 w 7480"/>
                <a:gd name="T41" fmla="*/ 2147483647 h 2280"/>
                <a:gd name="T42" fmla="*/ 2147483647 w 7480"/>
                <a:gd name="T43" fmla="*/ 2147483647 h 2280"/>
                <a:gd name="T44" fmla="*/ 2147483647 w 7480"/>
                <a:gd name="T45" fmla="*/ 2147483647 h 2280"/>
                <a:gd name="T46" fmla="*/ 2147483647 w 7480"/>
                <a:gd name="T47" fmla="*/ 2147483647 h 2280"/>
                <a:gd name="T48" fmla="*/ 2147483647 w 7480"/>
                <a:gd name="T49" fmla="*/ 2147483647 h 2280"/>
                <a:gd name="T50" fmla="*/ 2147483647 w 7480"/>
                <a:gd name="T51" fmla="*/ 2147483647 h 2280"/>
                <a:gd name="T52" fmla="*/ 2147483647 w 7480"/>
                <a:gd name="T53" fmla="*/ 2147483647 h 2280"/>
                <a:gd name="T54" fmla="*/ 2147483647 w 7480"/>
                <a:gd name="T55" fmla="*/ 2147483647 h 2280"/>
                <a:gd name="T56" fmla="*/ 2147483647 w 7480"/>
                <a:gd name="T57" fmla="*/ 2147483647 h 2280"/>
                <a:gd name="T58" fmla="*/ 2147483647 w 7480"/>
                <a:gd name="T59" fmla="*/ 2147483647 h 2280"/>
                <a:gd name="T60" fmla="*/ 2147483647 w 7480"/>
                <a:gd name="T61" fmla="*/ 2147483647 h 2280"/>
                <a:gd name="T62" fmla="*/ 2147483647 w 7480"/>
                <a:gd name="T63" fmla="*/ 2147483647 h 2280"/>
                <a:gd name="T64" fmla="*/ 2147483647 w 7480"/>
                <a:gd name="T65" fmla="*/ 2147483647 h 2280"/>
                <a:gd name="T66" fmla="*/ 2147483647 w 7480"/>
                <a:gd name="T67" fmla="*/ 2147483647 h 2280"/>
                <a:gd name="T68" fmla="*/ 2147483647 w 7480"/>
                <a:gd name="T69" fmla="*/ 2147483647 h 2280"/>
                <a:gd name="T70" fmla="*/ 2147483647 w 7480"/>
                <a:gd name="T71" fmla="*/ 2147483647 h 2280"/>
                <a:gd name="T72" fmla="*/ 2147483647 w 7480"/>
                <a:gd name="T73" fmla="*/ 2147483647 h 2280"/>
                <a:gd name="T74" fmla="*/ 2147483647 w 7480"/>
                <a:gd name="T75" fmla="*/ 2147483647 h 2280"/>
                <a:gd name="T76" fmla="*/ 2147483647 w 7480"/>
                <a:gd name="T77" fmla="*/ 2147483647 h 2280"/>
                <a:gd name="T78" fmla="*/ 2147483647 w 7480"/>
                <a:gd name="T79" fmla="*/ 2147483647 h 2280"/>
                <a:gd name="T80" fmla="*/ 2147483647 w 7480"/>
                <a:gd name="T81" fmla="*/ 2147483647 h 2280"/>
                <a:gd name="T82" fmla="*/ 2147483647 w 7480"/>
                <a:gd name="T83" fmla="*/ 2147483647 h 2280"/>
                <a:gd name="T84" fmla="*/ 2147483647 w 7480"/>
                <a:gd name="T85" fmla="*/ 2147483647 h 2280"/>
                <a:gd name="T86" fmla="*/ 2147483647 w 7480"/>
                <a:gd name="T87" fmla="*/ 2147483647 h 2280"/>
                <a:gd name="T88" fmla="*/ 2147483647 w 7480"/>
                <a:gd name="T89" fmla="*/ 2147483647 h 2280"/>
                <a:gd name="T90" fmla="*/ 2147483647 w 7480"/>
                <a:gd name="T91" fmla="*/ 2147483647 h 2280"/>
                <a:gd name="T92" fmla="*/ 2147483647 w 7480"/>
                <a:gd name="T93" fmla="*/ 2147483647 h 2280"/>
                <a:gd name="T94" fmla="*/ 2147483647 w 7480"/>
                <a:gd name="T95" fmla="*/ 2147483647 h 2280"/>
                <a:gd name="T96" fmla="*/ 2147483647 w 7480"/>
                <a:gd name="T97" fmla="*/ 2147483647 h 2280"/>
                <a:gd name="T98" fmla="*/ 2147483647 w 7480"/>
                <a:gd name="T99" fmla="*/ 2147483647 h 2280"/>
                <a:gd name="T100" fmla="*/ 2147483647 w 7480"/>
                <a:gd name="T101" fmla="*/ 2147483647 h 2280"/>
                <a:gd name="T102" fmla="*/ 2147483647 w 7480"/>
                <a:gd name="T103" fmla="*/ 2147483647 h 2280"/>
                <a:gd name="T104" fmla="*/ 2147483647 w 7480"/>
                <a:gd name="T105" fmla="*/ 2147483647 h 2280"/>
                <a:gd name="T106" fmla="*/ 2147483647 w 7480"/>
                <a:gd name="T107" fmla="*/ 2147483647 h 2280"/>
                <a:gd name="T108" fmla="*/ 2147483647 w 7480"/>
                <a:gd name="T109" fmla="*/ 2147483647 h 2280"/>
                <a:gd name="T110" fmla="*/ 2147483647 w 7480"/>
                <a:gd name="T111" fmla="*/ 2147483647 h 2280"/>
                <a:gd name="T112" fmla="*/ 2147483647 w 7480"/>
                <a:gd name="T113" fmla="*/ 2147483647 h 2280"/>
                <a:gd name="T114" fmla="*/ 2147483647 w 7480"/>
                <a:gd name="T115" fmla="*/ 2147483647 h 2280"/>
                <a:gd name="T116" fmla="*/ 2147483647 w 7480"/>
                <a:gd name="T117" fmla="*/ 2147483647 h 2280"/>
                <a:gd name="T118" fmla="*/ 2147483647 w 7480"/>
                <a:gd name="T119" fmla="*/ 2147483647 h 2280"/>
                <a:gd name="T120" fmla="*/ 2147483647 w 7480"/>
                <a:gd name="T121" fmla="*/ 2147483647 h 2280"/>
                <a:gd name="T122" fmla="*/ 2147483647 w 7480"/>
                <a:gd name="T123" fmla="*/ 2147483647 h 2280"/>
                <a:gd name="T124" fmla="*/ 2147483647 w 7480"/>
                <a:gd name="T125" fmla="*/ 2147483647 h 22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480"/>
                <a:gd name="T190" fmla="*/ 0 h 2280"/>
                <a:gd name="T191" fmla="*/ 7480 w 7480"/>
                <a:gd name="T192" fmla="*/ 2280 h 22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480" h="2280">
                  <a:moveTo>
                    <a:pt x="0" y="486"/>
                  </a:moveTo>
                  <a:lnTo>
                    <a:pt x="2" y="486"/>
                  </a:lnTo>
                  <a:lnTo>
                    <a:pt x="6" y="484"/>
                  </a:lnTo>
                  <a:lnTo>
                    <a:pt x="14" y="482"/>
                  </a:lnTo>
                  <a:lnTo>
                    <a:pt x="20" y="480"/>
                  </a:lnTo>
                  <a:lnTo>
                    <a:pt x="26" y="478"/>
                  </a:lnTo>
                  <a:lnTo>
                    <a:pt x="32" y="478"/>
                  </a:lnTo>
                  <a:lnTo>
                    <a:pt x="36" y="472"/>
                  </a:lnTo>
                  <a:lnTo>
                    <a:pt x="38" y="470"/>
                  </a:lnTo>
                  <a:lnTo>
                    <a:pt x="38" y="462"/>
                  </a:lnTo>
                  <a:lnTo>
                    <a:pt x="44" y="462"/>
                  </a:lnTo>
                  <a:lnTo>
                    <a:pt x="50" y="460"/>
                  </a:lnTo>
                  <a:lnTo>
                    <a:pt x="56" y="458"/>
                  </a:lnTo>
                  <a:lnTo>
                    <a:pt x="58" y="458"/>
                  </a:lnTo>
                  <a:lnTo>
                    <a:pt x="66" y="456"/>
                  </a:lnTo>
                  <a:lnTo>
                    <a:pt x="72" y="450"/>
                  </a:lnTo>
                  <a:lnTo>
                    <a:pt x="74" y="444"/>
                  </a:lnTo>
                  <a:lnTo>
                    <a:pt x="72" y="442"/>
                  </a:lnTo>
                  <a:lnTo>
                    <a:pt x="74" y="442"/>
                  </a:lnTo>
                  <a:lnTo>
                    <a:pt x="80" y="446"/>
                  </a:lnTo>
                  <a:lnTo>
                    <a:pt x="88" y="448"/>
                  </a:lnTo>
                  <a:lnTo>
                    <a:pt x="92" y="448"/>
                  </a:lnTo>
                  <a:lnTo>
                    <a:pt x="100" y="448"/>
                  </a:lnTo>
                  <a:lnTo>
                    <a:pt x="104" y="446"/>
                  </a:lnTo>
                  <a:lnTo>
                    <a:pt x="104" y="440"/>
                  </a:lnTo>
                  <a:lnTo>
                    <a:pt x="98" y="434"/>
                  </a:lnTo>
                  <a:lnTo>
                    <a:pt x="102" y="434"/>
                  </a:lnTo>
                  <a:lnTo>
                    <a:pt x="108" y="434"/>
                  </a:lnTo>
                  <a:lnTo>
                    <a:pt x="112" y="436"/>
                  </a:lnTo>
                  <a:lnTo>
                    <a:pt x="120" y="436"/>
                  </a:lnTo>
                  <a:lnTo>
                    <a:pt x="124" y="442"/>
                  </a:lnTo>
                  <a:lnTo>
                    <a:pt x="130" y="438"/>
                  </a:lnTo>
                  <a:lnTo>
                    <a:pt x="136" y="436"/>
                  </a:lnTo>
                  <a:lnTo>
                    <a:pt x="138" y="430"/>
                  </a:lnTo>
                  <a:lnTo>
                    <a:pt x="144" y="430"/>
                  </a:lnTo>
                  <a:lnTo>
                    <a:pt x="150" y="430"/>
                  </a:lnTo>
                  <a:lnTo>
                    <a:pt x="144" y="424"/>
                  </a:lnTo>
                  <a:lnTo>
                    <a:pt x="150" y="424"/>
                  </a:lnTo>
                  <a:lnTo>
                    <a:pt x="156" y="426"/>
                  </a:lnTo>
                  <a:lnTo>
                    <a:pt x="162" y="428"/>
                  </a:lnTo>
                  <a:lnTo>
                    <a:pt x="168" y="430"/>
                  </a:lnTo>
                  <a:lnTo>
                    <a:pt x="176" y="434"/>
                  </a:lnTo>
                  <a:lnTo>
                    <a:pt x="182" y="434"/>
                  </a:lnTo>
                  <a:lnTo>
                    <a:pt x="188" y="434"/>
                  </a:lnTo>
                  <a:lnTo>
                    <a:pt x="194" y="436"/>
                  </a:lnTo>
                  <a:lnTo>
                    <a:pt x="200" y="438"/>
                  </a:lnTo>
                  <a:lnTo>
                    <a:pt x="198" y="444"/>
                  </a:lnTo>
                  <a:lnTo>
                    <a:pt x="192" y="446"/>
                  </a:lnTo>
                  <a:lnTo>
                    <a:pt x="186" y="444"/>
                  </a:lnTo>
                  <a:lnTo>
                    <a:pt x="180" y="444"/>
                  </a:lnTo>
                  <a:lnTo>
                    <a:pt x="172" y="444"/>
                  </a:lnTo>
                  <a:lnTo>
                    <a:pt x="168" y="442"/>
                  </a:lnTo>
                  <a:lnTo>
                    <a:pt x="160" y="442"/>
                  </a:lnTo>
                  <a:lnTo>
                    <a:pt x="154" y="436"/>
                  </a:lnTo>
                  <a:lnTo>
                    <a:pt x="150" y="442"/>
                  </a:lnTo>
                  <a:lnTo>
                    <a:pt x="158" y="444"/>
                  </a:lnTo>
                  <a:lnTo>
                    <a:pt x="164" y="446"/>
                  </a:lnTo>
                  <a:lnTo>
                    <a:pt x="170" y="448"/>
                  </a:lnTo>
                  <a:lnTo>
                    <a:pt x="174" y="450"/>
                  </a:lnTo>
                  <a:lnTo>
                    <a:pt x="168" y="452"/>
                  </a:lnTo>
                  <a:lnTo>
                    <a:pt x="162" y="454"/>
                  </a:lnTo>
                  <a:lnTo>
                    <a:pt x="168" y="454"/>
                  </a:lnTo>
                  <a:lnTo>
                    <a:pt x="174" y="450"/>
                  </a:lnTo>
                  <a:lnTo>
                    <a:pt x="180" y="452"/>
                  </a:lnTo>
                  <a:lnTo>
                    <a:pt x="186" y="452"/>
                  </a:lnTo>
                  <a:lnTo>
                    <a:pt x="192" y="452"/>
                  </a:lnTo>
                  <a:lnTo>
                    <a:pt x="198" y="454"/>
                  </a:lnTo>
                  <a:lnTo>
                    <a:pt x="194" y="460"/>
                  </a:lnTo>
                  <a:lnTo>
                    <a:pt x="202" y="456"/>
                  </a:lnTo>
                  <a:lnTo>
                    <a:pt x="206" y="454"/>
                  </a:lnTo>
                  <a:lnTo>
                    <a:pt x="214" y="454"/>
                  </a:lnTo>
                  <a:lnTo>
                    <a:pt x="220" y="458"/>
                  </a:lnTo>
                  <a:lnTo>
                    <a:pt x="214" y="464"/>
                  </a:lnTo>
                  <a:lnTo>
                    <a:pt x="220" y="464"/>
                  </a:lnTo>
                  <a:lnTo>
                    <a:pt x="214" y="466"/>
                  </a:lnTo>
                  <a:lnTo>
                    <a:pt x="220" y="470"/>
                  </a:lnTo>
                  <a:lnTo>
                    <a:pt x="214" y="474"/>
                  </a:lnTo>
                  <a:lnTo>
                    <a:pt x="208" y="474"/>
                  </a:lnTo>
                  <a:lnTo>
                    <a:pt x="202" y="476"/>
                  </a:lnTo>
                  <a:lnTo>
                    <a:pt x="204" y="482"/>
                  </a:lnTo>
                  <a:lnTo>
                    <a:pt x="210" y="476"/>
                  </a:lnTo>
                  <a:lnTo>
                    <a:pt x="214" y="474"/>
                  </a:lnTo>
                  <a:lnTo>
                    <a:pt x="222" y="474"/>
                  </a:lnTo>
                  <a:lnTo>
                    <a:pt x="226" y="466"/>
                  </a:lnTo>
                  <a:lnTo>
                    <a:pt x="226" y="460"/>
                  </a:lnTo>
                  <a:lnTo>
                    <a:pt x="232" y="462"/>
                  </a:lnTo>
                  <a:lnTo>
                    <a:pt x="238" y="460"/>
                  </a:lnTo>
                  <a:lnTo>
                    <a:pt x="244" y="460"/>
                  </a:lnTo>
                  <a:lnTo>
                    <a:pt x="250" y="462"/>
                  </a:lnTo>
                  <a:lnTo>
                    <a:pt x="256" y="462"/>
                  </a:lnTo>
                  <a:lnTo>
                    <a:pt x="262" y="462"/>
                  </a:lnTo>
                  <a:lnTo>
                    <a:pt x="270" y="464"/>
                  </a:lnTo>
                  <a:lnTo>
                    <a:pt x="276" y="466"/>
                  </a:lnTo>
                  <a:lnTo>
                    <a:pt x="282" y="466"/>
                  </a:lnTo>
                  <a:lnTo>
                    <a:pt x="288" y="468"/>
                  </a:lnTo>
                  <a:lnTo>
                    <a:pt x="294" y="466"/>
                  </a:lnTo>
                  <a:lnTo>
                    <a:pt x="300" y="464"/>
                  </a:lnTo>
                  <a:lnTo>
                    <a:pt x="308" y="466"/>
                  </a:lnTo>
                  <a:lnTo>
                    <a:pt x="314" y="466"/>
                  </a:lnTo>
                  <a:lnTo>
                    <a:pt x="320" y="468"/>
                  </a:lnTo>
                  <a:lnTo>
                    <a:pt x="326" y="468"/>
                  </a:lnTo>
                  <a:lnTo>
                    <a:pt x="328" y="468"/>
                  </a:lnTo>
                  <a:lnTo>
                    <a:pt x="334" y="470"/>
                  </a:lnTo>
                  <a:lnTo>
                    <a:pt x="340" y="472"/>
                  </a:lnTo>
                  <a:lnTo>
                    <a:pt x="346" y="476"/>
                  </a:lnTo>
                  <a:lnTo>
                    <a:pt x="352" y="478"/>
                  </a:lnTo>
                  <a:lnTo>
                    <a:pt x="358" y="478"/>
                  </a:lnTo>
                  <a:lnTo>
                    <a:pt x="364" y="480"/>
                  </a:lnTo>
                  <a:lnTo>
                    <a:pt x="370" y="482"/>
                  </a:lnTo>
                  <a:lnTo>
                    <a:pt x="378" y="484"/>
                  </a:lnTo>
                  <a:lnTo>
                    <a:pt x="384" y="486"/>
                  </a:lnTo>
                  <a:lnTo>
                    <a:pt x="390" y="488"/>
                  </a:lnTo>
                  <a:lnTo>
                    <a:pt x="396" y="490"/>
                  </a:lnTo>
                  <a:lnTo>
                    <a:pt x="402" y="494"/>
                  </a:lnTo>
                  <a:lnTo>
                    <a:pt x="408" y="496"/>
                  </a:lnTo>
                  <a:lnTo>
                    <a:pt x="414" y="496"/>
                  </a:lnTo>
                  <a:lnTo>
                    <a:pt x="420" y="500"/>
                  </a:lnTo>
                  <a:lnTo>
                    <a:pt x="426" y="502"/>
                  </a:lnTo>
                  <a:lnTo>
                    <a:pt x="432" y="506"/>
                  </a:lnTo>
                  <a:lnTo>
                    <a:pt x="438" y="508"/>
                  </a:lnTo>
                  <a:lnTo>
                    <a:pt x="444" y="512"/>
                  </a:lnTo>
                  <a:lnTo>
                    <a:pt x="450" y="514"/>
                  </a:lnTo>
                  <a:lnTo>
                    <a:pt x="456" y="518"/>
                  </a:lnTo>
                  <a:lnTo>
                    <a:pt x="462" y="520"/>
                  </a:lnTo>
                  <a:lnTo>
                    <a:pt x="468" y="520"/>
                  </a:lnTo>
                  <a:lnTo>
                    <a:pt x="462" y="516"/>
                  </a:lnTo>
                  <a:lnTo>
                    <a:pt x="468" y="518"/>
                  </a:lnTo>
                  <a:lnTo>
                    <a:pt x="474" y="520"/>
                  </a:lnTo>
                  <a:lnTo>
                    <a:pt x="480" y="524"/>
                  </a:lnTo>
                  <a:lnTo>
                    <a:pt x="486" y="526"/>
                  </a:lnTo>
                  <a:lnTo>
                    <a:pt x="494" y="528"/>
                  </a:lnTo>
                  <a:lnTo>
                    <a:pt x="500" y="530"/>
                  </a:lnTo>
                  <a:lnTo>
                    <a:pt x="506" y="534"/>
                  </a:lnTo>
                  <a:lnTo>
                    <a:pt x="512" y="534"/>
                  </a:lnTo>
                  <a:lnTo>
                    <a:pt x="516" y="536"/>
                  </a:lnTo>
                  <a:lnTo>
                    <a:pt x="520" y="534"/>
                  </a:lnTo>
                  <a:lnTo>
                    <a:pt x="516" y="528"/>
                  </a:lnTo>
                  <a:lnTo>
                    <a:pt x="522" y="532"/>
                  </a:lnTo>
                  <a:lnTo>
                    <a:pt x="528" y="538"/>
                  </a:lnTo>
                  <a:lnTo>
                    <a:pt x="534" y="540"/>
                  </a:lnTo>
                  <a:lnTo>
                    <a:pt x="540" y="542"/>
                  </a:lnTo>
                  <a:lnTo>
                    <a:pt x="546" y="548"/>
                  </a:lnTo>
                  <a:lnTo>
                    <a:pt x="552" y="552"/>
                  </a:lnTo>
                  <a:lnTo>
                    <a:pt x="558" y="550"/>
                  </a:lnTo>
                  <a:lnTo>
                    <a:pt x="564" y="552"/>
                  </a:lnTo>
                  <a:lnTo>
                    <a:pt x="570" y="554"/>
                  </a:lnTo>
                  <a:lnTo>
                    <a:pt x="576" y="554"/>
                  </a:lnTo>
                  <a:lnTo>
                    <a:pt x="582" y="560"/>
                  </a:lnTo>
                  <a:lnTo>
                    <a:pt x="582" y="566"/>
                  </a:lnTo>
                  <a:lnTo>
                    <a:pt x="588" y="572"/>
                  </a:lnTo>
                  <a:lnTo>
                    <a:pt x="590" y="576"/>
                  </a:lnTo>
                  <a:lnTo>
                    <a:pt x="590" y="582"/>
                  </a:lnTo>
                  <a:lnTo>
                    <a:pt x="596" y="584"/>
                  </a:lnTo>
                  <a:lnTo>
                    <a:pt x="602" y="586"/>
                  </a:lnTo>
                  <a:lnTo>
                    <a:pt x="604" y="592"/>
                  </a:lnTo>
                  <a:lnTo>
                    <a:pt x="604" y="598"/>
                  </a:lnTo>
                  <a:lnTo>
                    <a:pt x="602" y="598"/>
                  </a:lnTo>
                  <a:lnTo>
                    <a:pt x="604" y="602"/>
                  </a:lnTo>
                  <a:lnTo>
                    <a:pt x="602" y="608"/>
                  </a:lnTo>
                  <a:lnTo>
                    <a:pt x="596" y="614"/>
                  </a:lnTo>
                  <a:lnTo>
                    <a:pt x="590" y="618"/>
                  </a:lnTo>
                  <a:lnTo>
                    <a:pt x="584" y="622"/>
                  </a:lnTo>
                  <a:lnTo>
                    <a:pt x="578" y="628"/>
                  </a:lnTo>
                  <a:lnTo>
                    <a:pt x="574" y="634"/>
                  </a:lnTo>
                  <a:lnTo>
                    <a:pt x="566" y="634"/>
                  </a:lnTo>
                  <a:lnTo>
                    <a:pt x="562" y="638"/>
                  </a:lnTo>
                  <a:lnTo>
                    <a:pt x="554" y="642"/>
                  </a:lnTo>
                  <a:lnTo>
                    <a:pt x="552" y="642"/>
                  </a:lnTo>
                  <a:lnTo>
                    <a:pt x="546" y="644"/>
                  </a:lnTo>
                  <a:lnTo>
                    <a:pt x="540" y="646"/>
                  </a:lnTo>
                  <a:lnTo>
                    <a:pt x="534" y="648"/>
                  </a:lnTo>
                  <a:lnTo>
                    <a:pt x="528" y="650"/>
                  </a:lnTo>
                  <a:lnTo>
                    <a:pt x="522" y="652"/>
                  </a:lnTo>
                  <a:lnTo>
                    <a:pt x="516" y="652"/>
                  </a:lnTo>
                  <a:lnTo>
                    <a:pt x="510" y="652"/>
                  </a:lnTo>
                  <a:lnTo>
                    <a:pt x="504" y="654"/>
                  </a:lnTo>
                  <a:lnTo>
                    <a:pt x="498" y="654"/>
                  </a:lnTo>
                  <a:lnTo>
                    <a:pt x="492" y="654"/>
                  </a:lnTo>
                  <a:lnTo>
                    <a:pt x="486" y="654"/>
                  </a:lnTo>
                  <a:lnTo>
                    <a:pt x="480" y="654"/>
                  </a:lnTo>
                  <a:lnTo>
                    <a:pt x="474" y="654"/>
                  </a:lnTo>
                  <a:lnTo>
                    <a:pt x="468" y="652"/>
                  </a:lnTo>
                  <a:lnTo>
                    <a:pt x="462" y="652"/>
                  </a:lnTo>
                  <a:lnTo>
                    <a:pt x="456" y="652"/>
                  </a:lnTo>
                  <a:lnTo>
                    <a:pt x="450" y="650"/>
                  </a:lnTo>
                  <a:lnTo>
                    <a:pt x="444" y="650"/>
                  </a:lnTo>
                  <a:lnTo>
                    <a:pt x="438" y="646"/>
                  </a:lnTo>
                  <a:lnTo>
                    <a:pt x="432" y="644"/>
                  </a:lnTo>
                  <a:lnTo>
                    <a:pt x="426" y="644"/>
                  </a:lnTo>
                  <a:lnTo>
                    <a:pt x="418" y="642"/>
                  </a:lnTo>
                  <a:lnTo>
                    <a:pt x="414" y="642"/>
                  </a:lnTo>
                  <a:lnTo>
                    <a:pt x="410" y="640"/>
                  </a:lnTo>
                  <a:lnTo>
                    <a:pt x="404" y="640"/>
                  </a:lnTo>
                  <a:lnTo>
                    <a:pt x="396" y="640"/>
                  </a:lnTo>
                  <a:lnTo>
                    <a:pt x="390" y="640"/>
                  </a:lnTo>
                  <a:lnTo>
                    <a:pt x="384" y="640"/>
                  </a:lnTo>
                  <a:lnTo>
                    <a:pt x="380" y="638"/>
                  </a:lnTo>
                  <a:lnTo>
                    <a:pt x="372" y="638"/>
                  </a:lnTo>
                  <a:lnTo>
                    <a:pt x="366" y="636"/>
                  </a:lnTo>
                  <a:lnTo>
                    <a:pt x="360" y="636"/>
                  </a:lnTo>
                  <a:lnTo>
                    <a:pt x="354" y="634"/>
                  </a:lnTo>
                  <a:lnTo>
                    <a:pt x="348" y="634"/>
                  </a:lnTo>
                  <a:lnTo>
                    <a:pt x="340" y="632"/>
                  </a:lnTo>
                  <a:lnTo>
                    <a:pt x="334" y="630"/>
                  </a:lnTo>
                  <a:lnTo>
                    <a:pt x="328" y="628"/>
                  </a:lnTo>
                  <a:lnTo>
                    <a:pt x="322" y="624"/>
                  </a:lnTo>
                  <a:lnTo>
                    <a:pt x="316" y="622"/>
                  </a:lnTo>
                  <a:lnTo>
                    <a:pt x="308" y="622"/>
                  </a:lnTo>
                  <a:lnTo>
                    <a:pt x="304" y="626"/>
                  </a:lnTo>
                  <a:lnTo>
                    <a:pt x="298" y="626"/>
                  </a:lnTo>
                  <a:lnTo>
                    <a:pt x="298" y="618"/>
                  </a:lnTo>
                  <a:lnTo>
                    <a:pt x="292" y="618"/>
                  </a:lnTo>
                  <a:lnTo>
                    <a:pt x="286" y="618"/>
                  </a:lnTo>
                  <a:lnTo>
                    <a:pt x="280" y="618"/>
                  </a:lnTo>
                  <a:lnTo>
                    <a:pt x="280" y="612"/>
                  </a:lnTo>
                  <a:lnTo>
                    <a:pt x="274" y="616"/>
                  </a:lnTo>
                  <a:lnTo>
                    <a:pt x="268" y="616"/>
                  </a:lnTo>
                  <a:lnTo>
                    <a:pt x="262" y="612"/>
                  </a:lnTo>
                  <a:lnTo>
                    <a:pt x="256" y="614"/>
                  </a:lnTo>
                  <a:lnTo>
                    <a:pt x="250" y="614"/>
                  </a:lnTo>
                  <a:lnTo>
                    <a:pt x="244" y="612"/>
                  </a:lnTo>
                  <a:lnTo>
                    <a:pt x="238" y="610"/>
                  </a:lnTo>
                  <a:lnTo>
                    <a:pt x="232" y="606"/>
                  </a:lnTo>
                  <a:lnTo>
                    <a:pt x="226" y="602"/>
                  </a:lnTo>
                  <a:lnTo>
                    <a:pt x="220" y="600"/>
                  </a:lnTo>
                  <a:lnTo>
                    <a:pt x="218" y="594"/>
                  </a:lnTo>
                  <a:lnTo>
                    <a:pt x="222" y="592"/>
                  </a:lnTo>
                  <a:lnTo>
                    <a:pt x="218" y="592"/>
                  </a:lnTo>
                  <a:lnTo>
                    <a:pt x="210" y="592"/>
                  </a:lnTo>
                  <a:lnTo>
                    <a:pt x="204" y="590"/>
                  </a:lnTo>
                  <a:lnTo>
                    <a:pt x="198" y="590"/>
                  </a:lnTo>
                  <a:lnTo>
                    <a:pt x="196" y="588"/>
                  </a:lnTo>
                  <a:lnTo>
                    <a:pt x="188" y="588"/>
                  </a:lnTo>
                  <a:lnTo>
                    <a:pt x="186" y="588"/>
                  </a:lnTo>
                  <a:lnTo>
                    <a:pt x="184" y="588"/>
                  </a:lnTo>
                  <a:lnTo>
                    <a:pt x="180" y="590"/>
                  </a:lnTo>
                  <a:lnTo>
                    <a:pt x="172" y="588"/>
                  </a:lnTo>
                  <a:lnTo>
                    <a:pt x="180" y="590"/>
                  </a:lnTo>
                  <a:lnTo>
                    <a:pt x="186" y="590"/>
                  </a:lnTo>
                  <a:lnTo>
                    <a:pt x="188" y="590"/>
                  </a:lnTo>
                  <a:lnTo>
                    <a:pt x="194" y="594"/>
                  </a:lnTo>
                  <a:lnTo>
                    <a:pt x="200" y="596"/>
                  </a:lnTo>
                  <a:lnTo>
                    <a:pt x="206" y="598"/>
                  </a:lnTo>
                  <a:lnTo>
                    <a:pt x="200" y="606"/>
                  </a:lnTo>
                  <a:lnTo>
                    <a:pt x="206" y="606"/>
                  </a:lnTo>
                  <a:lnTo>
                    <a:pt x="212" y="608"/>
                  </a:lnTo>
                  <a:lnTo>
                    <a:pt x="218" y="610"/>
                  </a:lnTo>
                  <a:lnTo>
                    <a:pt x="224" y="614"/>
                  </a:lnTo>
                  <a:lnTo>
                    <a:pt x="218" y="614"/>
                  </a:lnTo>
                  <a:lnTo>
                    <a:pt x="224" y="616"/>
                  </a:lnTo>
                  <a:lnTo>
                    <a:pt x="230" y="616"/>
                  </a:lnTo>
                  <a:lnTo>
                    <a:pt x="236" y="616"/>
                  </a:lnTo>
                  <a:lnTo>
                    <a:pt x="244" y="620"/>
                  </a:lnTo>
                  <a:lnTo>
                    <a:pt x="236" y="618"/>
                  </a:lnTo>
                  <a:lnTo>
                    <a:pt x="230" y="622"/>
                  </a:lnTo>
                  <a:lnTo>
                    <a:pt x="224" y="622"/>
                  </a:lnTo>
                  <a:lnTo>
                    <a:pt x="228" y="622"/>
                  </a:lnTo>
                  <a:lnTo>
                    <a:pt x="234" y="624"/>
                  </a:lnTo>
                  <a:lnTo>
                    <a:pt x="240" y="622"/>
                  </a:lnTo>
                  <a:lnTo>
                    <a:pt x="246" y="622"/>
                  </a:lnTo>
                  <a:lnTo>
                    <a:pt x="252" y="626"/>
                  </a:lnTo>
                  <a:lnTo>
                    <a:pt x="246" y="624"/>
                  </a:lnTo>
                  <a:lnTo>
                    <a:pt x="240" y="624"/>
                  </a:lnTo>
                  <a:lnTo>
                    <a:pt x="236" y="624"/>
                  </a:lnTo>
                  <a:lnTo>
                    <a:pt x="230" y="626"/>
                  </a:lnTo>
                  <a:lnTo>
                    <a:pt x="236" y="628"/>
                  </a:lnTo>
                  <a:lnTo>
                    <a:pt x="242" y="626"/>
                  </a:lnTo>
                  <a:lnTo>
                    <a:pt x="248" y="628"/>
                  </a:lnTo>
                  <a:lnTo>
                    <a:pt x="254" y="630"/>
                  </a:lnTo>
                  <a:lnTo>
                    <a:pt x="260" y="630"/>
                  </a:lnTo>
                  <a:lnTo>
                    <a:pt x="260" y="634"/>
                  </a:lnTo>
                  <a:lnTo>
                    <a:pt x="260" y="636"/>
                  </a:lnTo>
                  <a:lnTo>
                    <a:pt x="254" y="638"/>
                  </a:lnTo>
                  <a:lnTo>
                    <a:pt x="248" y="640"/>
                  </a:lnTo>
                  <a:lnTo>
                    <a:pt x="254" y="640"/>
                  </a:lnTo>
                  <a:lnTo>
                    <a:pt x="260" y="638"/>
                  </a:lnTo>
                  <a:lnTo>
                    <a:pt x="266" y="640"/>
                  </a:lnTo>
                  <a:lnTo>
                    <a:pt x="272" y="642"/>
                  </a:lnTo>
                  <a:lnTo>
                    <a:pt x="278" y="644"/>
                  </a:lnTo>
                  <a:lnTo>
                    <a:pt x="284" y="642"/>
                  </a:lnTo>
                  <a:lnTo>
                    <a:pt x="290" y="648"/>
                  </a:lnTo>
                  <a:lnTo>
                    <a:pt x="296" y="648"/>
                  </a:lnTo>
                  <a:lnTo>
                    <a:pt x="304" y="650"/>
                  </a:lnTo>
                  <a:lnTo>
                    <a:pt x="308" y="654"/>
                  </a:lnTo>
                  <a:lnTo>
                    <a:pt x="316" y="658"/>
                  </a:lnTo>
                  <a:lnTo>
                    <a:pt x="316" y="664"/>
                  </a:lnTo>
                  <a:lnTo>
                    <a:pt x="324" y="664"/>
                  </a:lnTo>
                  <a:lnTo>
                    <a:pt x="326" y="670"/>
                  </a:lnTo>
                  <a:lnTo>
                    <a:pt x="328" y="676"/>
                  </a:lnTo>
                  <a:lnTo>
                    <a:pt x="322" y="676"/>
                  </a:lnTo>
                  <a:lnTo>
                    <a:pt x="324" y="682"/>
                  </a:lnTo>
                  <a:lnTo>
                    <a:pt x="322" y="686"/>
                  </a:lnTo>
                  <a:lnTo>
                    <a:pt x="316" y="690"/>
                  </a:lnTo>
                  <a:lnTo>
                    <a:pt x="310" y="696"/>
                  </a:lnTo>
                  <a:lnTo>
                    <a:pt x="314" y="702"/>
                  </a:lnTo>
                  <a:lnTo>
                    <a:pt x="320" y="702"/>
                  </a:lnTo>
                  <a:lnTo>
                    <a:pt x="324" y="708"/>
                  </a:lnTo>
                  <a:lnTo>
                    <a:pt x="330" y="712"/>
                  </a:lnTo>
                  <a:lnTo>
                    <a:pt x="330" y="718"/>
                  </a:lnTo>
                  <a:lnTo>
                    <a:pt x="328" y="720"/>
                  </a:lnTo>
                  <a:lnTo>
                    <a:pt x="332" y="720"/>
                  </a:lnTo>
                  <a:lnTo>
                    <a:pt x="338" y="726"/>
                  </a:lnTo>
                  <a:lnTo>
                    <a:pt x="338" y="732"/>
                  </a:lnTo>
                  <a:lnTo>
                    <a:pt x="344" y="732"/>
                  </a:lnTo>
                  <a:lnTo>
                    <a:pt x="338" y="736"/>
                  </a:lnTo>
                  <a:lnTo>
                    <a:pt x="344" y="740"/>
                  </a:lnTo>
                  <a:lnTo>
                    <a:pt x="338" y="746"/>
                  </a:lnTo>
                  <a:lnTo>
                    <a:pt x="340" y="748"/>
                  </a:lnTo>
                  <a:lnTo>
                    <a:pt x="342" y="748"/>
                  </a:lnTo>
                  <a:lnTo>
                    <a:pt x="348" y="752"/>
                  </a:lnTo>
                  <a:lnTo>
                    <a:pt x="354" y="754"/>
                  </a:lnTo>
                  <a:lnTo>
                    <a:pt x="360" y="756"/>
                  </a:lnTo>
                  <a:lnTo>
                    <a:pt x="366" y="760"/>
                  </a:lnTo>
                  <a:lnTo>
                    <a:pt x="372" y="758"/>
                  </a:lnTo>
                  <a:lnTo>
                    <a:pt x="380" y="756"/>
                  </a:lnTo>
                  <a:lnTo>
                    <a:pt x="386" y="758"/>
                  </a:lnTo>
                  <a:lnTo>
                    <a:pt x="392" y="762"/>
                  </a:lnTo>
                  <a:lnTo>
                    <a:pt x="396" y="766"/>
                  </a:lnTo>
                  <a:lnTo>
                    <a:pt x="402" y="766"/>
                  </a:lnTo>
                  <a:lnTo>
                    <a:pt x="408" y="770"/>
                  </a:lnTo>
                  <a:lnTo>
                    <a:pt x="414" y="776"/>
                  </a:lnTo>
                  <a:lnTo>
                    <a:pt x="420" y="780"/>
                  </a:lnTo>
                  <a:lnTo>
                    <a:pt x="426" y="782"/>
                  </a:lnTo>
                  <a:lnTo>
                    <a:pt x="432" y="784"/>
                  </a:lnTo>
                  <a:lnTo>
                    <a:pt x="438" y="784"/>
                  </a:lnTo>
                  <a:lnTo>
                    <a:pt x="444" y="784"/>
                  </a:lnTo>
                  <a:lnTo>
                    <a:pt x="450" y="786"/>
                  </a:lnTo>
                  <a:lnTo>
                    <a:pt x="456" y="786"/>
                  </a:lnTo>
                  <a:lnTo>
                    <a:pt x="462" y="790"/>
                  </a:lnTo>
                  <a:lnTo>
                    <a:pt x="468" y="792"/>
                  </a:lnTo>
                  <a:lnTo>
                    <a:pt x="474" y="790"/>
                  </a:lnTo>
                  <a:lnTo>
                    <a:pt x="478" y="784"/>
                  </a:lnTo>
                  <a:lnTo>
                    <a:pt x="484" y="786"/>
                  </a:lnTo>
                  <a:lnTo>
                    <a:pt x="490" y="784"/>
                  </a:lnTo>
                  <a:lnTo>
                    <a:pt x="494" y="784"/>
                  </a:lnTo>
                  <a:lnTo>
                    <a:pt x="498" y="778"/>
                  </a:lnTo>
                  <a:lnTo>
                    <a:pt x="494" y="770"/>
                  </a:lnTo>
                  <a:lnTo>
                    <a:pt x="490" y="766"/>
                  </a:lnTo>
                  <a:lnTo>
                    <a:pt x="492" y="762"/>
                  </a:lnTo>
                  <a:lnTo>
                    <a:pt x="486" y="758"/>
                  </a:lnTo>
                  <a:lnTo>
                    <a:pt x="480" y="754"/>
                  </a:lnTo>
                  <a:lnTo>
                    <a:pt x="474" y="754"/>
                  </a:lnTo>
                  <a:lnTo>
                    <a:pt x="468" y="756"/>
                  </a:lnTo>
                  <a:lnTo>
                    <a:pt x="462" y="758"/>
                  </a:lnTo>
                  <a:lnTo>
                    <a:pt x="456" y="756"/>
                  </a:lnTo>
                  <a:lnTo>
                    <a:pt x="450" y="754"/>
                  </a:lnTo>
                  <a:lnTo>
                    <a:pt x="444" y="750"/>
                  </a:lnTo>
                  <a:lnTo>
                    <a:pt x="438" y="746"/>
                  </a:lnTo>
                  <a:lnTo>
                    <a:pt x="432" y="740"/>
                  </a:lnTo>
                  <a:lnTo>
                    <a:pt x="426" y="736"/>
                  </a:lnTo>
                  <a:lnTo>
                    <a:pt x="420" y="734"/>
                  </a:lnTo>
                  <a:lnTo>
                    <a:pt x="414" y="728"/>
                  </a:lnTo>
                  <a:lnTo>
                    <a:pt x="410" y="722"/>
                  </a:lnTo>
                  <a:lnTo>
                    <a:pt x="414" y="722"/>
                  </a:lnTo>
                  <a:lnTo>
                    <a:pt x="422" y="722"/>
                  </a:lnTo>
                  <a:lnTo>
                    <a:pt x="426" y="718"/>
                  </a:lnTo>
                  <a:lnTo>
                    <a:pt x="426" y="712"/>
                  </a:lnTo>
                  <a:lnTo>
                    <a:pt x="430" y="706"/>
                  </a:lnTo>
                  <a:lnTo>
                    <a:pt x="436" y="706"/>
                  </a:lnTo>
                  <a:lnTo>
                    <a:pt x="442" y="708"/>
                  </a:lnTo>
                  <a:lnTo>
                    <a:pt x="448" y="710"/>
                  </a:lnTo>
                  <a:lnTo>
                    <a:pt x="454" y="710"/>
                  </a:lnTo>
                  <a:lnTo>
                    <a:pt x="460" y="714"/>
                  </a:lnTo>
                  <a:lnTo>
                    <a:pt x="466" y="716"/>
                  </a:lnTo>
                  <a:lnTo>
                    <a:pt x="468" y="718"/>
                  </a:lnTo>
                  <a:lnTo>
                    <a:pt x="476" y="724"/>
                  </a:lnTo>
                  <a:lnTo>
                    <a:pt x="482" y="726"/>
                  </a:lnTo>
                  <a:lnTo>
                    <a:pt x="488" y="728"/>
                  </a:lnTo>
                  <a:lnTo>
                    <a:pt x="494" y="728"/>
                  </a:lnTo>
                  <a:lnTo>
                    <a:pt x="500" y="726"/>
                  </a:lnTo>
                  <a:lnTo>
                    <a:pt x="494" y="732"/>
                  </a:lnTo>
                  <a:lnTo>
                    <a:pt x="488" y="732"/>
                  </a:lnTo>
                  <a:lnTo>
                    <a:pt x="490" y="738"/>
                  </a:lnTo>
                  <a:lnTo>
                    <a:pt x="496" y="734"/>
                  </a:lnTo>
                  <a:lnTo>
                    <a:pt x="502" y="734"/>
                  </a:lnTo>
                  <a:lnTo>
                    <a:pt x="510" y="730"/>
                  </a:lnTo>
                  <a:lnTo>
                    <a:pt x="516" y="732"/>
                  </a:lnTo>
                  <a:lnTo>
                    <a:pt x="522" y="732"/>
                  </a:lnTo>
                  <a:lnTo>
                    <a:pt x="528" y="734"/>
                  </a:lnTo>
                  <a:lnTo>
                    <a:pt x="534" y="736"/>
                  </a:lnTo>
                  <a:lnTo>
                    <a:pt x="540" y="738"/>
                  </a:lnTo>
                  <a:lnTo>
                    <a:pt x="546" y="740"/>
                  </a:lnTo>
                  <a:lnTo>
                    <a:pt x="552" y="742"/>
                  </a:lnTo>
                  <a:lnTo>
                    <a:pt x="558" y="744"/>
                  </a:lnTo>
                  <a:lnTo>
                    <a:pt x="564" y="746"/>
                  </a:lnTo>
                  <a:lnTo>
                    <a:pt x="570" y="744"/>
                  </a:lnTo>
                  <a:lnTo>
                    <a:pt x="576" y="740"/>
                  </a:lnTo>
                  <a:lnTo>
                    <a:pt x="578" y="740"/>
                  </a:lnTo>
                  <a:lnTo>
                    <a:pt x="584" y="742"/>
                  </a:lnTo>
                  <a:lnTo>
                    <a:pt x="592" y="746"/>
                  </a:lnTo>
                  <a:lnTo>
                    <a:pt x="598" y="744"/>
                  </a:lnTo>
                  <a:lnTo>
                    <a:pt x="604" y="746"/>
                  </a:lnTo>
                  <a:lnTo>
                    <a:pt x="604" y="744"/>
                  </a:lnTo>
                  <a:lnTo>
                    <a:pt x="600" y="740"/>
                  </a:lnTo>
                  <a:lnTo>
                    <a:pt x="598" y="732"/>
                  </a:lnTo>
                  <a:lnTo>
                    <a:pt x="596" y="728"/>
                  </a:lnTo>
                  <a:lnTo>
                    <a:pt x="590" y="722"/>
                  </a:lnTo>
                  <a:lnTo>
                    <a:pt x="588" y="718"/>
                  </a:lnTo>
                  <a:lnTo>
                    <a:pt x="580" y="716"/>
                  </a:lnTo>
                  <a:lnTo>
                    <a:pt x="574" y="712"/>
                  </a:lnTo>
                  <a:lnTo>
                    <a:pt x="570" y="708"/>
                  </a:lnTo>
                  <a:lnTo>
                    <a:pt x="566" y="702"/>
                  </a:lnTo>
                  <a:lnTo>
                    <a:pt x="558" y="698"/>
                  </a:lnTo>
                  <a:lnTo>
                    <a:pt x="554" y="692"/>
                  </a:lnTo>
                  <a:lnTo>
                    <a:pt x="554" y="686"/>
                  </a:lnTo>
                  <a:lnTo>
                    <a:pt x="558" y="682"/>
                  </a:lnTo>
                  <a:lnTo>
                    <a:pt x="564" y="678"/>
                  </a:lnTo>
                  <a:lnTo>
                    <a:pt x="570" y="678"/>
                  </a:lnTo>
                  <a:lnTo>
                    <a:pt x="576" y="674"/>
                  </a:lnTo>
                  <a:lnTo>
                    <a:pt x="582" y="670"/>
                  </a:lnTo>
                  <a:lnTo>
                    <a:pt x="588" y="664"/>
                  </a:lnTo>
                  <a:lnTo>
                    <a:pt x="594" y="660"/>
                  </a:lnTo>
                  <a:lnTo>
                    <a:pt x="600" y="658"/>
                  </a:lnTo>
                  <a:lnTo>
                    <a:pt x="606" y="658"/>
                  </a:lnTo>
                  <a:lnTo>
                    <a:pt x="612" y="656"/>
                  </a:lnTo>
                  <a:lnTo>
                    <a:pt x="618" y="654"/>
                  </a:lnTo>
                  <a:lnTo>
                    <a:pt x="624" y="652"/>
                  </a:lnTo>
                  <a:lnTo>
                    <a:pt x="630" y="648"/>
                  </a:lnTo>
                  <a:lnTo>
                    <a:pt x="636" y="644"/>
                  </a:lnTo>
                  <a:lnTo>
                    <a:pt x="642" y="638"/>
                  </a:lnTo>
                  <a:lnTo>
                    <a:pt x="646" y="632"/>
                  </a:lnTo>
                  <a:lnTo>
                    <a:pt x="652" y="626"/>
                  </a:lnTo>
                  <a:lnTo>
                    <a:pt x="658" y="626"/>
                  </a:lnTo>
                  <a:lnTo>
                    <a:pt x="666" y="628"/>
                  </a:lnTo>
                  <a:lnTo>
                    <a:pt x="672" y="630"/>
                  </a:lnTo>
                  <a:lnTo>
                    <a:pt x="676" y="634"/>
                  </a:lnTo>
                  <a:lnTo>
                    <a:pt x="684" y="634"/>
                  </a:lnTo>
                  <a:lnTo>
                    <a:pt x="690" y="632"/>
                  </a:lnTo>
                  <a:lnTo>
                    <a:pt x="696" y="632"/>
                  </a:lnTo>
                  <a:lnTo>
                    <a:pt x="702" y="632"/>
                  </a:lnTo>
                  <a:lnTo>
                    <a:pt x="708" y="636"/>
                  </a:lnTo>
                  <a:lnTo>
                    <a:pt x="714" y="638"/>
                  </a:lnTo>
                  <a:lnTo>
                    <a:pt x="720" y="640"/>
                  </a:lnTo>
                  <a:lnTo>
                    <a:pt x="722" y="646"/>
                  </a:lnTo>
                  <a:lnTo>
                    <a:pt x="716" y="648"/>
                  </a:lnTo>
                  <a:lnTo>
                    <a:pt x="710" y="652"/>
                  </a:lnTo>
                  <a:lnTo>
                    <a:pt x="716" y="656"/>
                  </a:lnTo>
                  <a:lnTo>
                    <a:pt x="718" y="650"/>
                  </a:lnTo>
                  <a:lnTo>
                    <a:pt x="724" y="648"/>
                  </a:lnTo>
                  <a:lnTo>
                    <a:pt x="730" y="648"/>
                  </a:lnTo>
                  <a:lnTo>
                    <a:pt x="736" y="648"/>
                  </a:lnTo>
                  <a:lnTo>
                    <a:pt x="742" y="652"/>
                  </a:lnTo>
                  <a:lnTo>
                    <a:pt x="744" y="658"/>
                  </a:lnTo>
                  <a:lnTo>
                    <a:pt x="750" y="664"/>
                  </a:lnTo>
                  <a:lnTo>
                    <a:pt x="754" y="666"/>
                  </a:lnTo>
                  <a:lnTo>
                    <a:pt x="750" y="660"/>
                  </a:lnTo>
                  <a:lnTo>
                    <a:pt x="748" y="654"/>
                  </a:lnTo>
                  <a:lnTo>
                    <a:pt x="744" y="648"/>
                  </a:lnTo>
                  <a:lnTo>
                    <a:pt x="744" y="642"/>
                  </a:lnTo>
                  <a:lnTo>
                    <a:pt x="744" y="636"/>
                  </a:lnTo>
                  <a:lnTo>
                    <a:pt x="746" y="634"/>
                  </a:lnTo>
                  <a:lnTo>
                    <a:pt x="750" y="628"/>
                  </a:lnTo>
                  <a:lnTo>
                    <a:pt x="750" y="622"/>
                  </a:lnTo>
                  <a:lnTo>
                    <a:pt x="756" y="618"/>
                  </a:lnTo>
                  <a:lnTo>
                    <a:pt x="750" y="614"/>
                  </a:lnTo>
                  <a:lnTo>
                    <a:pt x="750" y="610"/>
                  </a:lnTo>
                  <a:lnTo>
                    <a:pt x="752" y="602"/>
                  </a:lnTo>
                  <a:lnTo>
                    <a:pt x="746" y="598"/>
                  </a:lnTo>
                  <a:lnTo>
                    <a:pt x="740" y="596"/>
                  </a:lnTo>
                  <a:lnTo>
                    <a:pt x="734" y="590"/>
                  </a:lnTo>
                  <a:lnTo>
                    <a:pt x="728" y="588"/>
                  </a:lnTo>
                  <a:lnTo>
                    <a:pt x="722" y="588"/>
                  </a:lnTo>
                  <a:lnTo>
                    <a:pt x="716" y="588"/>
                  </a:lnTo>
                  <a:lnTo>
                    <a:pt x="710" y="582"/>
                  </a:lnTo>
                  <a:lnTo>
                    <a:pt x="710" y="576"/>
                  </a:lnTo>
                  <a:lnTo>
                    <a:pt x="712" y="570"/>
                  </a:lnTo>
                  <a:lnTo>
                    <a:pt x="714" y="564"/>
                  </a:lnTo>
                  <a:lnTo>
                    <a:pt x="716" y="558"/>
                  </a:lnTo>
                  <a:lnTo>
                    <a:pt x="718" y="552"/>
                  </a:lnTo>
                  <a:lnTo>
                    <a:pt x="714" y="546"/>
                  </a:lnTo>
                  <a:lnTo>
                    <a:pt x="720" y="544"/>
                  </a:lnTo>
                  <a:lnTo>
                    <a:pt x="716" y="538"/>
                  </a:lnTo>
                  <a:lnTo>
                    <a:pt x="722" y="536"/>
                  </a:lnTo>
                  <a:lnTo>
                    <a:pt x="716" y="534"/>
                  </a:lnTo>
                  <a:lnTo>
                    <a:pt x="716" y="528"/>
                  </a:lnTo>
                  <a:lnTo>
                    <a:pt x="714" y="522"/>
                  </a:lnTo>
                  <a:lnTo>
                    <a:pt x="710" y="520"/>
                  </a:lnTo>
                  <a:lnTo>
                    <a:pt x="704" y="516"/>
                  </a:lnTo>
                  <a:lnTo>
                    <a:pt x="698" y="514"/>
                  </a:lnTo>
                  <a:lnTo>
                    <a:pt x="692" y="512"/>
                  </a:lnTo>
                  <a:lnTo>
                    <a:pt x="686" y="510"/>
                  </a:lnTo>
                  <a:lnTo>
                    <a:pt x="680" y="508"/>
                  </a:lnTo>
                  <a:lnTo>
                    <a:pt x="674" y="504"/>
                  </a:lnTo>
                  <a:lnTo>
                    <a:pt x="668" y="502"/>
                  </a:lnTo>
                  <a:lnTo>
                    <a:pt x="674" y="498"/>
                  </a:lnTo>
                  <a:lnTo>
                    <a:pt x="680" y="500"/>
                  </a:lnTo>
                  <a:lnTo>
                    <a:pt x="688" y="502"/>
                  </a:lnTo>
                  <a:lnTo>
                    <a:pt x="694" y="504"/>
                  </a:lnTo>
                  <a:lnTo>
                    <a:pt x="700" y="506"/>
                  </a:lnTo>
                  <a:lnTo>
                    <a:pt x="706" y="508"/>
                  </a:lnTo>
                  <a:lnTo>
                    <a:pt x="712" y="506"/>
                  </a:lnTo>
                  <a:lnTo>
                    <a:pt x="718" y="506"/>
                  </a:lnTo>
                  <a:lnTo>
                    <a:pt x="724" y="506"/>
                  </a:lnTo>
                  <a:lnTo>
                    <a:pt x="730" y="506"/>
                  </a:lnTo>
                  <a:lnTo>
                    <a:pt x="736" y="504"/>
                  </a:lnTo>
                  <a:lnTo>
                    <a:pt x="742" y="504"/>
                  </a:lnTo>
                  <a:lnTo>
                    <a:pt x="744" y="504"/>
                  </a:lnTo>
                  <a:lnTo>
                    <a:pt x="750" y="504"/>
                  </a:lnTo>
                  <a:lnTo>
                    <a:pt x="756" y="504"/>
                  </a:lnTo>
                  <a:lnTo>
                    <a:pt x="762" y="506"/>
                  </a:lnTo>
                  <a:lnTo>
                    <a:pt x="770" y="508"/>
                  </a:lnTo>
                  <a:lnTo>
                    <a:pt x="776" y="508"/>
                  </a:lnTo>
                  <a:lnTo>
                    <a:pt x="782" y="510"/>
                  </a:lnTo>
                  <a:lnTo>
                    <a:pt x="788" y="510"/>
                  </a:lnTo>
                  <a:lnTo>
                    <a:pt x="790" y="516"/>
                  </a:lnTo>
                  <a:lnTo>
                    <a:pt x="796" y="520"/>
                  </a:lnTo>
                  <a:lnTo>
                    <a:pt x="804" y="524"/>
                  </a:lnTo>
                  <a:lnTo>
                    <a:pt x="808" y="526"/>
                  </a:lnTo>
                  <a:lnTo>
                    <a:pt x="816" y="528"/>
                  </a:lnTo>
                  <a:lnTo>
                    <a:pt x="820" y="532"/>
                  </a:lnTo>
                  <a:lnTo>
                    <a:pt x="824" y="538"/>
                  </a:lnTo>
                  <a:lnTo>
                    <a:pt x="830" y="542"/>
                  </a:lnTo>
                  <a:lnTo>
                    <a:pt x="834" y="548"/>
                  </a:lnTo>
                  <a:lnTo>
                    <a:pt x="828" y="550"/>
                  </a:lnTo>
                  <a:lnTo>
                    <a:pt x="822" y="550"/>
                  </a:lnTo>
                  <a:lnTo>
                    <a:pt x="816" y="548"/>
                  </a:lnTo>
                  <a:lnTo>
                    <a:pt x="810" y="550"/>
                  </a:lnTo>
                  <a:lnTo>
                    <a:pt x="804" y="550"/>
                  </a:lnTo>
                  <a:lnTo>
                    <a:pt x="798" y="552"/>
                  </a:lnTo>
                  <a:lnTo>
                    <a:pt x="792" y="552"/>
                  </a:lnTo>
                  <a:lnTo>
                    <a:pt x="786" y="552"/>
                  </a:lnTo>
                  <a:lnTo>
                    <a:pt x="780" y="554"/>
                  </a:lnTo>
                  <a:lnTo>
                    <a:pt x="774" y="554"/>
                  </a:lnTo>
                  <a:lnTo>
                    <a:pt x="776" y="562"/>
                  </a:lnTo>
                  <a:lnTo>
                    <a:pt x="770" y="562"/>
                  </a:lnTo>
                  <a:lnTo>
                    <a:pt x="764" y="566"/>
                  </a:lnTo>
                  <a:lnTo>
                    <a:pt x="762" y="568"/>
                  </a:lnTo>
                  <a:lnTo>
                    <a:pt x="760" y="574"/>
                  </a:lnTo>
                  <a:lnTo>
                    <a:pt x="766" y="578"/>
                  </a:lnTo>
                  <a:lnTo>
                    <a:pt x="772" y="580"/>
                  </a:lnTo>
                  <a:lnTo>
                    <a:pt x="778" y="584"/>
                  </a:lnTo>
                  <a:lnTo>
                    <a:pt x="786" y="584"/>
                  </a:lnTo>
                  <a:lnTo>
                    <a:pt x="792" y="586"/>
                  </a:lnTo>
                  <a:lnTo>
                    <a:pt x="798" y="588"/>
                  </a:lnTo>
                  <a:lnTo>
                    <a:pt x="802" y="594"/>
                  </a:lnTo>
                  <a:lnTo>
                    <a:pt x="808" y="600"/>
                  </a:lnTo>
                  <a:lnTo>
                    <a:pt x="812" y="606"/>
                  </a:lnTo>
                  <a:lnTo>
                    <a:pt x="820" y="606"/>
                  </a:lnTo>
                  <a:lnTo>
                    <a:pt x="822" y="608"/>
                  </a:lnTo>
                  <a:lnTo>
                    <a:pt x="828" y="608"/>
                  </a:lnTo>
                  <a:lnTo>
                    <a:pt x="834" y="608"/>
                  </a:lnTo>
                  <a:lnTo>
                    <a:pt x="840" y="606"/>
                  </a:lnTo>
                  <a:lnTo>
                    <a:pt x="846" y="606"/>
                  </a:lnTo>
                  <a:lnTo>
                    <a:pt x="840" y="612"/>
                  </a:lnTo>
                  <a:lnTo>
                    <a:pt x="846" y="608"/>
                  </a:lnTo>
                  <a:lnTo>
                    <a:pt x="854" y="608"/>
                  </a:lnTo>
                  <a:lnTo>
                    <a:pt x="860" y="608"/>
                  </a:lnTo>
                  <a:lnTo>
                    <a:pt x="866" y="606"/>
                  </a:lnTo>
                  <a:lnTo>
                    <a:pt x="872" y="606"/>
                  </a:lnTo>
                  <a:lnTo>
                    <a:pt x="878" y="602"/>
                  </a:lnTo>
                  <a:lnTo>
                    <a:pt x="884" y="602"/>
                  </a:lnTo>
                  <a:lnTo>
                    <a:pt x="890" y="604"/>
                  </a:lnTo>
                  <a:lnTo>
                    <a:pt x="894" y="598"/>
                  </a:lnTo>
                  <a:lnTo>
                    <a:pt x="894" y="592"/>
                  </a:lnTo>
                  <a:lnTo>
                    <a:pt x="890" y="586"/>
                  </a:lnTo>
                  <a:lnTo>
                    <a:pt x="892" y="580"/>
                  </a:lnTo>
                  <a:lnTo>
                    <a:pt x="896" y="574"/>
                  </a:lnTo>
                  <a:lnTo>
                    <a:pt x="894" y="568"/>
                  </a:lnTo>
                  <a:lnTo>
                    <a:pt x="888" y="564"/>
                  </a:lnTo>
                  <a:lnTo>
                    <a:pt x="894" y="560"/>
                  </a:lnTo>
                  <a:lnTo>
                    <a:pt x="900" y="562"/>
                  </a:lnTo>
                  <a:lnTo>
                    <a:pt x="908" y="558"/>
                  </a:lnTo>
                  <a:lnTo>
                    <a:pt x="914" y="558"/>
                  </a:lnTo>
                  <a:lnTo>
                    <a:pt x="920" y="558"/>
                  </a:lnTo>
                  <a:lnTo>
                    <a:pt x="926" y="556"/>
                  </a:lnTo>
                  <a:lnTo>
                    <a:pt x="932" y="556"/>
                  </a:lnTo>
                  <a:lnTo>
                    <a:pt x="938" y="558"/>
                  </a:lnTo>
                  <a:lnTo>
                    <a:pt x="944" y="560"/>
                  </a:lnTo>
                  <a:lnTo>
                    <a:pt x="938" y="556"/>
                  </a:lnTo>
                  <a:lnTo>
                    <a:pt x="932" y="554"/>
                  </a:lnTo>
                  <a:lnTo>
                    <a:pt x="928" y="548"/>
                  </a:lnTo>
                  <a:lnTo>
                    <a:pt x="922" y="546"/>
                  </a:lnTo>
                  <a:lnTo>
                    <a:pt x="928" y="546"/>
                  </a:lnTo>
                  <a:lnTo>
                    <a:pt x="934" y="548"/>
                  </a:lnTo>
                  <a:lnTo>
                    <a:pt x="940" y="546"/>
                  </a:lnTo>
                  <a:lnTo>
                    <a:pt x="946" y="546"/>
                  </a:lnTo>
                  <a:lnTo>
                    <a:pt x="952" y="544"/>
                  </a:lnTo>
                  <a:lnTo>
                    <a:pt x="958" y="542"/>
                  </a:lnTo>
                  <a:lnTo>
                    <a:pt x="964" y="540"/>
                  </a:lnTo>
                  <a:lnTo>
                    <a:pt x="970" y="536"/>
                  </a:lnTo>
                  <a:lnTo>
                    <a:pt x="976" y="534"/>
                  </a:lnTo>
                  <a:lnTo>
                    <a:pt x="978" y="536"/>
                  </a:lnTo>
                  <a:lnTo>
                    <a:pt x="984" y="530"/>
                  </a:lnTo>
                  <a:lnTo>
                    <a:pt x="990" y="526"/>
                  </a:lnTo>
                  <a:lnTo>
                    <a:pt x="996" y="524"/>
                  </a:lnTo>
                  <a:lnTo>
                    <a:pt x="1002" y="520"/>
                  </a:lnTo>
                  <a:lnTo>
                    <a:pt x="1008" y="516"/>
                  </a:lnTo>
                  <a:lnTo>
                    <a:pt x="1014" y="518"/>
                  </a:lnTo>
                  <a:lnTo>
                    <a:pt x="1020" y="518"/>
                  </a:lnTo>
                  <a:lnTo>
                    <a:pt x="1026" y="516"/>
                  </a:lnTo>
                  <a:lnTo>
                    <a:pt x="1032" y="514"/>
                  </a:lnTo>
                  <a:lnTo>
                    <a:pt x="1038" y="514"/>
                  </a:lnTo>
                  <a:lnTo>
                    <a:pt x="1044" y="510"/>
                  </a:lnTo>
                  <a:lnTo>
                    <a:pt x="1050" y="508"/>
                  </a:lnTo>
                  <a:lnTo>
                    <a:pt x="1058" y="508"/>
                  </a:lnTo>
                  <a:lnTo>
                    <a:pt x="1064" y="504"/>
                  </a:lnTo>
                  <a:lnTo>
                    <a:pt x="1070" y="510"/>
                  </a:lnTo>
                  <a:lnTo>
                    <a:pt x="1066" y="516"/>
                  </a:lnTo>
                  <a:lnTo>
                    <a:pt x="1074" y="520"/>
                  </a:lnTo>
                  <a:lnTo>
                    <a:pt x="1078" y="518"/>
                  </a:lnTo>
                  <a:lnTo>
                    <a:pt x="1086" y="514"/>
                  </a:lnTo>
                  <a:lnTo>
                    <a:pt x="1092" y="512"/>
                  </a:lnTo>
                  <a:lnTo>
                    <a:pt x="1084" y="508"/>
                  </a:lnTo>
                  <a:lnTo>
                    <a:pt x="1078" y="504"/>
                  </a:lnTo>
                  <a:lnTo>
                    <a:pt x="1072" y="504"/>
                  </a:lnTo>
                  <a:lnTo>
                    <a:pt x="1078" y="498"/>
                  </a:lnTo>
                  <a:lnTo>
                    <a:pt x="1084" y="496"/>
                  </a:lnTo>
                  <a:lnTo>
                    <a:pt x="1090" y="492"/>
                  </a:lnTo>
                  <a:lnTo>
                    <a:pt x="1096" y="492"/>
                  </a:lnTo>
                  <a:lnTo>
                    <a:pt x="1102" y="488"/>
                  </a:lnTo>
                  <a:lnTo>
                    <a:pt x="1108" y="486"/>
                  </a:lnTo>
                  <a:lnTo>
                    <a:pt x="1114" y="484"/>
                  </a:lnTo>
                  <a:lnTo>
                    <a:pt x="1120" y="482"/>
                  </a:lnTo>
                  <a:lnTo>
                    <a:pt x="1128" y="482"/>
                  </a:lnTo>
                  <a:lnTo>
                    <a:pt x="1134" y="480"/>
                  </a:lnTo>
                  <a:lnTo>
                    <a:pt x="1138" y="480"/>
                  </a:lnTo>
                  <a:lnTo>
                    <a:pt x="1146" y="480"/>
                  </a:lnTo>
                  <a:lnTo>
                    <a:pt x="1152" y="480"/>
                  </a:lnTo>
                  <a:lnTo>
                    <a:pt x="1158" y="480"/>
                  </a:lnTo>
                  <a:lnTo>
                    <a:pt x="1152" y="482"/>
                  </a:lnTo>
                  <a:lnTo>
                    <a:pt x="1146" y="482"/>
                  </a:lnTo>
                  <a:lnTo>
                    <a:pt x="1140" y="482"/>
                  </a:lnTo>
                  <a:lnTo>
                    <a:pt x="1134" y="484"/>
                  </a:lnTo>
                  <a:lnTo>
                    <a:pt x="1128" y="484"/>
                  </a:lnTo>
                  <a:lnTo>
                    <a:pt x="1122" y="484"/>
                  </a:lnTo>
                  <a:lnTo>
                    <a:pt x="1128" y="486"/>
                  </a:lnTo>
                  <a:lnTo>
                    <a:pt x="1134" y="486"/>
                  </a:lnTo>
                  <a:lnTo>
                    <a:pt x="1140" y="488"/>
                  </a:lnTo>
                  <a:lnTo>
                    <a:pt x="1134" y="490"/>
                  </a:lnTo>
                  <a:lnTo>
                    <a:pt x="1136" y="498"/>
                  </a:lnTo>
                  <a:lnTo>
                    <a:pt x="1134" y="504"/>
                  </a:lnTo>
                  <a:lnTo>
                    <a:pt x="1142" y="508"/>
                  </a:lnTo>
                  <a:lnTo>
                    <a:pt x="1146" y="512"/>
                  </a:lnTo>
                  <a:lnTo>
                    <a:pt x="1140" y="516"/>
                  </a:lnTo>
                  <a:lnTo>
                    <a:pt x="1134" y="514"/>
                  </a:lnTo>
                  <a:lnTo>
                    <a:pt x="1126" y="516"/>
                  </a:lnTo>
                  <a:lnTo>
                    <a:pt x="1120" y="518"/>
                  </a:lnTo>
                  <a:lnTo>
                    <a:pt x="1118" y="524"/>
                  </a:lnTo>
                  <a:lnTo>
                    <a:pt x="1126" y="524"/>
                  </a:lnTo>
                  <a:lnTo>
                    <a:pt x="1132" y="524"/>
                  </a:lnTo>
                  <a:lnTo>
                    <a:pt x="1138" y="524"/>
                  </a:lnTo>
                  <a:lnTo>
                    <a:pt x="1144" y="524"/>
                  </a:lnTo>
                  <a:lnTo>
                    <a:pt x="1150" y="526"/>
                  </a:lnTo>
                  <a:lnTo>
                    <a:pt x="1154" y="524"/>
                  </a:lnTo>
                  <a:lnTo>
                    <a:pt x="1162" y="520"/>
                  </a:lnTo>
                  <a:lnTo>
                    <a:pt x="1162" y="526"/>
                  </a:lnTo>
                  <a:lnTo>
                    <a:pt x="1164" y="526"/>
                  </a:lnTo>
                  <a:lnTo>
                    <a:pt x="1170" y="524"/>
                  </a:lnTo>
                  <a:lnTo>
                    <a:pt x="1176" y="520"/>
                  </a:lnTo>
                  <a:lnTo>
                    <a:pt x="1182" y="526"/>
                  </a:lnTo>
                  <a:lnTo>
                    <a:pt x="1188" y="528"/>
                  </a:lnTo>
                  <a:lnTo>
                    <a:pt x="1194" y="528"/>
                  </a:lnTo>
                  <a:lnTo>
                    <a:pt x="1192" y="520"/>
                  </a:lnTo>
                  <a:lnTo>
                    <a:pt x="1192" y="516"/>
                  </a:lnTo>
                  <a:lnTo>
                    <a:pt x="1194" y="512"/>
                  </a:lnTo>
                  <a:lnTo>
                    <a:pt x="1200" y="510"/>
                  </a:lnTo>
                  <a:lnTo>
                    <a:pt x="1206" y="506"/>
                  </a:lnTo>
                  <a:lnTo>
                    <a:pt x="1212" y="504"/>
                  </a:lnTo>
                  <a:lnTo>
                    <a:pt x="1218" y="504"/>
                  </a:lnTo>
                  <a:lnTo>
                    <a:pt x="1224" y="504"/>
                  </a:lnTo>
                  <a:lnTo>
                    <a:pt x="1230" y="500"/>
                  </a:lnTo>
                  <a:lnTo>
                    <a:pt x="1236" y="500"/>
                  </a:lnTo>
                  <a:lnTo>
                    <a:pt x="1242" y="502"/>
                  </a:lnTo>
                  <a:lnTo>
                    <a:pt x="1248" y="502"/>
                  </a:lnTo>
                  <a:lnTo>
                    <a:pt x="1254" y="502"/>
                  </a:lnTo>
                  <a:lnTo>
                    <a:pt x="1260" y="500"/>
                  </a:lnTo>
                  <a:lnTo>
                    <a:pt x="1266" y="502"/>
                  </a:lnTo>
                  <a:lnTo>
                    <a:pt x="1274" y="504"/>
                  </a:lnTo>
                  <a:lnTo>
                    <a:pt x="1280" y="506"/>
                  </a:lnTo>
                  <a:lnTo>
                    <a:pt x="1286" y="506"/>
                  </a:lnTo>
                  <a:lnTo>
                    <a:pt x="1292" y="506"/>
                  </a:lnTo>
                  <a:lnTo>
                    <a:pt x="1298" y="500"/>
                  </a:lnTo>
                  <a:lnTo>
                    <a:pt x="1304" y="494"/>
                  </a:lnTo>
                  <a:lnTo>
                    <a:pt x="1310" y="496"/>
                  </a:lnTo>
                  <a:lnTo>
                    <a:pt x="1316" y="494"/>
                  </a:lnTo>
                  <a:lnTo>
                    <a:pt x="1316" y="488"/>
                  </a:lnTo>
                  <a:lnTo>
                    <a:pt x="1322" y="486"/>
                  </a:lnTo>
                  <a:lnTo>
                    <a:pt x="1328" y="490"/>
                  </a:lnTo>
                  <a:lnTo>
                    <a:pt x="1334" y="494"/>
                  </a:lnTo>
                  <a:lnTo>
                    <a:pt x="1330" y="488"/>
                  </a:lnTo>
                  <a:lnTo>
                    <a:pt x="1336" y="484"/>
                  </a:lnTo>
                  <a:lnTo>
                    <a:pt x="1342" y="482"/>
                  </a:lnTo>
                  <a:lnTo>
                    <a:pt x="1348" y="480"/>
                  </a:lnTo>
                  <a:lnTo>
                    <a:pt x="1354" y="480"/>
                  </a:lnTo>
                  <a:lnTo>
                    <a:pt x="1360" y="480"/>
                  </a:lnTo>
                  <a:lnTo>
                    <a:pt x="1366" y="480"/>
                  </a:lnTo>
                  <a:lnTo>
                    <a:pt x="1360" y="482"/>
                  </a:lnTo>
                  <a:lnTo>
                    <a:pt x="1366" y="486"/>
                  </a:lnTo>
                  <a:lnTo>
                    <a:pt x="1372" y="488"/>
                  </a:lnTo>
                  <a:lnTo>
                    <a:pt x="1378" y="490"/>
                  </a:lnTo>
                  <a:lnTo>
                    <a:pt x="1384" y="494"/>
                  </a:lnTo>
                  <a:lnTo>
                    <a:pt x="1378" y="496"/>
                  </a:lnTo>
                  <a:lnTo>
                    <a:pt x="1370" y="502"/>
                  </a:lnTo>
                  <a:lnTo>
                    <a:pt x="1376" y="508"/>
                  </a:lnTo>
                  <a:lnTo>
                    <a:pt x="1376" y="514"/>
                  </a:lnTo>
                  <a:lnTo>
                    <a:pt x="1382" y="516"/>
                  </a:lnTo>
                  <a:lnTo>
                    <a:pt x="1388" y="516"/>
                  </a:lnTo>
                  <a:lnTo>
                    <a:pt x="1394" y="516"/>
                  </a:lnTo>
                  <a:lnTo>
                    <a:pt x="1400" y="518"/>
                  </a:lnTo>
                  <a:lnTo>
                    <a:pt x="1406" y="518"/>
                  </a:lnTo>
                  <a:lnTo>
                    <a:pt x="1412" y="516"/>
                  </a:lnTo>
                  <a:lnTo>
                    <a:pt x="1414" y="510"/>
                  </a:lnTo>
                  <a:lnTo>
                    <a:pt x="1408" y="504"/>
                  </a:lnTo>
                  <a:lnTo>
                    <a:pt x="1402" y="502"/>
                  </a:lnTo>
                  <a:lnTo>
                    <a:pt x="1408" y="496"/>
                  </a:lnTo>
                  <a:lnTo>
                    <a:pt x="1410" y="498"/>
                  </a:lnTo>
                  <a:lnTo>
                    <a:pt x="1418" y="498"/>
                  </a:lnTo>
                  <a:lnTo>
                    <a:pt x="1422" y="498"/>
                  </a:lnTo>
                  <a:lnTo>
                    <a:pt x="1428" y="496"/>
                  </a:lnTo>
                  <a:lnTo>
                    <a:pt x="1434" y="496"/>
                  </a:lnTo>
                  <a:lnTo>
                    <a:pt x="1440" y="488"/>
                  </a:lnTo>
                  <a:lnTo>
                    <a:pt x="1446" y="486"/>
                  </a:lnTo>
                  <a:lnTo>
                    <a:pt x="1444" y="480"/>
                  </a:lnTo>
                  <a:lnTo>
                    <a:pt x="1440" y="474"/>
                  </a:lnTo>
                  <a:lnTo>
                    <a:pt x="1434" y="470"/>
                  </a:lnTo>
                  <a:lnTo>
                    <a:pt x="1428" y="474"/>
                  </a:lnTo>
                  <a:lnTo>
                    <a:pt x="1424" y="468"/>
                  </a:lnTo>
                  <a:lnTo>
                    <a:pt x="1418" y="462"/>
                  </a:lnTo>
                  <a:lnTo>
                    <a:pt x="1412" y="458"/>
                  </a:lnTo>
                  <a:lnTo>
                    <a:pt x="1406" y="454"/>
                  </a:lnTo>
                  <a:lnTo>
                    <a:pt x="1400" y="450"/>
                  </a:lnTo>
                  <a:lnTo>
                    <a:pt x="1394" y="446"/>
                  </a:lnTo>
                  <a:lnTo>
                    <a:pt x="1400" y="440"/>
                  </a:lnTo>
                  <a:lnTo>
                    <a:pt x="1406" y="440"/>
                  </a:lnTo>
                  <a:lnTo>
                    <a:pt x="1412" y="440"/>
                  </a:lnTo>
                  <a:lnTo>
                    <a:pt x="1412" y="434"/>
                  </a:lnTo>
                  <a:lnTo>
                    <a:pt x="1420" y="430"/>
                  </a:lnTo>
                  <a:lnTo>
                    <a:pt x="1426" y="430"/>
                  </a:lnTo>
                  <a:lnTo>
                    <a:pt x="1432" y="430"/>
                  </a:lnTo>
                  <a:lnTo>
                    <a:pt x="1438" y="432"/>
                  </a:lnTo>
                  <a:lnTo>
                    <a:pt x="1444" y="434"/>
                  </a:lnTo>
                  <a:lnTo>
                    <a:pt x="1450" y="434"/>
                  </a:lnTo>
                  <a:lnTo>
                    <a:pt x="1456" y="434"/>
                  </a:lnTo>
                  <a:lnTo>
                    <a:pt x="1464" y="436"/>
                  </a:lnTo>
                  <a:lnTo>
                    <a:pt x="1470" y="436"/>
                  </a:lnTo>
                  <a:lnTo>
                    <a:pt x="1476" y="436"/>
                  </a:lnTo>
                  <a:lnTo>
                    <a:pt x="1482" y="436"/>
                  </a:lnTo>
                  <a:lnTo>
                    <a:pt x="1488" y="436"/>
                  </a:lnTo>
                  <a:lnTo>
                    <a:pt x="1494" y="436"/>
                  </a:lnTo>
                  <a:lnTo>
                    <a:pt x="1502" y="436"/>
                  </a:lnTo>
                  <a:lnTo>
                    <a:pt x="1508" y="438"/>
                  </a:lnTo>
                  <a:lnTo>
                    <a:pt x="1514" y="438"/>
                  </a:lnTo>
                  <a:lnTo>
                    <a:pt x="1520" y="438"/>
                  </a:lnTo>
                  <a:lnTo>
                    <a:pt x="1528" y="440"/>
                  </a:lnTo>
                  <a:lnTo>
                    <a:pt x="1534" y="440"/>
                  </a:lnTo>
                  <a:lnTo>
                    <a:pt x="1540" y="442"/>
                  </a:lnTo>
                  <a:lnTo>
                    <a:pt x="1546" y="442"/>
                  </a:lnTo>
                  <a:lnTo>
                    <a:pt x="1552" y="444"/>
                  </a:lnTo>
                  <a:lnTo>
                    <a:pt x="1558" y="444"/>
                  </a:lnTo>
                  <a:lnTo>
                    <a:pt x="1564" y="446"/>
                  </a:lnTo>
                  <a:lnTo>
                    <a:pt x="1570" y="448"/>
                  </a:lnTo>
                  <a:lnTo>
                    <a:pt x="1576" y="448"/>
                  </a:lnTo>
                  <a:lnTo>
                    <a:pt x="1582" y="450"/>
                  </a:lnTo>
                  <a:lnTo>
                    <a:pt x="1588" y="452"/>
                  </a:lnTo>
                  <a:lnTo>
                    <a:pt x="1596" y="454"/>
                  </a:lnTo>
                  <a:lnTo>
                    <a:pt x="1602" y="456"/>
                  </a:lnTo>
                  <a:lnTo>
                    <a:pt x="1608" y="460"/>
                  </a:lnTo>
                  <a:lnTo>
                    <a:pt x="1616" y="462"/>
                  </a:lnTo>
                  <a:lnTo>
                    <a:pt x="1608" y="464"/>
                  </a:lnTo>
                  <a:lnTo>
                    <a:pt x="1610" y="470"/>
                  </a:lnTo>
                  <a:lnTo>
                    <a:pt x="1614" y="470"/>
                  </a:lnTo>
                  <a:lnTo>
                    <a:pt x="1616" y="468"/>
                  </a:lnTo>
                  <a:lnTo>
                    <a:pt x="1620" y="464"/>
                  </a:lnTo>
                  <a:lnTo>
                    <a:pt x="1626" y="466"/>
                  </a:lnTo>
                  <a:lnTo>
                    <a:pt x="1632" y="468"/>
                  </a:lnTo>
                  <a:lnTo>
                    <a:pt x="1638" y="470"/>
                  </a:lnTo>
                  <a:lnTo>
                    <a:pt x="1644" y="470"/>
                  </a:lnTo>
                  <a:lnTo>
                    <a:pt x="1650" y="470"/>
                  </a:lnTo>
                  <a:lnTo>
                    <a:pt x="1656" y="472"/>
                  </a:lnTo>
                  <a:lnTo>
                    <a:pt x="1650" y="472"/>
                  </a:lnTo>
                  <a:lnTo>
                    <a:pt x="1656" y="474"/>
                  </a:lnTo>
                  <a:lnTo>
                    <a:pt x="1662" y="476"/>
                  </a:lnTo>
                  <a:lnTo>
                    <a:pt x="1668" y="478"/>
                  </a:lnTo>
                  <a:lnTo>
                    <a:pt x="1674" y="478"/>
                  </a:lnTo>
                  <a:lnTo>
                    <a:pt x="1680" y="480"/>
                  </a:lnTo>
                  <a:lnTo>
                    <a:pt x="1686" y="482"/>
                  </a:lnTo>
                  <a:lnTo>
                    <a:pt x="1692" y="484"/>
                  </a:lnTo>
                  <a:lnTo>
                    <a:pt x="1698" y="486"/>
                  </a:lnTo>
                  <a:lnTo>
                    <a:pt x="1706" y="486"/>
                  </a:lnTo>
                  <a:lnTo>
                    <a:pt x="1710" y="486"/>
                  </a:lnTo>
                  <a:lnTo>
                    <a:pt x="1718" y="488"/>
                  </a:lnTo>
                  <a:lnTo>
                    <a:pt x="1724" y="488"/>
                  </a:lnTo>
                  <a:lnTo>
                    <a:pt x="1728" y="496"/>
                  </a:lnTo>
                  <a:lnTo>
                    <a:pt x="1734" y="498"/>
                  </a:lnTo>
                  <a:lnTo>
                    <a:pt x="1740" y="500"/>
                  </a:lnTo>
                  <a:lnTo>
                    <a:pt x="1748" y="502"/>
                  </a:lnTo>
                  <a:lnTo>
                    <a:pt x="1752" y="504"/>
                  </a:lnTo>
                  <a:lnTo>
                    <a:pt x="1758" y="506"/>
                  </a:lnTo>
                  <a:lnTo>
                    <a:pt x="1764" y="510"/>
                  </a:lnTo>
                  <a:lnTo>
                    <a:pt x="1770" y="512"/>
                  </a:lnTo>
                  <a:lnTo>
                    <a:pt x="1778" y="512"/>
                  </a:lnTo>
                  <a:lnTo>
                    <a:pt x="1784" y="514"/>
                  </a:lnTo>
                  <a:lnTo>
                    <a:pt x="1790" y="518"/>
                  </a:lnTo>
                  <a:lnTo>
                    <a:pt x="1790" y="524"/>
                  </a:lnTo>
                  <a:lnTo>
                    <a:pt x="1794" y="528"/>
                  </a:lnTo>
                  <a:lnTo>
                    <a:pt x="1802" y="524"/>
                  </a:lnTo>
                  <a:lnTo>
                    <a:pt x="1806" y="520"/>
                  </a:lnTo>
                  <a:lnTo>
                    <a:pt x="1808" y="520"/>
                  </a:lnTo>
                  <a:lnTo>
                    <a:pt x="1804" y="514"/>
                  </a:lnTo>
                  <a:lnTo>
                    <a:pt x="1808" y="508"/>
                  </a:lnTo>
                  <a:lnTo>
                    <a:pt x="1810" y="502"/>
                  </a:lnTo>
                  <a:lnTo>
                    <a:pt x="1810" y="496"/>
                  </a:lnTo>
                  <a:lnTo>
                    <a:pt x="1810" y="490"/>
                  </a:lnTo>
                  <a:lnTo>
                    <a:pt x="1804" y="486"/>
                  </a:lnTo>
                  <a:lnTo>
                    <a:pt x="1810" y="484"/>
                  </a:lnTo>
                  <a:lnTo>
                    <a:pt x="1804" y="482"/>
                  </a:lnTo>
                  <a:lnTo>
                    <a:pt x="1798" y="484"/>
                  </a:lnTo>
                  <a:lnTo>
                    <a:pt x="1792" y="484"/>
                  </a:lnTo>
                  <a:lnTo>
                    <a:pt x="1786" y="482"/>
                  </a:lnTo>
                  <a:lnTo>
                    <a:pt x="1780" y="480"/>
                  </a:lnTo>
                  <a:lnTo>
                    <a:pt x="1772" y="476"/>
                  </a:lnTo>
                  <a:lnTo>
                    <a:pt x="1768" y="472"/>
                  </a:lnTo>
                  <a:lnTo>
                    <a:pt x="1760" y="470"/>
                  </a:lnTo>
                  <a:lnTo>
                    <a:pt x="1756" y="466"/>
                  </a:lnTo>
                  <a:lnTo>
                    <a:pt x="1748" y="460"/>
                  </a:lnTo>
                  <a:lnTo>
                    <a:pt x="1750" y="454"/>
                  </a:lnTo>
                  <a:lnTo>
                    <a:pt x="1746" y="448"/>
                  </a:lnTo>
                  <a:lnTo>
                    <a:pt x="1740" y="450"/>
                  </a:lnTo>
                  <a:lnTo>
                    <a:pt x="1734" y="450"/>
                  </a:lnTo>
                  <a:lnTo>
                    <a:pt x="1728" y="448"/>
                  </a:lnTo>
                  <a:lnTo>
                    <a:pt x="1722" y="444"/>
                  </a:lnTo>
                  <a:lnTo>
                    <a:pt x="1716" y="444"/>
                  </a:lnTo>
                  <a:lnTo>
                    <a:pt x="1710" y="444"/>
                  </a:lnTo>
                  <a:lnTo>
                    <a:pt x="1704" y="442"/>
                  </a:lnTo>
                  <a:lnTo>
                    <a:pt x="1698" y="440"/>
                  </a:lnTo>
                  <a:lnTo>
                    <a:pt x="1692" y="440"/>
                  </a:lnTo>
                  <a:lnTo>
                    <a:pt x="1692" y="444"/>
                  </a:lnTo>
                  <a:lnTo>
                    <a:pt x="1686" y="442"/>
                  </a:lnTo>
                  <a:lnTo>
                    <a:pt x="1682" y="436"/>
                  </a:lnTo>
                  <a:lnTo>
                    <a:pt x="1680" y="430"/>
                  </a:lnTo>
                  <a:lnTo>
                    <a:pt x="1680" y="424"/>
                  </a:lnTo>
                  <a:lnTo>
                    <a:pt x="1680" y="422"/>
                  </a:lnTo>
                  <a:lnTo>
                    <a:pt x="1684" y="422"/>
                  </a:lnTo>
                  <a:lnTo>
                    <a:pt x="1688" y="422"/>
                  </a:lnTo>
                  <a:lnTo>
                    <a:pt x="1694" y="422"/>
                  </a:lnTo>
                  <a:lnTo>
                    <a:pt x="1696" y="416"/>
                  </a:lnTo>
                  <a:lnTo>
                    <a:pt x="1690" y="410"/>
                  </a:lnTo>
                  <a:lnTo>
                    <a:pt x="1684" y="410"/>
                  </a:lnTo>
                  <a:lnTo>
                    <a:pt x="1682" y="404"/>
                  </a:lnTo>
                  <a:lnTo>
                    <a:pt x="1682" y="398"/>
                  </a:lnTo>
                  <a:lnTo>
                    <a:pt x="1678" y="392"/>
                  </a:lnTo>
                  <a:lnTo>
                    <a:pt x="1676" y="386"/>
                  </a:lnTo>
                  <a:lnTo>
                    <a:pt x="1678" y="380"/>
                  </a:lnTo>
                  <a:lnTo>
                    <a:pt x="1672" y="374"/>
                  </a:lnTo>
                  <a:lnTo>
                    <a:pt x="1664" y="374"/>
                  </a:lnTo>
                  <a:lnTo>
                    <a:pt x="1658" y="376"/>
                  </a:lnTo>
                  <a:lnTo>
                    <a:pt x="1652" y="376"/>
                  </a:lnTo>
                  <a:lnTo>
                    <a:pt x="1646" y="376"/>
                  </a:lnTo>
                  <a:lnTo>
                    <a:pt x="1642" y="370"/>
                  </a:lnTo>
                  <a:lnTo>
                    <a:pt x="1646" y="364"/>
                  </a:lnTo>
                  <a:lnTo>
                    <a:pt x="1642" y="364"/>
                  </a:lnTo>
                  <a:lnTo>
                    <a:pt x="1638" y="358"/>
                  </a:lnTo>
                  <a:lnTo>
                    <a:pt x="1640" y="352"/>
                  </a:lnTo>
                  <a:lnTo>
                    <a:pt x="1646" y="346"/>
                  </a:lnTo>
                  <a:lnTo>
                    <a:pt x="1654" y="344"/>
                  </a:lnTo>
                  <a:lnTo>
                    <a:pt x="1660" y="344"/>
                  </a:lnTo>
                  <a:lnTo>
                    <a:pt x="1666" y="340"/>
                  </a:lnTo>
                  <a:lnTo>
                    <a:pt x="1672" y="338"/>
                  </a:lnTo>
                  <a:lnTo>
                    <a:pt x="1678" y="334"/>
                  </a:lnTo>
                  <a:lnTo>
                    <a:pt x="1684" y="328"/>
                  </a:lnTo>
                  <a:lnTo>
                    <a:pt x="1690" y="326"/>
                  </a:lnTo>
                  <a:lnTo>
                    <a:pt x="1692" y="320"/>
                  </a:lnTo>
                  <a:lnTo>
                    <a:pt x="1692" y="312"/>
                  </a:lnTo>
                  <a:lnTo>
                    <a:pt x="1690" y="308"/>
                  </a:lnTo>
                  <a:lnTo>
                    <a:pt x="1692" y="306"/>
                  </a:lnTo>
                  <a:lnTo>
                    <a:pt x="1692" y="300"/>
                  </a:lnTo>
                  <a:lnTo>
                    <a:pt x="1690" y="294"/>
                  </a:lnTo>
                  <a:lnTo>
                    <a:pt x="1690" y="288"/>
                  </a:lnTo>
                  <a:lnTo>
                    <a:pt x="1688" y="284"/>
                  </a:lnTo>
                  <a:lnTo>
                    <a:pt x="1686" y="276"/>
                  </a:lnTo>
                  <a:lnTo>
                    <a:pt x="1690" y="270"/>
                  </a:lnTo>
                  <a:lnTo>
                    <a:pt x="1690" y="266"/>
                  </a:lnTo>
                  <a:lnTo>
                    <a:pt x="1694" y="260"/>
                  </a:lnTo>
                  <a:lnTo>
                    <a:pt x="1696" y="254"/>
                  </a:lnTo>
                  <a:lnTo>
                    <a:pt x="1704" y="254"/>
                  </a:lnTo>
                  <a:lnTo>
                    <a:pt x="1710" y="256"/>
                  </a:lnTo>
                  <a:lnTo>
                    <a:pt x="1704" y="258"/>
                  </a:lnTo>
                  <a:lnTo>
                    <a:pt x="1710" y="258"/>
                  </a:lnTo>
                  <a:lnTo>
                    <a:pt x="1716" y="258"/>
                  </a:lnTo>
                  <a:lnTo>
                    <a:pt x="1722" y="258"/>
                  </a:lnTo>
                  <a:lnTo>
                    <a:pt x="1724" y="258"/>
                  </a:lnTo>
                  <a:lnTo>
                    <a:pt x="1732" y="258"/>
                  </a:lnTo>
                  <a:lnTo>
                    <a:pt x="1738" y="258"/>
                  </a:lnTo>
                  <a:lnTo>
                    <a:pt x="1744" y="258"/>
                  </a:lnTo>
                  <a:lnTo>
                    <a:pt x="1750" y="258"/>
                  </a:lnTo>
                  <a:lnTo>
                    <a:pt x="1756" y="258"/>
                  </a:lnTo>
                  <a:lnTo>
                    <a:pt x="1762" y="256"/>
                  </a:lnTo>
                  <a:lnTo>
                    <a:pt x="1768" y="256"/>
                  </a:lnTo>
                  <a:lnTo>
                    <a:pt x="1776" y="258"/>
                  </a:lnTo>
                  <a:lnTo>
                    <a:pt x="1782" y="256"/>
                  </a:lnTo>
                  <a:lnTo>
                    <a:pt x="1788" y="256"/>
                  </a:lnTo>
                  <a:lnTo>
                    <a:pt x="1794" y="258"/>
                  </a:lnTo>
                  <a:lnTo>
                    <a:pt x="1800" y="260"/>
                  </a:lnTo>
                  <a:lnTo>
                    <a:pt x="1808" y="262"/>
                  </a:lnTo>
                  <a:lnTo>
                    <a:pt x="1814" y="262"/>
                  </a:lnTo>
                  <a:lnTo>
                    <a:pt x="1820" y="262"/>
                  </a:lnTo>
                  <a:lnTo>
                    <a:pt x="1828" y="264"/>
                  </a:lnTo>
                  <a:lnTo>
                    <a:pt x="1834" y="264"/>
                  </a:lnTo>
                  <a:lnTo>
                    <a:pt x="1840" y="266"/>
                  </a:lnTo>
                  <a:lnTo>
                    <a:pt x="1846" y="270"/>
                  </a:lnTo>
                  <a:lnTo>
                    <a:pt x="1850" y="276"/>
                  </a:lnTo>
                  <a:lnTo>
                    <a:pt x="1856" y="280"/>
                  </a:lnTo>
                  <a:lnTo>
                    <a:pt x="1858" y="284"/>
                  </a:lnTo>
                  <a:lnTo>
                    <a:pt x="1864" y="290"/>
                  </a:lnTo>
                  <a:lnTo>
                    <a:pt x="1862" y="296"/>
                  </a:lnTo>
                  <a:lnTo>
                    <a:pt x="1864" y="302"/>
                  </a:lnTo>
                  <a:lnTo>
                    <a:pt x="1862" y="308"/>
                  </a:lnTo>
                  <a:lnTo>
                    <a:pt x="1862" y="312"/>
                  </a:lnTo>
                  <a:lnTo>
                    <a:pt x="1858" y="318"/>
                  </a:lnTo>
                  <a:lnTo>
                    <a:pt x="1862" y="324"/>
                  </a:lnTo>
                  <a:lnTo>
                    <a:pt x="1858" y="330"/>
                  </a:lnTo>
                  <a:lnTo>
                    <a:pt x="1852" y="332"/>
                  </a:lnTo>
                  <a:lnTo>
                    <a:pt x="1846" y="334"/>
                  </a:lnTo>
                  <a:lnTo>
                    <a:pt x="1852" y="340"/>
                  </a:lnTo>
                  <a:lnTo>
                    <a:pt x="1858" y="344"/>
                  </a:lnTo>
                  <a:lnTo>
                    <a:pt x="1864" y="346"/>
                  </a:lnTo>
                  <a:lnTo>
                    <a:pt x="1870" y="350"/>
                  </a:lnTo>
                  <a:lnTo>
                    <a:pt x="1878" y="352"/>
                  </a:lnTo>
                  <a:lnTo>
                    <a:pt x="1884" y="354"/>
                  </a:lnTo>
                  <a:lnTo>
                    <a:pt x="1890" y="354"/>
                  </a:lnTo>
                  <a:lnTo>
                    <a:pt x="1896" y="358"/>
                  </a:lnTo>
                  <a:lnTo>
                    <a:pt x="1898" y="364"/>
                  </a:lnTo>
                  <a:lnTo>
                    <a:pt x="1904" y="366"/>
                  </a:lnTo>
                  <a:lnTo>
                    <a:pt x="1910" y="370"/>
                  </a:lnTo>
                  <a:lnTo>
                    <a:pt x="1912" y="376"/>
                  </a:lnTo>
                  <a:lnTo>
                    <a:pt x="1916" y="382"/>
                  </a:lnTo>
                  <a:lnTo>
                    <a:pt x="1916" y="388"/>
                  </a:lnTo>
                  <a:lnTo>
                    <a:pt x="1922" y="392"/>
                  </a:lnTo>
                  <a:lnTo>
                    <a:pt x="1922" y="398"/>
                  </a:lnTo>
                  <a:lnTo>
                    <a:pt x="1916" y="402"/>
                  </a:lnTo>
                  <a:lnTo>
                    <a:pt x="1916" y="406"/>
                  </a:lnTo>
                  <a:lnTo>
                    <a:pt x="1922" y="410"/>
                  </a:lnTo>
                  <a:lnTo>
                    <a:pt x="1926" y="416"/>
                  </a:lnTo>
                  <a:lnTo>
                    <a:pt x="1928" y="422"/>
                  </a:lnTo>
                  <a:lnTo>
                    <a:pt x="1930" y="424"/>
                  </a:lnTo>
                  <a:lnTo>
                    <a:pt x="1938" y="428"/>
                  </a:lnTo>
                  <a:lnTo>
                    <a:pt x="1940" y="434"/>
                  </a:lnTo>
                  <a:lnTo>
                    <a:pt x="1938" y="440"/>
                  </a:lnTo>
                  <a:lnTo>
                    <a:pt x="1942" y="446"/>
                  </a:lnTo>
                  <a:lnTo>
                    <a:pt x="1948" y="452"/>
                  </a:lnTo>
                  <a:lnTo>
                    <a:pt x="1948" y="456"/>
                  </a:lnTo>
                  <a:lnTo>
                    <a:pt x="1954" y="462"/>
                  </a:lnTo>
                  <a:lnTo>
                    <a:pt x="1952" y="468"/>
                  </a:lnTo>
                  <a:lnTo>
                    <a:pt x="1956" y="474"/>
                  </a:lnTo>
                  <a:lnTo>
                    <a:pt x="1960" y="480"/>
                  </a:lnTo>
                  <a:lnTo>
                    <a:pt x="1966" y="484"/>
                  </a:lnTo>
                  <a:lnTo>
                    <a:pt x="1972" y="488"/>
                  </a:lnTo>
                  <a:lnTo>
                    <a:pt x="1978" y="490"/>
                  </a:lnTo>
                  <a:lnTo>
                    <a:pt x="1984" y="492"/>
                  </a:lnTo>
                  <a:lnTo>
                    <a:pt x="1992" y="494"/>
                  </a:lnTo>
                  <a:lnTo>
                    <a:pt x="1998" y="496"/>
                  </a:lnTo>
                  <a:lnTo>
                    <a:pt x="2004" y="500"/>
                  </a:lnTo>
                  <a:lnTo>
                    <a:pt x="2010" y="502"/>
                  </a:lnTo>
                  <a:lnTo>
                    <a:pt x="2016" y="504"/>
                  </a:lnTo>
                  <a:lnTo>
                    <a:pt x="2022" y="510"/>
                  </a:lnTo>
                  <a:lnTo>
                    <a:pt x="2018" y="516"/>
                  </a:lnTo>
                  <a:lnTo>
                    <a:pt x="2014" y="520"/>
                  </a:lnTo>
                  <a:lnTo>
                    <a:pt x="2012" y="528"/>
                  </a:lnTo>
                  <a:lnTo>
                    <a:pt x="2014" y="534"/>
                  </a:lnTo>
                  <a:lnTo>
                    <a:pt x="2018" y="538"/>
                  </a:lnTo>
                  <a:lnTo>
                    <a:pt x="2024" y="542"/>
                  </a:lnTo>
                  <a:lnTo>
                    <a:pt x="2022" y="550"/>
                  </a:lnTo>
                  <a:lnTo>
                    <a:pt x="2026" y="554"/>
                  </a:lnTo>
                  <a:lnTo>
                    <a:pt x="2018" y="556"/>
                  </a:lnTo>
                  <a:lnTo>
                    <a:pt x="2014" y="560"/>
                  </a:lnTo>
                  <a:lnTo>
                    <a:pt x="2006" y="566"/>
                  </a:lnTo>
                  <a:lnTo>
                    <a:pt x="2006" y="568"/>
                  </a:lnTo>
                  <a:lnTo>
                    <a:pt x="2006" y="574"/>
                  </a:lnTo>
                  <a:lnTo>
                    <a:pt x="2002" y="580"/>
                  </a:lnTo>
                  <a:lnTo>
                    <a:pt x="1996" y="584"/>
                  </a:lnTo>
                  <a:lnTo>
                    <a:pt x="2002" y="588"/>
                  </a:lnTo>
                  <a:lnTo>
                    <a:pt x="1998" y="588"/>
                  </a:lnTo>
                  <a:lnTo>
                    <a:pt x="1990" y="590"/>
                  </a:lnTo>
                  <a:lnTo>
                    <a:pt x="1996" y="592"/>
                  </a:lnTo>
                  <a:lnTo>
                    <a:pt x="1992" y="598"/>
                  </a:lnTo>
                  <a:lnTo>
                    <a:pt x="1986" y="602"/>
                  </a:lnTo>
                  <a:lnTo>
                    <a:pt x="1980" y="604"/>
                  </a:lnTo>
                  <a:lnTo>
                    <a:pt x="1974" y="604"/>
                  </a:lnTo>
                  <a:lnTo>
                    <a:pt x="1968" y="604"/>
                  </a:lnTo>
                  <a:lnTo>
                    <a:pt x="1962" y="608"/>
                  </a:lnTo>
                  <a:lnTo>
                    <a:pt x="1956" y="608"/>
                  </a:lnTo>
                  <a:lnTo>
                    <a:pt x="1950" y="612"/>
                  </a:lnTo>
                  <a:lnTo>
                    <a:pt x="1944" y="612"/>
                  </a:lnTo>
                  <a:lnTo>
                    <a:pt x="1938" y="616"/>
                  </a:lnTo>
                  <a:lnTo>
                    <a:pt x="1932" y="618"/>
                  </a:lnTo>
                  <a:lnTo>
                    <a:pt x="1926" y="616"/>
                  </a:lnTo>
                  <a:lnTo>
                    <a:pt x="1920" y="614"/>
                  </a:lnTo>
                  <a:lnTo>
                    <a:pt x="1914" y="610"/>
                  </a:lnTo>
                  <a:lnTo>
                    <a:pt x="1910" y="606"/>
                  </a:lnTo>
                  <a:lnTo>
                    <a:pt x="1904" y="610"/>
                  </a:lnTo>
                  <a:lnTo>
                    <a:pt x="1898" y="608"/>
                  </a:lnTo>
                  <a:lnTo>
                    <a:pt x="1892" y="610"/>
                  </a:lnTo>
                  <a:lnTo>
                    <a:pt x="1886" y="608"/>
                  </a:lnTo>
                  <a:lnTo>
                    <a:pt x="1878" y="608"/>
                  </a:lnTo>
                  <a:lnTo>
                    <a:pt x="1872" y="608"/>
                  </a:lnTo>
                  <a:lnTo>
                    <a:pt x="1866" y="610"/>
                  </a:lnTo>
                  <a:lnTo>
                    <a:pt x="1868" y="610"/>
                  </a:lnTo>
                  <a:lnTo>
                    <a:pt x="1870" y="610"/>
                  </a:lnTo>
                  <a:lnTo>
                    <a:pt x="1876" y="614"/>
                  </a:lnTo>
                  <a:lnTo>
                    <a:pt x="1878" y="620"/>
                  </a:lnTo>
                  <a:lnTo>
                    <a:pt x="1884" y="622"/>
                  </a:lnTo>
                  <a:lnTo>
                    <a:pt x="1890" y="626"/>
                  </a:lnTo>
                  <a:lnTo>
                    <a:pt x="1896" y="628"/>
                  </a:lnTo>
                  <a:lnTo>
                    <a:pt x="1902" y="628"/>
                  </a:lnTo>
                  <a:lnTo>
                    <a:pt x="1908" y="628"/>
                  </a:lnTo>
                  <a:lnTo>
                    <a:pt x="1914" y="630"/>
                  </a:lnTo>
                  <a:lnTo>
                    <a:pt x="1920" y="632"/>
                  </a:lnTo>
                  <a:lnTo>
                    <a:pt x="1926" y="634"/>
                  </a:lnTo>
                  <a:lnTo>
                    <a:pt x="1930" y="634"/>
                  </a:lnTo>
                  <a:lnTo>
                    <a:pt x="1936" y="636"/>
                  </a:lnTo>
                  <a:lnTo>
                    <a:pt x="1942" y="638"/>
                  </a:lnTo>
                  <a:lnTo>
                    <a:pt x="1948" y="638"/>
                  </a:lnTo>
                  <a:lnTo>
                    <a:pt x="1956" y="638"/>
                  </a:lnTo>
                  <a:lnTo>
                    <a:pt x="1962" y="636"/>
                  </a:lnTo>
                  <a:lnTo>
                    <a:pt x="1968" y="636"/>
                  </a:lnTo>
                  <a:lnTo>
                    <a:pt x="1974" y="636"/>
                  </a:lnTo>
                  <a:lnTo>
                    <a:pt x="1980" y="636"/>
                  </a:lnTo>
                  <a:lnTo>
                    <a:pt x="1986" y="636"/>
                  </a:lnTo>
                  <a:lnTo>
                    <a:pt x="1992" y="636"/>
                  </a:lnTo>
                  <a:lnTo>
                    <a:pt x="1998" y="638"/>
                  </a:lnTo>
                  <a:lnTo>
                    <a:pt x="2004" y="638"/>
                  </a:lnTo>
                  <a:lnTo>
                    <a:pt x="2010" y="642"/>
                  </a:lnTo>
                  <a:lnTo>
                    <a:pt x="2016" y="644"/>
                  </a:lnTo>
                  <a:lnTo>
                    <a:pt x="2022" y="644"/>
                  </a:lnTo>
                  <a:lnTo>
                    <a:pt x="2024" y="644"/>
                  </a:lnTo>
                  <a:lnTo>
                    <a:pt x="2030" y="642"/>
                  </a:lnTo>
                  <a:lnTo>
                    <a:pt x="2036" y="638"/>
                  </a:lnTo>
                  <a:lnTo>
                    <a:pt x="2032" y="630"/>
                  </a:lnTo>
                  <a:lnTo>
                    <a:pt x="2030" y="626"/>
                  </a:lnTo>
                  <a:lnTo>
                    <a:pt x="2036" y="620"/>
                  </a:lnTo>
                  <a:lnTo>
                    <a:pt x="2042" y="620"/>
                  </a:lnTo>
                  <a:lnTo>
                    <a:pt x="2048" y="618"/>
                  </a:lnTo>
                  <a:lnTo>
                    <a:pt x="2056" y="614"/>
                  </a:lnTo>
                  <a:lnTo>
                    <a:pt x="2060" y="610"/>
                  </a:lnTo>
                  <a:lnTo>
                    <a:pt x="2068" y="610"/>
                  </a:lnTo>
                  <a:lnTo>
                    <a:pt x="2074" y="608"/>
                  </a:lnTo>
                  <a:lnTo>
                    <a:pt x="2078" y="602"/>
                  </a:lnTo>
                  <a:lnTo>
                    <a:pt x="2082" y="596"/>
                  </a:lnTo>
                  <a:lnTo>
                    <a:pt x="2082" y="590"/>
                  </a:lnTo>
                  <a:lnTo>
                    <a:pt x="2080" y="584"/>
                  </a:lnTo>
                  <a:lnTo>
                    <a:pt x="2078" y="578"/>
                  </a:lnTo>
                  <a:lnTo>
                    <a:pt x="2080" y="572"/>
                  </a:lnTo>
                  <a:lnTo>
                    <a:pt x="2086" y="568"/>
                  </a:lnTo>
                  <a:lnTo>
                    <a:pt x="2092" y="564"/>
                  </a:lnTo>
                  <a:lnTo>
                    <a:pt x="2100" y="558"/>
                  </a:lnTo>
                  <a:lnTo>
                    <a:pt x="2100" y="552"/>
                  </a:lnTo>
                  <a:lnTo>
                    <a:pt x="2098" y="546"/>
                  </a:lnTo>
                  <a:lnTo>
                    <a:pt x="2096" y="540"/>
                  </a:lnTo>
                  <a:lnTo>
                    <a:pt x="2090" y="534"/>
                  </a:lnTo>
                  <a:lnTo>
                    <a:pt x="2084" y="528"/>
                  </a:lnTo>
                  <a:lnTo>
                    <a:pt x="2078" y="524"/>
                  </a:lnTo>
                  <a:lnTo>
                    <a:pt x="2072" y="522"/>
                  </a:lnTo>
                  <a:lnTo>
                    <a:pt x="2066" y="520"/>
                  </a:lnTo>
                  <a:lnTo>
                    <a:pt x="2060" y="514"/>
                  </a:lnTo>
                  <a:lnTo>
                    <a:pt x="2062" y="508"/>
                  </a:lnTo>
                  <a:lnTo>
                    <a:pt x="2056" y="502"/>
                  </a:lnTo>
                  <a:lnTo>
                    <a:pt x="2056" y="496"/>
                  </a:lnTo>
                  <a:lnTo>
                    <a:pt x="2062" y="492"/>
                  </a:lnTo>
                  <a:lnTo>
                    <a:pt x="2068" y="492"/>
                  </a:lnTo>
                  <a:lnTo>
                    <a:pt x="2074" y="490"/>
                  </a:lnTo>
                  <a:lnTo>
                    <a:pt x="2080" y="488"/>
                  </a:lnTo>
                  <a:lnTo>
                    <a:pt x="2086" y="486"/>
                  </a:lnTo>
                  <a:lnTo>
                    <a:pt x="2092" y="486"/>
                  </a:lnTo>
                  <a:lnTo>
                    <a:pt x="2098" y="486"/>
                  </a:lnTo>
                  <a:lnTo>
                    <a:pt x="2104" y="484"/>
                  </a:lnTo>
                  <a:lnTo>
                    <a:pt x="2110" y="482"/>
                  </a:lnTo>
                  <a:lnTo>
                    <a:pt x="2116" y="482"/>
                  </a:lnTo>
                  <a:lnTo>
                    <a:pt x="2122" y="480"/>
                  </a:lnTo>
                  <a:lnTo>
                    <a:pt x="2128" y="480"/>
                  </a:lnTo>
                  <a:lnTo>
                    <a:pt x="2134" y="480"/>
                  </a:lnTo>
                  <a:lnTo>
                    <a:pt x="2142" y="482"/>
                  </a:lnTo>
                  <a:lnTo>
                    <a:pt x="2148" y="486"/>
                  </a:lnTo>
                  <a:lnTo>
                    <a:pt x="2148" y="492"/>
                  </a:lnTo>
                  <a:lnTo>
                    <a:pt x="2156" y="496"/>
                  </a:lnTo>
                  <a:lnTo>
                    <a:pt x="2162" y="496"/>
                  </a:lnTo>
                  <a:lnTo>
                    <a:pt x="2168" y="500"/>
                  </a:lnTo>
                  <a:lnTo>
                    <a:pt x="2174" y="502"/>
                  </a:lnTo>
                  <a:lnTo>
                    <a:pt x="2180" y="504"/>
                  </a:lnTo>
                  <a:lnTo>
                    <a:pt x="2186" y="506"/>
                  </a:lnTo>
                  <a:lnTo>
                    <a:pt x="2188" y="512"/>
                  </a:lnTo>
                  <a:lnTo>
                    <a:pt x="2192" y="518"/>
                  </a:lnTo>
                  <a:lnTo>
                    <a:pt x="2198" y="524"/>
                  </a:lnTo>
                  <a:lnTo>
                    <a:pt x="2200" y="530"/>
                  </a:lnTo>
                  <a:lnTo>
                    <a:pt x="2202" y="536"/>
                  </a:lnTo>
                  <a:lnTo>
                    <a:pt x="2206" y="542"/>
                  </a:lnTo>
                  <a:lnTo>
                    <a:pt x="2210" y="548"/>
                  </a:lnTo>
                  <a:lnTo>
                    <a:pt x="2202" y="548"/>
                  </a:lnTo>
                  <a:lnTo>
                    <a:pt x="2210" y="554"/>
                  </a:lnTo>
                  <a:lnTo>
                    <a:pt x="2216" y="556"/>
                  </a:lnTo>
                  <a:lnTo>
                    <a:pt x="2222" y="558"/>
                  </a:lnTo>
                  <a:lnTo>
                    <a:pt x="2228" y="558"/>
                  </a:lnTo>
                  <a:lnTo>
                    <a:pt x="2234" y="562"/>
                  </a:lnTo>
                  <a:lnTo>
                    <a:pt x="2240" y="566"/>
                  </a:lnTo>
                  <a:lnTo>
                    <a:pt x="2246" y="564"/>
                  </a:lnTo>
                  <a:lnTo>
                    <a:pt x="2248" y="564"/>
                  </a:lnTo>
                  <a:lnTo>
                    <a:pt x="2254" y="566"/>
                  </a:lnTo>
                  <a:lnTo>
                    <a:pt x="2260" y="564"/>
                  </a:lnTo>
                  <a:lnTo>
                    <a:pt x="2266" y="564"/>
                  </a:lnTo>
                  <a:lnTo>
                    <a:pt x="2272" y="564"/>
                  </a:lnTo>
                  <a:lnTo>
                    <a:pt x="2278" y="564"/>
                  </a:lnTo>
                  <a:lnTo>
                    <a:pt x="2284" y="562"/>
                  </a:lnTo>
                  <a:lnTo>
                    <a:pt x="2290" y="564"/>
                  </a:lnTo>
                  <a:lnTo>
                    <a:pt x="2296" y="564"/>
                  </a:lnTo>
                  <a:lnTo>
                    <a:pt x="2290" y="562"/>
                  </a:lnTo>
                  <a:lnTo>
                    <a:pt x="2284" y="558"/>
                  </a:lnTo>
                  <a:lnTo>
                    <a:pt x="2276" y="562"/>
                  </a:lnTo>
                  <a:lnTo>
                    <a:pt x="2270" y="558"/>
                  </a:lnTo>
                  <a:lnTo>
                    <a:pt x="2264" y="558"/>
                  </a:lnTo>
                  <a:lnTo>
                    <a:pt x="2258" y="558"/>
                  </a:lnTo>
                  <a:lnTo>
                    <a:pt x="2252" y="558"/>
                  </a:lnTo>
                  <a:lnTo>
                    <a:pt x="2246" y="556"/>
                  </a:lnTo>
                  <a:lnTo>
                    <a:pt x="2244" y="556"/>
                  </a:lnTo>
                  <a:lnTo>
                    <a:pt x="2238" y="554"/>
                  </a:lnTo>
                  <a:lnTo>
                    <a:pt x="2232" y="554"/>
                  </a:lnTo>
                  <a:lnTo>
                    <a:pt x="2226" y="554"/>
                  </a:lnTo>
                  <a:lnTo>
                    <a:pt x="2220" y="548"/>
                  </a:lnTo>
                  <a:lnTo>
                    <a:pt x="2218" y="542"/>
                  </a:lnTo>
                  <a:lnTo>
                    <a:pt x="2214" y="536"/>
                  </a:lnTo>
                  <a:lnTo>
                    <a:pt x="2212" y="530"/>
                  </a:lnTo>
                  <a:lnTo>
                    <a:pt x="2218" y="526"/>
                  </a:lnTo>
                  <a:lnTo>
                    <a:pt x="2224" y="524"/>
                  </a:lnTo>
                  <a:lnTo>
                    <a:pt x="2230" y="524"/>
                  </a:lnTo>
                  <a:lnTo>
                    <a:pt x="2230" y="518"/>
                  </a:lnTo>
                  <a:lnTo>
                    <a:pt x="2224" y="516"/>
                  </a:lnTo>
                  <a:lnTo>
                    <a:pt x="2218" y="512"/>
                  </a:lnTo>
                  <a:lnTo>
                    <a:pt x="2212" y="508"/>
                  </a:lnTo>
                  <a:lnTo>
                    <a:pt x="2206" y="504"/>
                  </a:lnTo>
                  <a:lnTo>
                    <a:pt x="2202" y="498"/>
                  </a:lnTo>
                  <a:lnTo>
                    <a:pt x="2198" y="492"/>
                  </a:lnTo>
                  <a:lnTo>
                    <a:pt x="2192" y="486"/>
                  </a:lnTo>
                  <a:lnTo>
                    <a:pt x="2186" y="484"/>
                  </a:lnTo>
                  <a:lnTo>
                    <a:pt x="2180" y="484"/>
                  </a:lnTo>
                  <a:lnTo>
                    <a:pt x="2174" y="482"/>
                  </a:lnTo>
                  <a:lnTo>
                    <a:pt x="2168" y="480"/>
                  </a:lnTo>
                  <a:lnTo>
                    <a:pt x="2162" y="480"/>
                  </a:lnTo>
                  <a:lnTo>
                    <a:pt x="2156" y="480"/>
                  </a:lnTo>
                  <a:lnTo>
                    <a:pt x="2150" y="476"/>
                  </a:lnTo>
                  <a:lnTo>
                    <a:pt x="2144" y="472"/>
                  </a:lnTo>
                  <a:lnTo>
                    <a:pt x="2138" y="470"/>
                  </a:lnTo>
                  <a:lnTo>
                    <a:pt x="2130" y="472"/>
                  </a:lnTo>
                  <a:lnTo>
                    <a:pt x="2124" y="470"/>
                  </a:lnTo>
                  <a:lnTo>
                    <a:pt x="2118" y="470"/>
                  </a:lnTo>
                  <a:lnTo>
                    <a:pt x="2112" y="468"/>
                  </a:lnTo>
                  <a:lnTo>
                    <a:pt x="2106" y="466"/>
                  </a:lnTo>
                  <a:lnTo>
                    <a:pt x="2100" y="466"/>
                  </a:lnTo>
                  <a:lnTo>
                    <a:pt x="2094" y="466"/>
                  </a:lnTo>
                  <a:lnTo>
                    <a:pt x="2086" y="464"/>
                  </a:lnTo>
                  <a:lnTo>
                    <a:pt x="2082" y="466"/>
                  </a:lnTo>
                  <a:lnTo>
                    <a:pt x="2074" y="468"/>
                  </a:lnTo>
                  <a:lnTo>
                    <a:pt x="2070" y="472"/>
                  </a:lnTo>
                  <a:lnTo>
                    <a:pt x="2062" y="474"/>
                  </a:lnTo>
                  <a:lnTo>
                    <a:pt x="2056" y="474"/>
                  </a:lnTo>
                  <a:lnTo>
                    <a:pt x="2050" y="474"/>
                  </a:lnTo>
                  <a:lnTo>
                    <a:pt x="2044" y="472"/>
                  </a:lnTo>
                  <a:lnTo>
                    <a:pt x="2038" y="472"/>
                  </a:lnTo>
                  <a:lnTo>
                    <a:pt x="2032" y="472"/>
                  </a:lnTo>
                  <a:lnTo>
                    <a:pt x="2026" y="474"/>
                  </a:lnTo>
                  <a:lnTo>
                    <a:pt x="2020" y="476"/>
                  </a:lnTo>
                  <a:lnTo>
                    <a:pt x="2014" y="472"/>
                  </a:lnTo>
                  <a:lnTo>
                    <a:pt x="2008" y="466"/>
                  </a:lnTo>
                  <a:lnTo>
                    <a:pt x="2008" y="460"/>
                  </a:lnTo>
                  <a:lnTo>
                    <a:pt x="2006" y="454"/>
                  </a:lnTo>
                  <a:lnTo>
                    <a:pt x="2000" y="450"/>
                  </a:lnTo>
                  <a:lnTo>
                    <a:pt x="1994" y="446"/>
                  </a:lnTo>
                  <a:lnTo>
                    <a:pt x="1988" y="444"/>
                  </a:lnTo>
                  <a:lnTo>
                    <a:pt x="1984" y="440"/>
                  </a:lnTo>
                  <a:lnTo>
                    <a:pt x="1980" y="434"/>
                  </a:lnTo>
                  <a:lnTo>
                    <a:pt x="1980" y="428"/>
                  </a:lnTo>
                  <a:lnTo>
                    <a:pt x="1980" y="422"/>
                  </a:lnTo>
                  <a:lnTo>
                    <a:pt x="1978" y="414"/>
                  </a:lnTo>
                  <a:lnTo>
                    <a:pt x="1976" y="410"/>
                  </a:lnTo>
                  <a:lnTo>
                    <a:pt x="1982" y="404"/>
                  </a:lnTo>
                  <a:lnTo>
                    <a:pt x="1984" y="398"/>
                  </a:lnTo>
                  <a:lnTo>
                    <a:pt x="1988" y="392"/>
                  </a:lnTo>
                  <a:lnTo>
                    <a:pt x="1984" y="386"/>
                  </a:lnTo>
                  <a:lnTo>
                    <a:pt x="1978" y="380"/>
                  </a:lnTo>
                  <a:lnTo>
                    <a:pt x="1972" y="378"/>
                  </a:lnTo>
                  <a:lnTo>
                    <a:pt x="1966" y="376"/>
                  </a:lnTo>
                  <a:lnTo>
                    <a:pt x="1960" y="372"/>
                  </a:lnTo>
                  <a:lnTo>
                    <a:pt x="1956" y="368"/>
                  </a:lnTo>
                  <a:lnTo>
                    <a:pt x="1950" y="364"/>
                  </a:lnTo>
                  <a:lnTo>
                    <a:pt x="1944" y="360"/>
                  </a:lnTo>
                  <a:lnTo>
                    <a:pt x="1938" y="356"/>
                  </a:lnTo>
                  <a:lnTo>
                    <a:pt x="1932" y="352"/>
                  </a:lnTo>
                  <a:lnTo>
                    <a:pt x="1926" y="348"/>
                  </a:lnTo>
                  <a:lnTo>
                    <a:pt x="1920" y="346"/>
                  </a:lnTo>
                  <a:lnTo>
                    <a:pt x="1914" y="344"/>
                  </a:lnTo>
                  <a:lnTo>
                    <a:pt x="1908" y="342"/>
                  </a:lnTo>
                  <a:lnTo>
                    <a:pt x="1900" y="340"/>
                  </a:lnTo>
                  <a:lnTo>
                    <a:pt x="1908" y="334"/>
                  </a:lnTo>
                  <a:lnTo>
                    <a:pt x="1912" y="328"/>
                  </a:lnTo>
                  <a:lnTo>
                    <a:pt x="1912" y="322"/>
                  </a:lnTo>
                  <a:lnTo>
                    <a:pt x="1912" y="316"/>
                  </a:lnTo>
                  <a:lnTo>
                    <a:pt x="1918" y="314"/>
                  </a:lnTo>
                  <a:lnTo>
                    <a:pt x="1926" y="312"/>
                  </a:lnTo>
                  <a:lnTo>
                    <a:pt x="1932" y="312"/>
                  </a:lnTo>
                  <a:lnTo>
                    <a:pt x="1938" y="308"/>
                  </a:lnTo>
                  <a:lnTo>
                    <a:pt x="1942" y="308"/>
                  </a:lnTo>
                  <a:lnTo>
                    <a:pt x="1946" y="308"/>
                  </a:lnTo>
                  <a:lnTo>
                    <a:pt x="1948" y="306"/>
                  </a:lnTo>
                  <a:lnTo>
                    <a:pt x="1954" y="304"/>
                  </a:lnTo>
                  <a:lnTo>
                    <a:pt x="1960" y="302"/>
                  </a:lnTo>
                  <a:lnTo>
                    <a:pt x="1962" y="296"/>
                  </a:lnTo>
                  <a:lnTo>
                    <a:pt x="1960" y="290"/>
                  </a:lnTo>
                  <a:lnTo>
                    <a:pt x="1956" y="284"/>
                  </a:lnTo>
                  <a:lnTo>
                    <a:pt x="1950" y="278"/>
                  </a:lnTo>
                  <a:lnTo>
                    <a:pt x="1944" y="272"/>
                  </a:lnTo>
                  <a:lnTo>
                    <a:pt x="1938" y="268"/>
                  </a:lnTo>
                  <a:lnTo>
                    <a:pt x="1934" y="266"/>
                  </a:lnTo>
                  <a:lnTo>
                    <a:pt x="1926" y="262"/>
                  </a:lnTo>
                  <a:lnTo>
                    <a:pt x="1932" y="258"/>
                  </a:lnTo>
                  <a:lnTo>
                    <a:pt x="1938" y="258"/>
                  </a:lnTo>
                  <a:lnTo>
                    <a:pt x="1946" y="262"/>
                  </a:lnTo>
                  <a:lnTo>
                    <a:pt x="1950" y="262"/>
                  </a:lnTo>
                  <a:lnTo>
                    <a:pt x="1956" y="264"/>
                  </a:lnTo>
                  <a:lnTo>
                    <a:pt x="1960" y="270"/>
                  </a:lnTo>
                  <a:lnTo>
                    <a:pt x="1968" y="272"/>
                  </a:lnTo>
                  <a:lnTo>
                    <a:pt x="1972" y="278"/>
                  </a:lnTo>
                  <a:lnTo>
                    <a:pt x="1978" y="284"/>
                  </a:lnTo>
                  <a:lnTo>
                    <a:pt x="1984" y="290"/>
                  </a:lnTo>
                  <a:lnTo>
                    <a:pt x="1984" y="296"/>
                  </a:lnTo>
                  <a:lnTo>
                    <a:pt x="1984" y="302"/>
                  </a:lnTo>
                  <a:lnTo>
                    <a:pt x="1984" y="308"/>
                  </a:lnTo>
                  <a:lnTo>
                    <a:pt x="1986" y="308"/>
                  </a:lnTo>
                  <a:lnTo>
                    <a:pt x="1982" y="314"/>
                  </a:lnTo>
                  <a:lnTo>
                    <a:pt x="1984" y="320"/>
                  </a:lnTo>
                  <a:lnTo>
                    <a:pt x="1990" y="324"/>
                  </a:lnTo>
                  <a:lnTo>
                    <a:pt x="1998" y="330"/>
                  </a:lnTo>
                  <a:lnTo>
                    <a:pt x="2004" y="332"/>
                  </a:lnTo>
                  <a:lnTo>
                    <a:pt x="2004" y="338"/>
                  </a:lnTo>
                  <a:lnTo>
                    <a:pt x="1996" y="340"/>
                  </a:lnTo>
                  <a:lnTo>
                    <a:pt x="2002" y="344"/>
                  </a:lnTo>
                  <a:lnTo>
                    <a:pt x="2010" y="346"/>
                  </a:lnTo>
                  <a:lnTo>
                    <a:pt x="2016" y="346"/>
                  </a:lnTo>
                  <a:lnTo>
                    <a:pt x="2022" y="348"/>
                  </a:lnTo>
                  <a:lnTo>
                    <a:pt x="2028" y="350"/>
                  </a:lnTo>
                  <a:lnTo>
                    <a:pt x="2034" y="350"/>
                  </a:lnTo>
                  <a:lnTo>
                    <a:pt x="2040" y="352"/>
                  </a:lnTo>
                  <a:lnTo>
                    <a:pt x="2046" y="352"/>
                  </a:lnTo>
                  <a:lnTo>
                    <a:pt x="2052" y="352"/>
                  </a:lnTo>
                  <a:lnTo>
                    <a:pt x="2058" y="352"/>
                  </a:lnTo>
                  <a:lnTo>
                    <a:pt x="2066" y="352"/>
                  </a:lnTo>
                  <a:lnTo>
                    <a:pt x="2072" y="352"/>
                  </a:lnTo>
                  <a:lnTo>
                    <a:pt x="2078" y="354"/>
                  </a:lnTo>
                  <a:lnTo>
                    <a:pt x="2082" y="360"/>
                  </a:lnTo>
                  <a:lnTo>
                    <a:pt x="2084" y="354"/>
                  </a:lnTo>
                  <a:lnTo>
                    <a:pt x="2090" y="354"/>
                  </a:lnTo>
                  <a:lnTo>
                    <a:pt x="2098" y="354"/>
                  </a:lnTo>
                  <a:lnTo>
                    <a:pt x="2104" y="354"/>
                  </a:lnTo>
                  <a:lnTo>
                    <a:pt x="2108" y="356"/>
                  </a:lnTo>
                  <a:lnTo>
                    <a:pt x="2112" y="356"/>
                  </a:lnTo>
                  <a:lnTo>
                    <a:pt x="2118" y="356"/>
                  </a:lnTo>
                  <a:lnTo>
                    <a:pt x="2124" y="360"/>
                  </a:lnTo>
                  <a:lnTo>
                    <a:pt x="2130" y="366"/>
                  </a:lnTo>
                  <a:lnTo>
                    <a:pt x="2136" y="366"/>
                  </a:lnTo>
                  <a:lnTo>
                    <a:pt x="2142" y="368"/>
                  </a:lnTo>
                  <a:lnTo>
                    <a:pt x="2148" y="368"/>
                  </a:lnTo>
                  <a:lnTo>
                    <a:pt x="2154" y="370"/>
                  </a:lnTo>
                  <a:lnTo>
                    <a:pt x="2160" y="368"/>
                  </a:lnTo>
                  <a:lnTo>
                    <a:pt x="2166" y="368"/>
                  </a:lnTo>
                  <a:lnTo>
                    <a:pt x="2172" y="368"/>
                  </a:lnTo>
                  <a:lnTo>
                    <a:pt x="2176" y="364"/>
                  </a:lnTo>
                  <a:lnTo>
                    <a:pt x="2172" y="366"/>
                  </a:lnTo>
                  <a:lnTo>
                    <a:pt x="2164" y="368"/>
                  </a:lnTo>
                  <a:lnTo>
                    <a:pt x="2158" y="366"/>
                  </a:lnTo>
                  <a:lnTo>
                    <a:pt x="2152" y="366"/>
                  </a:lnTo>
                  <a:lnTo>
                    <a:pt x="2152" y="360"/>
                  </a:lnTo>
                  <a:lnTo>
                    <a:pt x="2146" y="362"/>
                  </a:lnTo>
                  <a:lnTo>
                    <a:pt x="2140" y="360"/>
                  </a:lnTo>
                  <a:lnTo>
                    <a:pt x="2138" y="354"/>
                  </a:lnTo>
                  <a:lnTo>
                    <a:pt x="2132" y="350"/>
                  </a:lnTo>
                  <a:lnTo>
                    <a:pt x="2126" y="348"/>
                  </a:lnTo>
                  <a:lnTo>
                    <a:pt x="2120" y="350"/>
                  </a:lnTo>
                  <a:lnTo>
                    <a:pt x="2116" y="344"/>
                  </a:lnTo>
                  <a:lnTo>
                    <a:pt x="2110" y="348"/>
                  </a:lnTo>
                  <a:lnTo>
                    <a:pt x="2104" y="346"/>
                  </a:lnTo>
                  <a:lnTo>
                    <a:pt x="2098" y="346"/>
                  </a:lnTo>
                  <a:lnTo>
                    <a:pt x="2092" y="346"/>
                  </a:lnTo>
                  <a:lnTo>
                    <a:pt x="2086" y="344"/>
                  </a:lnTo>
                  <a:lnTo>
                    <a:pt x="2078" y="340"/>
                  </a:lnTo>
                  <a:lnTo>
                    <a:pt x="2074" y="340"/>
                  </a:lnTo>
                  <a:lnTo>
                    <a:pt x="2066" y="338"/>
                  </a:lnTo>
                  <a:lnTo>
                    <a:pt x="2060" y="338"/>
                  </a:lnTo>
                  <a:lnTo>
                    <a:pt x="2056" y="336"/>
                  </a:lnTo>
                  <a:lnTo>
                    <a:pt x="2048" y="334"/>
                  </a:lnTo>
                  <a:lnTo>
                    <a:pt x="2044" y="332"/>
                  </a:lnTo>
                  <a:lnTo>
                    <a:pt x="2038" y="332"/>
                  </a:lnTo>
                  <a:lnTo>
                    <a:pt x="2032" y="326"/>
                  </a:lnTo>
                  <a:lnTo>
                    <a:pt x="2024" y="322"/>
                  </a:lnTo>
                  <a:lnTo>
                    <a:pt x="2018" y="316"/>
                  </a:lnTo>
                  <a:lnTo>
                    <a:pt x="2012" y="312"/>
                  </a:lnTo>
                  <a:lnTo>
                    <a:pt x="2018" y="310"/>
                  </a:lnTo>
                  <a:lnTo>
                    <a:pt x="2024" y="308"/>
                  </a:lnTo>
                  <a:lnTo>
                    <a:pt x="2032" y="306"/>
                  </a:lnTo>
                  <a:lnTo>
                    <a:pt x="2036" y="306"/>
                  </a:lnTo>
                  <a:lnTo>
                    <a:pt x="2044" y="304"/>
                  </a:lnTo>
                  <a:lnTo>
                    <a:pt x="2048" y="306"/>
                  </a:lnTo>
                  <a:lnTo>
                    <a:pt x="2054" y="308"/>
                  </a:lnTo>
                  <a:lnTo>
                    <a:pt x="2056" y="308"/>
                  </a:lnTo>
                  <a:lnTo>
                    <a:pt x="2064" y="310"/>
                  </a:lnTo>
                  <a:lnTo>
                    <a:pt x="2070" y="312"/>
                  </a:lnTo>
                  <a:lnTo>
                    <a:pt x="2076" y="316"/>
                  </a:lnTo>
                  <a:lnTo>
                    <a:pt x="2082" y="318"/>
                  </a:lnTo>
                  <a:lnTo>
                    <a:pt x="2088" y="318"/>
                  </a:lnTo>
                  <a:lnTo>
                    <a:pt x="2094" y="316"/>
                  </a:lnTo>
                  <a:lnTo>
                    <a:pt x="2100" y="316"/>
                  </a:lnTo>
                  <a:lnTo>
                    <a:pt x="2106" y="312"/>
                  </a:lnTo>
                  <a:lnTo>
                    <a:pt x="2100" y="306"/>
                  </a:lnTo>
                  <a:lnTo>
                    <a:pt x="2094" y="304"/>
                  </a:lnTo>
                  <a:lnTo>
                    <a:pt x="2088" y="300"/>
                  </a:lnTo>
                  <a:lnTo>
                    <a:pt x="2082" y="300"/>
                  </a:lnTo>
                  <a:lnTo>
                    <a:pt x="2076" y="302"/>
                  </a:lnTo>
                  <a:lnTo>
                    <a:pt x="2070" y="304"/>
                  </a:lnTo>
                  <a:lnTo>
                    <a:pt x="2064" y="300"/>
                  </a:lnTo>
                  <a:lnTo>
                    <a:pt x="2064" y="296"/>
                  </a:lnTo>
                  <a:lnTo>
                    <a:pt x="2070" y="296"/>
                  </a:lnTo>
                  <a:lnTo>
                    <a:pt x="2078" y="292"/>
                  </a:lnTo>
                  <a:lnTo>
                    <a:pt x="2082" y="288"/>
                  </a:lnTo>
                  <a:lnTo>
                    <a:pt x="2090" y="288"/>
                  </a:lnTo>
                  <a:lnTo>
                    <a:pt x="2096" y="286"/>
                  </a:lnTo>
                  <a:lnTo>
                    <a:pt x="2102" y="286"/>
                  </a:lnTo>
                  <a:lnTo>
                    <a:pt x="2100" y="284"/>
                  </a:lnTo>
                  <a:lnTo>
                    <a:pt x="2104" y="284"/>
                  </a:lnTo>
                  <a:lnTo>
                    <a:pt x="2110" y="286"/>
                  </a:lnTo>
                  <a:lnTo>
                    <a:pt x="2116" y="286"/>
                  </a:lnTo>
                  <a:lnTo>
                    <a:pt x="2122" y="286"/>
                  </a:lnTo>
                  <a:lnTo>
                    <a:pt x="2128" y="286"/>
                  </a:lnTo>
                  <a:lnTo>
                    <a:pt x="2134" y="286"/>
                  </a:lnTo>
                  <a:lnTo>
                    <a:pt x="2142" y="286"/>
                  </a:lnTo>
                  <a:lnTo>
                    <a:pt x="2148" y="288"/>
                  </a:lnTo>
                  <a:lnTo>
                    <a:pt x="2154" y="290"/>
                  </a:lnTo>
                  <a:lnTo>
                    <a:pt x="2160" y="292"/>
                  </a:lnTo>
                  <a:lnTo>
                    <a:pt x="2166" y="294"/>
                  </a:lnTo>
                  <a:lnTo>
                    <a:pt x="2172" y="296"/>
                  </a:lnTo>
                  <a:lnTo>
                    <a:pt x="2176" y="296"/>
                  </a:lnTo>
                  <a:lnTo>
                    <a:pt x="2182" y="298"/>
                  </a:lnTo>
                  <a:lnTo>
                    <a:pt x="2188" y="298"/>
                  </a:lnTo>
                  <a:lnTo>
                    <a:pt x="2196" y="300"/>
                  </a:lnTo>
                  <a:lnTo>
                    <a:pt x="2202" y="300"/>
                  </a:lnTo>
                  <a:lnTo>
                    <a:pt x="2208" y="302"/>
                  </a:lnTo>
                  <a:lnTo>
                    <a:pt x="2214" y="306"/>
                  </a:lnTo>
                  <a:lnTo>
                    <a:pt x="2206" y="306"/>
                  </a:lnTo>
                  <a:lnTo>
                    <a:pt x="2214" y="308"/>
                  </a:lnTo>
                  <a:lnTo>
                    <a:pt x="2218" y="308"/>
                  </a:lnTo>
                  <a:lnTo>
                    <a:pt x="2224" y="310"/>
                  </a:lnTo>
                  <a:lnTo>
                    <a:pt x="2230" y="312"/>
                  </a:lnTo>
                  <a:lnTo>
                    <a:pt x="2238" y="314"/>
                  </a:lnTo>
                  <a:lnTo>
                    <a:pt x="2244" y="320"/>
                  </a:lnTo>
                  <a:lnTo>
                    <a:pt x="2250" y="322"/>
                  </a:lnTo>
                  <a:lnTo>
                    <a:pt x="2256" y="322"/>
                  </a:lnTo>
                  <a:lnTo>
                    <a:pt x="2262" y="324"/>
                  </a:lnTo>
                  <a:lnTo>
                    <a:pt x="2268" y="324"/>
                  </a:lnTo>
                  <a:lnTo>
                    <a:pt x="2274" y="324"/>
                  </a:lnTo>
                  <a:lnTo>
                    <a:pt x="2280" y="324"/>
                  </a:lnTo>
                  <a:lnTo>
                    <a:pt x="2286" y="324"/>
                  </a:lnTo>
                  <a:lnTo>
                    <a:pt x="2292" y="322"/>
                  </a:lnTo>
                  <a:lnTo>
                    <a:pt x="2298" y="322"/>
                  </a:lnTo>
                  <a:lnTo>
                    <a:pt x="2306" y="320"/>
                  </a:lnTo>
                  <a:lnTo>
                    <a:pt x="2304" y="318"/>
                  </a:lnTo>
                  <a:lnTo>
                    <a:pt x="2300" y="314"/>
                  </a:lnTo>
                  <a:lnTo>
                    <a:pt x="2294" y="310"/>
                  </a:lnTo>
                  <a:lnTo>
                    <a:pt x="2288" y="308"/>
                  </a:lnTo>
                  <a:lnTo>
                    <a:pt x="2282" y="306"/>
                  </a:lnTo>
                  <a:lnTo>
                    <a:pt x="2276" y="304"/>
                  </a:lnTo>
                  <a:lnTo>
                    <a:pt x="2272" y="298"/>
                  </a:lnTo>
                  <a:lnTo>
                    <a:pt x="2266" y="294"/>
                  </a:lnTo>
                  <a:lnTo>
                    <a:pt x="2260" y="292"/>
                  </a:lnTo>
                  <a:lnTo>
                    <a:pt x="2254" y="292"/>
                  </a:lnTo>
                  <a:lnTo>
                    <a:pt x="2248" y="290"/>
                  </a:lnTo>
                  <a:lnTo>
                    <a:pt x="2240" y="288"/>
                  </a:lnTo>
                  <a:lnTo>
                    <a:pt x="2234" y="288"/>
                  </a:lnTo>
                  <a:lnTo>
                    <a:pt x="2228" y="288"/>
                  </a:lnTo>
                  <a:lnTo>
                    <a:pt x="2226" y="288"/>
                  </a:lnTo>
                  <a:lnTo>
                    <a:pt x="2220" y="288"/>
                  </a:lnTo>
                  <a:lnTo>
                    <a:pt x="2214" y="288"/>
                  </a:lnTo>
                  <a:lnTo>
                    <a:pt x="2208" y="284"/>
                  </a:lnTo>
                  <a:lnTo>
                    <a:pt x="2202" y="282"/>
                  </a:lnTo>
                  <a:lnTo>
                    <a:pt x="2196" y="280"/>
                  </a:lnTo>
                  <a:lnTo>
                    <a:pt x="2190" y="276"/>
                  </a:lnTo>
                  <a:lnTo>
                    <a:pt x="2184" y="270"/>
                  </a:lnTo>
                  <a:lnTo>
                    <a:pt x="2180" y="264"/>
                  </a:lnTo>
                  <a:lnTo>
                    <a:pt x="2182" y="258"/>
                  </a:lnTo>
                  <a:lnTo>
                    <a:pt x="2176" y="254"/>
                  </a:lnTo>
                  <a:lnTo>
                    <a:pt x="2170" y="250"/>
                  </a:lnTo>
                  <a:lnTo>
                    <a:pt x="2164" y="248"/>
                  </a:lnTo>
                  <a:lnTo>
                    <a:pt x="2158" y="246"/>
                  </a:lnTo>
                  <a:lnTo>
                    <a:pt x="2152" y="242"/>
                  </a:lnTo>
                  <a:lnTo>
                    <a:pt x="2146" y="242"/>
                  </a:lnTo>
                  <a:lnTo>
                    <a:pt x="2152" y="240"/>
                  </a:lnTo>
                  <a:lnTo>
                    <a:pt x="2146" y="236"/>
                  </a:lnTo>
                  <a:lnTo>
                    <a:pt x="2140" y="234"/>
                  </a:lnTo>
                  <a:lnTo>
                    <a:pt x="2146" y="230"/>
                  </a:lnTo>
                  <a:lnTo>
                    <a:pt x="2150" y="224"/>
                  </a:lnTo>
                  <a:lnTo>
                    <a:pt x="2144" y="224"/>
                  </a:lnTo>
                  <a:lnTo>
                    <a:pt x="2150" y="220"/>
                  </a:lnTo>
                  <a:lnTo>
                    <a:pt x="2156" y="220"/>
                  </a:lnTo>
                  <a:lnTo>
                    <a:pt x="2162" y="218"/>
                  </a:lnTo>
                  <a:lnTo>
                    <a:pt x="2168" y="218"/>
                  </a:lnTo>
                  <a:lnTo>
                    <a:pt x="2174" y="216"/>
                  </a:lnTo>
                  <a:lnTo>
                    <a:pt x="2180" y="216"/>
                  </a:lnTo>
                  <a:lnTo>
                    <a:pt x="2188" y="216"/>
                  </a:lnTo>
                  <a:lnTo>
                    <a:pt x="2194" y="216"/>
                  </a:lnTo>
                  <a:lnTo>
                    <a:pt x="2200" y="216"/>
                  </a:lnTo>
                  <a:lnTo>
                    <a:pt x="2208" y="216"/>
                  </a:lnTo>
                  <a:lnTo>
                    <a:pt x="2214" y="216"/>
                  </a:lnTo>
                  <a:lnTo>
                    <a:pt x="2220" y="214"/>
                  </a:lnTo>
                  <a:lnTo>
                    <a:pt x="2226" y="214"/>
                  </a:lnTo>
                  <a:lnTo>
                    <a:pt x="2234" y="216"/>
                  </a:lnTo>
                  <a:lnTo>
                    <a:pt x="2238" y="216"/>
                  </a:lnTo>
                  <a:lnTo>
                    <a:pt x="2244" y="216"/>
                  </a:lnTo>
                  <a:lnTo>
                    <a:pt x="2250" y="216"/>
                  </a:lnTo>
                  <a:lnTo>
                    <a:pt x="2256" y="216"/>
                  </a:lnTo>
                  <a:lnTo>
                    <a:pt x="2264" y="214"/>
                  </a:lnTo>
                  <a:lnTo>
                    <a:pt x="2268" y="214"/>
                  </a:lnTo>
                  <a:lnTo>
                    <a:pt x="2274" y="212"/>
                  </a:lnTo>
                  <a:lnTo>
                    <a:pt x="2282" y="212"/>
                  </a:lnTo>
                  <a:lnTo>
                    <a:pt x="2288" y="212"/>
                  </a:lnTo>
                  <a:lnTo>
                    <a:pt x="2294" y="212"/>
                  </a:lnTo>
                  <a:lnTo>
                    <a:pt x="2302" y="210"/>
                  </a:lnTo>
                  <a:lnTo>
                    <a:pt x="2308" y="210"/>
                  </a:lnTo>
                  <a:lnTo>
                    <a:pt x="2314" y="210"/>
                  </a:lnTo>
                  <a:lnTo>
                    <a:pt x="2320" y="212"/>
                  </a:lnTo>
                  <a:lnTo>
                    <a:pt x="2322" y="212"/>
                  </a:lnTo>
                  <a:lnTo>
                    <a:pt x="2328" y="212"/>
                  </a:lnTo>
                  <a:lnTo>
                    <a:pt x="2334" y="212"/>
                  </a:lnTo>
                  <a:lnTo>
                    <a:pt x="2340" y="212"/>
                  </a:lnTo>
                  <a:lnTo>
                    <a:pt x="2344" y="206"/>
                  </a:lnTo>
                  <a:lnTo>
                    <a:pt x="2352" y="206"/>
                  </a:lnTo>
                  <a:lnTo>
                    <a:pt x="2358" y="204"/>
                  </a:lnTo>
                  <a:lnTo>
                    <a:pt x="2364" y="204"/>
                  </a:lnTo>
                  <a:lnTo>
                    <a:pt x="2370" y="204"/>
                  </a:lnTo>
                  <a:lnTo>
                    <a:pt x="2376" y="202"/>
                  </a:lnTo>
                  <a:lnTo>
                    <a:pt x="2382" y="202"/>
                  </a:lnTo>
                  <a:lnTo>
                    <a:pt x="2388" y="202"/>
                  </a:lnTo>
                  <a:lnTo>
                    <a:pt x="2396" y="202"/>
                  </a:lnTo>
                  <a:lnTo>
                    <a:pt x="2402" y="204"/>
                  </a:lnTo>
                  <a:lnTo>
                    <a:pt x="2404" y="202"/>
                  </a:lnTo>
                  <a:lnTo>
                    <a:pt x="2406" y="202"/>
                  </a:lnTo>
                  <a:lnTo>
                    <a:pt x="2402" y="200"/>
                  </a:lnTo>
                  <a:lnTo>
                    <a:pt x="2396" y="194"/>
                  </a:lnTo>
                  <a:lnTo>
                    <a:pt x="2402" y="194"/>
                  </a:lnTo>
                  <a:lnTo>
                    <a:pt x="2408" y="194"/>
                  </a:lnTo>
                  <a:lnTo>
                    <a:pt x="2402" y="194"/>
                  </a:lnTo>
                  <a:lnTo>
                    <a:pt x="2396" y="192"/>
                  </a:lnTo>
                  <a:lnTo>
                    <a:pt x="2388" y="192"/>
                  </a:lnTo>
                  <a:lnTo>
                    <a:pt x="2382" y="190"/>
                  </a:lnTo>
                  <a:lnTo>
                    <a:pt x="2376" y="186"/>
                  </a:lnTo>
                  <a:lnTo>
                    <a:pt x="2370" y="184"/>
                  </a:lnTo>
                  <a:lnTo>
                    <a:pt x="2364" y="182"/>
                  </a:lnTo>
                  <a:lnTo>
                    <a:pt x="2358" y="182"/>
                  </a:lnTo>
                  <a:lnTo>
                    <a:pt x="2352" y="182"/>
                  </a:lnTo>
                  <a:lnTo>
                    <a:pt x="2344" y="182"/>
                  </a:lnTo>
                  <a:lnTo>
                    <a:pt x="2338" y="176"/>
                  </a:lnTo>
                  <a:lnTo>
                    <a:pt x="2344" y="178"/>
                  </a:lnTo>
                  <a:lnTo>
                    <a:pt x="2352" y="178"/>
                  </a:lnTo>
                  <a:lnTo>
                    <a:pt x="2346" y="174"/>
                  </a:lnTo>
                  <a:lnTo>
                    <a:pt x="2338" y="174"/>
                  </a:lnTo>
                  <a:lnTo>
                    <a:pt x="2346" y="174"/>
                  </a:lnTo>
                  <a:lnTo>
                    <a:pt x="2352" y="172"/>
                  </a:lnTo>
                  <a:lnTo>
                    <a:pt x="2358" y="172"/>
                  </a:lnTo>
                  <a:lnTo>
                    <a:pt x="2364" y="174"/>
                  </a:lnTo>
                  <a:lnTo>
                    <a:pt x="2366" y="174"/>
                  </a:lnTo>
                  <a:lnTo>
                    <a:pt x="2372" y="180"/>
                  </a:lnTo>
                  <a:lnTo>
                    <a:pt x="2378" y="176"/>
                  </a:lnTo>
                  <a:lnTo>
                    <a:pt x="2384" y="176"/>
                  </a:lnTo>
                  <a:lnTo>
                    <a:pt x="2378" y="172"/>
                  </a:lnTo>
                  <a:lnTo>
                    <a:pt x="2372" y="174"/>
                  </a:lnTo>
                  <a:lnTo>
                    <a:pt x="2366" y="172"/>
                  </a:lnTo>
                  <a:lnTo>
                    <a:pt x="2360" y="170"/>
                  </a:lnTo>
                  <a:lnTo>
                    <a:pt x="2354" y="168"/>
                  </a:lnTo>
                  <a:lnTo>
                    <a:pt x="2360" y="166"/>
                  </a:lnTo>
                  <a:lnTo>
                    <a:pt x="2354" y="166"/>
                  </a:lnTo>
                  <a:lnTo>
                    <a:pt x="2348" y="164"/>
                  </a:lnTo>
                  <a:lnTo>
                    <a:pt x="2340" y="164"/>
                  </a:lnTo>
                  <a:lnTo>
                    <a:pt x="2334" y="162"/>
                  </a:lnTo>
                  <a:lnTo>
                    <a:pt x="2328" y="162"/>
                  </a:lnTo>
                  <a:lnTo>
                    <a:pt x="2322" y="162"/>
                  </a:lnTo>
                  <a:lnTo>
                    <a:pt x="2318" y="156"/>
                  </a:lnTo>
                  <a:lnTo>
                    <a:pt x="2324" y="154"/>
                  </a:lnTo>
                  <a:lnTo>
                    <a:pt x="2318" y="152"/>
                  </a:lnTo>
                  <a:lnTo>
                    <a:pt x="2324" y="152"/>
                  </a:lnTo>
                  <a:lnTo>
                    <a:pt x="2332" y="156"/>
                  </a:lnTo>
                  <a:lnTo>
                    <a:pt x="2336" y="156"/>
                  </a:lnTo>
                  <a:lnTo>
                    <a:pt x="2342" y="158"/>
                  </a:lnTo>
                  <a:lnTo>
                    <a:pt x="2348" y="160"/>
                  </a:lnTo>
                  <a:lnTo>
                    <a:pt x="2356" y="162"/>
                  </a:lnTo>
                  <a:lnTo>
                    <a:pt x="2362" y="160"/>
                  </a:lnTo>
                  <a:lnTo>
                    <a:pt x="2358" y="156"/>
                  </a:lnTo>
                  <a:lnTo>
                    <a:pt x="2364" y="156"/>
                  </a:lnTo>
                  <a:lnTo>
                    <a:pt x="2360" y="150"/>
                  </a:lnTo>
                  <a:lnTo>
                    <a:pt x="2364" y="144"/>
                  </a:lnTo>
                  <a:lnTo>
                    <a:pt x="2358" y="142"/>
                  </a:lnTo>
                  <a:lnTo>
                    <a:pt x="2364" y="142"/>
                  </a:lnTo>
                  <a:lnTo>
                    <a:pt x="2370" y="144"/>
                  </a:lnTo>
                  <a:lnTo>
                    <a:pt x="2376" y="146"/>
                  </a:lnTo>
                  <a:lnTo>
                    <a:pt x="2376" y="140"/>
                  </a:lnTo>
                  <a:lnTo>
                    <a:pt x="2370" y="140"/>
                  </a:lnTo>
                  <a:lnTo>
                    <a:pt x="2364" y="140"/>
                  </a:lnTo>
                  <a:lnTo>
                    <a:pt x="2358" y="138"/>
                  </a:lnTo>
                  <a:lnTo>
                    <a:pt x="2352" y="138"/>
                  </a:lnTo>
                  <a:lnTo>
                    <a:pt x="2346" y="136"/>
                  </a:lnTo>
                  <a:lnTo>
                    <a:pt x="2342" y="134"/>
                  </a:lnTo>
                  <a:lnTo>
                    <a:pt x="2348" y="132"/>
                  </a:lnTo>
                  <a:lnTo>
                    <a:pt x="2354" y="134"/>
                  </a:lnTo>
                  <a:lnTo>
                    <a:pt x="2362" y="134"/>
                  </a:lnTo>
                  <a:lnTo>
                    <a:pt x="2366" y="134"/>
                  </a:lnTo>
                  <a:lnTo>
                    <a:pt x="2374" y="136"/>
                  </a:lnTo>
                  <a:lnTo>
                    <a:pt x="2380" y="136"/>
                  </a:lnTo>
                  <a:lnTo>
                    <a:pt x="2386" y="134"/>
                  </a:lnTo>
                  <a:lnTo>
                    <a:pt x="2392" y="134"/>
                  </a:lnTo>
                  <a:lnTo>
                    <a:pt x="2396" y="128"/>
                  </a:lnTo>
                  <a:lnTo>
                    <a:pt x="2402" y="122"/>
                  </a:lnTo>
                  <a:lnTo>
                    <a:pt x="2408" y="120"/>
                  </a:lnTo>
                  <a:lnTo>
                    <a:pt x="2416" y="120"/>
                  </a:lnTo>
                  <a:lnTo>
                    <a:pt x="2410" y="118"/>
                  </a:lnTo>
                  <a:lnTo>
                    <a:pt x="2412" y="118"/>
                  </a:lnTo>
                  <a:lnTo>
                    <a:pt x="2416" y="118"/>
                  </a:lnTo>
                  <a:lnTo>
                    <a:pt x="2422" y="116"/>
                  </a:lnTo>
                  <a:lnTo>
                    <a:pt x="2430" y="118"/>
                  </a:lnTo>
                  <a:lnTo>
                    <a:pt x="2436" y="114"/>
                  </a:lnTo>
                  <a:lnTo>
                    <a:pt x="2442" y="114"/>
                  </a:lnTo>
                  <a:lnTo>
                    <a:pt x="2448" y="114"/>
                  </a:lnTo>
                  <a:lnTo>
                    <a:pt x="2448" y="112"/>
                  </a:lnTo>
                  <a:lnTo>
                    <a:pt x="2446" y="110"/>
                  </a:lnTo>
                  <a:lnTo>
                    <a:pt x="2452" y="110"/>
                  </a:lnTo>
                  <a:lnTo>
                    <a:pt x="2458" y="110"/>
                  </a:lnTo>
                  <a:lnTo>
                    <a:pt x="2464" y="110"/>
                  </a:lnTo>
                  <a:lnTo>
                    <a:pt x="2470" y="108"/>
                  </a:lnTo>
                  <a:lnTo>
                    <a:pt x="2476" y="106"/>
                  </a:lnTo>
                  <a:lnTo>
                    <a:pt x="2482" y="108"/>
                  </a:lnTo>
                  <a:lnTo>
                    <a:pt x="2488" y="106"/>
                  </a:lnTo>
                  <a:lnTo>
                    <a:pt x="2494" y="108"/>
                  </a:lnTo>
                  <a:lnTo>
                    <a:pt x="2502" y="108"/>
                  </a:lnTo>
                  <a:lnTo>
                    <a:pt x="2508" y="102"/>
                  </a:lnTo>
                  <a:lnTo>
                    <a:pt x="2514" y="104"/>
                  </a:lnTo>
                  <a:lnTo>
                    <a:pt x="2520" y="104"/>
                  </a:lnTo>
                  <a:lnTo>
                    <a:pt x="2526" y="102"/>
                  </a:lnTo>
                  <a:lnTo>
                    <a:pt x="2532" y="102"/>
                  </a:lnTo>
                  <a:lnTo>
                    <a:pt x="2538" y="100"/>
                  </a:lnTo>
                  <a:lnTo>
                    <a:pt x="2546" y="100"/>
                  </a:lnTo>
                  <a:lnTo>
                    <a:pt x="2552" y="100"/>
                  </a:lnTo>
                  <a:lnTo>
                    <a:pt x="2556" y="98"/>
                  </a:lnTo>
                  <a:lnTo>
                    <a:pt x="2564" y="98"/>
                  </a:lnTo>
                  <a:lnTo>
                    <a:pt x="2570" y="96"/>
                  </a:lnTo>
                  <a:lnTo>
                    <a:pt x="2578" y="96"/>
                  </a:lnTo>
                  <a:lnTo>
                    <a:pt x="2582" y="94"/>
                  </a:lnTo>
                  <a:lnTo>
                    <a:pt x="2590" y="94"/>
                  </a:lnTo>
                  <a:lnTo>
                    <a:pt x="2594" y="92"/>
                  </a:lnTo>
                  <a:lnTo>
                    <a:pt x="2590" y="92"/>
                  </a:lnTo>
                  <a:lnTo>
                    <a:pt x="2584" y="94"/>
                  </a:lnTo>
                  <a:lnTo>
                    <a:pt x="2576" y="94"/>
                  </a:lnTo>
                  <a:lnTo>
                    <a:pt x="2570" y="92"/>
                  </a:lnTo>
                  <a:lnTo>
                    <a:pt x="2568" y="94"/>
                  </a:lnTo>
                  <a:lnTo>
                    <a:pt x="2562" y="92"/>
                  </a:lnTo>
                  <a:lnTo>
                    <a:pt x="2556" y="90"/>
                  </a:lnTo>
                  <a:lnTo>
                    <a:pt x="2550" y="92"/>
                  </a:lnTo>
                  <a:lnTo>
                    <a:pt x="2556" y="94"/>
                  </a:lnTo>
                  <a:lnTo>
                    <a:pt x="2550" y="94"/>
                  </a:lnTo>
                  <a:lnTo>
                    <a:pt x="2544" y="92"/>
                  </a:lnTo>
                  <a:lnTo>
                    <a:pt x="2546" y="84"/>
                  </a:lnTo>
                  <a:lnTo>
                    <a:pt x="2552" y="84"/>
                  </a:lnTo>
                  <a:lnTo>
                    <a:pt x="2558" y="86"/>
                  </a:lnTo>
                  <a:lnTo>
                    <a:pt x="2564" y="88"/>
                  </a:lnTo>
                  <a:lnTo>
                    <a:pt x="2570" y="86"/>
                  </a:lnTo>
                  <a:lnTo>
                    <a:pt x="2576" y="86"/>
                  </a:lnTo>
                  <a:lnTo>
                    <a:pt x="2582" y="84"/>
                  </a:lnTo>
                  <a:lnTo>
                    <a:pt x="2576" y="84"/>
                  </a:lnTo>
                  <a:lnTo>
                    <a:pt x="2570" y="82"/>
                  </a:lnTo>
                  <a:lnTo>
                    <a:pt x="2576" y="82"/>
                  </a:lnTo>
                  <a:lnTo>
                    <a:pt x="2582" y="82"/>
                  </a:lnTo>
                  <a:lnTo>
                    <a:pt x="2588" y="84"/>
                  </a:lnTo>
                  <a:lnTo>
                    <a:pt x="2594" y="82"/>
                  </a:lnTo>
                  <a:lnTo>
                    <a:pt x="2600" y="84"/>
                  </a:lnTo>
                  <a:lnTo>
                    <a:pt x="2608" y="80"/>
                  </a:lnTo>
                  <a:lnTo>
                    <a:pt x="2614" y="80"/>
                  </a:lnTo>
                  <a:lnTo>
                    <a:pt x="2620" y="82"/>
                  </a:lnTo>
                  <a:lnTo>
                    <a:pt x="2626" y="82"/>
                  </a:lnTo>
                  <a:lnTo>
                    <a:pt x="2634" y="80"/>
                  </a:lnTo>
                  <a:lnTo>
                    <a:pt x="2640" y="80"/>
                  </a:lnTo>
                  <a:lnTo>
                    <a:pt x="2646" y="82"/>
                  </a:lnTo>
                  <a:lnTo>
                    <a:pt x="2652" y="80"/>
                  </a:lnTo>
                  <a:lnTo>
                    <a:pt x="2658" y="82"/>
                  </a:lnTo>
                  <a:lnTo>
                    <a:pt x="2666" y="84"/>
                  </a:lnTo>
                  <a:lnTo>
                    <a:pt x="2672" y="84"/>
                  </a:lnTo>
                  <a:lnTo>
                    <a:pt x="2666" y="90"/>
                  </a:lnTo>
                  <a:lnTo>
                    <a:pt x="2660" y="96"/>
                  </a:lnTo>
                  <a:lnTo>
                    <a:pt x="2666" y="94"/>
                  </a:lnTo>
                  <a:lnTo>
                    <a:pt x="2672" y="92"/>
                  </a:lnTo>
                  <a:lnTo>
                    <a:pt x="2678" y="92"/>
                  </a:lnTo>
                  <a:lnTo>
                    <a:pt x="2684" y="88"/>
                  </a:lnTo>
                  <a:lnTo>
                    <a:pt x="2690" y="90"/>
                  </a:lnTo>
                  <a:lnTo>
                    <a:pt x="2696" y="94"/>
                  </a:lnTo>
                  <a:lnTo>
                    <a:pt x="2700" y="94"/>
                  </a:lnTo>
                  <a:lnTo>
                    <a:pt x="2706" y="94"/>
                  </a:lnTo>
                  <a:lnTo>
                    <a:pt x="2712" y="90"/>
                  </a:lnTo>
                  <a:lnTo>
                    <a:pt x="2718" y="90"/>
                  </a:lnTo>
                  <a:lnTo>
                    <a:pt x="2724" y="90"/>
                  </a:lnTo>
                  <a:lnTo>
                    <a:pt x="2730" y="90"/>
                  </a:lnTo>
                  <a:lnTo>
                    <a:pt x="2736" y="90"/>
                  </a:lnTo>
                  <a:lnTo>
                    <a:pt x="2742" y="88"/>
                  </a:lnTo>
                  <a:lnTo>
                    <a:pt x="2736" y="86"/>
                  </a:lnTo>
                  <a:lnTo>
                    <a:pt x="2730" y="84"/>
                  </a:lnTo>
                  <a:lnTo>
                    <a:pt x="2736" y="84"/>
                  </a:lnTo>
                  <a:lnTo>
                    <a:pt x="2742" y="86"/>
                  </a:lnTo>
                  <a:lnTo>
                    <a:pt x="2748" y="84"/>
                  </a:lnTo>
                  <a:lnTo>
                    <a:pt x="2742" y="80"/>
                  </a:lnTo>
                  <a:lnTo>
                    <a:pt x="2748" y="80"/>
                  </a:lnTo>
                  <a:lnTo>
                    <a:pt x="2754" y="80"/>
                  </a:lnTo>
                  <a:lnTo>
                    <a:pt x="2760" y="76"/>
                  </a:lnTo>
                  <a:lnTo>
                    <a:pt x="2766" y="74"/>
                  </a:lnTo>
                  <a:lnTo>
                    <a:pt x="2772" y="78"/>
                  </a:lnTo>
                  <a:lnTo>
                    <a:pt x="2780" y="76"/>
                  </a:lnTo>
                  <a:lnTo>
                    <a:pt x="2786" y="80"/>
                  </a:lnTo>
                  <a:lnTo>
                    <a:pt x="2792" y="82"/>
                  </a:lnTo>
                  <a:lnTo>
                    <a:pt x="2798" y="80"/>
                  </a:lnTo>
                  <a:lnTo>
                    <a:pt x="2806" y="84"/>
                  </a:lnTo>
                  <a:lnTo>
                    <a:pt x="2812" y="84"/>
                  </a:lnTo>
                  <a:lnTo>
                    <a:pt x="2818" y="86"/>
                  </a:lnTo>
                  <a:lnTo>
                    <a:pt x="2820" y="86"/>
                  </a:lnTo>
                  <a:lnTo>
                    <a:pt x="2822" y="86"/>
                  </a:lnTo>
                  <a:lnTo>
                    <a:pt x="2816" y="82"/>
                  </a:lnTo>
                  <a:lnTo>
                    <a:pt x="2810" y="80"/>
                  </a:lnTo>
                  <a:lnTo>
                    <a:pt x="2804" y="78"/>
                  </a:lnTo>
                  <a:lnTo>
                    <a:pt x="2798" y="74"/>
                  </a:lnTo>
                  <a:lnTo>
                    <a:pt x="2792" y="74"/>
                  </a:lnTo>
                  <a:lnTo>
                    <a:pt x="2786" y="72"/>
                  </a:lnTo>
                  <a:lnTo>
                    <a:pt x="2780" y="70"/>
                  </a:lnTo>
                  <a:lnTo>
                    <a:pt x="2772" y="70"/>
                  </a:lnTo>
                  <a:lnTo>
                    <a:pt x="2768" y="68"/>
                  </a:lnTo>
                  <a:lnTo>
                    <a:pt x="2760" y="62"/>
                  </a:lnTo>
                  <a:lnTo>
                    <a:pt x="2766" y="62"/>
                  </a:lnTo>
                  <a:lnTo>
                    <a:pt x="2772" y="64"/>
                  </a:lnTo>
                  <a:lnTo>
                    <a:pt x="2780" y="64"/>
                  </a:lnTo>
                  <a:lnTo>
                    <a:pt x="2786" y="64"/>
                  </a:lnTo>
                  <a:lnTo>
                    <a:pt x="2792" y="64"/>
                  </a:lnTo>
                  <a:lnTo>
                    <a:pt x="2798" y="64"/>
                  </a:lnTo>
                  <a:lnTo>
                    <a:pt x="2804" y="64"/>
                  </a:lnTo>
                  <a:lnTo>
                    <a:pt x="2806" y="64"/>
                  </a:lnTo>
                  <a:lnTo>
                    <a:pt x="2810" y="64"/>
                  </a:lnTo>
                  <a:lnTo>
                    <a:pt x="2816" y="64"/>
                  </a:lnTo>
                  <a:lnTo>
                    <a:pt x="2824" y="64"/>
                  </a:lnTo>
                  <a:lnTo>
                    <a:pt x="2830" y="62"/>
                  </a:lnTo>
                  <a:lnTo>
                    <a:pt x="2836" y="60"/>
                  </a:lnTo>
                  <a:lnTo>
                    <a:pt x="2842" y="62"/>
                  </a:lnTo>
                  <a:lnTo>
                    <a:pt x="2848" y="64"/>
                  </a:lnTo>
                  <a:lnTo>
                    <a:pt x="2854" y="64"/>
                  </a:lnTo>
                  <a:lnTo>
                    <a:pt x="2862" y="64"/>
                  </a:lnTo>
                  <a:lnTo>
                    <a:pt x="2868" y="64"/>
                  </a:lnTo>
                  <a:lnTo>
                    <a:pt x="2874" y="64"/>
                  </a:lnTo>
                  <a:lnTo>
                    <a:pt x="2880" y="68"/>
                  </a:lnTo>
                  <a:lnTo>
                    <a:pt x="2886" y="68"/>
                  </a:lnTo>
                  <a:lnTo>
                    <a:pt x="2894" y="68"/>
                  </a:lnTo>
                  <a:lnTo>
                    <a:pt x="2900" y="68"/>
                  </a:lnTo>
                  <a:lnTo>
                    <a:pt x="2894" y="68"/>
                  </a:lnTo>
                  <a:lnTo>
                    <a:pt x="2886" y="66"/>
                  </a:lnTo>
                  <a:lnTo>
                    <a:pt x="2880" y="64"/>
                  </a:lnTo>
                  <a:lnTo>
                    <a:pt x="2874" y="64"/>
                  </a:lnTo>
                  <a:lnTo>
                    <a:pt x="2870" y="64"/>
                  </a:lnTo>
                  <a:lnTo>
                    <a:pt x="2862" y="62"/>
                  </a:lnTo>
                  <a:lnTo>
                    <a:pt x="2856" y="62"/>
                  </a:lnTo>
                  <a:lnTo>
                    <a:pt x="2850" y="62"/>
                  </a:lnTo>
                  <a:lnTo>
                    <a:pt x="2844" y="62"/>
                  </a:lnTo>
                  <a:lnTo>
                    <a:pt x="2838" y="60"/>
                  </a:lnTo>
                  <a:lnTo>
                    <a:pt x="2838" y="54"/>
                  </a:lnTo>
                  <a:lnTo>
                    <a:pt x="2834" y="48"/>
                  </a:lnTo>
                  <a:lnTo>
                    <a:pt x="2828" y="48"/>
                  </a:lnTo>
                  <a:lnTo>
                    <a:pt x="2822" y="46"/>
                  </a:lnTo>
                  <a:lnTo>
                    <a:pt x="2816" y="42"/>
                  </a:lnTo>
                  <a:lnTo>
                    <a:pt x="2818" y="36"/>
                  </a:lnTo>
                  <a:lnTo>
                    <a:pt x="2824" y="36"/>
                  </a:lnTo>
                  <a:lnTo>
                    <a:pt x="2818" y="30"/>
                  </a:lnTo>
                  <a:lnTo>
                    <a:pt x="2824" y="26"/>
                  </a:lnTo>
                  <a:lnTo>
                    <a:pt x="2828" y="24"/>
                  </a:lnTo>
                  <a:lnTo>
                    <a:pt x="2834" y="20"/>
                  </a:lnTo>
                  <a:lnTo>
                    <a:pt x="2824" y="16"/>
                  </a:lnTo>
                  <a:lnTo>
                    <a:pt x="2830" y="16"/>
                  </a:lnTo>
                  <a:lnTo>
                    <a:pt x="2836" y="14"/>
                  </a:lnTo>
                  <a:lnTo>
                    <a:pt x="2842" y="10"/>
                  </a:lnTo>
                  <a:lnTo>
                    <a:pt x="2848" y="6"/>
                  </a:lnTo>
                  <a:lnTo>
                    <a:pt x="2854" y="4"/>
                  </a:lnTo>
                  <a:lnTo>
                    <a:pt x="2860" y="4"/>
                  </a:lnTo>
                  <a:lnTo>
                    <a:pt x="2866" y="4"/>
                  </a:lnTo>
                  <a:lnTo>
                    <a:pt x="2874" y="4"/>
                  </a:lnTo>
                  <a:lnTo>
                    <a:pt x="2880" y="2"/>
                  </a:lnTo>
                  <a:lnTo>
                    <a:pt x="2886" y="0"/>
                  </a:lnTo>
                  <a:lnTo>
                    <a:pt x="2892" y="0"/>
                  </a:lnTo>
                  <a:lnTo>
                    <a:pt x="2898" y="2"/>
                  </a:lnTo>
                  <a:lnTo>
                    <a:pt x="2904" y="2"/>
                  </a:lnTo>
                  <a:lnTo>
                    <a:pt x="2910" y="2"/>
                  </a:lnTo>
                  <a:lnTo>
                    <a:pt x="2916" y="0"/>
                  </a:lnTo>
                  <a:lnTo>
                    <a:pt x="2922" y="4"/>
                  </a:lnTo>
                  <a:lnTo>
                    <a:pt x="2928" y="6"/>
                  </a:lnTo>
                  <a:lnTo>
                    <a:pt x="2934" y="6"/>
                  </a:lnTo>
                  <a:lnTo>
                    <a:pt x="2940" y="8"/>
                  </a:lnTo>
                  <a:lnTo>
                    <a:pt x="2948" y="8"/>
                  </a:lnTo>
                  <a:lnTo>
                    <a:pt x="2954" y="8"/>
                  </a:lnTo>
                  <a:lnTo>
                    <a:pt x="2960" y="8"/>
                  </a:lnTo>
                  <a:lnTo>
                    <a:pt x="2966" y="8"/>
                  </a:lnTo>
                  <a:lnTo>
                    <a:pt x="2972" y="10"/>
                  </a:lnTo>
                  <a:lnTo>
                    <a:pt x="2978" y="12"/>
                  </a:lnTo>
                  <a:lnTo>
                    <a:pt x="2984" y="14"/>
                  </a:lnTo>
                  <a:lnTo>
                    <a:pt x="2990" y="16"/>
                  </a:lnTo>
                  <a:lnTo>
                    <a:pt x="2996" y="18"/>
                  </a:lnTo>
                  <a:lnTo>
                    <a:pt x="2990" y="18"/>
                  </a:lnTo>
                  <a:lnTo>
                    <a:pt x="2984" y="18"/>
                  </a:lnTo>
                  <a:lnTo>
                    <a:pt x="2976" y="22"/>
                  </a:lnTo>
                  <a:lnTo>
                    <a:pt x="2972" y="24"/>
                  </a:lnTo>
                  <a:lnTo>
                    <a:pt x="2964" y="26"/>
                  </a:lnTo>
                  <a:lnTo>
                    <a:pt x="2958" y="28"/>
                  </a:lnTo>
                  <a:lnTo>
                    <a:pt x="2952" y="28"/>
                  </a:lnTo>
                  <a:lnTo>
                    <a:pt x="2946" y="28"/>
                  </a:lnTo>
                  <a:lnTo>
                    <a:pt x="2940" y="30"/>
                  </a:lnTo>
                  <a:lnTo>
                    <a:pt x="2934" y="30"/>
                  </a:lnTo>
                  <a:lnTo>
                    <a:pt x="2928" y="32"/>
                  </a:lnTo>
                  <a:lnTo>
                    <a:pt x="2934" y="32"/>
                  </a:lnTo>
                  <a:lnTo>
                    <a:pt x="2942" y="32"/>
                  </a:lnTo>
                  <a:lnTo>
                    <a:pt x="2946" y="32"/>
                  </a:lnTo>
                  <a:lnTo>
                    <a:pt x="2954" y="30"/>
                  </a:lnTo>
                  <a:lnTo>
                    <a:pt x="2960" y="32"/>
                  </a:lnTo>
                  <a:lnTo>
                    <a:pt x="2966" y="32"/>
                  </a:lnTo>
                  <a:lnTo>
                    <a:pt x="2972" y="32"/>
                  </a:lnTo>
                  <a:lnTo>
                    <a:pt x="2978" y="32"/>
                  </a:lnTo>
                  <a:lnTo>
                    <a:pt x="2984" y="32"/>
                  </a:lnTo>
                  <a:lnTo>
                    <a:pt x="2992" y="30"/>
                  </a:lnTo>
                  <a:lnTo>
                    <a:pt x="2998" y="30"/>
                  </a:lnTo>
                  <a:lnTo>
                    <a:pt x="2996" y="36"/>
                  </a:lnTo>
                  <a:lnTo>
                    <a:pt x="2990" y="38"/>
                  </a:lnTo>
                  <a:lnTo>
                    <a:pt x="2996" y="38"/>
                  </a:lnTo>
                  <a:lnTo>
                    <a:pt x="3002" y="38"/>
                  </a:lnTo>
                  <a:lnTo>
                    <a:pt x="3008" y="38"/>
                  </a:lnTo>
                  <a:lnTo>
                    <a:pt x="3014" y="34"/>
                  </a:lnTo>
                  <a:lnTo>
                    <a:pt x="3020" y="34"/>
                  </a:lnTo>
                  <a:lnTo>
                    <a:pt x="3028" y="34"/>
                  </a:lnTo>
                  <a:lnTo>
                    <a:pt x="3034" y="36"/>
                  </a:lnTo>
                  <a:lnTo>
                    <a:pt x="3040" y="34"/>
                  </a:lnTo>
                  <a:lnTo>
                    <a:pt x="3046" y="34"/>
                  </a:lnTo>
                  <a:lnTo>
                    <a:pt x="3052" y="36"/>
                  </a:lnTo>
                  <a:lnTo>
                    <a:pt x="3058" y="36"/>
                  </a:lnTo>
                  <a:lnTo>
                    <a:pt x="3064" y="38"/>
                  </a:lnTo>
                  <a:lnTo>
                    <a:pt x="3072" y="40"/>
                  </a:lnTo>
                  <a:lnTo>
                    <a:pt x="3074" y="46"/>
                  </a:lnTo>
                  <a:lnTo>
                    <a:pt x="3068" y="48"/>
                  </a:lnTo>
                  <a:lnTo>
                    <a:pt x="3064" y="54"/>
                  </a:lnTo>
                  <a:lnTo>
                    <a:pt x="3062" y="60"/>
                  </a:lnTo>
                  <a:lnTo>
                    <a:pt x="3056" y="62"/>
                  </a:lnTo>
                  <a:lnTo>
                    <a:pt x="3064" y="64"/>
                  </a:lnTo>
                  <a:lnTo>
                    <a:pt x="3070" y="64"/>
                  </a:lnTo>
                  <a:lnTo>
                    <a:pt x="3076" y="62"/>
                  </a:lnTo>
                  <a:lnTo>
                    <a:pt x="3084" y="62"/>
                  </a:lnTo>
                  <a:lnTo>
                    <a:pt x="3090" y="62"/>
                  </a:lnTo>
                  <a:lnTo>
                    <a:pt x="3096" y="60"/>
                  </a:lnTo>
                  <a:lnTo>
                    <a:pt x="3102" y="62"/>
                  </a:lnTo>
                  <a:lnTo>
                    <a:pt x="3110" y="62"/>
                  </a:lnTo>
                  <a:lnTo>
                    <a:pt x="3114" y="56"/>
                  </a:lnTo>
                  <a:lnTo>
                    <a:pt x="3110" y="50"/>
                  </a:lnTo>
                  <a:lnTo>
                    <a:pt x="3116" y="50"/>
                  </a:lnTo>
                  <a:lnTo>
                    <a:pt x="3122" y="52"/>
                  </a:lnTo>
                  <a:lnTo>
                    <a:pt x="3130" y="50"/>
                  </a:lnTo>
                  <a:lnTo>
                    <a:pt x="3136" y="52"/>
                  </a:lnTo>
                  <a:lnTo>
                    <a:pt x="3142" y="50"/>
                  </a:lnTo>
                  <a:lnTo>
                    <a:pt x="3148" y="50"/>
                  </a:lnTo>
                  <a:lnTo>
                    <a:pt x="3154" y="50"/>
                  </a:lnTo>
                  <a:lnTo>
                    <a:pt x="3162" y="50"/>
                  </a:lnTo>
                  <a:lnTo>
                    <a:pt x="3168" y="50"/>
                  </a:lnTo>
                  <a:lnTo>
                    <a:pt x="3174" y="50"/>
                  </a:lnTo>
                  <a:lnTo>
                    <a:pt x="3180" y="52"/>
                  </a:lnTo>
                  <a:lnTo>
                    <a:pt x="3186" y="52"/>
                  </a:lnTo>
                  <a:lnTo>
                    <a:pt x="3192" y="52"/>
                  </a:lnTo>
                  <a:lnTo>
                    <a:pt x="3196" y="52"/>
                  </a:lnTo>
                  <a:lnTo>
                    <a:pt x="3204" y="50"/>
                  </a:lnTo>
                  <a:lnTo>
                    <a:pt x="3208" y="50"/>
                  </a:lnTo>
                  <a:lnTo>
                    <a:pt x="3214" y="50"/>
                  </a:lnTo>
                  <a:lnTo>
                    <a:pt x="3222" y="50"/>
                  </a:lnTo>
                  <a:lnTo>
                    <a:pt x="3226" y="50"/>
                  </a:lnTo>
                  <a:lnTo>
                    <a:pt x="3234" y="50"/>
                  </a:lnTo>
                  <a:lnTo>
                    <a:pt x="3240" y="52"/>
                  </a:lnTo>
                  <a:lnTo>
                    <a:pt x="3246" y="52"/>
                  </a:lnTo>
                  <a:lnTo>
                    <a:pt x="3254" y="52"/>
                  </a:lnTo>
                  <a:lnTo>
                    <a:pt x="3260" y="56"/>
                  </a:lnTo>
                  <a:lnTo>
                    <a:pt x="3266" y="56"/>
                  </a:lnTo>
                  <a:lnTo>
                    <a:pt x="3272" y="58"/>
                  </a:lnTo>
                  <a:lnTo>
                    <a:pt x="3278" y="60"/>
                  </a:lnTo>
                  <a:lnTo>
                    <a:pt x="3284" y="62"/>
                  </a:lnTo>
                  <a:lnTo>
                    <a:pt x="3292" y="64"/>
                  </a:lnTo>
                  <a:lnTo>
                    <a:pt x="3294" y="68"/>
                  </a:lnTo>
                  <a:lnTo>
                    <a:pt x="3298" y="64"/>
                  </a:lnTo>
                  <a:lnTo>
                    <a:pt x="3306" y="66"/>
                  </a:lnTo>
                  <a:lnTo>
                    <a:pt x="3312" y="68"/>
                  </a:lnTo>
                  <a:lnTo>
                    <a:pt x="3318" y="68"/>
                  </a:lnTo>
                  <a:lnTo>
                    <a:pt x="3324" y="72"/>
                  </a:lnTo>
                  <a:lnTo>
                    <a:pt x="3328" y="78"/>
                  </a:lnTo>
                  <a:lnTo>
                    <a:pt x="3334" y="78"/>
                  </a:lnTo>
                  <a:lnTo>
                    <a:pt x="3340" y="80"/>
                  </a:lnTo>
                  <a:lnTo>
                    <a:pt x="3342" y="86"/>
                  </a:lnTo>
                  <a:lnTo>
                    <a:pt x="3348" y="80"/>
                  </a:lnTo>
                  <a:lnTo>
                    <a:pt x="3354" y="80"/>
                  </a:lnTo>
                  <a:lnTo>
                    <a:pt x="3360" y="82"/>
                  </a:lnTo>
                  <a:lnTo>
                    <a:pt x="3354" y="80"/>
                  </a:lnTo>
                  <a:lnTo>
                    <a:pt x="3348" y="78"/>
                  </a:lnTo>
                  <a:lnTo>
                    <a:pt x="3342" y="76"/>
                  </a:lnTo>
                  <a:lnTo>
                    <a:pt x="3350" y="74"/>
                  </a:lnTo>
                  <a:lnTo>
                    <a:pt x="3356" y="78"/>
                  </a:lnTo>
                  <a:lnTo>
                    <a:pt x="3362" y="80"/>
                  </a:lnTo>
                  <a:lnTo>
                    <a:pt x="3368" y="82"/>
                  </a:lnTo>
                  <a:lnTo>
                    <a:pt x="3374" y="86"/>
                  </a:lnTo>
                  <a:lnTo>
                    <a:pt x="3380" y="92"/>
                  </a:lnTo>
                  <a:lnTo>
                    <a:pt x="3386" y="96"/>
                  </a:lnTo>
                  <a:lnTo>
                    <a:pt x="3392" y="92"/>
                  </a:lnTo>
                  <a:lnTo>
                    <a:pt x="3398" y="94"/>
                  </a:lnTo>
                  <a:lnTo>
                    <a:pt x="3404" y="98"/>
                  </a:lnTo>
                  <a:lnTo>
                    <a:pt x="3406" y="104"/>
                  </a:lnTo>
                  <a:lnTo>
                    <a:pt x="3412" y="110"/>
                  </a:lnTo>
                  <a:lnTo>
                    <a:pt x="3404" y="110"/>
                  </a:lnTo>
                  <a:lnTo>
                    <a:pt x="3402" y="106"/>
                  </a:lnTo>
                  <a:lnTo>
                    <a:pt x="3394" y="106"/>
                  </a:lnTo>
                  <a:lnTo>
                    <a:pt x="3386" y="106"/>
                  </a:lnTo>
                  <a:lnTo>
                    <a:pt x="3382" y="104"/>
                  </a:lnTo>
                  <a:lnTo>
                    <a:pt x="3374" y="102"/>
                  </a:lnTo>
                  <a:lnTo>
                    <a:pt x="3368" y="102"/>
                  </a:lnTo>
                  <a:lnTo>
                    <a:pt x="3362" y="100"/>
                  </a:lnTo>
                  <a:lnTo>
                    <a:pt x="3356" y="98"/>
                  </a:lnTo>
                  <a:lnTo>
                    <a:pt x="3350" y="96"/>
                  </a:lnTo>
                  <a:lnTo>
                    <a:pt x="3344" y="98"/>
                  </a:lnTo>
                  <a:lnTo>
                    <a:pt x="3350" y="100"/>
                  </a:lnTo>
                  <a:lnTo>
                    <a:pt x="3356" y="102"/>
                  </a:lnTo>
                  <a:lnTo>
                    <a:pt x="3362" y="102"/>
                  </a:lnTo>
                  <a:lnTo>
                    <a:pt x="3370" y="106"/>
                  </a:lnTo>
                  <a:lnTo>
                    <a:pt x="3374" y="110"/>
                  </a:lnTo>
                  <a:lnTo>
                    <a:pt x="3380" y="112"/>
                  </a:lnTo>
                  <a:lnTo>
                    <a:pt x="3386" y="108"/>
                  </a:lnTo>
                  <a:lnTo>
                    <a:pt x="3392" y="108"/>
                  </a:lnTo>
                  <a:lnTo>
                    <a:pt x="3398" y="112"/>
                  </a:lnTo>
                  <a:lnTo>
                    <a:pt x="3406" y="114"/>
                  </a:lnTo>
                  <a:lnTo>
                    <a:pt x="3412" y="114"/>
                  </a:lnTo>
                  <a:lnTo>
                    <a:pt x="3418" y="116"/>
                  </a:lnTo>
                  <a:lnTo>
                    <a:pt x="3420" y="122"/>
                  </a:lnTo>
                  <a:lnTo>
                    <a:pt x="3426" y="126"/>
                  </a:lnTo>
                  <a:lnTo>
                    <a:pt x="3424" y="130"/>
                  </a:lnTo>
                  <a:lnTo>
                    <a:pt x="3418" y="136"/>
                  </a:lnTo>
                  <a:lnTo>
                    <a:pt x="3416" y="142"/>
                  </a:lnTo>
                  <a:lnTo>
                    <a:pt x="3408" y="144"/>
                  </a:lnTo>
                  <a:lnTo>
                    <a:pt x="3404" y="146"/>
                  </a:lnTo>
                  <a:lnTo>
                    <a:pt x="3398" y="148"/>
                  </a:lnTo>
                  <a:lnTo>
                    <a:pt x="3390" y="148"/>
                  </a:lnTo>
                  <a:lnTo>
                    <a:pt x="3390" y="154"/>
                  </a:lnTo>
                  <a:lnTo>
                    <a:pt x="3386" y="160"/>
                  </a:lnTo>
                  <a:lnTo>
                    <a:pt x="3380" y="158"/>
                  </a:lnTo>
                  <a:lnTo>
                    <a:pt x="3374" y="158"/>
                  </a:lnTo>
                  <a:lnTo>
                    <a:pt x="3368" y="162"/>
                  </a:lnTo>
                  <a:lnTo>
                    <a:pt x="3362" y="166"/>
                  </a:lnTo>
                  <a:lnTo>
                    <a:pt x="3354" y="168"/>
                  </a:lnTo>
                  <a:lnTo>
                    <a:pt x="3348" y="170"/>
                  </a:lnTo>
                  <a:lnTo>
                    <a:pt x="3344" y="170"/>
                  </a:lnTo>
                  <a:lnTo>
                    <a:pt x="3338" y="170"/>
                  </a:lnTo>
                  <a:lnTo>
                    <a:pt x="3344" y="174"/>
                  </a:lnTo>
                  <a:lnTo>
                    <a:pt x="3338" y="176"/>
                  </a:lnTo>
                  <a:lnTo>
                    <a:pt x="3332" y="176"/>
                  </a:lnTo>
                  <a:lnTo>
                    <a:pt x="3330" y="178"/>
                  </a:lnTo>
                  <a:lnTo>
                    <a:pt x="3324" y="178"/>
                  </a:lnTo>
                  <a:lnTo>
                    <a:pt x="3318" y="180"/>
                  </a:lnTo>
                  <a:lnTo>
                    <a:pt x="3324" y="180"/>
                  </a:lnTo>
                  <a:lnTo>
                    <a:pt x="3330" y="180"/>
                  </a:lnTo>
                  <a:lnTo>
                    <a:pt x="3336" y="182"/>
                  </a:lnTo>
                  <a:lnTo>
                    <a:pt x="3334" y="188"/>
                  </a:lnTo>
                  <a:lnTo>
                    <a:pt x="3328" y="192"/>
                  </a:lnTo>
                  <a:lnTo>
                    <a:pt x="3320" y="192"/>
                  </a:lnTo>
                  <a:lnTo>
                    <a:pt x="3314" y="194"/>
                  </a:lnTo>
                  <a:lnTo>
                    <a:pt x="3308" y="198"/>
                  </a:lnTo>
                  <a:lnTo>
                    <a:pt x="3302" y="202"/>
                  </a:lnTo>
                  <a:lnTo>
                    <a:pt x="3302" y="210"/>
                  </a:lnTo>
                  <a:lnTo>
                    <a:pt x="3296" y="214"/>
                  </a:lnTo>
                  <a:lnTo>
                    <a:pt x="3290" y="214"/>
                  </a:lnTo>
                  <a:lnTo>
                    <a:pt x="3282" y="216"/>
                  </a:lnTo>
                  <a:lnTo>
                    <a:pt x="3276" y="218"/>
                  </a:lnTo>
                  <a:lnTo>
                    <a:pt x="3270" y="216"/>
                  </a:lnTo>
                  <a:lnTo>
                    <a:pt x="3264" y="218"/>
                  </a:lnTo>
                  <a:lnTo>
                    <a:pt x="3258" y="222"/>
                  </a:lnTo>
                  <a:lnTo>
                    <a:pt x="3252" y="228"/>
                  </a:lnTo>
                  <a:lnTo>
                    <a:pt x="3252" y="234"/>
                  </a:lnTo>
                  <a:lnTo>
                    <a:pt x="3246" y="234"/>
                  </a:lnTo>
                  <a:lnTo>
                    <a:pt x="3240" y="234"/>
                  </a:lnTo>
                  <a:lnTo>
                    <a:pt x="3234" y="234"/>
                  </a:lnTo>
                  <a:lnTo>
                    <a:pt x="3228" y="240"/>
                  </a:lnTo>
                  <a:lnTo>
                    <a:pt x="3226" y="246"/>
                  </a:lnTo>
                  <a:lnTo>
                    <a:pt x="3230" y="252"/>
                  </a:lnTo>
                  <a:lnTo>
                    <a:pt x="3226" y="258"/>
                  </a:lnTo>
                  <a:lnTo>
                    <a:pt x="3220" y="260"/>
                  </a:lnTo>
                  <a:lnTo>
                    <a:pt x="3214" y="264"/>
                  </a:lnTo>
                  <a:lnTo>
                    <a:pt x="3208" y="264"/>
                  </a:lnTo>
                  <a:lnTo>
                    <a:pt x="3210" y="264"/>
                  </a:lnTo>
                  <a:lnTo>
                    <a:pt x="3214" y="264"/>
                  </a:lnTo>
                  <a:lnTo>
                    <a:pt x="3220" y="266"/>
                  </a:lnTo>
                  <a:lnTo>
                    <a:pt x="3226" y="266"/>
                  </a:lnTo>
                  <a:lnTo>
                    <a:pt x="3234" y="262"/>
                  </a:lnTo>
                  <a:lnTo>
                    <a:pt x="3238" y="258"/>
                  </a:lnTo>
                  <a:lnTo>
                    <a:pt x="3244" y="254"/>
                  </a:lnTo>
                  <a:lnTo>
                    <a:pt x="3246" y="252"/>
                  </a:lnTo>
                  <a:lnTo>
                    <a:pt x="3240" y="248"/>
                  </a:lnTo>
                  <a:lnTo>
                    <a:pt x="3244" y="240"/>
                  </a:lnTo>
                  <a:lnTo>
                    <a:pt x="3250" y="242"/>
                  </a:lnTo>
                  <a:lnTo>
                    <a:pt x="3256" y="242"/>
                  </a:lnTo>
                  <a:lnTo>
                    <a:pt x="3262" y="244"/>
                  </a:lnTo>
                  <a:lnTo>
                    <a:pt x="3268" y="244"/>
                  </a:lnTo>
                  <a:lnTo>
                    <a:pt x="3274" y="242"/>
                  </a:lnTo>
                  <a:lnTo>
                    <a:pt x="3280" y="242"/>
                  </a:lnTo>
                  <a:lnTo>
                    <a:pt x="3286" y="242"/>
                  </a:lnTo>
                  <a:lnTo>
                    <a:pt x="3292" y="242"/>
                  </a:lnTo>
                  <a:lnTo>
                    <a:pt x="3298" y="242"/>
                  </a:lnTo>
                  <a:lnTo>
                    <a:pt x="3304" y="242"/>
                  </a:lnTo>
                  <a:lnTo>
                    <a:pt x="3310" y="238"/>
                  </a:lnTo>
                  <a:lnTo>
                    <a:pt x="3316" y="238"/>
                  </a:lnTo>
                  <a:lnTo>
                    <a:pt x="3324" y="236"/>
                  </a:lnTo>
                  <a:lnTo>
                    <a:pt x="3318" y="236"/>
                  </a:lnTo>
                  <a:lnTo>
                    <a:pt x="3324" y="234"/>
                  </a:lnTo>
                  <a:lnTo>
                    <a:pt x="3330" y="234"/>
                  </a:lnTo>
                  <a:lnTo>
                    <a:pt x="3336" y="232"/>
                  </a:lnTo>
                  <a:lnTo>
                    <a:pt x="3342" y="232"/>
                  </a:lnTo>
                  <a:lnTo>
                    <a:pt x="3348" y="232"/>
                  </a:lnTo>
                  <a:lnTo>
                    <a:pt x="3354" y="226"/>
                  </a:lnTo>
                  <a:lnTo>
                    <a:pt x="3360" y="228"/>
                  </a:lnTo>
                  <a:lnTo>
                    <a:pt x="3354" y="226"/>
                  </a:lnTo>
                  <a:lnTo>
                    <a:pt x="3348" y="222"/>
                  </a:lnTo>
                  <a:lnTo>
                    <a:pt x="3356" y="224"/>
                  </a:lnTo>
                  <a:lnTo>
                    <a:pt x="3362" y="226"/>
                  </a:lnTo>
                  <a:lnTo>
                    <a:pt x="3368" y="226"/>
                  </a:lnTo>
                  <a:lnTo>
                    <a:pt x="3374" y="226"/>
                  </a:lnTo>
                  <a:lnTo>
                    <a:pt x="3382" y="224"/>
                  </a:lnTo>
                  <a:lnTo>
                    <a:pt x="3384" y="220"/>
                  </a:lnTo>
                  <a:lnTo>
                    <a:pt x="3390" y="216"/>
                  </a:lnTo>
                  <a:lnTo>
                    <a:pt x="3396" y="216"/>
                  </a:lnTo>
                  <a:lnTo>
                    <a:pt x="3404" y="214"/>
                  </a:lnTo>
                  <a:lnTo>
                    <a:pt x="3408" y="212"/>
                  </a:lnTo>
                  <a:lnTo>
                    <a:pt x="3404" y="210"/>
                  </a:lnTo>
                  <a:lnTo>
                    <a:pt x="3400" y="208"/>
                  </a:lnTo>
                  <a:lnTo>
                    <a:pt x="3394" y="208"/>
                  </a:lnTo>
                  <a:lnTo>
                    <a:pt x="3388" y="210"/>
                  </a:lnTo>
                  <a:lnTo>
                    <a:pt x="3382" y="212"/>
                  </a:lnTo>
                  <a:lnTo>
                    <a:pt x="3376" y="212"/>
                  </a:lnTo>
                  <a:lnTo>
                    <a:pt x="3370" y="212"/>
                  </a:lnTo>
                  <a:lnTo>
                    <a:pt x="3364" y="212"/>
                  </a:lnTo>
                  <a:lnTo>
                    <a:pt x="3358" y="214"/>
                  </a:lnTo>
                  <a:lnTo>
                    <a:pt x="3352" y="212"/>
                  </a:lnTo>
                  <a:lnTo>
                    <a:pt x="3346" y="206"/>
                  </a:lnTo>
                  <a:lnTo>
                    <a:pt x="3352" y="202"/>
                  </a:lnTo>
                  <a:lnTo>
                    <a:pt x="3352" y="196"/>
                  </a:lnTo>
                  <a:lnTo>
                    <a:pt x="3354" y="196"/>
                  </a:lnTo>
                  <a:lnTo>
                    <a:pt x="3360" y="196"/>
                  </a:lnTo>
                  <a:lnTo>
                    <a:pt x="3368" y="196"/>
                  </a:lnTo>
                  <a:lnTo>
                    <a:pt x="3374" y="196"/>
                  </a:lnTo>
                  <a:lnTo>
                    <a:pt x="3382" y="196"/>
                  </a:lnTo>
                  <a:lnTo>
                    <a:pt x="3390" y="198"/>
                  </a:lnTo>
                  <a:lnTo>
                    <a:pt x="3396" y="200"/>
                  </a:lnTo>
                  <a:lnTo>
                    <a:pt x="3404" y="200"/>
                  </a:lnTo>
                  <a:lnTo>
                    <a:pt x="3404" y="194"/>
                  </a:lnTo>
                  <a:lnTo>
                    <a:pt x="3412" y="194"/>
                  </a:lnTo>
                  <a:lnTo>
                    <a:pt x="3416" y="196"/>
                  </a:lnTo>
                  <a:lnTo>
                    <a:pt x="3410" y="198"/>
                  </a:lnTo>
                  <a:lnTo>
                    <a:pt x="3416" y="204"/>
                  </a:lnTo>
                  <a:lnTo>
                    <a:pt x="3422" y="206"/>
                  </a:lnTo>
                  <a:lnTo>
                    <a:pt x="3428" y="208"/>
                  </a:lnTo>
                  <a:lnTo>
                    <a:pt x="3436" y="210"/>
                  </a:lnTo>
                  <a:lnTo>
                    <a:pt x="3442" y="210"/>
                  </a:lnTo>
                  <a:lnTo>
                    <a:pt x="3450" y="212"/>
                  </a:lnTo>
                  <a:lnTo>
                    <a:pt x="3458" y="212"/>
                  </a:lnTo>
                  <a:lnTo>
                    <a:pt x="3464" y="212"/>
                  </a:lnTo>
                  <a:lnTo>
                    <a:pt x="3470" y="212"/>
                  </a:lnTo>
                  <a:lnTo>
                    <a:pt x="3476" y="212"/>
                  </a:lnTo>
                  <a:lnTo>
                    <a:pt x="3484" y="212"/>
                  </a:lnTo>
                  <a:lnTo>
                    <a:pt x="3490" y="208"/>
                  </a:lnTo>
                  <a:lnTo>
                    <a:pt x="3484" y="204"/>
                  </a:lnTo>
                  <a:lnTo>
                    <a:pt x="3476" y="198"/>
                  </a:lnTo>
                  <a:lnTo>
                    <a:pt x="3484" y="200"/>
                  </a:lnTo>
                  <a:lnTo>
                    <a:pt x="3490" y="202"/>
                  </a:lnTo>
                  <a:lnTo>
                    <a:pt x="3496" y="206"/>
                  </a:lnTo>
                  <a:lnTo>
                    <a:pt x="3504" y="208"/>
                  </a:lnTo>
                  <a:lnTo>
                    <a:pt x="3510" y="212"/>
                  </a:lnTo>
                  <a:lnTo>
                    <a:pt x="3514" y="214"/>
                  </a:lnTo>
                  <a:lnTo>
                    <a:pt x="3522" y="218"/>
                  </a:lnTo>
                  <a:lnTo>
                    <a:pt x="3518" y="224"/>
                  </a:lnTo>
                  <a:lnTo>
                    <a:pt x="3524" y="228"/>
                  </a:lnTo>
                  <a:lnTo>
                    <a:pt x="3530" y="230"/>
                  </a:lnTo>
                  <a:lnTo>
                    <a:pt x="3536" y="232"/>
                  </a:lnTo>
                  <a:lnTo>
                    <a:pt x="3544" y="238"/>
                  </a:lnTo>
                  <a:lnTo>
                    <a:pt x="3546" y="238"/>
                  </a:lnTo>
                  <a:lnTo>
                    <a:pt x="3552" y="234"/>
                  </a:lnTo>
                  <a:lnTo>
                    <a:pt x="3558" y="232"/>
                  </a:lnTo>
                  <a:lnTo>
                    <a:pt x="3552" y="232"/>
                  </a:lnTo>
                  <a:lnTo>
                    <a:pt x="3546" y="230"/>
                  </a:lnTo>
                  <a:lnTo>
                    <a:pt x="3540" y="228"/>
                  </a:lnTo>
                  <a:lnTo>
                    <a:pt x="3534" y="228"/>
                  </a:lnTo>
                  <a:lnTo>
                    <a:pt x="3528" y="224"/>
                  </a:lnTo>
                  <a:lnTo>
                    <a:pt x="3534" y="222"/>
                  </a:lnTo>
                  <a:lnTo>
                    <a:pt x="3540" y="222"/>
                  </a:lnTo>
                  <a:lnTo>
                    <a:pt x="3546" y="220"/>
                  </a:lnTo>
                  <a:lnTo>
                    <a:pt x="3552" y="218"/>
                  </a:lnTo>
                  <a:lnTo>
                    <a:pt x="3558" y="218"/>
                  </a:lnTo>
                  <a:lnTo>
                    <a:pt x="3564" y="220"/>
                  </a:lnTo>
                  <a:lnTo>
                    <a:pt x="3572" y="218"/>
                  </a:lnTo>
                  <a:lnTo>
                    <a:pt x="3578" y="218"/>
                  </a:lnTo>
                  <a:lnTo>
                    <a:pt x="3584" y="216"/>
                  </a:lnTo>
                  <a:lnTo>
                    <a:pt x="3590" y="214"/>
                  </a:lnTo>
                  <a:lnTo>
                    <a:pt x="3596" y="212"/>
                  </a:lnTo>
                  <a:lnTo>
                    <a:pt x="3602" y="212"/>
                  </a:lnTo>
                  <a:lnTo>
                    <a:pt x="3608" y="212"/>
                  </a:lnTo>
                  <a:lnTo>
                    <a:pt x="3614" y="212"/>
                  </a:lnTo>
                  <a:lnTo>
                    <a:pt x="3620" y="214"/>
                  </a:lnTo>
                  <a:lnTo>
                    <a:pt x="3626" y="214"/>
                  </a:lnTo>
                  <a:lnTo>
                    <a:pt x="3632" y="216"/>
                  </a:lnTo>
                  <a:lnTo>
                    <a:pt x="3640" y="216"/>
                  </a:lnTo>
                  <a:lnTo>
                    <a:pt x="3646" y="214"/>
                  </a:lnTo>
                  <a:lnTo>
                    <a:pt x="3652" y="216"/>
                  </a:lnTo>
                  <a:lnTo>
                    <a:pt x="3658" y="216"/>
                  </a:lnTo>
                  <a:lnTo>
                    <a:pt x="3664" y="216"/>
                  </a:lnTo>
                  <a:lnTo>
                    <a:pt x="3670" y="218"/>
                  </a:lnTo>
                  <a:lnTo>
                    <a:pt x="3678" y="218"/>
                  </a:lnTo>
                  <a:lnTo>
                    <a:pt x="3684" y="220"/>
                  </a:lnTo>
                  <a:lnTo>
                    <a:pt x="3690" y="220"/>
                  </a:lnTo>
                  <a:lnTo>
                    <a:pt x="3696" y="220"/>
                  </a:lnTo>
                  <a:lnTo>
                    <a:pt x="3704" y="220"/>
                  </a:lnTo>
                  <a:lnTo>
                    <a:pt x="3710" y="220"/>
                  </a:lnTo>
                  <a:lnTo>
                    <a:pt x="3716" y="220"/>
                  </a:lnTo>
                  <a:lnTo>
                    <a:pt x="3722" y="220"/>
                  </a:lnTo>
                  <a:lnTo>
                    <a:pt x="3728" y="220"/>
                  </a:lnTo>
                  <a:lnTo>
                    <a:pt x="3734" y="220"/>
                  </a:lnTo>
                  <a:lnTo>
                    <a:pt x="3740" y="220"/>
                  </a:lnTo>
                  <a:lnTo>
                    <a:pt x="3746" y="220"/>
                  </a:lnTo>
                  <a:lnTo>
                    <a:pt x="3752" y="222"/>
                  </a:lnTo>
                  <a:lnTo>
                    <a:pt x="3758" y="226"/>
                  </a:lnTo>
                  <a:lnTo>
                    <a:pt x="3752" y="226"/>
                  </a:lnTo>
                  <a:lnTo>
                    <a:pt x="3746" y="226"/>
                  </a:lnTo>
                  <a:lnTo>
                    <a:pt x="3740" y="230"/>
                  </a:lnTo>
                  <a:lnTo>
                    <a:pt x="3746" y="236"/>
                  </a:lnTo>
                  <a:lnTo>
                    <a:pt x="3752" y="238"/>
                  </a:lnTo>
                  <a:lnTo>
                    <a:pt x="3758" y="240"/>
                  </a:lnTo>
                  <a:lnTo>
                    <a:pt x="3764" y="242"/>
                  </a:lnTo>
                  <a:lnTo>
                    <a:pt x="3770" y="242"/>
                  </a:lnTo>
                  <a:lnTo>
                    <a:pt x="3776" y="244"/>
                  </a:lnTo>
                  <a:lnTo>
                    <a:pt x="3782" y="246"/>
                  </a:lnTo>
                  <a:lnTo>
                    <a:pt x="3788" y="246"/>
                  </a:lnTo>
                  <a:lnTo>
                    <a:pt x="3794" y="246"/>
                  </a:lnTo>
                  <a:lnTo>
                    <a:pt x="3802" y="248"/>
                  </a:lnTo>
                  <a:lnTo>
                    <a:pt x="3808" y="248"/>
                  </a:lnTo>
                  <a:lnTo>
                    <a:pt x="3814" y="250"/>
                  </a:lnTo>
                  <a:lnTo>
                    <a:pt x="3820" y="252"/>
                  </a:lnTo>
                  <a:lnTo>
                    <a:pt x="3822" y="252"/>
                  </a:lnTo>
                  <a:lnTo>
                    <a:pt x="3826" y="250"/>
                  </a:lnTo>
                  <a:lnTo>
                    <a:pt x="3834" y="250"/>
                  </a:lnTo>
                  <a:lnTo>
                    <a:pt x="3838" y="252"/>
                  </a:lnTo>
                  <a:lnTo>
                    <a:pt x="3844" y="252"/>
                  </a:lnTo>
                  <a:lnTo>
                    <a:pt x="3850" y="252"/>
                  </a:lnTo>
                  <a:lnTo>
                    <a:pt x="3856" y="252"/>
                  </a:lnTo>
                  <a:lnTo>
                    <a:pt x="3864" y="254"/>
                  </a:lnTo>
                  <a:lnTo>
                    <a:pt x="3870" y="254"/>
                  </a:lnTo>
                  <a:lnTo>
                    <a:pt x="3876" y="254"/>
                  </a:lnTo>
                  <a:lnTo>
                    <a:pt x="3882" y="256"/>
                  </a:lnTo>
                  <a:lnTo>
                    <a:pt x="3888" y="254"/>
                  </a:lnTo>
                  <a:lnTo>
                    <a:pt x="3894" y="254"/>
                  </a:lnTo>
                  <a:lnTo>
                    <a:pt x="3900" y="254"/>
                  </a:lnTo>
                  <a:lnTo>
                    <a:pt x="3906" y="254"/>
                  </a:lnTo>
                  <a:lnTo>
                    <a:pt x="3914" y="254"/>
                  </a:lnTo>
                  <a:lnTo>
                    <a:pt x="3920" y="254"/>
                  </a:lnTo>
                  <a:lnTo>
                    <a:pt x="3924" y="254"/>
                  </a:lnTo>
                  <a:lnTo>
                    <a:pt x="3930" y="254"/>
                  </a:lnTo>
                  <a:lnTo>
                    <a:pt x="3938" y="252"/>
                  </a:lnTo>
                  <a:lnTo>
                    <a:pt x="3938" y="250"/>
                  </a:lnTo>
                  <a:lnTo>
                    <a:pt x="3944" y="250"/>
                  </a:lnTo>
                  <a:lnTo>
                    <a:pt x="3950" y="250"/>
                  </a:lnTo>
                  <a:lnTo>
                    <a:pt x="3956" y="252"/>
                  </a:lnTo>
                  <a:lnTo>
                    <a:pt x="3962" y="254"/>
                  </a:lnTo>
                  <a:lnTo>
                    <a:pt x="3968" y="256"/>
                  </a:lnTo>
                  <a:lnTo>
                    <a:pt x="3974" y="252"/>
                  </a:lnTo>
                  <a:lnTo>
                    <a:pt x="3974" y="246"/>
                  </a:lnTo>
                  <a:lnTo>
                    <a:pt x="3968" y="244"/>
                  </a:lnTo>
                  <a:lnTo>
                    <a:pt x="3966" y="244"/>
                  </a:lnTo>
                  <a:lnTo>
                    <a:pt x="3966" y="242"/>
                  </a:lnTo>
                  <a:lnTo>
                    <a:pt x="3972" y="240"/>
                  </a:lnTo>
                  <a:lnTo>
                    <a:pt x="3966" y="238"/>
                  </a:lnTo>
                  <a:lnTo>
                    <a:pt x="3960" y="236"/>
                  </a:lnTo>
                  <a:lnTo>
                    <a:pt x="3954" y="230"/>
                  </a:lnTo>
                  <a:lnTo>
                    <a:pt x="3948" y="226"/>
                  </a:lnTo>
                  <a:lnTo>
                    <a:pt x="3942" y="224"/>
                  </a:lnTo>
                  <a:lnTo>
                    <a:pt x="3940" y="218"/>
                  </a:lnTo>
                  <a:lnTo>
                    <a:pt x="3940" y="212"/>
                  </a:lnTo>
                  <a:lnTo>
                    <a:pt x="3946" y="216"/>
                  </a:lnTo>
                  <a:lnTo>
                    <a:pt x="3950" y="218"/>
                  </a:lnTo>
                  <a:lnTo>
                    <a:pt x="3958" y="214"/>
                  </a:lnTo>
                  <a:lnTo>
                    <a:pt x="3950" y="208"/>
                  </a:lnTo>
                  <a:lnTo>
                    <a:pt x="3958" y="212"/>
                  </a:lnTo>
                  <a:lnTo>
                    <a:pt x="3962" y="212"/>
                  </a:lnTo>
                  <a:lnTo>
                    <a:pt x="3970" y="208"/>
                  </a:lnTo>
                  <a:lnTo>
                    <a:pt x="3976" y="210"/>
                  </a:lnTo>
                  <a:lnTo>
                    <a:pt x="3982" y="212"/>
                  </a:lnTo>
                  <a:lnTo>
                    <a:pt x="3988" y="212"/>
                  </a:lnTo>
                  <a:lnTo>
                    <a:pt x="3994" y="212"/>
                  </a:lnTo>
                  <a:lnTo>
                    <a:pt x="4000" y="214"/>
                  </a:lnTo>
                  <a:lnTo>
                    <a:pt x="4006" y="214"/>
                  </a:lnTo>
                  <a:lnTo>
                    <a:pt x="4012" y="216"/>
                  </a:lnTo>
                  <a:lnTo>
                    <a:pt x="4018" y="220"/>
                  </a:lnTo>
                  <a:lnTo>
                    <a:pt x="4024" y="220"/>
                  </a:lnTo>
                  <a:lnTo>
                    <a:pt x="4030" y="222"/>
                  </a:lnTo>
                  <a:lnTo>
                    <a:pt x="4036" y="222"/>
                  </a:lnTo>
                  <a:lnTo>
                    <a:pt x="4040" y="228"/>
                  </a:lnTo>
                  <a:lnTo>
                    <a:pt x="4048" y="226"/>
                  </a:lnTo>
                  <a:lnTo>
                    <a:pt x="4052" y="224"/>
                  </a:lnTo>
                  <a:lnTo>
                    <a:pt x="4060" y="222"/>
                  </a:lnTo>
                  <a:lnTo>
                    <a:pt x="4064" y="222"/>
                  </a:lnTo>
                  <a:lnTo>
                    <a:pt x="4072" y="224"/>
                  </a:lnTo>
                  <a:lnTo>
                    <a:pt x="4064" y="226"/>
                  </a:lnTo>
                  <a:lnTo>
                    <a:pt x="4072" y="228"/>
                  </a:lnTo>
                  <a:lnTo>
                    <a:pt x="4076" y="228"/>
                  </a:lnTo>
                  <a:lnTo>
                    <a:pt x="4082" y="232"/>
                  </a:lnTo>
                  <a:lnTo>
                    <a:pt x="4084" y="230"/>
                  </a:lnTo>
                  <a:lnTo>
                    <a:pt x="4086" y="230"/>
                  </a:lnTo>
                  <a:lnTo>
                    <a:pt x="4092" y="228"/>
                  </a:lnTo>
                  <a:lnTo>
                    <a:pt x="4098" y="228"/>
                  </a:lnTo>
                  <a:lnTo>
                    <a:pt x="4092" y="224"/>
                  </a:lnTo>
                  <a:lnTo>
                    <a:pt x="4098" y="222"/>
                  </a:lnTo>
                  <a:lnTo>
                    <a:pt x="4104" y="222"/>
                  </a:lnTo>
                  <a:lnTo>
                    <a:pt x="4112" y="224"/>
                  </a:lnTo>
                  <a:lnTo>
                    <a:pt x="4116" y="224"/>
                  </a:lnTo>
                  <a:lnTo>
                    <a:pt x="4124" y="224"/>
                  </a:lnTo>
                  <a:lnTo>
                    <a:pt x="4128" y="224"/>
                  </a:lnTo>
                  <a:lnTo>
                    <a:pt x="4136" y="226"/>
                  </a:lnTo>
                  <a:lnTo>
                    <a:pt x="4140" y="226"/>
                  </a:lnTo>
                  <a:lnTo>
                    <a:pt x="4140" y="228"/>
                  </a:lnTo>
                  <a:lnTo>
                    <a:pt x="4146" y="228"/>
                  </a:lnTo>
                  <a:lnTo>
                    <a:pt x="4152" y="232"/>
                  </a:lnTo>
                  <a:lnTo>
                    <a:pt x="4158" y="232"/>
                  </a:lnTo>
                  <a:lnTo>
                    <a:pt x="4164" y="234"/>
                  </a:lnTo>
                  <a:lnTo>
                    <a:pt x="4164" y="236"/>
                  </a:lnTo>
                  <a:lnTo>
                    <a:pt x="4170" y="238"/>
                  </a:lnTo>
                  <a:lnTo>
                    <a:pt x="4178" y="236"/>
                  </a:lnTo>
                  <a:lnTo>
                    <a:pt x="4184" y="238"/>
                  </a:lnTo>
                  <a:lnTo>
                    <a:pt x="4190" y="240"/>
                  </a:lnTo>
                  <a:lnTo>
                    <a:pt x="4196" y="240"/>
                  </a:lnTo>
                  <a:lnTo>
                    <a:pt x="4200" y="248"/>
                  </a:lnTo>
                  <a:lnTo>
                    <a:pt x="4208" y="244"/>
                  </a:lnTo>
                  <a:lnTo>
                    <a:pt x="4214" y="246"/>
                  </a:lnTo>
                  <a:lnTo>
                    <a:pt x="4210" y="252"/>
                  </a:lnTo>
                  <a:lnTo>
                    <a:pt x="4204" y="254"/>
                  </a:lnTo>
                  <a:lnTo>
                    <a:pt x="4198" y="256"/>
                  </a:lnTo>
                  <a:lnTo>
                    <a:pt x="4196" y="256"/>
                  </a:lnTo>
                  <a:lnTo>
                    <a:pt x="4198" y="256"/>
                  </a:lnTo>
                  <a:lnTo>
                    <a:pt x="4198" y="258"/>
                  </a:lnTo>
                  <a:lnTo>
                    <a:pt x="4204" y="258"/>
                  </a:lnTo>
                  <a:lnTo>
                    <a:pt x="4210" y="258"/>
                  </a:lnTo>
                  <a:lnTo>
                    <a:pt x="4216" y="258"/>
                  </a:lnTo>
                  <a:lnTo>
                    <a:pt x="4224" y="258"/>
                  </a:lnTo>
                  <a:lnTo>
                    <a:pt x="4230" y="260"/>
                  </a:lnTo>
                  <a:lnTo>
                    <a:pt x="4236" y="262"/>
                  </a:lnTo>
                  <a:lnTo>
                    <a:pt x="4230" y="264"/>
                  </a:lnTo>
                  <a:lnTo>
                    <a:pt x="4224" y="262"/>
                  </a:lnTo>
                  <a:lnTo>
                    <a:pt x="4220" y="264"/>
                  </a:lnTo>
                  <a:lnTo>
                    <a:pt x="4226" y="266"/>
                  </a:lnTo>
                  <a:lnTo>
                    <a:pt x="4234" y="266"/>
                  </a:lnTo>
                  <a:lnTo>
                    <a:pt x="4240" y="266"/>
                  </a:lnTo>
                  <a:lnTo>
                    <a:pt x="4246" y="268"/>
                  </a:lnTo>
                  <a:lnTo>
                    <a:pt x="4244" y="270"/>
                  </a:lnTo>
                  <a:lnTo>
                    <a:pt x="4238" y="270"/>
                  </a:lnTo>
                  <a:lnTo>
                    <a:pt x="4234" y="270"/>
                  </a:lnTo>
                  <a:lnTo>
                    <a:pt x="4234" y="272"/>
                  </a:lnTo>
                  <a:lnTo>
                    <a:pt x="4240" y="274"/>
                  </a:lnTo>
                  <a:lnTo>
                    <a:pt x="4234" y="278"/>
                  </a:lnTo>
                  <a:lnTo>
                    <a:pt x="4228" y="278"/>
                  </a:lnTo>
                  <a:lnTo>
                    <a:pt x="4222" y="276"/>
                  </a:lnTo>
                  <a:lnTo>
                    <a:pt x="4218" y="276"/>
                  </a:lnTo>
                  <a:lnTo>
                    <a:pt x="4218" y="278"/>
                  </a:lnTo>
                  <a:lnTo>
                    <a:pt x="4226" y="280"/>
                  </a:lnTo>
                  <a:lnTo>
                    <a:pt x="4232" y="280"/>
                  </a:lnTo>
                  <a:lnTo>
                    <a:pt x="4238" y="282"/>
                  </a:lnTo>
                  <a:lnTo>
                    <a:pt x="4244" y="282"/>
                  </a:lnTo>
                  <a:lnTo>
                    <a:pt x="4250" y="280"/>
                  </a:lnTo>
                  <a:lnTo>
                    <a:pt x="4256" y="280"/>
                  </a:lnTo>
                  <a:lnTo>
                    <a:pt x="4262" y="282"/>
                  </a:lnTo>
                  <a:lnTo>
                    <a:pt x="4264" y="284"/>
                  </a:lnTo>
                  <a:lnTo>
                    <a:pt x="4270" y="286"/>
                  </a:lnTo>
                  <a:lnTo>
                    <a:pt x="4276" y="286"/>
                  </a:lnTo>
                  <a:lnTo>
                    <a:pt x="4278" y="288"/>
                  </a:lnTo>
                  <a:lnTo>
                    <a:pt x="4278" y="292"/>
                  </a:lnTo>
                  <a:lnTo>
                    <a:pt x="4284" y="294"/>
                  </a:lnTo>
                  <a:lnTo>
                    <a:pt x="4290" y="294"/>
                  </a:lnTo>
                  <a:lnTo>
                    <a:pt x="4284" y="300"/>
                  </a:lnTo>
                  <a:lnTo>
                    <a:pt x="4290" y="300"/>
                  </a:lnTo>
                  <a:lnTo>
                    <a:pt x="4284" y="302"/>
                  </a:lnTo>
                  <a:lnTo>
                    <a:pt x="4278" y="304"/>
                  </a:lnTo>
                  <a:lnTo>
                    <a:pt x="4272" y="304"/>
                  </a:lnTo>
                  <a:lnTo>
                    <a:pt x="4264" y="304"/>
                  </a:lnTo>
                  <a:lnTo>
                    <a:pt x="4258" y="302"/>
                  </a:lnTo>
                  <a:lnTo>
                    <a:pt x="4252" y="300"/>
                  </a:lnTo>
                  <a:lnTo>
                    <a:pt x="4250" y="298"/>
                  </a:lnTo>
                  <a:lnTo>
                    <a:pt x="4244" y="296"/>
                  </a:lnTo>
                  <a:lnTo>
                    <a:pt x="4238" y="296"/>
                  </a:lnTo>
                  <a:lnTo>
                    <a:pt x="4232" y="294"/>
                  </a:lnTo>
                  <a:lnTo>
                    <a:pt x="4230" y="294"/>
                  </a:lnTo>
                  <a:lnTo>
                    <a:pt x="4234" y="296"/>
                  </a:lnTo>
                  <a:lnTo>
                    <a:pt x="4240" y="300"/>
                  </a:lnTo>
                  <a:lnTo>
                    <a:pt x="4242" y="300"/>
                  </a:lnTo>
                  <a:lnTo>
                    <a:pt x="4246" y="302"/>
                  </a:lnTo>
                  <a:lnTo>
                    <a:pt x="4252" y="304"/>
                  </a:lnTo>
                  <a:lnTo>
                    <a:pt x="4258" y="308"/>
                  </a:lnTo>
                  <a:lnTo>
                    <a:pt x="4264" y="312"/>
                  </a:lnTo>
                  <a:lnTo>
                    <a:pt x="4270" y="312"/>
                  </a:lnTo>
                  <a:lnTo>
                    <a:pt x="4276" y="316"/>
                  </a:lnTo>
                  <a:lnTo>
                    <a:pt x="4282" y="320"/>
                  </a:lnTo>
                  <a:lnTo>
                    <a:pt x="4288" y="322"/>
                  </a:lnTo>
                  <a:lnTo>
                    <a:pt x="4294" y="322"/>
                  </a:lnTo>
                  <a:lnTo>
                    <a:pt x="4300" y="318"/>
                  </a:lnTo>
                  <a:lnTo>
                    <a:pt x="4294" y="314"/>
                  </a:lnTo>
                  <a:lnTo>
                    <a:pt x="4288" y="310"/>
                  </a:lnTo>
                  <a:lnTo>
                    <a:pt x="4280" y="308"/>
                  </a:lnTo>
                  <a:lnTo>
                    <a:pt x="4286" y="308"/>
                  </a:lnTo>
                  <a:lnTo>
                    <a:pt x="4292" y="310"/>
                  </a:lnTo>
                  <a:lnTo>
                    <a:pt x="4298" y="312"/>
                  </a:lnTo>
                  <a:lnTo>
                    <a:pt x="4304" y="318"/>
                  </a:lnTo>
                  <a:lnTo>
                    <a:pt x="4310" y="320"/>
                  </a:lnTo>
                  <a:lnTo>
                    <a:pt x="4316" y="322"/>
                  </a:lnTo>
                  <a:lnTo>
                    <a:pt x="4310" y="322"/>
                  </a:lnTo>
                  <a:lnTo>
                    <a:pt x="4304" y="324"/>
                  </a:lnTo>
                  <a:lnTo>
                    <a:pt x="4298" y="324"/>
                  </a:lnTo>
                  <a:lnTo>
                    <a:pt x="4300" y="330"/>
                  </a:lnTo>
                  <a:lnTo>
                    <a:pt x="4306" y="330"/>
                  </a:lnTo>
                  <a:lnTo>
                    <a:pt x="4312" y="330"/>
                  </a:lnTo>
                  <a:lnTo>
                    <a:pt x="4318" y="332"/>
                  </a:lnTo>
                  <a:lnTo>
                    <a:pt x="4324" y="336"/>
                  </a:lnTo>
                  <a:lnTo>
                    <a:pt x="4330" y="338"/>
                  </a:lnTo>
                  <a:lnTo>
                    <a:pt x="4336" y="342"/>
                  </a:lnTo>
                  <a:lnTo>
                    <a:pt x="4342" y="346"/>
                  </a:lnTo>
                  <a:lnTo>
                    <a:pt x="4348" y="346"/>
                  </a:lnTo>
                  <a:lnTo>
                    <a:pt x="4354" y="348"/>
                  </a:lnTo>
                  <a:lnTo>
                    <a:pt x="4360" y="352"/>
                  </a:lnTo>
                  <a:lnTo>
                    <a:pt x="4366" y="354"/>
                  </a:lnTo>
                  <a:lnTo>
                    <a:pt x="4372" y="358"/>
                  </a:lnTo>
                  <a:lnTo>
                    <a:pt x="4378" y="358"/>
                  </a:lnTo>
                  <a:lnTo>
                    <a:pt x="4384" y="360"/>
                  </a:lnTo>
                  <a:lnTo>
                    <a:pt x="4390" y="360"/>
                  </a:lnTo>
                  <a:lnTo>
                    <a:pt x="4396" y="364"/>
                  </a:lnTo>
                  <a:lnTo>
                    <a:pt x="4404" y="368"/>
                  </a:lnTo>
                  <a:lnTo>
                    <a:pt x="4408" y="368"/>
                  </a:lnTo>
                  <a:lnTo>
                    <a:pt x="4416" y="368"/>
                  </a:lnTo>
                  <a:lnTo>
                    <a:pt x="4420" y="372"/>
                  </a:lnTo>
                  <a:lnTo>
                    <a:pt x="4428" y="368"/>
                  </a:lnTo>
                  <a:lnTo>
                    <a:pt x="4434" y="372"/>
                  </a:lnTo>
                  <a:lnTo>
                    <a:pt x="4440" y="374"/>
                  </a:lnTo>
                  <a:lnTo>
                    <a:pt x="4446" y="378"/>
                  </a:lnTo>
                  <a:lnTo>
                    <a:pt x="4452" y="380"/>
                  </a:lnTo>
                  <a:lnTo>
                    <a:pt x="4458" y="380"/>
                  </a:lnTo>
                  <a:lnTo>
                    <a:pt x="4462" y="374"/>
                  </a:lnTo>
                  <a:lnTo>
                    <a:pt x="4462" y="368"/>
                  </a:lnTo>
                  <a:lnTo>
                    <a:pt x="4460" y="362"/>
                  </a:lnTo>
                  <a:lnTo>
                    <a:pt x="4460" y="360"/>
                  </a:lnTo>
                  <a:lnTo>
                    <a:pt x="4460" y="356"/>
                  </a:lnTo>
                  <a:lnTo>
                    <a:pt x="4466" y="352"/>
                  </a:lnTo>
                  <a:lnTo>
                    <a:pt x="4458" y="350"/>
                  </a:lnTo>
                  <a:lnTo>
                    <a:pt x="4454" y="344"/>
                  </a:lnTo>
                  <a:lnTo>
                    <a:pt x="4450" y="338"/>
                  </a:lnTo>
                  <a:lnTo>
                    <a:pt x="4446" y="334"/>
                  </a:lnTo>
                  <a:lnTo>
                    <a:pt x="4442" y="328"/>
                  </a:lnTo>
                  <a:lnTo>
                    <a:pt x="4442" y="322"/>
                  </a:lnTo>
                  <a:lnTo>
                    <a:pt x="4440" y="316"/>
                  </a:lnTo>
                  <a:lnTo>
                    <a:pt x="4446" y="312"/>
                  </a:lnTo>
                  <a:lnTo>
                    <a:pt x="4452" y="316"/>
                  </a:lnTo>
                  <a:lnTo>
                    <a:pt x="4460" y="322"/>
                  </a:lnTo>
                  <a:lnTo>
                    <a:pt x="4466" y="322"/>
                  </a:lnTo>
                  <a:lnTo>
                    <a:pt x="4472" y="326"/>
                  </a:lnTo>
                  <a:lnTo>
                    <a:pt x="4478" y="328"/>
                  </a:lnTo>
                  <a:lnTo>
                    <a:pt x="4484" y="330"/>
                  </a:lnTo>
                  <a:lnTo>
                    <a:pt x="4490" y="332"/>
                  </a:lnTo>
                  <a:lnTo>
                    <a:pt x="4496" y="334"/>
                  </a:lnTo>
                  <a:lnTo>
                    <a:pt x="4504" y="336"/>
                  </a:lnTo>
                  <a:lnTo>
                    <a:pt x="4510" y="338"/>
                  </a:lnTo>
                  <a:lnTo>
                    <a:pt x="4516" y="338"/>
                  </a:lnTo>
                  <a:lnTo>
                    <a:pt x="4522" y="340"/>
                  </a:lnTo>
                  <a:lnTo>
                    <a:pt x="4530" y="340"/>
                  </a:lnTo>
                  <a:lnTo>
                    <a:pt x="4536" y="342"/>
                  </a:lnTo>
                  <a:lnTo>
                    <a:pt x="4542" y="342"/>
                  </a:lnTo>
                  <a:lnTo>
                    <a:pt x="4550" y="342"/>
                  </a:lnTo>
                  <a:lnTo>
                    <a:pt x="4556" y="342"/>
                  </a:lnTo>
                  <a:lnTo>
                    <a:pt x="4560" y="342"/>
                  </a:lnTo>
                  <a:lnTo>
                    <a:pt x="4566" y="342"/>
                  </a:lnTo>
                  <a:lnTo>
                    <a:pt x="4572" y="348"/>
                  </a:lnTo>
                  <a:lnTo>
                    <a:pt x="4570" y="342"/>
                  </a:lnTo>
                  <a:lnTo>
                    <a:pt x="4568" y="340"/>
                  </a:lnTo>
                  <a:lnTo>
                    <a:pt x="4570" y="334"/>
                  </a:lnTo>
                  <a:lnTo>
                    <a:pt x="4576" y="336"/>
                  </a:lnTo>
                  <a:lnTo>
                    <a:pt x="4582" y="334"/>
                  </a:lnTo>
                  <a:lnTo>
                    <a:pt x="4588" y="330"/>
                  </a:lnTo>
                  <a:lnTo>
                    <a:pt x="4594" y="328"/>
                  </a:lnTo>
                  <a:lnTo>
                    <a:pt x="4600" y="328"/>
                  </a:lnTo>
                  <a:lnTo>
                    <a:pt x="4606" y="328"/>
                  </a:lnTo>
                  <a:lnTo>
                    <a:pt x="4612" y="330"/>
                  </a:lnTo>
                  <a:lnTo>
                    <a:pt x="4620" y="330"/>
                  </a:lnTo>
                  <a:lnTo>
                    <a:pt x="4624" y="332"/>
                  </a:lnTo>
                  <a:lnTo>
                    <a:pt x="4632" y="332"/>
                  </a:lnTo>
                  <a:lnTo>
                    <a:pt x="4636" y="334"/>
                  </a:lnTo>
                  <a:lnTo>
                    <a:pt x="4642" y="334"/>
                  </a:lnTo>
                  <a:lnTo>
                    <a:pt x="4648" y="334"/>
                  </a:lnTo>
                  <a:lnTo>
                    <a:pt x="4654" y="338"/>
                  </a:lnTo>
                  <a:lnTo>
                    <a:pt x="4660" y="338"/>
                  </a:lnTo>
                  <a:lnTo>
                    <a:pt x="4666" y="340"/>
                  </a:lnTo>
                  <a:lnTo>
                    <a:pt x="4674" y="342"/>
                  </a:lnTo>
                  <a:lnTo>
                    <a:pt x="4680" y="344"/>
                  </a:lnTo>
                  <a:lnTo>
                    <a:pt x="4686" y="344"/>
                  </a:lnTo>
                  <a:lnTo>
                    <a:pt x="4692" y="346"/>
                  </a:lnTo>
                  <a:lnTo>
                    <a:pt x="4698" y="350"/>
                  </a:lnTo>
                  <a:lnTo>
                    <a:pt x="4704" y="348"/>
                  </a:lnTo>
                  <a:lnTo>
                    <a:pt x="4710" y="354"/>
                  </a:lnTo>
                  <a:lnTo>
                    <a:pt x="4716" y="356"/>
                  </a:lnTo>
                  <a:lnTo>
                    <a:pt x="4724" y="356"/>
                  </a:lnTo>
                  <a:lnTo>
                    <a:pt x="4730" y="356"/>
                  </a:lnTo>
                  <a:lnTo>
                    <a:pt x="4724" y="354"/>
                  </a:lnTo>
                  <a:lnTo>
                    <a:pt x="4718" y="354"/>
                  </a:lnTo>
                  <a:lnTo>
                    <a:pt x="4712" y="352"/>
                  </a:lnTo>
                  <a:lnTo>
                    <a:pt x="4718" y="352"/>
                  </a:lnTo>
                  <a:lnTo>
                    <a:pt x="4724" y="352"/>
                  </a:lnTo>
                  <a:lnTo>
                    <a:pt x="4716" y="348"/>
                  </a:lnTo>
                  <a:lnTo>
                    <a:pt x="4724" y="346"/>
                  </a:lnTo>
                  <a:lnTo>
                    <a:pt x="4730" y="346"/>
                  </a:lnTo>
                  <a:lnTo>
                    <a:pt x="4724" y="344"/>
                  </a:lnTo>
                  <a:lnTo>
                    <a:pt x="4718" y="344"/>
                  </a:lnTo>
                  <a:lnTo>
                    <a:pt x="4710" y="344"/>
                  </a:lnTo>
                  <a:lnTo>
                    <a:pt x="4704" y="342"/>
                  </a:lnTo>
                  <a:lnTo>
                    <a:pt x="4704" y="338"/>
                  </a:lnTo>
                  <a:lnTo>
                    <a:pt x="4700" y="330"/>
                  </a:lnTo>
                  <a:lnTo>
                    <a:pt x="4706" y="330"/>
                  </a:lnTo>
                  <a:lnTo>
                    <a:pt x="4712" y="330"/>
                  </a:lnTo>
                  <a:lnTo>
                    <a:pt x="4720" y="334"/>
                  </a:lnTo>
                  <a:lnTo>
                    <a:pt x="4720" y="328"/>
                  </a:lnTo>
                  <a:lnTo>
                    <a:pt x="4726" y="328"/>
                  </a:lnTo>
                  <a:lnTo>
                    <a:pt x="4734" y="330"/>
                  </a:lnTo>
                  <a:lnTo>
                    <a:pt x="4740" y="332"/>
                  </a:lnTo>
                  <a:lnTo>
                    <a:pt x="4746" y="334"/>
                  </a:lnTo>
                  <a:lnTo>
                    <a:pt x="4752" y="338"/>
                  </a:lnTo>
                  <a:lnTo>
                    <a:pt x="4758" y="340"/>
                  </a:lnTo>
                  <a:lnTo>
                    <a:pt x="4764" y="340"/>
                  </a:lnTo>
                  <a:lnTo>
                    <a:pt x="4770" y="336"/>
                  </a:lnTo>
                  <a:lnTo>
                    <a:pt x="4776" y="338"/>
                  </a:lnTo>
                  <a:lnTo>
                    <a:pt x="4782" y="336"/>
                  </a:lnTo>
                  <a:lnTo>
                    <a:pt x="4788" y="338"/>
                  </a:lnTo>
                  <a:lnTo>
                    <a:pt x="4790" y="338"/>
                  </a:lnTo>
                  <a:lnTo>
                    <a:pt x="4788" y="336"/>
                  </a:lnTo>
                  <a:lnTo>
                    <a:pt x="4780" y="332"/>
                  </a:lnTo>
                  <a:lnTo>
                    <a:pt x="4776" y="330"/>
                  </a:lnTo>
                  <a:lnTo>
                    <a:pt x="4768" y="328"/>
                  </a:lnTo>
                  <a:lnTo>
                    <a:pt x="4762" y="324"/>
                  </a:lnTo>
                  <a:lnTo>
                    <a:pt x="4756" y="322"/>
                  </a:lnTo>
                  <a:lnTo>
                    <a:pt x="4754" y="316"/>
                  </a:lnTo>
                  <a:lnTo>
                    <a:pt x="4746" y="314"/>
                  </a:lnTo>
                  <a:lnTo>
                    <a:pt x="4742" y="312"/>
                  </a:lnTo>
                  <a:lnTo>
                    <a:pt x="4734" y="312"/>
                  </a:lnTo>
                  <a:lnTo>
                    <a:pt x="4728" y="310"/>
                  </a:lnTo>
                  <a:lnTo>
                    <a:pt x="4734" y="310"/>
                  </a:lnTo>
                  <a:lnTo>
                    <a:pt x="4740" y="310"/>
                  </a:lnTo>
                  <a:lnTo>
                    <a:pt x="4734" y="304"/>
                  </a:lnTo>
                  <a:lnTo>
                    <a:pt x="4734" y="298"/>
                  </a:lnTo>
                  <a:lnTo>
                    <a:pt x="4740" y="298"/>
                  </a:lnTo>
                  <a:lnTo>
                    <a:pt x="4742" y="300"/>
                  </a:lnTo>
                  <a:lnTo>
                    <a:pt x="4748" y="296"/>
                  </a:lnTo>
                  <a:lnTo>
                    <a:pt x="4742" y="296"/>
                  </a:lnTo>
                  <a:lnTo>
                    <a:pt x="4734" y="294"/>
                  </a:lnTo>
                  <a:lnTo>
                    <a:pt x="4732" y="294"/>
                  </a:lnTo>
                  <a:lnTo>
                    <a:pt x="4726" y="294"/>
                  </a:lnTo>
                  <a:lnTo>
                    <a:pt x="4720" y="298"/>
                  </a:lnTo>
                  <a:lnTo>
                    <a:pt x="4714" y="298"/>
                  </a:lnTo>
                  <a:lnTo>
                    <a:pt x="4708" y="298"/>
                  </a:lnTo>
                  <a:lnTo>
                    <a:pt x="4714" y="300"/>
                  </a:lnTo>
                  <a:lnTo>
                    <a:pt x="4708" y="298"/>
                  </a:lnTo>
                  <a:lnTo>
                    <a:pt x="4700" y="296"/>
                  </a:lnTo>
                  <a:lnTo>
                    <a:pt x="4694" y="292"/>
                  </a:lnTo>
                  <a:lnTo>
                    <a:pt x="4694" y="286"/>
                  </a:lnTo>
                  <a:lnTo>
                    <a:pt x="4698" y="280"/>
                  </a:lnTo>
                  <a:lnTo>
                    <a:pt x="4704" y="280"/>
                  </a:lnTo>
                  <a:lnTo>
                    <a:pt x="4710" y="280"/>
                  </a:lnTo>
                  <a:lnTo>
                    <a:pt x="4718" y="280"/>
                  </a:lnTo>
                  <a:lnTo>
                    <a:pt x="4720" y="280"/>
                  </a:lnTo>
                  <a:lnTo>
                    <a:pt x="4726" y="280"/>
                  </a:lnTo>
                  <a:lnTo>
                    <a:pt x="4732" y="280"/>
                  </a:lnTo>
                  <a:lnTo>
                    <a:pt x="4738" y="280"/>
                  </a:lnTo>
                  <a:lnTo>
                    <a:pt x="4746" y="278"/>
                  </a:lnTo>
                  <a:lnTo>
                    <a:pt x="4752" y="276"/>
                  </a:lnTo>
                  <a:lnTo>
                    <a:pt x="4758" y="274"/>
                  </a:lnTo>
                  <a:lnTo>
                    <a:pt x="4752" y="274"/>
                  </a:lnTo>
                  <a:lnTo>
                    <a:pt x="4746" y="268"/>
                  </a:lnTo>
                  <a:lnTo>
                    <a:pt x="4740" y="266"/>
                  </a:lnTo>
                  <a:lnTo>
                    <a:pt x="4734" y="266"/>
                  </a:lnTo>
                  <a:lnTo>
                    <a:pt x="4728" y="264"/>
                  </a:lnTo>
                  <a:lnTo>
                    <a:pt x="4720" y="262"/>
                  </a:lnTo>
                  <a:lnTo>
                    <a:pt x="4714" y="258"/>
                  </a:lnTo>
                  <a:lnTo>
                    <a:pt x="4720" y="258"/>
                  </a:lnTo>
                  <a:lnTo>
                    <a:pt x="4728" y="258"/>
                  </a:lnTo>
                  <a:lnTo>
                    <a:pt x="4734" y="258"/>
                  </a:lnTo>
                  <a:lnTo>
                    <a:pt x="4740" y="260"/>
                  </a:lnTo>
                  <a:lnTo>
                    <a:pt x="4746" y="260"/>
                  </a:lnTo>
                  <a:lnTo>
                    <a:pt x="4752" y="262"/>
                  </a:lnTo>
                  <a:lnTo>
                    <a:pt x="4758" y="262"/>
                  </a:lnTo>
                  <a:lnTo>
                    <a:pt x="4764" y="264"/>
                  </a:lnTo>
                  <a:lnTo>
                    <a:pt x="4770" y="266"/>
                  </a:lnTo>
                  <a:lnTo>
                    <a:pt x="4776" y="266"/>
                  </a:lnTo>
                  <a:lnTo>
                    <a:pt x="4784" y="266"/>
                  </a:lnTo>
                  <a:lnTo>
                    <a:pt x="4790" y="266"/>
                  </a:lnTo>
                  <a:lnTo>
                    <a:pt x="4796" y="268"/>
                  </a:lnTo>
                  <a:lnTo>
                    <a:pt x="4802" y="268"/>
                  </a:lnTo>
                  <a:lnTo>
                    <a:pt x="4810" y="268"/>
                  </a:lnTo>
                  <a:lnTo>
                    <a:pt x="4816" y="268"/>
                  </a:lnTo>
                  <a:lnTo>
                    <a:pt x="4822" y="268"/>
                  </a:lnTo>
                  <a:lnTo>
                    <a:pt x="4828" y="268"/>
                  </a:lnTo>
                  <a:lnTo>
                    <a:pt x="4834" y="268"/>
                  </a:lnTo>
                  <a:lnTo>
                    <a:pt x="4840" y="268"/>
                  </a:lnTo>
                  <a:lnTo>
                    <a:pt x="4846" y="268"/>
                  </a:lnTo>
                  <a:lnTo>
                    <a:pt x="4852" y="268"/>
                  </a:lnTo>
                  <a:lnTo>
                    <a:pt x="4858" y="270"/>
                  </a:lnTo>
                  <a:lnTo>
                    <a:pt x="4864" y="270"/>
                  </a:lnTo>
                  <a:lnTo>
                    <a:pt x="4872" y="270"/>
                  </a:lnTo>
                  <a:lnTo>
                    <a:pt x="4878" y="270"/>
                  </a:lnTo>
                  <a:lnTo>
                    <a:pt x="4884" y="272"/>
                  </a:lnTo>
                  <a:lnTo>
                    <a:pt x="4890" y="272"/>
                  </a:lnTo>
                  <a:lnTo>
                    <a:pt x="4896" y="272"/>
                  </a:lnTo>
                  <a:lnTo>
                    <a:pt x="4902" y="274"/>
                  </a:lnTo>
                  <a:lnTo>
                    <a:pt x="4908" y="274"/>
                  </a:lnTo>
                  <a:lnTo>
                    <a:pt x="4916" y="274"/>
                  </a:lnTo>
                  <a:lnTo>
                    <a:pt x="4922" y="274"/>
                  </a:lnTo>
                  <a:lnTo>
                    <a:pt x="4924" y="274"/>
                  </a:lnTo>
                  <a:lnTo>
                    <a:pt x="4930" y="276"/>
                  </a:lnTo>
                  <a:lnTo>
                    <a:pt x="4936" y="276"/>
                  </a:lnTo>
                  <a:lnTo>
                    <a:pt x="4942" y="276"/>
                  </a:lnTo>
                  <a:lnTo>
                    <a:pt x="4948" y="278"/>
                  </a:lnTo>
                  <a:lnTo>
                    <a:pt x="4954" y="278"/>
                  </a:lnTo>
                  <a:lnTo>
                    <a:pt x="4962" y="280"/>
                  </a:lnTo>
                  <a:lnTo>
                    <a:pt x="4968" y="280"/>
                  </a:lnTo>
                  <a:lnTo>
                    <a:pt x="4974" y="280"/>
                  </a:lnTo>
                  <a:lnTo>
                    <a:pt x="4980" y="282"/>
                  </a:lnTo>
                  <a:lnTo>
                    <a:pt x="4986" y="282"/>
                  </a:lnTo>
                  <a:lnTo>
                    <a:pt x="4992" y="284"/>
                  </a:lnTo>
                  <a:lnTo>
                    <a:pt x="5000" y="284"/>
                  </a:lnTo>
                  <a:lnTo>
                    <a:pt x="5006" y="286"/>
                  </a:lnTo>
                  <a:lnTo>
                    <a:pt x="5012" y="286"/>
                  </a:lnTo>
                  <a:lnTo>
                    <a:pt x="5018" y="288"/>
                  </a:lnTo>
                  <a:lnTo>
                    <a:pt x="5012" y="288"/>
                  </a:lnTo>
                  <a:lnTo>
                    <a:pt x="5006" y="288"/>
                  </a:lnTo>
                  <a:lnTo>
                    <a:pt x="5000" y="288"/>
                  </a:lnTo>
                  <a:lnTo>
                    <a:pt x="4994" y="288"/>
                  </a:lnTo>
                  <a:lnTo>
                    <a:pt x="4988" y="288"/>
                  </a:lnTo>
                  <a:lnTo>
                    <a:pt x="4982" y="288"/>
                  </a:lnTo>
                  <a:lnTo>
                    <a:pt x="4976" y="288"/>
                  </a:lnTo>
                  <a:lnTo>
                    <a:pt x="4970" y="288"/>
                  </a:lnTo>
                  <a:lnTo>
                    <a:pt x="4964" y="288"/>
                  </a:lnTo>
                  <a:lnTo>
                    <a:pt x="4956" y="288"/>
                  </a:lnTo>
                  <a:lnTo>
                    <a:pt x="4950" y="286"/>
                  </a:lnTo>
                  <a:lnTo>
                    <a:pt x="4944" y="284"/>
                  </a:lnTo>
                  <a:lnTo>
                    <a:pt x="4938" y="284"/>
                  </a:lnTo>
                  <a:lnTo>
                    <a:pt x="4932" y="284"/>
                  </a:lnTo>
                  <a:lnTo>
                    <a:pt x="4926" y="286"/>
                  </a:lnTo>
                  <a:lnTo>
                    <a:pt x="4926" y="288"/>
                  </a:lnTo>
                  <a:lnTo>
                    <a:pt x="4926" y="294"/>
                  </a:lnTo>
                  <a:lnTo>
                    <a:pt x="4918" y="292"/>
                  </a:lnTo>
                  <a:lnTo>
                    <a:pt x="4912" y="292"/>
                  </a:lnTo>
                  <a:lnTo>
                    <a:pt x="4912" y="294"/>
                  </a:lnTo>
                  <a:lnTo>
                    <a:pt x="4914" y="294"/>
                  </a:lnTo>
                  <a:lnTo>
                    <a:pt x="4920" y="296"/>
                  </a:lnTo>
                  <a:lnTo>
                    <a:pt x="4926" y="298"/>
                  </a:lnTo>
                  <a:lnTo>
                    <a:pt x="4932" y="298"/>
                  </a:lnTo>
                  <a:lnTo>
                    <a:pt x="4940" y="294"/>
                  </a:lnTo>
                  <a:lnTo>
                    <a:pt x="4946" y="294"/>
                  </a:lnTo>
                  <a:lnTo>
                    <a:pt x="4952" y="292"/>
                  </a:lnTo>
                  <a:lnTo>
                    <a:pt x="4958" y="292"/>
                  </a:lnTo>
                  <a:lnTo>
                    <a:pt x="4964" y="292"/>
                  </a:lnTo>
                  <a:lnTo>
                    <a:pt x="4970" y="292"/>
                  </a:lnTo>
                  <a:lnTo>
                    <a:pt x="4976" y="292"/>
                  </a:lnTo>
                  <a:lnTo>
                    <a:pt x="4982" y="292"/>
                  </a:lnTo>
                  <a:lnTo>
                    <a:pt x="4988" y="290"/>
                  </a:lnTo>
                  <a:lnTo>
                    <a:pt x="4994" y="290"/>
                  </a:lnTo>
                  <a:lnTo>
                    <a:pt x="5000" y="290"/>
                  </a:lnTo>
                  <a:lnTo>
                    <a:pt x="5006" y="290"/>
                  </a:lnTo>
                  <a:lnTo>
                    <a:pt x="5012" y="290"/>
                  </a:lnTo>
                  <a:lnTo>
                    <a:pt x="5020" y="290"/>
                  </a:lnTo>
                  <a:lnTo>
                    <a:pt x="5026" y="296"/>
                  </a:lnTo>
                  <a:lnTo>
                    <a:pt x="5024" y="302"/>
                  </a:lnTo>
                  <a:lnTo>
                    <a:pt x="5024" y="308"/>
                  </a:lnTo>
                  <a:lnTo>
                    <a:pt x="5022" y="310"/>
                  </a:lnTo>
                  <a:lnTo>
                    <a:pt x="5020" y="316"/>
                  </a:lnTo>
                  <a:lnTo>
                    <a:pt x="5014" y="312"/>
                  </a:lnTo>
                  <a:lnTo>
                    <a:pt x="5012" y="304"/>
                  </a:lnTo>
                  <a:lnTo>
                    <a:pt x="5010" y="300"/>
                  </a:lnTo>
                  <a:lnTo>
                    <a:pt x="5004" y="298"/>
                  </a:lnTo>
                  <a:lnTo>
                    <a:pt x="5002" y="304"/>
                  </a:lnTo>
                  <a:lnTo>
                    <a:pt x="4996" y="300"/>
                  </a:lnTo>
                  <a:lnTo>
                    <a:pt x="4990" y="298"/>
                  </a:lnTo>
                  <a:lnTo>
                    <a:pt x="4984" y="294"/>
                  </a:lnTo>
                  <a:lnTo>
                    <a:pt x="4978" y="294"/>
                  </a:lnTo>
                  <a:lnTo>
                    <a:pt x="4984" y="296"/>
                  </a:lnTo>
                  <a:lnTo>
                    <a:pt x="4988" y="304"/>
                  </a:lnTo>
                  <a:lnTo>
                    <a:pt x="4994" y="306"/>
                  </a:lnTo>
                  <a:lnTo>
                    <a:pt x="5000" y="306"/>
                  </a:lnTo>
                  <a:lnTo>
                    <a:pt x="5004" y="312"/>
                  </a:lnTo>
                  <a:lnTo>
                    <a:pt x="4998" y="312"/>
                  </a:lnTo>
                  <a:lnTo>
                    <a:pt x="4992" y="314"/>
                  </a:lnTo>
                  <a:lnTo>
                    <a:pt x="4986" y="314"/>
                  </a:lnTo>
                  <a:lnTo>
                    <a:pt x="4980" y="312"/>
                  </a:lnTo>
                  <a:lnTo>
                    <a:pt x="4974" y="310"/>
                  </a:lnTo>
                  <a:lnTo>
                    <a:pt x="4968" y="310"/>
                  </a:lnTo>
                  <a:lnTo>
                    <a:pt x="4974" y="312"/>
                  </a:lnTo>
                  <a:lnTo>
                    <a:pt x="4980" y="314"/>
                  </a:lnTo>
                  <a:lnTo>
                    <a:pt x="4984" y="320"/>
                  </a:lnTo>
                  <a:lnTo>
                    <a:pt x="4980" y="320"/>
                  </a:lnTo>
                  <a:lnTo>
                    <a:pt x="4984" y="324"/>
                  </a:lnTo>
                  <a:lnTo>
                    <a:pt x="4990" y="326"/>
                  </a:lnTo>
                  <a:lnTo>
                    <a:pt x="4996" y="326"/>
                  </a:lnTo>
                  <a:lnTo>
                    <a:pt x="5004" y="326"/>
                  </a:lnTo>
                  <a:lnTo>
                    <a:pt x="5010" y="322"/>
                  </a:lnTo>
                  <a:lnTo>
                    <a:pt x="5016" y="322"/>
                  </a:lnTo>
                  <a:lnTo>
                    <a:pt x="5022" y="320"/>
                  </a:lnTo>
                  <a:lnTo>
                    <a:pt x="5028" y="320"/>
                  </a:lnTo>
                  <a:lnTo>
                    <a:pt x="5032" y="312"/>
                  </a:lnTo>
                  <a:lnTo>
                    <a:pt x="5032" y="308"/>
                  </a:lnTo>
                  <a:lnTo>
                    <a:pt x="5030" y="302"/>
                  </a:lnTo>
                  <a:lnTo>
                    <a:pt x="5032" y="296"/>
                  </a:lnTo>
                  <a:lnTo>
                    <a:pt x="5034" y="290"/>
                  </a:lnTo>
                  <a:lnTo>
                    <a:pt x="5038" y="290"/>
                  </a:lnTo>
                  <a:lnTo>
                    <a:pt x="5046" y="288"/>
                  </a:lnTo>
                  <a:lnTo>
                    <a:pt x="5052" y="288"/>
                  </a:lnTo>
                  <a:lnTo>
                    <a:pt x="5058" y="288"/>
                  </a:lnTo>
                  <a:lnTo>
                    <a:pt x="5064" y="288"/>
                  </a:lnTo>
                  <a:lnTo>
                    <a:pt x="5070" y="288"/>
                  </a:lnTo>
                  <a:lnTo>
                    <a:pt x="5076" y="290"/>
                  </a:lnTo>
                  <a:lnTo>
                    <a:pt x="5082" y="290"/>
                  </a:lnTo>
                  <a:lnTo>
                    <a:pt x="5088" y="290"/>
                  </a:lnTo>
                  <a:lnTo>
                    <a:pt x="5094" y="290"/>
                  </a:lnTo>
                  <a:lnTo>
                    <a:pt x="5102" y="292"/>
                  </a:lnTo>
                  <a:lnTo>
                    <a:pt x="5106" y="292"/>
                  </a:lnTo>
                  <a:lnTo>
                    <a:pt x="5114" y="294"/>
                  </a:lnTo>
                  <a:lnTo>
                    <a:pt x="5120" y="294"/>
                  </a:lnTo>
                  <a:lnTo>
                    <a:pt x="5126" y="294"/>
                  </a:lnTo>
                  <a:lnTo>
                    <a:pt x="5132" y="296"/>
                  </a:lnTo>
                  <a:lnTo>
                    <a:pt x="5138" y="296"/>
                  </a:lnTo>
                  <a:lnTo>
                    <a:pt x="5144" y="298"/>
                  </a:lnTo>
                  <a:lnTo>
                    <a:pt x="5150" y="300"/>
                  </a:lnTo>
                  <a:lnTo>
                    <a:pt x="5158" y="300"/>
                  </a:lnTo>
                  <a:lnTo>
                    <a:pt x="5164" y="302"/>
                  </a:lnTo>
                  <a:lnTo>
                    <a:pt x="5170" y="304"/>
                  </a:lnTo>
                  <a:lnTo>
                    <a:pt x="5176" y="306"/>
                  </a:lnTo>
                  <a:lnTo>
                    <a:pt x="5184" y="310"/>
                  </a:lnTo>
                  <a:lnTo>
                    <a:pt x="5190" y="312"/>
                  </a:lnTo>
                  <a:lnTo>
                    <a:pt x="5190" y="318"/>
                  </a:lnTo>
                  <a:lnTo>
                    <a:pt x="5184" y="320"/>
                  </a:lnTo>
                  <a:lnTo>
                    <a:pt x="5178" y="318"/>
                  </a:lnTo>
                  <a:lnTo>
                    <a:pt x="5172" y="316"/>
                  </a:lnTo>
                  <a:lnTo>
                    <a:pt x="5168" y="316"/>
                  </a:lnTo>
                  <a:lnTo>
                    <a:pt x="5162" y="314"/>
                  </a:lnTo>
                  <a:lnTo>
                    <a:pt x="5162" y="320"/>
                  </a:lnTo>
                  <a:lnTo>
                    <a:pt x="5156" y="320"/>
                  </a:lnTo>
                  <a:lnTo>
                    <a:pt x="5150" y="320"/>
                  </a:lnTo>
                  <a:lnTo>
                    <a:pt x="5156" y="326"/>
                  </a:lnTo>
                  <a:lnTo>
                    <a:pt x="5162" y="326"/>
                  </a:lnTo>
                  <a:lnTo>
                    <a:pt x="5168" y="326"/>
                  </a:lnTo>
                  <a:lnTo>
                    <a:pt x="5174" y="326"/>
                  </a:lnTo>
                  <a:lnTo>
                    <a:pt x="5180" y="326"/>
                  </a:lnTo>
                  <a:lnTo>
                    <a:pt x="5186" y="326"/>
                  </a:lnTo>
                  <a:lnTo>
                    <a:pt x="5192" y="328"/>
                  </a:lnTo>
                  <a:lnTo>
                    <a:pt x="5200" y="326"/>
                  </a:lnTo>
                  <a:lnTo>
                    <a:pt x="5204" y="326"/>
                  </a:lnTo>
                  <a:lnTo>
                    <a:pt x="5212" y="332"/>
                  </a:lnTo>
                  <a:lnTo>
                    <a:pt x="5216" y="338"/>
                  </a:lnTo>
                  <a:lnTo>
                    <a:pt x="5220" y="336"/>
                  </a:lnTo>
                  <a:lnTo>
                    <a:pt x="5228" y="334"/>
                  </a:lnTo>
                  <a:lnTo>
                    <a:pt x="5234" y="336"/>
                  </a:lnTo>
                  <a:lnTo>
                    <a:pt x="5238" y="336"/>
                  </a:lnTo>
                  <a:lnTo>
                    <a:pt x="5246" y="334"/>
                  </a:lnTo>
                  <a:lnTo>
                    <a:pt x="5252" y="338"/>
                  </a:lnTo>
                  <a:lnTo>
                    <a:pt x="5252" y="344"/>
                  </a:lnTo>
                  <a:lnTo>
                    <a:pt x="5246" y="348"/>
                  </a:lnTo>
                  <a:lnTo>
                    <a:pt x="5242" y="352"/>
                  </a:lnTo>
                  <a:lnTo>
                    <a:pt x="5248" y="348"/>
                  </a:lnTo>
                  <a:lnTo>
                    <a:pt x="5254" y="346"/>
                  </a:lnTo>
                  <a:lnTo>
                    <a:pt x="5260" y="346"/>
                  </a:lnTo>
                  <a:lnTo>
                    <a:pt x="5266" y="342"/>
                  </a:lnTo>
                  <a:lnTo>
                    <a:pt x="5272" y="342"/>
                  </a:lnTo>
                  <a:lnTo>
                    <a:pt x="5280" y="344"/>
                  </a:lnTo>
                  <a:lnTo>
                    <a:pt x="5286" y="344"/>
                  </a:lnTo>
                  <a:lnTo>
                    <a:pt x="5292" y="344"/>
                  </a:lnTo>
                  <a:lnTo>
                    <a:pt x="5298" y="346"/>
                  </a:lnTo>
                  <a:lnTo>
                    <a:pt x="5304" y="346"/>
                  </a:lnTo>
                  <a:lnTo>
                    <a:pt x="5312" y="350"/>
                  </a:lnTo>
                  <a:lnTo>
                    <a:pt x="5318" y="352"/>
                  </a:lnTo>
                  <a:lnTo>
                    <a:pt x="5324" y="354"/>
                  </a:lnTo>
                  <a:lnTo>
                    <a:pt x="5330" y="356"/>
                  </a:lnTo>
                  <a:lnTo>
                    <a:pt x="5336" y="360"/>
                  </a:lnTo>
                  <a:lnTo>
                    <a:pt x="5342" y="360"/>
                  </a:lnTo>
                  <a:lnTo>
                    <a:pt x="5348" y="364"/>
                  </a:lnTo>
                  <a:lnTo>
                    <a:pt x="5342" y="366"/>
                  </a:lnTo>
                  <a:lnTo>
                    <a:pt x="5336" y="366"/>
                  </a:lnTo>
                  <a:lnTo>
                    <a:pt x="5330" y="364"/>
                  </a:lnTo>
                  <a:lnTo>
                    <a:pt x="5334" y="366"/>
                  </a:lnTo>
                  <a:lnTo>
                    <a:pt x="5340" y="366"/>
                  </a:lnTo>
                  <a:lnTo>
                    <a:pt x="5346" y="368"/>
                  </a:lnTo>
                  <a:lnTo>
                    <a:pt x="5352" y="368"/>
                  </a:lnTo>
                  <a:lnTo>
                    <a:pt x="5358" y="370"/>
                  </a:lnTo>
                  <a:lnTo>
                    <a:pt x="5364" y="372"/>
                  </a:lnTo>
                  <a:lnTo>
                    <a:pt x="5372" y="372"/>
                  </a:lnTo>
                  <a:lnTo>
                    <a:pt x="5378" y="372"/>
                  </a:lnTo>
                  <a:lnTo>
                    <a:pt x="5384" y="374"/>
                  </a:lnTo>
                  <a:lnTo>
                    <a:pt x="5390" y="372"/>
                  </a:lnTo>
                  <a:lnTo>
                    <a:pt x="5396" y="372"/>
                  </a:lnTo>
                  <a:lnTo>
                    <a:pt x="5402" y="372"/>
                  </a:lnTo>
                  <a:lnTo>
                    <a:pt x="5408" y="372"/>
                  </a:lnTo>
                  <a:lnTo>
                    <a:pt x="5414" y="372"/>
                  </a:lnTo>
                  <a:lnTo>
                    <a:pt x="5420" y="372"/>
                  </a:lnTo>
                  <a:lnTo>
                    <a:pt x="5428" y="372"/>
                  </a:lnTo>
                  <a:lnTo>
                    <a:pt x="5434" y="370"/>
                  </a:lnTo>
                  <a:lnTo>
                    <a:pt x="5440" y="368"/>
                  </a:lnTo>
                  <a:lnTo>
                    <a:pt x="5446" y="366"/>
                  </a:lnTo>
                  <a:lnTo>
                    <a:pt x="5452" y="366"/>
                  </a:lnTo>
                  <a:lnTo>
                    <a:pt x="5458" y="364"/>
                  </a:lnTo>
                  <a:lnTo>
                    <a:pt x="5464" y="364"/>
                  </a:lnTo>
                  <a:lnTo>
                    <a:pt x="5470" y="362"/>
                  </a:lnTo>
                  <a:lnTo>
                    <a:pt x="5476" y="362"/>
                  </a:lnTo>
                  <a:lnTo>
                    <a:pt x="5484" y="362"/>
                  </a:lnTo>
                  <a:lnTo>
                    <a:pt x="5490" y="360"/>
                  </a:lnTo>
                  <a:lnTo>
                    <a:pt x="5496" y="360"/>
                  </a:lnTo>
                  <a:lnTo>
                    <a:pt x="5502" y="360"/>
                  </a:lnTo>
                  <a:lnTo>
                    <a:pt x="5508" y="358"/>
                  </a:lnTo>
                  <a:lnTo>
                    <a:pt x="5514" y="358"/>
                  </a:lnTo>
                  <a:lnTo>
                    <a:pt x="5520" y="358"/>
                  </a:lnTo>
                  <a:lnTo>
                    <a:pt x="5526" y="360"/>
                  </a:lnTo>
                  <a:lnTo>
                    <a:pt x="5532" y="360"/>
                  </a:lnTo>
                  <a:lnTo>
                    <a:pt x="5538" y="360"/>
                  </a:lnTo>
                  <a:lnTo>
                    <a:pt x="5544" y="358"/>
                  </a:lnTo>
                  <a:lnTo>
                    <a:pt x="5550" y="360"/>
                  </a:lnTo>
                  <a:lnTo>
                    <a:pt x="5556" y="360"/>
                  </a:lnTo>
                  <a:lnTo>
                    <a:pt x="5562" y="360"/>
                  </a:lnTo>
                  <a:lnTo>
                    <a:pt x="5568" y="360"/>
                  </a:lnTo>
                  <a:lnTo>
                    <a:pt x="5576" y="360"/>
                  </a:lnTo>
                  <a:lnTo>
                    <a:pt x="5582" y="360"/>
                  </a:lnTo>
                  <a:lnTo>
                    <a:pt x="5588" y="360"/>
                  </a:lnTo>
                  <a:lnTo>
                    <a:pt x="5594" y="362"/>
                  </a:lnTo>
                  <a:lnTo>
                    <a:pt x="5600" y="362"/>
                  </a:lnTo>
                  <a:lnTo>
                    <a:pt x="5606" y="362"/>
                  </a:lnTo>
                  <a:lnTo>
                    <a:pt x="5612" y="364"/>
                  </a:lnTo>
                  <a:lnTo>
                    <a:pt x="5618" y="364"/>
                  </a:lnTo>
                  <a:lnTo>
                    <a:pt x="5622" y="364"/>
                  </a:lnTo>
                  <a:lnTo>
                    <a:pt x="5630" y="366"/>
                  </a:lnTo>
                  <a:lnTo>
                    <a:pt x="5636" y="368"/>
                  </a:lnTo>
                  <a:lnTo>
                    <a:pt x="5642" y="368"/>
                  </a:lnTo>
                  <a:lnTo>
                    <a:pt x="5648" y="370"/>
                  </a:lnTo>
                  <a:lnTo>
                    <a:pt x="5654" y="370"/>
                  </a:lnTo>
                  <a:lnTo>
                    <a:pt x="5660" y="372"/>
                  </a:lnTo>
                  <a:lnTo>
                    <a:pt x="5666" y="372"/>
                  </a:lnTo>
                  <a:lnTo>
                    <a:pt x="5672" y="374"/>
                  </a:lnTo>
                  <a:lnTo>
                    <a:pt x="5678" y="376"/>
                  </a:lnTo>
                  <a:lnTo>
                    <a:pt x="5684" y="378"/>
                  </a:lnTo>
                  <a:lnTo>
                    <a:pt x="5690" y="378"/>
                  </a:lnTo>
                  <a:lnTo>
                    <a:pt x="5698" y="380"/>
                  </a:lnTo>
                  <a:lnTo>
                    <a:pt x="5704" y="382"/>
                  </a:lnTo>
                  <a:lnTo>
                    <a:pt x="5710" y="384"/>
                  </a:lnTo>
                  <a:lnTo>
                    <a:pt x="5718" y="388"/>
                  </a:lnTo>
                  <a:lnTo>
                    <a:pt x="5724" y="390"/>
                  </a:lnTo>
                  <a:lnTo>
                    <a:pt x="5730" y="394"/>
                  </a:lnTo>
                  <a:lnTo>
                    <a:pt x="5736" y="396"/>
                  </a:lnTo>
                  <a:lnTo>
                    <a:pt x="5738" y="398"/>
                  </a:lnTo>
                  <a:lnTo>
                    <a:pt x="5746" y="400"/>
                  </a:lnTo>
                  <a:lnTo>
                    <a:pt x="5752" y="404"/>
                  </a:lnTo>
                  <a:lnTo>
                    <a:pt x="5756" y="410"/>
                  </a:lnTo>
                  <a:lnTo>
                    <a:pt x="5760" y="414"/>
                  </a:lnTo>
                  <a:lnTo>
                    <a:pt x="5754" y="414"/>
                  </a:lnTo>
                  <a:lnTo>
                    <a:pt x="5748" y="414"/>
                  </a:lnTo>
                  <a:lnTo>
                    <a:pt x="5754" y="414"/>
                  </a:lnTo>
                  <a:lnTo>
                    <a:pt x="5760" y="416"/>
                  </a:lnTo>
                  <a:lnTo>
                    <a:pt x="5766" y="420"/>
                  </a:lnTo>
                  <a:lnTo>
                    <a:pt x="5766" y="422"/>
                  </a:lnTo>
                  <a:lnTo>
                    <a:pt x="5766" y="428"/>
                  </a:lnTo>
                  <a:lnTo>
                    <a:pt x="5772" y="432"/>
                  </a:lnTo>
                  <a:lnTo>
                    <a:pt x="5778" y="432"/>
                  </a:lnTo>
                  <a:lnTo>
                    <a:pt x="5784" y="434"/>
                  </a:lnTo>
                  <a:lnTo>
                    <a:pt x="5790" y="436"/>
                  </a:lnTo>
                  <a:lnTo>
                    <a:pt x="5794" y="436"/>
                  </a:lnTo>
                  <a:lnTo>
                    <a:pt x="5800" y="436"/>
                  </a:lnTo>
                  <a:lnTo>
                    <a:pt x="5806" y="438"/>
                  </a:lnTo>
                  <a:lnTo>
                    <a:pt x="5812" y="442"/>
                  </a:lnTo>
                  <a:lnTo>
                    <a:pt x="5818" y="440"/>
                  </a:lnTo>
                  <a:lnTo>
                    <a:pt x="5824" y="440"/>
                  </a:lnTo>
                  <a:lnTo>
                    <a:pt x="5830" y="442"/>
                  </a:lnTo>
                  <a:lnTo>
                    <a:pt x="5836" y="442"/>
                  </a:lnTo>
                  <a:lnTo>
                    <a:pt x="5842" y="444"/>
                  </a:lnTo>
                  <a:lnTo>
                    <a:pt x="5848" y="446"/>
                  </a:lnTo>
                  <a:lnTo>
                    <a:pt x="5854" y="448"/>
                  </a:lnTo>
                  <a:lnTo>
                    <a:pt x="5858" y="448"/>
                  </a:lnTo>
                  <a:lnTo>
                    <a:pt x="5862" y="444"/>
                  </a:lnTo>
                  <a:lnTo>
                    <a:pt x="5868" y="442"/>
                  </a:lnTo>
                  <a:lnTo>
                    <a:pt x="5872" y="442"/>
                  </a:lnTo>
                  <a:lnTo>
                    <a:pt x="5880" y="440"/>
                  </a:lnTo>
                  <a:lnTo>
                    <a:pt x="5886" y="444"/>
                  </a:lnTo>
                  <a:lnTo>
                    <a:pt x="5894" y="442"/>
                  </a:lnTo>
                  <a:lnTo>
                    <a:pt x="5896" y="442"/>
                  </a:lnTo>
                  <a:lnTo>
                    <a:pt x="5898" y="440"/>
                  </a:lnTo>
                  <a:lnTo>
                    <a:pt x="5904" y="440"/>
                  </a:lnTo>
                  <a:lnTo>
                    <a:pt x="5908" y="440"/>
                  </a:lnTo>
                  <a:lnTo>
                    <a:pt x="5914" y="440"/>
                  </a:lnTo>
                  <a:lnTo>
                    <a:pt x="5920" y="442"/>
                  </a:lnTo>
                  <a:lnTo>
                    <a:pt x="5926" y="440"/>
                  </a:lnTo>
                  <a:lnTo>
                    <a:pt x="5932" y="438"/>
                  </a:lnTo>
                  <a:lnTo>
                    <a:pt x="5938" y="438"/>
                  </a:lnTo>
                  <a:lnTo>
                    <a:pt x="5944" y="438"/>
                  </a:lnTo>
                  <a:lnTo>
                    <a:pt x="5950" y="440"/>
                  </a:lnTo>
                  <a:lnTo>
                    <a:pt x="5958" y="440"/>
                  </a:lnTo>
                  <a:lnTo>
                    <a:pt x="5964" y="436"/>
                  </a:lnTo>
                  <a:lnTo>
                    <a:pt x="5970" y="436"/>
                  </a:lnTo>
                  <a:lnTo>
                    <a:pt x="5976" y="438"/>
                  </a:lnTo>
                  <a:lnTo>
                    <a:pt x="5982" y="440"/>
                  </a:lnTo>
                  <a:lnTo>
                    <a:pt x="5988" y="442"/>
                  </a:lnTo>
                  <a:lnTo>
                    <a:pt x="5994" y="444"/>
                  </a:lnTo>
                  <a:lnTo>
                    <a:pt x="6000" y="444"/>
                  </a:lnTo>
                  <a:lnTo>
                    <a:pt x="6008" y="444"/>
                  </a:lnTo>
                  <a:lnTo>
                    <a:pt x="6014" y="446"/>
                  </a:lnTo>
                  <a:lnTo>
                    <a:pt x="6020" y="446"/>
                  </a:lnTo>
                  <a:lnTo>
                    <a:pt x="6026" y="444"/>
                  </a:lnTo>
                  <a:lnTo>
                    <a:pt x="6032" y="444"/>
                  </a:lnTo>
                  <a:lnTo>
                    <a:pt x="6038" y="444"/>
                  </a:lnTo>
                  <a:lnTo>
                    <a:pt x="6040" y="446"/>
                  </a:lnTo>
                  <a:lnTo>
                    <a:pt x="6046" y="446"/>
                  </a:lnTo>
                  <a:lnTo>
                    <a:pt x="6052" y="444"/>
                  </a:lnTo>
                  <a:lnTo>
                    <a:pt x="6058" y="446"/>
                  </a:lnTo>
                  <a:lnTo>
                    <a:pt x="6066" y="446"/>
                  </a:lnTo>
                  <a:lnTo>
                    <a:pt x="6072" y="448"/>
                  </a:lnTo>
                  <a:lnTo>
                    <a:pt x="6078" y="450"/>
                  </a:lnTo>
                  <a:lnTo>
                    <a:pt x="6084" y="450"/>
                  </a:lnTo>
                  <a:lnTo>
                    <a:pt x="6090" y="450"/>
                  </a:lnTo>
                  <a:lnTo>
                    <a:pt x="6096" y="448"/>
                  </a:lnTo>
                  <a:lnTo>
                    <a:pt x="6102" y="448"/>
                  </a:lnTo>
                  <a:lnTo>
                    <a:pt x="6108" y="450"/>
                  </a:lnTo>
                  <a:lnTo>
                    <a:pt x="6114" y="450"/>
                  </a:lnTo>
                  <a:lnTo>
                    <a:pt x="6120" y="448"/>
                  </a:lnTo>
                  <a:lnTo>
                    <a:pt x="6124" y="442"/>
                  </a:lnTo>
                  <a:lnTo>
                    <a:pt x="6126" y="436"/>
                  </a:lnTo>
                  <a:lnTo>
                    <a:pt x="6132" y="434"/>
                  </a:lnTo>
                  <a:lnTo>
                    <a:pt x="6140" y="436"/>
                  </a:lnTo>
                  <a:lnTo>
                    <a:pt x="6144" y="438"/>
                  </a:lnTo>
                  <a:lnTo>
                    <a:pt x="6150" y="442"/>
                  </a:lnTo>
                  <a:lnTo>
                    <a:pt x="6156" y="444"/>
                  </a:lnTo>
                  <a:lnTo>
                    <a:pt x="6162" y="446"/>
                  </a:lnTo>
                  <a:lnTo>
                    <a:pt x="6168" y="446"/>
                  </a:lnTo>
                  <a:lnTo>
                    <a:pt x="6174" y="450"/>
                  </a:lnTo>
                  <a:lnTo>
                    <a:pt x="6180" y="456"/>
                  </a:lnTo>
                  <a:lnTo>
                    <a:pt x="6186" y="460"/>
                  </a:lnTo>
                  <a:lnTo>
                    <a:pt x="6192" y="464"/>
                  </a:lnTo>
                  <a:lnTo>
                    <a:pt x="6198" y="466"/>
                  </a:lnTo>
                  <a:lnTo>
                    <a:pt x="6206" y="468"/>
                  </a:lnTo>
                  <a:lnTo>
                    <a:pt x="6212" y="468"/>
                  </a:lnTo>
                  <a:lnTo>
                    <a:pt x="6216" y="468"/>
                  </a:lnTo>
                  <a:lnTo>
                    <a:pt x="6224" y="468"/>
                  </a:lnTo>
                  <a:lnTo>
                    <a:pt x="6230" y="470"/>
                  </a:lnTo>
                  <a:lnTo>
                    <a:pt x="6236" y="472"/>
                  </a:lnTo>
                  <a:lnTo>
                    <a:pt x="6242" y="472"/>
                  </a:lnTo>
                  <a:lnTo>
                    <a:pt x="6250" y="474"/>
                  </a:lnTo>
                  <a:lnTo>
                    <a:pt x="6256" y="474"/>
                  </a:lnTo>
                  <a:lnTo>
                    <a:pt x="6262" y="476"/>
                  </a:lnTo>
                  <a:lnTo>
                    <a:pt x="6268" y="480"/>
                  </a:lnTo>
                  <a:lnTo>
                    <a:pt x="6274" y="486"/>
                  </a:lnTo>
                  <a:lnTo>
                    <a:pt x="6280" y="488"/>
                  </a:lnTo>
                  <a:lnTo>
                    <a:pt x="6288" y="490"/>
                  </a:lnTo>
                  <a:lnTo>
                    <a:pt x="6292" y="492"/>
                  </a:lnTo>
                  <a:lnTo>
                    <a:pt x="6296" y="492"/>
                  </a:lnTo>
                  <a:lnTo>
                    <a:pt x="6304" y="492"/>
                  </a:lnTo>
                  <a:lnTo>
                    <a:pt x="6310" y="492"/>
                  </a:lnTo>
                  <a:lnTo>
                    <a:pt x="6314" y="492"/>
                  </a:lnTo>
                  <a:lnTo>
                    <a:pt x="6320" y="490"/>
                  </a:lnTo>
                  <a:lnTo>
                    <a:pt x="6326" y="490"/>
                  </a:lnTo>
                  <a:lnTo>
                    <a:pt x="6334" y="492"/>
                  </a:lnTo>
                  <a:lnTo>
                    <a:pt x="6340" y="494"/>
                  </a:lnTo>
                  <a:lnTo>
                    <a:pt x="6338" y="494"/>
                  </a:lnTo>
                  <a:lnTo>
                    <a:pt x="6332" y="490"/>
                  </a:lnTo>
                  <a:lnTo>
                    <a:pt x="6328" y="484"/>
                  </a:lnTo>
                  <a:lnTo>
                    <a:pt x="6334" y="488"/>
                  </a:lnTo>
                  <a:lnTo>
                    <a:pt x="6340" y="490"/>
                  </a:lnTo>
                  <a:lnTo>
                    <a:pt x="6334" y="486"/>
                  </a:lnTo>
                  <a:lnTo>
                    <a:pt x="6328" y="482"/>
                  </a:lnTo>
                  <a:lnTo>
                    <a:pt x="6334" y="476"/>
                  </a:lnTo>
                  <a:lnTo>
                    <a:pt x="6328" y="472"/>
                  </a:lnTo>
                  <a:lnTo>
                    <a:pt x="6322" y="470"/>
                  </a:lnTo>
                  <a:lnTo>
                    <a:pt x="6314" y="466"/>
                  </a:lnTo>
                  <a:lnTo>
                    <a:pt x="6308" y="462"/>
                  </a:lnTo>
                  <a:lnTo>
                    <a:pt x="6302" y="460"/>
                  </a:lnTo>
                  <a:lnTo>
                    <a:pt x="6296" y="458"/>
                  </a:lnTo>
                  <a:lnTo>
                    <a:pt x="6290" y="454"/>
                  </a:lnTo>
                  <a:lnTo>
                    <a:pt x="6284" y="452"/>
                  </a:lnTo>
                  <a:lnTo>
                    <a:pt x="6278" y="448"/>
                  </a:lnTo>
                  <a:lnTo>
                    <a:pt x="6272" y="446"/>
                  </a:lnTo>
                  <a:lnTo>
                    <a:pt x="6266" y="444"/>
                  </a:lnTo>
                  <a:lnTo>
                    <a:pt x="6258" y="444"/>
                  </a:lnTo>
                  <a:lnTo>
                    <a:pt x="6252" y="444"/>
                  </a:lnTo>
                  <a:lnTo>
                    <a:pt x="6246" y="442"/>
                  </a:lnTo>
                  <a:lnTo>
                    <a:pt x="6246" y="436"/>
                  </a:lnTo>
                  <a:lnTo>
                    <a:pt x="6254" y="434"/>
                  </a:lnTo>
                  <a:lnTo>
                    <a:pt x="6246" y="430"/>
                  </a:lnTo>
                  <a:lnTo>
                    <a:pt x="6240" y="426"/>
                  </a:lnTo>
                  <a:lnTo>
                    <a:pt x="6234" y="422"/>
                  </a:lnTo>
                  <a:lnTo>
                    <a:pt x="6230" y="418"/>
                  </a:lnTo>
                  <a:lnTo>
                    <a:pt x="6224" y="416"/>
                  </a:lnTo>
                  <a:lnTo>
                    <a:pt x="6218" y="414"/>
                  </a:lnTo>
                  <a:lnTo>
                    <a:pt x="6224" y="414"/>
                  </a:lnTo>
                  <a:lnTo>
                    <a:pt x="6230" y="414"/>
                  </a:lnTo>
                  <a:lnTo>
                    <a:pt x="6236" y="416"/>
                  </a:lnTo>
                  <a:lnTo>
                    <a:pt x="6242" y="416"/>
                  </a:lnTo>
                  <a:lnTo>
                    <a:pt x="6250" y="416"/>
                  </a:lnTo>
                  <a:lnTo>
                    <a:pt x="6256" y="416"/>
                  </a:lnTo>
                  <a:lnTo>
                    <a:pt x="6262" y="418"/>
                  </a:lnTo>
                  <a:lnTo>
                    <a:pt x="6268" y="418"/>
                  </a:lnTo>
                  <a:lnTo>
                    <a:pt x="6276" y="418"/>
                  </a:lnTo>
                  <a:lnTo>
                    <a:pt x="6282" y="420"/>
                  </a:lnTo>
                  <a:lnTo>
                    <a:pt x="6288" y="420"/>
                  </a:lnTo>
                  <a:lnTo>
                    <a:pt x="6294" y="422"/>
                  </a:lnTo>
                  <a:lnTo>
                    <a:pt x="6296" y="422"/>
                  </a:lnTo>
                  <a:lnTo>
                    <a:pt x="6302" y="422"/>
                  </a:lnTo>
                  <a:lnTo>
                    <a:pt x="6310" y="422"/>
                  </a:lnTo>
                  <a:lnTo>
                    <a:pt x="6316" y="424"/>
                  </a:lnTo>
                  <a:lnTo>
                    <a:pt x="6322" y="424"/>
                  </a:lnTo>
                  <a:lnTo>
                    <a:pt x="6328" y="424"/>
                  </a:lnTo>
                  <a:lnTo>
                    <a:pt x="6334" y="424"/>
                  </a:lnTo>
                  <a:lnTo>
                    <a:pt x="6340" y="426"/>
                  </a:lnTo>
                  <a:lnTo>
                    <a:pt x="6346" y="428"/>
                  </a:lnTo>
                  <a:lnTo>
                    <a:pt x="6354" y="428"/>
                  </a:lnTo>
                  <a:lnTo>
                    <a:pt x="6360" y="430"/>
                  </a:lnTo>
                  <a:lnTo>
                    <a:pt x="6364" y="432"/>
                  </a:lnTo>
                  <a:lnTo>
                    <a:pt x="6372" y="434"/>
                  </a:lnTo>
                  <a:lnTo>
                    <a:pt x="6376" y="430"/>
                  </a:lnTo>
                  <a:lnTo>
                    <a:pt x="6370" y="428"/>
                  </a:lnTo>
                  <a:lnTo>
                    <a:pt x="6364" y="428"/>
                  </a:lnTo>
                  <a:lnTo>
                    <a:pt x="6358" y="426"/>
                  </a:lnTo>
                  <a:lnTo>
                    <a:pt x="6364" y="424"/>
                  </a:lnTo>
                  <a:lnTo>
                    <a:pt x="6370" y="424"/>
                  </a:lnTo>
                  <a:lnTo>
                    <a:pt x="6376" y="426"/>
                  </a:lnTo>
                  <a:lnTo>
                    <a:pt x="6382" y="428"/>
                  </a:lnTo>
                  <a:lnTo>
                    <a:pt x="6388" y="428"/>
                  </a:lnTo>
                  <a:lnTo>
                    <a:pt x="6394" y="430"/>
                  </a:lnTo>
                  <a:lnTo>
                    <a:pt x="6400" y="428"/>
                  </a:lnTo>
                  <a:lnTo>
                    <a:pt x="6406" y="428"/>
                  </a:lnTo>
                  <a:lnTo>
                    <a:pt x="6412" y="428"/>
                  </a:lnTo>
                  <a:lnTo>
                    <a:pt x="6418" y="430"/>
                  </a:lnTo>
                  <a:lnTo>
                    <a:pt x="6424" y="430"/>
                  </a:lnTo>
                  <a:lnTo>
                    <a:pt x="6432" y="430"/>
                  </a:lnTo>
                  <a:lnTo>
                    <a:pt x="6438" y="430"/>
                  </a:lnTo>
                  <a:lnTo>
                    <a:pt x="6440" y="430"/>
                  </a:lnTo>
                  <a:lnTo>
                    <a:pt x="6446" y="430"/>
                  </a:lnTo>
                  <a:lnTo>
                    <a:pt x="6452" y="430"/>
                  </a:lnTo>
                  <a:lnTo>
                    <a:pt x="6458" y="430"/>
                  </a:lnTo>
                  <a:lnTo>
                    <a:pt x="6464" y="428"/>
                  </a:lnTo>
                  <a:lnTo>
                    <a:pt x="6470" y="428"/>
                  </a:lnTo>
                  <a:lnTo>
                    <a:pt x="6476" y="428"/>
                  </a:lnTo>
                  <a:lnTo>
                    <a:pt x="6482" y="428"/>
                  </a:lnTo>
                  <a:lnTo>
                    <a:pt x="6488" y="428"/>
                  </a:lnTo>
                  <a:lnTo>
                    <a:pt x="6494" y="430"/>
                  </a:lnTo>
                  <a:lnTo>
                    <a:pt x="6500" y="432"/>
                  </a:lnTo>
                  <a:lnTo>
                    <a:pt x="6506" y="434"/>
                  </a:lnTo>
                  <a:lnTo>
                    <a:pt x="6512" y="436"/>
                  </a:lnTo>
                  <a:lnTo>
                    <a:pt x="6520" y="436"/>
                  </a:lnTo>
                  <a:lnTo>
                    <a:pt x="6524" y="438"/>
                  </a:lnTo>
                  <a:lnTo>
                    <a:pt x="6532" y="440"/>
                  </a:lnTo>
                  <a:lnTo>
                    <a:pt x="6538" y="440"/>
                  </a:lnTo>
                  <a:lnTo>
                    <a:pt x="6544" y="442"/>
                  </a:lnTo>
                  <a:lnTo>
                    <a:pt x="6550" y="442"/>
                  </a:lnTo>
                  <a:lnTo>
                    <a:pt x="6556" y="444"/>
                  </a:lnTo>
                  <a:lnTo>
                    <a:pt x="6562" y="444"/>
                  </a:lnTo>
                  <a:lnTo>
                    <a:pt x="6568" y="444"/>
                  </a:lnTo>
                  <a:lnTo>
                    <a:pt x="6576" y="444"/>
                  </a:lnTo>
                  <a:lnTo>
                    <a:pt x="6582" y="446"/>
                  </a:lnTo>
                  <a:lnTo>
                    <a:pt x="6588" y="448"/>
                  </a:lnTo>
                  <a:lnTo>
                    <a:pt x="6594" y="448"/>
                  </a:lnTo>
                  <a:lnTo>
                    <a:pt x="6600" y="450"/>
                  </a:lnTo>
                  <a:lnTo>
                    <a:pt x="6606" y="452"/>
                  </a:lnTo>
                  <a:lnTo>
                    <a:pt x="6614" y="452"/>
                  </a:lnTo>
                  <a:lnTo>
                    <a:pt x="6620" y="452"/>
                  </a:lnTo>
                  <a:lnTo>
                    <a:pt x="6626" y="452"/>
                  </a:lnTo>
                  <a:lnTo>
                    <a:pt x="6632" y="452"/>
                  </a:lnTo>
                  <a:lnTo>
                    <a:pt x="6640" y="454"/>
                  </a:lnTo>
                  <a:lnTo>
                    <a:pt x="6646" y="456"/>
                  </a:lnTo>
                  <a:lnTo>
                    <a:pt x="6652" y="456"/>
                  </a:lnTo>
                  <a:lnTo>
                    <a:pt x="6658" y="458"/>
                  </a:lnTo>
                  <a:lnTo>
                    <a:pt x="6664" y="462"/>
                  </a:lnTo>
                  <a:lnTo>
                    <a:pt x="6658" y="460"/>
                  </a:lnTo>
                  <a:lnTo>
                    <a:pt x="6650" y="458"/>
                  </a:lnTo>
                  <a:lnTo>
                    <a:pt x="6644" y="458"/>
                  </a:lnTo>
                  <a:lnTo>
                    <a:pt x="6652" y="462"/>
                  </a:lnTo>
                  <a:lnTo>
                    <a:pt x="6658" y="464"/>
                  </a:lnTo>
                  <a:lnTo>
                    <a:pt x="6664" y="462"/>
                  </a:lnTo>
                  <a:lnTo>
                    <a:pt x="6670" y="462"/>
                  </a:lnTo>
                  <a:lnTo>
                    <a:pt x="6678" y="464"/>
                  </a:lnTo>
                  <a:lnTo>
                    <a:pt x="6684" y="464"/>
                  </a:lnTo>
                  <a:lnTo>
                    <a:pt x="6690" y="466"/>
                  </a:lnTo>
                  <a:lnTo>
                    <a:pt x="6696" y="468"/>
                  </a:lnTo>
                  <a:lnTo>
                    <a:pt x="6702" y="470"/>
                  </a:lnTo>
                  <a:lnTo>
                    <a:pt x="6708" y="472"/>
                  </a:lnTo>
                  <a:lnTo>
                    <a:pt x="6714" y="474"/>
                  </a:lnTo>
                  <a:lnTo>
                    <a:pt x="6720" y="476"/>
                  </a:lnTo>
                  <a:lnTo>
                    <a:pt x="6726" y="478"/>
                  </a:lnTo>
                  <a:lnTo>
                    <a:pt x="6732" y="480"/>
                  </a:lnTo>
                  <a:lnTo>
                    <a:pt x="6726" y="478"/>
                  </a:lnTo>
                  <a:lnTo>
                    <a:pt x="6720" y="476"/>
                  </a:lnTo>
                  <a:lnTo>
                    <a:pt x="6714" y="474"/>
                  </a:lnTo>
                  <a:lnTo>
                    <a:pt x="6708" y="474"/>
                  </a:lnTo>
                  <a:lnTo>
                    <a:pt x="6714" y="476"/>
                  </a:lnTo>
                  <a:lnTo>
                    <a:pt x="6720" y="478"/>
                  </a:lnTo>
                  <a:lnTo>
                    <a:pt x="6726" y="480"/>
                  </a:lnTo>
                  <a:lnTo>
                    <a:pt x="6732" y="480"/>
                  </a:lnTo>
                  <a:lnTo>
                    <a:pt x="6738" y="480"/>
                  </a:lnTo>
                  <a:lnTo>
                    <a:pt x="6744" y="482"/>
                  </a:lnTo>
                  <a:lnTo>
                    <a:pt x="6750" y="482"/>
                  </a:lnTo>
                  <a:lnTo>
                    <a:pt x="6756" y="484"/>
                  </a:lnTo>
                  <a:lnTo>
                    <a:pt x="6762" y="482"/>
                  </a:lnTo>
                  <a:lnTo>
                    <a:pt x="6768" y="484"/>
                  </a:lnTo>
                  <a:lnTo>
                    <a:pt x="6774" y="486"/>
                  </a:lnTo>
                  <a:lnTo>
                    <a:pt x="6780" y="490"/>
                  </a:lnTo>
                  <a:lnTo>
                    <a:pt x="6786" y="490"/>
                  </a:lnTo>
                  <a:lnTo>
                    <a:pt x="6792" y="492"/>
                  </a:lnTo>
                  <a:lnTo>
                    <a:pt x="6798" y="492"/>
                  </a:lnTo>
                  <a:lnTo>
                    <a:pt x="6804" y="494"/>
                  </a:lnTo>
                  <a:lnTo>
                    <a:pt x="6812" y="496"/>
                  </a:lnTo>
                  <a:lnTo>
                    <a:pt x="6818" y="498"/>
                  </a:lnTo>
                  <a:lnTo>
                    <a:pt x="6826" y="500"/>
                  </a:lnTo>
                  <a:lnTo>
                    <a:pt x="6832" y="502"/>
                  </a:lnTo>
                  <a:lnTo>
                    <a:pt x="6838" y="504"/>
                  </a:lnTo>
                  <a:lnTo>
                    <a:pt x="6834" y="502"/>
                  </a:lnTo>
                  <a:lnTo>
                    <a:pt x="6828" y="500"/>
                  </a:lnTo>
                  <a:lnTo>
                    <a:pt x="6822" y="500"/>
                  </a:lnTo>
                  <a:lnTo>
                    <a:pt x="6828" y="504"/>
                  </a:lnTo>
                  <a:lnTo>
                    <a:pt x="6834" y="506"/>
                  </a:lnTo>
                  <a:lnTo>
                    <a:pt x="6840" y="508"/>
                  </a:lnTo>
                  <a:lnTo>
                    <a:pt x="6846" y="508"/>
                  </a:lnTo>
                  <a:lnTo>
                    <a:pt x="6854" y="510"/>
                  </a:lnTo>
                  <a:lnTo>
                    <a:pt x="6860" y="510"/>
                  </a:lnTo>
                  <a:lnTo>
                    <a:pt x="6866" y="512"/>
                  </a:lnTo>
                  <a:lnTo>
                    <a:pt x="6872" y="512"/>
                  </a:lnTo>
                  <a:lnTo>
                    <a:pt x="6878" y="516"/>
                  </a:lnTo>
                  <a:lnTo>
                    <a:pt x="6884" y="518"/>
                  </a:lnTo>
                  <a:lnTo>
                    <a:pt x="6892" y="520"/>
                  </a:lnTo>
                  <a:lnTo>
                    <a:pt x="6898" y="518"/>
                  </a:lnTo>
                  <a:lnTo>
                    <a:pt x="6890" y="516"/>
                  </a:lnTo>
                  <a:lnTo>
                    <a:pt x="6884" y="516"/>
                  </a:lnTo>
                  <a:lnTo>
                    <a:pt x="6878" y="514"/>
                  </a:lnTo>
                  <a:lnTo>
                    <a:pt x="6870" y="512"/>
                  </a:lnTo>
                  <a:lnTo>
                    <a:pt x="6864" y="510"/>
                  </a:lnTo>
                  <a:lnTo>
                    <a:pt x="6858" y="508"/>
                  </a:lnTo>
                  <a:lnTo>
                    <a:pt x="6864" y="510"/>
                  </a:lnTo>
                  <a:lnTo>
                    <a:pt x="6872" y="512"/>
                  </a:lnTo>
                  <a:lnTo>
                    <a:pt x="6878" y="512"/>
                  </a:lnTo>
                  <a:lnTo>
                    <a:pt x="6884" y="514"/>
                  </a:lnTo>
                  <a:lnTo>
                    <a:pt x="6890" y="516"/>
                  </a:lnTo>
                  <a:lnTo>
                    <a:pt x="6898" y="518"/>
                  </a:lnTo>
                  <a:lnTo>
                    <a:pt x="6904" y="520"/>
                  </a:lnTo>
                  <a:lnTo>
                    <a:pt x="6910" y="522"/>
                  </a:lnTo>
                  <a:lnTo>
                    <a:pt x="6904" y="520"/>
                  </a:lnTo>
                  <a:lnTo>
                    <a:pt x="6910" y="526"/>
                  </a:lnTo>
                  <a:lnTo>
                    <a:pt x="6914" y="528"/>
                  </a:lnTo>
                  <a:lnTo>
                    <a:pt x="6920" y="524"/>
                  </a:lnTo>
                  <a:lnTo>
                    <a:pt x="6926" y="524"/>
                  </a:lnTo>
                  <a:lnTo>
                    <a:pt x="6932" y="526"/>
                  </a:lnTo>
                  <a:lnTo>
                    <a:pt x="6938" y="530"/>
                  </a:lnTo>
                  <a:lnTo>
                    <a:pt x="6944" y="530"/>
                  </a:lnTo>
                  <a:lnTo>
                    <a:pt x="6952" y="532"/>
                  </a:lnTo>
                  <a:lnTo>
                    <a:pt x="6958" y="534"/>
                  </a:lnTo>
                  <a:lnTo>
                    <a:pt x="6964" y="534"/>
                  </a:lnTo>
                  <a:lnTo>
                    <a:pt x="6972" y="536"/>
                  </a:lnTo>
                  <a:lnTo>
                    <a:pt x="6978" y="538"/>
                  </a:lnTo>
                  <a:lnTo>
                    <a:pt x="6984" y="540"/>
                  </a:lnTo>
                  <a:lnTo>
                    <a:pt x="6990" y="542"/>
                  </a:lnTo>
                  <a:lnTo>
                    <a:pt x="6998" y="542"/>
                  </a:lnTo>
                  <a:lnTo>
                    <a:pt x="7004" y="544"/>
                  </a:lnTo>
                  <a:lnTo>
                    <a:pt x="7010" y="546"/>
                  </a:lnTo>
                  <a:lnTo>
                    <a:pt x="7018" y="546"/>
                  </a:lnTo>
                  <a:lnTo>
                    <a:pt x="7024" y="548"/>
                  </a:lnTo>
                  <a:lnTo>
                    <a:pt x="7030" y="550"/>
                  </a:lnTo>
                  <a:lnTo>
                    <a:pt x="7038" y="552"/>
                  </a:lnTo>
                  <a:lnTo>
                    <a:pt x="7044" y="554"/>
                  </a:lnTo>
                  <a:lnTo>
                    <a:pt x="7050" y="554"/>
                  </a:lnTo>
                  <a:lnTo>
                    <a:pt x="7056" y="556"/>
                  </a:lnTo>
                  <a:lnTo>
                    <a:pt x="7064" y="558"/>
                  </a:lnTo>
                  <a:lnTo>
                    <a:pt x="7062" y="558"/>
                  </a:lnTo>
                  <a:lnTo>
                    <a:pt x="7068" y="562"/>
                  </a:lnTo>
                  <a:lnTo>
                    <a:pt x="7076" y="564"/>
                  </a:lnTo>
                  <a:lnTo>
                    <a:pt x="7080" y="568"/>
                  </a:lnTo>
                  <a:lnTo>
                    <a:pt x="7088" y="572"/>
                  </a:lnTo>
                  <a:lnTo>
                    <a:pt x="7092" y="578"/>
                  </a:lnTo>
                  <a:lnTo>
                    <a:pt x="7098" y="574"/>
                  </a:lnTo>
                  <a:lnTo>
                    <a:pt x="7092" y="570"/>
                  </a:lnTo>
                  <a:lnTo>
                    <a:pt x="7098" y="572"/>
                  </a:lnTo>
                  <a:lnTo>
                    <a:pt x="7104" y="574"/>
                  </a:lnTo>
                  <a:lnTo>
                    <a:pt x="7110" y="574"/>
                  </a:lnTo>
                  <a:lnTo>
                    <a:pt x="7116" y="580"/>
                  </a:lnTo>
                  <a:lnTo>
                    <a:pt x="7122" y="586"/>
                  </a:lnTo>
                  <a:lnTo>
                    <a:pt x="7128" y="590"/>
                  </a:lnTo>
                  <a:lnTo>
                    <a:pt x="7134" y="594"/>
                  </a:lnTo>
                  <a:lnTo>
                    <a:pt x="7140" y="598"/>
                  </a:lnTo>
                  <a:lnTo>
                    <a:pt x="7146" y="600"/>
                  </a:lnTo>
                  <a:lnTo>
                    <a:pt x="7152" y="602"/>
                  </a:lnTo>
                  <a:lnTo>
                    <a:pt x="7158" y="606"/>
                  </a:lnTo>
                  <a:lnTo>
                    <a:pt x="7164" y="610"/>
                  </a:lnTo>
                  <a:lnTo>
                    <a:pt x="7170" y="614"/>
                  </a:lnTo>
                  <a:lnTo>
                    <a:pt x="7164" y="614"/>
                  </a:lnTo>
                  <a:lnTo>
                    <a:pt x="7170" y="618"/>
                  </a:lnTo>
                  <a:lnTo>
                    <a:pt x="7176" y="620"/>
                  </a:lnTo>
                  <a:lnTo>
                    <a:pt x="7182" y="622"/>
                  </a:lnTo>
                  <a:lnTo>
                    <a:pt x="7188" y="622"/>
                  </a:lnTo>
                  <a:lnTo>
                    <a:pt x="7194" y="624"/>
                  </a:lnTo>
                  <a:lnTo>
                    <a:pt x="7202" y="626"/>
                  </a:lnTo>
                  <a:lnTo>
                    <a:pt x="7208" y="632"/>
                  </a:lnTo>
                  <a:lnTo>
                    <a:pt x="7214" y="634"/>
                  </a:lnTo>
                  <a:lnTo>
                    <a:pt x="7220" y="636"/>
                  </a:lnTo>
                  <a:lnTo>
                    <a:pt x="7220" y="630"/>
                  </a:lnTo>
                  <a:lnTo>
                    <a:pt x="7226" y="628"/>
                  </a:lnTo>
                  <a:lnTo>
                    <a:pt x="7232" y="634"/>
                  </a:lnTo>
                  <a:lnTo>
                    <a:pt x="7238" y="638"/>
                  </a:lnTo>
                  <a:lnTo>
                    <a:pt x="7244" y="644"/>
                  </a:lnTo>
                  <a:lnTo>
                    <a:pt x="7250" y="646"/>
                  </a:lnTo>
                  <a:lnTo>
                    <a:pt x="7248" y="642"/>
                  </a:lnTo>
                  <a:lnTo>
                    <a:pt x="7246" y="636"/>
                  </a:lnTo>
                  <a:lnTo>
                    <a:pt x="7240" y="630"/>
                  </a:lnTo>
                  <a:lnTo>
                    <a:pt x="7234" y="630"/>
                  </a:lnTo>
                  <a:lnTo>
                    <a:pt x="7228" y="626"/>
                  </a:lnTo>
                  <a:lnTo>
                    <a:pt x="7222" y="626"/>
                  </a:lnTo>
                  <a:lnTo>
                    <a:pt x="7216" y="626"/>
                  </a:lnTo>
                  <a:lnTo>
                    <a:pt x="7210" y="624"/>
                  </a:lnTo>
                  <a:lnTo>
                    <a:pt x="7204" y="622"/>
                  </a:lnTo>
                  <a:lnTo>
                    <a:pt x="7208" y="616"/>
                  </a:lnTo>
                  <a:lnTo>
                    <a:pt x="7202" y="612"/>
                  </a:lnTo>
                  <a:lnTo>
                    <a:pt x="7196" y="610"/>
                  </a:lnTo>
                  <a:lnTo>
                    <a:pt x="7190" y="606"/>
                  </a:lnTo>
                  <a:lnTo>
                    <a:pt x="7184" y="602"/>
                  </a:lnTo>
                  <a:lnTo>
                    <a:pt x="7178" y="598"/>
                  </a:lnTo>
                  <a:lnTo>
                    <a:pt x="7172" y="598"/>
                  </a:lnTo>
                  <a:lnTo>
                    <a:pt x="7164" y="596"/>
                  </a:lnTo>
                  <a:lnTo>
                    <a:pt x="7158" y="596"/>
                  </a:lnTo>
                  <a:lnTo>
                    <a:pt x="7152" y="594"/>
                  </a:lnTo>
                  <a:lnTo>
                    <a:pt x="7146" y="592"/>
                  </a:lnTo>
                  <a:lnTo>
                    <a:pt x="7152" y="592"/>
                  </a:lnTo>
                  <a:lnTo>
                    <a:pt x="7160" y="592"/>
                  </a:lnTo>
                  <a:lnTo>
                    <a:pt x="7166" y="592"/>
                  </a:lnTo>
                  <a:lnTo>
                    <a:pt x="7172" y="592"/>
                  </a:lnTo>
                  <a:lnTo>
                    <a:pt x="7178" y="592"/>
                  </a:lnTo>
                  <a:lnTo>
                    <a:pt x="7186" y="590"/>
                  </a:lnTo>
                  <a:lnTo>
                    <a:pt x="7192" y="592"/>
                  </a:lnTo>
                  <a:lnTo>
                    <a:pt x="7198" y="594"/>
                  </a:lnTo>
                  <a:lnTo>
                    <a:pt x="7204" y="592"/>
                  </a:lnTo>
                  <a:lnTo>
                    <a:pt x="7210" y="594"/>
                  </a:lnTo>
                  <a:lnTo>
                    <a:pt x="7216" y="594"/>
                  </a:lnTo>
                  <a:lnTo>
                    <a:pt x="7210" y="596"/>
                  </a:lnTo>
                  <a:lnTo>
                    <a:pt x="7216" y="600"/>
                  </a:lnTo>
                  <a:lnTo>
                    <a:pt x="7222" y="606"/>
                  </a:lnTo>
                  <a:lnTo>
                    <a:pt x="7228" y="606"/>
                  </a:lnTo>
                  <a:lnTo>
                    <a:pt x="7224" y="598"/>
                  </a:lnTo>
                  <a:lnTo>
                    <a:pt x="7230" y="602"/>
                  </a:lnTo>
                  <a:lnTo>
                    <a:pt x="7236" y="602"/>
                  </a:lnTo>
                  <a:lnTo>
                    <a:pt x="7244" y="604"/>
                  </a:lnTo>
                  <a:lnTo>
                    <a:pt x="7250" y="602"/>
                  </a:lnTo>
                  <a:lnTo>
                    <a:pt x="7256" y="600"/>
                  </a:lnTo>
                  <a:lnTo>
                    <a:pt x="7250" y="600"/>
                  </a:lnTo>
                  <a:lnTo>
                    <a:pt x="7244" y="598"/>
                  </a:lnTo>
                  <a:lnTo>
                    <a:pt x="7236" y="598"/>
                  </a:lnTo>
                  <a:lnTo>
                    <a:pt x="7230" y="596"/>
                  </a:lnTo>
                  <a:lnTo>
                    <a:pt x="7224" y="596"/>
                  </a:lnTo>
                  <a:lnTo>
                    <a:pt x="7232" y="596"/>
                  </a:lnTo>
                  <a:lnTo>
                    <a:pt x="7234" y="596"/>
                  </a:lnTo>
                  <a:lnTo>
                    <a:pt x="7240" y="596"/>
                  </a:lnTo>
                  <a:lnTo>
                    <a:pt x="7246" y="598"/>
                  </a:lnTo>
                  <a:lnTo>
                    <a:pt x="7240" y="598"/>
                  </a:lnTo>
                  <a:lnTo>
                    <a:pt x="7246" y="598"/>
                  </a:lnTo>
                  <a:lnTo>
                    <a:pt x="7254" y="598"/>
                  </a:lnTo>
                  <a:lnTo>
                    <a:pt x="7260" y="600"/>
                  </a:lnTo>
                  <a:lnTo>
                    <a:pt x="7266" y="600"/>
                  </a:lnTo>
                  <a:lnTo>
                    <a:pt x="7274" y="600"/>
                  </a:lnTo>
                  <a:lnTo>
                    <a:pt x="7280" y="600"/>
                  </a:lnTo>
                  <a:lnTo>
                    <a:pt x="7286" y="600"/>
                  </a:lnTo>
                  <a:lnTo>
                    <a:pt x="7292" y="602"/>
                  </a:lnTo>
                  <a:lnTo>
                    <a:pt x="7298" y="606"/>
                  </a:lnTo>
                  <a:lnTo>
                    <a:pt x="7304" y="608"/>
                  </a:lnTo>
                  <a:lnTo>
                    <a:pt x="7312" y="610"/>
                  </a:lnTo>
                  <a:lnTo>
                    <a:pt x="7318" y="612"/>
                  </a:lnTo>
                  <a:lnTo>
                    <a:pt x="7324" y="616"/>
                  </a:lnTo>
                  <a:lnTo>
                    <a:pt x="7330" y="618"/>
                  </a:lnTo>
                  <a:lnTo>
                    <a:pt x="7338" y="620"/>
                  </a:lnTo>
                  <a:lnTo>
                    <a:pt x="7344" y="622"/>
                  </a:lnTo>
                  <a:lnTo>
                    <a:pt x="7350" y="624"/>
                  </a:lnTo>
                  <a:lnTo>
                    <a:pt x="7356" y="624"/>
                  </a:lnTo>
                  <a:lnTo>
                    <a:pt x="7364" y="626"/>
                  </a:lnTo>
                  <a:lnTo>
                    <a:pt x="7370" y="628"/>
                  </a:lnTo>
                  <a:lnTo>
                    <a:pt x="7376" y="630"/>
                  </a:lnTo>
                  <a:lnTo>
                    <a:pt x="7382" y="632"/>
                  </a:lnTo>
                  <a:lnTo>
                    <a:pt x="7388" y="634"/>
                  </a:lnTo>
                  <a:lnTo>
                    <a:pt x="7396" y="636"/>
                  </a:lnTo>
                  <a:lnTo>
                    <a:pt x="7402" y="638"/>
                  </a:lnTo>
                  <a:lnTo>
                    <a:pt x="7402" y="644"/>
                  </a:lnTo>
                  <a:lnTo>
                    <a:pt x="7408" y="640"/>
                  </a:lnTo>
                  <a:lnTo>
                    <a:pt x="7414" y="640"/>
                  </a:lnTo>
                  <a:lnTo>
                    <a:pt x="7422" y="642"/>
                  </a:lnTo>
                  <a:lnTo>
                    <a:pt x="7428" y="648"/>
                  </a:lnTo>
                  <a:lnTo>
                    <a:pt x="7422" y="648"/>
                  </a:lnTo>
                  <a:lnTo>
                    <a:pt x="7428" y="648"/>
                  </a:lnTo>
                  <a:lnTo>
                    <a:pt x="7434" y="648"/>
                  </a:lnTo>
                  <a:lnTo>
                    <a:pt x="7440" y="648"/>
                  </a:lnTo>
                  <a:lnTo>
                    <a:pt x="7448" y="656"/>
                  </a:lnTo>
                  <a:lnTo>
                    <a:pt x="7442" y="662"/>
                  </a:lnTo>
                  <a:lnTo>
                    <a:pt x="7442" y="668"/>
                  </a:lnTo>
                  <a:lnTo>
                    <a:pt x="7448" y="672"/>
                  </a:lnTo>
                  <a:lnTo>
                    <a:pt x="7454" y="676"/>
                  </a:lnTo>
                  <a:lnTo>
                    <a:pt x="7456" y="682"/>
                  </a:lnTo>
                  <a:lnTo>
                    <a:pt x="7450" y="682"/>
                  </a:lnTo>
                  <a:lnTo>
                    <a:pt x="7444" y="680"/>
                  </a:lnTo>
                  <a:lnTo>
                    <a:pt x="7438" y="678"/>
                  </a:lnTo>
                  <a:lnTo>
                    <a:pt x="7432" y="676"/>
                  </a:lnTo>
                  <a:lnTo>
                    <a:pt x="7424" y="676"/>
                  </a:lnTo>
                  <a:lnTo>
                    <a:pt x="7418" y="672"/>
                  </a:lnTo>
                  <a:lnTo>
                    <a:pt x="7412" y="672"/>
                  </a:lnTo>
                  <a:lnTo>
                    <a:pt x="7406" y="670"/>
                  </a:lnTo>
                  <a:lnTo>
                    <a:pt x="7400" y="668"/>
                  </a:lnTo>
                  <a:lnTo>
                    <a:pt x="7406" y="672"/>
                  </a:lnTo>
                  <a:lnTo>
                    <a:pt x="7412" y="672"/>
                  </a:lnTo>
                  <a:lnTo>
                    <a:pt x="7418" y="676"/>
                  </a:lnTo>
                  <a:lnTo>
                    <a:pt x="7424" y="678"/>
                  </a:lnTo>
                  <a:lnTo>
                    <a:pt x="7432" y="680"/>
                  </a:lnTo>
                  <a:lnTo>
                    <a:pt x="7438" y="682"/>
                  </a:lnTo>
                  <a:lnTo>
                    <a:pt x="7444" y="684"/>
                  </a:lnTo>
                  <a:lnTo>
                    <a:pt x="7448" y="690"/>
                  </a:lnTo>
                  <a:lnTo>
                    <a:pt x="7442" y="688"/>
                  </a:lnTo>
                  <a:lnTo>
                    <a:pt x="7436" y="686"/>
                  </a:lnTo>
                  <a:lnTo>
                    <a:pt x="7428" y="686"/>
                  </a:lnTo>
                  <a:lnTo>
                    <a:pt x="7422" y="686"/>
                  </a:lnTo>
                  <a:lnTo>
                    <a:pt x="7416" y="688"/>
                  </a:lnTo>
                  <a:lnTo>
                    <a:pt x="7410" y="688"/>
                  </a:lnTo>
                  <a:lnTo>
                    <a:pt x="7404" y="688"/>
                  </a:lnTo>
                  <a:lnTo>
                    <a:pt x="7412" y="686"/>
                  </a:lnTo>
                  <a:lnTo>
                    <a:pt x="7404" y="686"/>
                  </a:lnTo>
                  <a:lnTo>
                    <a:pt x="7398" y="686"/>
                  </a:lnTo>
                  <a:lnTo>
                    <a:pt x="7392" y="686"/>
                  </a:lnTo>
                  <a:lnTo>
                    <a:pt x="7386" y="684"/>
                  </a:lnTo>
                  <a:lnTo>
                    <a:pt x="7380" y="682"/>
                  </a:lnTo>
                  <a:lnTo>
                    <a:pt x="7374" y="678"/>
                  </a:lnTo>
                  <a:lnTo>
                    <a:pt x="7368" y="678"/>
                  </a:lnTo>
                  <a:lnTo>
                    <a:pt x="7362" y="676"/>
                  </a:lnTo>
                  <a:lnTo>
                    <a:pt x="7356" y="676"/>
                  </a:lnTo>
                  <a:lnTo>
                    <a:pt x="7350" y="676"/>
                  </a:lnTo>
                  <a:lnTo>
                    <a:pt x="7356" y="678"/>
                  </a:lnTo>
                  <a:lnTo>
                    <a:pt x="7362" y="680"/>
                  </a:lnTo>
                  <a:lnTo>
                    <a:pt x="7368" y="682"/>
                  </a:lnTo>
                  <a:lnTo>
                    <a:pt x="7376" y="682"/>
                  </a:lnTo>
                  <a:lnTo>
                    <a:pt x="7382" y="686"/>
                  </a:lnTo>
                  <a:lnTo>
                    <a:pt x="7388" y="690"/>
                  </a:lnTo>
                  <a:lnTo>
                    <a:pt x="7394" y="692"/>
                  </a:lnTo>
                  <a:lnTo>
                    <a:pt x="7400" y="690"/>
                  </a:lnTo>
                  <a:lnTo>
                    <a:pt x="7406" y="696"/>
                  </a:lnTo>
                  <a:lnTo>
                    <a:pt x="7410" y="700"/>
                  </a:lnTo>
                  <a:lnTo>
                    <a:pt x="7418" y="704"/>
                  </a:lnTo>
                  <a:lnTo>
                    <a:pt x="7410" y="702"/>
                  </a:lnTo>
                  <a:lnTo>
                    <a:pt x="7406" y="702"/>
                  </a:lnTo>
                  <a:lnTo>
                    <a:pt x="7398" y="704"/>
                  </a:lnTo>
                  <a:lnTo>
                    <a:pt x="7406" y="706"/>
                  </a:lnTo>
                  <a:lnTo>
                    <a:pt x="7412" y="706"/>
                  </a:lnTo>
                  <a:lnTo>
                    <a:pt x="7418" y="706"/>
                  </a:lnTo>
                  <a:lnTo>
                    <a:pt x="7424" y="708"/>
                  </a:lnTo>
                  <a:lnTo>
                    <a:pt x="7430" y="712"/>
                  </a:lnTo>
                  <a:lnTo>
                    <a:pt x="7436" y="718"/>
                  </a:lnTo>
                  <a:lnTo>
                    <a:pt x="7434" y="724"/>
                  </a:lnTo>
                  <a:lnTo>
                    <a:pt x="7428" y="724"/>
                  </a:lnTo>
                  <a:lnTo>
                    <a:pt x="7420" y="728"/>
                  </a:lnTo>
                  <a:lnTo>
                    <a:pt x="7414" y="726"/>
                  </a:lnTo>
                  <a:lnTo>
                    <a:pt x="7414" y="732"/>
                  </a:lnTo>
                  <a:lnTo>
                    <a:pt x="7420" y="728"/>
                  </a:lnTo>
                  <a:lnTo>
                    <a:pt x="7426" y="730"/>
                  </a:lnTo>
                  <a:lnTo>
                    <a:pt x="7432" y="732"/>
                  </a:lnTo>
                  <a:lnTo>
                    <a:pt x="7430" y="740"/>
                  </a:lnTo>
                  <a:lnTo>
                    <a:pt x="7436" y="738"/>
                  </a:lnTo>
                  <a:lnTo>
                    <a:pt x="7442" y="740"/>
                  </a:lnTo>
                  <a:lnTo>
                    <a:pt x="7448" y="742"/>
                  </a:lnTo>
                  <a:lnTo>
                    <a:pt x="7454" y="744"/>
                  </a:lnTo>
                  <a:lnTo>
                    <a:pt x="7460" y="744"/>
                  </a:lnTo>
                  <a:lnTo>
                    <a:pt x="7466" y="746"/>
                  </a:lnTo>
                  <a:lnTo>
                    <a:pt x="7474" y="750"/>
                  </a:lnTo>
                  <a:lnTo>
                    <a:pt x="7480" y="754"/>
                  </a:lnTo>
                  <a:lnTo>
                    <a:pt x="7474" y="756"/>
                  </a:lnTo>
                  <a:lnTo>
                    <a:pt x="7466" y="754"/>
                  </a:lnTo>
                  <a:lnTo>
                    <a:pt x="7460" y="754"/>
                  </a:lnTo>
                  <a:lnTo>
                    <a:pt x="7454" y="750"/>
                  </a:lnTo>
                  <a:lnTo>
                    <a:pt x="7448" y="750"/>
                  </a:lnTo>
                  <a:lnTo>
                    <a:pt x="7454" y="752"/>
                  </a:lnTo>
                  <a:lnTo>
                    <a:pt x="7460" y="756"/>
                  </a:lnTo>
                  <a:lnTo>
                    <a:pt x="7464" y="762"/>
                  </a:lnTo>
                  <a:lnTo>
                    <a:pt x="7458" y="764"/>
                  </a:lnTo>
                  <a:lnTo>
                    <a:pt x="7456" y="764"/>
                  </a:lnTo>
                  <a:lnTo>
                    <a:pt x="7450" y="762"/>
                  </a:lnTo>
                  <a:lnTo>
                    <a:pt x="7444" y="760"/>
                  </a:lnTo>
                  <a:lnTo>
                    <a:pt x="7438" y="756"/>
                  </a:lnTo>
                  <a:lnTo>
                    <a:pt x="7434" y="750"/>
                  </a:lnTo>
                  <a:lnTo>
                    <a:pt x="7428" y="746"/>
                  </a:lnTo>
                  <a:lnTo>
                    <a:pt x="7422" y="744"/>
                  </a:lnTo>
                  <a:lnTo>
                    <a:pt x="7416" y="742"/>
                  </a:lnTo>
                  <a:lnTo>
                    <a:pt x="7418" y="744"/>
                  </a:lnTo>
                  <a:lnTo>
                    <a:pt x="7424" y="746"/>
                  </a:lnTo>
                  <a:lnTo>
                    <a:pt x="7432" y="752"/>
                  </a:lnTo>
                  <a:lnTo>
                    <a:pt x="7428" y="758"/>
                  </a:lnTo>
                  <a:lnTo>
                    <a:pt x="7422" y="758"/>
                  </a:lnTo>
                  <a:lnTo>
                    <a:pt x="7416" y="756"/>
                  </a:lnTo>
                  <a:lnTo>
                    <a:pt x="7410" y="754"/>
                  </a:lnTo>
                  <a:lnTo>
                    <a:pt x="7404" y="754"/>
                  </a:lnTo>
                  <a:lnTo>
                    <a:pt x="7398" y="750"/>
                  </a:lnTo>
                  <a:lnTo>
                    <a:pt x="7392" y="748"/>
                  </a:lnTo>
                  <a:lnTo>
                    <a:pt x="7386" y="744"/>
                  </a:lnTo>
                  <a:lnTo>
                    <a:pt x="7384" y="744"/>
                  </a:lnTo>
                  <a:lnTo>
                    <a:pt x="7378" y="742"/>
                  </a:lnTo>
                  <a:lnTo>
                    <a:pt x="7372" y="740"/>
                  </a:lnTo>
                  <a:lnTo>
                    <a:pt x="7370" y="738"/>
                  </a:lnTo>
                  <a:lnTo>
                    <a:pt x="7364" y="738"/>
                  </a:lnTo>
                  <a:lnTo>
                    <a:pt x="7358" y="738"/>
                  </a:lnTo>
                  <a:lnTo>
                    <a:pt x="7352" y="736"/>
                  </a:lnTo>
                  <a:lnTo>
                    <a:pt x="7346" y="734"/>
                  </a:lnTo>
                  <a:lnTo>
                    <a:pt x="7338" y="732"/>
                  </a:lnTo>
                  <a:lnTo>
                    <a:pt x="7332" y="732"/>
                  </a:lnTo>
                  <a:lnTo>
                    <a:pt x="7326" y="730"/>
                  </a:lnTo>
                  <a:lnTo>
                    <a:pt x="7320" y="728"/>
                  </a:lnTo>
                  <a:lnTo>
                    <a:pt x="7326" y="732"/>
                  </a:lnTo>
                  <a:lnTo>
                    <a:pt x="7320" y="732"/>
                  </a:lnTo>
                  <a:lnTo>
                    <a:pt x="7314" y="732"/>
                  </a:lnTo>
                  <a:lnTo>
                    <a:pt x="7308" y="732"/>
                  </a:lnTo>
                  <a:lnTo>
                    <a:pt x="7302" y="728"/>
                  </a:lnTo>
                  <a:lnTo>
                    <a:pt x="7296" y="726"/>
                  </a:lnTo>
                  <a:lnTo>
                    <a:pt x="7290" y="724"/>
                  </a:lnTo>
                  <a:lnTo>
                    <a:pt x="7284" y="722"/>
                  </a:lnTo>
                  <a:lnTo>
                    <a:pt x="7278" y="722"/>
                  </a:lnTo>
                  <a:lnTo>
                    <a:pt x="7272" y="720"/>
                  </a:lnTo>
                  <a:lnTo>
                    <a:pt x="7266" y="714"/>
                  </a:lnTo>
                  <a:lnTo>
                    <a:pt x="7260" y="708"/>
                  </a:lnTo>
                  <a:lnTo>
                    <a:pt x="7254" y="706"/>
                  </a:lnTo>
                  <a:lnTo>
                    <a:pt x="7246" y="702"/>
                  </a:lnTo>
                  <a:lnTo>
                    <a:pt x="7240" y="698"/>
                  </a:lnTo>
                  <a:lnTo>
                    <a:pt x="7234" y="696"/>
                  </a:lnTo>
                  <a:lnTo>
                    <a:pt x="7228" y="692"/>
                  </a:lnTo>
                  <a:lnTo>
                    <a:pt x="7222" y="690"/>
                  </a:lnTo>
                  <a:lnTo>
                    <a:pt x="7216" y="690"/>
                  </a:lnTo>
                  <a:lnTo>
                    <a:pt x="7210" y="690"/>
                  </a:lnTo>
                  <a:lnTo>
                    <a:pt x="7202" y="688"/>
                  </a:lnTo>
                  <a:lnTo>
                    <a:pt x="7196" y="686"/>
                  </a:lnTo>
                  <a:lnTo>
                    <a:pt x="7190" y="686"/>
                  </a:lnTo>
                  <a:lnTo>
                    <a:pt x="7184" y="684"/>
                  </a:lnTo>
                  <a:lnTo>
                    <a:pt x="7178" y="684"/>
                  </a:lnTo>
                  <a:lnTo>
                    <a:pt x="7172" y="682"/>
                  </a:lnTo>
                  <a:lnTo>
                    <a:pt x="7166" y="682"/>
                  </a:lnTo>
                  <a:lnTo>
                    <a:pt x="7160" y="682"/>
                  </a:lnTo>
                  <a:lnTo>
                    <a:pt x="7154" y="688"/>
                  </a:lnTo>
                  <a:lnTo>
                    <a:pt x="7148" y="690"/>
                  </a:lnTo>
                  <a:lnTo>
                    <a:pt x="7142" y="690"/>
                  </a:lnTo>
                  <a:lnTo>
                    <a:pt x="7136" y="690"/>
                  </a:lnTo>
                  <a:lnTo>
                    <a:pt x="7130" y="690"/>
                  </a:lnTo>
                  <a:lnTo>
                    <a:pt x="7122" y="690"/>
                  </a:lnTo>
                  <a:lnTo>
                    <a:pt x="7116" y="690"/>
                  </a:lnTo>
                  <a:lnTo>
                    <a:pt x="7110" y="690"/>
                  </a:lnTo>
                  <a:lnTo>
                    <a:pt x="7104" y="688"/>
                  </a:lnTo>
                  <a:lnTo>
                    <a:pt x="7098" y="684"/>
                  </a:lnTo>
                  <a:lnTo>
                    <a:pt x="7092" y="678"/>
                  </a:lnTo>
                  <a:lnTo>
                    <a:pt x="7086" y="674"/>
                  </a:lnTo>
                  <a:lnTo>
                    <a:pt x="7080" y="672"/>
                  </a:lnTo>
                  <a:lnTo>
                    <a:pt x="7074" y="672"/>
                  </a:lnTo>
                  <a:lnTo>
                    <a:pt x="7068" y="668"/>
                  </a:lnTo>
                  <a:lnTo>
                    <a:pt x="7062" y="666"/>
                  </a:lnTo>
                  <a:lnTo>
                    <a:pt x="7054" y="664"/>
                  </a:lnTo>
                  <a:lnTo>
                    <a:pt x="7048" y="660"/>
                  </a:lnTo>
                  <a:lnTo>
                    <a:pt x="7042" y="658"/>
                  </a:lnTo>
                  <a:lnTo>
                    <a:pt x="7048" y="658"/>
                  </a:lnTo>
                  <a:lnTo>
                    <a:pt x="7046" y="652"/>
                  </a:lnTo>
                  <a:lnTo>
                    <a:pt x="7042" y="646"/>
                  </a:lnTo>
                  <a:lnTo>
                    <a:pt x="7038" y="640"/>
                  </a:lnTo>
                  <a:lnTo>
                    <a:pt x="7032" y="636"/>
                  </a:lnTo>
                  <a:lnTo>
                    <a:pt x="7026" y="636"/>
                  </a:lnTo>
                  <a:lnTo>
                    <a:pt x="7028" y="642"/>
                  </a:lnTo>
                  <a:lnTo>
                    <a:pt x="7030" y="648"/>
                  </a:lnTo>
                  <a:lnTo>
                    <a:pt x="7024" y="648"/>
                  </a:lnTo>
                  <a:lnTo>
                    <a:pt x="7016" y="644"/>
                  </a:lnTo>
                  <a:lnTo>
                    <a:pt x="7012" y="642"/>
                  </a:lnTo>
                  <a:lnTo>
                    <a:pt x="7004" y="636"/>
                  </a:lnTo>
                  <a:lnTo>
                    <a:pt x="6998" y="634"/>
                  </a:lnTo>
                  <a:lnTo>
                    <a:pt x="7004" y="638"/>
                  </a:lnTo>
                  <a:lnTo>
                    <a:pt x="7004" y="640"/>
                  </a:lnTo>
                  <a:lnTo>
                    <a:pt x="7000" y="640"/>
                  </a:lnTo>
                  <a:lnTo>
                    <a:pt x="6992" y="638"/>
                  </a:lnTo>
                  <a:lnTo>
                    <a:pt x="7000" y="640"/>
                  </a:lnTo>
                  <a:lnTo>
                    <a:pt x="7006" y="644"/>
                  </a:lnTo>
                  <a:lnTo>
                    <a:pt x="7012" y="646"/>
                  </a:lnTo>
                  <a:lnTo>
                    <a:pt x="7004" y="650"/>
                  </a:lnTo>
                  <a:lnTo>
                    <a:pt x="6998" y="650"/>
                  </a:lnTo>
                  <a:lnTo>
                    <a:pt x="6992" y="646"/>
                  </a:lnTo>
                  <a:lnTo>
                    <a:pt x="6996" y="652"/>
                  </a:lnTo>
                  <a:lnTo>
                    <a:pt x="7002" y="658"/>
                  </a:lnTo>
                  <a:lnTo>
                    <a:pt x="7008" y="662"/>
                  </a:lnTo>
                  <a:lnTo>
                    <a:pt x="7014" y="666"/>
                  </a:lnTo>
                  <a:lnTo>
                    <a:pt x="7020" y="668"/>
                  </a:lnTo>
                  <a:lnTo>
                    <a:pt x="7026" y="672"/>
                  </a:lnTo>
                  <a:lnTo>
                    <a:pt x="7032" y="672"/>
                  </a:lnTo>
                  <a:lnTo>
                    <a:pt x="7038" y="676"/>
                  </a:lnTo>
                  <a:lnTo>
                    <a:pt x="7046" y="678"/>
                  </a:lnTo>
                  <a:lnTo>
                    <a:pt x="7052" y="678"/>
                  </a:lnTo>
                  <a:lnTo>
                    <a:pt x="7058" y="682"/>
                  </a:lnTo>
                  <a:lnTo>
                    <a:pt x="7064" y="686"/>
                  </a:lnTo>
                  <a:lnTo>
                    <a:pt x="7064" y="692"/>
                  </a:lnTo>
                  <a:lnTo>
                    <a:pt x="7058" y="692"/>
                  </a:lnTo>
                  <a:lnTo>
                    <a:pt x="7052" y="692"/>
                  </a:lnTo>
                  <a:lnTo>
                    <a:pt x="7046" y="694"/>
                  </a:lnTo>
                  <a:lnTo>
                    <a:pt x="7044" y="694"/>
                  </a:lnTo>
                  <a:lnTo>
                    <a:pt x="7044" y="698"/>
                  </a:lnTo>
                  <a:lnTo>
                    <a:pt x="7050" y="698"/>
                  </a:lnTo>
                  <a:lnTo>
                    <a:pt x="7056" y="700"/>
                  </a:lnTo>
                  <a:lnTo>
                    <a:pt x="7050" y="696"/>
                  </a:lnTo>
                  <a:lnTo>
                    <a:pt x="7056" y="694"/>
                  </a:lnTo>
                  <a:lnTo>
                    <a:pt x="7062" y="694"/>
                  </a:lnTo>
                  <a:lnTo>
                    <a:pt x="7068" y="694"/>
                  </a:lnTo>
                  <a:lnTo>
                    <a:pt x="7074" y="700"/>
                  </a:lnTo>
                  <a:lnTo>
                    <a:pt x="7080" y="706"/>
                  </a:lnTo>
                  <a:lnTo>
                    <a:pt x="7078" y="712"/>
                  </a:lnTo>
                  <a:lnTo>
                    <a:pt x="7072" y="714"/>
                  </a:lnTo>
                  <a:lnTo>
                    <a:pt x="7066" y="718"/>
                  </a:lnTo>
                  <a:lnTo>
                    <a:pt x="7068" y="724"/>
                  </a:lnTo>
                  <a:lnTo>
                    <a:pt x="7062" y="730"/>
                  </a:lnTo>
                  <a:lnTo>
                    <a:pt x="7056" y="730"/>
                  </a:lnTo>
                  <a:lnTo>
                    <a:pt x="7050" y="736"/>
                  </a:lnTo>
                  <a:lnTo>
                    <a:pt x="7046" y="742"/>
                  </a:lnTo>
                  <a:lnTo>
                    <a:pt x="7040" y="742"/>
                  </a:lnTo>
                  <a:lnTo>
                    <a:pt x="7044" y="736"/>
                  </a:lnTo>
                  <a:lnTo>
                    <a:pt x="7038" y="738"/>
                  </a:lnTo>
                  <a:lnTo>
                    <a:pt x="7032" y="738"/>
                  </a:lnTo>
                  <a:lnTo>
                    <a:pt x="7024" y="740"/>
                  </a:lnTo>
                  <a:lnTo>
                    <a:pt x="7020" y="738"/>
                  </a:lnTo>
                  <a:lnTo>
                    <a:pt x="7014" y="738"/>
                  </a:lnTo>
                  <a:lnTo>
                    <a:pt x="7008" y="736"/>
                  </a:lnTo>
                  <a:lnTo>
                    <a:pt x="7000" y="736"/>
                  </a:lnTo>
                  <a:lnTo>
                    <a:pt x="6996" y="736"/>
                  </a:lnTo>
                  <a:lnTo>
                    <a:pt x="6990" y="736"/>
                  </a:lnTo>
                  <a:lnTo>
                    <a:pt x="6982" y="732"/>
                  </a:lnTo>
                  <a:lnTo>
                    <a:pt x="6976" y="730"/>
                  </a:lnTo>
                  <a:lnTo>
                    <a:pt x="6970" y="726"/>
                  </a:lnTo>
                  <a:lnTo>
                    <a:pt x="6964" y="724"/>
                  </a:lnTo>
                  <a:lnTo>
                    <a:pt x="6956" y="722"/>
                  </a:lnTo>
                  <a:lnTo>
                    <a:pt x="6952" y="720"/>
                  </a:lnTo>
                  <a:lnTo>
                    <a:pt x="6944" y="718"/>
                  </a:lnTo>
                  <a:lnTo>
                    <a:pt x="6940" y="716"/>
                  </a:lnTo>
                  <a:lnTo>
                    <a:pt x="6934" y="716"/>
                  </a:lnTo>
                  <a:lnTo>
                    <a:pt x="6928" y="714"/>
                  </a:lnTo>
                  <a:lnTo>
                    <a:pt x="6920" y="716"/>
                  </a:lnTo>
                  <a:lnTo>
                    <a:pt x="6914" y="716"/>
                  </a:lnTo>
                  <a:lnTo>
                    <a:pt x="6908" y="714"/>
                  </a:lnTo>
                  <a:lnTo>
                    <a:pt x="6902" y="716"/>
                  </a:lnTo>
                  <a:lnTo>
                    <a:pt x="6908" y="716"/>
                  </a:lnTo>
                  <a:lnTo>
                    <a:pt x="6914" y="718"/>
                  </a:lnTo>
                  <a:lnTo>
                    <a:pt x="6920" y="718"/>
                  </a:lnTo>
                  <a:lnTo>
                    <a:pt x="6928" y="716"/>
                  </a:lnTo>
                  <a:lnTo>
                    <a:pt x="6932" y="716"/>
                  </a:lnTo>
                  <a:lnTo>
                    <a:pt x="6940" y="718"/>
                  </a:lnTo>
                  <a:lnTo>
                    <a:pt x="6946" y="720"/>
                  </a:lnTo>
                  <a:lnTo>
                    <a:pt x="6952" y="724"/>
                  </a:lnTo>
                  <a:lnTo>
                    <a:pt x="6958" y="726"/>
                  </a:lnTo>
                  <a:lnTo>
                    <a:pt x="6962" y="732"/>
                  </a:lnTo>
                  <a:lnTo>
                    <a:pt x="6956" y="732"/>
                  </a:lnTo>
                  <a:lnTo>
                    <a:pt x="6952" y="730"/>
                  </a:lnTo>
                  <a:lnTo>
                    <a:pt x="6944" y="728"/>
                  </a:lnTo>
                  <a:lnTo>
                    <a:pt x="6938" y="728"/>
                  </a:lnTo>
                  <a:lnTo>
                    <a:pt x="6932" y="726"/>
                  </a:lnTo>
                  <a:lnTo>
                    <a:pt x="6926" y="730"/>
                  </a:lnTo>
                  <a:lnTo>
                    <a:pt x="6920" y="726"/>
                  </a:lnTo>
                  <a:lnTo>
                    <a:pt x="6914" y="726"/>
                  </a:lnTo>
                  <a:lnTo>
                    <a:pt x="6908" y="724"/>
                  </a:lnTo>
                  <a:lnTo>
                    <a:pt x="6902" y="724"/>
                  </a:lnTo>
                  <a:lnTo>
                    <a:pt x="6898" y="724"/>
                  </a:lnTo>
                  <a:lnTo>
                    <a:pt x="6904" y="724"/>
                  </a:lnTo>
                  <a:lnTo>
                    <a:pt x="6910" y="726"/>
                  </a:lnTo>
                  <a:lnTo>
                    <a:pt x="6916" y="728"/>
                  </a:lnTo>
                  <a:lnTo>
                    <a:pt x="6922" y="732"/>
                  </a:lnTo>
                  <a:lnTo>
                    <a:pt x="6928" y="734"/>
                  </a:lnTo>
                  <a:lnTo>
                    <a:pt x="6936" y="736"/>
                  </a:lnTo>
                  <a:lnTo>
                    <a:pt x="6930" y="742"/>
                  </a:lnTo>
                  <a:lnTo>
                    <a:pt x="6936" y="742"/>
                  </a:lnTo>
                  <a:lnTo>
                    <a:pt x="6942" y="738"/>
                  </a:lnTo>
                  <a:lnTo>
                    <a:pt x="6948" y="740"/>
                  </a:lnTo>
                  <a:lnTo>
                    <a:pt x="6954" y="742"/>
                  </a:lnTo>
                  <a:lnTo>
                    <a:pt x="6960" y="740"/>
                  </a:lnTo>
                  <a:lnTo>
                    <a:pt x="6964" y="736"/>
                  </a:lnTo>
                  <a:lnTo>
                    <a:pt x="6970" y="732"/>
                  </a:lnTo>
                  <a:lnTo>
                    <a:pt x="6976" y="732"/>
                  </a:lnTo>
                  <a:lnTo>
                    <a:pt x="6982" y="734"/>
                  </a:lnTo>
                  <a:lnTo>
                    <a:pt x="6988" y="740"/>
                  </a:lnTo>
                  <a:lnTo>
                    <a:pt x="6992" y="746"/>
                  </a:lnTo>
                  <a:lnTo>
                    <a:pt x="6998" y="750"/>
                  </a:lnTo>
                  <a:lnTo>
                    <a:pt x="7004" y="754"/>
                  </a:lnTo>
                  <a:lnTo>
                    <a:pt x="7010" y="754"/>
                  </a:lnTo>
                  <a:lnTo>
                    <a:pt x="7012" y="756"/>
                  </a:lnTo>
                  <a:lnTo>
                    <a:pt x="7018" y="758"/>
                  </a:lnTo>
                  <a:lnTo>
                    <a:pt x="7024" y="760"/>
                  </a:lnTo>
                  <a:lnTo>
                    <a:pt x="7030" y="762"/>
                  </a:lnTo>
                  <a:lnTo>
                    <a:pt x="7036" y="764"/>
                  </a:lnTo>
                  <a:lnTo>
                    <a:pt x="7042" y="766"/>
                  </a:lnTo>
                  <a:lnTo>
                    <a:pt x="7048" y="766"/>
                  </a:lnTo>
                  <a:lnTo>
                    <a:pt x="7054" y="766"/>
                  </a:lnTo>
                  <a:lnTo>
                    <a:pt x="7048" y="764"/>
                  </a:lnTo>
                  <a:lnTo>
                    <a:pt x="7050" y="758"/>
                  </a:lnTo>
                  <a:lnTo>
                    <a:pt x="7058" y="762"/>
                  </a:lnTo>
                  <a:lnTo>
                    <a:pt x="7064" y="764"/>
                  </a:lnTo>
                  <a:lnTo>
                    <a:pt x="7070" y="768"/>
                  </a:lnTo>
                  <a:lnTo>
                    <a:pt x="7076" y="770"/>
                  </a:lnTo>
                  <a:lnTo>
                    <a:pt x="7082" y="774"/>
                  </a:lnTo>
                  <a:lnTo>
                    <a:pt x="7088" y="778"/>
                  </a:lnTo>
                  <a:lnTo>
                    <a:pt x="7082" y="776"/>
                  </a:lnTo>
                  <a:lnTo>
                    <a:pt x="7088" y="782"/>
                  </a:lnTo>
                  <a:lnTo>
                    <a:pt x="7094" y="782"/>
                  </a:lnTo>
                  <a:lnTo>
                    <a:pt x="7100" y="782"/>
                  </a:lnTo>
                  <a:lnTo>
                    <a:pt x="7106" y="786"/>
                  </a:lnTo>
                  <a:lnTo>
                    <a:pt x="7114" y="790"/>
                  </a:lnTo>
                  <a:lnTo>
                    <a:pt x="7118" y="794"/>
                  </a:lnTo>
                  <a:lnTo>
                    <a:pt x="7126" y="798"/>
                  </a:lnTo>
                  <a:lnTo>
                    <a:pt x="7132" y="802"/>
                  </a:lnTo>
                  <a:lnTo>
                    <a:pt x="7126" y="802"/>
                  </a:lnTo>
                  <a:lnTo>
                    <a:pt x="7132" y="804"/>
                  </a:lnTo>
                  <a:lnTo>
                    <a:pt x="7126" y="802"/>
                  </a:lnTo>
                  <a:lnTo>
                    <a:pt x="7120" y="802"/>
                  </a:lnTo>
                  <a:lnTo>
                    <a:pt x="7118" y="808"/>
                  </a:lnTo>
                  <a:lnTo>
                    <a:pt x="7124" y="806"/>
                  </a:lnTo>
                  <a:lnTo>
                    <a:pt x="7130" y="806"/>
                  </a:lnTo>
                  <a:lnTo>
                    <a:pt x="7136" y="808"/>
                  </a:lnTo>
                  <a:lnTo>
                    <a:pt x="7142" y="814"/>
                  </a:lnTo>
                  <a:lnTo>
                    <a:pt x="7148" y="812"/>
                  </a:lnTo>
                  <a:lnTo>
                    <a:pt x="7140" y="808"/>
                  </a:lnTo>
                  <a:lnTo>
                    <a:pt x="7134" y="804"/>
                  </a:lnTo>
                  <a:lnTo>
                    <a:pt x="7140" y="808"/>
                  </a:lnTo>
                  <a:lnTo>
                    <a:pt x="7148" y="812"/>
                  </a:lnTo>
                  <a:lnTo>
                    <a:pt x="7154" y="814"/>
                  </a:lnTo>
                  <a:lnTo>
                    <a:pt x="7160" y="818"/>
                  </a:lnTo>
                  <a:lnTo>
                    <a:pt x="7162" y="818"/>
                  </a:lnTo>
                  <a:lnTo>
                    <a:pt x="7168" y="822"/>
                  </a:lnTo>
                  <a:lnTo>
                    <a:pt x="7162" y="820"/>
                  </a:lnTo>
                  <a:lnTo>
                    <a:pt x="7156" y="820"/>
                  </a:lnTo>
                  <a:lnTo>
                    <a:pt x="7162" y="820"/>
                  </a:lnTo>
                  <a:lnTo>
                    <a:pt x="7168" y="824"/>
                  </a:lnTo>
                  <a:lnTo>
                    <a:pt x="7174" y="824"/>
                  </a:lnTo>
                  <a:lnTo>
                    <a:pt x="7182" y="826"/>
                  </a:lnTo>
                  <a:lnTo>
                    <a:pt x="7188" y="826"/>
                  </a:lnTo>
                  <a:lnTo>
                    <a:pt x="7194" y="830"/>
                  </a:lnTo>
                  <a:lnTo>
                    <a:pt x="7200" y="832"/>
                  </a:lnTo>
                  <a:lnTo>
                    <a:pt x="7206" y="834"/>
                  </a:lnTo>
                  <a:lnTo>
                    <a:pt x="7204" y="840"/>
                  </a:lnTo>
                  <a:lnTo>
                    <a:pt x="7210" y="844"/>
                  </a:lnTo>
                  <a:lnTo>
                    <a:pt x="7218" y="848"/>
                  </a:lnTo>
                  <a:lnTo>
                    <a:pt x="7224" y="848"/>
                  </a:lnTo>
                  <a:lnTo>
                    <a:pt x="7230" y="850"/>
                  </a:lnTo>
                  <a:lnTo>
                    <a:pt x="7236" y="854"/>
                  </a:lnTo>
                  <a:lnTo>
                    <a:pt x="7242" y="856"/>
                  </a:lnTo>
                  <a:lnTo>
                    <a:pt x="7248" y="860"/>
                  </a:lnTo>
                  <a:lnTo>
                    <a:pt x="7248" y="866"/>
                  </a:lnTo>
                  <a:lnTo>
                    <a:pt x="7250" y="872"/>
                  </a:lnTo>
                  <a:lnTo>
                    <a:pt x="7242" y="874"/>
                  </a:lnTo>
                  <a:lnTo>
                    <a:pt x="7248" y="878"/>
                  </a:lnTo>
                  <a:lnTo>
                    <a:pt x="7252" y="884"/>
                  </a:lnTo>
                  <a:lnTo>
                    <a:pt x="7244" y="882"/>
                  </a:lnTo>
                  <a:lnTo>
                    <a:pt x="7238" y="880"/>
                  </a:lnTo>
                  <a:lnTo>
                    <a:pt x="7232" y="880"/>
                  </a:lnTo>
                  <a:lnTo>
                    <a:pt x="7226" y="878"/>
                  </a:lnTo>
                  <a:lnTo>
                    <a:pt x="7220" y="876"/>
                  </a:lnTo>
                  <a:lnTo>
                    <a:pt x="7214" y="876"/>
                  </a:lnTo>
                  <a:lnTo>
                    <a:pt x="7208" y="874"/>
                  </a:lnTo>
                  <a:lnTo>
                    <a:pt x="7202" y="874"/>
                  </a:lnTo>
                  <a:lnTo>
                    <a:pt x="7196" y="872"/>
                  </a:lnTo>
                  <a:lnTo>
                    <a:pt x="7190" y="870"/>
                  </a:lnTo>
                  <a:lnTo>
                    <a:pt x="7184" y="870"/>
                  </a:lnTo>
                  <a:lnTo>
                    <a:pt x="7178" y="868"/>
                  </a:lnTo>
                  <a:lnTo>
                    <a:pt x="7172" y="868"/>
                  </a:lnTo>
                  <a:lnTo>
                    <a:pt x="7164" y="868"/>
                  </a:lnTo>
                  <a:lnTo>
                    <a:pt x="7158" y="868"/>
                  </a:lnTo>
                  <a:lnTo>
                    <a:pt x="7152" y="868"/>
                  </a:lnTo>
                  <a:lnTo>
                    <a:pt x="7146" y="866"/>
                  </a:lnTo>
                  <a:lnTo>
                    <a:pt x="7140" y="860"/>
                  </a:lnTo>
                  <a:lnTo>
                    <a:pt x="7138" y="856"/>
                  </a:lnTo>
                  <a:lnTo>
                    <a:pt x="7130" y="854"/>
                  </a:lnTo>
                  <a:lnTo>
                    <a:pt x="7134" y="860"/>
                  </a:lnTo>
                  <a:lnTo>
                    <a:pt x="7128" y="858"/>
                  </a:lnTo>
                  <a:lnTo>
                    <a:pt x="7122" y="854"/>
                  </a:lnTo>
                  <a:lnTo>
                    <a:pt x="7116" y="852"/>
                  </a:lnTo>
                  <a:lnTo>
                    <a:pt x="7110" y="850"/>
                  </a:lnTo>
                  <a:lnTo>
                    <a:pt x="7112" y="852"/>
                  </a:lnTo>
                  <a:lnTo>
                    <a:pt x="7118" y="856"/>
                  </a:lnTo>
                  <a:lnTo>
                    <a:pt x="7122" y="860"/>
                  </a:lnTo>
                  <a:lnTo>
                    <a:pt x="7126" y="864"/>
                  </a:lnTo>
                  <a:lnTo>
                    <a:pt x="7132" y="866"/>
                  </a:lnTo>
                  <a:lnTo>
                    <a:pt x="7140" y="868"/>
                  </a:lnTo>
                  <a:lnTo>
                    <a:pt x="7146" y="868"/>
                  </a:lnTo>
                  <a:lnTo>
                    <a:pt x="7140" y="868"/>
                  </a:lnTo>
                  <a:lnTo>
                    <a:pt x="7134" y="870"/>
                  </a:lnTo>
                  <a:lnTo>
                    <a:pt x="7126" y="872"/>
                  </a:lnTo>
                  <a:lnTo>
                    <a:pt x="7122" y="874"/>
                  </a:lnTo>
                  <a:lnTo>
                    <a:pt x="7118" y="880"/>
                  </a:lnTo>
                  <a:lnTo>
                    <a:pt x="7116" y="884"/>
                  </a:lnTo>
                  <a:lnTo>
                    <a:pt x="7110" y="886"/>
                  </a:lnTo>
                  <a:lnTo>
                    <a:pt x="7104" y="888"/>
                  </a:lnTo>
                  <a:lnTo>
                    <a:pt x="7098" y="894"/>
                  </a:lnTo>
                  <a:lnTo>
                    <a:pt x="7092" y="896"/>
                  </a:lnTo>
                  <a:lnTo>
                    <a:pt x="7086" y="896"/>
                  </a:lnTo>
                  <a:lnTo>
                    <a:pt x="7090" y="902"/>
                  </a:lnTo>
                  <a:lnTo>
                    <a:pt x="7084" y="906"/>
                  </a:lnTo>
                  <a:lnTo>
                    <a:pt x="7078" y="908"/>
                  </a:lnTo>
                  <a:lnTo>
                    <a:pt x="7072" y="906"/>
                  </a:lnTo>
                  <a:lnTo>
                    <a:pt x="7066" y="906"/>
                  </a:lnTo>
                  <a:lnTo>
                    <a:pt x="7072" y="908"/>
                  </a:lnTo>
                  <a:lnTo>
                    <a:pt x="7078" y="912"/>
                  </a:lnTo>
                  <a:lnTo>
                    <a:pt x="7072" y="916"/>
                  </a:lnTo>
                  <a:lnTo>
                    <a:pt x="7070" y="914"/>
                  </a:lnTo>
                  <a:lnTo>
                    <a:pt x="7062" y="916"/>
                  </a:lnTo>
                  <a:lnTo>
                    <a:pt x="7056" y="914"/>
                  </a:lnTo>
                  <a:lnTo>
                    <a:pt x="7050" y="914"/>
                  </a:lnTo>
                  <a:lnTo>
                    <a:pt x="7056" y="918"/>
                  </a:lnTo>
                  <a:lnTo>
                    <a:pt x="7052" y="924"/>
                  </a:lnTo>
                  <a:lnTo>
                    <a:pt x="7046" y="922"/>
                  </a:lnTo>
                  <a:lnTo>
                    <a:pt x="7040" y="920"/>
                  </a:lnTo>
                  <a:lnTo>
                    <a:pt x="7034" y="920"/>
                  </a:lnTo>
                  <a:lnTo>
                    <a:pt x="7038" y="928"/>
                  </a:lnTo>
                  <a:lnTo>
                    <a:pt x="7044" y="932"/>
                  </a:lnTo>
                  <a:lnTo>
                    <a:pt x="7038" y="932"/>
                  </a:lnTo>
                  <a:lnTo>
                    <a:pt x="7042" y="938"/>
                  </a:lnTo>
                  <a:lnTo>
                    <a:pt x="7036" y="942"/>
                  </a:lnTo>
                  <a:lnTo>
                    <a:pt x="7030" y="940"/>
                  </a:lnTo>
                  <a:lnTo>
                    <a:pt x="7024" y="938"/>
                  </a:lnTo>
                  <a:lnTo>
                    <a:pt x="7018" y="940"/>
                  </a:lnTo>
                  <a:lnTo>
                    <a:pt x="7024" y="942"/>
                  </a:lnTo>
                  <a:lnTo>
                    <a:pt x="7032" y="944"/>
                  </a:lnTo>
                  <a:lnTo>
                    <a:pt x="7038" y="948"/>
                  </a:lnTo>
                  <a:lnTo>
                    <a:pt x="7032" y="948"/>
                  </a:lnTo>
                  <a:lnTo>
                    <a:pt x="7024" y="946"/>
                  </a:lnTo>
                  <a:lnTo>
                    <a:pt x="7032" y="948"/>
                  </a:lnTo>
                  <a:lnTo>
                    <a:pt x="7030" y="954"/>
                  </a:lnTo>
                  <a:lnTo>
                    <a:pt x="7024" y="954"/>
                  </a:lnTo>
                  <a:lnTo>
                    <a:pt x="7018" y="954"/>
                  </a:lnTo>
                  <a:lnTo>
                    <a:pt x="7024" y="958"/>
                  </a:lnTo>
                  <a:lnTo>
                    <a:pt x="7020" y="958"/>
                  </a:lnTo>
                  <a:lnTo>
                    <a:pt x="7024" y="960"/>
                  </a:lnTo>
                  <a:lnTo>
                    <a:pt x="7032" y="966"/>
                  </a:lnTo>
                  <a:lnTo>
                    <a:pt x="7026" y="966"/>
                  </a:lnTo>
                  <a:lnTo>
                    <a:pt x="7020" y="962"/>
                  </a:lnTo>
                  <a:lnTo>
                    <a:pt x="7012" y="962"/>
                  </a:lnTo>
                  <a:lnTo>
                    <a:pt x="7020" y="964"/>
                  </a:lnTo>
                  <a:lnTo>
                    <a:pt x="7026" y="966"/>
                  </a:lnTo>
                  <a:lnTo>
                    <a:pt x="7028" y="972"/>
                  </a:lnTo>
                  <a:lnTo>
                    <a:pt x="7026" y="974"/>
                  </a:lnTo>
                  <a:lnTo>
                    <a:pt x="7020" y="972"/>
                  </a:lnTo>
                  <a:lnTo>
                    <a:pt x="7020" y="978"/>
                  </a:lnTo>
                  <a:lnTo>
                    <a:pt x="7014" y="978"/>
                  </a:lnTo>
                  <a:lnTo>
                    <a:pt x="7012" y="984"/>
                  </a:lnTo>
                  <a:lnTo>
                    <a:pt x="7006" y="982"/>
                  </a:lnTo>
                  <a:lnTo>
                    <a:pt x="7012" y="988"/>
                  </a:lnTo>
                  <a:lnTo>
                    <a:pt x="7008" y="994"/>
                  </a:lnTo>
                  <a:lnTo>
                    <a:pt x="7002" y="996"/>
                  </a:lnTo>
                  <a:lnTo>
                    <a:pt x="6996" y="998"/>
                  </a:lnTo>
                  <a:lnTo>
                    <a:pt x="6990" y="996"/>
                  </a:lnTo>
                  <a:lnTo>
                    <a:pt x="6994" y="1004"/>
                  </a:lnTo>
                  <a:lnTo>
                    <a:pt x="6988" y="1002"/>
                  </a:lnTo>
                  <a:lnTo>
                    <a:pt x="6994" y="1006"/>
                  </a:lnTo>
                  <a:lnTo>
                    <a:pt x="6998" y="1012"/>
                  </a:lnTo>
                  <a:lnTo>
                    <a:pt x="7002" y="1018"/>
                  </a:lnTo>
                  <a:lnTo>
                    <a:pt x="7008" y="1024"/>
                  </a:lnTo>
                  <a:lnTo>
                    <a:pt x="7012" y="1028"/>
                  </a:lnTo>
                  <a:lnTo>
                    <a:pt x="7010" y="1034"/>
                  </a:lnTo>
                  <a:lnTo>
                    <a:pt x="7004" y="1032"/>
                  </a:lnTo>
                  <a:lnTo>
                    <a:pt x="6998" y="1028"/>
                  </a:lnTo>
                  <a:lnTo>
                    <a:pt x="6996" y="1028"/>
                  </a:lnTo>
                  <a:lnTo>
                    <a:pt x="6990" y="1026"/>
                  </a:lnTo>
                  <a:lnTo>
                    <a:pt x="6984" y="1024"/>
                  </a:lnTo>
                  <a:lnTo>
                    <a:pt x="6978" y="1020"/>
                  </a:lnTo>
                  <a:lnTo>
                    <a:pt x="6974" y="1014"/>
                  </a:lnTo>
                  <a:lnTo>
                    <a:pt x="6968" y="1014"/>
                  </a:lnTo>
                  <a:lnTo>
                    <a:pt x="6962" y="1012"/>
                  </a:lnTo>
                  <a:lnTo>
                    <a:pt x="6956" y="1010"/>
                  </a:lnTo>
                  <a:lnTo>
                    <a:pt x="6950" y="1004"/>
                  </a:lnTo>
                  <a:lnTo>
                    <a:pt x="6944" y="1002"/>
                  </a:lnTo>
                  <a:lnTo>
                    <a:pt x="6938" y="1000"/>
                  </a:lnTo>
                  <a:lnTo>
                    <a:pt x="6932" y="1000"/>
                  </a:lnTo>
                  <a:lnTo>
                    <a:pt x="6926" y="998"/>
                  </a:lnTo>
                  <a:lnTo>
                    <a:pt x="6920" y="994"/>
                  </a:lnTo>
                  <a:lnTo>
                    <a:pt x="6914" y="990"/>
                  </a:lnTo>
                  <a:lnTo>
                    <a:pt x="6908" y="994"/>
                  </a:lnTo>
                  <a:lnTo>
                    <a:pt x="6902" y="994"/>
                  </a:lnTo>
                  <a:lnTo>
                    <a:pt x="6896" y="994"/>
                  </a:lnTo>
                  <a:lnTo>
                    <a:pt x="6890" y="994"/>
                  </a:lnTo>
                  <a:lnTo>
                    <a:pt x="6884" y="994"/>
                  </a:lnTo>
                  <a:lnTo>
                    <a:pt x="6878" y="992"/>
                  </a:lnTo>
                  <a:lnTo>
                    <a:pt x="6872" y="992"/>
                  </a:lnTo>
                  <a:lnTo>
                    <a:pt x="6866" y="992"/>
                  </a:lnTo>
                  <a:lnTo>
                    <a:pt x="6860" y="994"/>
                  </a:lnTo>
                  <a:lnTo>
                    <a:pt x="6854" y="996"/>
                  </a:lnTo>
                  <a:lnTo>
                    <a:pt x="6848" y="998"/>
                  </a:lnTo>
                  <a:lnTo>
                    <a:pt x="6842" y="1002"/>
                  </a:lnTo>
                  <a:lnTo>
                    <a:pt x="6834" y="1002"/>
                  </a:lnTo>
                  <a:lnTo>
                    <a:pt x="6828" y="1000"/>
                  </a:lnTo>
                  <a:lnTo>
                    <a:pt x="6834" y="1006"/>
                  </a:lnTo>
                  <a:lnTo>
                    <a:pt x="6828" y="1006"/>
                  </a:lnTo>
                  <a:lnTo>
                    <a:pt x="6822" y="1006"/>
                  </a:lnTo>
                  <a:lnTo>
                    <a:pt x="6822" y="1012"/>
                  </a:lnTo>
                  <a:lnTo>
                    <a:pt x="6824" y="1018"/>
                  </a:lnTo>
                  <a:lnTo>
                    <a:pt x="6824" y="1024"/>
                  </a:lnTo>
                  <a:lnTo>
                    <a:pt x="6824" y="1028"/>
                  </a:lnTo>
                  <a:lnTo>
                    <a:pt x="6824" y="1034"/>
                  </a:lnTo>
                  <a:lnTo>
                    <a:pt x="6822" y="1040"/>
                  </a:lnTo>
                  <a:lnTo>
                    <a:pt x="6816" y="1040"/>
                  </a:lnTo>
                  <a:lnTo>
                    <a:pt x="6810" y="1036"/>
                  </a:lnTo>
                  <a:lnTo>
                    <a:pt x="6804" y="1028"/>
                  </a:lnTo>
                  <a:lnTo>
                    <a:pt x="6802" y="1026"/>
                  </a:lnTo>
                  <a:lnTo>
                    <a:pt x="6796" y="1020"/>
                  </a:lnTo>
                  <a:lnTo>
                    <a:pt x="6794" y="1014"/>
                  </a:lnTo>
                  <a:lnTo>
                    <a:pt x="6788" y="1008"/>
                  </a:lnTo>
                  <a:lnTo>
                    <a:pt x="6784" y="1002"/>
                  </a:lnTo>
                  <a:lnTo>
                    <a:pt x="6778" y="1000"/>
                  </a:lnTo>
                  <a:lnTo>
                    <a:pt x="6772" y="1000"/>
                  </a:lnTo>
                  <a:lnTo>
                    <a:pt x="6766" y="1002"/>
                  </a:lnTo>
                  <a:lnTo>
                    <a:pt x="6766" y="1008"/>
                  </a:lnTo>
                  <a:lnTo>
                    <a:pt x="6762" y="1014"/>
                  </a:lnTo>
                  <a:lnTo>
                    <a:pt x="6756" y="1018"/>
                  </a:lnTo>
                  <a:lnTo>
                    <a:pt x="6752" y="1024"/>
                  </a:lnTo>
                  <a:lnTo>
                    <a:pt x="6746" y="1022"/>
                  </a:lnTo>
                  <a:lnTo>
                    <a:pt x="6740" y="1022"/>
                  </a:lnTo>
                  <a:lnTo>
                    <a:pt x="6746" y="1024"/>
                  </a:lnTo>
                  <a:lnTo>
                    <a:pt x="6752" y="1026"/>
                  </a:lnTo>
                  <a:lnTo>
                    <a:pt x="6758" y="1028"/>
                  </a:lnTo>
                  <a:lnTo>
                    <a:pt x="6760" y="1030"/>
                  </a:lnTo>
                  <a:lnTo>
                    <a:pt x="6760" y="1036"/>
                  </a:lnTo>
                  <a:lnTo>
                    <a:pt x="6758" y="1042"/>
                  </a:lnTo>
                  <a:lnTo>
                    <a:pt x="6752" y="1042"/>
                  </a:lnTo>
                  <a:lnTo>
                    <a:pt x="6746" y="1036"/>
                  </a:lnTo>
                  <a:lnTo>
                    <a:pt x="6740" y="1032"/>
                  </a:lnTo>
                  <a:lnTo>
                    <a:pt x="6732" y="1028"/>
                  </a:lnTo>
                  <a:lnTo>
                    <a:pt x="6730" y="1028"/>
                  </a:lnTo>
                  <a:lnTo>
                    <a:pt x="6724" y="1026"/>
                  </a:lnTo>
                  <a:lnTo>
                    <a:pt x="6718" y="1022"/>
                  </a:lnTo>
                  <a:lnTo>
                    <a:pt x="6712" y="1026"/>
                  </a:lnTo>
                  <a:lnTo>
                    <a:pt x="6718" y="1028"/>
                  </a:lnTo>
                  <a:lnTo>
                    <a:pt x="6716" y="1030"/>
                  </a:lnTo>
                  <a:lnTo>
                    <a:pt x="6710" y="1032"/>
                  </a:lnTo>
                  <a:lnTo>
                    <a:pt x="6710" y="1030"/>
                  </a:lnTo>
                  <a:lnTo>
                    <a:pt x="6704" y="1028"/>
                  </a:lnTo>
                  <a:lnTo>
                    <a:pt x="6702" y="1028"/>
                  </a:lnTo>
                  <a:lnTo>
                    <a:pt x="6694" y="1028"/>
                  </a:lnTo>
                  <a:lnTo>
                    <a:pt x="6688" y="1026"/>
                  </a:lnTo>
                  <a:lnTo>
                    <a:pt x="6682" y="1028"/>
                  </a:lnTo>
                  <a:lnTo>
                    <a:pt x="6684" y="1030"/>
                  </a:lnTo>
                  <a:lnTo>
                    <a:pt x="6690" y="1030"/>
                  </a:lnTo>
                  <a:lnTo>
                    <a:pt x="6690" y="1036"/>
                  </a:lnTo>
                  <a:lnTo>
                    <a:pt x="6682" y="1036"/>
                  </a:lnTo>
                  <a:lnTo>
                    <a:pt x="6684" y="1042"/>
                  </a:lnTo>
                  <a:lnTo>
                    <a:pt x="6690" y="1048"/>
                  </a:lnTo>
                  <a:lnTo>
                    <a:pt x="6696" y="1052"/>
                  </a:lnTo>
                  <a:lnTo>
                    <a:pt x="6692" y="1058"/>
                  </a:lnTo>
                  <a:lnTo>
                    <a:pt x="6698" y="1062"/>
                  </a:lnTo>
                  <a:lnTo>
                    <a:pt x="6704" y="1064"/>
                  </a:lnTo>
                  <a:lnTo>
                    <a:pt x="6710" y="1068"/>
                  </a:lnTo>
                  <a:lnTo>
                    <a:pt x="6716" y="1074"/>
                  </a:lnTo>
                  <a:lnTo>
                    <a:pt x="6708" y="1074"/>
                  </a:lnTo>
                  <a:lnTo>
                    <a:pt x="6712" y="1080"/>
                  </a:lnTo>
                  <a:lnTo>
                    <a:pt x="6718" y="1082"/>
                  </a:lnTo>
                  <a:lnTo>
                    <a:pt x="6724" y="1088"/>
                  </a:lnTo>
                  <a:lnTo>
                    <a:pt x="6718" y="1086"/>
                  </a:lnTo>
                  <a:lnTo>
                    <a:pt x="6712" y="1088"/>
                  </a:lnTo>
                  <a:lnTo>
                    <a:pt x="6718" y="1090"/>
                  </a:lnTo>
                  <a:lnTo>
                    <a:pt x="6724" y="1096"/>
                  </a:lnTo>
                  <a:lnTo>
                    <a:pt x="6718" y="1094"/>
                  </a:lnTo>
                  <a:lnTo>
                    <a:pt x="6716" y="1100"/>
                  </a:lnTo>
                  <a:lnTo>
                    <a:pt x="6718" y="1106"/>
                  </a:lnTo>
                  <a:lnTo>
                    <a:pt x="6716" y="1112"/>
                  </a:lnTo>
                  <a:lnTo>
                    <a:pt x="6716" y="1118"/>
                  </a:lnTo>
                  <a:lnTo>
                    <a:pt x="6716" y="1124"/>
                  </a:lnTo>
                  <a:lnTo>
                    <a:pt x="6720" y="1130"/>
                  </a:lnTo>
                  <a:lnTo>
                    <a:pt x="6722" y="1136"/>
                  </a:lnTo>
                  <a:lnTo>
                    <a:pt x="6728" y="1142"/>
                  </a:lnTo>
                  <a:lnTo>
                    <a:pt x="6730" y="1148"/>
                  </a:lnTo>
                  <a:lnTo>
                    <a:pt x="6736" y="1154"/>
                  </a:lnTo>
                  <a:lnTo>
                    <a:pt x="6740" y="1158"/>
                  </a:lnTo>
                  <a:lnTo>
                    <a:pt x="6746" y="1162"/>
                  </a:lnTo>
                  <a:lnTo>
                    <a:pt x="6754" y="1164"/>
                  </a:lnTo>
                  <a:lnTo>
                    <a:pt x="6760" y="1168"/>
                  </a:lnTo>
                  <a:lnTo>
                    <a:pt x="6766" y="1168"/>
                  </a:lnTo>
                  <a:lnTo>
                    <a:pt x="6772" y="1170"/>
                  </a:lnTo>
                  <a:lnTo>
                    <a:pt x="6778" y="1172"/>
                  </a:lnTo>
                  <a:lnTo>
                    <a:pt x="6782" y="1176"/>
                  </a:lnTo>
                  <a:lnTo>
                    <a:pt x="6780" y="1172"/>
                  </a:lnTo>
                  <a:lnTo>
                    <a:pt x="6774" y="1166"/>
                  </a:lnTo>
                  <a:lnTo>
                    <a:pt x="6774" y="1160"/>
                  </a:lnTo>
                  <a:lnTo>
                    <a:pt x="6780" y="1160"/>
                  </a:lnTo>
                  <a:lnTo>
                    <a:pt x="6786" y="1162"/>
                  </a:lnTo>
                  <a:lnTo>
                    <a:pt x="6792" y="1164"/>
                  </a:lnTo>
                  <a:lnTo>
                    <a:pt x="6798" y="1166"/>
                  </a:lnTo>
                  <a:lnTo>
                    <a:pt x="6804" y="1168"/>
                  </a:lnTo>
                  <a:lnTo>
                    <a:pt x="6810" y="1168"/>
                  </a:lnTo>
                  <a:lnTo>
                    <a:pt x="6818" y="1170"/>
                  </a:lnTo>
                  <a:lnTo>
                    <a:pt x="6824" y="1174"/>
                  </a:lnTo>
                  <a:lnTo>
                    <a:pt x="6828" y="1182"/>
                  </a:lnTo>
                  <a:lnTo>
                    <a:pt x="6828" y="1188"/>
                  </a:lnTo>
                  <a:lnTo>
                    <a:pt x="6826" y="1194"/>
                  </a:lnTo>
                  <a:lnTo>
                    <a:pt x="6824" y="1198"/>
                  </a:lnTo>
                  <a:lnTo>
                    <a:pt x="6828" y="1204"/>
                  </a:lnTo>
                  <a:lnTo>
                    <a:pt x="6834" y="1208"/>
                  </a:lnTo>
                  <a:lnTo>
                    <a:pt x="6834" y="1210"/>
                  </a:lnTo>
                  <a:lnTo>
                    <a:pt x="6840" y="1214"/>
                  </a:lnTo>
                  <a:lnTo>
                    <a:pt x="6846" y="1218"/>
                  </a:lnTo>
                  <a:lnTo>
                    <a:pt x="6852" y="1224"/>
                  </a:lnTo>
                  <a:lnTo>
                    <a:pt x="6856" y="1230"/>
                  </a:lnTo>
                  <a:lnTo>
                    <a:pt x="6864" y="1234"/>
                  </a:lnTo>
                  <a:lnTo>
                    <a:pt x="6870" y="1238"/>
                  </a:lnTo>
                  <a:lnTo>
                    <a:pt x="6876" y="1240"/>
                  </a:lnTo>
                  <a:lnTo>
                    <a:pt x="6882" y="1238"/>
                  </a:lnTo>
                  <a:lnTo>
                    <a:pt x="6888" y="1240"/>
                  </a:lnTo>
                  <a:lnTo>
                    <a:pt x="6894" y="1244"/>
                  </a:lnTo>
                  <a:lnTo>
                    <a:pt x="6900" y="1248"/>
                  </a:lnTo>
                  <a:lnTo>
                    <a:pt x="6906" y="1254"/>
                  </a:lnTo>
                  <a:lnTo>
                    <a:pt x="6912" y="1258"/>
                  </a:lnTo>
                  <a:lnTo>
                    <a:pt x="6918" y="1262"/>
                  </a:lnTo>
                  <a:lnTo>
                    <a:pt x="6924" y="1268"/>
                  </a:lnTo>
                  <a:lnTo>
                    <a:pt x="6930" y="1272"/>
                  </a:lnTo>
                  <a:lnTo>
                    <a:pt x="6926" y="1278"/>
                  </a:lnTo>
                  <a:lnTo>
                    <a:pt x="6922" y="1284"/>
                  </a:lnTo>
                  <a:lnTo>
                    <a:pt x="6916" y="1282"/>
                  </a:lnTo>
                  <a:lnTo>
                    <a:pt x="6910" y="1280"/>
                  </a:lnTo>
                  <a:lnTo>
                    <a:pt x="6904" y="1278"/>
                  </a:lnTo>
                  <a:lnTo>
                    <a:pt x="6898" y="1274"/>
                  </a:lnTo>
                  <a:lnTo>
                    <a:pt x="6892" y="1268"/>
                  </a:lnTo>
                  <a:lnTo>
                    <a:pt x="6890" y="1262"/>
                  </a:lnTo>
                  <a:lnTo>
                    <a:pt x="6896" y="1258"/>
                  </a:lnTo>
                  <a:lnTo>
                    <a:pt x="6894" y="1252"/>
                  </a:lnTo>
                  <a:lnTo>
                    <a:pt x="6888" y="1252"/>
                  </a:lnTo>
                  <a:lnTo>
                    <a:pt x="6888" y="1258"/>
                  </a:lnTo>
                  <a:lnTo>
                    <a:pt x="6882" y="1254"/>
                  </a:lnTo>
                  <a:lnTo>
                    <a:pt x="6876" y="1256"/>
                  </a:lnTo>
                  <a:lnTo>
                    <a:pt x="6872" y="1262"/>
                  </a:lnTo>
                  <a:lnTo>
                    <a:pt x="6878" y="1264"/>
                  </a:lnTo>
                  <a:lnTo>
                    <a:pt x="6884" y="1270"/>
                  </a:lnTo>
                  <a:lnTo>
                    <a:pt x="6880" y="1274"/>
                  </a:lnTo>
                  <a:lnTo>
                    <a:pt x="6876" y="1278"/>
                  </a:lnTo>
                  <a:lnTo>
                    <a:pt x="6874" y="1282"/>
                  </a:lnTo>
                  <a:lnTo>
                    <a:pt x="6880" y="1290"/>
                  </a:lnTo>
                  <a:lnTo>
                    <a:pt x="6880" y="1296"/>
                  </a:lnTo>
                  <a:lnTo>
                    <a:pt x="6884" y="1302"/>
                  </a:lnTo>
                  <a:lnTo>
                    <a:pt x="6886" y="1308"/>
                  </a:lnTo>
                  <a:lnTo>
                    <a:pt x="6890" y="1314"/>
                  </a:lnTo>
                  <a:lnTo>
                    <a:pt x="6894" y="1320"/>
                  </a:lnTo>
                  <a:lnTo>
                    <a:pt x="6902" y="1326"/>
                  </a:lnTo>
                  <a:lnTo>
                    <a:pt x="6906" y="1330"/>
                  </a:lnTo>
                  <a:lnTo>
                    <a:pt x="6914" y="1336"/>
                  </a:lnTo>
                  <a:lnTo>
                    <a:pt x="6920" y="1340"/>
                  </a:lnTo>
                  <a:lnTo>
                    <a:pt x="6926" y="1344"/>
                  </a:lnTo>
                  <a:lnTo>
                    <a:pt x="6932" y="1348"/>
                  </a:lnTo>
                  <a:lnTo>
                    <a:pt x="6938" y="1350"/>
                  </a:lnTo>
                  <a:lnTo>
                    <a:pt x="6944" y="1354"/>
                  </a:lnTo>
                  <a:lnTo>
                    <a:pt x="6952" y="1358"/>
                  </a:lnTo>
                  <a:lnTo>
                    <a:pt x="6956" y="1360"/>
                  </a:lnTo>
                  <a:lnTo>
                    <a:pt x="6962" y="1366"/>
                  </a:lnTo>
                  <a:lnTo>
                    <a:pt x="6962" y="1372"/>
                  </a:lnTo>
                  <a:lnTo>
                    <a:pt x="6958" y="1378"/>
                  </a:lnTo>
                  <a:lnTo>
                    <a:pt x="6960" y="1384"/>
                  </a:lnTo>
                  <a:lnTo>
                    <a:pt x="6952" y="1382"/>
                  </a:lnTo>
                  <a:lnTo>
                    <a:pt x="6948" y="1384"/>
                  </a:lnTo>
                  <a:lnTo>
                    <a:pt x="6940" y="1384"/>
                  </a:lnTo>
                  <a:lnTo>
                    <a:pt x="6936" y="1384"/>
                  </a:lnTo>
                  <a:lnTo>
                    <a:pt x="6928" y="1380"/>
                  </a:lnTo>
                  <a:lnTo>
                    <a:pt x="6922" y="1378"/>
                  </a:lnTo>
                  <a:lnTo>
                    <a:pt x="6916" y="1378"/>
                  </a:lnTo>
                  <a:lnTo>
                    <a:pt x="6910" y="1380"/>
                  </a:lnTo>
                  <a:lnTo>
                    <a:pt x="6904" y="1384"/>
                  </a:lnTo>
                  <a:lnTo>
                    <a:pt x="6902" y="1390"/>
                  </a:lnTo>
                  <a:lnTo>
                    <a:pt x="6900" y="1396"/>
                  </a:lnTo>
                  <a:lnTo>
                    <a:pt x="6894" y="1402"/>
                  </a:lnTo>
                  <a:lnTo>
                    <a:pt x="6894" y="1408"/>
                  </a:lnTo>
                  <a:lnTo>
                    <a:pt x="6894" y="1410"/>
                  </a:lnTo>
                  <a:lnTo>
                    <a:pt x="6898" y="1416"/>
                  </a:lnTo>
                  <a:lnTo>
                    <a:pt x="6902" y="1422"/>
                  </a:lnTo>
                  <a:lnTo>
                    <a:pt x="6904" y="1428"/>
                  </a:lnTo>
                  <a:lnTo>
                    <a:pt x="6910" y="1434"/>
                  </a:lnTo>
                  <a:lnTo>
                    <a:pt x="6914" y="1440"/>
                  </a:lnTo>
                  <a:lnTo>
                    <a:pt x="6920" y="1440"/>
                  </a:lnTo>
                  <a:lnTo>
                    <a:pt x="6928" y="1446"/>
                  </a:lnTo>
                  <a:lnTo>
                    <a:pt x="6930" y="1452"/>
                  </a:lnTo>
                  <a:lnTo>
                    <a:pt x="6924" y="1450"/>
                  </a:lnTo>
                  <a:lnTo>
                    <a:pt x="6930" y="1454"/>
                  </a:lnTo>
                  <a:lnTo>
                    <a:pt x="6936" y="1456"/>
                  </a:lnTo>
                  <a:lnTo>
                    <a:pt x="6942" y="1460"/>
                  </a:lnTo>
                  <a:lnTo>
                    <a:pt x="6948" y="1464"/>
                  </a:lnTo>
                  <a:lnTo>
                    <a:pt x="6954" y="1470"/>
                  </a:lnTo>
                  <a:lnTo>
                    <a:pt x="6958" y="1476"/>
                  </a:lnTo>
                  <a:lnTo>
                    <a:pt x="6956" y="1476"/>
                  </a:lnTo>
                  <a:lnTo>
                    <a:pt x="6948" y="1472"/>
                  </a:lnTo>
                  <a:lnTo>
                    <a:pt x="6942" y="1470"/>
                  </a:lnTo>
                  <a:lnTo>
                    <a:pt x="6938" y="1464"/>
                  </a:lnTo>
                  <a:lnTo>
                    <a:pt x="6932" y="1466"/>
                  </a:lnTo>
                  <a:lnTo>
                    <a:pt x="6926" y="1466"/>
                  </a:lnTo>
                  <a:lnTo>
                    <a:pt x="6922" y="1472"/>
                  </a:lnTo>
                  <a:lnTo>
                    <a:pt x="6916" y="1474"/>
                  </a:lnTo>
                  <a:lnTo>
                    <a:pt x="6910" y="1476"/>
                  </a:lnTo>
                  <a:lnTo>
                    <a:pt x="6906" y="1482"/>
                  </a:lnTo>
                  <a:lnTo>
                    <a:pt x="6902" y="1488"/>
                  </a:lnTo>
                  <a:lnTo>
                    <a:pt x="6896" y="1484"/>
                  </a:lnTo>
                  <a:lnTo>
                    <a:pt x="6890" y="1480"/>
                  </a:lnTo>
                  <a:lnTo>
                    <a:pt x="6884" y="1480"/>
                  </a:lnTo>
                  <a:lnTo>
                    <a:pt x="6886" y="1486"/>
                  </a:lnTo>
                  <a:lnTo>
                    <a:pt x="6892" y="1486"/>
                  </a:lnTo>
                  <a:lnTo>
                    <a:pt x="6898" y="1488"/>
                  </a:lnTo>
                  <a:lnTo>
                    <a:pt x="6898" y="1494"/>
                  </a:lnTo>
                  <a:lnTo>
                    <a:pt x="6902" y="1500"/>
                  </a:lnTo>
                  <a:lnTo>
                    <a:pt x="6910" y="1504"/>
                  </a:lnTo>
                  <a:lnTo>
                    <a:pt x="6908" y="1510"/>
                  </a:lnTo>
                  <a:lnTo>
                    <a:pt x="6914" y="1512"/>
                  </a:lnTo>
                  <a:lnTo>
                    <a:pt x="6916" y="1518"/>
                  </a:lnTo>
                  <a:lnTo>
                    <a:pt x="6922" y="1520"/>
                  </a:lnTo>
                  <a:lnTo>
                    <a:pt x="6928" y="1526"/>
                  </a:lnTo>
                  <a:lnTo>
                    <a:pt x="6928" y="1532"/>
                  </a:lnTo>
                  <a:lnTo>
                    <a:pt x="6932" y="1538"/>
                  </a:lnTo>
                  <a:lnTo>
                    <a:pt x="6932" y="1544"/>
                  </a:lnTo>
                  <a:lnTo>
                    <a:pt x="6936" y="1550"/>
                  </a:lnTo>
                  <a:lnTo>
                    <a:pt x="6936" y="1556"/>
                  </a:lnTo>
                  <a:lnTo>
                    <a:pt x="6936" y="1562"/>
                  </a:lnTo>
                  <a:lnTo>
                    <a:pt x="6936" y="1568"/>
                  </a:lnTo>
                  <a:lnTo>
                    <a:pt x="6936" y="1574"/>
                  </a:lnTo>
                  <a:lnTo>
                    <a:pt x="6932" y="1578"/>
                  </a:lnTo>
                  <a:lnTo>
                    <a:pt x="6926" y="1584"/>
                  </a:lnTo>
                  <a:lnTo>
                    <a:pt x="6928" y="1590"/>
                  </a:lnTo>
                  <a:lnTo>
                    <a:pt x="6924" y="1596"/>
                  </a:lnTo>
                  <a:lnTo>
                    <a:pt x="6924" y="1602"/>
                  </a:lnTo>
                  <a:lnTo>
                    <a:pt x="6920" y="1608"/>
                  </a:lnTo>
                  <a:lnTo>
                    <a:pt x="6918" y="1614"/>
                  </a:lnTo>
                  <a:lnTo>
                    <a:pt x="6912" y="1620"/>
                  </a:lnTo>
                  <a:lnTo>
                    <a:pt x="6910" y="1614"/>
                  </a:lnTo>
                  <a:lnTo>
                    <a:pt x="6904" y="1608"/>
                  </a:lnTo>
                  <a:lnTo>
                    <a:pt x="6898" y="1602"/>
                  </a:lnTo>
                  <a:lnTo>
                    <a:pt x="6892" y="1600"/>
                  </a:lnTo>
                  <a:lnTo>
                    <a:pt x="6886" y="1598"/>
                  </a:lnTo>
                  <a:lnTo>
                    <a:pt x="6880" y="1592"/>
                  </a:lnTo>
                  <a:lnTo>
                    <a:pt x="6876" y="1588"/>
                  </a:lnTo>
                  <a:lnTo>
                    <a:pt x="6870" y="1582"/>
                  </a:lnTo>
                  <a:lnTo>
                    <a:pt x="6864" y="1576"/>
                  </a:lnTo>
                  <a:lnTo>
                    <a:pt x="6860" y="1570"/>
                  </a:lnTo>
                  <a:lnTo>
                    <a:pt x="6854" y="1564"/>
                  </a:lnTo>
                  <a:lnTo>
                    <a:pt x="6850" y="1558"/>
                  </a:lnTo>
                  <a:lnTo>
                    <a:pt x="6844" y="1552"/>
                  </a:lnTo>
                  <a:lnTo>
                    <a:pt x="6838" y="1548"/>
                  </a:lnTo>
                  <a:lnTo>
                    <a:pt x="6832" y="1542"/>
                  </a:lnTo>
                  <a:lnTo>
                    <a:pt x="6826" y="1536"/>
                  </a:lnTo>
                  <a:lnTo>
                    <a:pt x="6820" y="1530"/>
                  </a:lnTo>
                  <a:lnTo>
                    <a:pt x="6814" y="1526"/>
                  </a:lnTo>
                  <a:lnTo>
                    <a:pt x="6808" y="1520"/>
                  </a:lnTo>
                  <a:lnTo>
                    <a:pt x="6802" y="1516"/>
                  </a:lnTo>
                  <a:lnTo>
                    <a:pt x="6808" y="1514"/>
                  </a:lnTo>
                  <a:lnTo>
                    <a:pt x="6802" y="1514"/>
                  </a:lnTo>
                  <a:lnTo>
                    <a:pt x="6796" y="1512"/>
                  </a:lnTo>
                  <a:lnTo>
                    <a:pt x="6790" y="1508"/>
                  </a:lnTo>
                  <a:lnTo>
                    <a:pt x="6784" y="1504"/>
                  </a:lnTo>
                  <a:lnTo>
                    <a:pt x="6778" y="1498"/>
                  </a:lnTo>
                  <a:lnTo>
                    <a:pt x="6774" y="1496"/>
                  </a:lnTo>
                  <a:lnTo>
                    <a:pt x="6770" y="1490"/>
                  </a:lnTo>
                  <a:lnTo>
                    <a:pt x="6764" y="1486"/>
                  </a:lnTo>
                  <a:lnTo>
                    <a:pt x="6758" y="1478"/>
                  </a:lnTo>
                  <a:lnTo>
                    <a:pt x="6752" y="1474"/>
                  </a:lnTo>
                  <a:lnTo>
                    <a:pt x="6746" y="1468"/>
                  </a:lnTo>
                  <a:lnTo>
                    <a:pt x="6740" y="1462"/>
                  </a:lnTo>
                  <a:lnTo>
                    <a:pt x="6734" y="1456"/>
                  </a:lnTo>
                  <a:lnTo>
                    <a:pt x="6728" y="1452"/>
                  </a:lnTo>
                  <a:lnTo>
                    <a:pt x="6722" y="1446"/>
                  </a:lnTo>
                  <a:lnTo>
                    <a:pt x="6716" y="1440"/>
                  </a:lnTo>
                  <a:lnTo>
                    <a:pt x="6710" y="1436"/>
                  </a:lnTo>
                  <a:lnTo>
                    <a:pt x="6704" y="1430"/>
                  </a:lnTo>
                  <a:lnTo>
                    <a:pt x="6698" y="1424"/>
                  </a:lnTo>
                  <a:lnTo>
                    <a:pt x="6692" y="1418"/>
                  </a:lnTo>
                  <a:lnTo>
                    <a:pt x="6686" y="1414"/>
                  </a:lnTo>
                  <a:lnTo>
                    <a:pt x="6680" y="1408"/>
                  </a:lnTo>
                  <a:lnTo>
                    <a:pt x="6674" y="1404"/>
                  </a:lnTo>
                  <a:lnTo>
                    <a:pt x="6668" y="1398"/>
                  </a:lnTo>
                  <a:lnTo>
                    <a:pt x="6662" y="1394"/>
                  </a:lnTo>
                  <a:lnTo>
                    <a:pt x="6656" y="1388"/>
                  </a:lnTo>
                  <a:lnTo>
                    <a:pt x="6650" y="1384"/>
                  </a:lnTo>
                  <a:lnTo>
                    <a:pt x="6644" y="1378"/>
                  </a:lnTo>
                  <a:lnTo>
                    <a:pt x="6638" y="1372"/>
                  </a:lnTo>
                  <a:lnTo>
                    <a:pt x="6632" y="1368"/>
                  </a:lnTo>
                  <a:lnTo>
                    <a:pt x="6626" y="1362"/>
                  </a:lnTo>
                  <a:lnTo>
                    <a:pt x="6620" y="1358"/>
                  </a:lnTo>
                  <a:lnTo>
                    <a:pt x="6614" y="1352"/>
                  </a:lnTo>
                  <a:lnTo>
                    <a:pt x="6608" y="1346"/>
                  </a:lnTo>
                  <a:lnTo>
                    <a:pt x="6602" y="1340"/>
                  </a:lnTo>
                  <a:lnTo>
                    <a:pt x="6596" y="1334"/>
                  </a:lnTo>
                  <a:lnTo>
                    <a:pt x="6590" y="1328"/>
                  </a:lnTo>
                  <a:lnTo>
                    <a:pt x="6584" y="1322"/>
                  </a:lnTo>
                  <a:lnTo>
                    <a:pt x="6580" y="1316"/>
                  </a:lnTo>
                  <a:lnTo>
                    <a:pt x="6576" y="1310"/>
                  </a:lnTo>
                  <a:lnTo>
                    <a:pt x="6572" y="1304"/>
                  </a:lnTo>
                  <a:lnTo>
                    <a:pt x="6566" y="1300"/>
                  </a:lnTo>
                  <a:lnTo>
                    <a:pt x="6560" y="1294"/>
                  </a:lnTo>
                  <a:lnTo>
                    <a:pt x="6556" y="1288"/>
                  </a:lnTo>
                  <a:lnTo>
                    <a:pt x="6552" y="1282"/>
                  </a:lnTo>
                  <a:lnTo>
                    <a:pt x="6550" y="1276"/>
                  </a:lnTo>
                  <a:lnTo>
                    <a:pt x="6546" y="1270"/>
                  </a:lnTo>
                  <a:lnTo>
                    <a:pt x="6542" y="1264"/>
                  </a:lnTo>
                  <a:lnTo>
                    <a:pt x="6538" y="1258"/>
                  </a:lnTo>
                  <a:lnTo>
                    <a:pt x="6534" y="1252"/>
                  </a:lnTo>
                  <a:lnTo>
                    <a:pt x="6530" y="1246"/>
                  </a:lnTo>
                  <a:lnTo>
                    <a:pt x="6526" y="1240"/>
                  </a:lnTo>
                  <a:lnTo>
                    <a:pt x="6528" y="1234"/>
                  </a:lnTo>
                  <a:lnTo>
                    <a:pt x="6530" y="1240"/>
                  </a:lnTo>
                  <a:lnTo>
                    <a:pt x="6530" y="1234"/>
                  </a:lnTo>
                  <a:lnTo>
                    <a:pt x="6530" y="1228"/>
                  </a:lnTo>
                  <a:lnTo>
                    <a:pt x="6534" y="1222"/>
                  </a:lnTo>
                  <a:lnTo>
                    <a:pt x="6532" y="1216"/>
                  </a:lnTo>
                  <a:lnTo>
                    <a:pt x="6538" y="1216"/>
                  </a:lnTo>
                  <a:lnTo>
                    <a:pt x="6534" y="1210"/>
                  </a:lnTo>
                  <a:lnTo>
                    <a:pt x="6534" y="1204"/>
                  </a:lnTo>
                  <a:lnTo>
                    <a:pt x="6530" y="1198"/>
                  </a:lnTo>
                  <a:lnTo>
                    <a:pt x="6528" y="1192"/>
                  </a:lnTo>
                  <a:lnTo>
                    <a:pt x="6522" y="1186"/>
                  </a:lnTo>
                  <a:lnTo>
                    <a:pt x="6516" y="1182"/>
                  </a:lnTo>
                  <a:lnTo>
                    <a:pt x="6510" y="1178"/>
                  </a:lnTo>
                  <a:lnTo>
                    <a:pt x="6504" y="1176"/>
                  </a:lnTo>
                  <a:lnTo>
                    <a:pt x="6500" y="1168"/>
                  </a:lnTo>
                  <a:lnTo>
                    <a:pt x="6506" y="1168"/>
                  </a:lnTo>
                  <a:lnTo>
                    <a:pt x="6512" y="1170"/>
                  </a:lnTo>
                  <a:lnTo>
                    <a:pt x="6516" y="1172"/>
                  </a:lnTo>
                  <a:lnTo>
                    <a:pt x="6524" y="1172"/>
                  </a:lnTo>
                  <a:lnTo>
                    <a:pt x="6530" y="1168"/>
                  </a:lnTo>
                  <a:lnTo>
                    <a:pt x="6526" y="1162"/>
                  </a:lnTo>
                  <a:lnTo>
                    <a:pt x="6528" y="1156"/>
                  </a:lnTo>
                  <a:lnTo>
                    <a:pt x="6534" y="1158"/>
                  </a:lnTo>
                  <a:lnTo>
                    <a:pt x="6540" y="1158"/>
                  </a:lnTo>
                  <a:lnTo>
                    <a:pt x="6546" y="1158"/>
                  </a:lnTo>
                  <a:lnTo>
                    <a:pt x="6552" y="1156"/>
                  </a:lnTo>
                  <a:lnTo>
                    <a:pt x="6558" y="1158"/>
                  </a:lnTo>
                  <a:lnTo>
                    <a:pt x="6552" y="1154"/>
                  </a:lnTo>
                  <a:lnTo>
                    <a:pt x="6554" y="1148"/>
                  </a:lnTo>
                  <a:lnTo>
                    <a:pt x="6556" y="1142"/>
                  </a:lnTo>
                  <a:lnTo>
                    <a:pt x="6562" y="1136"/>
                  </a:lnTo>
                  <a:lnTo>
                    <a:pt x="6566" y="1130"/>
                  </a:lnTo>
                  <a:lnTo>
                    <a:pt x="6566" y="1124"/>
                  </a:lnTo>
                  <a:lnTo>
                    <a:pt x="6572" y="1126"/>
                  </a:lnTo>
                  <a:lnTo>
                    <a:pt x="6566" y="1120"/>
                  </a:lnTo>
                  <a:lnTo>
                    <a:pt x="6566" y="1114"/>
                  </a:lnTo>
                  <a:lnTo>
                    <a:pt x="6568" y="1108"/>
                  </a:lnTo>
                  <a:lnTo>
                    <a:pt x="6570" y="1102"/>
                  </a:lnTo>
                  <a:lnTo>
                    <a:pt x="6566" y="1096"/>
                  </a:lnTo>
                  <a:lnTo>
                    <a:pt x="6560" y="1092"/>
                  </a:lnTo>
                  <a:lnTo>
                    <a:pt x="6558" y="1086"/>
                  </a:lnTo>
                  <a:lnTo>
                    <a:pt x="6560" y="1080"/>
                  </a:lnTo>
                  <a:lnTo>
                    <a:pt x="6562" y="1076"/>
                  </a:lnTo>
                  <a:lnTo>
                    <a:pt x="6566" y="1070"/>
                  </a:lnTo>
                  <a:lnTo>
                    <a:pt x="6564" y="1062"/>
                  </a:lnTo>
                  <a:lnTo>
                    <a:pt x="6562" y="1058"/>
                  </a:lnTo>
                  <a:lnTo>
                    <a:pt x="6568" y="1054"/>
                  </a:lnTo>
                  <a:lnTo>
                    <a:pt x="6574" y="1054"/>
                  </a:lnTo>
                  <a:lnTo>
                    <a:pt x="6574" y="1048"/>
                  </a:lnTo>
                  <a:lnTo>
                    <a:pt x="6576" y="1042"/>
                  </a:lnTo>
                  <a:lnTo>
                    <a:pt x="6574" y="1036"/>
                  </a:lnTo>
                  <a:lnTo>
                    <a:pt x="6574" y="1028"/>
                  </a:lnTo>
                  <a:lnTo>
                    <a:pt x="6576" y="1024"/>
                  </a:lnTo>
                  <a:lnTo>
                    <a:pt x="6582" y="1018"/>
                  </a:lnTo>
                  <a:lnTo>
                    <a:pt x="6580" y="1012"/>
                  </a:lnTo>
                  <a:lnTo>
                    <a:pt x="6574" y="1008"/>
                  </a:lnTo>
                  <a:lnTo>
                    <a:pt x="6568" y="1002"/>
                  </a:lnTo>
                  <a:lnTo>
                    <a:pt x="6574" y="998"/>
                  </a:lnTo>
                  <a:lnTo>
                    <a:pt x="6580" y="994"/>
                  </a:lnTo>
                  <a:lnTo>
                    <a:pt x="6586" y="990"/>
                  </a:lnTo>
                  <a:lnTo>
                    <a:pt x="6592" y="986"/>
                  </a:lnTo>
                  <a:lnTo>
                    <a:pt x="6594" y="980"/>
                  </a:lnTo>
                  <a:lnTo>
                    <a:pt x="6600" y="978"/>
                  </a:lnTo>
                  <a:lnTo>
                    <a:pt x="6606" y="978"/>
                  </a:lnTo>
                  <a:lnTo>
                    <a:pt x="6612" y="980"/>
                  </a:lnTo>
                  <a:lnTo>
                    <a:pt x="6616" y="974"/>
                  </a:lnTo>
                  <a:lnTo>
                    <a:pt x="6622" y="970"/>
                  </a:lnTo>
                  <a:lnTo>
                    <a:pt x="6616" y="970"/>
                  </a:lnTo>
                  <a:lnTo>
                    <a:pt x="6608" y="966"/>
                  </a:lnTo>
                  <a:lnTo>
                    <a:pt x="6604" y="960"/>
                  </a:lnTo>
                  <a:lnTo>
                    <a:pt x="6602" y="954"/>
                  </a:lnTo>
                  <a:lnTo>
                    <a:pt x="6608" y="952"/>
                  </a:lnTo>
                  <a:lnTo>
                    <a:pt x="6606" y="946"/>
                  </a:lnTo>
                  <a:lnTo>
                    <a:pt x="6600" y="942"/>
                  </a:lnTo>
                  <a:lnTo>
                    <a:pt x="6594" y="938"/>
                  </a:lnTo>
                  <a:lnTo>
                    <a:pt x="6588" y="940"/>
                  </a:lnTo>
                  <a:lnTo>
                    <a:pt x="6582" y="934"/>
                  </a:lnTo>
                  <a:lnTo>
                    <a:pt x="6578" y="928"/>
                  </a:lnTo>
                  <a:lnTo>
                    <a:pt x="6580" y="922"/>
                  </a:lnTo>
                  <a:lnTo>
                    <a:pt x="6574" y="916"/>
                  </a:lnTo>
                  <a:lnTo>
                    <a:pt x="6568" y="912"/>
                  </a:lnTo>
                  <a:lnTo>
                    <a:pt x="6562" y="906"/>
                  </a:lnTo>
                  <a:lnTo>
                    <a:pt x="6556" y="900"/>
                  </a:lnTo>
                  <a:lnTo>
                    <a:pt x="6550" y="894"/>
                  </a:lnTo>
                  <a:lnTo>
                    <a:pt x="6544" y="890"/>
                  </a:lnTo>
                  <a:lnTo>
                    <a:pt x="6542" y="884"/>
                  </a:lnTo>
                  <a:lnTo>
                    <a:pt x="6546" y="878"/>
                  </a:lnTo>
                  <a:lnTo>
                    <a:pt x="6552" y="874"/>
                  </a:lnTo>
                  <a:lnTo>
                    <a:pt x="6558" y="876"/>
                  </a:lnTo>
                  <a:lnTo>
                    <a:pt x="6564" y="876"/>
                  </a:lnTo>
                  <a:lnTo>
                    <a:pt x="6572" y="878"/>
                  </a:lnTo>
                  <a:lnTo>
                    <a:pt x="6578" y="876"/>
                  </a:lnTo>
                  <a:lnTo>
                    <a:pt x="6584" y="880"/>
                  </a:lnTo>
                  <a:lnTo>
                    <a:pt x="6588" y="880"/>
                  </a:lnTo>
                  <a:lnTo>
                    <a:pt x="6594" y="884"/>
                  </a:lnTo>
                  <a:lnTo>
                    <a:pt x="6588" y="880"/>
                  </a:lnTo>
                  <a:lnTo>
                    <a:pt x="6584" y="878"/>
                  </a:lnTo>
                  <a:lnTo>
                    <a:pt x="6576" y="874"/>
                  </a:lnTo>
                  <a:lnTo>
                    <a:pt x="6584" y="874"/>
                  </a:lnTo>
                  <a:lnTo>
                    <a:pt x="6590" y="874"/>
                  </a:lnTo>
                  <a:lnTo>
                    <a:pt x="6596" y="876"/>
                  </a:lnTo>
                  <a:lnTo>
                    <a:pt x="6602" y="876"/>
                  </a:lnTo>
                  <a:lnTo>
                    <a:pt x="6598" y="874"/>
                  </a:lnTo>
                  <a:lnTo>
                    <a:pt x="6592" y="874"/>
                  </a:lnTo>
                  <a:lnTo>
                    <a:pt x="6584" y="872"/>
                  </a:lnTo>
                  <a:lnTo>
                    <a:pt x="6580" y="872"/>
                  </a:lnTo>
                  <a:lnTo>
                    <a:pt x="6574" y="872"/>
                  </a:lnTo>
                  <a:lnTo>
                    <a:pt x="6568" y="872"/>
                  </a:lnTo>
                  <a:lnTo>
                    <a:pt x="6562" y="870"/>
                  </a:lnTo>
                  <a:lnTo>
                    <a:pt x="6554" y="868"/>
                  </a:lnTo>
                  <a:lnTo>
                    <a:pt x="6548" y="868"/>
                  </a:lnTo>
                  <a:lnTo>
                    <a:pt x="6542" y="864"/>
                  </a:lnTo>
                  <a:lnTo>
                    <a:pt x="6536" y="862"/>
                  </a:lnTo>
                  <a:lnTo>
                    <a:pt x="6530" y="860"/>
                  </a:lnTo>
                  <a:lnTo>
                    <a:pt x="6524" y="860"/>
                  </a:lnTo>
                  <a:lnTo>
                    <a:pt x="6516" y="860"/>
                  </a:lnTo>
                  <a:lnTo>
                    <a:pt x="6512" y="862"/>
                  </a:lnTo>
                  <a:lnTo>
                    <a:pt x="6506" y="866"/>
                  </a:lnTo>
                  <a:lnTo>
                    <a:pt x="6500" y="864"/>
                  </a:lnTo>
                  <a:lnTo>
                    <a:pt x="6494" y="868"/>
                  </a:lnTo>
                  <a:lnTo>
                    <a:pt x="6488" y="868"/>
                  </a:lnTo>
                  <a:lnTo>
                    <a:pt x="6482" y="870"/>
                  </a:lnTo>
                  <a:lnTo>
                    <a:pt x="6486" y="876"/>
                  </a:lnTo>
                  <a:lnTo>
                    <a:pt x="6492" y="880"/>
                  </a:lnTo>
                  <a:lnTo>
                    <a:pt x="6498" y="880"/>
                  </a:lnTo>
                  <a:lnTo>
                    <a:pt x="6494" y="886"/>
                  </a:lnTo>
                  <a:lnTo>
                    <a:pt x="6500" y="892"/>
                  </a:lnTo>
                  <a:lnTo>
                    <a:pt x="6506" y="898"/>
                  </a:lnTo>
                  <a:lnTo>
                    <a:pt x="6512" y="898"/>
                  </a:lnTo>
                  <a:lnTo>
                    <a:pt x="6512" y="904"/>
                  </a:lnTo>
                  <a:lnTo>
                    <a:pt x="6518" y="910"/>
                  </a:lnTo>
                  <a:lnTo>
                    <a:pt x="6522" y="916"/>
                  </a:lnTo>
                  <a:lnTo>
                    <a:pt x="6528" y="918"/>
                  </a:lnTo>
                  <a:lnTo>
                    <a:pt x="6534" y="918"/>
                  </a:lnTo>
                  <a:lnTo>
                    <a:pt x="6540" y="920"/>
                  </a:lnTo>
                  <a:lnTo>
                    <a:pt x="6546" y="924"/>
                  </a:lnTo>
                  <a:lnTo>
                    <a:pt x="6540" y="928"/>
                  </a:lnTo>
                  <a:lnTo>
                    <a:pt x="6544" y="934"/>
                  </a:lnTo>
                  <a:lnTo>
                    <a:pt x="6538" y="932"/>
                  </a:lnTo>
                  <a:lnTo>
                    <a:pt x="6532" y="928"/>
                  </a:lnTo>
                  <a:lnTo>
                    <a:pt x="6526" y="922"/>
                  </a:lnTo>
                  <a:lnTo>
                    <a:pt x="6520" y="920"/>
                  </a:lnTo>
                  <a:lnTo>
                    <a:pt x="6514" y="924"/>
                  </a:lnTo>
                  <a:lnTo>
                    <a:pt x="6520" y="928"/>
                  </a:lnTo>
                  <a:lnTo>
                    <a:pt x="6514" y="926"/>
                  </a:lnTo>
                  <a:lnTo>
                    <a:pt x="6508" y="924"/>
                  </a:lnTo>
                  <a:lnTo>
                    <a:pt x="6504" y="928"/>
                  </a:lnTo>
                  <a:lnTo>
                    <a:pt x="6502" y="936"/>
                  </a:lnTo>
                  <a:lnTo>
                    <a:pt x="6498" y="940"/>
                  </a:lnTo>
                  <a:lnTo>
                    <a:pt x="6498" y="946"/>
                  </a:lnTo>
                  <a:lnTo>
                    <a:pt x="6496" y="952"/>
                  </a:lnTo>
                  <a:lnTo>
                    <a:pt x="6494" y="958"/>
                  </a:lnTo>
                  <a:lnTo>
                    <a:pt x="6492" y="964"/>
                  </a:lnTo>
                  <a:lnTo>
                    <a:pt x="6488" y="970"/>
                  </a:lnTo>
                  <a:lnTo>
                    <a:pt x="6488" y="976"/>
                  </a:lnTo>
                  <a:lnTo>
                    <a:pt x="6492" y="982"/>
                  </a:lnTo>
                  <a:lnTo>
                    <a:pt x="6486" y="982"/>
                  </a:lnTo>
                  <a:lnTo>
                    <a:pt x="6480" y="982"/>
                  </a:lnTo>
                  <a:lnTo>
                    <a:pt x="6474" y="986"/>
                  </a:lnTo>
                  <a:lnTo>
                    <a:pt x="6470" y="992"/>
                  </a:lnTo>
                  <a:lnTo>
                    <a:pt x="6464" y="986"/>
                  </a:lnTo>
                  <a:lnTo>
                    <a:pt x="6462" y="982"/>
                  </a:lnTo>
                  <a:lnTo>
                    <a:pt x="6456" y="978"/>
                  </a:lnTo>
                  <a:lnTo>
                    <a:pt x="6458" y="972"/>
                  </a:lnTo>
                  <a:lnTo>
                    <a:pt x="6454" y="966"/>
                  </a:lnTo>
                  <a:lnTo>
                    <a:pt x="6448" y="962"/>
                  </a:lnTo>
                  <a:lnTo>
                    <a:pt x="6442" y="962"/>
                  </a:lnTo>
                  <a:lnTo>
                    <a:pt x="6436" y="966"/>
                  </a:lnTo>
                  <a:lnTo>
                    <a:pt x="6430" y="970"/>
                  </a:lnTo>
                  <a:lnTo>
                    <a:pt x="6428" y="964"/>
                  </a:lnTo>
                  <a:lnTo>
                    <a:pt x="6424" y="958"/>
                  </a:lnTo>
                  <a:lnTo>
                    <a:pt x="6418" y="954"/>
                  </a:lnTo>
                  <a:lnTo>
                    <a:pt x="6412" y="950"/>
                  </a:lnTo>
                  <a:lnTo>
                    <a:pt x="6406" y="946"/>
                  </a:lnTo>
                  <a:lnTo>
                    <a:pt x="6412" y="948"/>
                  </a:lnTo>
                  <a:lnTo>
                    <a:pt x="6408" y="942"/>
                  </a:lnTo>
                  <a:lnTo>
                    <a:pt x="6410" y="942"/>
                  </a:lnTo>
                  <a:lnTo>
                    <a:pt x="6404" y="936"/>
                  </a:lnTo>
                  <a:lnTo>
                    <a:pt x="6406" y="932"/>
                  </a:lnTo>
                  <a:lnTo>
                    <a:pt x="6402" y="926"/>
                  </a:lnTo>
                  <a:lnTo>
                    <a:pt x="6398" y="918"/>
                  </a:lnTo>
                  <a:lnTo>
                    <a:pt x="6394" y="914"/>
                  </a:lnTo>
                  <a:lnTo>
                    <a:pt x="6388" y="910"/>
                  </a:lnTo>
                  <a:lnTo>
                    <a:pt x="6382" y="908"/>
                  </a:lnTo>
                  <a:lnTo>
                    <a:pt x="6376" y="914"/>
                  </a:lnTo>
                  <a:lnTo>
                    <a:pt x="6376" y="916"/>
                  </a:lnTo>
                  <a:lnTo>
                    <a:pt x="6372" y="922"/>
                  </a:lnTo>
                  <a:lnTo>
                    <a:pt x="6366" y="924"/>
                  </a:lnTo>
                  <a:lnTo>
                    <a:pt x="6360" y="922"/>
                  </a:lnTo>
                  <a:lnTo>
                    <a:pt x="6356" y="916"/>
                  </a:lnTo>
                  <a:lnTo>
                    <a:pt x="6350" y="916"/>
                  </a:lnTo>
                  <a:lnTo>
                    <a:pt x="6344" y="910"/>
                  </a:lnTo>
                  <a:lnTo>
                    <a:pt x="6336" y="910"/>
                  </a:lnTo>
                  <a:lnTo>
                    <a:pt x="6330" y="908"/>
                  </a:lnTo>
                  <a:lnTo>
                    <a:pt x="6324" y="910"/>
                  </a:lnTo>
                  <a:lnTo>
                    <a:pt x="6318" y="914"/>
                  </a:lnTo>
                  <a:lnTo>
                    <a:pt x="6314" y="914"/>
                  </a:lnTo>
                  <a:lnTo>
                    <a:pt x="6306" y="916"/>
                  </a:lnTo>
                  <a:lnTo>
                    <a:pt x="6300" y="914"/>
                  </a:lnTo>
                  <a:lnTo>
                    <a:pt x="6296" y="916"/>
                  </a:lnTo>
                  <a:lnTo>
                    <a:pt x="6288" y="920"/>
                  </a:lnTo>
                  <a:lnTo>
                    <a:pt x="6284" y="918"/>
                  </a:lnTo>
                  <a:lnTo>
                    <a:pt x="6276" y="916"/>
                  </a:lnTo>
                  <a:lnTo>
                    <a:pt x="6270" y="916"/>
                  </a:lnTo>
                  <a:lnTo>
                    <a:pt x="6264" y="916"/>
                  </a:lnTo>
                  <a:lnTo>
                    <a:pt x="6258" y="916"/>
                  </a:lnTo>
                  <a:lnTo>
                    <a:pt x="6258" y="922"/>
                  </a:lnTo>
                  <a:lnTo>
                    <a:pt x="6252" y="922"/>
                  </a:lnTo>
                  <a:lnTo>
                    <a:pt x="6246" y="926"/>
                  </a:lnTo>
                  <a:lnTo>
                    <a:pt x="6246" y="932"/>
                  </a:lnTo>
                  <a:lnTo>
                    <a:pt x="6240" y="936"/>
                  </a:lnTo>
                  <a:lnTo>
                    <a:pt x="6246" y="942"/>
                  </a:lnTo>
                  <a:lnTo>
                    <a:pt x="6252" y="948"/>
                  </a:lnTo>
                  <a:lnTo>
                    <a:pt x="6254" y="952"/>
                  </a:lnTo>
                  <a:lnTo>
                    <a:pt x="6248" y="956"/>
                  </a:lnTo>
                  <a:lnTo>
                    <a:pt x="6246" y="962"/>
                  </a:lnTo>
                  <a:lnTo>
                    <a:pt x="6246" y="968"/>
                  </a:lnTo>
                  <a:lnTo>
                    <a:pt x="6246" y="974"/>
                  </a:lnTo>
                  <a:lnTo>
                    <a:pt x="6252" y="980"/>
                  </a:lnTo>
                  <a:lnTo>
                    <a:pt x="6252" y="986"/>
                  </a:lnTo>
                  <a:lnTo>
                    <a:pt x="6246" y="990"/>
                  </a:lnTo>
                  <a:lnTo>
                    <a:pt x="6246" y="996"/>
                  </a:lnTo>
                  <a:lnTo>
                    <a:pt x="6240" y="1000"/>
                  </a:lnTo>
                  <a:lnTo>
                    <a:pt x="6234" y="1006"/>
                  </a:lnTo>
                  <a:lnTo>
                    <a:pt x="6232" y="1012"/>
                  </a:lnTo>
                  <a:lnTo>
                    <a:pt x="6232" y="1018"/>
                  </a:lnTo>
                  <a:lnTo>
                    <a:pt x="6234" y="1024"/>
                  </a:lnTo>
                  <a:lnTo>
                    <a:pt x="6236" y="1028"/>
                  </a:lnTo>
                  <a:lnTo>
                    <a:pt x="6242" y="1036"/>
                  </a:lnTo>
                  <a:lnTo>
                    <a:pt x="6234" y="1036"/>
                  </a:lnTo>
                  <a:lnTo>
                    <a:pt x="6236" y="1042"/>
                  </a:lnTo>
                  <a:lnTo>
                    <a:pt x="6242" y="1048"/>
                  </a:lnTo>
                  <a:lnTo>
                    <a:pt x="6250" y="1052"/>
                  </a:lnTo>
                  <a:lnTo>
                    <a:pt x="6254" y="1054"/>
                  </a:lnTo>
                  <a:lnTo>
                    <a:pt x="6250" y="1052"/>
                  </a:lnTo>
                  <a:lnTo>
                    <a:pt x="6250" y="1058"/>
                  </a:lnTo>
                  <a:lnTo>
                    <a:pt x="6254" y="1064"/>
                  </a:lnTo>
                  <a:lnTo>
                    <a:pt x="6262" y="1064"/>
                  </a:lnTo>
                  <a:lnTo>
                    <a:pt x="6268" y="1064"/>
                  </a:lnTo>
                  <a:lnTo>
                    <a:pt x="6274" y="1066"/>
                  </a:lnTo>
                  <a:lnTo>
                    <a:pt x="6266" y="1062"/>
                  </a:lnTo>
                  <a:lnTo>
                    <a:pt x="6274" y="1058"/>
                  </a:lnTo>
                  <a:lnTo>
                    <a:pt x="6280" y="1060"/>
                  </a:lnTo>
                  <a:lnTo>
                    <a:pt x="6286" y="1062"/>
                  </a:lnTo>
                  <a:lnTo>
                    <a:pt x="6292" y="1062"/>
                  </a:lnTo>
                  <a:lnTo>
                    <a:pt x="6298" y="1064"/>
                  </a:lnTo>
                  <a:lnTo>
                    <a:pt x="6304" y="1066"/>
                  </a:lnTo>
                  <a:lnTo>
                    <a:pt x="6308" y="1068"/>
                  </a:lnTo>
                  <a:lnTo>
                    <a:pt x="6314" y="1074"/>
                  </a:lnTo>
                  <a:lnTo>
                    <a:pt x="6320" y="1078"/>
                  </a:lnTo>
                  <a:lnTo>
                    <a:pt x="6314" y="1080"/>
                  </a:lnTo>
                  <a:lnTo>
                    <a:pt x="6308" y="1080"/>
                  </a:lnTo>
                  <a:lnTo>
                    <a:pt x="6302" y="1084"/>
                  </a:lnTo>
                  <a:lnTo>
                    <a:pt x="6296" y="1082"/>
                  </a:lnTo>
                  <a:lnTo>
                    <a:pt x="6290" y="1080"/>
                  </a:lnTo>
                  <a:lnTo>
                    <a:pt x="6284" y="1080"/>
                  </a:lnTo>
                  <a:lnTo>
                    <a:pt x="6286" y="1086"/>
                  </a:lnTo>
                  <a:lnTo>
                    <a:pt x="6280" y="1086"/>
                  </a:lnTo>
                  <a:lnTo>
                    <a:pt x="6274" y="1088"/>
                  </a:lnTo>
                  <a:lnTo>
                    <a:pt x="6266" y="1088"/>
                  </a:lnTo>
                  <a:lnTo>
                    <a:pt x="6262" y="1084"/>
                  </a:lnTo>
                  <a:lnTo>
                    <a:pt x="6256" y="1082"/>
                  </a:lnTo>
                  <a:lnTo>
                    <a:pt x="6250" y="1080"/>
                  </a:lnTo>
                  <a:lnTo>
                    <a:pt x="6242" y="1080"/>
                  </a:lnTo>
                  <a:lnTo>
                    <a:pt x="6236" y="1078"/>
                  </a:lnTo>
                  <a:lnTo>
                    <a:pt x="6232" y="1084"/>
                  </a:lnTo>
                  <a:lnTo>
                    <a:pt x="6226" y="1088"/>
                  </a:lnTo>
                  <a:lnTo>
                    <a:pt x="6226" y="1094"/>
                  </a:lnTo>
                  <a:lnTo>
                    <a:pt x="6230" y="1100"/>
                  </a:lnTo>
                  <a:lnTo>
                    <a:pt x="6224" y="1096"/>
                  </a:lnTo>
                  <a:lnTo>
                    <a:pt x="6218" y="1098"/>
                  </a:lnTo>
                  <a:lnTo>
                    <a:pt x="6212" y="1096"/>
                  </a:lnTo>
                  <a:lnTo>
                    <a:pt x="6204" y="1094"/>
                  </a:lnTo>
                  <a:lnTo>
                    <a:pt x="6198" y="1092"/>
                  </a:lnTo>
                  <a:lnTo>
                    <a:pt x="6192" y="1092"/>
                  </a:lnTo>
                  <a:lnTo>
                    <a:pt x="6186" y="1094"/>
                  </a:lnTo>
                  <a:lnTo>
                    <a:pt x="6190" y="1100"/>
                  </a:lnTo>
                  <a:lnTo>
                    <a:pt x="6184" y="1100"/>
                  </a:lnTo>
                  <a:lnTo>
                    <a:pt x="6178" y="1100"/>
                  </a:lnTo>
                  <a:lnTo>
                    <a:pt x="6172" y="1102"/>
                  </a:lnTo>
                  <a:lnTo>
                    <a:pt x="6164" y="1102"/>
                  </a:lnTo>
                  <a:lnTo>
                    <a:pt x="6160" y="1100"/>
                  </a:lnTo>
                  <a:lnTo>
                    <a:pt x="6152" y="1100"/>
                  </a:lnTo>
                  <a:lnTo>
                    <a:pt x="6148" y="1098"/>
                  </a:lnTo>
                  <a:lnTo>
                    <a:pt x="6140" y="1094"/>
                  </a:lnTo>
                  <a:lnTo>
                    <a:pt x="6136" y="1092"/>
                  </a:lnTo>
                  <a:lnTo>
                    <a:pt x="6128" y="1088"/>
                  </a:lnTo>
                  <a:lnTo>
                    <a:pt x="6136" y="1086"/>
                  </a:lnTo>
                  <a:lnTo>
                    <a:pt x="6142" y="1082"/>
                  </a:lnTo>
                  <a:lnTo>
                    <a:pt x="6148" y="1082"/>
                  </a:lnTo>
                  <a:lnTo>
                    <a:pt x="6152" y="1084"/>
                  </a:lnTo>
                  <a:lnTo>
                    <a:pt x="6160" y="1084"/>
                  </a:lnTo>
                  <a:lnTo>
                    <a:pt x="6164" y="1084"/>
                  </a:lnTo>
                  <a:lnTo>
                    <a:pt x="6172" y="1084"/>
                  </a:lnTo>
                  <a:lnTo>
                    <a:pt x="6178" y="1080"/>
                  </a:lnTo>
                  <a:lnTo>
                    <a:pt x="6172" y="1076"/>
                  </a:lnTo>
                  <a:lnTo>
                    <a:pt x="6166" y="1074"/>
                  </a:lnTo>
                  <a:lnTo>
                    <a:pt x="6160" y="1076"/>
                  </a:lnTo>
                  <a:lnTo>
                    <a:pt x="6152" y="1074"/>
                  </a:lnTo>
                  <a:lnTo>
                    <a:pt x="6146" y="1074"/>
                  </a:lnTo>
                  <a:lnTo>
                    <a:pt x="6140" y="1070"/>
                  </a:lnTo>
                  <a:lnTo>
                    <a:pt x="6136" y="1066"/>
                  </a:lnTo>
                  <a:lnTo>
                    <a:pt x="6128" y="1062"/>
                  </a:lnTo>
                  <a:lnTo>
                    <a:pt x="6122" y="1060"/>
                  </a:lnTo>
                  <a:lnTo>
                    <a:pt x="6118" y="1058"/>
                  </a:lnTo>
                  <a:lnTo>
                    <a:pt x="6112" y="1056"/>
                  </a:lnTo>
                  <a:lnTo>
                    <a:pt x="6106" y="1056"/>
                  </a:lnTo>
                  <a:lnTo>
                    <a:pt x="6098" y="1056"/>
                  </a:lnTo>
                  <a:lnTo>
                    <a:pt x="6092" y="1056"/>
                  </a:lnTo>
                  <a:lnTo>
                    <a:pt x="6094" y="1062"/>
                  </a:lnTo>
                  <a:lnTo>
                    <a:pt x="6088" y="1064"/>
                  </a:lnTo>
                  <a:lnTo>
                    <a:pt x="6082" y="1060"/>
                  </a:lnTo>
                  <a:lnTo>
                    <a:pt x="6076" y="1060"/>
                  </a:lnTo>
                  <a:lnTo>
                    <a:pt x="6070" y="1058"/>
                  </a:lnTo>
                  <a:lnTo>
                    <a:pt x="6064" y="1054"/>
                  </a:lnTo>
                  <a:lnTo>
                    <a:pt x="6058" y="1054"/>
                  </a:lnTo>
                  <a:lnTo>
                    <a:pt x="6052" y="1052"/>
                  </a:lnTo>
                  <a:lnTo>
                    <a:pt x="6046" y="1052"/>
                  </a:lnTo>
                  <a:lnTo>
                    <a:pt x="6040" y="1050"/>
                  </a:lnTo>
                  <a:lnTo>
                    <a:pt x="6036" y="1048"/>
                  </a:lnTo>
                  <a:lnTo>
                    <a:pt x="6034" y="1048"/>
                  </a:lnTo>
                  <a:lnTo>
                    <a:pt x="6028" y="1046"/>
                  </a:lnTo>
                  <a:lnTo>
                    <a:pt x="6022" y="1046"/>
                  </a:lnTo>
                  <a:lnTo>
                    <a:pt x="6016" y="1044"/>
                  </a:lnTo>
                  <a:lnTo>
                    <a:pt x="6010" y="1044"/>
                  </a:lnTo>
                  <a:lnTo>
                    <a:pt x="6004" y="1044"/>
                  </a:lnTo>
                  <a:lnTo>
                    <a:pt x="5998" y="1048"/>
                  </a:lnTo>
                  <a:lnTo>
                    <a:pt x="5994" y="1054"/>
                  </a:lnTo>
                  <a:lnTo>
                    <a:pt x="6000" y="1058"/>
                  </a:lnTo>
                  <a:lnTo>
                    <a:pt x="6006" y="1058"/>
                  </a:lnTo>
                  <a:lnTo>
                    <a:pt x="6012" y="1064"/>
                  </a:lnTo>
                  <a:lnTo>
                    <a:pt x="6006" y="1062"/>
                  </a:lnTo>
                  <a:lnTo>
                    <a:pt x="6000" y="1064"/>
                  </a:lnTo>
                  <a:lnTo>
                    <a:pt x="5994" y="1062"/>
                  </a:lnTo>
                  <a:lnTo>
                    <a:pt x="5988" y="1060"/>
                  </a:lnTo>
                  <a:lnTo>
                    <a:pt x="5988" y="1066"/>
                  </a:lnTo>
                  <a:lnTo>
                    <a:pt x="5996" y="1070"/>
                  </a:lnTo>
                  <a:lnTo>
                    <a:pt x="6000" y="1068"/>
                  </a:lnTo>
                  <a:lnTo>
                    <a:pt x="6006" y="1072"/>
                  </a:lnTo>
                  <a:lnTo>
                    <a:pt x="6010" y="1078"/>
                  </a:lnTo>
                  <a:lnTo>
                    <a:pt x="6004" y="1076"/>
                  </a:lnTo>
                  <a:lnTo>
                    <a:pt x="5998" y="1076"/>
                  </a:lnTo>
                  <a:lnTo>
                    <a:pt x="5992" y="1076"/>
                  </a:lnTo>
                  <a:lnTo>
                    <a:pt x="5986" y="1076"/>
                  </a:lnTo>
                  <a:lnTo>
                    <a:pt x="5980" y="1070"/>
                  </a:lnTo>
                  <a:lnTo>
                    <a:pt x="5974" y="1068"/>
                  </a:lnTo>
                  <a:lnTo>
                    <a:pt x="5968" y="1066"/>
                  </a:lnTo>
                  <a:lnTo>
                    <a:pt x="5962" y="1066"/>
                  </a:lnTo>
                  <a:lnTo>
                    <a:pt x="5956" y="1068"/>
                  </a:lnTo>
                  <a:lnTo>
                    <a:pt x="5950" y="1070"/>
                  </a:lnTo>
                  <a:lnTo>
                    <a:pt x="5954" y="1076"/>
                  </a:lnTo>
                  <a:lnTo>
                    <a:pt x="5948" y="1074"/>
                  </a:lnTo>
                  <a:lnTo>
                    <a:pt x="5940" y="1078"/>
                  </a:lnTo>
                  <a:lnTo>
                    <a:pt x="5936" y="1074"/>
                  </a:lnTo>
                  <a:lnTo>
                    <a:pt x="5930" y="1072"/>
                  </a:lnTo>
                  <a:lnTo>
                    <a:pt x="5924" y="1072"/>
                  </a:lnTo>
                  <a:lnTo>
                    <a:pt x="5916" y="1072"/>
                  </a:lnTo>
                  <a:lnTo>
                    <a:pt x="5910" y="1070"/>
                  </a:lnTo>
                  <a:lnTo>
                    <a:pt x="5904" y="1070"/>
                  </a:lnTo>
                  <a:lnTo>
                    <a:pt x="5898" y="1070"/>
                  </a:lnTo>
                  <a:lnTo>
                    <a:pt x="5892" y="1066"/>
                  </a:lnTo>
                  <a:lnTo>
                    <a:pt x="5886" y="1064"/>
                  </a:lnTo>
                  <a:lnTo>
                    <a:pt x="5878" y="1064"/>
                  </a:lnTo>
                  <a:lnTo>
                    <a:pt x="5876" y="1070"/>
                  </a:lnTo>
                  <a:lnTo>
                    <a:pt x="5882" y="1076"/>
                  </a:lnTo>
                  <a:lnTo>
                    <a:pt x="5888" y="1082"/>
                  </a:lnTo>
                  <a:lnTo>
                    <a:pt x="5882" y="1080"/>
                  </a:lnTo>
                  <a:lnTo>
                    <a:pt x="5876" y="1084"/>
                  </a:lnTo>
                  <a:lnTo>
                    <a:pt x="5870" y="1080"/>
                  </a:lnTo>
                  <a:lnTo>
                    <a:pt x="5864" y="1080"/>
                  </a:lnTo>
                  <a:lnTo>
                    <a:pt x="5858" y="1076"/>
                  </a:lnTo>
                  <a:lnTo>
                    <a:pt x="5856" y="1070"/>
                  </a:lnTo>
                  <a:lnTo>
                    <a:pt x="5852" y="1066"/>
                  </a:lnTo>
                  <a:lnTo>
                    <a:pt x="5844" y="1066"/>
                  </a:lnTo>
                  <a:lnTo>
                    <a:pt x="5838" y="1066"/>
                  </a:lnTo>
                  <a:lnTo>
                    <a:pt x="5832" y="1066"/>
                  </a:lnTo>
                  <a:lnTo>
                    <a:pt x="5826" y="1068"/>
                  </a:lnTo>
                  <a:lnTo>
                    <a:pt x="5820" y="1066"/>
                  </a:lnTo>
                  <a:lnTo>
                    <a:pt x="5814" y="1068"/>
                  </a:lnTo>
                  <a:lnTo>
                    <a:pt x="5808" y="1068"/>
                  </a:lnTo>
                  <a:lnTo>
                    <a:pt x="5802" y="1068"/>
                  </a:lnTo>
                  <a:lnTo>
                    <a:pt x="5796" y="1070"/>
                  </a:lnTo>
                  <a:lnTo>
                    <a:pt x="5790" y="1070"/>
                  </a:lnTo>
                  <a:lnTo>
                    <a:pt x="5784" y="1068"/>
                  </a:lnTo>
                  <a:lnTo>
                    <a:pt x="5778" y="1068"/>
                  </a:lnTo>
                  <a:lnTo>
                    <a:pt x="5772" y="1068"/>
                  </a:lnTo>
                  <a:lnTo>
                    <a:pt x="5766" y="1066"/>
                  </a:lnTo>
                  <a:lnTo>
                    <a:pt x="5760" y="1066"/>
                  </a:lnTo>
                  <a:lnTo>
                    <a:pt x="5754" y="1066"/>
                  </a:lnTo>
                  <a:lnTo>
                    <a:pt x="5748" y="1068"/>
                  </a:lnTo>
                  <a:lnTo>
                    <a:pt x="5742" y="1072"/>
                  </a:lnTo>
                  <a:lnTo>
                    <a:pt x="5736" y="1072"/>
                  </a:lnTo>
                  <a:lnTo>
                    <a:pt x="5728" y="1070"/>
                  </a:lnTo>
                  <a:lnTo>
                    <a:pt x="5724" y="1068"/>
                  </a:lnTo>
                  <a:lnTo>
                    <a:pt x="5718" y="1072"/>
                  </a:lnTo>
                  <a:lnTo>
                    <a:pt x="5712" y="1074"/>
                  </a:lnTo>
                  <a:lnTo>
                    <a:pt x="5706" y="1076"/>
                  </a:lnTo>
                  <a:lnTo>
                    <a:pt x="5700" y="1078"/>
                  </a:lnTo>
                  <a:lnTo>
                    <a:pt x="5694" y="1084"/>
                  </a:lnTo>
                  <a:lnTo>
                    <a:pt x="5690" y="1088"/>
                  </a:lnTo>
                  <a:lnTo>
                    <a:pt x="5688" y="1096"/>
                  </a:lnTo>
                  <a:lnTo>
                    <a:pt x="5688" y="1100"/>
                  </a:lnTo>
                  <a:lnTo>
                    <a:pt x="5690" y="1106"/>
                  </a:lnTo>
                  <a:lnTo>
                    <a:pt x="5690" y="1112"/>
                  </a:lnTo>
                  <a:lnTo>
                    <a:pt x="5686" y="1118"/>
                  </a:lnTo>
                  <a:lnTo>
                    <a:pt x="5682" y="1124"/>
                  </a:lnTo>
                  <a:lnTo>
                    <a:pt x="5676" y="1126"/>
                  </a:lnTo>
                  <a:lnTo>
                    <a:pt x="5670" y="1132"/>
                  </a:lnTo>
                  <a:lnTo>
                    <a:pt x="5668" y="1138"/>
                  </a:lnTo>
                  <a:lnTo>
                    <a:pt x="5668" y="1144"/>
                  </a:lnTo>
                  <a:lnTo>
                    <a:pt x="5672" y="1150"/>
                  </a:lnTo>
                  <a:lnTo>
                    <a:pt x="5674" y="1156"/>
                  </a:lnTo>
                  <a:lnTo>
                    <a:pt x="5676" y="1160"/>
                  </a:lnTo>
                  <a:lnTo>
                    <a:pt x="5682" y="1168"/>
                  </a:lnTo>
                  <a:lnTo>
                    <a:pt x="5678" y="1172"/>
                  </a:lnTo>
                  <a:lnTo>
                    <a:pt x="5670" y="1174"/>
                  </a:lnTo>
                  <a:lnTo>
                    <a:pt x="5666" y="1176"/>
                  </a:lnTo>
                  <a:lnTo>
                    <a:pt x="5666" y="1178"/>
                  </a:lnTo>
                  <a:lnTo>
                    <a:pt x="5666" y="1184"/>
                  </a:lnTo>
                  <a:lnTo>
                    <a:pt x="5666" y="1190"/>
                  </a:lnTo>
                  <a:lnTo>
                    <a:pt x="5660" y="1194"/>
                  </a:lnTo>
                  <a:lnTo>
                    <a:pt x="5660" y="1200"/>
                  </a:lnTo>
                  <a:lnTo>
                    <a:pt x="5654" y="1202"/>
                  </a:lnTo>
                  <a:lnTo>
                    <a:pt x="5648" y="1208"/>
                  </a:lnTo>
                  <a:lnTo>
                    <a:pt x="5646" y="1214"/>
                  </a:lnTo>
                  <a:lnTo>
                    <a:pt x="5644" y="1220"/>
                  </a:lnTo>
                  <a:lnTo>
                    <a:pt x="5638" y="1226"/>
                  </a:lnTo>
                  <a:lnTo>
                    <a:pt x="5638" y="1232"/>
                  </a:lnTo>
                  <a:lnTo>
                    <a:pt x="5640" y="1236"/>
                  </a:lnTo>
                  <a:lnTo>
                    <a:pt x="5638" y="1242"/>
                  </a:lnTo>
                  <a:lnTo>
                    <a:pt x="5634" y="1248"/>
                  </a:lnTo>
                  <a:lnTo>
                    <a:pt x="5640" y="1254"/>
                  </a:lnTo>
                  <a:lnTo>
                    <a:pt x="5646" y="1258"/>
                  </a:lnTo>
                  <a:lnTo>
                    <a:pt x="5640" y="1260"/>
                  </a:lnTo>
                  <a:lnTo>
                    <a:pt x="5638" y="1266"/>
                  </a:lnTo>
                  <a:lnTo>
                    <a:pt x="5636" y="1272"/>
                  </a:lnTo>
                  <a:lnTo>
                    <a:pt x="5638" y="1278"/>
                  </a:lnTo>
                  <a:lnTo>
                    <a:pt x="5632" y="1282"/>
                  </a:lnTo>
                  <a:lnTo>
                    <a:pt x="5632" y="1288"/>
                  </a:lnTo>
                  <a:lnTo>
                    <a:pt x="5626" y="1294"/>
                  </a:lnTo>
                  <a:lnTo>
                    <a:pt x="5624" y="1300"/>
                  </a:lnTo>
                  <a:lnTo>
                    <a:pt x="5618" y="1304"/>
                  </a:lnTo>
                  <a:lnTo>
                    <a:pt x="5616" y="1308"/>
                  </a:lnTo>
                  <a:lnTo>
                    <a:pt x="5610" y="1310"/>
                  </a:lnTo>
                  <a:lnTo>
                    <a:pt x="5604" y="1314"/>
                  </a:lnTo>
                  <a:lnTo>
                    <a:pt x="5604" y="1320"/>
                  </a:lnTo>
                  <a:lnTo>
                    <a:pt x="5604" y="1326"/>
                  </a:lnTo>
                  <a:lnTo>
                    <a:pt x="5600" y="1332"/>
                  </a:lnTo>
                  <a:lnTo>
                    <a:pt x="5594" y="1338"/>
                  </a:lnTo>
                  <a:lnTo>
                    <a:pt x="5588" y="1342"/>
                  </a:lnTo>
                  <a:lnTo>
                    <a:pt x="5582" y="1346"/>
                  </a:lnTo>
                  <a:lnTo>
                    <a:pt x="5580" y="1352"/>
                  </a:lnTo>
                  <a:lnTo>
                    <a:pt x="5578" y="1356"/>
                  </a:lnTo>
                  <a:lnTo>
                    <a:pt x="5578" y="1362"/>
                  </a:lnTo>
                  <a:lnTo>
                    <a:pt x="5584" y="1366"/>
                  </a:lnTo>
                  <a:lnTo>
                    <a:pt x="5590" y="1370"/>
                  </a:lnTo>
                  <a:lnTo>
                    <a:pt x="5596" y="1370"/>
                  </a:lnTo>
                  <a:lnTo>
                    <a:pt x="5602" y="1372"/>
                  </a:lnTo>
                  <a:lnTo>
                    <a:pt x="5608" y="1372"/>
                  </a:lnTo>
                  <a:lnTo>
                    <a:pt x="5614" y="1374"/>
                  </a:lnTo>
                  <a:lnTo>
                    <a:pt x="5620" y="1378"/>
                  </a:lnTo>
                  <a:lnTo>
                    <a:pt x="5628" y="1380"/>
                  </a:lnTo>
                  <a:lnTo>
                    <a:pt x="5632" y="1380"/>
                  </a:lnTo>
                  <a:lnTo>
                    <a:pt x="5638" y="1378"/>
                  </a:lnTo>
                  <a:lnTo>
                    <a:pt x="5644" y="1376"/>
                  </a:lnTo>
                  <a:lnTo>
                    <a:pt x="5650" y="1376"/>
                  </a:lnTo>
                  <a:lnTo>
                    <a:pt x="5656" y="1378"/>
                  </a:lnTo>
                  <a:lnTo>
                    <a:pt x="5664" y="1378"/>
                  </a:lnTo>
                  <a:lnTo>
                    <a:pt x="5670" y="1376"/>
                  </a:lnTo>
                  <a:lnTo>
                    <a:pt x="5674" y="1376"/>
                  </a:lnTo>
                  <a:lnTo>
                    <a:pt x="5682" y="1382"/>
                  </a:lnTo>
                  <a:lnTo>
                    <a:pt x="5686" y="1388"/>
                  </a:lnTo>
                  <a:lnTo>
                    <a:pt x="5686" y="1394"/>
                  </a:lnTo>
                  <a:lnTo>
                    <a:pt x="5692" y="1398"/>
                  </a:lnTo>
                  <a:lnTo>
                    <a:pt x="5694" y="1404"/>
                  </a:lnTo>
                  <a:lnTo>
                    <a:pt x="5700" y="1408"/>
                  </a:lnTo>
                  <a:lnTo>
                    <a:pt x="5704" y="1414"/>
                  </a:lnTo>
                  <a:lnTo>
                    <a:pt x="5704" y="1418"/>
                  </a:lnTo>
                  <a:lnTo>
                    <a:pt x="5708" y="1426"/>
                  </a:lnTo>
                  <a:lnTo>
                    <a:pt x="5714" y="1430"/>
                  </a:lnTo>
                  <a:lnTo>
                    <a:pt x="5720" y="1432"/>
                  </a:lnTo>
                  <a:lnTo>
                    <a:pt x="5724" y="1426"/>
                  </a:lnTo>
                  <a:lnTo>
                    <a:pt x="5730" y="1428"/>
                  </a:lnTo>
                  <a:lnTo>
                    <a:pt x="5736" y="1426"/>
                  </a:lnTo>
                  <a:lnTo>
                    <a:pt x="5734" y="1420"/>
                  </a:lnTo>
                  <a:lnTo>
                    <a:pt x="5732" y="1414"/>
                  </a:lnTo>
                  <a:lnTo>
                    <a:pt x="5724" y="1414"/>
                  </a:lnTo>
                  <a:lnTo>
                    <a:pt x="5718" y="1410"/>
                  </a:lnTo>
                  <a:lnTo>
                    <a:pt x="5716" y="1404"/>
                  </a:lnTo>
                  <a:lnTo>
                    <a:pt x="5720" y="1398"/>
                  </a:lnTo>
                  <a:lnTo>
                    <a:pt x="5726" y="1396"/>
                  </a:lnTo>
                  <a:lnTo>
                    <a:pt x="5732" y="1398"/>
                  </a:lnTo>
                  <a:lnTo>
                    <a:pt x="5740" y="1396"/>
                  </a:lnTo>
                  <a:lnTo>
                    <a:pt x="5738" y="1402"/>
                  </a:lnTo>
                  <a:lnTo>
                    <a:pt x="5734" y="1408"/>
                  </a:lnTo>
                  <a:lnTo>
                    <a:pt x="5728" y="1410"/>
                  </a:lnTo>
                  <a:lnTo>
                    <a:pt x="5734" y="1414"/>
                  </a:lnTo>
                  <a:lnTo>
                    <a:pt x="5740" y="1414"/>
                  </a:lnTo>
                  <a:lnTo>
                    <a:pt x="5746" y="1418"/>
                  </a:lnTo>
                  <a:lnTo>
                    <a:pt x="5752" y="1420"/>
                  </a:lnTo>
                  <a:lnTo>
                    <a:pt x="5758" y="1420"/>
                  </a:lnTo>
                  <a:lnTo>
                    <a:pt x="5764" y="1422"/>
                  </a:lnTo>
                  <a:lnTo>
                    <a:pt x="5760" y="1426"/>
                  </a:lnTo>
                  <a:lnTo>
                    <a:pt x="5760" y="1432"/>
                  </a:lnTo>
                  <a:lnTo>
                    <a:pt x="5760" y="1440"/>
                  </a:lnTo>
                  <a:lnTo>
                    <a:pt x="5754" y="1440"/>
                  </a:lnTo>
                  <a:lnTo>
                    <a:pt x="5752" y="1446"/>
                  </a:lnTo>
                  <a:lnTo>
                    <a:pt x="5758" y="1448"/>
                  </a:lnTo>
                  <a:lnTo>
                    <a:pt x="5764" y="1448"/>
                  </a:lnTo>
                  <a:lnTo>
                    <a:pt x="5770" y="1446"/>
                  </a:lnTo>
                  <a:lnTo>
                    <a:pt x="5776" y="1448"/>
                  </a:lnTo>
                  <a:lnTo>
                    <a:pt x="5782" y="1446"/>
                  </a:lnTo>
                  <a:lnTo>
                    <a:pt x="5788" y="1444"/>
                  </a:lnTo>
                  <a:lnTo>
                    <a:pt x="5794" y="1440"/>
                  </a:lnTo>
                  <a:lnTo>
                    <a:pt x="5798" y="1434"/>
                  </a:lnTo>
                  <a:lnTo>
                    <a:pt x="5796" y="1426"/>
                  </a:lnTo>
                  <a:lnTo>
                    <a:pt x="5796" y="1422"/>
                  </a:lnTo>
                  <a:lnTo>
                    <a:pt x="5802" y="1420"/>
                  </a:lnTo>
                  <a:lnTo>
                    <a:pt x="5808" y="1426"/>
                  </a:lnTo>
                  <a:lnTo>
                    <a:pt x="5808" y="1432"/>
                  </a:lnTo>
                  <a:lnTo>
                    <a:pt x="5806" y="1438"/>
                  </a:lnTo>
                  <a:lnTo>
                    <a:pt x="5808" y="1444"/>
                  </a:lnTo>
                  <a:lnTo>
                    <a:pt x="5808" y="1450"/>
                  </a:lnTo>
                  <a:lnTo>
                    <a:pt x="5814" y="1448"/>
                  </a:lnTo>
                  <a:lnTo>
                    <a:pt x="5820" y="1448"/>
                  </a:lnTo>
                  <a:lnTo>
                    <a:pt x="5820" y="1442"/>
                  </a:lnTo>
                  <a:lnTo>
                    <a:pt x="5818" y="1436"/>
                  </a:lnTo>
                  <a:lnTo>
                    <a:pt x="5816" y="1430"/>
                  </a:lnTo>
                  <a:lnTo>
                    <a:pt x="5812" y="1424"/>
                  </a:lnTo>
                  <a:lnTo>
                    <a:pt x="5810" y="1418"/>
                  </a:lnTo>
                  <a:lnTo>
                    <a:pt x="5806" y="1412"/>
                  </a:lnTo>
                  <a:lnTo>
                    <a:pt x="5800" y="1412"/>
                  </a:lnTo>
                  <a:lnTo>
                    <a:pt x="5798" y="1406"/>
                  </a:lnTo>
                  <a:lnTo>
                    <a:pt x="5794" y="1400"/>
                  </a:lnTo>
                  <a:lnTo>
                    <a:pt x="5788" y="1398"/>
                  </a:lnTo>
                  <a:lnTo>
                    <a:pt x="5792" y="1398"/>
                  </a:lnTo>
                  <a:lnTo>
                    <a:pt x="5800" y="1400"/>
                  </a:lnTo>
                  <a:lnTo>
                    <a:pt x="5806" y="1402"/>
                  </a:lnTo>
                  <a:lnTo>
                    <a:pt x="5812" y="1402"/>
                  </a:lnTo>
                  <a:lnTo>
                    <a:pt x="5818" y="1404"/>
                  </a:lnTo>
                  <a:lnTo>
                    <a:pt x="5824" y="1404"/>
                  </a:lnTo>
                  <a:lnTo>
                    <a:pt x="5830" y="1404"/>
                  </a:lnTo>
                  <a:lnTo>
                    <a:pt x="5834" y="1402"/>
                  </a:lnTo>
                  <a:lnTo>
                    <a:pt x="5842" y="1398"/>
                  </a:lnTo>
                  <a:lnTo>
                    <a:pt x="5848" y="1398"/>
                  </a:lnTo>
                  <a:lnTo>
                    <a:pt x="5854" y="1404"/>
                  </a:lnTo>
                  <a:lnTo>
                    <a:pt x="5860" y="1406"/>
                  </a:lnTo>
                  <a:lnTo>
                    <a:pt x="5866" y="1410"/>
                  </a:lnTo>
                  <a:lnTo>
                    <a:pt x="5868" y="1410"/>
                  </a:lnTo>
                  <a:lnTo>
                    <a:pt x="5874" y="1410"/>
                  </a:lnTo>
                  <a:lnTo>
                    <a:pt x="5880" y="1414"/>
                  </a:lnTo>
                  <a:lnTo>
                    <a:pt x="5886" y="1418"/>
                  </a:lnTo>
                  <a:lnTo>
                    <a:pt x="5892" y="1424"/>
                  </a:lnTo>
                  <a:lnTo>
                    <a:pt x="5898" y="1428"/>
                  </a:lnTo>
                  <a:lnTo>
                    <a:pt x="5904" y="1432"/>
                  </a:lnTo>
                  <a:lnTo>
                    <a:pt x="5910" y="1434"/>
                  </a:lnTo>
                  <a:lnTo>
                    <a:pt x="5916" y="1436"/>
                  </a:lnTo>
                  <a:lnTo>
                    <a:pt x="5922" y="1440"/>
                  </a:lnTo>
                  <a:lnTo>
                    <a:pt x="5928" y="1442"/>
                  </a:lnTo>
                  <a:lnTo>
                    <a:pt x="5934" y="1446"/>
                  </a:lnTo>
                  <a:lnTo>
                    <a:pt x="5940" y="1448"/>
                  </a:lnTo>
                  <a:lnTo>
                    <a:pt x="5946" y="1448"/>
                  </a:lnTo>
                  <a:lnTo>
                    <a:pt x="5952" y="1454"/>
                  </a:lnTo>
                  <a:lnTo>
                    <a:pt x="5958" y="1456"/>
                  </a:lnTo>
                  <a:lnTo>
                    <a:pt x="5964" y="1458"/>
                  </a:lnTo>
                  <a:lnTo>
                    <a:pt x="5970" y="1460"/>
                  </a:lnTo>
                  <a:lnTo>
                    <a:pt x="5976" y="1462"/>
                  </a:lnTo>
                  <a:lnTo>
                    <a:pt x="5982" y="1462"/>
                  </a:lnTo>
                  <a:lnTo>
                    <a:pt x="5986" y="1470"/>
                  </a:lnTo>
                  <a:lnTo>
                    <a:pt x="5992" y="1472"/>
                  </a:lnTo>
                  <a:lnTo>
                    <a:pt x="5992" y="1478"/>
                  </a:lnTo>
                  <a:lnTo>
                    <a:pt x="5986" y="1478"/>
                  </a:lnTo>
                  <a:lnTo>
                    <a:pt x="5988" y="1484"/>
                  </a:lnTo>
                  <a:lnTo>
                    <a:pt x="5982" y="1482"/>
                  </a:lnTo>
                  <a:lnTo>
                    <a:pt x="5974" y="1480"/>
                  </a:lnTo>
                  <a:lnTo>
                    <a:pt x="5970" y="1478"/>
                  </a:lnTo>
                  <a:lnTo>
                    <a:pt x="5964" y="1474"/>
                  </a:lnTo>
                  <a:lnTo>
                    <a:pt x="5958" y="1474"/>
                  </a:lnTo>
                  <a:lnTo>
                    <a:pt x="5958" y="1476"/>
                  </a:lnTo>
                  <a:lnTo>
                    <a:pt x="5964" y="1478"/>
                  </a:lnTo>
                  <a:lnTo>
                    <a:pt x="5970" y="1480"/>
                  </a:lnTo>
                  <a:lnTo>
                    <a:pt x="5976" y="1484"/>
                  </a:lnTo>
                  <a:lnTo>
                    <a:pt x="5982" y="1488"/>
                  </a:lnTo>
                  <a:lnTo>
                    <a:pt x="5988" y="1490"/>
                  </a:lnTo>
                  <a:lnTo>
                    <a:pt x="5994" y="1492"/>
                  </a:lnTo>
                  <a:lnTo>
                    <a:pt x="6000" y="1494"/>
                  </a:lnTo>
                  <a:lnTo>
                    <a:pt x="6006" y="1500"/>
                  </a:lnTo>
                  <a:lnTo>
                    <a:pt x="6012" y="1504"/>
                  </a:lnTo>
                  <a:lnTo>
                    <a:pt x="6016" y="1510"/>
                  </a:lnTo>
                  <a:lnTo>
                    <a:pt x="6014" y="1516"/>
                  </a:lnTo>
                  <a:lnTo>
                    <a:pt x="6016" y="1522"/>
                  </a:lnTo>
                  <a:lnTo>
                    <a:pt x="6024" y="1526"/>
                  </a:lnTo>
                  <a:lnTo>
                    <a:pt x="6030" y="1530"/>
                  </a:lnTo>
                  <a:lnTo>
                    <a:pt x="6036" y="1532"/>
                  </a:lnTo>
                  <a:lnTo>
                    <a:pt x="6042" y="1534"/>
                  </a:lnTo>
                  <a:lnTo>
                    <a:pt x="6048" y="1534"/>
                  </a:lnTo>
                  <a:lnTo>
                    <a:pt x="6048" y="1538"/>
                  </a:lnTo>
                  <a:lnTo>
                    <a:pt x="6046" y="1544"/>
                  </a:lnTo>
                  <a:lnTo>
                    <a:pt x="6050" y="1550"/>
                  </a:lnTo>
                  <a:lnTo>
                    <a:pt x="6056" y="1554"/>
                  </a:lnTo>
                  <a:lnTo>
                    <a:pt x="6052" y="1558"/>
                  </a:lnTo>
                  <a:lnTo>
                    <a:pt x="6052" y="1564"/>
                  </a:lnTo>
                  <a:lnTo>
                    <a:pt x="6052" y="1570"/>
                  </a:lnTo>
                  <a:lnTo>
                    <a:pt x="6046" y="1576"/>
                  </a:lnTo>
                  <a:lnTo>
                    <a:pt x="6052" y="1582"/>
                  </a:lnTo>
                  <a:lnTo>
                    <a:pt x="6050" y="1588"/>
                  </a:lnTo>
                  <a:lnTo>
                    <a:pt x="6056" y="1590"/>
                  </a:lnTo>
                  <a:lnTo>
                    <a:pt x="6052" y="1596"/>
                  </a:lnTo>
                  <a:lnTo>
                    <a:pt x="6056" y="1602"/>
                  </a:lnTo>
                  <a:lnTo>
                    <a:pt x="6060" y="1608"/>
                  </a:lnTo>
                  <a:lnTo>
                    <a:pt x="6066" y="1614"/>
                  </a:lnTo>
                  <a:lnTo>
                    <a:pt x="6066" y="1620"/>
                  </a:lnTo>
                  <a:lnTo>
                    <a:pt x="6066" y="1626"/>
                  </a:lnTo>
                  <a:lnTo>
                    <a:pt x="6068" y="1632"/>
                  </a:lnTo>
                  <a:lnTo>
                    <a:pt x="6072" y="1638"/>
                  </a:lnTo>
                  <a:lnTo>
                    <a:pt x="6076" y="1644"/>
                  </a:lnTo>
                  <a:lnTo>
                    <a:pt x="6080" y="1650"/>
                  </a:lnTo>
                  <a:lnTo>
                    <a:pt x="6086" y="1654"/>
                  </a:lnTo>
                  <a:lnTo>
                    <a:pt x="6092" y="1660"/>
                  </a:lnTo>
                  <a:lnTo>
                    <a:pt x="6096" y="1666"/>
                  </a:lnTo>
                  <a:lnTo>
                    <a:pt x="6100" y="1672"/>
                  </a:lnTo>
                  <a:lnTo>
                    <a:pt x="6106" y="1676"/>
                  </a:lnTo>
                  <a:lnTo>
                    <a:pt x="6112" y="1676"/>
                  </a:lnTo>
                  <a:lnTo>
                    <a:pt x="6108" y="1682"/>
                  </a:lnTo>
                  <a:lnTo>
                    <a:pt x="6106" y="1686"/>
                  </a:lnTo>
                  <a:lnTo>
                    <a:pt x="6108" y="1692"/>
                  </a:lnTo>
                  <a:lnTo>
                    <a:pt x="6114" y="1696"/>
                  </a:lnTo>
                  <a:lnTo>
                    <a:pt x="6120" y="1702"/>
                  </a:lnTo>
                  <a:lnTo>
                    <a:pt x="6124" y="1708"/>
                  </a:lnTo>
                  <a:lnTo>
                    <a:pt x="6130" y="1714"/>
                  </a:lnTo>
                  <a:lnTo>
                    <a:pt x="6130" y="1720"/>
                  </a:lnTo>
                  <a:lnTo>
                    <a:pt x="6132" y="1726"/>
                  </a:lnTo>
                  <a:lnTo>
                    <a:pt x="6132" y="1732"/>
                  </a:lnTo>
                  <a:lnTo>
                    <a:pt x="6134" y="1732"/>
                  </a:lnTo>
                  <a:lnTo>
                    <a:pt x="6136" y="1736"/>
                  </a:lnTo>
                  <a:lnTo>
                    <a:pt x="6140" y="1742"/>
                  </a:lnTo>
                  <a:lnTo>
                    <a:pt x="6142" y="1748"/>
                  </a:lnTo>
                  <a:lnTo>
                    <a:pt x="6138" y="1748"/>
                  </a:lnTo>
                  <a:lnTo>
                    <a:pt x="6144" y="1748"/>
                  </a:lnTo>
                  <a:lnTo>
                    <a:pt x="6148" y="1754"/>
                  </a:lnTo>
                  <a:lnTo>
                    <a:pt x="6146" y="1760"/>
                  </a:lnTo>
                  <a:lnTo>
                    <a:pt x="6148" y="1766"/>
                  </a:lnTo>
                  <a:lnTo>
                    <a:pt x="6152" y="1772"/>
                  </a:lnTo>
                  <a:lnTo>
                    <a:pt x="6154" y="1778"/>
                  </a:lnTo>
                  <a:lnTo>
                    <a:pt x="6160" y="1782"/>
                  </a:lnTo>
                  <a:lnTo>
                    <a:pt x="6158" y="1790"/>
                  </a:lnTo>
                  <a:lnTo>
                    <a:pt x="6156" y="1796"/>
                  </a:lnTo>
                  <a:lnTo>
                    <a:pt x="6154" y="1798"/>
                  </a:lnTo>
                  <a:lnTo>
                    <a:pt x="6150" y="1804"/>
                  </a:lnTo>
                  <a:lnTo>
                    <a:pt x="6150" y="1810"/>
                  </a:lnTo>
                  <a:lnTo>
                    <a:pt x="6148" y="1816"/>
                  </a:lnTo>
                  <a:lnTo>
                    <a:pt x="6144" y="1822"/>
                  </a:lnTo>
                  <a:lnTo>
                    <a:pt x="6142" y="1828"/>
                  </a:lnTo>
                  <a:lnTo>
                    <a:pt x="6142" y="1834"/>
                  </a:lnTo>
                  <a:lnTo>
                    <a:pt x="6144" y="1840"/>
                  </a:lnTo>
                  <a:lnTo>
                    <a:pt x="6144" y="1846"/>
                  </a:lnTo>
                  <a:lnTo>
                    <a:pt x="6144" y="1852"/>
                  </a:lnTo>
                  <a:lnTo>
                    <a:pt x="6146" y="1858"/>
                  </a:lnTo>
                  <a:lnTo>
                    <a:pt x="6146" y="1860"/>
                  </a:lnTo>
                  <a:lnTo>
                    <a:pt x="6142" y="1868"/>
                  </a:lnTo>
                  <a:lnTo>
                    <a:pt x="6142" y="1872"/>
                  </a:lnTo>
                  <a:lnTo>
                    <a:pt x="6138" y="1878"/>
                  </a:lnTo>
                  <a:lnTo>
                    <a:pt x="6138" y="1884"/>
                  </a:lnTo>
                  <a:lnTo>
                    <a:pt x="6140" y="1890"/>
                  </a:lnTo>
                  <a:lnTo>
                    <a:pt x="6140" y="1896"/>
                  </a:lnTo>
                  <a:lnTo>
                    <a:pt x="6140" y="1902"/>
                  </a:lnTo>
                  <a:lnTo>
                    <a:pt x="6142" y="1908"/>
                  </a:lnTo>
                  <a:lnTo>
                    <a:pt x="6146" y="1914"/>
                  </a:lnTo>
                  <a:lnTo>
                    <a:pt x="6144" y="1920"/>
                  </a:lnTo>
                  <a:lnTo>
                    <a:pt x="6144" y="1926"/>
                  </a:lnTo>
                  <a:lnTo>
                    <a:pt x="6146" y="1932"/>
                  </a:lnTo>
                  <a:lnTo>
                    <a:pt x="6148" y="1938"/>
                  </a:lnTo>
                  <a:lnTo>
                    <a:pt x="6146" y="1944"/>
                  </a:lnTo>
                  <a:lnTo>
                    <a:pt x="6144" y="1950"/>
                  </a:lnTo>
                  <a:lnTo>
                    <a:pt x="6142" y="1956"/>
                  </a:lnTo>
                  <a:lnTo>
                    <a:pt x="6142" y="1960"/>
                  </a:lnTo>
                  <a:lnTo>
                    <a:pt x="6142" y="1968"/>
                  </a:lnTo>
                  <a:lnTo>
                    <a:pt x="6140" y="1974"/>
                  </a:lnTo>
                  <a:lnTo>
                    <a:pt x="6134" y="1978"/>
                  </a:lnTo>
                  <a:lnTo>
                    <a:pt x="6134" y="1984"/>
                  </a:lnTo>
                  <a:lnTo>
                    <a:pt x="6132" y="1990"/>
                  </a:lnTo>
                  <a:lnTo>
                    <a:pt x="6130" y="1996"/>
                  </a:lnTo>
                  <a:lnTo>
                    <a:pt x="6126" y="2002"/>
                  </a:lnTo>
                  <a:lnTo>
                    <a:pt x="6122" y="2008"/>
                  </a:lnTo>
                  <a:lnTo>
                    <a:pt x="6122" y="2014"/>
                  </a:lnTo>
                  <a:lnTo>
                    <a:pt x="6118" y="2020"/>
                  </a:lnTo>
                  <a:lnTo>
                    <a:pt x="6118" y="2024"/>
                  </a:lnTo>
                  <a:lnTo>
                    <a:pt x="6118" y="2030"/>
                  </a:lnTo>
                  <a:lnTo>
                    <a:pt x="6118" y="2036"/>
                  </a:lnTo>
                  <a:lnTo>
                    <a:pt x="6112" y="2038"/>
                  </a:lnTo>
                  <a:lnTo>
                    <a:pt x="6112" y="2044"/>
                  </a:lnTo>
                  <a:lnTo>
                    <a:pt x="6114" y="2050"/>
                  </a:lnTo>
                  <a:lnTo>
                    <a:pt x="6114" y="2056"/>
                  </a:lnTo>
                  <a:lnTo>
                    <a:pt x="6108" y="2058"/>
                  </a:lnTo>
                  <a:lnTo>
                    <a:pt x="6104" y="2062"/>
                  </a:lnTo>
                  <a:lnTo>
                    <a:pt x="6104" y="2070"/>
                  </a:lnTo>
                  <a:lnTo>
                    <a:pt x="6102" y="2074"/>
                  </a:lnTo>
                  <a:lnTo>
                    <a:pt x="6102" y="2080"/>
                  </a:lnTo>
                  <a:lnTo>
                    <a:pt x="6104" y="2086"/>
                  </a:lnTo>
                  <a:lnTo>
                    <a:pt x="6100" y="2092"/>
                  </a:lnTo>
                  <a:lnTo>
                    <a:pt x="6106" y="2098"/>
                  </a:lnTo>
                  <a:lnTo>
                    <a:pt x="6104" y="2104"/>
                  </a:lnTo>
                  <a:lnTo>
                    <a:pt x="6102" y="2108"/>
                  </a:lnTo>
                  <a:lnTo>
                    <a:pt x="6098" y="2110"/>
                  </a:lnTo>
                  <a:lnTo>
                    <a:pt x="6098" y="2118"/>
                  </a:lnTo>
                  <a:lnTo>
                    <a:pt x="6098" y="2122"/>
                  </a:lnTo>
                  <a:lnTo>
                    <a:pt x="6092" y="2128"/>
                  </a:lnTo>
                  <a:lnTo>
                    <a:pt x="6086" y="2134"/>
                  </a:lnTo>
                  <a:lnTo>
                    <a:pt x="6082" y="2138"/>
                  </a:lnTo>
                  <a:lnTo>
                    <a:pt x="6076" y="2144"/>
                  </a:lnTo>
                  <a:lnTo>
                    <a:pt x="6070" y="2148"/>
                  </a:lnTo>
                  <a:lnTo>
                    <a:pt x="6064" y="2152"/>
                  </a:lnTo>
                  <a:lnTo>
                    <a:pt x="6060" y="2158"/>
                  </a:lnTo>
                  <a:lnTo>
                    <a:pt x="6054" y="2164"/>
                  </a:lnTo>
                  <a:lnTo>
                    <a:pt x="6048" y="2166"/>
                  </a:lnTo>
                  <a:lnTo>
                    <a:pt x="6042" y="2166"/>
                  </a:lnTo>
                  <a:lnTo>
                    <a:pt x="6036" y="2168"/>
                  </a:lnTo>
                  <a:lnTo>
                    <a:pt x="6030" y="2172"/>
                  </a:lnTo>
                  <a:lnTo>
                    <a:pt x="6026" y="2174"/>
                  </a:lnTo>
                  <a:lnTo>
                    <a:pt x="6018" y="2178"/>
                  </a:lnTo>
                  <a:lnTo>
                    <a:pt x="6012" y="2176"/>
                  </a:lnTo>
                  <a:lnTo>
                    <a:pt x="6010" y="2172"/>
                  </a:lnTo>
                  <a:lnTo>
                    <a:pt x="6004" y="2168"/>
                  </a:lnTo>
                  <a:lnTo>
                    <a:pt x="5998" y="2172"/>
                  </a:lnTo>
                  <a:lnTo>
                    <a:pt x="5994" y="2166"/>
                  </a:lnTo>
                  <a:lnTo>
                    <a:pt x="5990" y="2166"/>
                  </a:lnTo>
                  <a:lnTo>
                    <a:pt x="5982" y="2168"/>
                  </a:lnTo>
                  <a:lnTo>
                    <a:pt x="5978" y="2164"/>
                  </a:lnTo>
                  <a:lnTo>
                    <a:pt x="5972" y="2162"/>
                  </a:lnTo>
                  <a:lnTo>
                    <a:pt x="5966" y="2164"/>
                  </a:lnTo>
                  <a:lnTo>
                    <a:pt x="5962" y="2158"/>
                  </a:lnTo>
                  <a:lnTo>
                    <a:pt x="5960" y="2152"/>
                  </a:lnTo>
                  <a:lnTo>
                    <a:pt x="5958" y="2146"/>
                  </a:lnTo>
                  <a:lnTo>
                    <a:pt x="5954" y="2140"/>
                  </a:lnTo>
                  <a:lnTo>
                    <a:pt x="5948" y="2134"/>
                  </a:lnTo>
                  <a:lnTo>
                    <a:pt x="5948" y="2140"/>
                  </a:lnTo>
                  <a:lnTo>
                    <a:pt x="5944" y="2146"/>
                  </a:lnTo>
                  <a:lnTo>
                    <a:pt x="5940" y="2152"/>
                  </a:lnTo>
                  <a:lnTo>
                    <a:pt x="5934" y="2148"/>
                  </a:lnTo>
                  <a:lnTo>
                    <a:pt x="5932" y="2142"/>
                  </a:lnTo>
                  <a:lnTo>
                    <a:pt x="5932" y="2136"/>
                  </a:lnTo>
                  <a:lnTo>
                    <a:pt x="5928" y="2134"/>
                  </a:lnTo>
                  <a:lnTo>
                    <a:pt x="5920" y="2136"/>
                  </a:lnTo>
                  <a:lnTo>
                    <a:pt x="5920" y="2138"/>
                  </a:lnTo>
                  <a:lnTo>
                    <a:pt x="5920" y="2142"/>
                  </a:lnTo>
                  <a:lnTo>
                    <a:pt x="5922" y="2148"/>
                  </a:lnTo>
                  <a:lnTo>
                    <a:pt x="5920" y="2154"/>
                  </a:lnTo>
                  <a:lnTo>
                    <a:pt x="5920" y="2160"/>
                  </a:lnTo>
                  <a:lnTo>
                    <a:pt x="5914" y="2160"/>
                  </a:lnTo>
                  <a:lnTo>
                    <a:pt x="5920" y="2166"/>
                  </a:lnTo>
                  <a:lnTo>
                    <a:pt x="5914" y="2172"/>
                  </a:lnTo>
                  <a:lnTo>
                    <a:pt x="5916" y="2178"/>
                  </a:lnTo>
                  <a:lnTo>
                    <a:pt x="5916" y="2184"/>
                  </a:lnTo>
                  <a:lnTo>
                    <a:pt x="5910" y="2182"/>
                  </a:lnTo>
                  <a:lnTo>
                    <a:pt x="5904" y="2180"/>
                  </a:lnTo>
                  <a:lnTo>
                    <a:pt x="5898" y="2180"/>
                  </a:lnTo>
                  <a:lnTo>
                    <a:pt x="5892" y="2178"/>
                  </a:lnTo>
                  <a:lnTo>
                    <a:pt x="5886" y="2182"/>
                  </a:lnTo>
                  <a:lnTo>
                    <a:pt x="5892" y="2184"/>
                  </a:lnTo>
                  <a:lnTo>
                    <a:pt x="5898" y="2188"/>
                  </a:lnTo>
                  <a:lnTo>
                    <a:pt x="5900" y="2194"/>
                  </a:lnTo>
                  <a:lnTo>
                    <a:pt x="5900" y="2198"/>
                  </a:lnTo>
                  <a:lnTo>
                    <a:pt x="5900" y="2206"/>
                  </a:lnTo>
                  <a:lnTo>
                    <a:pt x="5894" y="2200"/>
                  </a:lnTo>
                  <a:lnTo>
                    <a:pt x="5890" y="2196"/>
                  </a:lnTo>
                  <a:lnTo>
                    <a:pt x="5886" y="2192"/>
                  </a:lnTo>
                  <a:lnTo>
                    <a:pt x="5884" y="2186"/>
                  </a:lnTo>
                  <a:lnTo>
                    <a:pt x="5880" y="2180"/>
                  </a:lnTo>
                  <a:lnTo>
                    <a:pt x="5874" y="2178"/>
                  </a:lnTo>
                  <a:lnTo>
                    <a:pt x="5868" y="2176"/>
                  </a:lnTo>
                  <a:lnTo>
                    <a:pt x="5872" y="2170"/>
                  </a:lnTo>
                  <a:lnTo>
                    <a:pt x="5878" y="2168"/>
                  </a:lnTo>
                  <a:lnTo>
                    <a:pt x="5884" y="2164"/>
                  </a:lnTo>
                  <a:lnTo>
                    <a:pt x="5890" y="2166"/>
                  </a:lnTo>
                  <a:lnTo>
                    <a:pt x="5896" y="2166"/>
                  </a:lnTo>
                  <a:lnTo>
                    <a:pt x="5898" y="2160"/>
                  </a:lnTo>
                  <a:lnTo>
                    <a:pt x="5894" y="2154"/>
                  </a:lnTo>
                  <a:lnTo>
                    <a:pt x="5896" y="2148"/>
                  </a:lnTo>
                  <a:lnTo>
                    <a:pt x="5892" y="2142"/>
                  </a:lnTo>
                  <a:lnTo>
                    <a:pt x="5894" y="2136"/>
                  </a:lnTo>
                  <a:lnTo>
                    <a:pt x="5892" y="2130"/>
                  </a:lnTo>
                  <a:lnTo>
                    <a:pt x="5886" y="2124"/>
                  </a:lnTo>
                  <a:lnTo>
                    <a:pt x="5884" y="2122"/>
                  </a:lnTo>
                  <a:lnTo>
                    <a:pt x="5878" y="2116"/>
                  </a:lnTo>
                  <a:lnTo>
                    <a:pt x="5876" y="2110"/>
                  </a:lnTo>
                  <a:lnTo>
                    <a:pt x="5872" y="2104"/>
                  </a:lnTo>
                  <a:lnTo>
                    <a:pt x="5868" y="2098"/>
                  </a:lnTo>
                  <a:lnTo>
                    <a:pt x="5868" y="2092"/>
                  </a:lnTo>
                  <a:lnTo>
                    <a:pt x="5864" y="2086"/>
                  </a:lnTo>
                  <a:lnTo>
                    <a:pt x="5860" y="2080"/>
                  </a:lnTo>
                  <a:lnTo>
                    <a:pt x="5856" y="2074"/>
                  </a:lnTo>
                  <a:lnTo>
                    <a:pt x="5850" y="2068"/>
                  </a:lnTo>
                  <a:lnTo>
                    <a:pt x="5846" y="2062"/>
                  </a:lnTo>
                  <a:lnTo>
                    <a:pt x="5842" y="2056"/>
                  </a:lnTo>
                  <a:lnTo>
                    <a:pt x="5836" y="2050"/>
                  </a:lnTo>
                  <a:lnTo>
                    <a:pt x="5834" y="2046"/>
                  </a:lnTo>
                  <a:lnTo>
                    <a:pt x="5828" y="2040"/>
                  </a:lnTo>
                  <a:lnTo>
                    <a:pt x="5822" y="2036"/>
                  </a:lnTo>
                  <a:lnTo>
                    <a:pt x="5816" y="2030"/>
                  </a:lnTo>
                  <a:lnTo>
                    <a:pt x="5820" y="2024"/>
                  </a:lnTo>
                  <a:lnTo>
                    <a:pt x="5826" y="2026"/>
                  </a:lnTo>
                  <a:lnTo>
                    <a:pt x="5832" y="2022"/>
                  </a:lnTo>
                  <a:lnTo>
                    <a:pt x="5838" y="2020"/>
                  </a:lnTo>
                  <a:lnTo>
                    <a:pt x="5840" y="2016"/>
                  </a:lnTo>
                  <a:lnTo>
                    <a:pt x="5840" y="2010"/>
                  </a:lnTo>
                  <a:lnTo>
                    <a:pt x="5844" y="2004"/>
                  </a:lnTo>
                  <a:lnTo>
                    <a:pt x="5844" y="2000"/>
                  </a:lnTo>
                  <a:lnTo>
                    <a:pt x="5848" y="2000"/>
                  </a:lnTo>
                  <a:lnTo>
                    <a:pt x="5854" y="2004"/>
                  </a:lnTo>
                  <a:lnTo>
                    <a:pt x="5856" y="2004"/>
                  </a:lnTo>
                  <a:lnTo>
                    <a:pt x="5862" y="2006"/>
                  </a:lnTo>
                  <a:lnTo>
                    <a:pt x="5868" y="2006"/>
                  </a:lnTo>
                  <a:lnTo>
                    <a:pt x="5874" y="2008"/>
                  </a:lnTo>
                  <a:lnTo>
                    <a:pt x="5880" y="2010"/>
                  </a:lnTo>
                  <a:lnTo>
                    <a:pt x="5886" y="2010"/>
                  </a:lnTo>
                  <a:lnTo>
                    <a:pt x="5892" y="2012"/>
                  </a:lnTo>
                  <a:lnTo>
                    <a:pt x="5898" y="2014"/>
                  </a:lnTo>
                  <a:lnTo>
                    <a:pt x="5902" y="2014"/>
                  </a:lnTo>
                  <a:lnTo>
                    <a:pt x="5910" y="2016"/>
                  </a:lnTo>
                  <a:lnTo>
                    <a:pt x="5914" y="2018"/>
                  </a:lnTo>
                  <a:lnTo>
                    <a:pt x="5920" y="2016"/>
                  </a:lnTo>
                  <a:lnTo>
                    <a:pt x="5920" y="2010"/>
                  </a:lnTo>
                  <a:lnTo>
                    <a:pt x="5916" y="2004"/>
                  </a:lnTo>
                  <a:lnTo>
                    <a:pt x="5912" y="1998"/>
                  </a:lnTo>
                  <a:lnTo>
                    <a:pt x="5910" y="1992"/>
                  </a:lnTo>
                  <a:lnTo>
                    <a:pt x="5910" y="1990"/>
                  </a:lnTo>
                  <a:lnTo>
                    <a:pt x="5914" y="1984"/>
                  </a:lnTo>
                  <a:lnTo>
                    <a:pt x="5920" y="1982"/>
                  </a:lnTo>
                  <a:lnTo>
                    <a:pt x="5920" y="1976"/>
                  </a:lnTo>
                  <a:lnTo>
                    <a:pt x="5916" y="1970"/>
                  </a:lnTo>
                  <a:lnTo>
                    <a:pt x="5912" y="1964"/>
                  </a:lnTo>
                  <a:lnTo>
                    <a:pt x="5912" y="1960"/>
                  </a:lnTo>
                  <a:lnTo>
                    <a:pt x="5918" y="1956"/>
                  </a:lnTo>
                  <a:lnTo>
                    <a:pt x="5918" y="1954"/>
                  </a:lnTo>
                  <a:lnTo>
                    <a:pt x="5916" y="1948"/>
                  </a:lnTo>
                  <a:lnTo>
                    <a:pt x="5910" y="1942"/>
                  </a:lnTo>
                  <a:lnTo>
                    <a:pt x="5916" y="1938"/>
                  </a:lnTo>
                  <a:lnTo>
                    <a:pt x="5916" y="1932"/>
                  </a:lnTo>
                  <a:lnTo>
                    <a:pt x="5914" y="1926"/>
                  </a:lnTo>
                  <a:lnTo>
                    <a:pt x="5908" y="1922"/>
                  </a:lnTo>
                  <a:lnTo>
                    <a:pt x="5906" y="1916"/>
                  </a:lnTo>
                  <a:lnTo>
                    <a:pt x="5906" y="1912"/>
                  </a:lnTo>
                  <a:lnTo>
                    <a:pt x="5906" y="1910"/>
                  </a:lnTo>
                  <a:lnTo>
                    <a:pt x="5906" y="1902"/>
                  </a:lnTo>
                  <a:lnTo>
                    <a:pt x="5900" y="1896"/>
                  </a:lnTo>
                  <a:lnTo>
                    <a:pt x="5900" y="1894"/>
                  </a:lnTo>
                  <a:lnTo>
                    <a:pt x="5898" y="1888"/>
                  </a:lnTo>
                  <a:lnTo>
                    <a:pt x="5896" y="1882"/>
                  </a:lnTo>
                  <a:lnTo>
                    <a:pt x="5898" y="1878"/>
                  </a:lnTo>
                  <a:lnTo>
                    <a:pt x="5894" y="1872"/>
                  </a:lnTo>
                  <a:lnTo>
                    <a:pt x="5890" y="1866"/>
                  </a:lnTo>
                  <a:lnTo>
                    <a:pt x="5890" y="1860"/>
                  </a:lnTo>
                  <a:lnTo>
                    <a:pt x="5896" y="1854"/>
                  </a:lnTo>
                  <a:lnTo>
                    <a:pt x="5902" y="1854"/>
                  </a:lnTo>
                  <a:lnTo>
                    <a:pt x="5902" y="1846"/>
                  </a:lnTo>
                  <a:lnTo>
                    <a:pt x="5902" y="1842"/>
                  </a:lnTo>
                  <a:lnTo>
                    <a:pt x="5902" y="1836"/>
                  </a:lnTo>
                  <a:lnTo>
                    <a:pt x="5896" y="1832"/>
                  </a:lnTo>
                  <a:lnTo>
                    <a:pt x="5894" y="1830"/>
                  </a:lnTo>
                  <a:lnTo>
                    <a:pt x="5888" y="1824"/>
                  </a:lnTo>
                  <a:lnTo>
                    <a:pt x="5882" y="1820"/>
                  </a:lnTo>
                  <a:lnTo>
                    <a:pt x="5878" y="1814"/>
                  </a:lnTo>
                  <a:lnTo>
                    <a:pt x="5880" y="1808"/>
                  </a:lnTo>
                  <a:lnTo>
                    <a:pt x="5876" y="1802"/>
                  </a:lnTo>
                  <a:lnTo>
                    <a:pt x="5876" y="1800"/>
                  </a:lnTo>
                  <a:lnTo>
                    <a:pt x="5870" y="1798"/>
                  </a:lnTo>
                  <a:lnTo>
                    <a:pt x="5864" y="1794"/>
                  </a:lnTo>
                  <a:lnTo>
                    <a:pt x="5864" y="1792"/>
                  </a:lnTo>
                  <a:lnTo>
                    <a:pt x="5858" y="1792"/>
                  </a:lnTo>
                  <a:lnTo>
                    <a:pt x="5856" y="1792"/>
                  </a:lnTo>
                  <a:lnTo>
                    <a:pt x="5854" y="1790"/>
                  </a:lnTo>
                  <a:lnTo>
                    <a:pt x="5848" y="1792"/>
                  </a:lnTo>
                  <a:lnTo>
                    <a:pt x="5846" y="1794"/>
                  </a:lnTo>
                  <a:lnTo>
                    <a:pt x="5840" y="1794"/>
                  </a:lnTo>
                  <a:lnTo>
                    <a:pt x="5838" y="1796"/>
                  </a:lnTo>
                  <a:lnTo>
                    <a:pt x="5832" y="1800"/>
                  </a:lnTo>
                  <a:lnTo>
                    <a:pt x="5826" y="1800"/>
                  </a:lnTo>
                  <a:lnTo>
                    <a:pt x="5820" y="1804"/>
                  </a:lnTo>
                  <a:lnTo>
                    <a:pt x="5820" y="1812"/>
                  </a:lnTo>
                  <a:lnTo>
                    <a:pt x="5818" y="1812"/>
                  </a:lnTo>
                  <a:lnTo>
                    <a:pt x="5814" y="1810"/>
                  </a:lnTo>
                  <a:lnTo>
                    <a:pt x="5808" y="1810"/>
                  </a:lnTo>
                  <a:lnTo>
                    <a:pt x="5800" y="1810"/>
                  </a:lnTo>
                  <a:lnTo>
                    <a:pt x="5796" y="1810"/>
                  </a:lnTo>
                  <a:lnTo>
                    <a:pt x="5790" y="1816"/>
                  </a:lnTo>
                  <a:lnTo>
                    <a:pt x="5784" y="1820"/>
                  </a:lnTo>
                  <a:lnTo>
                    <a:pt x="5782" y="1826"/>
                  </a:lnTo>
                  <a:lnTo>
                    <a:pt x="5782" y="1832"/>
                  </a:lnTo>
                  <a:lnTo>
                    <a:pt x="5782" y="1836"/>
                  </a:lnTo>
                  <a:lnTo>
                    <a:pt x="5776" y="1836"/>
                  </a:lnTo>
                  <a:lnTo>
                    <a:pt x="5768" y="1834"/>
                  </a:lnTo>
                  <a:lnTo>
                    <a:pt x="5762" y="1838"/>
                  </a:lnTo>
                  <a:lnTo>
                    <a:pt x="5758" y="1838"/>
                  </a:lnTo>
                  <a:lnTo>
                    <a:pt x="5750" y="1838"/>
                  </a:lnTo>
                  <a:lnTo>
                    <a:pt x="5746" y="1838"/>
                  </a:lnTo>
                  <a:lnTo>
                    <a:pt x="5740" y="1838"/>
                  </a:lnTo>
                  <a:lnTo>
                    <a:pt x="5734" y="1840"/>
                  </a:lnTo>
                  <a:lnTo>
                    <a:pt x="5728" y="1836"/>
                  </a:lnTo>
                  <a:lnTo>
                    <a:pt x="5726" y="1834"/>
                  </a:lnTo>
                  <a:lnTo>
                    <a:pt x="5720" y="1834"/>
                  </a:lnTo>
                  <a:lnTo>
                    <a:pt x="5714" y="1834"/>
                  </a:lnTo>
                  <a:lnTo>
                    <a:pt x="5708" y="1838"/>
                  </a:lnTo>
                  <a:lnTo>
                    <a:pt x="5706" y="1838"/>
                  </a:lnTo>
                  <a:lnTo>
                    <a:pt x="5700" y="1838"/>
                  </a:lnTo>
                  <a:lnTo>
                    <a:pt x="5694" y="1834"/>
                  </a:lnTo>
                  <a:lnTo>
                    <a:pt x="5690" y="1828"/>
                  </a:lnTo>
                  <a:lnTo>
                    <a:pt x="5686" y="1824"/>
                  </a:lnTo>
                  <a:lnTo>
                    <a:pt x="5678" y="1820"/>
                  </a:lnTo>
                  <a:lnTo>
                    <a:pt x="5674" y="1816"/>
                  </a:lnTo>
                  <a:lnTo>
                    <a:pt x="5672" y="1816"/>
                  </a:lnTo>
                  <a:lnTo>
                    <a:pt x="5666" y="1810"/>
                  </a:lnTo>
                  <a:lnTo>
                    <a:pt x="5666" y="1804"/>
                  </a:lnTo>
                  <a:lnTo>
                    <a:pt x="5666" y="1798"/>
                  </a:lnTo>
                  <a:lnTo>
                    <a:pt x="5664" y="1796"/>
                  </a:lnTo>
                  <a:lnTo>
                    <a:pt x="5658" y="1792"/>
                  </a:lnTo>
                  <a:lnTo>
                    <a:pt x="5656" y="1786"/>
                  </a:lnTo>
                  <a:lnTo>
                    <a:pt x="5648" y="1784"/>
                  </a:lnTo>
                  <a:lnTo>
                    <a:pt x="5644" y="1778"/>
                  </a:lnTo>
                  <a:lnTo>
                    <a:pt x="5638" y="1776"/>
                  </a:lnTo>
                  <a:lnTo>
                    <a:pt x="5636" y="1770"/>
                  </a:lnTo>
                  <a:lnTo>
                    <a:pt x="5634" y="1764"/>
                  </a:lnTo>
                  <a:lnTo>
                    <a:pt x="5634" y="1758"/>
                  </a:lnTo>
                  <a:lnTo>
                    <a:pt x="5630" y="1758"/>
                  </a:lnTo>
                  <a:lnTo>
                    <a:pt x="5624" y="1760"/>
                  </a:lnTo>
                  <a:lnTo>
                    <a:pt x="5618" y="1756"/>
                  </a:lnTo>
                  <a:lnTo>
                    <a:pt x="5612" y="1758"/>
                  </a:lnTo>
                  <a:lnTo>
                    <a:pt x="5606" y="1758"/>
                  </a:lnTo>
                  <a:lnTo>
                    <a:pt x="5602" y="1754"/>
                  </a:lnTo>
                  <a:lnTo>
                    <a:pt x="5596" y="1752"/>
                  </a:lnTo>
                  <a:lnTo>
                    <a:pt x="5592" y="1750"/>
                  </a:lnTo>
                  <a:lnTo>
                    <a:pt x="5590" y="1748"/>
                  </a:lnTo>
                  <a:lnTo>
                    <a:pt x="5584" y="1746"/>
                  </a:lnTo>
                  <a:lnTo>
                    <a:pt x="5580" y="1744"/>
                  </a:lnTo>
                  <a:lnTo>
                    <a:pt x="5574" y="1738"/>
                  </a:lnTo>
                  <a:lnTo>
                    <a:pt x="5570" y="1738"/>
                  </a:lnTo>
                  <a:lnTo>
                    <a:pt x="5566" y="1732"/>
                  </a:lnTo>
                  <a:lnTo>
                    <a:pt x="5560" y="1732"/>
                  </a:lnTo>
                  <a:lnTo>
                    <a:pt x="5554" y="1728"/>
                  </a:lnTo>
                  <a:lnTo>
                    <a:pt x="5550" y="1724"/>
                  </a:lnTo>
                  <a:lnTo>
                    <a:pt x="5546" y="1722"/>
                  </a:lnTo>
                  <a:lnTo>
                    <a:pt x="5540" y="1720"/>
                  </a:lnTo>
                  <a:lnTo>
                    <a:pt x="5542" y="1726"/>
                  </a:lnTo>
                  <a:lnTo>
                    <a:pt x="5536" y="1724"/>
                  </a:lnTo>
                  <a:lnTo>
                    <a:pt x="5530" y="1724"/>
                  </a:lnTo>
                  <a:lnTo>
                    <a:pt x="5526" y="1724"/>
                  </a:lnTo>
                  <a:lnTo>
                    <a:pt x="5518" y="1720"/>
                  </a:lnTo>
                  <a:lnTo>
                    <a:pt x="5514" y="1720"/>
                  </a:lnTo>
                  <a:lnTo>
                    <a:pt x="5508" y="1718"/>
                  </a:lnTo>
                  <a:lnTo>
                    <a:pt x="5504" y="1712"/>
                  </a:lnTo>
                  <a:lnTo>
                    <a:pt x="5500" y="1710"/>
                  </a:lnTo>
                  <a:lnTo>
                    <a:pt x="5496" y="1708"/>
                  </a:lnTo>
                  <a:lnTo>
                    <a:pt x="5494" y="1708"/>
                  </a:lnTo>
                  <a:lnTo>
                    <a:pt x="5494" y="1710"/>
                  </a:lnTo>
                  <a:lnTo>
                    <a:pt x="5488" y="1710"/>
                  </a:lnTo>
                  <a:lnTo>
                    <a:pt x="5482" y="1710"/>
                  </a:lnTo>
                  <a:lnTo>
                    <a:pt x="5478" y="1714"/>
                  </a:lnTo>
                  <a:lnTo>
                    <a:pt x="5474" y="1714"/>
                  </a:lnTo>
                  <a:lnTo>
                    <a:pt x="5468" y="1714"/>
                  </a:lnTo>
                  <a:lnTo>
                    <a:pt x="5462" y="1710"/>
                  </a:lnTo>
                  <a:lnTo>
                    <a:pt x="5456" y="1710"/>
                  </a:lnTo>
                  <a:lnTo>
                    <a:pt x="5450" y="1710"/>
                  </a:lnTo>
                  <a:lnTo>
                    <a:pt x="5444" y="1706"/>
                  </a:lnTo>
                  <a:lnTo>
                    <a:pt x="5438" y="1704"/>
                  </a:lnTo>
                  <a:lnTo>
                    <a:pt x="5432" y="1698"/>
                  </a:lnTo>
                  <a:lnTo>
                    <a:pt x="5426" y="1696"/>
                  </a:lnTo>
                  <a:lnTo>
                    <a:pt x="5422" y="1690"/>
                  </a:lnTo>
                  <a:lnTo>
                    <a:pt x="5418" y="1686"/>
                  </a:lnTo>
                  <a:lnTo>
                    <a:pt x="5416" y="1682"/>
                  </a:lnTo>
                  <a:lnTo>
                    <a:pt x="5412" y="1676"/>
                  </a:lnTo>
                  <a:lnTo>
                    <a:pt x="5412" y="1670"/>
                  </a:lnTo>
                  <a:lnTo>
                    <a:pt x="5412" y="1668"/>
                  </a:lnTo>
                  <a:lnTo>
                    <a:pt x="5404" y="1666"/>
                  </a:lnTo>
                  <a:lnTo>
                    <a:pt x="5398" y="1664"/>
                  </a:lnTo>
                  <a:lnTo>
                    <a:pt x="5392" y="1660"/>
                  </a:lnTo>
                  <a:lnTo>
                    <a:pt x="5386" y="1654"/>
                  </a:lnTo>
                  <a:lnTo>
                    <a:pt x="5384" y="1648"/>
                  </a:lnTo>
                  <a:lnTo>
                    <a:pt x="5380" y="1642"/>
                  </a:lnTo>
                  <a:lnTo>
                    <a:pt x="5374" y="1638"/>
                  </a:lnTo>
                  <a:lnTo>
                    <a:pt x="5368" y="1632"/>
                  </a:lnTo>
                  <a:lnTo>
                    <a:pt x="5364" y="1628"/>
                  </a:lnTo>
                  <a:lnTo>
                    <a:pt x="5356" y="1622"/>
                  </a:lnTo>
                  <a:lnTo>
                    <a:pt x="5352" y="1620"/>
                  </a:lnTo>
                  <a:lnTo>
                    <a:pt x="5348" y="1618"/>
                  </a:lnTo>
                  <a:lnTo>
                    <a:pt x="5342" y="1614"/>
                  </a:lnTo>
                  <a:lnTo>
                    <a:pt x="5336" y="1610"/>
                  </a:lnTo>
                  <a:lnTo>
                    <a:pt x="5330" y="1604"/>
                  </a:lnTo>
                  <a:lnTo>
                    <a:pt x="5330" y="1598"/>
                  </a:lnTo>
                  <a:lnTo>
                    <a:pt x="5324" y="1594"/>
                  </a:lnTo>
                  <a:lnTo>
                    <a:pt x="5320" y="1588"/>
                  </a:lnTo>
                  <a:lnTo>
                    <a:pt x="5314" y="1588"/>
                  </a:lnTo>
                  <a:lnTo>
                    <a:pt x="5312" y="1582"/>
                  </a:lnTo>
                  <a:lnTo>
                    <a:pt x="5306" y="1580"/>
                  </a:lnTo>
                  <a:lnTo>
                    <a:pt x="5302" y="1574"/>
                  </a:lnTo>
                  <a:lnTo>
                    <a:pt x="5298" y="1570"/>
                  </a:lnTo>
                  <a:lnTo>
                    <a:pt x="5292" y="1566"/>
                  </a:lnTo>
                  <a:lnTo>
                    <a:pt x="5286" y="1562"/>
                  </a:lnTo>
                  <a:lnTo>
                    <a:pt x="5280" y="1558"/>
                  </a:lnTo>
                  <a:lnTo>
                    <a:pt x="5274" y="1554"/>
                  </a:lnTo>
                  <a:lnTo>
                    <a:pt x="5270" y="1548"/>
                  </a:lnTo>
                  <a:lnTo>
                    <a:pt x="5270" y="1542"/>
                  </a:lnTo>
                  <a:lnTo>
                    <a:pt x="5264" y="1538"/>
                  </a:lnTo>
                  <a:lnTo>
                    <a:pt x="5258" y="1536"/>
                  </a:lnTo>
                  <a:lnTo>
                    <a:pt x="5256" y="1532"/>
                  </a:lnTo>
                  <a:lnTo>
                    <a:pt x="5250" y="1528"/>
                  </a:lnTo>
                  <a:lnTo>
                    <a:pt x="5246" y="1524"/>
                  </a:lnTo>
                  <a:lnTo>
                    <a:pt x="5240" y="1520"/>
                  </a:lnTo>
                  <a:lnTo>
                    <a:pt x="5234" y="1516"/>
                  </a:lnTo>
                  <a:lnTo>
                    <a:pt x="5228" y="1512"/>
                  </a:lnTo>
                  <a:lnTo>
                    <a:pt x="5222" y="1512"/>
                  </a:lnTo>
                  <a:lnTo>
                    <a:pt x="5216" y="1508"/>
                  </a:lnTo>
                  <a:lnTo>
                    <a:pt x="5216" y="1502"/>
                  </a:lnTo>
                  <a:lnTo>
                    <a:pt x="5210" y="1498"/>
                  </a:lnTo>
                  <a:lnTo>
                    <a:pt x="5204" y="1494"/>
                  </a:lnTo>
                  <a:lnTo>
                    <a:pt x="5198" y="1490"/>
                  </a:lnTo>
                  <a:lnTo>
                    <a:pt x="5192" y="1490"/>
                  </a:lnTo>
                  <a:lnTo>
                    <a:pt x="5186" y="1488"/>
                  </a:lnTo>
                  <a:lnTo>
                    <a:pt x="5184" y="1482"/>
                  </a:lnTo>
                  <a:lnTo>
                    <a:pt x="5178" y="1480"/>
                  </a:lnTo>
                  <a:lnTo>
                    <a:pt x="5172" y="1480"/>
                  </a:lnTo>
                  <a:lnTo>
                    <a:pt x="5166" y="1478"/>
                  </a:lnTo>
                  <a:lnTo>
                    <a:pt x="5160" y="1474"/>
                  </a:lnTo>
                  <a:lnTo>
                    <a:pt x="5154" y="1472"/>
                  </a:lnTo>
                  <a:lnTo>
                    <a:pt x="5148" y="1470"/>
                  </a:lnTo>
                  <a:lnTo>
                    <a:pt x="5142" y="1470"/>
                  </a:lnTo>
                  <a:lnTo>
                    <a:pt x="5140" y="1470"/>
                  </a:lnTo>
                  <a:lnTo>
                    <a:pt x="5138" y="1476"/>
                  </a:lnTo>
                  <a:lnTo>
                    <a:pt x="5132" y="1474"/>
                  </a:lnTo>
                  <a:lnTo>
                    <a:pt x="5126" y="1474"/>
                  </a:lnTo>
                  <a:lnTo>
                    <a:pt x="5120" y="1470"/>
                  </a:lnTo>
                  <a:lnTo>
                    <a:pt x="5114" y="1470"/>
                  </a:lnTo>
                  <a:lnTo>
                    <a:pt x="5108" y="1470"/>
                  </a:lnTo>
                  <a:lnTo>
                    <a:pt x="5102" y="1466"/>
                  </a:lnTo>
                  <a:lnTo>
                    <a:pt x="5096" y="1462"/>
                  </a:lnTo>
                  <a:lnTo>
                    <a:pt x="5090" y="1458"/>
                  </a:lnTo>
                  <a:lnTo>
                    <a:pt x="5084" y="1460"/>
                  </a:lnTo>
                  <a:lnTo>
                    <a:pt x="5078" y="1456"/>
                  </a:lnTo>
                  <a:lnTo>
                    <a:pt x="5072" y="1454"/>
                  </a:lnTo>
                  <a:lnTo>
                    <a:pt x="5066" y="1452"/>
                  </a:lnTo>
                  <a:lnTo>
                    <a:pt x="5060" y="1450"/>
                  </a:lnTo>
                  <a:lnTo>
                    <a:pt x="5056" y="1450"/>
                  </a:lnTo>
                  <a:lnTo>
                    <a:pt x="5050" y="1448"/>
                  </a:lnTo>
                  <a:lnTo>
                    <a:pt x="5048" y="1450"/>
                  </a:lnTo>
                  <a:lnTo>
                    <a:pt x="5042" y="1448"/>
                  </a:lnTo>
                  <a:lnTo>
                    <a:pt x="5036" y="1448"/>
                  </a:lnTo>
                  <a:lnTo>
                    <a:pt x="5030" y="1448"/>
                  </a:lnTo>
                  <a:lnTo>
                    <a:pt x="5028" y="1450"/>
                  </a:lnTo>
                  <a:lnTo>
                    <a:pt x="5022" y="1450"/>
                  </a:lnTo>
                  <a:lnTo>
                    <a:pt x="5016" y="1452"/>
                  </a:lnTo>
                  <a:lnTo>
                    <a:pt x="5010" y="1452"/>
                  </a:lnTo>
                  <a:lnTo>
                    <a:pt x="5004" y="1452"/>
                  </a:lnTo>
                  <a:lnTo>
                    <a:pt x="4998" y="1454"/>
                  </a:lnTo>
                  <a:lnTo>
                    <a:pt x="4992" y="1454"/>
                  </a:lnTo>
                  <a:lnTo>
                    <a:pt x="4986" y="1450"/>
                  </a:lnTo>
                  <a:lnTo>
                    <a:pt x="4980" y="1452"/>
                  </a:lnTo>
                  <a:lnTo>
                    <a:pt x="4974" y="1456"/>
                  </a:lnTo>
                  <a:lnTo>
                    <a:pt x="4968" y="1456"/>
                  </a:lnTo>
                  <a:lnTo>
                    <a:pt x="4962" y="1456"/>
                  </a:lnTo>
                  <a:lnTo>
                    <a:pt x="4958" y="1458"/>
                  </a:lnTo>
                  <a:lnTo>
                    <a:pt x="4952" y="1460"/>
                  </a:lnTo>
                  <a:lnTo>
                    <a:pt x="4950" y="1462"/>
                  </a:lnTo>
                  <a:lnTo>
                    <a:pt x="4948" y="1462"/>
                  </a:lnTo>
                  <a:lnTo>
                    <a:pt x="4942" y="1464"/>
                  </a:lnTo>
                  <a:lnTo>
                    <a:pt x="4936" y="1464"/>
                  </a:lnTo>
                  <a:lnTo>
                    <a:pt x="4930" y="1464"/>
                  </a:lnTo>
                  <a:lnTo>
                    <a:pt x="4924" y="1464"/>
                  </a:lnTo>
                  <a:lnTo>
                    <a:pt x="4918" y="1470"/>
                  </a:lnTo>
                  <a:lnTo>
                    <a:pt x="4916" y="1476"/>
                  </a:lnTo>
                  <a:lnTo>
                    <a:pt x="4912" y="1482"/>
                  </a:lnTo>
                  <a:lnTo>
                    <a:pt x="4910" y="1486"/>
                  </a:lnTo>
                  <a:lnTo>
                    <a:pt x="4910" y="1488"/>
                  </a:lnTo>
                  <a:lnTo>
                    <a:pt x="4906" y="1494"/>
                  </a:lnTo>
                  <a:lnTo>
                    <a:pt x="4900" y="1498"/>
                  </a:lnTo>
                  <a:lnTo>
                    <a:pt x="4906" y="1504"/>
                  </a:lnTo>
                  <a:lnTo>
                    <a:pt x="4910" y="1510"/>
                  </a:lnTo>
                  <a:lnTo>
                    <a:pt x="4916" y="1510"/>
                  </a:lnTo>
                  <a:lnTo>
                    <a:pt x="4922" y="1508"/>
                  </a:lnTo>
                  <a:lnTo>
                    <a:pt x="4928" y="1508"/>
                  </a:lnTo>
                  <a:lnTo>
                    <a:pt x="4934" y="1510"/>
                  </a:lnTo>
                  <a:lnTo>
                    <a:pt x="4940" y="1512"/>
                  </a:lnTo>
                  <a:lnTo>
                    <a:pt x="4946" y="1516"/>
                  </a:lnTo>
                  <a:lnTo>
                    <a:pt x="4950" y="1520"/>
                  </a:lnTo>
                  <a:lnTo>
                    <a:pt x="4950" y="1526"/>
                  </a:lnTo>
                  <a:lnTo>
                    <a:pt x="4956" y="1530"/>
                  </a:lnTo>
                  <a:lnTo>
                    <a:pt x="4962" y="1536"/>
                  </a:lnTo>
                  <a:lnTo>
                    <a:pt x="4968" y="1542"/>
                  </a:lnTo>
                  <a:lnTo>
                    <a:pt x="4968" y="1546"/>
                  </a:lnTo>
                  <a:lnTo>
                    <a:pt x="4970" y="1550"/>
                  </a:lnTo>
                  <a:lnTo>
                    <a:pt x="4970" y="1556"/>
                  </a:lnTo>
                  <a:lnTo>
                    <a:pt x="4964" y="1558"/>
                  </a:lnTo>
                  <a:lnTo>
                    <a:pt x="4958" y="1564"/>
                  </a:lnTo>
                  <a:lnTo>
                    <a:pt x="4956" y="1570"/>
                  </a:lnTo>
                  <a:lnTo>
                    <a:pt x="4954" y="1576"/>
                  </a:lnTo>
                  <a:lnTo>
                    <a:pt x="4954" y="1582"/>
                  </a:lnTo>
                  <a:lnTo>
                    <a:pt x="4956" y="1588"/>
                  </a:lnTo>
                  <a:lnTo>
                    <a:pt x="4956" y="1594"/>
                  </a:lnTo>
                  <a:lnTo>
                    <a:pt x="4956" y="1596"/>
                  </a:lnTo>
                  <a:lnTo>
                    <a:pt x="4956" y="1604"/>
                  </a:lnTo>
                  <a:lnTo>
                    <a:pt x="4958" y="1608"/>
                  </a:lnTo>
                  <a:lnTo>
                    <a:pt x="4958" y="1614"/>
                  </a:lnTo>
                  <a:lnTo>
                    <a:pt x="4956" y="1620"/>
                  </a:lnTo>
                  <a:lnTo>
                    <a:pt x="4956" y="1626"/>
                  </a:lnTo>
                  <a:lnTo>
                    <a:pt x="4958" y="1628"/>
                  </a:lnTo>
                  <a:lnTo>
                    <a:pt x="4960" y="1634"/>
                  </a:lnTo>
                  <a:lnTo>
                    <a:pt x="4956" y="1640"/>
                  </a:lnTo>
                  <a:lnTo>
                    <a:pt x="4956" y="1646"/>
                  </a:lnTo>
                  <a:lnTo>
                    <a:pt x="4958" y="1652"/>
                  </a:lnTo>
                  <a:lnTo>
                    <a:pt x="4958" y="1658"/>
                  </a:lnTo>
                  <a:lnTo>
                    <a:pt x="4966" y="1660"/>
                  </a:lnTo>
                  <a:lnTo>
                    <a:pt x="4970" y="1662"/>
                  </a:lnTo>
                  <a:lnTo>
                    <a:pt x="4970" y="1664"/>
                  </a:lnTo>
                  <a:lnTo>
                    <a:pt x="4974" y="1670"/>
                  </a:lnTo>
                  <a:lnTo>
                    <a:pt x="4976" y="1672"/>
                  </a:lnTo>
                  <a:lnTo>
                    <a:pt x="4978" y="1676"/>
                  </a:lnTo>
                  <a:lnTo>
                    <a:pt x="4974" y="1682"/>
                  </a:lnTo>
                  <a:lnTo>
                    <a:pt x="4970" y="1682"/>
                  </a:lnTo>
                  <a:lnTo>
                    <a:pt x="4966" y="1684"/>
                  </a:lnTo>
                  <a:lnTo>
                    <a:pt x="4958" y="1684"/>
                  </a:lnTo>
                  <a:lnTo>
                    <a:pt x="4954" y="1686"/>
                  </a:lnTo>
                  <a:lnTo>
                    <a:pt x="4948" y="1686"/>
                  </a:lnTo>
                  <a:lnTo>
                    <a:pt x="4942" y="1690"/>
                  </a:lnTo>
                  <a:lnTo>
                    <a:pt x="4940" y="1696"/>
                  </a:lnTo>
                  <a:lnTo>
                    <a:pt x="4934" y="1702"/>
                  </a:lnTo>
                  <a:lnTo>
                    <a:pt x="4930" y="1708"/>
                  </a:lnTo>
                  <a:lnTo>
                    <a:pt x="4928" y="1710"/>
                  </a:lnTo>
                  <a:lnTo>
                    <a:pt x="4924" y="1714"/>
                  </a:lnTo>
                  <a:lnTo>
                    <a:pt x="4920" y="1714"/>
                  </a:lnTo>
                  <a:lnTo>
                    <a:pt x="4916" y="1714"/>
                  </a:lnTo>
                  <a:lnTo>
                    <a:pt x="4910" y="1712"/>
                  </a:lnTo>
                  <a:lnTo>
                    <a:pt x="4904" y="1710"/>
                  </a:lnTo>
                  <a:lnTo>
                    <a:pt x="4898" y="1708"/>
                  </a:lnTo>
                  <a:lnTo>
                    <a:pt x="4892" y="1708"/>
                  </a:lnTo>
                  <a:lnTo>
                    <a:pt x="4886" y="1706"/>
                  </a:lnTo>
                  <a:lnTo>
                    <a:pt x="4880" y="1706"/>
                  </a:lnTo>
                  <a:lnTo>
                    <a:pt x="4874" y="1704"/>
                  </a:lnTo>
                  <a:lnTo>
                    <a:pt x="4868" y="1702"/>
                  </a:lnTo>
                  <a:lnTo>
                    <a:pt x="4862" y="1698"/>
                  </a:lnTo>
                  <a:lnTo>
                    <a:pt x="4856" y="1696"/>
                  </a:lnTo>
                  <a:lnTo>
                    <a:pt x="4850" y="1694"/>
                  </a:lnTo>
                  <a:lnTo>
                    <a:pt x="4846" y="1692"/>
                  </a:lnTo>
                  <a:lnTo>
                    <a:pt x="4840" y="1686"/>
                  </a:lnTo>
                  <a:lnTo>
                    <a:pt x="4836" y="1686"/>
                  </a:lnTo>
                  <a:lnTo>
                    <a:pt x="4828" y="1684"/>
                  </a:lnTo>
                  <a:lnTo>
                    <a:pt x="4822" y="1682"/>
                  </a:lnTo>
                  <a:lnTo>
                    <a:pt x="4820" y="1682"/>
                  </a:lnTo>
                  <a:lnTo>
                    <a:pt x="4814" y="1680"/>
                  </a:lnTo>
                  <a:lnTo>
                    <a:pt x="4808" y="1682"/>
                  </a:lnTo>
                  <a:lnTo>
                    <a:pt x="4808" y="1684"/>
                  </a:lnTo>
                  <a:lnTo>
                    <a:pt x="4802" y="1686"/>
                  </a:lnTo>
                  <a:lnTo>
                    <a:pt x="4796" y="1690"/>
                  </a:lnTo>
                  <a:lnTo>
                    <a:pt x="4792" y="1690"/>
                  </a:lnTo>
                  <a:lnTo>
                    <a:pt x="4786" y="1688"/>
                  </a:lnTo>
                  <a:lnTo>
                    <a:pt x="4780" y="1688"/>
                  </a:lnTo>
                  <a:lnTo>
                    <a:pt x="4774" y="1688"/>
                  </a:lnTo>
                  <a:lnTo>
                    <a:pt x="4768" y="1686"/>
                  </a:lnTo>
                  <a:lnTo>
                    <a:pt x="4764" y="1682"/>
                  </a:lnTo>
                  <a:lnTo>
                    <a:pt x="4756" y="1678"/>
                  </a:lnTo>
                  <a:lnTo>
                    <a:pt x="4750" y="1674"/>
                  </a:lnTo>
                  <a:lnTo>
                    <a:pt x="4746" y="1672"/>
                  </a:lnTo>
                  <a:lnTo>
                    <a:pt x="4740" y="1668"/>
                  </a:lnTo>
                  <a:lnTo>
                    <a:pt x="4734" y="1666"/>
                  </a:lnTo>
                  <a:lnTo>
                    <a:pt x="4728" y="1666"/>
                  </a:lnTo>
                  <a:lnTo>
                    <a:pt x="4722" y="1664"/>
                  </a:lnTo>
                  <a:lnTo>
                    <a:pt x="4716" y="1666"/>
                  </a:lnTo>
                  <a:lnTo>
                    <a:pt x="4710" y="1664"/>
                  </a:lnTo>
                  <a:lnTo>
                    <a:pt x="4704" y="1664"/>
                  </a:lnTo>
                  <a:lnTo>
                    <a:pt x="4698" y="1666"/>
                  </a:lnTo>
                  <a:lnTo>
                    <a:pt x="4692" y="1672"/>
                  </a:lnTo>
                  <a:lnTo>
                    <a:pt x="4686" y="1676"/>
                  </a:lnTo>
                  <a:lnTo>
                    <a:pt x="4680" y="1678"/>
                  </a:lnTo>
                  <a:lnTo>
                    <a:pt x="4676" y="1682"/>
                  </a:lnTo>
                  <a:lnTo>
                    <a:pt x="4670" y="1688"/>
                  </a:lnTo>
                  <a:lnTo>
                    <a:pt x="4666" y="1694"/>
                  </a:lnTo>
                  <a:lnTo>
                    <a:pt x="4664" y="1700"/>
                  </a:lnTo>
                  <a:lnTo>
                    <a:pt x="4664" y="1706"/>
                  </a:lnTo>
                  <a:lnTo>
                    <a:pt x="4660" y="1712"/>
                  </a:lnTo>
                  <a:lnTo>
                    <a:pt x="4652" y="1716"/>
                  </a:lnTo>
                  <a:lnTo>
                    <a:pt x="4648" y="1716"/>
                  </a:lnTo>
                  <a:lnTo>
                    <a:pt x="4644" y="1714"/>
                  </a:lnTo>
                  <a:lnTo>
                    <a:pt x="4642" y="1714"/>
                  </a:lnTo>
                  <a:lnTo>
                    <a:pt x="4636" y="1714"/>
                  </a:lnTo>
                  <a:lnTo>
                    <a:pt x="4630" y="1716"/>
                  </a:lnTo>
                  <a:lnTo>
                    <a:pt x="4624" y="1720"/>
                  </a:lnTo>
                  <a:lnTo>
                    <a:pt x="4618" y="1720"/>
                  </a:lnTo>
                  <a:lnTo>
                    <a:pt x="4612" y="1722"/>
                  </a:lnTo>
                  <a:lnTo>
                    <a:pt x="4606" y="1722"/>
                  </a:lnTo>
                  <a:lnTo>
                    <a:pt x="4600" y="1722"/>
                  </a:lnTo>
                  <a:lnTo>
                    <a:pt x="4594" y="1724"/>
                  </a:lnTo>
                  <a:lnTo>
                    <a:pt x="4588" y="1726"/>
                  </a:lnTo>
                  <a:lnTo>
                    <a:pt x="4582" y="1724"/>
                  </a:lnTo>
                  <a:lnTo>
                    <a:pt x="4576" y="1728"/>
                  </a:lnTo>
                  <a:lnTo>
                    <a:pt x="4570" y="1732"/>
                  </a:lnTo>
                  <a:lnTo>
                    <a:pt x="4564" y="1738"/>
                  </a:lnTo>
                  <a:lnTo>
                    <a:pt x="4558" y="1740"/>
                  </a:lnTo>
                  <a:lnTo>
                    <a:pt x="4552" y="1740"/>
                  </a:lnTo>
                  <a:lnTo>
                    <a:pt x="4546" y="1736"/>
                  </a:lnTo>
                  <a:lnTo>
                    <a:pt x="4540" y="1736"/>
                  </a:lnTo>
                  <a:lnTo>
                    <a:pt x="4534" y="1734"/>
                  </a:lnTo>
                  <a:lnTo>
                    <a:pt x="4528" y="1738"/>
                  </a:lnTo>
                  <a:lnTo>
                    <a:pt x="4522" y="1736"/>
                  </a:lnTo>
                  <a:lnTo>
                    <a:pt x="4516" y="1736"/>
                  </a:lnTo>
                  <a:lnTo>
                    <a:pt x="4510" y="1736"/>
                  </a:lnTo>
                  <a:lnTo>
                    <a:pt x="4504" y="1734"/>
                  </a:lnTo>
                  <a:lnTo>
                    <a:pt x="4498" y="1734"/>
                  </a:lnTo>
                  <a:lnTo>
                    <a:pt x="4492" y="1734"/>
                  </a:lnTo>
                  <a:lnTo>
                    <a:pt x="4486" y="1730"/>
                  </a:lnTo>
                  <a:lnTo>
                    <a:pt x="4480" y="1728"/>
                  </a:lnTo>
                  <a:lnTo>
                    <a:pt x="4474" y="1726"/>
                  </a:lnTo>
                  <a:lnTo>
                    <a:pt x="4466" y="1726"/>
                  </a:lnTo>
                  <a:lnTo>
                    <a:pt x="4462" y="1728"/>
                  </a:lnTo>
                  <a:lnTo>
                    <a:pt x="4456" y="1726"/>
                  </a:lnTo>
                  <a:lnTo>
                    <a:pt x="4450" y="1726"/>
                  </a:lnTo>
                  <a:lnTo>
                    <a:pt x="4444" y="1726"/>
                  </a:lnTo>
                  <a:lnTo>
                    <a:pt x="4438" y="1728"/>
                  </a:lnTo>
                  <a:lnTo>
                    <a:pt x="4432" y="1726"/>
                  </a:lnTo>
                  <a:lnTo>
                    <a:pt x="4426" y="1724"/>
                  </a:lnTo>
                  <a:lnTo>
                    <a:pt x="4420" y="1720"/>
                  </a:lnTo>
                  <a:lnTo>
                    <a:pt x="4414" y="1716"/>
                  </a:lnTo>
                  <a:lnTo>
                    <a:pt x="4408" y="1712"/>
                  </a:lnTo>
                  <a:lnTo>
                    <a:pt x="4402" y="1712"/>
                  </a:lnTo>
                  <a:lnTo>
                    <a:pt x="4396" y="1708"/>
                  </a:lnTo>
                  <a:lnTo>
                    <a:pt x="4390" y="1704"/>
                  </a:lnTo>
                  <a:lnTo>
                    <a:pt x="4388" y="1698"/>
                  </a:lnTo>
                  <a:lnTo>
                    <a:pt x="4384" y="1692"/>
                  </a:lnTo>
                  <a:lnTo>
                    <a:pt x="4382" y="1686"/>
                  </a:lnTo>
                  <a:lnTo>
                    <a:pt x="4376" y="1686"/>
                  </a:lnTo>
                  <a:lnTo>
                    <a:pt x="4374" y="1686"/>
                  </a:lnTo>
                  <a:lnTo>
                    <a:pt x="4368" y="1684"/>
                  </a:lnTo>
                  <a:lnTo>
                    <a:pt x="4362" y="1684"/>
                  </a:lnTo>
                  <a:lnTo>
                    <a:pt x="4356" y="1684"/>
                  </a:lnTo>
                  <a:lnTo>
                    <a:pt x="4350" y="1684"/>
                  </a:lnTo>
                  <a:lnTo>
                    <a:pt x="4346" y="1682"/>
                  </a:lnTo>
                  <a:lnTo>
                    <a:pt x="4340" y="1682"/>
                  </a:lnTo>
                  <a:lnTo>
                    <a:pt x="4336" y="1680"/>
                  </a:lnTo>
                  <a:lnTo>
                    <a:pt x="4328" y="1676"/>
                  </a:lnTo>
                  <a:lnTo>
                    <a:pt x="4326" y="1674"/>
                  </a:lnTo>
                  <a:lnTo>
                    <a:pt x="4320" y="1668"/>
                  </a:lnTo>
                  <a:lnTo>
                    <a:pt x="4314" y="1666"/>
                  </a:lnTo>
                  <a:lnTo>
                    <a:pt x="4308" y="1662"/>
                  </a:lnTo>
                  <a:lnTo>
                    <a:pt x="4302" y="1660"/>
                  </a:lnTo>
                  <a:lnTo>
                    <a:pt x="4296" y="1660"/>
                  </a:lnTo>
                  <a:lnTo>
                    <a:pt x="4290" y="1660"/>
                  </a:lnTo>
                  <a:lnTo>
                    <a:pt x="4288" y="1660"/>
                  </a:lnTo>
                  <a:lnTo>
                    <a:pt x="4286" y="1660"/>
                  </a:lnTo>
                  <a:lnTo>
                    <a:pt x="4280" y="1662"/>
                  </a:lnTo>
                  <a:lnTo>
                    <a:pt x="4276" y="1662"/>
                  </a:lnTo>
                  <a:lnTo>
                    <a:pt x="4268" y="1660"/>
                  </a:lnTo>
                  <a:lnTo>
                    <a:pt x="4266" y="1660"/>
                  </a:lnTo>
                  <a:lnTo>
                    <a:pt x="4264" y="1658"/>
                  </a:lnTo>
                  <a:lnTo>
                    <a:pt x="4264" y="1656"/>
                  </a:lnTo>
                  <a:lnTo>
                    <a:pt x="4258" y="1654"/>
                  </a:lnTo>
                  <a:lnTo>
                    <a:pt x="4252" y="1654"/>
                  </a:lnTo>
                  <a:lnTo>
                    <a:pt x="4246" y="1654"/>
                  </a:lnTo>
                  <a:lnTo>
                    <a:pt x="4240" y="1654"/>
                  </a:lnTo>
                  <a:lnTo>
                    <a:pt x="4234" y="1652"/>
                  </a:lnTo>
                  <a:lnTo>
                    <a:pt x="4228" y="1652"/>
                  </a:lnTo>
                  <a:lnTo>
                    <a:pt x="4222" y="1650"/>
                  </a:lnTo>
                  <a:lnTo>
                    <a:pt x="4216" y="1654"/>
                  </a:lnTo>
                  <a:lnTo>
                    <a:pt x="4210" y="1656"/>
                  </a:lnTo>
                  <a:lnTo>
                    <a:pt x="4208" y="1656"/>
                  </a:lnTo>
                  <a:lnTo>
                    <a:pt x="4202" y="1656"/>
                  </a:lnTo>
                  <a:lnTo>
                    <a:pt x="4196" y="1658"/>
                  </a:lnTo>
                  <a:lnTo>
                    <a:pt x="4190" y="1660"/>
                  </a:lnTo>
                  <a:lnTo>
                    <a:pt x="4184" y="1660"/>
                  </a:lnTo>
                  <a:lnTo>
                    <a:pt x="4178" y="1666"/>
                  </a:lnTo>
                  <a:lnTo>
                    <a:pt x="4172" y="1672"/>
                  </a:lnTo>
                  <a:lnTo>
                    <a:pt x="4166" y="1672"/>
                  </a:lnTo>
                  <a:lnTo>
                    <a:pt x="4160" y="1672"/>
                  </a:lnTo>
                  <a:lnTo>
                    <a:pt x="4154" y="1668"/>
                  </a:lnTo>
                  <a:lnTo>
                    <a:pt x="4148" y="1672"/>
                  </a:lnTo>
                  <a:lnTo>
                    <a:pt x="4142" y="1672"/>
                  </a:lnTo>
                  <a:lnTo>
                    <a:pt x="4136" y="1670"/>
                  </a:lnTo>
                  <a:lnTo>
                    <a:pt x="4130" y="1668"/>
                  </a:lnTo>
                  <a:lnTo>
                    <a:pt x="4124" y="1668"/>
                  </a:lnTo>
                  <a:lnTo>
                    <a:pt x="4118" y="1662"/>
                  </a:lnTo>
                  <a:lnTo>
                    <a:pt x="4112" y="1662"/>
                  </a:lnTo>
                  <a:lnTo>
                    <a:pt x="4106" y="1662"/>
                  </a:lnTo>
                  <a:lnTo>
                    <a:pt x="4100" y="1662"/>
                  </a:lnTo>
                  <a:lnTo>
                    <a:pt x="4094" y="1658"/>
                  </a:lnTo>
                  <a:lnTo>
                    <a:pt x="4088" y="1656"/>
                  </a:lnTo>
                  <a:lnTo>
                    <a:pt x="4082" y="1656"/>
                  </a:lnTo>
                  <a:lnTo>
                    <a:pt x="4076" y="1652"/>
                  </a:lnTo>
                  <a:lnTo>
                    <a:pt x="4070" y="1648"/>
                  </a:lnTo>
                  <a:lnTo>
                    <a:pt x="4064" y="1646"/>
                  </a:lnTo>
                  <a:lnTo>
                    <a:pt x="4058" y="1642"/>
                  </a:lnTo>
                  <a:lnTo>
                    <a:pt x="4056" y="1638"/>
                  </a:lnTo>
                  <a:lnTo>
                    <a:pt x="4052" y="1632"/>
                  </a:lnTo>
                  <a:lnTo>
                    <a:pt x="4046" y="1628"/>
                  </a:lnTo>
                  <a:lnTo>
                    <a:pt x="4044" y="1622"/>
                  </a:lnTo>
                  <a:lnTo>
                    <a:pt x="4040" y="1616"/>
                  </a:lnTo>
                  <a:lnTo>
                    <a:pt x="4034" y="1610"/>
                  </a:lnTo>
                  <a:lnTo>
                    <a:pt x="4030" y="1604"/>
                  </a:lnTo>
                  <a:lnTo>
                    <a:pt x="4028" y="1598"/>
                  </a:lnTo>
                  <a:lnTo>
                    <a:pt x="4022" y="1592"/>
                  </a:lnTo>
                  <a:lnTo>
                    <a:pt x="4018" y="1590"/>
                  </a:lnTo>
                  <a:lnTo>
                    <a:pt x="4010" y="1588"/>
                  </a:lnTo>
                  <a:lnTo>
                    <a:pt x="4004" y="1588"/>
                  </a:lnTo>
                  <a:lnTo>
                    <a:pt x="3998" y="1586"/>
                  </a:lnTo>
                  <a:lnTo>
                    <a:pt x="3992" y="1584"/>
                  </a:lnTo>
                  <a:lnTo>
                    <a:pt x="3988" y="1584"/>
                  </a:lnTo>
                  <a:lnTo>
                    <a:pt x="3982" y="1584"/>
                  </a:lnTo>
                  <a:lnTo>
                    <a:pt x="3976" y="1584"/>
                  </a:lnTo>
                  <a:lnTo>
                    <a:pt x="3970" y="1580"/>
                  </a:lnTo>
                  <a:lnTo>
                    <a:pt x="3964" y="1580"/>
                  </a:lnTo>
                  <a:lnTo>
                    <a:pt x="3958" y="1578"/>
                  </a:lnTo>
                  <a:lnTo>
                    <a:pt x="3950" y="1576"/>
                  </a:lnTo>
                  <a:lnTo>
                    <a:pt x="3946" y="1574"/>
                  </a:lnTo>
                  <a:lnTo>
                    <a:pt x="3944" y="1572"/>
                  </a:lnTo>
                  <a:lnTo>
                    <a:pt x="3938" y="1570"/>
                  </a:lnTo>
                  <a:lnTo>
                    <a:pt x="3932" y="1568"/>
                  </a:lnTo>
                  <a:lnTo>
                    <a:pt x="3926" y="1566"/>
                  </a:lnTo>
                  <a:lnTo>
                    <a:pt x="3920" y="1566"/>
                  </a:lnTo>
                  <a:lnTo>
                    <a:pt x="3914" y="1566"/>
                  </a:lnTo>
                  <a:lnTo>
                    <a:pt x="3908" y="1566"/>
                  </a:lnTo>
                  <a:lnTo>
                    <a:pt x="3902" y="1566"/>
                  </a:lnTo>
                  <a:lnTo>
                    <a:pt x="3896" y="1566"/>
                  </a:lnTo>
                  <a:lnTo>
                    <a:pt x="3892" y="1566"/>
                  </a:lnTo>
                  <a:lnTo>
                    <a:pt x="3886" y="1562"/>
                  </a:lnTo>
                  <a:lnTo>
                    <a:pt x="3880" y="1558"/>
                  </a:lnTo>
                  <a:lnTo>
                    <a:pt x="3874" y="1556"/>
                  </a:lnTo>
                  <a:lnTo>
                    <a:pt x="3868" y="1556"/>
                  </a:lnTo>
                  <a:lnTo>
                    <a:pt x="3862" y="1554"/>
                  </a:lnTo>
                  <a:lnTo>
                    <a:pt x="3856" y="1554"/>
                  </a:lnTo>
                  <a:lnTo>
                    <a:pt x="3850" y="1550"/>
                  </a:lnTo>
                  <a:lnTo>
                    <a:pt x="3844" y="1548"/>
                  </a:lnTo>
                  <a:lnTo>
                    <a:pt x="3838" y="1546"/>
                  </a:lnTo>
                  <a:lnTo>
                    <a:pt x="3832" y="1544"/>
                  </a:lnTo>
                  <a:lnTo>
                    <a:pt x="3826" y="1540"/>
                  </a:lnTo>
                  <a:lnTo>
                    <a:pt x="3824" y="1540"/>
                  </a:lnTo>
                  <a:lnTo>
                    <a:pt x="3826" y="1546"/>
                  </a:lnTo>
                  <a:lnTo>
                    <a:pt x="3826" y="1552"/>
                  </a:lnTo>
                  <a:lnTo>
                    <a:pt x="3826" y="1558"/>
                  </a:lnTo>
                  <a:lnTo>
                    <a:pt x="3822" y="1564"/>
                  </a:lnTo>
                  <a:lnTo>
                    <a:pt x="3816" y="1566"/>
                  </a:lnTo>
                  <a:lnTo>
                    <a:pt x="3810" y="1566"/>
                  </a:lnTo>
                  <a:lnTo>
                    <a:pt x="3810" y="1572"/>
                  </a:lnTo>
                  <a:lnTo>
                    <a:pt x="3810" y="1580"/>
                  </a:lnTo>
                  <a:lnTo>
                    <a:pt x="3814" y="1584"/>
                  </a:lnTo>
                  <a:lnTo>
                    <a:pt x="3810" y="1584"/>
                  </a:lnTo>
                  <a:lnTo>
                    <a:pt x="3804" y="1584"/>
                  </a:lnTo>
                  <a:lnTo>
                    <a:pt x="3804" y="1588"/>
                  </a:lnTo>
                  <a:lnTo>
                    <a:pt x="3802" y="1594"/>
                  </a:lnTo>
                  <a:lnTo>
                    <a:pt x="3806" y="1600"/>
                  </a:lnTo>
                  <a:lnTo>
                    <a:pt x="3808" y="1606"/>
                  </a:lnTo>
                  <a:lnTo>
                    <a:pt x="3808" y="1612"/>
                  </a:lnTo>
                  <a:lnTo>
                    <a:pt x="3810" y="1618"/>
                  </a:lnTo>
                  <a:lnTo>
                    <a:pt x="3814" y="1622"/>
                  </a:lnTo>
                  <a:lnTo>
                    <a:pt x="3822" y="1624"/>
                  </a:lnTo>
                  <a:lnTo>
                    <a:pt x="3822" y="1630"/>
                  </a:lnTo>
                  <a:lnTo>
                    <a:pt x="3828" y="1636"/>
                  </a:lnTo>
                  <a:lnTo>
                    <a:pt x="3834" y="1642"/>
                  </a:lnTo>
                  <a:lnTo>
                    <a:pt x="3840" y="1644"/>
                  </a:lnTo>
                  <a:lnTo>
                    <a:pt x="3846" y="1644"/>
                  </a:lnTo>
                  <a:lnTo>
                    <a:pt x="3852" y="1652"/>
                  </a:lnTo>
                  <a:lnTo>
                    <a:pt x="3852" y="1654"/>
                  </a:lnTo>
                  <a:lnTo>
                    <a:pt x="3854" y="1660"/>
                  </a:lnTo>
                  <a:lnTo>
                    <a:pt x="3856" y="1664"/>
                  </a:lnTo>
                  <a:lnTo>
                    <a:pt x="3856" y="1670"/>
                  </a:lnTo>
                  <a:lnTo>
                    <a:pt x="3854" y="1676"/>
                  </a:lnTo>
                  <a:lnTo>
                    <a:pt x="3848" y="1682"/>
                  </a:lnTo>
                  <a:lnTo>
                    <a:pt x="3844" y="1686"/>
                  </a:lnTo>
                  <a:lnTo>
                    <a:pt x="3838" y="1686"/>
                  </a:lnTo>
                  <a:lnTo>
                    <a:pt x="3834" y="1690"/>
                  </a:lnTo>
                  <a:lnTo>
                    <a:pt x="3828" y="1698"/>
                  </a:lnTo>
                  <a:lnTo>
                    <a:pt x="3822" y="1700"/>
                  </a:lnTo>
                  <a:lnTo>
                    <a:pt x="3816" y="1700"/>
                  </a:lnTo>
                  <a:lnTo>
                    <a:pt x="3810" y="1696"/>
                  </a:lnTo>
                  <a:lnTo>
                    <a:pt x="3804" y="1692"/>
                  </a:lnTo>
                  <a:lnTo>
                    <a:pt x="3798" y="1690"/>
                  </a:lnTo>
                  <a:lnTo>
                    <a:pt x="3794" y="1688"/>
                  </a:lnTo>
                  <a:lnTo>
                    <a:pt x="3786" y="1688"/>
                  </a:lnTo>
                  <a:lnTo>
                    <a:pt x="3780" y="1692"/>
                  </a:lnTo>
                  <a:lnTo>
                    <a:pt x="3774" y="1688"/>
                  </a:lnTo>
                  <a:lnTo>
                    <a:pt x="3768" y="1690"/>
                  </a:lnTo>
                  <a:lnTo>
                    <a:pt x="3762" y="1686"/>
                  </a:lnTo>
                  <a:lnTo>
                    <a:pt x="3756" y="1684"/>
                  </a:lnTo>
                  <a:lnTo>
                    <a:pt x="3750" y="1682"/>
                  </a:lnTo>
                  <a:lnTo>
                    <a:pt x="3746" y="1682"/>
                  </a:lnTo>
                  <a:lnTo>
                    <a:pt x="3746" y="1684"/>
                  </a:lnTo>
                  <a:lnTo>
                    <a:pt x="3740" y="1682"/>
                  </a:lnTo>
                  <a:lnTo>
                    <a:pt x="3738" y="1682"/>
                  </a:lnTo>
                  <a:lnTo>
                    <a:pt x="3732" y="1682"/>
                  </a:lnTo>
                  <a:lnTo>
                    <a:pt x="3728" y="1686"/>
                  </a:lnTo>
                  <a:lnTo>
                    <a:pt x="3722" y="1690"/>
                  </a:lnTo>
                  <a:lnTo>
                    <a:pt x="3720" y="1688"/>
                  </a:lnTo>
                  <a:lnTo>
                    <a:pt x="3716" y="1686"/>
                  </a:lnTo>
                  <a:lnTo>
                    <a:pt x="3710" y="1686"/>
                  </a:lnTo>
                  <a:lnTo>
                    <a:pt x="3704" y="1686"/>
                  </a:lnTo>
                  <a:lnTo>
                    <a:pt x="3698" y="1686"/>
                  </a:lnTo>
                  <a:lnTo>
                    <a:pt x="3692" y="1682"/>
                  </a:lnTo>
                  <a:lnTo>
                    <a:pt x="3690" y="1680"/>
                  </a:lnTo>
                  <a:lnTo>
                    <a:pt x="3688" y="1680"/>
                  </a:lnTo>
                  <a:lnTo>
                    <a:pt x="3684" y="1678"/>
                  </a:lnTo>
                  <a:lnTo>
                    <a:pt x="3678" y="1678"/>
                  </a:lnTo>
                  <a:lnTo>
                    <a:pt x="3674" y="1680"/>
                  </a:lnTo>
                  <a:lnTo>
                    <a:pt x="3668" y="1678"/>
                  </a:lnTo>
                  <a:lnTo>
                    <a:pt x="3662" y="1672"/>
                  </a:lnTo>
                  <a:lnTo>
                    <a:pt x="3656" y="1670"/>
                  </a:lnTo>
                  <a:lnTo>
                    <a:pt x="3650" y="1666"/>
                  </a:lnTo>
                  <a:lnTo>
                    <a:pt x="3646" y="1660"/>
                  </a:lnTo>
                  <a:lnTo>
                    <a:pt x="3642" y="1654"/>
                  </a:lnTo>
                  <a:lnTo>
                    <a:pt x="3638" y="1648"/>
                  </a:lnTo>
                  <a:lnTo>
                    <a:pt x="3632" y="1644"/>
                  </a:lnTo>
                  <a:lnTo>
                    <a:pt x="3626" y="1644"/>
                  </a:lnTo>
                  <a:lnTo>
                    <a:pt x="3620" y="1644"/>
                  </a:lnTo>
                  <a:lnTo>
                    <a:pt x="3614" y="1642"/>
                  </a:lnTo>
                  <a:lnTo>
                    <a:pt x="3608" y="1644"/>
                  </a:lnTo>
                  <a:lnTo>
                    <a:pt x="3602" y="1642"/>
                  </a:lnTo>
                  <a:lnTo>
                    <a:pt x="3596" y="1642"/>
                  </a:lnTo>
                  <a:lnTo>
                    <a:pt x="3590" y="1640"/>
                  </a:lnTo>
                  <a:lnTo>
                    <a:pt x="3584" y="1642"/>
                  </a:lnTo>
                  <a:lnTo>
                    <a:pt x="3578" y="1642"/>
                  </a:lnTo>
                  <a:lnTo>
                    <a:pt x="3572" y="1642"/>
                  </a:lnTo>
                  <a:lnTo>
                    <a:pt x="3566" y="1640"/>
                  </a:lnTo>
                  <a:lnTo>
                    <a:pt x="3562" y="1638"/>
                  </a:lnTo>
                  <a:lnTo>
                    <a:pt x="3562" y="1634"/>
                  </a:lnTo>
                  <a:lnTo>
                    <a:pt x="3556" y="1628"/>
                  </a:lnTo>
                  <a:lnTo>
                    <a:pt x="3550" y="1634"/>
                  </a:lnTo>
                  <a:lnTo>
                    <a:pt x="3544" y="1636"/>
                  </a:lnTo>
                  <a:lnTo>
                    <a:pt x="3538" y="1632"/>
                  </a:lnTo>
                  <a:lnTo>
                    <a:pt x="3532" y="1630"/>
                  </a:lnTo>
                  <a:lnTo>
                    <a:pt x="3528" y="1626"/>
                  </a:lnTo>
                  <a:lnTo>
                    <a:pt x="3522" y="1626"/>
                  </a:lnTo>
                  <a:lnTo>
                    <a:pt x="3524" y="1630"/>
                  </a:lnTo>
                  <a:lnTo>
                    <a:pt x="3520" y="1636"/>
                  </a:lnTo>
                  <a:lnTo>
                    <a:pt x="3514" y="1636"/>
                  </a:lnTo>
                  <a:lnTo>
                    <a:pt x="3512" y="1636"/>
                  </a:lnTo>
                  <a:lnTo>
                    <a:pt x="3506" y="1634"/>
                  </a:lnTo>
                  <a:lnTo>
                    <a:pt x="3500" y="1636"/>
                  </a:lnTo>
                  <a:lnTo>
                    <a:pt x="3494" y="1640"/>
                  </a:lnTo>
                  <a:lnTo>
                    <a:pt x="3490" y="1646"/>
                  </a:lnTo>
                  <a:lnTo>
                    <a:pt x="3488" y="1652"/>
                  </a:lnTo>
                  <a:lnTo>
                    <a:pt x="3482" y="1650"/>
                  </a:lnTo>
                  <a:lnTo>
                    <a:pt x="3476" y="1652"/>
                  </a:lnTo>
                  <a:lnTo>
                    <a:pt x="3470" y="1654"/>
                  </a:lnTo>
                  <a:lnTo>
                    <a:pt x="3464" y="1658"/>
                  </a:lnTo>
                  <a:lnTo>
                    <a:pt x="3458" y="1662"/>
                  </a:lnTo>
                  <a:lnTo>
                    <a:pt x="3456" y="1668"/>
                  </a:lnTo>
                  <a:lnTo>
                    <a:pt x="3450" y="1668"/>
                  </a:lnTo>
                  <a:lnTo>
                    <a:pt x="3444" y="1668"/>
                  </a:lnTo>
                  <a:lnTo>
                    <a:pt x="3438" y="1672"/>
                  </a:lnTo>
                  <a:lnTo>
                    <a:pt x="3432" y="1674"/>
                  </a:lnTo>
                  <a:lnTo>
                    <a:pt x="3426" y="1676"/>
                  </a:lnTo>
                  <a:lnTo>
                    <a:pt x="3426" y="1682"/>
                  </a:lnTo>
                  <a:lnTo>
                    <a:pt x="3426" y="1684"/>
                  </a:lnTo>
                  <a:lnTo>
                    <a:pt x="3420" y="1686"/>
                  </a:lnTo>
                  <a:lnTo>
                    <a:pt x="3416" y="1686"/>
                  </a:lnTo>
                  <a:lnTo>
                    <a:pt x="3410" y="1688"/>
                  </a:lnTo>
                  <a:lnTo>
                    <a:pt x="3410" y="1690"/>
                  </a:lnTo>
                  <a:lnTo>
                    <a:pt x="3412" y="1696"/>
                  </a:lnTo>
                  <a:lnTo>
                    <a:pt x="3418" y="1702"/>
                  </a:lnTo>
                  <a:lnTo>
                    <a:pt x="3412" y="1704"/>
                  </a:lnTo>
                  <a:lnTo>
                    <a:pt x="3406" y="1706"/>
                  </a:lnTo>
                  <a:lnTo>
                    <a:pt x="3406" y="1708"/>
                  </a:lnTo>
                  <a:lnTo>
                    <a:pt x="3400" y="1708"/>
                  </a:lnTo>
                  <a:lnTo>
                    <a:pt x="3394" y="1708"/>
                  </a:lnTo>
                  <a:lnTo>
                    <a:pt x="3398" y="1714"/>
                  </a:lnTo>
                  <a:lnTo>
                    <a:pt x="3392" y="1718"/>
                  </a:lnTo>
                  <a:lnTo>
                    <a:pt x="3386" y="1716"/>
                  </a:lnTo>
                  <a:lnTo>
                    <a:pt x="3380" y="1714"/>
                  </a:lnTo>
                  <a:lnTo>
                    <a:pt x="3380" y="1720"/>
                  </a:lnTo>
                  <a:lnTo>
                    <a:pt x="3374" y="1720"/>
                  </a:lnTo>
                  <a:lnTo>
                    <a:pt x="3368" y="1716"/>
                  </a:lnTo>
                  <a:lnTo>
                    <a:pt x="3362" y="1718"/>
                  </a:lnTo>
                  <a:lnTo>
                    <a:pt x="3356" y="1718"/>
                  </a:lnTo>
                  <a:lnTo>
                    <a:pt x="3350" y="1718"/>
                  </a:lnTo>
                  <a:lnTo>
                    <a:pt x="3344" y="1722"/>
                  </a:lnTo>
                  <a:lnTo>
                    <a:pt x="3346" y="1728"/>
                  </a:lnTo>
                  <a:lnTo>
                    <a:pt x="3346" y="1734"/>
                  </a:lnTo>
                  <a:lnTo>
                    <a:pt x="3340" y="1738"/>
                  </a:lnTo>
                  <a:lnTo>
                    <a:pt x="3334" y="1738"/>
                  </a:lnTo>
                  <a:lnTo>
                    <a:pt x="3328" y="1738"/>
                  </a:lnTo>
                  <a:lnTo>
                    <a:pt x="3322" y="1740"/>
                  </a:lnTo>
                  <a:lnTo>
                    <a:pt x="3316" y="1744"/>
                  </a:lnTo>
                  <a:lnTo>
                    <a:pt x="3310" y="1744"/>
                  </a:lnTo>
                  <a:lnTo>
                    <a:pt x="3306" y="1738"/>
                  </a:lnTo>
                  <a:lnTo>
                    <a:pt x="3302" y="1734"/>
                  </a:lnTo>
                  <a:lnTo>
                    <a:pt x="3296" y="1732"/>
                  </a:lnTo>
                  <a:lnTo>
                    <a:pt x="3294" y="1732"/>
                  </a:lnTo>
                  <a:lnTo>
                    <a:pt x="3290" y="1732"/>
                  </a:lnTo>
                  <a:lnTo>
                    <a:pt x="3284" y="1728"/>
                  </a:lnTo>
                  <a:lnTo>
                    <a:pt x="3280" y="1722"/>
                  </a:lnTo>
                  <a:lnTo>
                    <a:pt x="3274" y="1720"/>
                  </a:lnTo>
                  <a:lnTo>
                    <a:pt x="3270" y="1714"/>
                  </a:lnTo>
                  <a:lnTo>
                    <a:pt x="3264" y="1712"/>
                  </a:lnTo>
                  <a:lnTo>
                    <a:pt x="3258" y="1710"/>
                  </a:lnTo>
                  <a:lnTo>
                    <a:pt x="3258" y="1704"/>
                  </a:lnTo>
                  <a:lnTo>
                    <a:pt x="3260" y="1698"/>
                  </a:lnTo>
                  <a:lnTo>
                    <a:pt x="3256" y="1696"/>
                  </a:lnTo>
                  <a:lnTo>
                    <a:pt x="3250" y="1698"/>
                  </a:lnTo>
                  <a:lnTo>
                    <a:pt x="3248" y="1702"/>
                  </a:lnTo>
                  <a:lnTo>
                    <a:pt x="3248" y="1704"/>
                  </a:lnTo>
                  <a:lnTo>
                    <a:pt x="3242" y="1708"/>
                  </a:lnTo>
                  <a:lnTo>
                    <a:pt x="3240" y="1714"/>
                  </a:lnTo>
                  <a:lnTo>
                    <a:pt x="3234" y="1714"/>
                  </a:lnTo>
                  <a:lnTo>
                    <a:pt x="3228" y="1714"/>
                  </a:lnTo>
                  <a:lnTo>
                    <a:pt x="3222" y="1710"/>
                  </a:lnTo>
                  <a:lnTo>
                    <a:pt x="3216" y="1712"/>
                  </a:lnTo>
                  <a:lnTo>
                    <a:pt x="3210" y="1710"/>
                  </a:lnTo>
                  <a:lnTo>
                    <a:pt x="3204" y="1708"/>
                  </a:lnTo>
                  <a:lnTo>
                    <a:pt x="3198" y="1710"/>
                  </a:lnTo>
                  <a:lnTo>
                    <a:pt x="3192" y="1708"/>
                  </a:lnTo>
                  <a:lnTo>
                    <a:pt x="3186" y="1710"/>
                  </a:lnTo>
                  <a:lnTo>
                    <a:pt x="3180" y="1706"/>
                  </a:lnTo>
                  <a:lnTo>
                    <a:pt x="3178" y="1700"/>
                  </a:lnTo>
                  <a:lnTo>
                    <a:pt x="3170" y="1696"/>
                  </a:lnTo>
                  <a:lnTo>
                    <a:pt x="3166" y="1690"/>
                  </a:lnTo>
                  <a:lnTo>
                    <a:pt x="3164" y="1690"/>
                  </a:lnTo>
                  <a:lnTo>
                    <a:pt x="3162" y="1690"/>
                  </a:lnTo>
                  <a:lnTo>
                    <a:pt x="3160" y="1684"/>
                  </a:lnTo>
                  <a:lnTo>
                    <a:pt x="3160" y="1682"/>
                  </a:lnTo>
                  <a:lnTo>
                    <a:pt x="3158" y="1676"/>
                  </a:lnTo>
                  <a:lnTo>
                    <a:pt x="3152" y="1676"/>
                  </a:lnTo>
                  <a:lnTo>
                    <a:pt x="3146" y="1672"/>
                  </a:lnTo>
                  <a:lnTo>
                    <a:pt x="3140" y="1672"/>
                  </a:lnTo>
                  <a:lnTo>
                    <a:pt x="3134" y="1670"/>
                  </a:lnTo>
                  <a:lnTo>
                    <a:pt x="3128" y="1668"/>
                  </a:lnTo>
                  <a:lnTo>
                    <a:pt x="3122" y="1668"/>
                  </a:lnTo>
                  <a:lnTo>
                    <a:pt x="3116" y="1664"/>
                  </a:lnTo>
                  <a:lnTo>
                    <a:pt x="3112" y="1660"/>
                  </a:lnTo>
                  <a:lnTo>
                    <a:pt x="3106" y="1652"/>
                  </a:lnTo>
                  <a:lnTo>
                    <a:pt x="3104" y="1648"/>
                  </a:lnTo>
                  <a:lnTo>
                    <a:pt x="3098" y="1642"/>
                  </a:lnTo>
                  <a:lnTo>
                    <a:pt x="3094" y="1640"/>
                  </a:lnTo>
                  <a:lnTo>
                    <a:pt x="3088" y="1636"/>
                  </a:lnTo>
                  <a:lnTo>
                    <a:pt x="3084" y="1630"/>
                  </a:lnTo>
                  <a:lnTo>
                    <a:pt x="3078" y="1626"/>
                  </a:lnTo>
                  <a:lnTo>
                    <a:pt x="3072" y="1624"/>
                  </a:lnTo>
                  <a:lnTo>
                    <a:pt x="3066" y="1622"/>
                  </a:lnTo>
                  <a:lnTo>
                    <a:pt x="3060" y="1620"/>
                  </a:lnTo>
                  <a:lnTo>
                    <a:pt x="3054" y="1618"/>
                  </a:lnTo>
                  <a:lnTo>
                    <a:pt x="3048" y="1616"/>
                  </a:lnTo>
                  <a:lnTo>
                    <a:pt x="3040" y="1616"/>
                  </a:lnTo>
                  <a:lnTo>
                    <a:pt x="3034" y="1616"/>
                  </a:lnTo>
                  <a:lnTo>
                    <a:pt x="3032" y="1622"/>
                  </a:lnTo>
                  <a:lnTo>
                    <a:pt x="3026" y="1622"/>
                  </a:lnTo>
                  <a:lnTo>
                    <a:pt x="3020" y="1622"/>
                  </a:lnTo>
                  <a:lnTo>
                    <a:pt x="3016" y="1628"/>
                  </a:lnTo>
                  <a:lnTo>
                    <a:pt x="3010" y="1632"/>
                  </a:lnTo>
                  <a:lnTo>
                    <a:pt x="3006" y="1632"/>
                  </a:lnTo>
                  <a:lnTo>
                    <a:pt x="3000" y="1632"/>
                  </a:lnTo>
                  <a:lnTo>
                    <a:pt x="2992" y="1634"/>
                  </a:lnTo>
                  <a:lnTo>
                    <a:pt x="2988" y="1634"/>
                  </a:lnTo>
                  <a:lnTo>
                    <a:pt x="2980" y="1630"/>
                  </a:lnTo>
                  <a:lnTo>
                    <a:pt x="2976" y="1630"/>
                  </a:lnTo>
                  <a:lnTo>
                    <a:pt x="2972" y="1630"/>
                  </a:lnTo>
                  <a:lnTo>
                    <a:pt x="2964" y="1632"/>
                  </a:lnTo>
                  <a:lnTo>
                    <a:pt x="2960" y="1634"/>
                  </a:lnTo>
                  <a:lnTo>
                    <a:pt x="2954" y="1632"/>
                  </a:lnTo>
                  <a:lnTo>
                    <a:pt x="2950" y="1626"/>
                  </a:lnTo>
                  <a:lnTo>
                    <a:pt x="2946" y="1622"/>
                  </a:lnTo>
                  <a:lnTo>
                    <a:pt x="2940" y="1618"/>
                  </a:lnTo>
                  <a:lnTo>
                    <a:pt x="2934" y="1618"/>
                  </a:lnTo>
                  <a:lnTo>
                    <a:pt x="2928" y="1618"/>
                  </a:lnTo>
                  <a:lnTo>
                    <a:pt x="2924" y="1614"/>
                  </a:lnTo>
                  <a:lnTo>
                    <a:pt x="2926" y="1606"/>
                  </a:lnTo>
                  <a:lnTo>
                    <a:pt x="2926" y="1604"/>
                  </a:lnTo>
                  <a:lnTo>
                    <a:pt x="2924" y="1602"/>
                  </a:lnTo>
                  <a:lnTo>
                    <a:pt x="2922" y="1602"/>
                  </a:lnTo>
                  <a:lnTo>
                    <a:pt x="2916" y="1602"/>
                  </a:lnTo>
                  <a:lnTo>
                    <a:pt x="2910" y="1596"/>
                  </a:lnTo>
                  <a:lnTo>
                    <a:pt x="2904" y="1596"/>
                  </a:lnTo>
                  <a:lnTo>
                    <a:pt x="2898" y="1596"/>
                  </a:lnTo>
                  <a:lnTo>
                    <a:pt x="2896" y="1600"/>
                  </a:lnTo>
                  <a:lnTo>
                    <a:pt x="2890" y="1600"/>
                  </a:lnTo>
                  <a:lnTo>
                    <a:pt x="2888" y="1608"/>
                  </a:lnTo>
                  <a:lnTo>
                    <a:pt x="2892" y="1614"/>
                  </a:lnTo>
                  <a:lnTo>
                    <a:pt x="2892" y="1618"/>
                  </a:lnTo>
                  <a:lnTo>
                    <a:pt x="2886" y="1620"/>
                  </a:lnTo>
                  <a:lnTo>
                    <a:pt x="2882" y="1626"/>
                  </a:lnTo>
                  <a:lnTo>
                    <a:pt x="2876" y="1626"/>
                  </a:lnTo>
                  <a:lnTo>
                    <a:pt x="2880" y="1630"/>
                  </a:lnTo>
                  <a:lnTo>
                    <a:pt x="2874" y="1628"/>
                  </a:lnTo>
                  <a:lnTo>
                    <a:pt x="2870" y="1624"/>
                  </a:lnTo>
                  <a:lnTo>
                    <a:pt x="2864" y="1618"/>
                  </a:lnTo>
                  <a:lnTo>
                    <a:pt x="2858" y="1614"/>
                  </a:lnTo>
                  <a:lnTo>
                    <a:pt x="2852" y="1608"/>
                  </a:lnTo>
                  <a:lnTo>
                    <a:pt x="2846" y="1602"/>
                  </a:lnTo>
                  <a:lnTo>
                    <a:pt x="2840" y="1596"/>
                  </a:lnTo>
                  <a:lnTo>
                    <a:pt x="2834" y="1588"/>
                  </a:lnTo>
                  <a:lnTo>
                    <a:pt x="2828" y="1582"/>
                  </a:lnTo>
                  <a:lnTo>
                    <a:pt x="2822" y="1576"/>
                  </a:lnTo>
                  <a:lnTo>
                    <a:pt x="2814" y="1570"/>
                  </a:lnTo>
                  <a:lnTo>
                    <a:pt x="2808" y="1564"/>
                  </a:lnTo>
                  <a:lnTo>
                    <a:pt x="2802" y="1558"/>
                  </a:lnTo>
                  <a:lnTo>
                    <a:pt x="2796" y="1554"/>
                  </a:lnTo>
                  <a:lnTo>
                    <a:pt x="2792" y="1550"/>
                  </a:lnTo>
                  <a:lnTo>
                    <a:pt x="2786" y="1544"/>
                  </a:lnTo>
                  <a:lnTo>
                    <a:pt x="2780" y="1538"/>
                  </a:lnTo>
                  <a:lnTo>
                    <a:pt x="2772" y="1532"/>
                  </a:lnTo>
                  <a:lnTo>
                    <a:pt x="2766" y="1526"/>
                  </a:lnTo>
                  <a:lnTo>
                    <a:pt x="2760" y="1520"/>
                  </a:lnTo>
                  <a:lnTo>
                    <a:pt x="2754" y="1514"/>
                  </a:lnTo>
                  <a:lnTo>
                    <a:pt x="2752" y="1514"/>
                  </a:lnTo>
                  <a:lnTo>
                    <a:pt x="2746" y="1508"/>
                  </a:lnTo>
                  <a:lnTo>
                    <a:pt x="2740" y="1502"/>
                  </a:lnTo>
                  <a:lnTo>
                    <a:pt x="2734" y="1498"/>
                  </a:lnTo>
                  <a:lnTo>
                    <a:pt x="2728" y="1492"/>
                  </a:lnTo>
                  <a:lnTo>
                    <a:pt x="2722" y="1486"/>
                  </a:lnTo>
                  <a:lnTo>
                    <a:pt x="2716" y="1482"/>
                  </a:lnTo>
                  <a:lnTo>
                    <a:pt x="2710" y="1476"/>
                  </a:lnTo>
                  <a:lnTo>
                    <a:pt x="2702" y="1470"/>
                  </a:lnTo>
                  <a:lnTo>
                    <a:pt x="2696" y="1464"/>
                  </a:lnTo>
                  <a:lnTo>
                    <a:pt x="2690" y="1460"/>
                  </a:lnTo>
                  <a:lnTo>
                    <a:pt x="2688" y="1460"/>
                  </a:lnTo>
                  <a:lnTo>
                    <a:pt x="2682" y="1456"/>
                  </a:lnTo>
                  <a:lnTo>
                    <a:pt x="2676" y="1452"/>
                  </a:lnTo>
                  <a:lnTo>
                    <a:pt x="2668" y="1448"/>
                  </a:lnTo>
                  <a:lnTo>
                    <a:pt x="2662" y="1446"/>
                  </a:lnTo>
                  <a:lnTo>
                    <a:pt x="2658" y="1444"/>
                  </a:lnTo>
                  <a:lnTo>
                    <a:pt x="2652" y="1440"/>
                  </a:lnTo>
                  <a:lnTo>
                    <a:pt x="2646" y="1438"/>
                  </a:lnTo>
                  <a:lnTo>
                    <a:pt x="2640" y="1434"/>
                  </a:lnTo>
                  <a:lnTo>
                    <a:pt x="2636" y="1432"/>
                  </a:lnTo>
                  <a:lnTo>
                    <a:pt x="2630" y="1430"/>
                  </a:lnTo>
                  <a:lnTo>
                    <a:pt x="2624" y="1426"/>
                  </a:lnTo>
                  <a:lnTo>
                    <a:pt x="2616" y="1424"/>
                  </a:lnTo>
                  <a:lnTo>
                    <a:pt x="2610" y="1420"/>
                  </a:lnTo>
                  <a:lnTo>
                    <a:pt x="2608" y="1420"/>
                  </a:lnTo>
                  <a:lnTo>
                    <a:pt x="2602" y="1414"/>
                  </a:lnTo>
                  <a:lnTo>
                    <a:pt x="2596" y="1408"/>
                  </a:lnTo>
                  <a:lnTo>
                    <a:pt x="2602" y="1406"/>
                  </a:lnTo>
                  <a:lnTo>
                    <a:pt x="2608" y="1408"/>
                  </a:lnTo>
                  <a:lnTo>
                    <a:pt x="2612" y="1402"/>
                  </a:lnTo>
                  <a:lnTo>
                    <a:pt x="2614" y="1396"/>
                  </a:lnTo>
                  <a:lnTo>
                    <a:pt x="2608" y="1392"/>
                  </a:lnTo>
                  <a:lnTo>
                    <a:pt x="2612" y="1386"/>
                  </a:lnTo>
                  <a:lnTo>
                    <a:pt x="2606" y="1388"/>
                  </a:lnTo>
                  <a:lnTo>
                    <a:pt x="2600" y="1388"/>
                  </a:lnTo>
                  <a:lnTo>
                    <a:pt x="2594" y="1394"/>
                  </a:lnTo>
                  <a:lnTo>
                    <a:pt x="2588" y="1394"/>
                  </a:lnTo>
                  <a:lnTo>
                    <a:pt x="2584" y="1394"/>
                  </a:lnTo>
                  <a:lnTo>
                    <a:pt x="2582" y="1400"/>
                  </a:lnTo>
                  <a:lnTo>
                    <a:pt x="2574" y="1402"/>
                  </a:lnTo>
                  <a:lnTo>
                    <a:pt x="2568" y="1406"/>
                  </a:lnTo>
                  <a:lnTo>
                    <a:pt x="2562" y="1408"/>
                  </a:lnTo>
                  <a:lnTo>
                    <a:pt x="2558" y="1410"/>
                  </a:lnTo>
                  <a:lnTo>
                    <a:pt x="2552" y="1410"/>
                  </a:lnTo>
                  <a:lnTo>
                    <a:pt x="2546" y="1410"/>
                  </a:lnTo>
                  <a:lnTo>
                    <a:pt x="2550" y="1418"/>
                  </a:lnTo>
                  <a:lnTo>
                    <a:pt x="2544" y="1422"/>
                  </a:lnTo>
                  <a:lnTo>
                    <a:pt x="2538" y="1426"/>
                  </a:lnTo>
                  <a:lnTo>
                    <a:pt x="2536" y="1428"/>
                  </a:lnTo>
                  <a:lnTo>
                    <a:pt x="2534" y="1430"/>
                  </a:lnTo>
                  <a:lnTo>
                    <a:pt x="2532" y="1428"/>
                  </a:lnTo>
                  <a:lnTo>
                    <a:pt x="2524" y="1428"/>
                  </a:lnTo>
                  <a:lnTo>
                    <a:pt x="2518" y="1432"/>
                  </a:lnTo>
                  <a:lnTo>
                    <a:pt x="2512" y="1438"/>
                  </a:lnTo>
                  <a:lnTo>
                    <a:pt x="2510" y="1444"/>
                  </a:lnTo>
                  <a:lnTo>
                    <a:pt x="2510" y="1450"/>
                  </a:lnTo>
                  <a:lnTo>
                    <a:pt x="2504" y="1450"/>
                  </a:lnTo>
                  <a:lnTo>
                    <a:pt x="2498" y="1444"/>
                  </a:lnTo>
                  <a:lnTo>
                    <a:pt x="2492" y="1444"/>
                  </a:lnTo>
                  <a:lnTo>
                    <a:pt x="2490" y="1444"/>
                  </a:lnTo>
                  <a:lnTo>
                    <a:pt x="2484" y="1440"/>
                  </a:lnTo>
                  <a:lnTo>
                    <a:pt x="2480" y="1440"/>
                  </a:lnTo>
                  <a:lnTo>
                    <a:pt x="2474" y="1442"/>
                  </a:lnTo>
                  <a:lnTo>
                    <a:pt x="2468" y="1446"/>
                  </a:lnTo>
                  <a:lnTo>
                    <a:pt x="2464" y="1452"/>
                  </a:lnTo>
                  <a:lnTo>
                    <a:pt x="2460" y="1454"/>
                  </a:lnTo>
                  <a:lnTo>
                    <a:pt x="2458" y="1448"/>
                  </a:lnTo>
                  <a:lnTo>
                    <a:pt x="2452" y="1446"/>
                  </a:lnTo>
                  <a:lnTo>
                    <a:pt x="2446" y="1440"/>
                  </a:lnTo>
                  <a:lnTo>
                    <a:pt x="2448" y="1434"/>
                  </a:lnTo>
                  <a:lnTo>
                    <a:pt x="2450" y="1428"/>
                  </a:lnTo>
                  <a:lnTo>
                    <a:pt x="2456" y="1426"/>
                  </a:lnTo>
                  <a:lnTo>
                    <a:pt x="2464" y="1426"/>
                  </a:lnTo>
                  <a:lnTo>
                    <a:pt x="2462" y="1418"/>
                  </a:lnTo>
                  <a:lnTo>
                    <a:pt x="2458" y="1414"/>
                  </a:lnTo>
                  <a:lnTo>
                    <a:pt x="2458" y="1412"/>
                  </a:lnTo>
                  <a:lnTo>
                    <a:pt x="2456" y="1412"/>
                  </a:lnTo>
                  <a:lnTo>
                    <a:pt x="2452" y="1418"/>
                  </a:lnTo>
                  <a:lnTo>
                    <a:pt x="2446" y="1418"/>
                  </a:lnTo>
                  <a:lnTo>
                    <a:pt x="2438" y="1420"/>
                  </a:lnTo>
                  <a:lnTo>
                    <a:pt x="2432" y="1418"/>
                  </a:lnTo>
                  <a:lnTo>
                    <a:pt x="2426" y="1416"/>
                  </a:lnTo>
                  <a:lnTo>
                    <a:pt x="2420" y="1410"/>
                  </a:lnTo>
                  <a:lnTo>
                    <a:pt x="2414" y="1408"/>
                  </a:lnTo>
                  <a:lnTo>
                    <a:pt x="2408" y="1408"/>
                  </a:lnTo>
                  <a:lnTo>
                    <a:pt x="2402" y="1408"/>
                  </a:lnTo>
                  <a:lnTo>
                    <a:pt x="2398" y="1414"/>
                  </a:lnTo>
                  <a:lnTo>
                    <a:pt x="2404" y="1412"/>
                  </a:lnTo>
                  <a:lnTo>
                    <a:pt x="2410" y="1418"/>
                  </a:lnTo>
                  <a:lnTo>
                    <a:pt x="2404" y="1418"/>
                  </a:lnTo>
                  <a:lnTo>
                    <a:pt x="2398" y="1422"/>
                  </a:lnTo>
                  <a:lnTo>
                    <a:pt x="2394" y="1416"/>
                  </a:lnTo>
                  <a:lnTo>
                    <a:pt x="2390" y="1410"/>
                  </a:lnTo>
                  <a:lnTo>
                    <a:pt x="2394" y="1408"/>
                  </a:lnTo>
                  <a:lnTo>
                    <a:pt x="2388" y="1406"/>
                  </a:lnTo>
                  <a:lnTo>
                    <a:pt x="2382" y="1400"/>
                  </a:lnTo>
                  <a:lnTo>
                    <a:pt x="2376" y="1396"/>
                  </a:lnTo>
                  <a:lnTo>
                    <a:pt x="2370" y="1392"/>
                  </a:lnTo>
                  <a:lnTo>
                    <a:pt x="2370" y="1398"/>
                  </a:lnTo>
                  <a:lnTo>
                    <a:pt x="2376" y="1404"/>
                  </a:lnTo>
                  <a:lnTo>
                    <a:pt x="2370" y="1404"/>
                  </a:lnTo>
                  <a:lnTo>
                    <a:pt x="2364" y="1400"/>
                  </a:lnTo>
                  <a:lnTo>
                    <a:pt x="2358" y="1400"/>
                  </a:lnTo>
                  <a:lnTo>
                    <a:pt x="2354" y="1406"/>
                  </a:lnTo>
                  <a:lnTo>
                    <a:pt x="2348" y="1408"/>
                  </a:lnTo>
                  <a:lnTo>
                    <a:pt x="2344" y="1410"/>
                  </a:lnTo>
                  <a:lnTo>
                    <a:pt x="2336" y="1404"/>
                  </a:lnTo>
                  <a:lnTo>
                    <a:pt x="2330" y="1408"/>
                  </a:lnTo>
                  <a:lnTo>
                    <a:pt x="2324" y="1406"/>
                  </a:lnTo>
                  <a:lnTo>
                    <a:pt x="2320" y="1404"/>
                  </a:lnTo>
                  <a:lnTo>
                    <a:pt x="2314" y="1398"/>
                  </a:lnTo>
                  <a:lnTo>
                    <a:pt x="2320" y="1396"/>
                  </a:lnTo>
                  <a:lnTo>
                    <a:pt x="2322" y="1390"/>
                  </a:lnTo>
                  <a:lnTo>
                    <a:pt x="2316" y="1384"/>
                  </a:lnTo>
                  <a:lnTo>
                    <a:pt x="2314" y="1378"/>
                  </a:lnTo>
                  <a:lnTo>
                    <a:pt x="2316" y="1372"/>
                  </a:lnTo>
                  <a:lnTo>
                    <a:pt x="2310" y="1368"/>
                  </a:lnTo>
                  <a:lnTo>
                    <a:pt x="2304" y="1368"/>
                  </a:lnTo>
                  <a:lnTo>
                    <a:pt x="2300" y="1362"/>
                  </a:lnTo>
                  <a:lnTo>
                    <a:pt x="2296" y="1356"/>
                  </a:lnTo>
                  <a:lnTo>
                    <a:pt x="2294" y="1352"/>
                  </a:lnTo>
                  <a:lnTo>
                    <a:pt x="2292" y="1346"/>
                  </a:lnTo>
                  <a:lnTo>
                    <a:pt x="2286" y="1340"/>
                  </a:lnTo>
                  <a:lnTo>
                    <a:pt x="2280" y="1336"/>
                  </a:lnTo>
                  <a:lnTo>
                    <a:pt x="2276" y="1330"/>
                  </a:lnTo>
                  <a:lnTo>
                    <a:pt x="2270" y="1330"/>
                  </a:lnTo>
                  <a:lnTo>
                    <a:pt x="2264" y="1334"/>
                  </a:lnTo>
                  <a:lnTo>
                    <a:pt x="2260" y="1332"/>
                  </a:lnTo>
                  <a:lnTo>
                    <a:pt x="2258" y="1338"/>
                  </a:lnTo>
                  <a:lnTo>
                    <a:pt x="2252" y="1342"/>
                  </a:lnTo>
                  <a:lnTo>
                    <a:pt x="2246" y="1340"/>
                  </a:lnTo>
                  <a:lnTo>
                    <a:pt x="2240" y="1338"/>
                  </a:lnTo>
                  <a:lnTo>
                    <a:pt x="2238" y="1338"/>
                  </a:lnTo>
                  <a:lnTo>
                    <a:pt x="2232" y="1334"/>
                  </a:lnTo>
                  <a:lnTo>
                    <a:pt x="2226" y="1332"/>
                  </a:lnTo>
                  <a:lnTo>
                    <a:pt x="2218" y="1328"/>
                  </a:lnTo>
                  <a:lnTo>
                    <a:pt x="2212" y="1328"/>
                  </a:lnTo>
                  <a:lnTo>
                    <a:pt x="2206" y="1328"/>
                  </a:lnTo>
                  <a:lnTo>
                    <a:pt x="2200" y="1326"/>
                  </a:lnTo>
                  <a:lnTo>
                    <a:pt x="2196" y="1328"/>
                  </a:lnTo>
                  <a:lnTo>
                    <a:pt x="2192" y="1326"/>
                  </a:lnTo>
                  <a:lnTo>
                    <a:pt x="2184" y="1324"/>
                  </a:lnTo>
                  <a:lnTo>
                    <a:pt x="2178" y="1322"/>
                  </a:lnTo>
                  <a:lnTo>
                    <a:pt x="2184" y="1328"/>
                  </a:lnTo>
                  <a:lnTo>
                    <a:pt x="2178" y="1330"/>
                  </a:lnTo>
                  <a:lnTo>
                    <a:pt x="2172" y="1328"/>
                  </a:lnTo>
                  <a:lnTo>
                    <a:pt x="2170" y="1328"/>
                  </a:lnTo>
                  <a:lnTo>
                    <a:pt x="2170" y="1334"/>
                  </a:lnTo>
                  <a:lnTo>
                    <a:pt x="2164" y="1338"/>
                  </a:lnTo>
                  <a:lnTo>
                    <a:pt x="2158" y="1338"/>
                  </a:lnTo>
                  <a:lnTo>
                    <a:pt x="2152" y="1338"/>
                  </a:lnTo>
                  <a:lnTo>
                    <a:pt x="2150" y="1344"/>
                  </a:lnTo>
                  <a:lnTo>
                    <a:pt x="2156" y="1346"/>
                  </a:lnTo>
                  <a:lnTo>
                    <a:pt x="2154" y="1350"/>
                  </a:lnTo>
                  <a:lnTo>
                    <a:pt x="2152" y="1352"/>
                  </a:lnTo>
                  <a:lnTo>
                    <a:pt x="2148" y="1354"/>
                  </a:lnTo>
                  <a:lnTo>
                    <a:pt x="2142" y="1354"/>
                  </a:lnTo>
                  <a:lnTo>
                    <a:pt x="2136" y="1352"/>
                  </a:lnTo>
                  <a:lnTo>
                    <a:pt x="2132" y="1358"/>
                  </a:lnTo>
                  <a:lnTo>
                    <a:pt x="2124" y="1360"/>
                  </a:lnTo>
                  <a:lnTo>
                    <a:pt x="2120" y="1360"/>
                  </a:lnTo>
                  <a:lnTo>
                    <a:pt x="2112" y="1360"/>
                  </a:lnTo>
                  <a:lnTo>
                    <a:pt x="2108" y="1364"/>
                  </a:lnTo>
                  <a:lnTo>
                    <a:pt x="2102" y="1364"/>
                  </a:lnTo>
                  <a:lnTo>
                    <a:pt x="2094" y="1366"/>
                  </a:lnTo>
                  <a:lnTo>
                    <a:pt x="2090" y="1366"/>
                  </a:lnTo>
                  <a:lnTo>
                    <a:pt x="2082" y="1368"/>
                  </a:lnTo>
                  <a:lnTo>
                    <a:pt x="2078" y="1370"/>
                  </a:lnTo>
                  <a:lnTo>
                    <a:pt x="2072" y="1370"/>
                  </a:lnTo>
                  <a:lnTo>
                    <a:pt x="2066" y="1372"/>
                  </a:lnTo>
                  <a:lnTo>
                    <a:pt x="2060" y="1372"/>
                  </a:lnTo>
                  <a:lnTo>
                    <a:pt x="2054" y="1374"/>
                  </a:lnTo>
                  <a:lnTo>
                    <a:pt x="2050" y="1376"/>
                  </a:lnTo>
                  <a:lnTo>
                    <a:pt x="2044" y="1370"/>
                  </a:lnTo>
                  <a:lnTo>
                    <a:pt x="2038" y="1372"/>
                  </a:lnTo>
                  <a:lnTo>
                    <a:pt x="2032" y="1376"/>
                  </a:lnTo>
                  <a:lnTo>
                    <a:pt x="2028" y="1376"/>
                  </a:lnTo>
                  <a:lnTo>
                    <a:pt x="2022" y="1376"/>
                  </a:lnTo>
                  <a:lnTo>
                    <a:pt x="2014" y="1380"/>
                  </a:lnTo>
                  <a:lnTo>
                    <a:pt x="2010" y="1386"/>
                  </a:lnTo>
                  <a:lnTo>
                    <a:pt x="2014" y="1392"/>
                  </a:lnTo>
                  <a:lnTo>
                    <a:pt x="2008" y="1396"/>
                  </a:lnTo>
                  <a:lnTo>
                    <a:pt x="2002" y="1392"/>
                  </a:lnTo>
                  <a:lnTo>
                    <a:pt x="1996" y="1390"/>
                  </a:lnTo>
                  <a:lnTo>
                    <a:pt x="1992" y="1394"/>
                  </a:lnTo>
                  <a:lnTo>
                    <a:pt x="1986" y="1392"/>
                  </a:lnTo>
                  <a:lnTo>
                    <a:pt x="1982" y="1392"/>
                  </a:lnTo>
                  <a:lnTo>
                    <a:pt x="1976" y="1392"/>
                  </a:lnTo>
                  <a:lnTo>
                    <a:pt x="1970" y="1394"/>
                  </a:lnTo>
                  <a:lnTo>
                    <a:pt x="1964" y="1396"/>
                  </a:lnTo>
                  <a:lnTo>
                    <a:pt x="1958" y="1396"/>
                  </a:lnTo>
                  <a:lnTo>
                    <a:pt x="1956" y="1402"/>
                  </a:lnTo>
                  <a:lnTo>
                    <a:pt x="1950" y="1404"/>
                  </a:lnTo>
                  <a:lnTo>
                    <a:pt x="1942" y="1400"/>
                  </a:lnTo>
                  <a:lnTo>
                    <a:pt x="1938" y="1402"/>
                  </a:lnTo>
                  <a:lnTo>
                    <a:pt x="1932" y="1404"/>
                  </a:lnTo>
                  <a:lnTo>
                    <a:pt x="1926" y="1406"/>
                  </a:lnTo>
                  <a:lnTo>
                    <a:pt x="1922" y="1406"/>
                  </a:lnTo>
                  <a:lnTo>
                    <a:pt x="1916" y="1404"/>
                  </a:lnTo>
                  <a:lnTo>
                    <a:pt x="1912" y="1410"/>
                  </a:lnTo>
                  <a:lnTo>
                    <a:pt x="1908" y="1410"/>
                  </a:lnTo>
                  <a:lnTo>
                    <a:pt x="1900" y="1410"/>
                  </a:lnTo>
                  <a:lnTo>
                    <a:pt x="1896" y="1412"/>
                  </a:lnTo>
                  <a:lnTo>
                    <a:pt x="1888" y="1412"/>
                  </a:lnTo>
                  <a:lnTo>
                    <a:pt x="1888" y="1418"/>
                  </a:lnTo>
                  <a:lnTo>
                    <a:pt x="1888" y="1424"/>
                  </a:lnTo>
                  <a:lnTo>
                    <a:pt x="1884" y="1422"/>
                  </a:lnTo>
                  <a:lnTo>
                    <a:pt x="1880" y="1416"/>
                  </a:lnTo>
                  <a:lnTo>
                    <a:pt x="1874" y="1416"/>
                  </a:lnTo>
                  <a:lnTo>
                    <a:pt x="1870" y="1416"/>
                  </a:lnTo>
                  <a:lnTo>
                    <a:pt x="1864" y="1414"/>
                  </a:lnTo>
                  <a:lnTo>
                    <a:pt x="1860" y="1420"/>
                  </a:lnTo>
                  <a:lnTo>
                    <a:pt x="1854" y="1420"/>
                  </a:lnTo>
                  <a:lnTo>
                    <a:pt x="1848" y="1416"/>
                  </a:lnTo>
                  <a:lnTo>
                    <a:pt x="1840" y="1416"/>
                  </a:lnTo>
                  <a:lnTo>
                    <a:pt x="1838" y="1418"/>
                  </a:lnTo>
                  <a:lnTo>
                    <a:pt x="1832" y="1416"/>
                  </a:lnTo>
                  <a:lnTo>
                    <a:pt x="1826" y="1412"/>
                  </a:lnTo>
                  <a:lnTo>
                    <a:pt x="1820" y="1414"/>
                  </a:lnTo>
                  <a:lnTo>
                    <a:pt x="1820" y="1420"/>
                  </a:lnTo>
                  <a:lnTo>
                    <a:pt x="1814" y="1420"/>
                  </a:lnTo>
                  <a:lnTo>
                    <a:pt x="1808" y="1420"/>
                  </a:lnTo>
                  <a:lnTo>
                    <a:pt x="1814" y="1424"/>
                  </a:lnTo>
                  <a:lnTo>
                    <a:pt x="1820" y="1428"/>
                  </a:lnTo>
                  <a:lnTo>
                    <a:pt x="1820" y="1432"/>
                  </a:lnTo>
                  <a:lnTo>
                    <a:pt x="1816" y="1438"/>
                  </a:lnTo>
                  <a:lnTo>
                    <a:pt x="1810" y="1440"/>
                  </a:lnTo>
                  <a:lnTo>
                    <a:pt x="1816" y="1442"/>
                  </a:lnTo>
                  <a:lnTo>
                    <a:pt x="1822" y="1444"/>
                  </a:lnTo>
                  <a:lnTo>
                    <a:pt x="1828" y="1446"/>
                  </a:lnTo>
                  <a:lnTo>
                    <a:pt x="1834" y="1444"/>
                  </a:lnTo>
                  <a:lnTo>
                    <a:pt x="1840" y="1444"/>
                  </a:lnTo>
                  <a:lnTo>
                    <a:pt x="1846" y="1448"/>
                  </a:lnTo>
                  <a:lnTo>
                    <a:pt x="1840" y="1454"/>
                  </a:lnTo>
                  <a:lnTo>
                    <a:pt x="1834" y="1450"/>
                  </a:lnTo>
                  <a:lnTo>
                    <a:pt x="1828" y="1454"/>
                  </a:lnTo>
                  <a:lnTo>
                    <a:pt x="1828" y="1460"/>
                  </a:lnTo>
                  <a:lnTo>
                    <a:pt x="1834" y="1464"/>
                  </a:lnTo>
                  <a:lnTo>
                    <a:pt x="1840" y="1464"/>
                  </a:lnTo>
                  <a:lnTo>
                    <a:pt x="1846" y="1468"/>
                  </a:lnTo>
                  <a:lnTo>
                    <a:pt x="1852" y="1468"/>
                  </a:lnTo>
                  <a:lnTo>
                    <a:pt x="1858" y="1466"/>
                  </a:lnTo>
                  <a:lnTo>
                    <a:pt x="1864" y="1472"/>
                  </a:lnTo>
                  <a:lnTo>
                    <a:pt x="1870" y="1472"/>
                  </a:lnTo>
                  <a:lnTo>
                    <a:pt x="1876" y="1474"/>
                  </a:lnTo>
                  <a:lnTo>
                    <a:pt x="1882" y="1476"/>
                  </a:lnTo>
                  <a:lnTo>
                    <a:pt x="1884" y="1482"/>
                  </a:lnTo>
                  <a:lnTo>
                    <a:pt x="1878" y="1486"/>
                  </a:lnTo>
                  <a:lnTo>
                    <a:pt x="1872" y="1484"/>
                  </a:lnTo>
                  <a:lnTo>
                    <a:pt x="1866" y="1484"/>
                  </a:lnTo>
                  <a:lnTo>
                    <a:pt x="1860" y="1486"/>
                  </a:lnTo>
                  <a:lnTo>
                    <a:pt x="1854" y="1482"/>
                  </a:lnTo>
                  <a:lnTo>
                    <a:pt x="1848" y="1482"/>
                  </a:lnTo>
                  <a:lnTo>
                    <a:pt x="1842" y="1484"/>
                  </a:lnTo>
                  <a:lnTo>
                    <a:pt x="1836" y="1482"/>
                  </a:lnTo>
                  <a:lnTo>
                    <a:pt x="1834" y="1484"/>
                  </a:lnTo>
                  <a:lnTo>
                    <a:pt x="1828" y="1484"/>
                  </a:lnTo>
                  <a:lnTo>
                    <a:pt x="1830" y="1490"/>
                  </a:lnTo>
                  <a:lnTo>
                    <a:pt x="1824" y="1494"/>
                  </a:lnTo>
                  <a:lnTo>
                    <a:pt x="1818" y="1498"/>
                  </a:lnTo>
                  <a:lnTo>
                    <a:pt x="1818" y="1504"/>
                  </a:lnTo>
                  <a:lnTo>
                    <a:pt x="1824" y="1508"/>
                  </a:lnTo>
                  <a:lnTo>
                    <a:pt x="1828" y="1512"/>
                  </a:lnTo>
                  <a:lnTo>
                    <a:pt x="1834" y="1516"/>
                  </a:lnTo>
                  <a:lnTo>
                    <a:pt x="1838" y="1522"/>
                  </a:lnTo>
                  <a:lnTo>
                    <a:pt x="1844" y="1526"/>
                  </a:lnTo>
                  <a:lnTo>
                    <a:pt x="1840" y="1528"/>
                  </a:lnTo>
                  <a:lnTo>
                    <a:pt x="1834" y="1532"/>
                  </a:lnTo>
                  <a:lnTo>
                    <a:pt x="1828" y="1538"/>
                  </a:lnTo>
                  <a:lnTo>
                    <a:pt x="1824" y="1538"/>
                  </a:lnTo>
                  <a:lnTo>
                    <a:pt x="1816" y="1538"/>
                  </a:lnTo>
                  <a:lnTo>
                    <a:pt x="1812" y="1544"/>
                  </a:lnTo>
                  <a:lnTo>
                    <a:pt x="1804" y="1550"/>
                  </a:lnTo>
                  <a:lnTo>
                    <a:pt x="1800" y="1550"/>
                  </a:lnTo>
                  <a:lnTo>
                    <a:pt x="1796" y="1550"/>
                  </a:lnTo>
                  <a:lnTo>
                    <a:pt x="1796" y="1552"/>
                  </a:lnTo>
                  <a:lnTo>
                    <a:pt x="1802" y="1558"/>
                  </a:lnTo>
                  <a:lnTo>
                    <a:pt x="1808" y="1558"/>
                  </a:lnTo>
                  <a:lnTo>
                    <a:pt x="1814" y="1560"/>
                  </a:lnTo>
                  <a:lnTo>
                    <a:pt x="1820" y="1562"/>
                  </a:lnTo>
                  <a:lnTo>
                    <a:pt x="1824" y="1566"/>
                  </a:lnTo>
                  <a:lnTo>
                    <a:pt x="1830" y="1574"/>
                  </a:lnTo>
                  <a:lnTo>
                    <a:pt x="1836" y="1574"/>
                  </a:lnTo>
                  <a:lnTo>
                    <a:pt x="1842" y="1574"/>
                  </a:lnTo>
                  <a:lnTo>
                    <a:pt x="1848" y="1574"/>
                  </a:lnTo>
                  <a:lnTo>
                    <a:pt x="1852" y="1574"/>
                  </a:lnTo>
                  <a:lnTo>
                    <a:pt x="1854" y="1580"/>
                  </a:lnTo>
                  <a:lnTo>
                    <a:pt x="1860" y="1584"/>
                  </a:lnTo>
                  <a:lnTo>
                    <a:pt x="1866" y="1584"/>
                  </a:lnTo>
                  <a:lnTo>
                    <a:pt x="1872" y="1584"/>
                  </a:lnTo>
                  <a:lnTo>
                    <a:pt x="1878" y="1586"/>
                  </a:lnTo>
                  <a:lnTo>
                    <a:pt x="1884" y="1588"/>
                  </a:lnTo>
                  <a:lnTo>
                    <a:pt x="1890" y="1592"/>
                  </a:lnTo>
                  <a:lnTo>
                    <a:pt x="1896" y="1598"/>
                  </a:lnTo>
                  <a:lnTo>
                    <a:pt x="1898" y="1598"/>
                  </a:lnTo>
                  <a:lnTo>
                    <a:pt x="1892" y="1600"/>
                  </a:lnTo>
                  <a:lnTo>
                    <a:pt x="1892" y="1606"/>
                  </a:lnTo>
                  <a:lnTo>
                    <a:pt x="1892" y="1612"/>
                  </a:lnTo>
                  <a:lnTo>
                    <a:pt x="1892" y="1614"/>
                  </a:lnTo>
                  <a:lnTo>
                    <a:pt x="1894" y="1622"/>
                  </a:lnTo>
                  <a:lnTo>
                    <a:pt x="1894" y="1626"/>
                  </a:lnTo>
                  <a:lnTo>
                    <a:pt x="1888" y="1630"/>
                  </a:lnTo>
                  <a:lnTo>
                    <a:pt x="1882" y="1632"/>
                  </a:lnTo>
                  <a:lnTo>
                    <a:pt x="1876" y="1634"/>
                  </a:lnTo>
                  <a:lnTo>
                    <a:pt x="1870" y="1636"/>
                  </a:lnTo>
                  <a:lnTo>
                    <a:pt x="1864" y="1638"/>
                  </a:lnTo>
                  <a:lnTo>
                    <a:pt x="1858" y="1638"/>
                  </a:lnTo>
                  <a:lnTo>
                    <a:pt x="1852" y="1638"/>
                  </a:lnTo>
                  <a:lnTo>
                    <a:pt x="1846" y="1638"/>
                  </a:lnTo>
                  <a:lnTo>
                    <a:pt x="1840" y="1636"/>
                  </a:lnTo>
                  <a:lnTo>
                    <a:pt x="1834" y="1634"/>
                  </a:lnTo>
                  <a:lnTo>
                    <a:pt x="1828" y="1630"/>
                  </a:lnTo>
                  <a:lnTo>
                    <a:pt x="1826" y="1626"/>
                  </a:lnTo>
                  <a:lnTo>
                    <a:pt x="1820" y="1624"/>
                  </a:lnTo>
                  <a:lnTo>
                    <a:pt x="1818" y="1626"/>
                  </a:lnTo>
                  <a:lnTo>
                    <a:pt x="1816" y="1626"/>
                  </a:lnTo>
                  <a:lnTo>
                    <a:pt x="1816" y="1628"/>
                  </a:lnTo>
                  <a:lnTo>
                    <a:pt x="1816" y="1634"/>
                  </a:lnTo>
                  <a:lnTo>
                    <a:pt x="1816" y="1640"/>
                  </a:lnTo>
                  <a:lnTo>
                    <a:pt x="1810" y="1646"/>
                  </a:lnTo>
                  <a:lnTo>
                    <a:pt x="1804" y="1648"/>
                  </a:lnTo>
                  <a:lnTo>
                    <a:pt x="1798" y="1648"/>
                  </a:lnTo>
                  <a:lnTo>
                    <a:pt x="1800" y="1642"/>
                  </a:lnTo>
                  <a:lnTo>
                    <a:pt x="1794" y="1640"/>
                  </a:lnTo>
                  <a:lnTo>
                    <a:pt x="1788" y="1640"/>
                  </a:lnTo>
                  <a:lnTo>
                    <a:pt x="1782" y="1638"/>
                  </a:lnTo>
                  <a:lnTo>
                    <a:pt x="1776" y="1638"/>
                  </a:lnTo>
                  <a:lnTo>
                    <a:pt x="1770" y="1636"/>
                  </a:lnTo>
                  <a:lnTo>
                    <a:pt x="1766" y="1636"/>
                  </a:lnTo>
                  <a:lnTo>
                    <a:pt x="1760" y="1634"/>
                  </a:lnTo>
                  <a:lnTo>
                    <a:pt x="1754" y="1630"/>
                  </a:lnTo>
                  <a:lnTo>
                    <a:pt x="1748" y="1630"/>
                  </a:lnTo>
                  <a:lnTo>
                    <a:pt x="1744" y="1624"/>
                  </a:lnTo>
                  <a:lnTo>
                    <a:pt x="1742" y="1618"/>
                  </a:lnTo>
                  <a:lnTo>
                    <a:pt x="1740" y="1612"/>
                  </a:lnTo>
                  <a:lnTo>
                    <a:pt x="1734" y="1610"/>
                  </a:lnTo>
                  <a:lnTo>
                    <a:pt x="1732" y="1610"/>
                  </a:lnTo>
                  <a:lnTo>
                    <a:pt x="1730" y="1610"/>
                  </a:lnTo>
                  <a:lnTo>
                    <a:pt x="1724" y="1604"/>
                  </a:lnTo>
                  <a:lnTo>
                    <a:pt x="1720" y="1606"/>
                  </a:lnTo>
                  <a:lnTo>
                    <a:pt x="1714" y="1612"/>
                  </a:lnTo>
                  <a:lnTo>
                    <a:pt x="1708" y="1610"/>
                  </a:lnTo>
                  <a:lnTo>
                    <a:pt x="1702" y="1608"/>
                  </a:lnTo>
                  <a:lnTo>
                    <a:pt x="1696" y="1608"/>
                  </a:lnTo>
                  <a:lnTo>
                    <a:pt x="1694" y="1610"/>
                  </a:lnTo>
                  <a:lnTo>
                    <a:pt x="1696" y="1616"/>
                  </a:lnTo>
                  <a:lnTo>
                    <a:pt x="1696" y="1622"/>
                  </a:lnTo>
                  <a:lnTo>
                    <a:pt x="1692" y="1620"/>
                  </a:lnTo>
                  <a:lnTo>
                    <a:pt x="1686" y="1624"/>
                  </a:lnTo>
                  <a:lnTo>
                    <a:pt x="1684" y="1624"/>
                  </a:lnTo>
                  <a:lnTo>
                    <a:pt x="1680" y="1622"/>
                  </a:lnTo>
                  <a:lnTo>
                    <a:pt x="1674" y="1618"/>
                  </a:lnTo>
                  <a:lnTo>
                    <a:pt x="1668" y="1614"/>
                  </a:lnTo>
                  <a:lnTo>
                    <a:pt x="1664" y="1608"/>
                  </a:lnTo>
                  <a:lnTo>
                    <a:pt x="1658" y="1610"/>
                  </a:lnTo>
                  <a:lnTo>
                    <a:pt x="1652" y="1610"/>
                  </a:lnTo>
                  <a:lnTo>
                    <a:pt x="1646" y="1612"/>
                  </a:lnTo>
                  <a:lnTo>
                    <a:pt x="1640" y="1610"/>
                  </a:lnTo>
                  <a:lnTo>
                    <a:pt x="1638" y="1616"/>
                  </a:lnTo>
                  <a:lnTo>
                    <a:pt x="1634" y="1614"/>
                  </a:lnTo>
                  <a:lnTo>
                    <a:pt x="1626" y="1612"/>
                  </a:lnTo>
                  <a:lnTo>
                    <a:pt x="1626" y="1618"/>
                  </a:lnTo>
                  <a:lnTo>
                    <a:pt x="1620" y="1622"/>
                  </a:lnTo>
                  <a:lnTo>
                    <a:pt x="1614" y="1626"/>
                  </a:lnTo>
                  <a:lnTo>
                    <a:pt x="1614" y="1628"/>
                  </a:lnTo>
                  <a:lnTo>
                    <a:pt x="1612" y="1634"/>
                  </a:lnTo>
                  <a:lnTo>
                    <a:pt x="1606" y="1640"/>
                  </a:lnTo>
                  <a:lnTo>
                    <a:pt x="1600" y="1642"/>
                  </a:lnTo>
                  <a:lnTo>
                    <a:pt x="1596" y="1646"/>
                  </a:lnTo>
                  <a:lnTo>
                    <a:pt x="1588" y="1642"/>
                  </a:lnTo>
                  <a:lnTo>
                    <a:pt x="1582" y="1638"/>
                  </a:lnTo>
                  <a:lnTo>
                    <a:pt x="1576" y="1638"/>
                  </a:lnTo>
                  <a:lnTo>
                    <a:pt x="1570" y="1636"/>
                  </a:lnTo>
                  <a:lnTo>
                    <a:pt x="1566" y="1632"/>
                  </a:lnTo>
                  <a:lnTo>
                    <a:pt x="1558" y="1628"/>
                  </a:lnTo>
                  <a:lnTo>
                    <a:pt x="1552" y="1622"/>
                  </a:lnTo>
                  <a:lnTo>
                    <a:pt x="1550" y="1622"/>
                  </a:lnTo>
                  <a:lnTo>
                    <a:pt x="1546" y="1618"/>
                  </a:lnTo>
                  <a:lnTo>
                    <a:pt x="1540" y="1616"/>
                  </a:lnTo>
                  <a:lnTo>
                    <a:pt x="1534" y="1614"/>
                  </a:lnTo>
                  <a:lnTo>
                    <a:pt x="1528" y="1616"/>
                  </a:lnTo>
                  <a:lnTo>
                    <a:pt x="1530" y="1622"/>
                  </a:lnTo>
                  <a:lnTo>
                    <a:pt x="1536" y="1626"/>
                  </a:lnTo>
                  <a:lnTo>
                    <a:pt x="1538" y="1632"/>
                  </a:lnTo>
                  <a:lnTo>
                    <a:pt x="1540" y="1638"/>
                  </a:lnTo>
                  <a:lnTo>
                    <a:pt x="1540" y="1644"/>
                  </a:lnTo>
                  <a:lnTo>
                    <a:pt x="1534" y="1648"/>
                  </a:lnTo>
                  <a:lnTo>
                    <a:pt x="1528" y="1642"/>
                  </a:lnTo>
                  <a:lnTo>
                    <a:pt x="1526" y="1638"/>
                  </a:lnTo>
                  <a:lnTo>
                    <a:pt x="1526" y="1632"/>
                  </a:lnTo>
                  <a:lnTo>
                    <a:pt x="1528" y="1626"/>
                  </a:lnTo>
                  <a:lnTo>
                    <a:pt x="1522" y="1622"/>
                  </a:lnTo>
                  <a:lnTo>
                    <a:pt x="1516" y="1622"/>
                  </a:lnTo>
                  <a:lnTo>
                    <a:pt x="1510" y="1618"/>
                  </a:lnTo>
                  <a:lnTo>
                    <a:pt x="1506" y="1612"/>
                  </a:lnTo>
                  <a:lnTo>
                    <a:pt x="1502" y="1608"/>
                  </a:lnTo>
                  <a:lnTo>
                    <a:pt x="1500" y="1608"/>
                  </a:lnTo>
                  <a:lnTo>
                    <a:pt x="1494" y="1604"/>
                  </a:lnTo>
                  <a:lnTo>
                    <a:pt x="1488" y="1602"/>
                  </a:lnTo>
                  <a:lnTo>
                    <a:pt x="1482" y="1602"/>
                  </a:lnTo>
                  <a:lnTo>
                    <a:pt x="1476" y="1600"/>
                  </a:lnTo>
                  <a:lnTo>
                    <a:pt x="1472" y="1594"/>
                  </a:lnTo>
                  <a:lnTo>
                    <a:pt x="1468" y="1588"/>
                  </a:lnTo>
                  <a:lnTo>
                    <a:pt x="1462" y="1586"/>
                  </a:lnTo>
                  <a:lnTo>
                    <a:pt x="1456" y="1582"/>
                  </a:lnTo>
                  <a:lnTo>
                    <a:pt x="1450" y="1582"/>
                  </a:lnTo>
                  <a:lnTo>
                    <a:pt x="1444" y="1584"/>
                  </a:lnTo>
                  <a:lnTo>
                    <a:pt x="1438" y="1584"/>
                  </a:lnTo>
                  <a:lnTo>
                    <a:pt x="1434" y="1586"/>
                  </a:lnTo>
                  <a:lnTo>
                    <a:pt x="1428" y="1584"/>
                  </a:lnTo>
                  <a:lnTo>
                    <a:pt x="1422" y="1584"/>
                  </a:lnTo>
                  <a:lnTo>
                    <a:pt x="1416" y="1584"/>
                  </a:lnTo>
                  <a:lnTo>
                    <a:pt x="1412" y="1582"/>
                  </a:lnTo>
                  <a:lnTo>
                    <a:pt x="1410" y="1582"/>
                  </a:lnTo>
                  <a:lnTo>
                    <a:pt x="1408" y="1576"/>
                  </a:lnTo>
                  <a:lnTo>
                    <a:pt x="1402" y="1570"/>
                  </a:lnTo>
                  <a:lnTo>
                    <a:pt x="1398" y="1564"/>
                  </a:lnTo>
                  <a:lnTo>
                    <a:pt x="1392" y="1566"/>
                  </a:lnTo>
                  <a:lnTo>
                    <a:pt x="1386" y="1572"/>
                  </a:lnTo>
                  <a:lnTo>
                    <a:pt x="1380" y="1570"/>
                  </a:lnTo>
                  <a:lnTo>
                    <a:pt x="1374" y="1574"/>
                  </a:lnTo>
                  <a:lnTo>
                    <a:pt x="1374" y="1580"/>
                  </a:lnTo>
                  <a:lnTo>
                    <a:pt x="1370" y="1584"/>
                  </a:lnTo>
                  <a:lnTo>
                    <a:pt x="1364" y="1580"/>
                  </a:lnTo>
                  <a:lnTo>
                    <a:pt x="1358" y="1584"/>
                  </a:lnTo>
                  <a:lnTo>
                    <a:pt x="1354" y="1584"/>
                  </a:lnTo>
                  <a:lnTo>
                    <a:pt x="1348" y="1578"/>
                  </a:lnTo>
                  <a:lnTo>
                    <a:pt x="1348" y="1572"/>
                  </a:lnTo>
                  <a:lnTo>
                    <a:pt x="1342" y="1570"/>
                  </a:lnTo>
                  <a:lnTo>
                    <a:pt x="1336" y="1570"/>
                  </a:lnTo>
                  <a:lnTo>
                    <a:pt x="1330" y="1570"/>
                  </a:lnTo>
                  <a:lnTo>
                    <a:pt x="1328" y="1570"/>
                  </a:lnTo>
                  <a:lnTo>
                    <a:pt x="1322" y="1566"/>
                  </a:lnTo>
                  <a:lnTo>
                    <a:pt x="1316" y="1564"/>
                  </a:lnTo>
                  <a:lnTo>
                    <a:pt x="1318" y="1570"/>
                  </a:lnTo>
                  <a:lnTo>
                    <a:pt x="1320" y="1576"/>
                  </a:lnTo>
                  <a:lnTo>
                    <a:pt x="1316" y="1574"/>
                  </a:lnTo>
                  <a:lnTo>
                    <a:pt x="1310" y="1572"/>
                  </a:lnTo>
                  <a:lnTo>
                    <a:pt x="1308" y="1580"/>
                  </a:lnTo>
                  <a:lnTo>
                    <a:pt x="1308" y="1584"/>
                  </a:lnTo>
                  <a:lnTo>
                    <a:pt x="1302" y="1588"/>
                  </a:lnTo>
                  <a:lnTo>
                    <a:pt x="1302" y="1594"/>
                  </a:lnTo>
                  <a:lnTo>
                    <a:pt x="1296" y="1598"/>
                  </a:lnTo>
                  <a:lnTo>
                    <a:pt x="1290" y="1598"/>
                  </a:lnTo>
                  <a:lnTo>
                    <a:pt x="1284" y="1600"/>
                  </a:lnTo>
                  <a:lnTo>
                    <a:pt x="1282" y="1602"/>
                  </a:lnTo>
                  <a:lnTo>
                    <a:pt x="1280" y="1604"/>
                  </a:lnTo>
                  <a:lnTo>
                    <a:pt x="1274" y="1608"/>
                  </a:lnTo>
                  <a:lnTo>
                    <a:pt x="1268" y="1608"/>
                  </a:lnTo>
                  <a:lnTo>
                    <a:pt x="1262" y="1608"/>
                  </a:lnTo>
                  <a:lnTo>
                    <a:pt x="1256" y="1610"/>
                  </a:lnTo>
                  <a:lnTo>
                    <a:pt x="1254" y="1616"/>
                  </a:lnTo>
                  <a:lnTo>
                    <a:pt x="1260" y="1622"/>
                  </a:lnTo>
                  <a:lnTo>
                    <a:pt x="1254" y="1628"/>
                  </a:lnTo>
                  <a:lnTo>
                    <a:pt x="1248" y="1630"/>
                  </a:lnTo>
                  <a:lnTo>
                    <a:pt x="1244" y="1634"/>
                  </a:lnTo>
                  <a:lnTo>
                    <a:pt x="1236" y="1640"/>
                  </a:lnTo>
                  <a:lnTo>
                    <a:pt x="1230" y="1642"/>
                  </a:lnTo>
                  <a:lnTo>
                    <a:pt x="1226" y="1640"/>
                  </a:lnTo>
                  <a:lnTo>
                    <a:pt x="1218" y="1638"/>
                  </a:lnTo>
                  <a:lnTo>
                    <a:pt x="1224" y="1642"/>
                  </a:lnTo>
                  <a:lnTo>
                    <a:pt x="1226" y="1648"/>
                  </a:lnTo>
                  <a:lnTo>
                    <a:pt x="1228" y="1654"/>
                  </a:lnTo>
                  <a:lnTo>
                    <a:pt x="1230" y="1660"/>
                  </a:lnTo>
                  <a:lnTo>
                    <a:pt x="1234" y="1666"/>
                  </a:lnTo>
                  <a:lnTo>
                    <a:pt x="1238" y="1672"/>
                  </a:lnTo>
                  <a:lnTo>
                    <a:pt x="1244" y="1676"/>
                  </a:lnTo>
                  <a:lnTo>
                    <a:pt x="1244" y="1680"/>
                  </a:lnTo>
                  <a:lnTo>
                    <a:pt x="1244" y="1682"/>
                  </a:lnTo>
                  <a:lnTo>
                    <a:pt x="1238" y="1688"/>
                  </a:lnTo>
                  <a:lnTo>
                    <a:pt x="1232" y="1690"/>
                  </a:lnTo>
                  <a:lnTo>
                    <a:pt x="1226" y="1692"/>
                  </a:lnTo>
                  <a:lnTo>
                    <a:pt x="1220" y="1694"/>
                  </a:lnTo>
                  <a:lnTo>
                    <a:pt x="1214" y="1690"/>
                  </a:lnTo>
                  <a:lnTo>
                    <a:pt x="1210" y="1686"/>
                  </a:lnTo>
                  <a:lnTo>
                    <a:pt x="1204" y="1682"/>
                  </a:lnTo>
                  <a:lnTo>
                    <a:pt x="1202" y="1676"/>
                  </a:lnTo>
                  <a:lnTo>
                    <a:pt x="1196" y="1672"/>
                  </a:lnTo>
                  <a:lnTo>
                    <a:pt x="1192" y="1668"/>
                  </a:lnTo>
                  <a:lnTo>
                    <a:pt x="1186" y="1664"/>
                  </a:lnTo>
                  <a:lnTo>
                    <a:pt x="1180" y="1658"/>
                  </a:lnTo>
                  <a:lnTo>
                    <a:pt x="1174" y="1654"/>
                  </a:lnTo>
                  <a:lnTo>
                    <a:pt x="1168" y="1652"/>
                  </a:lnTo>
                  <a:lnTo>
                    <a:pt x="1162" y="1656"/>
                  </a:lnTo>
                  <a:lnTo>
                    <a:pt x="1156" y="1664"/>
                  </a:lnTo>
                  <a:lnTo>
                    <a:pt x="1156" y="1668"/>
                  </a:lnTo>
                  <a:lnTo>
                    <a:pt x="1160" y="1674"/>
                  </a:lnTo>
                  <a:lnTo>
                    <a:pt x="1160" y="1680"/>
                  </a:lnTo>
                  <a:lnTo>
                    <a:pt x="1158" y="1682"/>
                  </a:lnTo>
                  <a:lnTo>
                    <a:pt x="1152" y="1686"/>
                  </a:lnTo>
                  <a:lnTo>
                    <a:pt x="1146" y="1690"/>
                  </a:lnTo>
                  <a:lnTo>
                    <a:pt x="1142" y="1694"/>
                  </a:lnTo>
                  <a:lnTo>
                    <a:pt x="1142" y="1702"/>
                  </a:lnTo>
                  <a:lnTo>
                    <a:pt x="1142" y="1708"/>
                  </a:lnTo>
                  <a:lnTo>
                    <a:pt x="1142" y="1710"/>
                  </a:lnTo>
                  <a:lnTo>
                    <a:pt x="1142" y="1718"/>
                  </a:lnTo>
                  <a:lnTo>
                    <a:pt x="1142" y="1722"/>
                  </a:lnTo>
                  <a:lnTo>
                    <a:pt x="1144" y="1728"/>
                  </a:lnTo>
                  <a:lnTo>
                    <a:pt x="1150" y="1730"/>
                  </a:lnTo>
                  <a:lnTo>
                    <a:pt x="1156" y="1736"/>
                  </a:lnTo>
                  <a:lnTo>
                    <a:pt x="1158" y="1740"/>
                  </a:lnTo>
                  <a:lnTo>
                    <a:pt x="1156" y="1748"/>
                  </a:lnTo>
                  <a:lnTo>
                    <a:pt x="1150" y="1752"/>
                  </a:lnTo>
                  <a:lnTo>
                    <a:pt x="1148" y="1752"/>
                  </a:lnTo>
                  <a:lnTo>
                    <a:pt x="1146" y="1752"/>
                  </a:lnTo>
                  <a:lnTo>
                    <a:pt x="1144" y="1760"/>
                  </a:lnTo>
                  <a:lnTo>
                    <a:pt x="1144" y="1762"/>
                  </a:lnTo>
                  <a:lnTo>
                    <a:pt x="1142" y="1768"/>
                  </a:lnTo>
                  <a:lnTo>
                    <a:pt x="1142" y="1772"/>
                  </a:lnTo>
                  <a:lnTo>
                    <a:pt x="1140" y="1778"/>
                  </a:lnTo>
                  <a:lnTo>
                    <a:pt x="1138" y="1784"/>
                  </a:lnTo>
                  <a:lnTo>
                    <a:pt x="1144" y="1790"/>
                  </a:lnTo>
                  <a:lnTo>
                    <a:pt x="1150" y="1792"/>
                  </a:lnTo>
                  <a:lnTo>
                    <a:pt x="1152" y="1792"/>
                  </a:lnTo>
                  <a:lnTo>
                    <a:pt x="1154" y="1792"/>
                  </a:lnTo>
                  <a:lnTo>
                    <a:pt x="1160" y="1794"/>
                  </a:lnTo>
                  <a:lnTo>
                    <a:pt x="1166" y="1796"/>
                  </a:lnTo>
                  <a:lnTo>
                    <a:pt x="1172" y="1798"/>
                  </a:lnTo>
                  <a:lnTo>
                    <a:pt x="1174" y="1800"/>
                  </a:lnTo>
                  <a:lnTo>
                    <a:pt x="1176" y="1806"/>
                  </a:lnTo>
                  <a:lnTo>
                    <a:pt x="1180" y="1812"/>
                  </a:lnTo>
                  <a:lnTo>
                    <a:pt x="1176" y="1816"/>
                  </a:lnTo>
                  <a:lnTo>
                    <a:pt x="1180" y="1822"/>
                  </a:lnTo>
                  <a:lnTo>
                    <a:pt x="1180" y="1828"/>
                  </a:lnTo>
                  <a:lnTo>
                    <a:pt x="1186" y="1834"/>
                  </a:lnTo>
                  <a:lnTo>
                    <a:pt x="1192" y="1836"/>
                  </a:lnTo>
                  <a:lnTo>
                    <a:pt x="1194" y="1830"/>
                  </a:lnTo>
                  <a:lnTo>
                    <a:pt x="1200" y="1830"/>
                  </a:lnTo>
                  <a:lnTo>
                    <a:pt x="1206" y="1832"/>
                  </a:lnTo>
                  <a:lnTo>
                    <a:pt x="1212" y="1832"/>
                  </a:lnTo>
                  <a:lnTo>
                    <a:pt x="1218" y="1832"/>
                  </a:lnTo>
                  <a:lnTo>
                    <a:pt x="1224" y="1832"/>
                  </a:lnTo>
                  <a:lnTo>
                    <a:pt x="1230" y="1832"/>
                  </a:lnTo>
                  <a:lnTo>
                    <a:pt x="1236" y="1834"/>
                  </a:lnTo>
                  <a:lnTo>
                    <a:pt x="1242" y="1840"/>
                  </a:lnTo>
                  <a:lnTo>
                    <a:pt x="1248" y="1846"/>
                  </a:lnTo>
                  <a:lnTo>
                    <a:pt x="1252" y="1852"/>
                  </a:lnTo>
                  <a:lnTo>
                    <a:pt x="1258" y="1856"/>
                  </a:lnTo>
                  <a:lnTo>
                    <a:pt x="1264" y="1862"/>
                  </a:lnTo>
                  <a:lnTo>
                    <a:pt x="1268" y="1868"/>
                  </a:lnTo>
                  <a:lnTo>
                    <a:pt x="1272" y="1874"/>
                  </a:lnTo>
                  <a:lnTo>
                    <a:pt x="1276" y="1880"/>
                  </a:lnTo>
                  <a:lnTo>
                    <a:pt x="1282" y="1886"/>
                  </a:lnTo>
                  <a:lnTo>
                    <a:pt x="1288" y="1892"/>
                  </a:lnTo>
                  <a:lnTo>
                    <a:pt x="1294" y="1898"/>
                  </a:lnTo>
                  <a:lnTo>
                    <a:pt x="1292" y="1904"/>
                  </a:lnTo>
                  <a:lnTo>
                    <a:pt x="1286" y="1906"/>
                  </a:lnTo>
                  <a:lnTo>
                    <a:pt x="1280" y="1902"/>
                  </a:lnTo>
                  <a:lnTo>
                    <a:pt x="1274" y="1900"/>
                  </a:lnTo>
                  <a:lnTo>
                    <a:pt x="1268" y="1906"/>
                  </a:lnTo>
                  <a:lnTo>
                    <a:pt x="1274" y="1912"/>
                  </a:lnTo>
                  <a:lnTo>
                    <a:pt x="1280" y="1914"/>
                  </a:lnTo>
                  <a:lnTo>
                    <a:pt x="1284" y="1914"/>
                  </a:lnTo>
                  <a:lnTo>
                    <a:pt x="1290" y="1920"/>
                  </a:lnTo>
                  <a:lnTo>
                    <a:pt x="1294" y="1918"/>
                  </a:lnTo>
                  <a:lnTo>
                    <a:pt x="1300" y="1922"/>
                  </a:lnTo>
                  <a:lnTo>
                    <a:pt x="1306" y="1926"/>
                  </a:lnTo>
                  <a:lnTo>
                    <a:pt x="1312" y="1928"/>
                  </a:lnTo>
                  <a:lnTo>
                    <a:pt x="1314" y="1934"/>
                  </a:lnTo>
                  <a:lnTo>
                    <a:pt x="1308" y="1930"/>
                  </a:lnTo>
                  <a:lnTo>
                    <a:pt x="1308" y="1936"/>
                  </a:lnTo>
                  <a:lnTo>
                    <a:pt x="1308" y="1942"/>
                  </a:lnTo>
                  <a:lnTo>
                    <a:pt x="1302" y="1940"/>
                  </a:lnTo>
                  <a:lnTo>
                    <a:pt x="1296" y="1942"/>
                  </a:lnTo>
                  <a:lnTo>
                    <a:pt x="1294" y="1948"/>
                  </a:lnTo>
                  <a:lnTo>
                    <a:pt x="1290" y="1944"/>
                  </a:lnTo>
                  <a:lnTo>
                    <a:pt x="1282" y="1946"/>
                  </a:lnTo>
                  <a:lnTo>
                    <a:pt x="1288" y="1948"/>
                  </a:lnTo>
                  <a:lnTo>
                    <a:pt x="1286" y="1956"/>
                  </a:lnTo>
                  <a:lnTo>
                    <a:pt x="1292" y="1956"/>
                  </a:lnTo>
                  <a:lnTo>
                    <a:pt x="1292" y="1962"/>
                  </a:lnTo>
                  <a:lnTo>
                    <a:pt x="1286" y="1960"/>
                  </a:lnTo>
                  <a:lnTo>
                    <a:pt x="1282" y="1954"/>
                  </a:lnTo>
                  <a:lnTo>
                    <a:pt x="1278" y="1956"/>
                  </a:lnTo>
                  <a:lnTo>
                    <a:pt x="1272" y="1960"/>
                  </a:lnTo>
                  <a:lnTo>
                    <a:pt x="1274" y="1964"/>
                  </a:lnTo>
                  <a:lnTo>
                    <a:pt x="1268" y="1964"/>
                  </a:lnTo>
                  <a:lnTo>
                    <a:pt x="1262" y="1970"/>
                  </a:lnTo>
                  <a:lnTo>
                    <a:pt x="1256" y="1968"/>
                  </a:lnTo>
                  <a:lnTo>
                    <a:pt x="1250" y="1970"/>
                  </a:lnTo>
                  <a:lnTo>
                    <a:pt x="1246" y="1972"/>
                  </a:lnTo>
                  <a:lnTo>
                    <a:pt x="1246" y="1978"/>
                  </a:lnTo>
                  <a:lnTo>
                    <a:pt x="1240" y="1974"/>
                  </a:lnTo>
                  <a:lnTo>
                    <a:pt x="1234" y="1970"/>
                  </a:lnTo>
                  <a:lnTo>
                    <a:pt x="1228" y="1968"/>
                  </a:lnTo>
                  <a:lnTo>
                    <a:pt x="1230" y="1970"/>
                  </a:lnTo>
                  <a:lnTo>
                    <a:pt x="1232" y="1976"/>
                  </a:lnTo>
                  <a:lnTo>
                    <a:pt x="1234" y="1982"/>
                  </a:lnTo>
                  <a:lnTo>
                    <a:pt x="1230" y="1976"/>
                  </a:lnTo>
                  <a:lnTo>
                    <a:pt x="1226" y="1970"/>
                  </a:lnTo>
                  <a:lnTo>
                    <a:pt x="1220" y="1970"/>
                  </a:lnTo>
                  <a:lnTo>
                    <a:pt x="1224" y="1976"/>
                  </a:lnTo>
                  <a:lnTo>
                    <a:pt x="1230" y="1980"/>
                  </a:lnTo>
                  <a:lnTo>
                    <a:pt x="1230" y="1984"/>
                  </a:lnTo>
                  <a:lnTo>
                    <a:pt x="1230" y="1990"/>
                  </a:lnTo>
                  <a:lnTo>
                    <a:pt x="1226" y="1996"/>
                  </a:lnTo>
                  <a:lnTo>
                    <a:pt x="1226" y="2002"/>
                  </a:lnTo>
                  <a:lnTo>
                    <a:pt x="1222" y="2008"/>
                  </a:lnTo>
                  <a:lnTo>
                    <a:pt x="1220" y="2014"/>
                  </a:lnTo>
                  <a:lnTo>
                    <a:pt x="1220" y="2020"/>
                  </a:lnTo>
                  <a:lnTo>
                    <a:pt x="1214" y="2026"/>
                  </a:lnTo>
                  <a:lnTo>
                    <a:pt x="1212" y="2032"/>
                  </a:lnTo>
                  <a:lnTo>
                    <a:pt x="1208" y="2026"/>
                  </a:lnTo>
                  <a:lnTo>
                    <a:pt x="1210" y="2032"/>
                  </a:lnTo>
                  <a:lnTo>
                    <a:pt x="1204" y="2036"/>
                  </a:lnTo>
                  <a:lnTo>
                    <a:pt x="1204" y="2038"/>
                  </a:lnTo>
                  <a:lnTo>
                    <a:pt x="1198" y="2042"/>
                  </a:lnTo>
                  <a:lnTo>
                    <a:pt x="1196" y="2050"/>
                  </a:lnTo>
                  <a:lnTo>
                    <a:pt x="1196" y="2054"/>
                  </a:lnTo>
                  <a:lnTo>
                    <a:pt x="1202" y="2062"/>
                  </a:lnTo>
                  <a:lnTo>
                    <a:pt x="1208" y="2062"/>
                  </a:lnTo>
                  <a:lnTo>
                    <a:pt x="1214" y="2062"/>
                  </a:lnTo>
                  <a:lnTo>
                    <a:pt x="1220" y="2068"/>
                  </a:lnTo>
                  <a:lnTo>
                    <a:pt x="1224" y="2074"/>
                  </a:lnTo>
                  <a:lnTo>
                    <a:pt x="1230" y="2072"/>
                  </a:lnTo>
                  <a:lnTo>
                    <a:pt x="1234" y="2078"/>
                  </a:lnTo>
                  <a:lnTo>
                    <a:pt x="1236" y="2084"/>
                  </a:lnTo>
                  <a:lnTo>
                    <a:pt x="1242" y="2090"/>
                  </a:lnTo>
                  <a:lnTo>
                    <a:pt x="1244" y="2096"/>
                  </a:lnTo>
                  <a:lnTo>
                    <a:pt x="1250" y="2102"/>
                  </a:lnTo>
                  <a:lnTo>
                    <a:pt x="1248" y="2108"/>
                  </a:lnTo>
                  <a:lnTo>
                    <a:pt x="1246" y="2114"/>
                  </a:lnTo>
                  <a:lnTo>
                    <a:pt x="1244" y="2116"/>
                  </a:lnTo>
                  <a:lnTo>
                    <a:pt x="1252" y="2120"/>
                  </a:lnTo>
                  <a:lnTo>
                    <a:pt x="1250" y="2112"/>
                  </a:lnTo>
                  <a:lnTo>
                    <a:pt x="1252" y="2108"/>
                  </a:lnTo>
                  <a:lnTo>
                    <a:pt x="1252" y="2102"/>
                  </a:lnTo>
                  <a:lnTo>
                    <a:pt x="1254" y="2096"/>
                  </a:lnTo>
                  <a:lnTo>
                    <a:pt x="1260" y="2096"/>
                  </a:lnTo>
                  <a:lnTo>
                    <a:pt x="1256" y="2102"/>
                  </a:lnTo>
                  <a:lnTo>
                    <a:pt x="1256" y="2108"/>
                  </a:lnTo>
                  <a:lnTo>
                    <a:pt x="1254" y="2114"/>
                  </a:lnTo>
                  <a:lnTo>
                    <a:pt x="1254" y="2120"/>
                  </a:lnTo>
                  <a:lnTo>
                    <a:pt x="1254" y="2126"/>
                  </a:lnTo>
                  <a:lnTo>
                    <a:pt x="1254" y="2132"/>
                  </a:lnTo>
                  <a:lnTo>
                    <a:pt x="1260" y="2136"/>
                  </a:lnTo>
                  <a:lnTo>
                    <a:pt x="1256" y="2142"/>
                  </a:lnTo>
                  <a:lnTo>
                    <a:pt x="1256" y="2146"/>
                  </a:lnTo>
                  <a:lnTo>
                    <a:pt x="1256" y="2154"/>
                  </a:lnTo>
                  <a:lnTo>
                    <a:pt x="1258" y="2156"/>
                  </a:lnTo>
                  <a:lnTo>
                    <a:pt x="1264" y="2160"/>
                  </a:lnTo>
                  <a:lnTo>
                    <a:pt x="1270" y="2164"/>
                  </a:lnTo>
                  <a:lnTo>
                    <a:pt x="1274" y="2170"/>
                  </a:lnTo>
                  <a:lnTo>
                    <a:pt x="1274" y="2176"/>
                  </a:lnTo>
                  <a:lnTo>
                    <a:pt x="1278" y="2182"/>
                  </a:lnTo>
                  <a:lnTo>
                    <a:pt x="1284" y="2184"/>
                  </a:lnTo>
                  <a:lnTo>
                    <a:pt x="1288" y="2190"/>
                  </a:lnTo>
                  <a:lnTo>
                    <a:pt x="1294" y="2196"/>
                  </a:lnTo>
                  <a:lnTo>
                    <a:pt x="1300" y="2202"/>
                  </a:lnTo>
                  <a:lnTo>
                    <a:pt x="1306" y="2206"/>
                  </a:lnTo>
                  <a:lnTo>
                    <a:pt x="1310" y="2212"/>
                  </a:lnTo>
                  <a:lnTo>
                    <a:pt x="1316" y="2218"/>
                  </a:lnTo>
                  <a:lnTo>
                    <a:pt x="1318" y="2224"/>
                  </a:lnTo>
                  <a:lnTo>
                    <a:pt x="1322" y="2230"/>
                  </a:lnTo>
                  <a:lnTo>
                    <a:pt x="1328" y="2232"/>
                  </a:lnTo>
                  <a:lnTo>
                    <a:pt x="1334" y="2236"/>
                  </a:lnTo>
                  <a:lnTo>
                    <a:pt x="1332" y="2240"/>
                  </a:lnTo>
                  <a:lnTo>
                    <a:pt x="1328" y="2246"/>
                  </a:lnTo>
                  <a:lnTo>
                    <a:pt x="1328" y="2250"/>
                  </a:lnTo>
                  <a:lnTo>
                    <a:pt x="1322" y="2256"/>
                  </a:lnTo>
                  <a:lnTo>
                    <a:pt x="1316" y="2260"/>
                  </a:lnTo>
                  <a:lnTo>
                    <a:pt x="1310" y="2262"/>
                  </a:lnTo>
                  <a:lnTo>
                    <a:pt x="1308" y="2268"/>
                  </a:lnTo>
                  <a:lnTo>
                    <a:pt x="1302" y="2274"/>
                  </a:lnTo>
                  <a:lnTo>
                    <a:pt x="1300" y="2280"/>
                  </a:lnTo>
                  <a:lnTo>
                    <a:pt x="1294" y="2280"/>
                  </a:lnTo>
                  <a:lnTo>
                    <a:pt x="1288" y="2278"/>
                  </a:lnTo>
                  <a:lnTo>
                    <a:pt x="1282" y="2276"/>
                  </a:lnTo>
                  <a:lnTo>
                    <a:pt x="1276" y="2276"/>
                  </a:lnTo>
                  <a:lnTo>
                    <a:pt x="1270" y="2274"/>
                  </a:lnTo>
                  <a:lnTo>
                    <a:pt x="1264" y="2268"/>
                  </a:lnTo>
                  <a:lnTo>
                    <a:pt x="1262" y="2262"/>
                  </a:lnTo>
                  <a:lnTo>
                    <a:pt x="1258" y="2256"/>
                  </a:lnTo>
                  <a:lnTo>
                    <a:pt x="1252" y="2256"/>
                  </a:lnTo>
                  <a:lnTo>
                    <a:pt x="1248" y="2250"/>
                  </a:lnTo>
                  <a:lnTo>
                    <a:pt x="1242" y="2244"/>
                  </a:lnTo>
                  <a:lnTo>
                    <a:pt x="1236" y="2242"/>
                  </a:lnTo>
                  <a:lnTo>
                    <a:pt x="1232" y="2236"/>
                  </a:lnTo>
                  <a:lnTo>
                    <a:pt x="1226" y="2236"/>
                  </a:lnTo>
                  <a:lnTo>
                    <a:pt x="1220" y="2232"/>
                  </a:lnTo>
                  <a:lnTo>
                    <a:pt x="1214" y="2232"/>
                  </a:lnTo>
                  <a:lnTo>
                    <a:pt x="1208" y="2230"/>
                  </a:lnTo>
                  <a:lnTo>
                    <a:pt x="1202" y="2226"/>
                  </a:lnTo>
                  <a:lnTo>
                    <a:pt x="1196" y="2226"/>
                  </a:lnTo>
                  <a:lnTo>
                    <a:pt x="1190" y="2224"/>
                  </a:lnTo>
                  <a:lnTo>
                    <a:pt x="1184" y="2222"/>
                  </a:lnTo>
                  <a:lnTo>
                    <a:pt x="1178" y="2218"/>
                  </a:lnTo>
                  <a:lnTo>
                    <a:pt x="1172" y="2214"/>
                  </a:lnTo>
                  <a:lnTo>
                    <a:pt x="1166" y="2212"/>
                  </a:lnTo>
                  <a:lnTo>
                    <a:pt x="1166" y="2206"/>
                  </a:lnTo>
                  <a:lnTo>
                    <a:pt x="1168" y="2200"/>
                  </a:lnTo>
                  <a:lnTo>
                    <a:pt x="1168" y="2194"/>
                  </a:lnTo>
                  <a:lnTo>
                    <a:pt x="1168" y="2192"/>
                  </a:lnTo>
                  <a:lnTo>
                    <a:pt x="1164" y="2190"/>
                  </a:lnTo>
                  <a:lnTo>
                    <a:pt x="1158" y="2188"/>
                  </a:lnTo>
                  <a:lnTo>
                    <a:pt x="1152" y="2188"/>
                  </a:lnTo>
                  <a:lnTo>
                    <a:pt x="1146" y="2188"/>
                  </a:lnTo>
                  <a:lnTo>
                    <a:pt x="1140" y="2182"/>
                  </a:lnTo>
                  <a:lnTo>
                    <a:pt x="1134" y="2178"/>
                  </a:lnTo>
                  <a:lnTo>
                    <a:pt x="1128" y="2178"/>
                  </a:lnTo>
                  <a:lnTo>
                    <a:pt x="1124" y="2176"/>
                  </a:lnTo>
                  <a:lnTo>
                    <a:pt x="1120" y="2174"/>
                  </a:lnTo>
                  <a:lnTo>
                    <a:pt x="1116" y="2176"/>
                  </a:lnTo>
                  <a:lnTo>
                    <a:pt x="1114" y="2182"/>
                  </a:lnTo>
                  <a:lnTo>
                    <a:pt x="1110" y="2176"/>
                  </a:lnTo>
                  <a:lnTo>
                    <a:pt x="1104" y="2174"/>
                  </a:lnTo>
                  <a:lnTo>
                    <a:pt x="1100" y="2172"/>
                  </a:lnTo>
                  <a:lnTo>
                    <a:pt x="1096" y="2174"/>
                  </a:lnTo>
                  <a:lnTo>
                    <a:pt x="1090" y="2176"/>
                  </a:lnTo>
                  <a:lnTo>
                    <a:pt x="1082" y="2178"/>
                  </a:lnTo>
                  <a:lnTo>
                    <a:pt x="1080" y="2182"/>
                  </a:lnTo>
                  <a:lnTo>
                    <a:pt x="1078" y="2182"/>
                  </a:lnTo>
                  <a:lnTo>
                    <a:pt x="1072" y="2182"/>
                  </a:lnTo>
                  <a:lnTo>
                    <a:pt x="1066" y="2186"/>
                  </a:lnTo>
                  <a:lnTo>
                    <a:pt x="1060" y="2184"/>
                  </a:lnTo>
                  <a:lnTo>
                    <a:pt x="1054" y="2180"/>
                  </a:lnTo>
                  <a:lnTo>
                    <a:pt x="1058" y="2176"/>
                  </a:lnTo>
                  <a:lnTo>
                    <a:pt x="1056" y="2172"/>
                  </a:lnTo>
                  <a:lnTo>
                    <a:pt x="1050" y="2172"/>
                  </a:lnTo>
                  <a:lnTo>
                    <a:pt x="1044" y="2168"/>
                  </a:lnTo>
                  <a:lnTo>
                    <a:pt x="1038" y="2164"/>
                  </a:lnTo>
                  <a:lnTo>
                    <a:pt x="1032" y="2164"/>
                  </a:lnTo>
                  <a:lnTo>
                    <a:pt x="1028" y="2162"/>
                  </a:lnTo>
                  <a:lnTo>
                    <a:pt x="1024" y="2162"/>
                  </a:lnTo>
                  <a:lnTo>
                    <a:pt x="1020" y="2160"/>
                  </a:lnTo>
                  <a:lnTo>
                    <a:pt x="1014" y="2154"/>
                  </a:lnTo>
                  <a:lnTo>
                    <a:pt x="1008" y="2148"/>
                  </a:lnTo>
                  <a:lnTo>
                    <a:pt x="1002" y="2146"/>
                  </a:lnTo>
                  <a:lnTo>
                    <a:pt x="996" y="2144"/>
                  </a:lnTo>
                  <a:lnTo>
                    <a:pt x="990" y="2146"/>
                  </a:lnTo>
                  <a:lnTo>
                    <a:pt x="984" y="2146"/>
                  </a:lnTo>
                  <a:lnTo>
                    <a:pt x="978" y="2142"/>
                  </a:lnTo>
                  <a:lnTo>
                    <a:pt x="972" y="2140"/>
                  </a:lnTo>
                  <a:lnTo>
                    <a:pt x="970" y="2140"/>
                  </a:lnTo>
                  <a:lnTo>
                    <a:pt x="964" y="2140"/>
                  </a:lnTo>
                  <a:lnTo>
                    <a:pt x="958" y="2142"/>
                  </a:lnTo>
                  <a:lnTo>
                    <a:pt x="958" y="2144"/>
                  </a:lnTo>
                  <a:lnTo>
                    <a:pt x="952" y="2142"/>
                  </a:lnTo>
                  <a:lnTo>
                    <a:pt x="946" y="2142"/>
                  </a:lnTo>
                  <a:lnTo>
                    <a:pt x="942" y="2142"/>
                  </a:lnTo>
                  <a:lnTo>
                    <a:pt x="936" y="2142"/>
                  </a:lnTo>
                  <a:lnTo>
                    <a:pt x="930" y="2142"/>
                  </a:lnTo>
                  <a:lnTo>
                    <a:pt x="924" y="2138"/>
                  </a:lnTo>
                  <a:lnTo>
                    <a:pt x="918" y="2134"/>
                  </a:lnTo>
                  <a:lnTo>
                    <a:pt x="912" y="2134"/>
                  </a:lnTo>
                  <a:lnTo>
                    <a:pt x="906" y="2130"/>
                  </a:lnTo>
                  <a:lnTo>
                    <a:pt x="900" y="2130"/>
                  </a:lnTo>
                  <a:lnTo>
                    <a:pt x="896" y="2130"/>
                  </a:lnTo>
                  <a:lnTo>
                    <a:pt x="888" y="2126"/>
                  </a:lnTo>
                  <a:lnTo>
                    <a:pt x="884" y="2122"/>
                  </a:lnTo>
                  <a:lnTo>
                    <a:pt x="876" y="2120"/>
                  </a:lnTo>
                  <a:lnTo>
                    <a:pt x="870" y="2122"/>
                  </a:lnTo>
                  <a:lnTo>
                    <a:pt x="866" y="2122"/>
                  </a:lnTo>
                  <a:lnTo>
                    <a:pt x="858" y="2118"/>
                  </a:lnTo>
                  <a:lnTo>
                    <a:pt x="854" y="2118"/>
                  </a:lnTo>
                  <a:lnTo>
                    <a:pt x="848" y="2118"/>
                  </a:lnTo>
                  <a:lnTo>
                    <a:pt x="842" y="2122"/>
                  </a:lnTo>
                  <a:lnTo>
                    <a:pt x="840" y="2128"/>
                  </a:lnTo>
                  <a:lnTo>
                    <a:pt x="840" y="2130"/>
                  </a:lnTo>
                  <a:lnTo>
                    <a:pt x="834" y="2126"/>
                  </a:lnTo>
                  <a:lnTo>
                    <a:pt x="830" y="2122"/>
                  </a:lnTo>
                  <a:lnTo>
                    <a:pt x="824" y="2118"/>
                  </a:lnTo>
                  <a:lnTo>
                    <a:pt x="818" y="2112"/>
                  </a:lnTo>
                  <a:lnTo>
                    <a:pt x="812" y="2108"/>
                  </a:lnTo>
                  <a:lnTo>
                    <a:pt x="806" y="2104"/>
                  </a:lnTo>
                  <a:lnTo>
                    <a:pt x="800" y="2098"/>
                  </a:lnTo>
                  <a:lnTo>
                    <a:pt x="794" y="2092"/>
                  </a:lnTo>
                  <a:lnTo>
                    <a:pt x="790" y="2090"/>
                  </a:lnTo>
                  <a:lnTo>
                    <a:pt x="784" y="2086"/>
                  </a:lnTo>
                  <a:lnTo>
                    <a:pt x="778" y="2080"/>
                  </a:lnTo>
                  <a:lnTo>
                    <a:pt x="772" y="2076"/>
                  </a:lnTo>
                  <a:lnTo>
                    <a:pt x="766" y="2072"/>
                  </a:lnTo>
                  <a:lnTo>
                    <a:pt x="760" y="2068"/>
                  </a:lnTo>
                  <a:lnTo>
                    <a:pt x="754" y="2066"/>
                  </a:lnTo>
                  <a:lnTo>
                    <a:pt x="748" y="2066"/>
                  </a:lnTo>
                  <a:lnTo>
                    <a:pt x="742" y="2064"/>
                  </a:lnTo>
                  <a:lnTo>
                    <a:pt x="736" y="2062"/>
                  </a:lnTo>
                  <a:lnTo>
                    <a:pt x="730" y="2062"/>
                  </a:lnTo>
                  <a:lnTo>
                    <a:pt x="726" y="2056"/>
                  </a:lnTo>
                  <a:lnTo>
                    <a:pt x="720" y="2050"/>
                  </a:lnTo>
                  <a:lnTo>
                    <a:pt x="714" y="2048"/>
                  </a:lnTo>
                  <a:lnTo>
                    <a:pt x="710" y="2042"/>
                  </a:lnTo>
                  <a:lnTo>
                    <a:pt x="706" y="2038"/>
                  </a:lnTo>
                  <a:lnTo>
                    <a:pt x="708" y="2044"/>
                  </a:lnTo>
                  <a:lnTo>
                    <a:pt x="702" y="2044"/>
                  </a:lnTo>
                  <a:lnTo>
                    <a:pt x="696" y="2042"/>
                  </a:lnTo>
                  <a:lnTo>
                    <a:pt x="690" y="2042"/>
                  </a:lnTo>
                  <a:lnTo>
                    <a:pt x="684" y="2038"/>
                  </a:lnTo>
                  <a:lnTo>
                    <a:pt x="680" y="2032"/>
                  </a:lnTo>
                  <a:lnTo>
                    <a:pt x="678" y="2028"/>
                  </a:lnTo>
                  <a:lnTo>
                    <a:pt x="672" y="2022"/>
                  </a:lnTo>
                  <a:lnTo>
                    <a:pt x="668" y="2020"/>
                  </a:lnTo>
                  <a:lnTo>
                    <a:pt x="662" y="2018"/>
                  </a:lnTo>
                  <a:lnTo>
                    <a:pt x="656" y="2016"/>
                  </a:lnTo>
                  <a:lnTo>
                    <a:pt x="650" y="2012"/>
                  </a:lnTo>
                  <a:lnTo>
                    <a:pt x="644" y="2014"/>
                  </a:lnTo>
                  <a:lnTo>
                    <a:pt x="638" y="2012"/>
                  </a:lnTo>
                  <a:lnTo>
                    <a:pt x="642" y="2006"/>
                  </a:lnTo>
                  <a:lnTo>
                    <a:pt x="648" y="2004"/>
                  </a:lnTo>
                  <a:lnTo>
                    <a:pt x="654" y="2002"/>
                  </a:lnTo>
                  <a:lnTo>
                    <a:pt x="646" y="2000"/>
                  </a:lnTo>
                  <a:lnTo>
                    <a:pt x="644" y="1994"/>
                  </a:lnTo>
                  <a:lnTo>
                    <a:pt x="638" y="1998"/>
                  </a:lnTo>
                  <a:lnTo>
                    <a:pt x="642" y="1992"/>
                  </a:lnTo>
                  <a:lnTo>
                    <a:pt x="644" y="1992"/>
                  </a:lnTo>
                  <a:lnTo>
                    <a:pt x="650" y="1990"/>
                  </a:lnTo>
                  <a:lnTo>
                    <a:pt x="656" y="1994"/>
                  </a:lnTo>
                  <a:lnTo>
                    <a:pt x="662" y="1996"/>
                  </a:lnTo>
                  <a:lnTo>
                    <a:pt x="664" y="1998"/>
                  </a:lnTo>
                  <a:lnTo>
                    <a:pt x="670" y="2002"/>
                  </a:lnTo>
                  <a:lnTo>
                    <a:pt x="666" y="1998"/>
                  </a:lnTo>
                  <a:lnTo>
                    <a:pt x="672" y="1998"/>
                  </a:lnTo>
                  <a:lnTo>
                    <a:pt x="676" y="1998"/>
                  </a:lnTo>
                  <a:lnTo>
                    <a:pt x="678" y="1998"/>
                  </a:lnTo>
                  <a:lnTo>
                    <a:pt x="684" y="1996"/>
                  </a:lnTo>
                  <a:lnTo>
                    <a:pt x="690" y="1998"/>
                  </a:lnTo>
                  <a:lnTo>
                    <a:pt x="696" y="2000"/>
                  </a:lnTo>
                  <a:lnTo>
                    <a:pt x="698" y="1994"/>
                  </a:lnTo>
                  <a:lnTo>
                    <a:pt x="694" y="1988"/>
                  </a:lnTo>
                  <a:lnTo>
                    <a:pt x="692" y="1982"/>
                  </a:lnTo>
                  <a:lnTo>
                    <a:pt x="690" y="1988"/>
                  </a:lnTo>
                  <a:lnTo>
                    <a:pt x="686" y="1982"/>
                  </a:lnTo>
                  <a:lnTo>
                    <a:pt x="686" y="1976"/>
                  </a:lnTo>
                  <a:lnTo>
                    <a:pt x="692" y="1978"/>
                  </a:lnTo>
                  <a:lnTo>
                    <a:pt x="694" y="1972"/>
                  </a:lnTo>
                  <a:lnTo>
                    <a:pt x="700" y="1966"/>
                  </a:lnTo>
                  <a:lnTo>
                    <a:pt x="700" y="1960"/>
                  </a:lnTo>
                  <a:lnTo>
                    <a:pt x="700" y="1954"/>
                  </a:lnTo>
                  <a:lnTo>
                    <a:pt x="706" y="1948"/>
                  </a:lnTo>
                  <a:lnTo>
                    <a:pt x="708" y="1954"/>
                  </a:lnTo>
                  <a:lnTo>
                    <a:pt x="708" y="1960"/>
                  </a:lnTo>
                  <a:lnTo>
                    <a:pt x="712" y="1954"/>
                  </a:lnTo>
                  <a:lnTo>
                    <a:pt x="714" y="1948"/>
                  </a:lnTo>
                  <a:lnTo>
                    <a:pt x="716" y="1944"/>
                  </a:lnTo>
                  <a:lnTo>
                    <a:pt x="722" y="1946"/>
                  </a:lnTo>
                  <a:lnTo>
                    <a:pt x="728" y="1950"/>
                  </a:lnTo>
                  <a:lnTo>
                    <a:pt x="734" y="1950"/>
                  </a:lnTo>
                  <a:lnTo>
                    <a:pt x="734" y="1944"/>
                  </a:lnTo>
                  <a:lnTo>
                    <a:pt x="726" y="1940"/>
                  </a:lnTo>
                  <a:lnTo>
                    <a:pt x="722" y="1938"/>
                  </a:lnTo>
                  <a:lnTo>
                    <a:pt x="716" y="1932"/>
                  </a:lnTo>
                  <a:lnTo>
                    <a:pt x="710" y="1928"/>
                  </a:lnTo>
                  <a:lnTo>
                    <a:pt x="704" y="1926"/>
                  </a:lnTo>
                  <a:lnTo>
                    <a:pt x="698" y="1926"/>
                  </a:lnTo>
                  <a:lnTo>
                    <a:pt x="692" y="1920"/>
                  </a:lnTo>
                  <a:lnTo>
                    <a:pt x="688" y="1914"/>
                  </a:lnTo>
                  <a:lnTo>
                    <a:pt x="686" y="1908"/>
                  </a:lnTo>
                  <a:lnTo>
                    <a:pt x="692" y="1910"/>
                  </a:lnTo>
                  <a:lnTo>
                    <a:pt x="698" y="1910"/>
                  </a:lnTo>
                  <a:lnTo>
                    <a:pt x="704" y="1908"/>
                  </a:lnTo>
                  <a:lnTo>
                    <a:pt x="710" y="1906"/>
                  </a:lnTo>
                  <a:lnTo>
                    <a:pt x="714" y="1904"/>
                  </a:lnTo>
                  <a:lnTo>
                    <a:pt x="720" y="1908"/>
                  </a:lnTo>
                  <a:lnTo>
                    <a:pt x="726" y="1908"/>
                  </a:lnTo>
                  <a:lnTo>
                    <a:pt x="726" y="1902"/>
                  </a:lnTo>
                  <a:lnTo>
                    <a:pt x="720" y="1902"/>
                  </a:lnTo>
                  <a:lnTo>
                    <a:pt x="720" y="1896"/>
                  </a:lnTo>
                  <a:lnTo>
                    <a:pt x="726" y="1894"/>
                  </a:lnTo>
                  <a:lnTo>
                    <a:pt x="732" y="1894"/>
                  </a:lnTo>
                  <a:lnTo>
                    <a:pt x="734" y="1894"/>
                  </a:lnTo>
                  <a:lnTo>
                    <a:pt x="740" y="1892"/>
                  </a:lnTo>
                  <a:lnTo>
                    <a:pt x="746" y="1888"/>
                  </a:lnTo>
                  <a:lnTo>
                    <a:pt x="752" y="1884"/>
                  </a:lnTo>
                  <a:lnTo>
                    <a:pt x="758" y="1884"/>
                  </a:lnTo>
                  <a:lnTo>
                    <a:pt x="764" y="1884"/>
                  </a:lnTo>
                  <a:lnTo>
                    <a:pt x="766" y="1878"/>
                  </a:lnTo>
                  <a:lnTo>
                    <a:pt x="770" y="1878"/>
                  </a:lnTo>
                  <a:lnTo>
                    <a:pt x="770" y="1876"/>
                  </a:lnTo>
                  <a:lnTo>
                    <a:pt x="764" y="1878"/>
                  </a:lnTo>
                  <a:lnTo>
                    <a:pt x="762" y="1876"/>
                  </a:lnTo>
                  <a:lnTo>
                    <a:pt x="762" y="1872"/>
                  </a:lnTo>
                  <a:lnTo>
                    <a:pt x="762" y="1870"/>
                  </a:lnTo>
                  <a:lnTo>
                    <a:pt x="762" y="1868"/>
                  </a:lnTo>
                  <a:lnTo>
                    <a:pt x="756" y="1866"/>
                  </a:lnTo>
                  <a:lnTo>
                    <a:pt x="750" y="1866"/>
                  </a:lnTo>
                  <a:lnTo>
                    <a:pt x="744" y="1872"/>
                  </a:lnTo>
                  <a:lnTo>
                    <a:pt x="738" y="1874"/>
                  </a:lnTo>
                  <a:lnTo>
                    <a:pt x="732" y="1874"/>
                  </a:lnTo>
                  <a:lnTo>
                    <a:pt x="726" y="1876"/>
                  </a:lnTo>
                  <a:lnTo>
                    <a:pt x="720" y="1876"/>
                  </a:lnTo>
                  <a:lnTo>
                    <a:pt x="722" y="1872"/>
                  </a:lnTo>
                  <a:lnTo>
                    <a:pt x="728" y="1868"/>
                  </a:lnTo>
                  <a:lnTo>
                    <a:pt x="736" y="1868"/>
                  </a:lnTo>
                  <a:lnTo>
                    <a:pt x="730" y="1868"/>
                  </a:lnTo>
                  <a:lnTo>
                    <a:pt x="724" y="1868"/>
                  </a:lnTo>
                  <a:lnTo>
                    <a:pt x="722" y="1872"/>
                  </a:lnTo>
                  <a:lnTo>
                    <a:pt x="716" y="1876"/>
                  </a:lnTo>
                  <a:lnTo>
                    <a:pt x="710" y="1876"/>
                  </a:lnTo>
                  <a:lnTo>
                    <a:pt x="708" y="1876"/>
                  </a:lnTo>
                  <a:lnTo>
                    <a:pt x="706" y="1876"/>
                  </a:lnTo>
                  <a:lnTo>
                    <a:pt x="706" y="1870"/>
                  </a:lnTo>
                  <a:lnTo>
                    <a:pt x="710" y="1864"/>
                  </a:lnTo>
                  <a:lnTo>
                    <a:pt x="704" y="1864"/>
                  </a:lnTo>
                  <a:lnTo>
                    <a:pt x="708" y="1858"/>
                  </a:lnTo>
                  <a:lnTo>
                    <a:pt x="706" y="1852"/>
                  </a:lnTo>
                  <a:lnTo>
                    <a:pt x="708" y="1846"/>
                  </a:lnTo>
                  <a:lnTo>
                    <a:pt x="714" y="1842"/>
                  </a:lnTo>
                  <a:lnTo>
                    <a:pt x="718" y="1842"/>
                  </a:lnTo>
                  <a:lnTo>
                    <a:pt x="724" y="1838"/>
                  </a:lnTo>
                  <a:lnTo>
                    <a:pt x="728" y="1838"/>
                  </a:lnTo>
                  <a:lnTo>
                    <a:pt x="730" y="1834"/>
                  </a:lnTo>
                  <a:lnTo>
                    <a:pt x="732" y="1828"/>
                  </a:lnTo>
                  <a:lnTo>
                    <a:pt x="738" y="1826"/>
                  </a:lnTo>
                  <a:lnTo>
                    <a:pt x="744" y="1826"/>
                  </a:lnTo>
                  <a:lnTo>
                    <a:pt x="748" y="1828"/>
                  </a:lnTo>
                  <a:lnTo>
                    <a:pt x="754" y="1826"/>
                  </a:lnTo>
                  <a:lnTo>
                    <a:pt x="760" y="1826"/>
                  </a:lnTo>
                  <a:lnTo>
                    <a:pt x="766" y="1828"/>
                  </a:lnTo>
                  <a:lnTo>
                    <a:pt x="772" y="1828"/>
                  </a:lnTo>
                  <a:lnTo>
                    <a:pt x="778" y="1828"/>
                  </a:lnTo>
                  <a:lnTo>
                    <a:pt x="782" y="1828"/>
                  </a:lnTo>
                  <a:lnTo>
                    <a:pt x="784" y="1828"/>
                  </a:lnTo>
                  <a:lnTo>
                    <a:pt x="784" y="1822"/>
                  </a:lnTo>
                  <a:lnTo>
                    <a:pt x="782" y="1816"/>
                  </a:lnTo>
                  <a:lnTo>
                    <a:pt x="786" y="1814"/>
                  </a:lnTo>
                  <a:lnTo>
                    <a:pt x="784" y="1812"/>
                  </a:lnTo>
                  <a:lnTo>
                    <a:pt x="786" y="1808"/>
                  </a:lnTo>
                  <a:lnTo>
                    <a:pt x="790" y="1802"/>
                  </a:lnTo>
                  <a:lnTo>
                    <a:pt x="790" y="1800"/>
                  </a:lnTo>
                  <a:lnTo>
                    <a:pt x="790" y="1796"/>
                  </a:lnTo>
                  <a:lnTo>
                    <a:pt x="788" y="1798"/>
                  </a:lnTo>
                  <a:lnTo>
                    <a:pt x="786" y="1798"/>
                  </a:lnTo>
                  <a:lnTo>
                    <a:pt x="784" y="1796"/>
                  </a:lnTo>
                  <a:lnTo>
                    <a:pt x="782" y="1796"/>
                  </a:lnTo>
                  <a:lnTo>
                    <a:pt x="786" y="1792"/>
                  </a:lnTo>
                  <a:lnTo>
                    <a:pt x="784" y="1790"/>
                  </a:lnTo>
                  <a:lnTo>
                    <a:pt x="782" y="1784"/>
                  </a:lnTo>
                  <a:lnTo>
                    <a:pt x="776" y="1778"/>
                  </a:lnTo>
                  <a:lnTo>
                    <a:pt x="770" y="1778"/>
                  </a:lnTo>
                  <a:lnTo>
                    <a:pt x="770" y="1774"/>
                  </a:lnTo>
                  <a:lnTo>
                    <a:pt x="770" y="1768"/>
                  </a:lnTo>
                  <a:lnTo>
                    <a:pt x="774" y="1762"/>
                  </a:lnTo>
                  <a:lnTo>
                    <a:pt x="780" y="1762"/>
                  </a:lnTo>
                  <a:lnTo>
                    <a:pt x="786" y="1764"/>
                  </a:lnTo>
                  <a:lnTo>
                    <a:pt x="784" y="1758"/>
                  </a:lnTo>
                  <a:lnTo>
                    <a:pt x="778" y="1758"/>
                  </a:lnTo>
                  <a:lnTo>
                    <a:pt x="772" y="1756"/>
                  </a:lnTo>
                  <a:lnTo>
                    <a:pt x="770" y="1752"/>
                  </a:lnTo>
                  <a:lnTo>
                    <a:pt x="768" y="1748"/>
                  </a:lnTo>
                  <a:lnTo>
                    <a:pt x="774" y="1746"/>
                  </a:lnTo>
                  <a:lnTo>
                    <a:pt x="780" y="1746"/>
                  </a:lnTo>
                  <a:lnTo>
                    <a:pt x="782" y="1740"/>
                  </a:lnTo>
                  <a:lnTo>
                    <a:pt x="786" y="1736"/>
                  </a:lnTo>
                  <a:lnTo>
                    <a:pt x="788" y="1730"/>
                  </a:lnTo>
                  <a:lnTo>
                    <a:pt x="786" y="1724"/>
                  </a:lnTo>
                  <a:lnTo>
                    <a:pt x="782" y="1720"/>
                  </a:lnTo>
                  <a:lnTo>
                    <a:pt x="780" y="1714"/>
                  </a:lnTo>
                  <a:lnTo>
                    <a:pt x="784" y="1710"/>
                  </a:lnTo>
                  <a:lnTo>
                    <a:pt x="782" y="1708"/>
                  </a:lnTo>
                  <a:lnTo>
                    <a:pt x="776" y="1708"/>
                  </a:lnTo>
                  <a:lnTo>
                    <a:pt x="772" y="1712"/>
                  </a:lnTo>
                  <a:lnTo>
                    <a:pt x="766" y="1712"/>
                  </a:lnTo>
                  <a:lnTo>
                    <a:pt x="760" y="1710"/>
                  </a:lnTo>
                  <a:lnTo>
                    <a:pt x="756" y="1706"/>
                  </a:lnTo>
                  <a:lnTo>
                    <a:pt x="752" y="1700"/>
                  </a:lnTo>
                  <a:lnTo>
                    <a:pt x="746" y="1698"/>
                  </a:lnTo>
                  <a:lnTo>
                    <a:pt x="740" y="1700"/>
                  </a:lnTo>
                  <a:lnTo>
                    <a:pt x="734" y="1696"/>
                  </a:lnTo>
                  <a:lnTo>
                    <a:pt x="730" y="1690"/>
                  </a:lnTo>
                  <a:lnTo>
                    <a:pt x="724" y="1694"/>
                  </a:lnTo>
                  <a:lnTo>
                    <a:pt x="718" y="1696"/>
                  </a:lnTo>
                  <a:lnTo>
                    <a:pt x="712" y="1690"/>
                  </a:lnTo>
                  <a:lnTo>
                    <a:pt x="706" y="1690"/>
                  </a:lnTo>
                  <a:lnTo>
                    <a:pt x="700" y="1686"/>
                  </a:lnTo>
                  <a:lnTo>
                    <a:pt x="694" y="1686"/>
                  </a:lnTo>
                  <a:lnTo>
                    <a:pt x="688" y="1684"/>
                  </a:lnTo>
                  <a:lnTo>
                    <a:pt x="684" y="1682"/>
                  </a:lnTo>
                  <a:lnTo>
                    <a:pt x="680" y="1678"/>
                  </a:lnTo>
                  <a:lnTo>
                    <a:pt x="676" y="1680"/>
                  </a:lnTo>
                  <a:lnTo>
                    <a:pt x="676" y="1682"/>
                  </a:lnTo>
                  <a:lnTo>
                    <a:pt x="670" y="1688"/>
                  </a:lnTo>
                  <a:lnTo>
                    <a:pt x="668" y="1690"/>
                  </a:lnTo>
                  <a:lnTo>
                    <a:pt x="664" y="1682"/>
                  </a:lnTo>
                  <a:lnTo>
                    <a:pt x="662" y="1680"/>
                  </a:lnTo>
                  <a:lnTo>
                    <a:pt x="656" y="1678"/>
                  </a:lnTo>
                  <a:lnTo>
                    <a:pt x="650" y="1676"/>
                  </a:lnTo>
                  <a:lnTo>
                    <a:pt x="646" y="1670"/>
                  </a:lnTo>
                  <a:lnTo>
                    <a:pt x="642" y="1664"/>
                  </a:lnTo>
                  <a:lnTo>
                    <a:pt x="638" y="1660"/>
                  </a:lnTo>
                  <a:lnTo>
                    <a:pt x="634" y="1654"/>
                  </a:lnTo>
                  <a:lnTo>
                    <a:pt x="628" y="1654"/>
                  </a:lnTo>
                  <a:lnTo>
                    <a:pt x="622" y="1658"/>
                  </a:lnTo>
                  <a:lnTo>
                    <a:pt x="616" y="1660"/>
                  </a:lnTo>
                  <a:lnTo>
                    <a:pt x="610" y="1660"/>
                  </a:lnTo>
                  <a:lnTo>
                    <a:pt x="606" y="1660"/>
                  </a:lnTo>
                  <a:lnTo>
                    <a:pt x="602" y="1660"/>
                  </a:lnTo>
                  <a:lnTo>
                    <a:pt x="600" y="1662"/>
                  </a:lnTo>
                  <a:lnTo>
                    <a:pt x="594" y="1664"/>
                  </a:lnTo>
                  <a:lnTo>
                    <a:pt x="588" y="1668"/>
                  </a:lnTo>
                  <a:lnTo>
                    <a:pt x="582" y="1662"/>
                  </a:lnTo>
                  <a:lnTo>
                    <a:pt x="576" y="1662"/>
                  </a:lnTo>
                  <a:lnTo>
                    <a:pt x="572" y="1664"/>
                  </a:lnTo>
                  <a:lnTo>
                    <a:pt x="568" y="1660"/>
                  </a:lnTo>
                  <a:lnTo>
                    <a:pt x="562" y="1654"/>
                  </a:lnTo>
                  <a:lnTo>
                    <a:pt x="556" y="1652"/>
                  </a:lnTo>
                  <a:lnTo>
                    <a:pt x="550" y="1654"/>
                  </a:lnTo>
                  <a:lnTo>
                    <a:pt x="548" y="1654"/>
                  </a:lnTo>
                  <a:lnTo>
                    <a:pt x="542" y="1658"/>
                  </a:lnTo>
                  <a:lnTo>
                    <a:pt x="540" y="1660"/>
                  </a:lnTo>
                  <a:lnTo>
                    <a:pt x="534" y="1656"/>
                  </a:lnTo>
                  <a:lnTo>
                    <a:pt x="534" y="1654"/>
                  </a:lnTo>
                  <a:lnTo>
                    <a:pt x="528" y="1650"/>
                  </a:lnTo>
                  <a:lnTo>
                    <a:pt x="524" y="1644"/>
                  </a:lnTo>
                  <a:lnTo>
                    <a:pt x="524" y="1638"/>
                  </a:lnTo>
                  <a:lnTo>
                    <a:pt x="524" y="1634"/>
                  </a:lnTo>
                  <a:lnTo>
                    <a:pt x="520" y="1628"/>
                  </a:lnTo>
                  <a:lnTo>
                    <a:pt x="518" y="1622"/>
                  </a:lnTo>
                  <a:lnTo>
                    <a:pt x="514" y="1618"/>
                  </a:lnTo>
                  <a:lnTo>
                    <a:pt x="516" y="1612"/>
                  </a:lnTo>
                  <a:lnTo>
                    <a:pt x="510" y="1612"/>
                  </a:lnTo>
                  <a:lnTo>
                    <a:pt x="504" y="1608"/>
                  </a:lnTo>
                  <a:lnTo>
                    <a:pt x="502" y="1604"/>
                  </a:lnTo>
                  <a:lnTo>
                    <a:pt x="496" y="1602"/>
                  </a:lnTo>
                  <a:lnTo>
                    <a:pt x="496" y="1600"/>
                  </a:lnTo>
                  <a:lnTo>
                    <a:pt x="492" y="1600"/>
                  </a:lnTo>
                  <a:lnTo>
                    <a:pt x="486" y="1604"/>
                  </a:lnTo>
                  <a:lnTo>
                    <a:pt x="480" y="1604"/>
                  </a:lnTo>
                  <a:lnTo>
                    <a:pt x="474" y="1600"/>
                  </a:lnTo>
                  <a:lnTo>
                    <a:pt x="468" y="1600"/>
                  </a:lnTo>
                  <a:lnTo>
                    <a:pt x="466" y="1600"/>
                  </a:lnTo>
                  <a:lnTo>
                    <a:pt x="460" y="1598"/>
                  </a:lnTo>
                  <a:lnTo>
                    <a:pt x="456" y="1600"/>
                  </a:lnTo>
                  <a:lnTo>
                    <a:pt x="454" y="1598"/>
                  </a:lnTo>
                  <a:lnTo>
                    <a:pt x="456" y="1596"/>
                  </a:lnTo>
                  <a:lnTo>
                    <a:pt x="456" y="1592"/>
                  </a:lnTo>
                  <a:lnTo>
                    <a:pt x="452" y="1588"/>
                  </a:lnTo>
                  <a:lnTo>
                    <a:pt x="452" y="1584"/>
                  </a:lnTo>
                  <a:lnTo>
                    <a:pt x="450" y="1578"/>
                  </a:lnTo>
                  <a:lnTo>
                    <a:pt x="444" y="1572"/>
                  </a:lnTo>
                  <a:lnTo>
                    <a:pt x="444" y="1570"/>
                  </a:lnTo>
                  <a:lnTo>
                    <a:pt x="448" y="1570"/>
                  </a:lnTo>
                  <a:lnTo>
                    <a:pt x="450" y="1570"/>
                  </a:lnTo>
                  <a:lnTo>
                    <a:pt x="456" y="1568"/>
                  </a:lnTo>
                  <a:lnTo>
                    <a:pt x="460" y="1566"/>
                  </a:lnTo>
                  <a:lnTo>
                    <a:pt x="456" y="1560"/>
                  </a:lnTo>
                  <a:lnTo>
                    <a:pt x="454" y="1558"/>
                  </a:lnTo>
                  <a:lnTo>
                    <a:pt x="452" y="1556"/>
                  </a:lnTo>
                  <a:lnTo>
                    <a:pt x="446" y="1552"/>
                  </a:lnTo>
                  <a:lnTo>
                    <a:pt x="438" y="1546"/>
                  </a:lnTo>
                  <a:lnTo>
                    <a:pt x="438" y="1542"/>
                  </a:lnTo>
                  <a:lnTo>
                    <a:pt x="434" y="1534"/>
                  </a:lnTo>
                  <a:lnTo>
                    <a:pt x="432" y="1534"/>
                  </a:lnTo>
                  <a:lnTo>
                    <a:pt x="426" y="1528"/>
                  </a:lnTo>
                  <a:lnTo>
                    <a:pt x="420" y="1524"/>
                  </a:lnTo>
                  <a:lnTo>
                    <a:pt x="414" y="1526"/>
                  </a:lnTo>
                  <a:lnTo>
                    <a:pt x="410" y="1530"/>
                  </a:lnTo>
                  <a:lnTo>
                    <a:pt x="406" y="1526"/>
                  </a:lnTo>
                  <a:lnTo>
                    <a:pt x="406" y="1524"/>
                  </a:lnTo>
                  <a:lnTo>
                    <a:pt x="404" y="1526"/>
                  </a:lnTo>
                  <a:lnTo>
                    <a:pt x="402" y="1526"/>
                  </a:lnTo>
                  <a:lnTo>
                    <a:pt x="398" y="1524"/>
                  </a:lnTo>
                  <a:lnTo>
                    <a:pt x="392" y="1524"/>
                  </a:lnTo>
                  <a:lnTo>
                    <a:pt x="388" y="1526"/>
                  </a:lnTo>
                  <a:lnTo>
                    <a:pt x="382" y="1528"/>
                  </a:lnTo>
                  <a:lnTo>
                    <a:pt x="376" y="1532"/>
                  </a:lnTo>
                  <a:lnTo>
                    <a:pt x="370" y="1532"/>
                  </a:lnTo>
                  <a:lnTo>
                    <a:pt x="364" y="1532"/>
                  </a:lnTo>
                  <a:lnTo>
                    <a:pt x="358" y="1528"/>
                  </a:lnTo>
                  <a:lnTo>
                    <a:pt x="354" y="1528"/>
                  </a:lnTo>
                  <a:lnTo>
                    <a:pt x="348" y="1528"/>
                  </a:lnTo>
                  <a:lnTo>
                    <a:pt x="348" y="1532"/>
                  </a:lnTo>
                  <a:lnTo>
                    <a:pt x="346" y="1534"/>
                  </a:lnTo>
                  <a:lnTo>
                    <a:pt x="346" y="1538"/>
                  </a:lnTo>
                  <a:lnTo>
                    <a:pt x="342" y="1544"/>
                  </a:lnTo>
                  <a:lnTo>
                    <a:pt x="336" y="1546"/>
                  </a:lnTo>
                  <a:lnTo>
                    <a:pt x="330" y="1546"/>
                  </a:lnTo>
                  <a:lnTo>
                    <a:pt x="324" y="1542"/>
                  </a:lnTo>
                  <a:lnTo>
                    <a:pt x="318" y="1542"/>
                  </a:lnTo>
                  <a:lnTo>
                    <a:pt x="314" y="1536"/>
                  </a:lnTo>
                  <a:lnTo>
                    <a:pt x="310" y="1530"/>
                  </a:lnTo>
                  <a:lnTo>
                    <a:pt x="308" y="1524"/>
                  </a:lnTo>
                  <a:lnTo>
                    <a:pt x="306" y="1520"/>
                  </a:lnTo>
                  <a:lnTo>
                    <a:pt x="306" y="1518"/>
                  </a:lnTo>
                  <a:lnTo>
                    <a:pt x="304" y="1514"/>
                  </a:lnTo>
                  <a:lnTo>
                    <a:pt x="302" y="1508"/>
                  </a:lnTo>
                  <a:lnTo>
                    <a:pt x="302" y="1502"/>
                  </a:lnTo>
                  <a:lnTo>
                    <a:pt x="302" y="1496"/>
                  </a:lnTo>
                  <a:lnTo>
                    <a:pt x="296" y="1492"/>
                  </a:lnTo>
                  <a:lnTo>
                    <a:pt x="290" y="1486"/>
                  </a:lnTo>
                  <a:lnTo>
                    <a:pt x="284" y="1480"/>
                  </a:lnTo>
                  <a:lnTo>
                    <a:pt x="288" y="1474"/>
                  </a:lnTo>
                  <a:lnTo>
                    <a:pt x="290" y="1470"/>
                  </a:lnTo>
                  <a:lnTo>
                    <a:pt x="296" y="1470"/>
                  </a:lnTo>
                  <a:lnTo>
                    <a:pt x="302" y="1468"/>
                  </a:lnTo>
                  <a:lnTo>
                    <a:pt x="308" y="1470"/>
                  </a:lnTo>
                  <a:lnTo>
                    <a:pt x="314" y="1474"/>
                  </a:lnTo>
                  <a:lnTo>
                    <a:pt x="320" y="1476"/>
                  </a:lnTo>
                  <a:lnTo>
                    <a:pt x="324" y="1478"/>
                  </a:lnTo>
                  <a:lnTo>
                    <a:pt x="332" y="1476"/>
                  </a:lnTo>
                  <a:lnTo>
                    <a:pt x="338" y="1474"/>
                  </a:lnTo>
                  <a:lnTo>
                    <a:pt x="338" y="1472"/>
                  </a:lnTo>
                  <a:lnTo>
                    <a:pt x="344" y="1468"/>
                  </a:lnTo>
                  <a:lnTo>
                    <a:pt x="346" y="1462"/>
                  </a:lnTo>
                  <a:lnTo>
                    <a:pt x="352" y="1460"/>
                  </a:lnTo>
                  <a:lnTo>
                    <a:pt x="356" y="1460"/>
                  </a:lnTo>
                  <a:lnTo>
                    <a:pt x="356" y="1454"/>
                  </a:lnTo>
                  <a:lnTo>
                    <a:pt x="352" y="1450"/>
                  </a:lnTo>
                  <a:lnTo>
                    <a:pt x="346" y="1448"/>
                  </a:lnTo>
                  <a:lnTo>
                    <a:pt x="342" y="1446"/>
                  </a:lnTo>
                  <a:lnTo>
                    <a:pt x="338" y="1440"/>
                  </a:lnTo>
                  <a:lnTo>
                    <a:pt x="338" y="1436"/>
                  </a:lnTo>
                  <a:lnTo>
                    <a:pt x="332" y="1432"/>
                  </a:lnTo>
                  <a:lnTo>
                    <a:pt x="328" y="1432"/>
                  </a:lnTo>
                  <a:lnTo>
                    <a:pt x="326" y="1432"/>
                  </a:lnTo>
                  <a:lnTo>
                    <a:pt x="320" y="1428"/>
                  </a:lnTo>
                  <a:lnTo>
                    <a:pt x="314" y="1430"/>
                  </a:lnTo>
                  <a:lnTo>
                    <a:pt x="308" y="1432"/>
                  </a:lnTo>
                  <a:lnTo>
                    <a:pt x="302" y="1430"/>
                  </a:lnTo>
                  <a:lnTo>
                    <a:pt x="304" y="1424"/>
                  </a:lnTo>
                  <a:lnTo>
                    <a:pt x="306" y="1418"/>
                  </a:lnTo>
                  <a:lnTo>
                    <a:pt x="306" y="1416"/>
                  </a:lnTo>
                  <a:lnTo>
                    <a:pt x="300" y="1412"/>
                  </a:lnTo>
                  <a:lnTo>
                    <a:pt x="298" y="1410"/>
                  </a:lnTo>
                  <a:lnTo>
                    <a:pt x="292" y="1408"/>
                  </a:lnTo>
                  <a:lnTo>
                    <a:pt x="286" y="1406"/>
                  </a:lnTo>
                  <a:lnTo>
                    <a:pt x="280" y="1402"/>
                  </a:lnTo>
                  <a:lnTo>
                    <a:pt x="274" y="1398"/>
                  </a:lnTo>
                  <a:lnTo>
                    <a:pt x="272" y="1392"/>
                  </a:lnTo>
                  <a:lnTo>
                    <a:pt x="268" y="1386"/>
                  </a:lnTo>
                  <a:lnTo>
                    <a:pt x="262" y="1380"/>
                  </a:lnTo>
                  <a:lnTo>
                    <a:pt x="262" y="1374"/>
                  </a:lnTo>
                  <a:lnTo>
                    <a:pt x="256" y="1372"/>
                  </a:lnTo>
                  <a:lnTo>
                    <a:pt x="254" y="1370"/>
                  </a:lnTo>
                  <a:lnTo>
                    <a:pt x="248" y="1366"/>
                  </a:lnTo>
                  <a:lnTo>
                    <a:pt x="244" y="1360"/>
                  </a:lnTo>
                  <a:lnTo>
                    <a:pt x="244" y="1354"/>
                  </a:lnTo>
                  <a:lnTo>
                    <a:pt x="250" y="1352"/>
                  </a:lnTo>
                  <a:lnTo>
                    <a:pt x="250" y="1350"/>
                  </a:lnTo>
                  <a:lnTo>
                    <a:pt x="252" y="1346"/>
                  </a:lnTo>
                  <a:lnTo>
                    <a:pt x="248" y="1340"/>
                  </a:lnTo>
                  <a:lnTo>
                    <a:pt x="242" y="1334"/>
                  </a:lnTo>
                  <a:lnTo>
                    <a:pt x="242" y="1328"/>
                  </a:lnTo>
                  <a:lnTo>
                    <a:pt x="244" y="1322"/>
                  </a:lnTo>
                  <a:lnTo>
                    <a:pt x="244" y="1320"/>
                  </a:lnTo>
                  <a:lnTo>
                    <a:pt x="244" y="1318"/>
                  </a:lnTo>
                  <a:lnTo>
                    <a:pt x="244" y="1312"/>
                  </a:lnTo>
                  <a:lnTo>
                    <a:pt x="240" y="1312"/>
                  </a:lnTo>
                  <a:lnTo>
                    <a:pt x="232" y="1310"/>
                  </a:lnTo>
                  <a:lnTo>
                    <a:pt x="228" y="1308"/>
                  </a:lnTo>
                  <a:lnTo>
                    <a:pt x="222" y="1302"/>
                  </a:lnTo>
                  <a:lnTo>
                    <a:pt x="220" y="1300"/>
                  </a:lnTo>
                  <a:lnTo>
                    <a:pt x="214" y="1298"/>
                  </a:lnTo>
                  <a:lnTo>
                    <a:pt x="212" y="1298"/>
                  </a:lnTo>
                  <a:lnTo>
                    <a:pt x="208" y="1296"/>
                  </a:lnTo>
                  <a:lnTo>
                    <a:pt x="204" y="1296"/>
                  </a:lnTo>
                  <a:lnTo>
                    <a:pt x="198" y="1296"/>
                  </a:lnTo>
                  <a:lnTo>
                    <a:pt x="194" y="1296"/>
                  </a:lnTo>
                  <a:lnTo>
                    <a:pt x="192" y="1296"/>
                  </a:lnTo>
                  <a:lnTo>
                    <a:pt x="186" y="1300"/>
                  </a:lnTo>
                  <a:lnTo>
                    <a:pt x="180" y="1300"/>
                  </a:lnTo>
                  <a:lnTo>
                    <a:pt x="174" y="1304"/>
                  </a:lnTo>
                  <a:lnTo>
                    <a:pt x="168" y="1306"/>
                  </a:lnTo>
                  <a:lnTo>
                    <a:pt x="164" y="1302"/>
                  </a:lnTo>
                  <a:lnTo>
                    <a:pt x="164" y="1296"/>
                  </a:lnTo>
                  <a:lnTo>
                    <a:pt x="164" y="1290"/>
                  </a:lnTo>
                  <a:lnTo>
                    <a:pt x="160" y="1288"/>
                  </a:lnTo>
                  <a:lnTo>
                    <a:pt x="154" y="1286"/>
                  </a:lnTo>
                  <a:lnTo>
                    <a:pt x="146" y="1284"/>
                  </a:lnTo>
                  <a:lnTo>
                    <a:pt x="142" y="1286"/>
                  </a:lnTo>
                  <a:lnTo>
                    <a:pt x="136" y="1288"/>
                  </a:lnTo>
                  <a:lnTo>
                    <a:pt x="130" y="1290"/>
                  </a:lnTo>
                  <a:lnTo>
                    <a:pt x="128" y="1288"/>
                  </a:lnTo>
                  <a:lnTo>
                    <a:pt x="124" y="1282"/>
                  </a:lnTo>
                  <a:lnTo>
                    <a:pt x="124" y="1280"/>
                  </a:lnTo>
                  <a:lnTo>
                    <a:pt x="118" y="1280"/>
                  </a:lnTo>
                  <a:lnTo>
                    <a:pt x="112" y="1280"/>
                  </a:lnTo>
                  <a:lnTo>
                    <a:pt x="108" y="1282"/>
                  </a:lnTo>
                  <a:lnTo>
                    <a:pt x="106" y="1282"/>
                  </a:lnTo>
                  <a:lnTo>
                    <a:pt x="100" y="1278"/>
                  </a:lnTo>
                  <a:lnTo>
                    <a:pt x="98" y="1276"/>
                  </a:lnTo>
                  <a:lnTo>
                    <a:pt x="100" y="1274"/>
                  </a:lnTo>
                  <a:lnTo>
                    <a:pt x="100" y="1268"/>
                  </a:lnTo>
                  <a:lnTo>
                    <a:pt x="98" y="1262"/>
                  </a:lnTo>
                  <a:lnTo>
                    <a:pt x="98" y="1260"/>
                  </a:lnTo>
                  <a:lnTo>
                    <a:pt x="96" y="1256"/>
                  </a:lnTo>
                  <a:lnTo>
                    <a:pt x="94" y="1250"/>
                  </a:lnTo>
                  <a:lnTo>
                    <a:pt x="88" y="1248"/>
                  </a:lnTo>
                  <a:lnTo>
                    <a:pt x="88" y="1246"/>
                  </a:lnTo>
                  <a:lnTo>
                    <a:pt x="86" y="1242"/>
                  </a:lnTo>
                  <a:lnTo>
                    <a:pt x="80" y="1238"/>
                  </a:lnTo>
                  <a:lnTo>
                    <a:pt x="82" y="1232"/>
                  </a:lnTo>
                  <a:lnTo>
                    <a:pt x="76" y="1230"/>
                  </a:lnTo>
                  <a:lnTo>
                    <a:pt x="72" y="1230"/>
                  </a:lnTo>
                  <a:lnTo>
                    <a:pt x="66" y="1230"/>
                  </a:lnTo>
                  <a:lnTo>
                    <a:pt x="70" y="1224"/>
                  </a:lnTo>
                  <a:lnTo>
                    <a:pt x="72" y="1218"/>
                  </a:lnTo>
                  <a:lnTo>
                    <a:pt x="70" y="1212"/>
                  </a:lnTo>
                  <a:lnTo>
                    <a:pt x="74" y="1212"/>
                  </a:lnTo>
                  <a:lnTo>
                    <a:pt x="74" y="1208"/>
                  </a:lnTo>
                  <a:lnTo>
                    <a:pt x="74" y="1202"/>
                  </a:lnTo>
                  <a:lnTo>
                    <a:pt x="68" y="1198"/>
                  </a:lnTo>
                  <a:lnTo>
                    <a:pt x="62" y="1196"/>
                  </a:lnTo>
                  <a:lnTo>
                    <a:pt x="56" y="1194"/>
                  </a:lnTo>
                  <a:lnTo>
                    <a:pt x="54" y="1188"/>
                  </a:lnTo>
                  <a:lnTo>
                    <a:pt x="48" y="1186"/>
                  </a:lnTo>
                  <a:lnTo>
                    <a:pt x="48" y="1180"/>
                  </a:lnTo>
                  <a:lnTo>
                    <a:pt x="48" y="1178"/>
                  </a:lnTo>
                  <a:lnTo>
                    <a:pt x="54" y="1174"/>
                  </a:lnTo>
                  <a:lnTo>
                    <a:pt x="58" y="1168"/>
                  </a:lnTo>
                  <a:lnTo>
                    <a:pt x="60" y="1168"/>
                  </a:lnTo>
                  <a:lnTo>
                    <a:pt x="62" y="1168"/>
                  </a:lnTo>
                  <a:lnTo>
                    <a:pt x="66" y="1164"/>
                  </a:lnTo>
                  <a:lnTo>
                    <a:pt x="62" y="1162"/>
                  </a:lnTo>
                  <a:lnTo>
                    <a:pt x="58" y="1156"/>
                  </a:lnTo>
                  <a:lnTo>
                    <a:pt x="60" y="1152"/>
                  </a:lnTo>
                  <a:lnTo>
                    <a:pt x="54" y="1150"/>
                  </a:lnTo>
                  <a:lnTo>
                    <a:pt x="48" y="1144"/>
                  </a:lnTo>
                  <a:lnTo>
                    <a:pt x="46" y="1138"/>
                  </a:lnTo>
                  <a:lnTo>
                    <a:pt x="50" y="1132"/>
                  </a:lnTo>
                  <a:lnTo>
                    <a:pt x="48" y="1126"/>
                  </a:lnTo>
                  <a:lnTo>
                    <a:pt x="46" y="1120"/>
                  </a:lnTo>
                  <a:lnTo>
                    <a:pt x="44" y="1114"/>
                  </a:lnTo>
                  <a:lnTo>
                    <a:pt x="40" y="1108"/>
                  </a:lnTo>
                  <a:lnTo>
                    <a:pt x="42" y="1102"/>
                  </a:lnTo>
                  <a:lnTo>
                    <a:pt x="48" y="1098"/>
                  </a:lnTo>
                  <a:lnTo>
                    <a:pt x="54" y="1094"/>
                  </a:lnTo>
                  <a:lnTo>
                    <a:pt x="58" y="1088"/>
                  </a:lnTo>
                  <a:lnTo>
                    <a:pt x="58" y="1082"/>
                  </a:lnTo>
                  <a:lnTo>
                    <a:pt x="60" y="1076"/>
                  </a:lnTo>
                  <a:lnTo>
                    <a:pt x="62" y="1074"/>
                  </a:lnTo>
                  <a:lnTo>
                    <a:pt x="68" y="1072"/>
                  </a:lnTo>
                  <a:lnTo>
                    <a:pt x="74" y="1070"/>
                  </a:lnTo>
                  <a:lnTo>
                    <a:pt x="74" y="1068"/>
                  </a:lnTo>
                  <a:lnTo>
                    <a:pt x="72" y="1068"/>
                  </a:lnTo>
                  <a:lnTo>
                    <a:pt x="66" y="1064"/>
                  </a:lnTo>
                  <a:lnTo>
                    <a:pt x="64" y="1062"/>
                  </a:lnTo>
                  <a:lnTo>
                    <a:pt x="66" y="1056"/>
                  </a:lnTo>
                  <a:lnTo>
                    <a:pt x="62" y="1050"/>
                  </a:lnTo>
                  <a:lnTo>
                    <a:pt x="62" y="1044"/>
                  </a:lnTo>
                  <a:lnTo>
                    <a:pt x="68" y="1044"/>
                  </a:lnTo>
                  <a:lnTo>
                    <a:pt x="72" y="1050"/>
                  </a:lnTo>
                  <a:lnTo>
                    <a:pt x="78" y="1050"/>
                  </a:lnTo>
                  <a:lnTo>
                    <a:pt x="82" y="1044"/>
                  </a:lnTo>
                  <a:lnTo>
                    <a:pt x="84" y="1038"/>
                  </a:lnTo>
                  <a:lnTo>
                    <a:pt x="90" y="1040"/>
                  </a:lnTo>
                  <a:lnTo>
                    <a:pt x="96" y="1042"/>
                  </a:lnTo>
                  <a:lnTo>
                    <a:pt x="104" y="1042"/>
                  </a:lnTo>
                  <a:lnTo>
                    <a:pt x="108" y="1040"/>
                  </a:lnTo>
                  <a:lnTo>
                    <a:pt x="110" y="1034"/>
                  </a:lnTo>
                  <a:lnTo>
                    <a:pt x="116" y="1028"/>
                  </a:lnTo>
                  <a:lnTo>
                    <a:pt x="120" y="1028"/>
                  </a:lnTo>
                  <a:lnTo>
                    <a:pt x="126" y="1030"/>
                  </a:lnTo>
                  <a:lnTo>
                    <a:pt x="132" y="1030"/>
                  </a:lnTo>
                  <a:lnTo>
                    <a:pt x="138" y="1032"/>
                  </a:lnTo>
                  <a:lnTo>
                    <a:pt x="144" y="1032"/>
                  </a:lnTo>
                  <a:lnTo>
                    <a:pt x="150" y="1034"/>
                  </a:lnTo>
                  <a:lnTo>
                    <a:pt x="156" y="1036"/>
                  </a:lnTo>
                  <a:lnTo>
                    <a:pt x="158" y="1036"/>
                  </a:lnTo>
                  <a:lnTo>
                    <a:pt x="164" y="1038"/>
                  </a:lnTo>
                  <a:lnTo>
                    <a:pt x="166" y="1038"/>
                  </a:lnTo>
                  <a:lnTo>
                    <a:pt x="168" y="1034"/>
                  </a:lnTo>
                  <a:lnTo>
                    <a:pt x="164" y="1028"/>
                  </a:lnTo>
                  <a:lnTo>
                    <a:pt x="158" y="1028"/>
                  </a:lnTo>
                  <a:lnTo>
                    <a:pt x="156" y="1028"/>
                  </a:lnTo>
                  <a:lnTo>
                    <a:pt x="150" y="1024"/>
                  </a:lnTo>
                  <a:lnTo>
                    <a:pt x="144" y="1018"/>
                  </a:lnTo>
                  <a:lnTo>
                    <a:pt x="138" y="1016"/>
                  </a:lnTo>
                  <a:lnTo>
                    <a:pt x="132" y="1016"/>
                  </a:lnTo>
                  <a:lnTo>
                    <a:pt x="126" y="1020"/>
                  </a:lnTo>
                  <a:lnTo>
                    <a:pt x="120" y="1018"/>
                  </a:lnTo>
                  <a:lnTo>
                    <a:pt x="112" y="1018"/>
                  </a:lnTo>
                  <a:lnTo>
                    <a:pt x="108" y="1018"/>
                  </a:lnTo>
                  <a:lnTo>
                    <a:pt x="102" y="1012"/>
                  </a:lnTo>
                  <a:lnTo>
                    <a:pt x="96" y="1006"/>
                  </a:lnTo>
                  <a:lnTo>
                    <a:pt x="90" y="1006"/>
                  </a:lnTo>
                  <a:lnTo>
                    <a:pt x="86" y="1006"/>
                  </a:lnTo>
                  <a:lnTo>
                    <a:pt x="82" y="1000"/>
                  </a:lnTo>
                  <a:lnTo>
                    <a:pt x="76" y="994"/>
                  </a:lnTo>
                  <a:lnTo>
                    <a:pt x="82" y="998"/>
                  </a:lnTo>
                  <a:lnTo>
                    <a:pt x="88" y="1000"/>
                  </a:lnTo>
                  <a:lnTo>
                    <a:pt x="86" y="994"/>
                  </a:lnTo>
                  <a:lnTo>
                    <a:pt x="86" y="988"/>
                  </a:lnTo>
                  <a:lnTo>
                    <a:pt x="88" y="986"/>
                  </a:lnTo>
                  <a:lnTo>
                    <a:pt x="86" y="982"/>
                  </a:lnTo>
                  <a:lnTo>
                    <a:pt x="78" y="986"/>
                  </a:lnTo>
                  <a:lnTo>
                    <a:pt x="74" y="988"/>
                  </a:lnTo>
                  <a:lnTo>
                    <a:pt x="66" y="992"/>
                  </a:lnTo>
                  <a:lnTo>
                    <a:pt x="62" y="996"/>
                  </a:lnTo>
                  <a:lnTo>
                    <a:pt x="54" y="996"/>
                  </a:lnTo>
                  <a:lnTo>
                    <a:pt x="50" y="994"/>
                  </a:lnTo>
                  <a:lnTo>
                    <a:pt x="44" y="994"/>
                  </a:lnTo>
                  <a:lnTo>
                    <a:pt x="48" y="992"/>
                  </a:lnTo>
                  <a:lnTo>
                    <a:pt x="54" y="988"/>
                  </a:lnTo>
                  <a:lnTo>
                    <a:pt x="60" y="982"/>
                  </a:lnTo>
                  <a:lnTo>
                    <a:pt x="62" y="980"/>
                  </a:lnTo>
                  <a:lnTo>
                    <a:pt x="68" y="974"/>
                  </a:lnTo>
                  <a:lnTo>
                    <a:pt x="70" y="974"/>
                  </a:lnTo>
                  <a:lnTo>
                    <a:pt x="76" y="970"/>
                  </a:lnTo>
                  <a:lnTo>
                    <a:pt x="78" y="968"/>
                  </a:lnTo>
                  <a:lnTo>
                    <a:pt x="84" y="964"/>
                  </a:lnTo>
                  <a:lnTo>
                    <a:pt x="90" y="960"/>
                  </a:lnTo>
                  <a:lnTo>
                    <a:pt x="92" y="958"/>
                  </a:lnTo>
                  <a:lnTo>
                    <a:pt x="98" y="954"/>
                  </a:lnTo>
                  <a:lnTo>
                    <a:pt x="104" y="952"/>
                  </a:lnTo>
                  <a:lnTo>
                    <a:pt x="110" y="948"/>
                  </a:lnTo>
                  <a:lnTo>
                    <a:pt x="114" y="944"/>
                  </a:lnTo>
                  <a:lnTo>
                    <a:pt x="120" y="938"/>
                  </a:lnTo>
                  <a:lnTo>
                    <a:pt x="120" y="936"/>
                  </a:lnTo>
                  <a:lnTo>
                    <a:pt x="122" y="936"/>
                  </a:lnTo>
                  <a:lnTo>
                    <a:pt x="124" y="934"/>
                  </a:lnTo>
                  <a:lnTo>
                    <a:pt x="130" y="930"/>
                  </a:lnTo>
                  <a:lnTo>
                    <a:pt x="134" y="924"/>
                  </a:lnTo>
                  <a:lnTo>
                    <a:pt x="140" y="920"/>
                  </a:lnTo>
                  <a:lnTo>
                    <a:pt x="142" y="918"/>
                  </a:lnTo>
                  <a:lnTo>
                    <a:pt x="146" y="912"/>
                  </a:lnTo>
                  <a:lnTo>
                    <a:pt x="150" y="910"/>
                  </a:lnTo>
                  <a:lnTo>
                    <a:pt x="156" y="904"/>
                  </a:lnTo>
                  <a:lnTo>
                    <a:pt x="160" y="900"/>
                  </a:lnTo>
                  <a:lnTo>
                    <a:pt x="166" y="894"/>
                  </a:lnTo>
                  <a:lnTo>
                    <a:pt x="170" y="890"/>
                  </a:lnTo>
                  <a:lnTo>
                    <a:pt x="176" y="886"/>
                  </a:lnTo>
                  <a:lnTo>
                    <a:pt x="182" y="880"/>
                  </a:lnTo>
                  <a:lnTo>
                    <a:pt x="188" y="876"/>
                  </a:lnTo>
                  <a:lnTo>
                    <a:pt x="194" y="870"/>
                  </a:lnTo>
                  <a:lnTo>
                    <a:pt x="196" y="864"/>
                  </a:lnTo>
                  <a:lnTo>
                    <a:pt x="198" y="858"/>
                  </a:lnTo>
                  <a:lnTo>
                    <a:pt x="200" y="852"/>
                  </a:lnTo>
                  <a:lnTo>
                    <a:pt x="204" y="846"/>
                  </a:lnTo>
                  <a:lnTo>
                    <a:pt x="200" y="842"/>
                  </a:lnTo>
                  <a:lnTo>
                    <a:pt x="194" y="838"/>
                  </a:lnTo>
                  <a:lnTo>
                    <a:pt x="188" y="834"/>
                  </a:lnTo>
                  <a:lnTo>
                    <a:pt x="184" y="828"/>
                  </a:lnTo>
                  <a:lnTo>
                    <a:pt x="178" y="826"/>
                  </a:lnTo>
                  <a:lnTo>
                    <a:pt x="172" y="822"/>
                  </a:lnTo>
                  <a:lnTo>
                    <a:pt x="166" y="818"/>
                  </a:lnTo>
                  <a:lnTo>
                    <a:pt x="160" y="816"/>
                  </a:lnTo>
                  <a:lnTo>
                    <a:pt x="154" y="814"/>
                  </a:lnTo>
                  <a:lnTo>
                    <a:pt x="148" y="812"/>
                  </a:lnTo>
                  <a:lnTo>
                    <a:pt x="142" y="808"/>
                  </a:lnTo>
                  <a:lnTo>
                    <a:pt x="136" y="806"/>
                  </a:lnTo>
                  <a:lnTo>
                    <a:pt x="134" y="804"/>
                  </a:lnTo>
                  <a:lnTo>
                    <a:pt x="128" y="800"/>
                  </a:lnTo>
                  <a:lnTo>
                    <a:pt x="122" y="796"/>
                  </a:lnTo>
                  <a:lnTo>
                    <a:pt x="124" y="794"/>
                  </a:lnTo>
                  <a:lnTo>
                    <a:pt x="130" y="792"/>
                  </a:lnTo>
                  <a:lnTo>
                    <a:pt x="136" y="786"/>
                  </a:lnTo>
                  <a:lnTo>
                    <a:pt x="142" y="782"/>
                  </a:lnTo>
                  <a:lnTo>
                    <a:pt x="146" y="776"/>
                  </a:lnTo>
                  <a:lnTo>
                    <a:pt x="144" y="770"/>
                  </a:lnTo>
                  <a:lnTo>
                    <a:pt x="142" y="764"/>
                  </a:lnTo>
                  <a:lnTo>
                    <a:pt x="136" y="762"/>
                  </a:lnTo>
                  <a:lnTo>
                    <a:pt x="130" y="758"/>
                  </a:lnTo>
                  <a:lnTo>
                    <a:pt x="124" y="758"/>
                  </a:lnTo>
                  <a:lnTo>
                    <a:pt x="118" y="754"/>
                  </a:lnTo>
                  <a:lnTo>
                    <a:pt x="114" y="748"/>
                  </a:lnTo>
                  <a:lnTo>
                    <a:pt x="112" y="744"/>
                  </a:lnTo>
                  <a:lnTo>
                    <a:pt x="114" y="742"/>
                  </a:lnTo>
                  <a:lnTo>
                    <a:pt x="122" y="738"/>
                  </a:lnTo>
                  <a:lnTo>
                    <a:pt x="116" y="732"/>
                  </a:lnTo>
                  <a:lnTo>
                    <a:pt x="112" y="730"/>
                  </a:lnTo>
                  <a:lnTo>
                    <a:pt x="106" y="732"/>
                  </a:lnTo>
                  <a:lnTo>
                    <a:pt x="100" y="730"/>
                  </a:lnTo>
                  <a:lnTo>
                    <a:pt x="94" y="724"/>
                  </a:lnTo>
                  <a:lnTo>
                    <a:pt x="92" y="718"/>
                  </a:lnTo>
                  <a:lnTo>
                    <a:pt x="96" y="712"/>
                  </a:lnTo>
                  <a:lnTo>
                    <a:pt x="102" y="710"/>
                  </a:lnTo>
                  <a:lnTo>
                    <a:pt x="96" y="704"/>
                  </a:lnTo>
                  <a:lnTo>
                    <a:pt x="92" y="704"/>
                  </a:lnTo>
                  <a:lnTo>
                    <a:pt x="90" y="700"/>
                  </a:lnTo>
                  <a:lnTo>
                    <a:pt x="94" y="694"/>
                  </a:lnTo>
                  <a:lnTo>
                    <a:pt x="92" y="688"/>
                  </a:lnTo>
                  <a:lnTo>
                    <a:pt x="96" y="682"/>
                  </a:lnTo>
                  <a:lnTo>
                    <a:pt x="90" y="680"/>
                  </a:lnTo>
                  <a:lnTo>
                    <a:pt x="96" y="678"/>
                  </a:lnTo>
                  <a:lnTo>
                    <a:pt x="102" y="676"/>
                  </a:lnTo>
                  <a:lnTo>
                    <a:pt x="108" y="676"/>
                  </a:lnTo>
                  <a:lnTo>
                    <a:pt x="106" y="670"/>
                  </a:lnTo>
                  <a:lnTo>
                    <a:pt x="104" y="666"/>
                  </a:lnTo>
                  <a:lnTo>
                    <a:pt x="100" y="660"/>
                  </a:lnTo>
                  <a:lnTo>
                    <a:pt x="98" y="660"/>
                  </a:lnTo>
                  <a:lnTo>
                    <a:pt x="96" y="654"/>
                  </a:lnTo>
                  <a:lnTo>
                    <a:pt x="90" y="648"/>
                  </a:lnTo>
                  <a:lnTo>
                    <a:pt x="84" y="642"/>
                  </a:lnTo>
                  <a:lnTo>
                    <a:pt x="78" y="636"/>
                  </a:lnTo>
                  <a:lnTo>
                    <a:pt x="74" y="630"/>
                  </a:lnTo>
                  <a:lnTo>
                    <a:pt x="70" y="626"/>
                  </a:lnTo>
                  <a:lnTo>
                    <a:pt x="66" y="620"/>
                  </a:lnTo>
                  <a:lnTo>
                    <a:pt x="62" y="616"/>
                  </a:lnTo>
                  <a:lnTo>
                    <a:pt x="56" y="612"/>
                  </a:lnTo>
                  <a:lnTo>
                    <a:pt x="50" y="606"/>
                  </a:lnTo>
                  <a:lnTo>
                    <a:pt x="48" y="600"/>
                  </a:lnTo>
                  <a:lnTo>
                    <a:pt x="50" y="596"/>
                  </a:lnTo>
                  <a:lnTo>
                    <a:pt x="56" y="590"/>
                  </a:lnTo>
                  <a:lnTo>
                    <a:pt x="62" y="584"/>
                  </a:lnTo>
                  <a:lnTo>
                    <a:pt x="66" y="578"/>
                  </a:lnTo>
                  <a:lnTo>
                    <a:pt x="72" y="574"/>
                  </a:lnTo>
                  <a:lnTo>
                    <a:pt x="78" y="570"/>
                  </a:lnTo>
                  <a:lnTo>
                    <a:pt x="82" y="564"/>
                  </a:lnTo>
                  <a:lnTo>
                    <a:pt x="82" y="558"/>
                  </a:lnTo>
                  <a:lnTo>
                    <a:pt x="82" y="556"/>
                  </a:lnTo>
                  <a:lnTo>
                    <a:pt x="78" y="554"/>
                  </a:lnTo>
                  <a:lnTo>
                    <a:pt x="72" y="552"/>
                  </a:lnTo>
                  <a:lnTo>
                    <a:pt x="66" y="548"/>
                  </a:lnTo>
                  <a:lnTo>
                    <a:pt x="60" y="542"/>
                  </a:lnTo>
                  <a:lnTo>
                    <a:pt x="52" y="536"/>
                  </a:lnTo>
                  <a:lnTo>
                    <a:pt x="46" y="534"/>
                  </a:lnTo>
                  <a:lnTo>
                    <a:pt x="40" y="532"/>
                  </a:lnTo>
                  <a:lnTo>
                    <a:pt x="34" y="530"/>
                  </a:lnTo>
                  <a:lnTo>
                    <a:pt x="28" y="528"/>
                  </a:lnTo>
                  <a:lnTo>
                    <a:pt x="24" y="528"/>
                  </a:lnTo>
                  <a:lnTo>
                    <a:pt x="16" y="522"/>
                  </a:lnTo>
                  <a:lnTo>
                    <a:pt x="12" y="516"/>
                  </a:lnTo>
                  <a:lnTo>
                    <a:pt x="6" y="510"/>
                  </a:lnTo>
                  <a:lnTo>
                    <a:pt x="6" y="508"/>
                  </a:lnTo>
                  <a:lnTo>
                    <a:pt x="6" y="504"/>
                  </a:lnTo>
                  <a:lnTo>
                    <a:pt x="12" y="498"/>
                  </a:lnTo>
                  <a:lnTo>
                    <a:pt x="16" y="492"/>
                  </a:lnTo>
                  <a:lnTo>
                    <a:pt x="12" y="486"/>
                  </a:lnTo>
                  <a:lnTo>
                    <a:pt x="6" y="486"/>
                  </a:lnTo>
                  <a:lnTo>
                    <a:pt x="0" y="48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8" name="Freeform 105"/>
            <p:cNvSpPr>
              <a:spLocks/>
            </p:cNvSpPr>
            <p:nvPr/>
          </p:nvSpPr>
          <p:spPr bwMode="auto">
            <a:xfrm>
              <a:off x="5668963" y="3151188"/>
              <a:ext cx="319087" cy="257175"/>
            </a:xfrm>
            <a:custGeom>
              <a:avLst/>
              <a:gdLst>
                <a:gd name="T0" fmla="*/ 2147483647 w 784"/>
                <a:gd name="T1" fmla="*/ 2147483647 h 626"/>
                <a:gd name="T2" fmla="*/ 2147483647 w 784"/>
                <a:gd name="T3" fmla="*/ 2147483647 h 626"/>
                <a:gd name="T4" fmla="*/ 2147483647 w 784"/>
                <a:gd name="T5" fmla="*/ 2147483647 h 626"/>
                <a:gd name="T6" fmla="*/ 2147483647 w 784"/>
                <a:gd name="T7" fmla="*/ 2147483647 h 626"/>
                <a:gd name="T8" fmla="*/ 2147483647 w 784"/>
                <a:gd name="T9" fmla="*/ 2147483647 h 626"/>
                <a:gd name="T10" fmla="*/ 2147483647 w 784"/>
                <a:gd name="T11" fmla="*/ 2147483647 h 626"/>
                <a:gd name="T12" fmla="*/ 2147483647 w 784"/>
                <a:gd name="T13" fmla="*/ 2147483647 h 626"/>
                <a:gd name="T14" fmla="*/ 2147483647 w 784"/>
                <a:gd name="T15" fmla="*/ 2147483647 h 626"/>
                <a:gd name="T16" fmla="*/ 2147483647 w 784"/>
                <a:gd name="T17" fmla="*/ 2147483647 h 626"/>
                <a:gd name="T18" fmla="*/ 2147483647 w 784"/>
                <a:gd name="T19" fmla="*/ 2147483647 h 626"/>
                <a:gd name="T20" fmla="*/ 2147483647 w 784"/>
                <a:gd name="T21" fmla="*/ 2147483647 h 626"/>
                <a:gd name="T22" fmla="*/ 2147483647 w 784"/>
                <a:gd name="T23" fmla="*/ 2147483647 h 626"/>
                <a:gd name="T24" fmla="*/ 2147483647 w 784"/>
                <a:gd name="T25" fmla="*/ 2147483647 h 626"/>
                <a:gd name="T26" fmla="*/ 2147483647 w 784"/>
                <a:gd name="T27" fmla="*/ 2147483647 h 626"/>
                <a:gd name="T28" fmla="*/ 2147483647 w 784"/>
                <a:gd name="T29" fmla="*/ 2147483647 h 626"/>
                <a:gd name="T30" fmla="*/ 2147483647 w 784"/>
                <a:gd name="T31" fmla="*/ 2147483647 h 626"/>
                <a:gd name="T32" fmla="*/ 2147483647 w 784"/>
                <a:gd name="T33" fmla="*/ 2147483647 h 626"/>
                <a:gd name="T34" fmla="*/ 2147483647 w 784"/>
                <a:gd name="T35" fmla="*/ 2147483647 h 626"/>
                <a:gd name="T36" fmla="*/ 2147483647 w 784"/>
                <a:gd name="T37" fmla="*/ 2147483647 h 626"/>
                <a:gd name="T38" fmla="*/ 2147483647 w 784"/>
                <a:gd name="T39" fmla="*/ 2147483647 h 626"/>
                <a:gd name="T40" fmla="*/ 2147483647 w 784"/>
                <a:gd name="T41" fmla="*/ 2147483647 h 626"/>
                <a:gd name="T42" fmla="*/ 2147483647 w 784"/>
                <a:gd name="T43" fmla="*/ 2147483647 h 626"/>
                <a:gd name="T44" fmla="*/ 2147483647 w 784"/>
                <a:gd name="T45" fmla="*/ 2147483647 h 626"/>
                <a:gd name="T46" fmla="*/ 2147483647 w 784"/>
                <a:gd name="T47" fmla="*/ 2147483647 h 626"/>
                <a:gd name="T48" fmla="*/ 2147483647 w 784"/>
                <a:gd name="T49" fmla="*/ 2147483647 h 626"/>
                <a:gd name="T50" fmla="*/ 2147483647 w 784"/>
                <a:gd name="T51" fmla="*/ 2147483647 h 626"/>
                <a:gd name="T52" fmla="*/ 2147483647 w 784"/>
                <a:gd name="T53" fmla="*/ 2147483647 h 626"/>
                <a:gd name="T54" fmla="*/ 2147483647 w 784"/>
                <a:gd name="T55" fmla="*/ 2147483647 h 626"/>
                <a:gd name="T56" fmla="*/ 2147483647 w 784"/>
                <a:gd name="T57" fmla="*/ 2147483647 h 626"/>
                <a:gd name="T58" fmla="*/ 2147483647 w 784"/>
                <a:gd name="T59" fmla="*/ 2147483647 h 626"/>
                <a:gd name="T60" fmla="*/ 2147483647 w 784"/>
                <a:gd name="T61" fmla="*/ 2147483647 h 626"/>
                <a:gd name="T62" fmla="*/ 2147483647 w 784"/>
                <a:gd name="T63" fmla="*/ 2147483647 h 626"/>
                <a:gd name="T64" fmla="*/ 2147483647 w 784"/>
                <a:gd name="T65" fmla="*/ 2147483647 h 626"/>
                <a:gd name="T66" fmla="*/ 2147483647 w 784"/>
                <a:gd name="T67" fmla="*/ 2147483647 h 626"/>
                <a:gd name="T68" fmla="*/ 2147483647 w 784"/>
                <a:gd name="T69" fmla="*/ 2147483647 h 626"/>
                <a:gd name="T70" fmla="*/ 2147483647 w 784"/>
                <a:gd name="T71" fmla="*/ 2147483647 h 626"/>
                <a:gd name="T72" fmla="*/ 2147483647 w 784"/>
                <a:gd name="T73" fmla="*/ 2147483647 h 626"/>
                <a:gd name="T74" fmla="*/ 2147483647 w 784"/>
                <a:gd name="T75" fmla="*/ 2147483647 h 626"/>
                <a:gd name="T76" fmla="*/ 2147483647 w 784"/>
                <a:gd name="T77" fmla="*/ 2147483647 h 626"/>
                <a:gd name="T78" fmla="*/ 2147483647 w 784"/>
                <a:gd name="T79" fmla="*/ 2147483647 h 626"/>
                <a:gd name="T80" fmla="*/ 2147483647 w 784"/>
                <a:gd name="T81" fmla="*/ 2147483647 h 626"/>
                <a:gd name="T82" fmla="*/ 2147483647 w 784"/>
                <a:gd name="T83" fmla="*/ 2147483647 h 626"/>
                <a:gd name="T84" fmla="*/ 2147483647 w 784"/>
                <a:gd name="T85" fmla="*/ 2147483647 h 626"/>
                <a:gd name="T86" fmla="*/ 2147483647 w 784"/>
                <a:gd name="T87" fmla="*/ 2147483647 h 626"/>
                <a:gd name="T88" fmla="*/ 2147483647 w 784"/>
                <a:gd name="T89" fmla="*/ 2147483647 h 626"/>
                <a:gd name="T90" fmla="*/ 2147483647 w 784"/>
                <a:gd name="T91" fmla="*/ 2147483647 h 626"/>
                <a:gd name="T92" fmla="*/ 2147483647 w 784"/>
                <a:gd name="T93" fmla="*/ 2147483647 h 626"/>
                <a:gd name="T94" fmla="*/ 2147483647 w 784"/>
                <a:gd name="T95" fmla="*/ 2147483647 h 626"/>
                <a:gd name="T96" fmla="*/ 2147483647 w 784"/>
                <a:gd name="T97" fmla="*/ 2147483647 h 626"/>
                <a:gd name="T98" fmla="*/ 2147483647 w 784"/>
                <a:gd name="T99" fmla="*/ 2147483647 h 626"/>
                <a:gd name="T100" fmla="*/ 2147483647 w 784"/>
                <a:gd name="T101" fmla="*/ 2147483647 h 626"/>
                <a:gd name="T102" fmla="*/ 2147483647 w 784"/>
                <a:gd name="T103" fmla="*/ 2147483647 h 626"/>
                <a:gd name="T104" fmla="*/ 2147483647 w 784"/>
                <a:gd name="T105" fmla="*/ 2147483647 h 626"/>
                <a:gd name="T106" fmla="*/ 2147483647 w 784"/>
                <a:gd name="T107" fmla="*/ 2147483647 h 626"/>
                <a:gd name="T108" fmla="*/ 2147483647 w 784"/>
                <a:gd name="T109" fmla="*/ 2147483647 h 626"/>
                <a:gd name="T110" fmla="*/ 2147483647 w 784"/>
                <a:gd name="T111" fmla="*/ 2147483647 h 626"/>
                <a:gd name="T112" fmla="*/ 2147483647 w 784"/>
                <a:gd name="T113" fmla="*/ 2147483647 h 6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4"/>
                <a:gd name="T172" fmla="*/ 0 h 626"/>
                <a:gd name="T173" fmla="*/ 784 w 784"/>
                <a:gd name="T174" fmla="*/ 626 h 6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4" h="626">
                  <a:moveTo>
                    <a:pt x="0" y="304"/>
                  </a:moveTo>
                  <a:lnTo>
                    <a:pt x="0" y="302"/>
                  </a:lnTo>
                  <a:lnTo>
                    <a:pt x="0" y="296"/>
                  </a:lnTo>
                  <a:lnTo>
                    <a:pt x="4" y="290"/>
                  </a:lnTo>
                  <a:lnTo>
                    <a:pt x="10" y="286"/>
                  </a:lnTo>
                  <a:lnTo>
                    <a:pt x="16" y="282"/>
                  </a:lnTo>
                  <a:lnTo>
                    <a:pt x="12" y="276"/>
                  </a:lnTo>
                  <a:lnTo>
                    <a:pt x="8" y="270"/>
                  </a:lnTo>
                  <a:lnTo>
                    <a:pt x="14" y="268"/>
                  </a:lnTo>
                  <a:lnTo>
                    <a:pt x="20" y="264"/>
                  </a:lnTo>
                  <a:lnTo>
                    <a:pt x="20" y="258"/>
                  </a:lnTo>
                  <a:lnTo>
                    <a:pt x="24" y="252"/>
                  </a:lnTo>
                  <a:lnTo>
                    <a:pt x="22" y="246"/>
                  </a:lnTo>
                  <a:lnTo>
                    <a:pt x="24" y="240"/>
                  </a:lnTo>
                  <a:lnTo>
                    <a:pt x="24" y="234"/>
                  </a:lnTo>
                  <a:lnTo>
                    <a:pt x="22" y="228"/>
                  </a:lnTo>
                  <a:lnTo>
                    <a:pt x="20" y="220"/>
                  </a:lnTo>
                  <a:lnTo>
                    <a:pt x="24" y="216"/>
                  </a:lnTo>
                  <a:lnTo>
                    <a:pt x="26" y="208"/>
                  </a:lnTo>
                  <a:lnTo>
                    <a:pt x="28" y="204"/>
                  </a:lnTo>
                  <a:lnTo>
                    <a:pt x="26" y="198"/>
                  </a:lnTo>
                  <a:lnTo>
                    <a:pt x="32" y="196"/>
                  </a:lnTo>
                  <a:lnTo>
                    <a:pt x="36" y="200"/>
                  </a:lnTo>
                  <a:lnTo>
                    <a:pt x="42" y="204"/>
                  </a:lnTo>
                  <a:lnTo>
                    <a:pt x="48" y="208"/>
                  </a:lnTo>
                  <a:lnTo>
                    <a:pt x="54" y="210"/>
                  </a:lnTo>
                  <a:lnTo>
                    <a:pt x="60" y="210"/>
                  </a:lnTo>
                  <a:lnTo>
                    <a:pt x="66" y="208"/>
                  </a:lnTo>
                  <a:lnTo>
                    <a:pt x="72" y="208"/>
                  </a:lnTo>
                  <a:lnTo>
                    <a:pt x="76" y="212"/>
                  </a:lnTo>
                  <a:lnTo>
                    <a:pt x="78" y="214"/>
                  </a:lnTo>
                  <a:lnTo>
                    <a:pt x="84" y="216"/>
                  </a:lnTo>
                  <a:lnTo>
                    <a:pt x="88" y="220"/>
                  </a:lnTo>
                  <a:lnTo>
                    <a:pt x="88" y="222"/>
                  </a:lnTo>
                  <a:lnTo>
                    <a:pt x="90" y="228"/>
                  </a:lnTo>
                  <a:lnTo>
                    <a:pt x="90" y="230"/>
                  </a:lnTo>
                  <a:lnTo>
                    <a:pt x="94" y="224"/>
                  </a:lnTo>
                  <a:lnTo>
                    <a:pt x="102" y="220"/>
                  </a:lnTo>
                  <a:lnTo>
                    <a:pt x="108" y="222"/>
                  </a:lnTo>
                  <a:lnTo>
                    <a:pt x="114" y="222"/>
                  </a:lnTo>
                  <a:lnTo>
                    <a:pt x="120" y="216"/>
                  </a:lnTo>
                  <a:lnTo>
                    <a:pt x="124" y="212"/>
                  </a:lnTo>
                  <a:lnTo>
                    <a:pt x="132" y="210"/>
                  </a:lnTo>
                  <a:lnTo>
                    <a:pt x="134" y="204"/>
                  </a:lnTo>
                  <a:lnTo>
                    <a:pt x="132" y="198"/>
                  </a:lnTo>
                  <a:lnTo>
                    <a:pt x="136" y="192"/>
                  </a:lnTo>
                  <a:lnTo>
                    <a:pt x="138" y="192"/>
                  </a:lnTo>
                  <a:lnTo>
                    <a:pt x="132" y="186"/>
                  </a:lnTo>
                  <a:lnTo>
                    <a:pt x="128" y="180"/>
                  </a:lnTo>
                  <a:lnTo>
                    <a:pt x="134" y="180"/>
                  </a:lnTo>
                  <a:lnTo>
                    <a:pt x="142" y="180"/>
                  </a:lnTo>
                  <a:lnTo>
                    <a:pt x="146" y="178"/>
                  </a:lnTo>
                  <a:lnTo>
                    <a:pt x="152" y="176"/>
                  </a:lnTo>
                  <a:lnTo>
                    <a:pt x="158" y="172"/>
                  </a:lnTo>
                  <a:lnTo>
                    <a:pt x="164" y="172"/>
                  </a:lnTo>
                  <a:lnTo>
                    <a:pt x="170" y="168"/>
                  </a:lnTo>
                  <a:lnTo>
                    <a:pt x="176" y="168"/>
                  </a:lnTo>
                  <a:lnTo>
                    <a:pt x="182" y="162"/>
                  </a:lnTo>
                  <a:lnTo>
                    <a:pt x="188" y="158"/>
                  </a:lnTo>
                  <a:lnTo>
                    <a:pt x="194" y="156"/>
                  </a:lnTo>
                  <a:lnTo>
                    <a:pt x="200" y="154"/>
                  </a:lnTo>
                  <a:lnTo>
                    <a:pt x="204" y="148"/>
                  </a:lnTo>
                  <a:lnTo>
                    <a:pt x="208" y="140"/>
                  </a:lnTo>
                  <a:lnTo>
                    <a:pt x="208" y="136"/>
                  </a:lnTo>
                  <a:lnTo>
                    <a:pt x="204" y="130"/>
                  </a:lnTo>
                  <a:lnTo>
                    <a:pt x="204" y="124"/>
                  </a:lnTo>
                  <a:lnTo>
                    <a:pt x="208" y="118"/>
                  </a:lnTo>
                  <a:lnTo>
                    <a:pt x="208" y="112"/>
                  </a:lnTo>
                  <a:lnTo>
                    <a:pt x="210" y="106"/>
                  </a:lnTo>
                  <a:lnTo>
                    <a:pt x="208" y="100"/>
                  </a:lnTo>
                  <a:lnTo>
                    <a:pt x="208" y="94"/>
                  </a:lnTo>
                  <a:lnTo>
                    <a:pt x="214" y="90"/>
                  </a:lnTo>
                  <a:lnTo>
                    <a:pt x="218" y="86"/>
                  </a:lnTo>
                  <a:lnTo>
                    <a:pt x="224" y="84"/>
                  </a:lnTo>
                  <a:lnTo>
                    <a:pt x="230" y="86"/>
                  </a:lnTo>
                  <a:lnTo>
                    <a:pt x="236" y="84"/>
                  </a:lnTo>
                  <a:lnTo>
                    <a:pt x="242" y="84"/>
                  </a:lnTo>
                  <a:lnTo>
                    <a:pt x="248" y="84"/>
                  </a:lnTo>
                  <a:lnTo>
                    <a:pt x="252" y="80"/>
                  </a:lnTo>
                  <a:lnTo>
                    <a:pt x="252" y="74"/>
                  </a:lnTo>
                  <a:lnTo>
                    <a:pt x="252" y="68"/>
                  </a:lnTo>
                  <a:lnTo>
                    <a:pt x="258" y="62"/>
                  </a:lnTo>
                  <a:lnTo>
                    <a:pt x="260" y="64"/>
                  </a:lnTo>
                  <a:lnTo>
                    <a:pt x="266" y="68"/>
                  </a:lnTo>
                  <a:lnTo>
                    <a:pt x="272" y="70"/>
                  </a:lnTo>
                  <a:lnTo>
                    <a:pt x="278" y="72"/>
                  </a:lnTo>
                  <a:lnTo>
                    <a:pt x="284" y="76"/>
                  </a:lnTo>
                  <a:lnTo>
                    <a:pt x="290" y="78"/>
                  </a:lnTo>
                  <a:lnTo>
                    <a:pt x="296" y="78"/>
                  </a:lnTo>
                  <a:lnTo>
                    <a:pt x="302" y="78"/>
                  </a:lnTo>
                  <a:lnTo>
                    <a:pt x="302" y="76"/>
                  </a:lnTo>
                  <a:lnTo>
                    <a:pt x="304" y="76"/>
                  </a:lnTo>
                  <a:lnTo>
                    <a:pt x="306" y="76"/>
                  </a:lnTo>
                  <a:lnTo>
                    <a:pt x="312" y="78"/>
                  </a:lnTo>
                  <a:lnTo>
                    <a:pt x="318" y="76"/>
                  </a:lnTo>
                  <a:lnTo>
                    <a:pt x="324" y="76"/>
                  </a:lnTo>
                  <a:lnTo>
                    <a:pt x="330" y="74"/>
                  </a:lnTo>
                  <a:lnTo>
                    <a:pt x="336" y="76"/>
                  </a:lnTo>
                  <a:lnTo>
                    <a:pt x="342" y="82"/>
                  </a:lnTo>
                  <a:lnTo>
                    <a:pt x="348" y="88"/>
                  </a:lnTo>
                  <a:lnTo>
                    <a:pt x="350" y="88"/>
                  </a:lnTo>
                  <a:lnTo>
                    <a:pt x="356" y="86"/>
                  </a:lnTo>
                  <a:lnTo>
                    <a:pt x="362" y="82"/>
                  </a:lnTo>
                  <a:lnTo>
                    <a:pt x="368" y="84"/>
                  </a:lnTo>
                  <a:lnTo>
                    <a:pt x="374" y="86"/>
                  </a:lnTo>
                  <a:lnTo>
                    <a:pt x="378" y="88"/>
                  </a:lnTo>
                  <a:lnTo>
                    <a:pt x="378" y="94"/>
                  </a:lnTo>
                  <a:lnTo>
                    <a:pt x="384" y="96"/>
                  </a:lnTo>
                  <a:lnTo>
                    <a:pt x="390" y="102"/>
                  </a:lnTo>
                  <a:lnTo>
                    <a:pt x="392" y="104"/>
                  </a:lnTo>
                  <a:lnTo>
                    <a:pt x="396" y="106"/>
                  </a:lnTo>
                  <a:lnTo>
                    <a:pt x="398" y="106"/>
                  </a:lnTo>
                  <a:lnTo>
                    <a:pt x="404" y="100"/>
                  </a:lnTo>
                  <a:lnTo>
                    <a:pt x="408" y="100"/>
                  </a:lnTo>
                  <a:lnTo>
                    <a:pt x="408" y="94"/>
                  </a:lnTo>
                  <a:lnTo>
                    <a:pt x="416" y="94"/>
                  </a:lnTo>
                  <a:lnTo>
                    <a:pt x="420" y="90"/>
                  </a:lnTo>
                  <a:lnTo>
                    <a:pt x="424" y="88"/>
                  </a:lnTo>
                  <a:lnTo>
                    <a:pt x="430" y="82"/>
                  </a:lnTo>
                  <a:lnTo>
                    <a:pt x="436" y="84"/>
                  </a:lnTo>
                  <a:lnTo>
                    <a:pt x="438" y="78"/>
                  </a:lnTo>
                  <a:lnTo>
                    <a:pt x="444" y="80"/>
                  </a:lnTo>
                  <a:lnTo>
                    <a:pt x="450" y="86"/>
                  </a:lnTo>
                  <a:lnTo>
                    <a:pt x="456" y="90"/>
                  </a:lnTo>
                  <a:lnTo>
                    <a:pt x="462" y="94"/>
                  </a:lnTo>
                  <a:lnTo>
                    <a:pt x="468" y="90"/>
                  </a:lnTo>
                  <a:lnTo>
                    <a:pt x="470" y="90"/>
                  </a:lnTo>
                  <a:lnTo>
                    <a:pt x="472" y="88"/>
                  </a:lnTo>
                  <a:lnTo>
                    <a:pt x="470" y="82"/>
                  </a:lnTo>
                  <a:lnTo>
                    <a:pt x="466" y="76"/>
                  </a:lnTo>
                  <a:lnTo>
                    <a:pt x="466" y="70"/>
                  </a:lnTo>
                  <a:lnTo>
                    <a:pt x="470" y="64"/>
                  </a:lnTo>
                  <a:lnTo>
                    <a:pt x="476" y="62"/>
                  </a:lnTo>
                  <a:lnTo>
                    <a:pt x="480" y="62"/>
                  </a:lnTo>
                  <a:lnTo>
                    <a:pt x="486" y="60"/>
                  </a:lnTo>
                  <a:lnTo>
                    <a:pt x="492" y="58"/>
                  </a:lnTo>
                  <a:lnTo>
                    <a:pt x="498" y="62"/>
                  </a:lnTo>
                  <a:lnTo>
                    <a:pt x="502" y="64"/>
                  </a:lnTo>
                  <a:lnTo>
                    <a:pt x="508" y="64"/>
                  </a:lnTo>
                  <a:lnTo>
                    <a:pt x="512" y="58"/>
                  </a:lnTo>
                  <a:lnTo>
                    <a:pt x="512" y="52"/>
                  </a:lnTo>
                  <a:lnTo>
                    <a:pt x="510" y="48"/>
                  </a:lnTo>
                  <a:lnTo>
                    <a:pt x="504" y="42"/>
                  </a:lnTo>
                  <a:lnTo>
                    <a:pt x="504" y="36"/>
                  </a:lnTo>
                  <a:lnTo>
                    <a:pt x="510" y="32"/>
                  </a:lnTo>
                  <a:lnTo>
                    <a:pt x="512" y="28"/>
                  </a:lnTo>
                  <a:lnTo>
                    <a:pt x="518" y="22"/>
                  </a:lnTo>
                  <a:lnTo>
                    <a:pt x="518" y="16"/>
                  </a:lnTo>
                  <a:lnTo>
                    <a:pt x="520" y="10"/>
                  </a:lnTo>
                  <a:lnTo>
                    <a:pt x="524" y="4"/>
                  </a:lnTo>
                  <a:lnTo>
                    <a:pt x="530" y="2"/>
                  </a:lnTo>
                  <a:lnTo>
                    <a:pt x="534" y="0"/>
                  </a:lnTo>
                  <a:lnTo>
                    <a:pt x="540" y="0"/>
                  </a:lnTo>
                  <a:lnTo>
                    <a:pt x="548" y="4"/>
                  </a:lnTo>
                  <a:lnTo>
                    <a:pt x="552" y="8"/>
                  </a:lnTo>
                  <a:lnTo>
                    <a:pt x="558" y="12"/>
                  </a:lnTo>
                  <a:lnTo>
                    <a:pt x="564" y="14"/>
                  </a:lnTo>
                  <a:lnTo>
                    <a:pt x="566" y="20"/>
                  </a:lnTo>
                  <a:lnTo>
                    <a:pt x="566" y="26"/>
                  </a:lnTo>
                  <a:lnTo>
                    <a:pt x="564" y="32"/>
                  </a:lnTo>
                  <a:lnTo>
                    <a:pt x="564" y="38"/>
                  </a:lnTo>
                  <a:lnTo>
                    <a:pt x="572" y="38"/>
                  </a:lnTo>
                  <a:lnTo>
                    <a:pt x="578" y="36"/>
                  </a:lnTo>
                  <a:lnTo>
                    <a:pt x="582" y="38"/>
                  </a:lnTo>
                  <a:lnTo>
                    <a:pt x="586" y="44"/>
                  </a:lnTo>
                  <a:lnTo>
                    <a:pt x="582" y="50"/>
                  </a:lnTo>
                  <a:lnTo>
                    <a:pt x="584" y="56"/>
                  </a:lnTo>
                  <a:lnTo>
                    <a:pt x="584" y="60"/>
                  </a:lnTo>
                  <a:lnTo>
                    <a:pt x="586" y="66"/>
                  </a:lnTo>
                  <a:lnTo>
                    <a:pt x="586" y="72"/>
                  </a:lnTo>
                  <a:lnTo>
                    <a:pt x="588" y="78"/>
                  </a:lnTo>
                  <a:lnTo>
                    <a:pt x="588" y="84"/>
                  </a:lnTo>
                  <a:lnTo>
                    <a:pt x="588" y="90"/>
                  </a:lnTo>
                  <a:lnTo>
                    <a:pt x="588" y="96"/>
                  </a:lnTo>
                  <a:lnTo>
                    <a:pt x="592" y="102"/>
                  </a:lnTo>
                  <a:lnTo>
                    <a:pt x="594" y="108"/>
                  </a:lnTo>
                  <a:lnTo>
                    <a:pt x="598" y="114"/>
                  </a:lnTo>
                  <a:lnTo>
                    <a:pt x="602" y="120"/>
                  </a:lnTo>
                  <a:lnTo>
                    <a:pt x="606" y="122"/>
                  </a:lnTo>
                  <a:lnTo>
                    <a:pt x="612" y="124"/>
                  </a:lnTo>
                  <a:lnTo>
                    <a:pt x="618" y="120"/>
                  </a:lnTo>
                  <a:lnTo>
                    <a:pt x="624" y="116"/>
                  </a:lnTo>
                  <a:lnTo>
                    <a:pt x="630" y="110"/>
                  </a:lnTo>
                  <a:lnTo>
                    <a:pt x="636" y="106"/>
                  </a:lnTo>
                  <a:lnTo>
                    <a:pt x="640" y="102"/>
                  </a:lnTo>
                  <a:lnTo>
                    <a:pt x="648" y="102"/>
                  </a:lnTo>
                  <a:lnTo>
                    <a:pt x="654" y="100"/>
                  </a:lnTo>
                  <a:lnTo>
                    <a:pt x="658" y="100"/>
                  </a:lnTo>
                  <a:lnTo>
                    <a:pt x="660" y="96"/>
                  </a:lnTo>
                  <a:lnTo>
                    <a:pt x="662" y="90"/>
                  </a:lnTo>
                  <a:lnTo>
                    <a:pt x="666" y="86"/>
                  </a:lnTo>
                  <a:lnTo>
                    <a:pt x="672" y="82"/>
                  </a:lnTo>
                  <a:lnTo>
                    <a:pt x="678" y="80"/>
                  </a:lnTo>
                  <a:lnTo>
                    <a:pt x="680" y="74"/>
                  </a:lnTo>
                  <a:lnTo>
                    <a:pt x="686" y="70"/>
                  </a:lnTo>
                  <a:lnTo>
                    <a:pt x="692" y="70"/>
                  </a:lnTo>
                  <a:lnTo>
                    <a:pt x="698" y="68"/>
                  </a:lnTo>
                  <a:lnTo>
                    <a:pt x="704" y="70"/>
                  </a:lnTo>
                  <a:lnTo>
                    <a:pt x="710" y="72"/>
                  </a:lnTo>
                  <a:lnTo>
                    <a:pt x="716" y="72"/>
                  </a:lnTo>
                  <a:lnTo>
                    <a:pt x="716" y="78"/>
                  </a:lnTo>
                  <a:lnTo>
                    <a:pt x="712" y="84"/>
                  </a:lnTo>
                  <a:lnTo>
                    <a:pt x="720" y="86"/>
                  </a:lnTo>
                  <a:lnTo>
                    <a:pt x="726" y="82"/>
                  </a:lnTo>
                  <a:lnTo>
                    <a:pt x="730" y="80"/>
                  </a:lnTo>
                  <a:lnTo>
                    <a:pt x="736" y="78"/>
                  </a:lnTo>
                  <a:lnTo>
                    <a:pt x="742" y="76"/>
                  </a:lnTo>
                  <a:lnTo>
                    <a:pt x="748" y="72"/>
                  </a:lnTo>
                  <a:lnTo>
                    <a:pt x="754" y="74"/>
                  </a:lnTo>
                  <a:lnTo>
                    <a:pt x="760" y="74"/>
                  </a:lnTo>
                  <a:lnTo>
                    <a:pt x="762" y="74"/>
                  </a:lnTo>
                  <a:lnTo>
                    <a:pt x="768" y="74"/>
                  </a:lnTo>
                  <a:lnTo>
                    <a:pt x="772" y="76"/>
                  </a:lnTo>
                  <a:lnTo>
                    <a:pt x="778" y="78"/>
                  </a:lnTo>
                  <a:lnTo>
                    <a:pt x="784" y="84"/>
                  </a:lnTo>
                  <a:lnTo>
                    <a:pt x="778" y="86"/>
                  </a:lnTo>
                  <a:lnTo>
                    <a:pt x="772" y="82"/>
                  </a:lnTo>
                  <a:lnTo>
                    <a:pt x="766" y="84"/>
                  </a:lnTo>
                  <a:lnTo>
                    <a:pt x="760" y="88"/>
                  </a:lnTo>
                  <a:lnTo>
                    <a:pt x="760" y="94"/>
                  </a:lnTo>
                  <a:lnTo>
                    <a:pt x="766" y="98"/>
                  </a:lnTo>
                  <a:lnTo>
                    <a:pt x="768" y="98"/>
                  </a:lnTo>
                  <a:lnTo>
                    <a:pt x="764" y="100"/>
                  </a:lnTo>
                  <a:lnTo>
                    <a:pt x="758" y="102"/>
                  </a:lnTo>
                  <a:lnTo>
                    <a:pt x="752" y="108"/>
                  </a:lnTo>
                  <a:lnTo>
                    <a:pt x="746" y="108"/>
                  </a:lnTo>
                  <a:lnTo>
                    <a:pt x="740" y="114"/>
                  </a:lnTo>
                  <a:lnTo>
                    <a:pt x="734" y="110"/>
                  </a:lnTo>
                  <a:lnTo>
                    <a:pt x="730" y="108"/>
                  </a:lnTo>
                  <a:lnTo>
                    <a:pt x="722" y="108"/>
                  </a:lnTo>
                  <a:lnTo>
                    <a:pt x="718" y="108"/>
                  </a:lnTo>
                  <a:lnTo>
                    <a:pt x="710" y="110"/>
                  </a:lnTo>
                  <a:lnTo>
                    <a:pt x="704" y="110"/>
                  </a:lnTo>
                  <a:lnTo>
                    <a:pt x="698" y="110"/>
                  </a:lnTo>
                  <a:lnTo>
                    <a:pt x="692" y="110"/>
                  </a:lnTo>
                  <a:lnTo>
                    <a:pt x="688" y="110"/>
                  </a:lnTo>
                  <a:lnTo>
                    <a:pt x="680" y="112"/>
                  </a:lnTo>
                  <a:lnTo>
                    <a:pt x="674" y="112"/>
                  </a:lnTo>
                  <a:lnTo>
                    <a:pt x="670" y="112"/>
                  </a:lnTo>
                  <a:lnTo>
                    <a:pt x="662" y="112"/>
                  </a:lnTo>
                  <a:lnTo>
                    <a:pt x="658" y="114"/>
                  </a:lnTo>
                  <a:lnTo>
                    <a:pt x="650" y="118"/>
                  </a:lnTo>
                  <a:lnTo>
                    <a:pt x="646" y="118"/>
                  </a:lnTo>
                  <a:lnTo>
                    <a:pt x="640" y="120"/>
                  </a:lnTo>
                  <a:lnTo>
                    <a:pt x="634" y="126"/>
                  </a:lnTo>
                  <a:lnTo>
                    <a:pt x="628" y="130"/>
                  </a:lnTo>
                  <a:lnTo>
                    <a:pt x="622" y="136"/>
                  </a:lnTo>
                  <a:lnTo>
                    <a:pt x="620" y="142"/>
                  </a:lnTo>
                  <a:lnTo>
                    <a:pt x="614" y="140"/>
                  </a:lnTo>
                  <a:lnTo>
                    <a:pt x="608" y="138"/>
                  </a:lnTo>
                  <a:lnTo>
                    <a:pt x="606" y="144"/>
                  </a:lnTo>
                  <a:lnTo>
                    <a:pt x="602" y="150"/>
                  </a:lnTo>
                  <a:lnTo>
                    <a:pt x="596" y="156"/>
                  </a:lnTo>
                  <a:lnTo>
                    <a:pt x="592" y="162"/>
                  </a:lnTo>
                  <a:lnTo>
                    <a:pt x="590" y="168"/>
                  </a:lnTo>
                  <a:lnTo>
                    <a:pt x="594" y="170"/>
                  </a:lnTo>
                  <a:lnTo>
                    <a:pt x="600" y="174"/>
                  </a:lnTo>
                  <a:lnTo>
                    <a:pt x="606" y="178"/>
                  </a:lnTo>
                  <a:lnTo>
                    <a:pt x="610" y="184"/>
                  </a:lnTo>
                  <a:lnTo>
                    <a:pt x="616" y="190"/>
                  </a:lnTo>
                  <a:lnTo>
                    <a:pt x="614" y="196"/>
                  </a:lnTo>
                  <a:lnTo>
                    <a:pt x="620" y="200"/>
                  </a:lnTo>
                  <a:lnTo>
                    <a:pt x="622" y="204"/>
                  </a:lnTo>
                  <a:lnTo>
                    <a:pt x="624" y="212"/>
                  </a:lnTo>
                  <a:lnTo>
                    <a:pt x="620" y="216"/>
                  </a:lnTo>
                  <a:lnTo>
                    <a:pt x="622" y="216"/>
                  </a:lnTo>
                  <a:lnTo>
                    <a:pt x="624" y="220"/>
                  </a:lnTo>
                  <a:lnTo>
                    <a:pt x="630" y="226"/>
                  </a:lnTo>
                  <a:lnTo>
                    <a:pt x="626" y="230"/>
                  </a:lnTo>
                  <a:lnTo>
                    <a:pt x="624" y="236"/>
                  </a:lnTo>
                  <a:lnTo>
                    <a:pt x="624" y="240"/>
                  </a:lnTo>
                  <a:lnTo>
                    <a:pt x="624" y="242"/>
                  </a:lnTo>
                  <a:lnTo>
                    <a:pt x="622" y="244"/>
                  </a:lnTo>
                  <a:lnTo>
                    <a:pt x="616" y="246"/>
                  </a:lnTo>
                  <a:lnTo>
                    <a:pt x="614" y="252"/>
                  </a:lnTo>
                  <a:lnTo>
                    <a:pt x="610" y="258"/>
                  </a:lnTo>
                  <a:lnTo>
                    <a:pt x="604" y="264"/>
                  </a:lnTo>
                  <a:lnTo>
                    <a:pt x="606" y="268"/>
                  </a:lnTo>
                  <a:lnTo>
                    <a:pt x="600" y="270"/>
                  </a:lnTo>
                  <a:lnTo>
                    <a:pt x="600" y="274"/>
                  </a:lnTo>
                  <a:lnTo>
                    <a:pt x="606" y="280"/>
                  </a:lnTo>
                  <a:lnTo>
                    <a:pt x="612" y="286"/>
                  </a:lnTo>
                  <a:lnTo>
                    <a:pt x="612" y="292"/>
                  </a:lnTo>
                  <a:lnTo>
                    <a:pt x="614" y="294"/>
                  </a:lnTo>
                  <a:lnTo>
                    <a:pt x="612" y="300"/>
                  </a:lnTo>
                  <a:lnTo>
                    <a:pt x="610" y="306"/>
                  </a:lnTo>
                  <a:lnTo>
                    <a:pt x="604" y="308"/>
                  </a:lnTo>
                  <a:lnTo>
                    <a:pt x="598" y="312"/>
                  </a:lnTo>
                  <a:lnTo>
                    <a:pt x="592" y="312"/>
                  </a:lnTo>
                  <a:lnTo>
                    <a:pt x="586" y="312"/>
                  </a:lnTo>
                  <a:lnTo>
                    <a:pt x="580" y="312"/>
                  </a:lnTo>
                  <a:lnTo>
                    <a:pt x="574" y="310"/>
                  </a:lnTo>
                  <a:lnTo>
                    <a:pt x="568" y="310"/>
                  </a:lnTo>
                  <a:lnTo>
                    <a:pt x="562" y="308"/>
                  </a:lnTo>
                  <a:lnTo>
                    <a:pt x="556" y="306"/>
                  </a:lnTo>
                  <a:lnTo>
                    <a:pt x="550" y="304"/>
                  </a:lnTo>
                  <a:lnTo>
                    <a:pt x="546" y="306"/>
                  </a:lnTo>
                  <a:lnTo>
                    <a:pt x="544" y="308"/>
                  </a:lnTo>
                  <a:lnTo>
                    <a:pt x="544" y="314"/>
                  </a:lnTo>
                  <a:lnTo>
                    <a:pt x="548" y="318"/>
                  </a:lnTo>
                  <a:lnTo>
                    <a:pt x="550" y="322"/>
                  </a:lnTo>
                  <a:lnTo>
                    <a:pt x="554" y="326"/>
                  </a:lnTo>
                  <a:lnTo>
                    <a:pt x="560" y="328"/>
                  </a:lnTo>
                  <a:lnTo>
                    <a:pt x="566" y="332"/>
                  </a:lnTo>
                  <a:lnTo>
                    <a:pt x="566" y="338"/>
                  </a:lnTo>
                  <a:lnTo>
                    <a:pt x="568" y="344"/>
                  </a:lnTo>
                  <a:lnTo>
                    <a:pt x="572" y="348"/>
                  </a:lnTo>
                  <a:lnTo>
                    <a:pt x="578" y="352"/>
                  </a:lnTo>
                  <a:lnTo>
                    <a:pt x="574" y="358"/>
                  </a:lnTo>
                  <a:lnTo>
                    <a:pt x="568" y="364"/>
                  </a:lnTo>
                  <a:lnTo>
                    <a:pt x="562" y="368"/>
                  </a:lnTo>
                  <a:lnTo>
                    <a:pt x="556" y="372"/>
                  </a:lnTo>
                  <a:lnTo>
                    <a:pt x="550" y="370"/>
                  </a:lnTo>
                  <a:lnTo>
                    <a:pt x="544" y="372"/>
                  </a:lnTo>
                  <a:lnTo>
                    <a:pt x="538" y="372"/>
                  </a:lnTo>
                  <a:lnTo>
                    <a:pt x="536" y="374"/>
                  </a:lnTo>
                  <a:lnTo>
                    <a:pt x="534" y="378"/>
                  </a:lnTo>
                  <a:lnTo>
                    <a:pt x="536" y="386"/>
                  </a:lnTo>
                  <a:lnTo>
                    <a:pt x="534" y="390"/>
                  </a:lnTo>
                  <a:lnTo>
                    <a:pt x="534" y="396"/>
                  </a:lnTo>
                  <a:lnTo>
                    <a:pt x="536" y="404"/>
                  </a:lnTo>
                  <a:lnTo>
                    <a:pt x="530" y="408"/>
                  </a:lnTo>
                  <a:lnTo>
                    <a:pt x="528" y="414"/>
                  </a:lnTo>
                  <a:lnTo>
                    <a:pt x="530" y="420"/>
                  </a:lnTo>
                  <a:lnTo>
                    <a:pt x="532" y="426"/>
                  </a:lnTo>
                  <a:lnTo>
                    <a:pt x="532" y="432"/>
                  </a:lnTo>
                  <a:lnTo>
                    <a:pt x="534" y="438"/>
                  </a:lnTo>
                  <a:lnTo>
                    <a:pt x="536" y="446"/>
                  </a:lnTo>
                  <a:lnTo>
                    <a:pt x="538" y="450"/>
                  </a:lnTo>
                  <a:lnTo>
                    <a:pt x="534" y="454"/>
                  </a:lnTo>
                  <a:lnTo>
                    <a:pt x="530" y="460"/>
                  </a:lnTo>
                  <a:lnTo>
                    <a:pt x="528" y="466"/>
                  </a:lnTo>
                  <a:lnTo>
                    <a:pt x="522" y="470"/>
                  </a:lnTo>
                  <a:lnTo>
                    <a:pt x="516" y="474"/>
                  </a:lnTo>
                  <a:lnTo>
                    <a:pt x="512" y="474"/>
                  </a:lnTo>
                  <a:lnTo>
                    <a:pt x="506" y="468"/>
                  </a:lnTo>
                  <a:lnTo>
                    <a:pt x="504" y="462"/>
                  </a:lnTo>
                  <a:lnTo>
                    <a:pt x="498" y="462"/>
                  </a:lnTo>
                  <a:lnTo>
                    <a:pt x="492" y="458"/>
                  </a:lnTo>
                  <a:lnTo>
                    <a:pt x="490" y="464"/>
                  </a:lnTo>
                  <a:lnTo>
                    <a:pt x="484" y="462"/>
                  </a:lnTo>
                  <a:lnTo>
                    <a:pt x="480" y="462"/>
                  </a:lnTo>
                  <a:lnTo>
                    <a:pt x="472" y="458"/>
                  </a:lnTo>
                  <a:lnTo>
                    <a:pt x="470" y="464"/>
                  </a:lnTo>
                  <a:lnTo>
                    <a:pt x="464" y="470"/>
                  </a:lnTo>
                  <a:lnTo>
                    <a:pt x="458" y="472"/>
                  </a:lnTo>
                  <a:lnTo>
                    <a:pt x="452" y="478"/>
                  </a:lnTo>
                  <a:lnTo>
                    <a:pt x="446" y="480"/>
                  </a:lnTo>
                  <a:lnTo>
                    <a:pt x="442" y="480"/>
                  </a:lnTo>
                  <a:lnTo>
                    <a:pt x="444" y="486"/>
                  </a:lnTo>
                  <a:lnTo>
                    <a:pt x="450" y="488"/>
                  </a:lnTo>
                  <a:lnTo>
                    <a:pt x="456" y="492"/>
                  </a:lnTo>
                  <a:lnTo>
                    <a:pt x="454" y="492"/>
                  </a:lnTo>
                  <a:lnTo>
                    <a:pt x="450" y="496"/>
                  </a:lnTo>
                  <a:lnTo>
                    <a:pt x="444" y="498"/>
                  </a:lnTo>
                  <a:lnTo>
                    <a:pt x="438" y="500"/>
                  </a:lnTo>
                  <a:lnTo>
                    <a:pt x="432" y="500"/>
                  </a:lnTo>
                  <a:lnTo>
                    <a:pt x="426" y="500"/>
                  </a:lnTo>
                  <a:lnTo>
                    <a:pt x="422" y="500"/>
                  </a:lnTo>
                  <a:lnTo>
                    <a:pt x="416" y="500"/>
                  </a:lnTo>
                  <a:lnTo>
                    <a:pt x="412" y="498"/>
                  </a:lnTo>
                  <a:lnTo>
                    <a:pt x="412" y="494"/>
                  </a:lnTo>
                  <a:lnTo>
                    <a:pt x="406" y="494"/>
                  </a:lnTo>
                  <a:lnTo>
                    <a:pt x="400" y="498"/>
                  </a:lnTo>
                  <a:lnTo>
                    <a:pt x="400" y="500"/>
                  </a:lnTo>
                  <a:lnTo>
                    <a:pt x="394" y="506"/>
                  </a:lnTo>
                  <a:lnTo>
                    <a:pt x="392" y="512"/>
                  </a:lnTo>
                  <a:lnTo>
                    <a:pt x="386" y="518"/>
                  </a:lnTo>
                  <a:lnTo>
                    <a:pt x="380" y="520"/>
                  </a:lnTo>
                  <a:lnTo>
                    <a:pt x="378" y="526"/>
                  </a:lnTo>
                  <a:lnTo>
                    <a:pt x="378" y="532"/>
                  </a:lnTo>
                  <a:lnTo>
                    <a:pt x="376" y="538"/>
                  </a:lnTo>
                  <a:lnTo>
                    <a:pt x="376" y="542"/>
                  </a:lnTo>
                  <a:lnTo>
                    <a:pt x="378" y="550"/>
                  </a:lnTo>
                  <a:lnTo>
                    <a:pt x="382" y="556"/>
                  </a:lnTo>
                  <a:lnTo>
                    <a:pt x="382" y="562"/>
                  </a:lnTo>
                  <a:lnTo>
                    <a:pt x="382" y="568"/>
                  </a:lnTo>
                  <a:lnTo>
                    <a:pt x="380" y="574"/>
                  </a:lnTo>
                  <a:lnTo>
                    <a:pt x="378" y="580"/>
                  </a:lnTo>
                  <a:lnTo>
                    <a:pt x="384" y="586"/>
                  </a:lnTo>
                  <a:lnTo>
                    <a:pt x="386" y="590"/>
                  </a:lnTo>
                  <a:lnTo>
                    <a:pt x="380" y="596"/>
                  </a:lnTo>
                  <a:lnTo>
                    <a:pt x="374" y="598"/>
                  </a:lnTo>
                  <a:lnTo>
                    <a:pt x="368" y="600"/>
                  </a:lnTo>
                  <a:lnTo>
                    <a:pt x="362" y="602"/>
                  </a:lnTo>
                  <a:lnTo>
                    <a:pt x="356" y="604"/>
                  </a:lnTo>
                  <a:lnTo>
                    <a:pt x="354" y="604"/>
                  </a:lnTo>
                  <a:lnTo>
                    <a:pt x="352" y="604"/>
                  </a:lnTo>
                  <a:lnTo>
                    <a:pt x="346" y="606"/>
                  </a:lnTo>
                  <a:lnTo>
                    <a:pt x="340" y="608"/>
                  </a:lnTo>
                  <a:lnTo>
                    <a:pt x="336" y="610"/>
                  </a:lnTo>
                  <a:lnTo>
                    <a:pt x="328" y="612"/>
                  </a:lnTo>
                  <a:lnTo>
                    <a:pt x="324" y="614"/>
                  </a:lnTo>
                  <a:lnTo>
                    <a:pt x="316" y="616"/>
                  </a:lnTo>
                  <a:lnTo>
                    <a:pt x="310" y="616"/>
                  </a:lnTo>
                  <a:lnTo>
                    <a:pt x="308" y="616"/>
                  </a:lnTo>
                  <a:lnTo>
                    <a:pt x="306" y="614"/>
                  </a:lnTo>
                  <a:lnTo>
                    <a:pt x="304" y="614"/>
                  </a:lnTo>
                  <a:lnTo>
                    <a:pt x="298" y="614"/>
                  </a:lnTo>
                  <a:lnTo>
                    <a:pt x="296" y="614"/>
                  </a:lnTo>
                  <a:lnTo>
                    <a:pt x="290" y="614"/>
                  </a:lnTo>
                  <a:lnTo>
                    <a:pt x="284" y="614"/>
                  </a:lnTo>
                  <a:lnTo>
                    <a:pt x="278" y="614"/>
                  </a:lnTo>
                  <a:lnTo>
                    <a:pt x="272" y="616"/>
                  </a:lnTo>
                  <a:lnTo>
                    <a:pt x="268" y="620"/>
                  </a:lnTo>
                  <a:lnTo>
                    <a:pt x="262" y="624"/>
                  </a:lnTo>
                  <a:lnTo>
                    <a:pt x="256" y="626"/>
                  </a:lnTo>
                  <a:lnTo>
                    <a:pt x="250" y="624"/>
                  </a:lnTo>
                  <a:lnTo>
                    <a:pt x="244" y="622"/>
                  </a:lnTo>
                  <a:lnTo>
                    <a:pt x="238" y="622"/>
                  </a:lnTo>
                  <a:lnTo>
                    <a:pt x="232" y="620"/>
                  </a:lnTo>
                  <a:lnTo>
                    <a:pt x="226" y="620"/>
                  </a:lnTo>
                  <a:lnTo>
                    <a:pt x="220" y="620"/>
                  </a:lnTo>
                  <a:lnTo>
                    <a:pt x="214" y="622"/>
                  </a:lnTo>
                  <a:lnTo>
                    <a:pt x="208" y="622"/>
                  </a:lnTo>
                  <a:lnTo>
                    <a:pt x="204" y="622"/>
                  </a:lnTo>
                  <a:lnTo>
                    <a:pt x="200" y="622"/>
                  </a:lnTo>
                  <a:lnTo>
                    <a:pt x="192" y="624"/>
                  </a:lnTo>
                  <a:lnTo>
                    <a:pt x="186" y="624"/>
                  </a:lnTo>
                  <a:lnTo>
                    <a:pt x="180" y="624"/>
                  </a:lnTo>
                  <a:lnTo>
                    <a:pt x="174" y="626"/>
                  </a:lnTo>
                  <a:lnTo>
                    <a:pt x="168" y="626"/>
                  </a:lnTo>
                  <a:lnTo>
                    <a:pt x="162" y="626"/>
                  </a:lnTo>
                  <a:lnTo>
                    <a:pt x="156" y="624"/>
                  </a:lnTo>
                  <a:lnTo>
                    <a:pt x="150" y="622"/>
                  </a:lnTo>
                  <a:lnTo>
                    <a:pt x="144" y="620"/>
                  </a:lnTo>
                  <a:lnTo>
                    <a:pt x="138" y="618"/>
                  </a:lnTo>
                  <a:lnTo>
                    <a:pt x="132" y="616"/>
                  </a:lnTo>
                  <a:lnTo>
                    <a:pt x="126" y="614"/>
                  </a:lnTo>
                  <a:lnTo>
                    <a:pt x="120" y="612"/>
                  </a:lnTo>
                  <a:lnTo>
                    <a:pt x="114" y="610"/>
                  </a:lnTo>
                  <a:lnTo>
                    <a:pt x="108" y="608"/>
                  </a:lnTo>
                  <a:lnTo>
                    <a:pt x="102" y="606"/>
                  </a:lnTo>
                  <a:lnTo>
                    <a:pt x="96" y="604"/>
                  </a:lnTo>
                  <a:lnTo>
                    <a:pt x="90" y="602"/>
                  </a:lnTo>
                  <a:lnTo>
                    <a:pt x="84" y="600"/>
                  </a:lnTo>
                  <a:lnTo>
                    <a:pt x="78" y="598"/>
                  </a:lnTo>
                  <a:lnTo>
                    <a:pt x="72" y="596"/>
                  </a:lnTo>
                  <a:lnTo>
                    <a:pt x="64" y="594"/>
                  </a:lnTo>
                  <a:lnTo>
                    <a:pt x="68" y="592"/>
                  </a:lnTo>
                  <a:lnTo>
                    <a:pt x="72" y="586"/>
                  </a:lnTo>
                  <a:lnTo>
                    <a:pt x="72" y="584"/>
                  </a:lnTo>
                  <a:lnTo>
                    <a:pt x="78" y="578"/>
                  </a:lnTo>
                  <a:lnTo>
                    <a:pt x="78" y="576"/>
                  </a:lnTo>
                  <a:lnTo>
                    <a:pt x="82" y="570"/>
                  </a:lnTo>
                  <a:lnTo>
                    <a:pt x="86" y="564"/>
                  </a:lnTo>
                  <a:lnTo>
                    <a:pt x="90" y="560"/>
                  </a:lnTo>
                  <a:lnTo>
                    <a:pt x="94" y="552"/>
                  </a:lnTo>
                  <a:lnTo>
                    <a:pt x="98" y="548"/>
                  </a:lnTo>
                  <a:lnTo>
                    <a:pt x="102" y="540"/>
                  </a:lnTo>
                  <a:lnTo>
                    <a:pt x="106" y="534"/>
                  </a:lnTo>
                  <a:lnTo>
                    <a:pt x="110" y="528"/>
                  </a:lnTo>
                  <a:lnTo>
                    <a:pt x="110" y="526"/>
                  </a:lnTo>
                  <a:lnTo>
                    <a:pt x="110" y="520"/>
                  </a:lnTo>
                  <a:lnTo>
                    <a:pt x="110" y="518"/>
                  </a:lnTo>
                  <a:lnTo>
                    <a:pt x="110" y="510"/>
                  </a:lnTo>
                  <a:lnTo>
                    <a:pt x="108" y="504"/>
                  </a:lnTo>
                  <a:lnTo>
                    <a:pt x="104" y="500"/>
                  </a:lnTo>
                  <a:lnTo>
                    <a:pt x="104" y="498"/>
                  </a:lnTo>
                  <a:lnTo>
                    <a:pt x="102" y="492"/>
                  </a:lnTo>
                  <a:lnTo>
                    <a:pt x="98" y="490"/>
                  </a:lnTo>
                  <a:lnTo>
                    <a:pt x="94" y="488"/>
                  </a:lnTo>
                  <a:lnTo>
                    <a:pt x="88" y="488"/>
                  </a:lnTo>
                  <a:lnTo>
                    <a:pt x="82" y="488"/>
                  </a:lnTo>
                  <a:lnTo>
                    <a:pt x="80" y="486"/>
                  </a:lnTo>
                  <a:lnTo>
                    <a:pt x="74" y="486"/>
                  </a:lnTo>
                  <a:lnTo>
                    <a:pt x="68" y="484"/>
                  </a:lnTo>
                  <a:lnTo>
                    <a:pt x="64" y="484"/>
                  </a:lnTo>
                  <a:lnTo>
                    <a:pt x="60" y="484"/>
                  </a:lnTo>
                  <a:lnTo>
                    <a:pt x="52" y="482"/>
                  </a:lnTo>
                  <a:lnTo>
                    <a:pt x="48" y="476"/>
                  </a:lnTo>
                  <a:lnTo>
                    <a:pt x="44" y="470"/>
                  </a:lnTo>
                  <a:lnTo>
                    <a:pt x="44" y="466"/>
                  </a:lnTo>
                  <a:lnTo>
                    <a:pt x="44" y="458"/>
                  </a:lnTo>
                  <a:lnTo>
                    <a:pt x="42" y="454"/>
                  </a:lnTo>
                  <a:lnTo>
                    <a:pt x="40" y="446"/>
                  </a:lnTo>
                  <a:lnTo>
                    <a:pt x="40" y="444"/>
                  </a:lnTo>
                  <a:lnTo>
                    <a:pt x="40" y="438"/>
                  </a:lnTo>
                  <a:lnTo>
                    <a:pt x="42" y="432"/>
                  </a:lnTo>
                  <a:lnTo>
                    <a:pt x="40" y="426"/>
                  </a:lnTo>
                  <a:lnTo>
                    <a:pt x="36" y="420"/>
                  </a:lnTo>
                  <a:lnTo>
                    <a:pt x="34" y="414"/>
                  </a:lnTo>
                  <a:lnTo>
                    <a:pt x="30" y="408"/>
                  </a:lnTo>
                  <a:lnTo>
                    <a:pt x="28" y="402"/>
                  </a:lnTo>
                  <a:lnTo>
                    <a:pt x="26" y="396"/>
                  </a:lnTo>
                  <a:lnTo>
                    <a:pt x="24" y="390"/>
                  </a:lnTo>
                  <a:lnTo>
                    <a:pt x="22" y="384"/>
                  </a:lnTo>
                  <a:lnTo>
                    <a:pt x="18" y="378"/>
                  </a:lnTo>
                  <a:lnTo>
                    <a:pt x="16" y="372"/>
                  </a:lnTo>
                  <a:lnTo>
                    <a:pt x="16" y="366"/>
                  </a:lnTo>
                  <a:lnTo>
                    <a:pt x="18" y="360"/>
                  </a:lnTo>
                  <a:lnTo>
                    <a:pt x="22" y="354"/>
                  </a:lnTo>
                  <a:lnTo>
                    <a:pt x="28" y="348"/>
                  </a:lnTo>
                  <a:lnTo>
                    <a:pt x="30" y="342"/>
                  </a:lnTo>
                  <a:lnTo>
                    <a:pt x="26" y="340"/>
                  </a:lnTo>
                  <a:lnTo>
                    <a:pt x="22" y="338"/>
                  </a:lnTo>
                  <a:lnTo>
                    <a:pt x="18" y="338"/>
                  </a:lnTo>
                  <a:lnTo>
                    <a:pt x="18" y="340"/>
                  </a:lnTo>
                  <a:lnTo>
                    <a:pt x="12" y="336"/>
                  </a:lnTo>
                  <a:lnTo>
                    <a:pt x="6" y="332"/>
                  </a:lnTo>
                  <a:lnTo>
                    <a:pt x="4" y="326"/>
                  </a:lnTo>
                  <a:lnTo>
                    <a:pt x="6" y="320"/>
                  </a:lnTo>
                  <a:lnTo>
                    <a:pt x="4" y="316"/>
                  </a:lnTo>
                  <a:lnTo>
                    <a:pt x="2" y="310"/>
                  </a:lnTo>
                  <a:lnTo>
                    <a:pt x="0" y="30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89" name="Freeform 106"/>
            <p:cNvSpPr>
              <a:spLocks/>
            </p:cNvSpPr>
            <p:nvPr/>
          </p:nvSpPr>
          <p:spPr bwMode="auto">
            <a:xfrm>
              <a:off x="5505450" y="2951163"/>
              <a:ext cx="415925" cy="236537"/>
            </a:xfrm>
            <a:custGeom>
              <a:avLst/>
              <a:gdLst>
                <a:gd name="T0" fmla="*/ 2147483647 w 1022"/>
                <a:gd name="T1" fmla="*/ 2147483647 h 574"/>
                <a:gd name="T2" fmla="*/ 2147483647 w 1022"/>
                <a:gd name="T3" fmla="*/ 2147483647 h 574"/>
                <a:gd name="T4" fmla="*/ 2147483647 w 1022"/>
                <a:gd name="T5" fmla="*/ 2147483647 h 574"/>
                <a:gd name="T6" fmla="*/ 2147483647 w 1022"/>
                <a:gd name="T7" fmla="*/ 2147483647 h 574"/>
                <a:gd name="T8" fmla="*/ 2147483647 w 1022"/>
                <a:gd name="T9" fmla="*/ 2147483647 h 574"/>
                <a:gd name="T10" fmla="*/ 2147483647 w 1022"/>
                <a:gd name="T11" fmla="*/ 2147483647 h 574"/>
                <a:gd name="T12" fmla="*/ 2147483647 w 1022"/>
                <a:gd name="T13" fmla="*/ 2147483647 h 574"/>
                <a:gd name="T14" fmla="*/ 2147483647 w 1022"/>
                <a:gd name="T15" fmla="*/ 2147483647 h 574"/>
                <a:gd name="T16" fmla="*/ 2147483647 w 1022"/>
                <a:gd name="T17" fmla="*/ 2147483647 h 574"/>
                <a:gd name="T18" fmla="*/ 2147483647 w 1022"/>
                <a:gd name="T19" fmla="*/ 2147483647 h 574"/>
                <a:gd name="T20" fmla="*/ 2147483647 w 1022"/>
                <a:gd name="T21" fmla="*/ 2147483647 h 574"/>
                <a:gd name="T22" fmla="*/ 2147483647 w 1022"/>
                <a:gd name="T23" fmla="*/ 2147483647 h 574"/>
                <a:gd name="T24" fmla="*/ 2147483647 w 1022"/>
                <a:gd name="T25" fmla="*/ 2147483647 h 574"/>
                <a:gd name="T26" fmla="*/ 2147483647 w 1022"/>
                <a:gd name="T27" fmla="*/ 2147483647 h 574"/>
                <a:gd name="T28" fmla="*/ 2147483647 w 1022"/>
                <a:gd name="T29" fmla="*/ 2147483647 h 574"/>
                <a:gd name="T30" fmla="*/ 2147483647 w 1022"/>
                <a:gd name="T31" fmla="*/ 2147483647 h 574"/>
                <a:gd name="T32" fmla="*/ 2147483647 w 1022"/>
                <a:gd name="T33" fmla="*/ 2147483647 h 574"/>
                <a:gd name="T34" fmla="*/ 2147483647 w 1022"/>
                <a:gd name="T35" fmla="*/ 2147483647 h 574"/>
                <a:gd name="T36" fmla="*/ 2147483647 w 1022"/>
                <a:gd name="T37" fmla="*/ 2147483647 h 574"/>
                <a:gd name="T38" fmla="*/ 2147483647 w 1022"/>
                <a:gd name="T39" fmla="*/ 2147483647 h 574"/>
                <a:gd name="T40" fmla="*/ 2147483647 w 1022"/>
                <a:gd name="T41" fmla="*/ 2147483647 h 574"/>
                <a:gd name="T42" fmla="*/ 2147483647 w 1022"/>
                <a:gd name="T43" fmla="*/ 2147483647 h 574"/>
                <a:gd name="T44" fmla="*/ 2147483647 w 1022"/>
                <a:gd name="T45" fmla="*/ 2147483647 h 574"/>
                <a:gd name="T46" fmla="*/ 2147483647 w 1022"/>
                <a:gd name="T47" fmla="*/ 2147483647 h 574"/>
                <a:gd name="T48" fmla="*/ 2147483647 w 1022"/>
                <a:gd name="T49" fmla="*/ 2147483647 h 574"/>
                <a:gd name="T50" fmla="*/ 2147483647 w 1022"/>
                <a:gd name="T51" fmla="*/ 2147483647 h 574"/>
                <a:gd name="T52" fmla="*/ 2147483647 w 1022"/>
                <a:gd name="T53" fmla="*/ 2147483647 h 574"/>
                <a:gd name="T54" fmla="*/ 2147483647 w 1022"/>
                <a:gd name="T55" fmla="*/ 2147483647 h 574"/>
                <a:gd name="T56" fmla="*/ 2147483647 w 1022"/>
                <a:gd name="T57" fmla="*/ 2147483647 h 574"/>
                <a:gd name="T58" fmla="*/ 2147483647 w 1022"/>
                <a:gd name="T59" fmla="*/ 2147483647 h 574"/>
                <a:gd name="T60" fmla="*/ 2147483647 w 1022"/>
                <a:gd name="T61" fmla="*/ 2147483647 h 574"/>
                <a:gd name="T62" fmla="*/ 2147483647 w 1022"/>
                <a:gd name="T63" fmla="*/ 2147483647 h 574"/>
                <a:gd name="T64" fmla="*/ 2147483647 w 1022"/>
                <a:gd name="T65" fmla="*/ 2147483647 h 574"/>
                <a:gd name="T66" fmla="*/ 2147483647 w 1022"/>
                <a:gd name="T67" fmla="*/ 2147483647 h 574"/>
                <a:gd name="T68" fmla="*/ 2147483647 w 1022"/>
                <a:gd name="T69" fmla="*/ 2147483647 h 574"/>
                <a:gd name="T70" fmla="*/ 2147483647 w 1022"/>
                <a:gd name="T71" fmla="*/ 2147483647 h 574"/>
                <a:gd name="T72" fmla="*/ 2147483647 w 1022"/>
                <a:gd name="T73" fmla="*/ 2147483647 h 574"/>
                <a:gd name="T74" fmla="*/ 2147483647 w 1022"/>
                <a:gd name="T75" fmla="*/ 2147483647 h 574"/>
                <a:gd name="T76" fmla="*/ 2147483647 w 1022"/>
                <a:gd name="T77" fmla="*/ 2147483647 h 574"/>
                <a:gd name="T78" fmla="*/ 2147483647 w 1022"/>
                <a:gd name="T79" fmla="*/ 2147483647 h 574"/>
                <a:gd name="T80" fmla="*/ 2147483647 w 1022"/>
                <a:gd name="T81" fmla="*/ 2147483647 h 574"/>
                <a:gd name="T82" fmla="*/ 2147483647 w 1022"/>
                <a:gd name="T83" fmla="*/ 2147483647 h 574"/>
                <a:gd name="T84" fmla="*/ 2147483647 w 1022"/>
                <a:gd name="T85" fmla="*/ 2147483647 h 574"/>
                <a:gd name="T86" fmla="*/ 2147483647 w 1022"/>
                <a:gd name="T87" fmla="*/ 2147483647 h 574"/>
                <a:gd name="T88" fmla="*/ 2147483647 w 1022"/>
                <a:gd name="T89" fmla="*/ 2147483647 h 574"/>
                <a:gd name="T90" fmla="*/ 2147483647 w 1022"/>
                <a:gd name="T91" fmla="*/ 2147483647 h 574"/>
                <a:gd name="T92" fmla="*/ 2147483647 w 1022"/>
                <a:gd name="T93" fmla="*/ 2147483647 h 574"/>
                <a:gd name="T94" fmla="*/ 2147483647 w 1022"/>
                <a:gd name="T95" fmla="*/ 2147483647 h 574"/>
                <a:gd name="T96" fmla="*/ 2147483647 w 1022"/>
                <a:gd name="T97" fmla="*/ 2147483647 h 574"/>
                <a:gd name="T98" fmla="*/ 2147483647 w 1022"/>
                <a:gd name="T99" fmla="*/ 2147483647 h 574"/>
                <a:gd name="T100" fmla="*/ 2147483647 w 1022"/>
                <a:gd name="T101" fmla="*/ 2147483647 h 574"/>
                <a:gd name="T102" fmla="*/ 2147483647 w 1022"/>
                <a:gd name="T103" fmla="*/ 2147483647 h 574"/>
                <a:gd name="T104" fmla="*/ 2147483647 w 1022"/>
                <a:gd name="T105" fmla="*/ 2147483647 h 574"/>
                <a:gd name="T106" fmla="*/ 2147483647 w 1022"/>
                <a:gd name="T107" fmla="*/ 2147483647 h 574"/>
                <a:gd name="T108" fmla="*/ 2147483647 w 1022"/>
                <a:gd name="T109" fmla="*/ 2147483647 h 574"/>
                <a:gd name="T110" fmla="*/ 2147483647 w 1022"/>
                <a:gd name="T111" fmla="*/ 2147483647 h 574"/>
                <a:gd name="T112" fmla="*/ 2147483647 w 1022"/>
                <a:gd name="T113" fmla="*/ 2147483647 h 574"/>
                <a:gd name="T114" fmla="*/ 2147483647 w 1022"/>
                <a:gd name="T115" fmla="*/ 2147483647 h 574"/>
                <a:gd name="T116" fmla="*/ 2147483647 w 1022"/>
                <a:gd name="T117" fmla="*/ 2147483647 h 574"/>
                <a:gd name="T118" fmla="*/ 2147483647 w 1022"/>
                <a:gd name="T119" fmla="*/ 2147483647 h 574"/>
                <a:gd name="T120" fmla="*/ 2147483647 w 1022"/>
                <a:gd name="T121" fmla="*/ 2147483647 h 574"/>
                <a:gd name="T122" fmla="*/ 2147483647 w 1022"/>
                <a:gd name="T123" fmla="*/ 2147483647 h 57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2"/>
                <a:gd name="T187" fmla="*/ 0 h 574"/>
                <a:gd name="T188" fmla="*/ 1022 w 1022"/>
                <a:gd name="T189" fmla="*/ 574 h 57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2" h="574">
                  <a:moveTo>
                    <a:pt x="0" y="38"/>
                  </a:moveTo>
                  <a:lnTo>
                    <a:pt x="0" y="38"/>
                  </a:lnTo>
                  <a:lnTo>
                    <a:pt x="8" y="36"/>
                  </a:lnTo>
                  <a:lnTo>
                    <a:pt x="14" y="34"/>
                  </a:lnTo>
                  <a:lnTo>
                    <a:pt x="20" y="32"/>
                  </a:lnTo>
                  <a:lnTo>
                    <a:pt x="28" y="30"/>
                  </a:lnTo>
                  <a:lnTo>
                    <a:pt x="34" y="28"/>
                  </a:lnTo>
                  <a:lnTo>
                    <a:pt x="40" y="26"/>
                  </a:lnTo>
                  <a:lnTo>
                    <a:pt x="44" y="26"/>
                  </a:lnTo>
                  <a:lnTo>
                    <a:pt x="50" y="22"/>
                  </a:lnTo>
                  <a:lnTo>
                    <a:pt x="56" y="20"/>
                  </a:lnTo>
                  <a:lnTo>
                    <a:pt x="64" y="18"/>
                  </a:lnTo>
                  <a:lnTo>
                    <a:pt x="70" y="16"/>
                  </a:lnTo>
                  <a:lnTo>
                    <a:pt x="76" y="16"/>
                  </a:lnTo>
                  <a:lnTo>
                    <a:pt x="84" y="12"/>
                  </a:lnTo>
                  <a:lnTo>
                    <a:pt x="90" y="12"/>
                  </a:lnTo>
                  <a:lnTo>
                    <a:pt x="98" y="8"/>
                  </a:lnTo>
                  <a:lnTo>
                    <a:pt x="104" y="8"/>
                  </a:lnTo>
                  <a:lnTo>
                    <a:pt x="110" y="6"/>
                  </a:lnTo>
                  <a:lnTo>
                    <a:pt x="116" y="4"/>
                  </a:lnTo>
                  <a:lnTo>
                    <a:pt x="122" y="2"/>
                  </a:lnTo>
                  <a:lnTo>
                    <a:pt x="128" y="0"/>
                  </a:lnTo>
                  <a:lnTo>
                    <a:pt x="132" y="0"/>
                  </a:lnTo>
                  <a:lnTo>
                    <a:pt x="134" y="0"/>
                  </a:lnTo>
                  <a:lnTo>
                    <a:pt x="140" y="4"/>
                  </a:lnTo>
                  <a:lnTo>
                    <a:pt x="148" y="6"/>
                  </a:lnTo>
                  <a:lnTo>
                    <a:pt x="154" y="10"/>
                  </a:lnTo>
                  <a:lnTo>
                    <a:pt x="156" y="12"/>
                  </a:lnTo>
                  <a:lnTo>
                    <a:pt x="162" y="14"/>
                  </a:lnTo>
                  <a:lnTo>
                    <a:pt x="168" y="18"/>
                  </a:lnTo>
                  <a:lnTo>
                    <a:pt x="174" y="20"/>
                  </a:lnTo>
                  <a:lnTo>
                    <a:pt x="178" y="22"/>
                  </a:lnTo>
                  <a:lnTo>
                    <a:pt x="184" y="26"/>
                  </a:lnTo>
                  <a:lnTo>
                    <a:pt x="186" y="26"/>
                  </a:lnTo>
                  <a:lnTo>
                    <a:pt x="190" y="30"/>
                  </a:lnTo>
                  <a:lnTo>
                    <a:pt x="208" y="38"/>
                  </a:lnTo>
                  <a:lnTo>
                    <a:pt x="238" y="54"/>
                  </a:lnTo>
                  <a:lnTo>
                    <a:pt x="268" y="68"/>
                  </a:lnTo>
                  <a:lnTo>
                    <a:pt x="270" y="70"/>
                  </a:lnTo>
                  <a:lnTo>
                    <a:pt x="276" y="72"/>
                  </a:lnTo>
                  <a:lnTo>
                    <a:pt x="282" y="76"/>
                  </a:lnTo>
                  <a:lnTo>
                    <a:pt x="288" y="80"/>
                  </a:lnTo>
                  <a:lnTo>
                    <a:pt x="292" y="86"/>
                  </a:lnTo>
                  <a:lnTo>
                    <a:pt x="296" y="92"/>
                  </a:lnTo>
                  <a:lnTo>
                    <a:pt x="302" y="96"/>
                  </a:lnTo>
                  <a:lnTo>
                    <a:pt x="308" y="102"/>
                  </a:lnTo>
                  <a:lnTo>
                    <a:pt x="314" y="106"/>
                  </a:lnTo>
                  <a:lnTo>
                    <a:pt x="320" y="110"/>
                  </a:lnTo>
                  <a:lnTo>
                    <a:pt x="326" y="116"/>
                  </a:lnTo>
                  <a:lnTo>
                    <a:pt x="332" y="120"/>
                  </a:lnTo>
                  <a:lnTo>
                    <a:pt x="338" y="126"/>
                  </a:lnTo>
                  <a:lnTo>
                    <a:pt x="344" y="130"/>
                  </a:lnTo>
                  <a:lnTo>
                    <a:pt x="350" y="136"/>
                  </a:lnTo>
                  <a:lnTo>
                    <a:pt x="356" y="140"/>
                  </a:lnTo>
                  <a:lnTo>
                    <a:pt x="356" y="142"/>
                  </a:lnTo>
                  <a:lnTo>
                    <a:pt x="362" y="140"/>
                  </a:lnTo>
                  <a:lnTo>
                    <a:pt x="370" y="140"/>
                  </a:lnTo>
                  <a:lnTo>
                    <a:pt x="376" y="138"/>
                  </a:lnTo>
                  <a:lnTo>
                    <a:pt x="382" y="136"/>
                  </a:lnTo>
                  <a:lnTo>
                    <a:pt x="390" y="136"/>
                  </a:lnTo>
                  <a:lnTo>
                    <a:pt x="396" y="136"/>
                  </a:lnTo>
                  <a:lnTo>
                    <a:pt x="404" y="134"/>
                  </a:lnTo>
                  <a:lnTo>
                    <a:pt x="408" y="132"/>
                  </a:lnTo>
                  <a:lnTo>
                    <a:pt x="416" y="132"/>
                  </a:lnTo>
                  <a:lnTo>
                    <a:pt x="420" y="130"/>
                  </a:lnTo>
                  <a:lnTo>
                    <a:pt x="428" y="132"/>
                  </a:lnTo>
                  <a:lnTo>
                    <a:pt x="434" y="132"/>
                  </a:lnTo>
                  <a:lnTo>
                    <a:pt x="440" y="134"/>
                  </a:lnTo>
                  <a:lnTo>
                    <a:pt x="446" y="134"/>
                  </a:lnTo>
                  <a:lnTo>
                    <a:pt x="454" y="134"/>
                  </a:lnTo>
                  <a:lnTo>
                    <a:pt x="460" y="136"/>
                  </a:lnTo>
                  <a:lnTo>
                    <a:pt x="466" y="136"/>
                  </a:lnTo>
                  <a:lnTo>
                    <a:pt x="474" y="136"/>
                  </a:lnTo>
                  <a:lnTo>
                    <a:pt x="480" y="136"/>
                  </a:lnTo>
                  <a:lnTo>
                    <a:pt x="486" y="136"/>
                  </a:lnTo>
                  <a:lnTo>
                    <a:pt x="494" y="136"/>
                  </a:lnTo>
                  <a:lnTo>
                    <a:pt x="500" y="132"/>
                  </a:lnTo>
                  <a:lnTo>
                    <a:pt x="506" y="128"/>
                  </a:lnTo>
                  <a:lnTo>
                    <a:pt x="512" y="124"/>
                  </a:lnTo>
                  <a:lnTo>
                    <a:pt x="518" y="128"/>
                  </a:lnTo>
                  <a:lnTo>
                    <a:pt x="522" y="132"/>
                  </a:lnTo>
                  <a:lnTo>
                    <a:pt x="528" y="138"/>
                  </a:lnTo>
                  <a:lnTo>
                    <a:pt x="534" y="142"/>
                  </a:lnTo>
                  <a:lnTo>
                    <a:pt x="540" y="146"/>
                  </a:lnTo>
                  <a:lnTo>
                    <a:pt x="546" y="150"/>
                  </a:lnTo>
                  <a:lnTo>
                    <a:pt x="552" y="152"/>
                  </a:lnTo>
                  <a:lnTo>
                    <a:pt x="558" y="158"/>
                  </a:lnTo>
                  <a:lnTo>
                    <a:pt x="564" y="164"/>
                  </a:lnTo>
                  <a:lnTo>
                    <a:pt x="568" y="172"/>
                  </a:lnTo>
                  <a:lnTo>
                    <a:pt x="574" y="178"/>
                  </a:lnTo>
                  <a:lnTo>
                    <a:pt x="580" y="182"/>
                  </a:lnTo>
                  <a:lnTo>
                    <a:pt x="586" y="178"/>
                  </a:lnTo>
                  <a:lnTo>
                    <a:pt x="592" y="176"/>
                  </a:lnTo>
                  <a:lnTo>
                    <a:pt x="594" y="182"/>
                  </a:lnTo>
                  <a:lnTo>
                    <a:pt x="596" y="190"/>
                  </a:lnTo>
                  <a:lnTo>
                    <a:pt x="596" y="194"/>
                  </a:lnTo>
                  <a:lnTo>
                    <a:pt x="598" y="200"/>
                  </a:lnTo>
                  <a:lnTo>
                    <a:pt x="598" y="208"/>
                  </a:lnTo>
                  <a:lnTo>
                    <a:pt x="600" y="214"/>
                  </a:lnTo>
                  <a:lnTo>
                    <a:pt x="598" y="220"/>
                  </a:lnTo>
                  <a:lnTo>
                    <a:pt x="600" y="226"/>
                  </a:lnTo>
                  <a:lnTo>
                    <a:pt x="602" y="232"/>
                  </a:lnTo>
                  <a:lnTo>
                    <a:pt x="602" y="238"/>
                  </a:lnTo>
                  <a:lnTo>
                    <a:pt x="610" y="242"/>
                  </a:lnTo>
                  <a:lnTo>
                    <a:pt x="616" y="242"/>
                  </a:lnTo>
                  <a:lnTo>
                    <a:pt x="624" y="242"/>
                  </a:lnTo>
                  <a:lnTo>
                    <a:pt x="630" y="242"/>
                  </a:lnTo>
                  <a:lnTo>
                    <a:pt x="634" y="250"/>
                  </a:lnTo>
                  <a:lnTo>
                    <a:pt x="636" y="256"/>
                  </a:lnTo>
                  <a:lnTo>
                    <a:pt x="638" y="262"/>
                  </a:lnTo>
                  <a:lnTo>
                    <a:pt x="642" y="268"/>
                  </a:lnTo>
                  <a:lnTo>
                    <a:pt x="644" y="274"/>
                  </a:lnTo>
                  <a:lnTo>
                    <a:pt x="648" y="280"/>
                  </a:lnTo>
                  <a:lnTo>
                    <a:pt x="650" y="288"/>
                  </a:lnTo>
                  <a:lnTo>
                    <a:pt x="654" y="294"/>
                  </a:lnTo>
                  <a:lnTo>
                    <a:pt x="658" y="300"/>
                  </a:lnTo>
                  <a:lnTo>
                    <a:pt x="660" y="300"/>
                  </a:lnTo>
                  <a:lnTo>
                    <a:pt x="666" y="300"/>
                  </a:lnTo>
                  <a:lnTo>
                    <a:pt x="672" y="302"/>
                  </a:lnTo>
                  <a:lnTo>
                    <a:pt x="678" y="302"/>
                  </a:lnTo>
                  <a:lnTo>
                    <a:pt x="684" y="302"/>
                  </a:lnTo>
                  <a:lnTo>
                    <a:pt x="690" y="302"/>
                  </a:lnTo>
                  <a:lnTo>
                    <a:pt x="696" y="300"/>
                  </a:lnTo>
                  <a:lnTo>
                    <a:pt x="702" y="300"/>
                  </a:lnTo>
                  <a:lnTo>
                    <a:pt x="708" y="300"/>
                  </a:lnTo>
                  <a:lnTo>
                    <a:pt x="714" y="298"/>
                  </a:lnTo>
                  <a:lnTo>
                    <a:pt x="720" y="300"/>
                  </a:lnTo>
                  <a:lnTo>
                    <a:pt x="722" y="300"/>
                  </a:lnTo>
                  <a:lnTo>
                    <a:pt x="724" y="298"/>
                  </a:lnTo>
                  <a:lnTo>
                    <a:pt x="730" y="304"/>
                  </a:lnTo>
                  <a:lnTo>
                    <a:pt x="736" y="308"/>
                  </a:lnTo>
                  <a:lnTo>
                    <a:pt x="738" y="308"/>
                  </a:lnTo>
                  <a:lnTo>
                    <a:pt x="740" y="312"/>
                  </a:lnTo>
                  <a:lnTo>
                    <a:pt x="740" y="316"/>
                  </a:lnTo>
                  <a:lnTo>
                    <a:pt x="740" y="318"/>
                  </a:lnTo>
                  <a:lnTo>
                    <a:pt x="740" y="320"/>
                  </a:lnTo>
                  <a:lnTo>
                    <a:pt x="740" y="326"/>
                  </a:lnTo>
                  <a:lnTo>
                    <a:pt x="746" y="330"/>
                  </a:lnTo>
                  <a:lnTo>
                    <a:pt x="748" y="332"/>
                  </a:lnTo>
                  <a:lnTo>
                    <a:pt x="752" y="334"/>
                  </a:lnTo>
                  <a:lnTo>
                    <a:pt x="758" y="336"/>
                  </a:lnTo>
                  <a:lnTo>
                    <a:pt x="762" y="338"/>
                  </a:lnTo>
                  <a:lnTo>
                    <a:pt x="768" y="338"/>
                  </a:lnTo>
                  <a:lnTo>
                    <a:pt x="774" y="338"/>
                  </a:lnTo>
                  <a:lnTo>
                    <a:pt x="772" y="332"/>
                  </a:lnTo>
                  <a:lnTo>
                    <a:pt x="768" y="326"/>
                  </a:lnTo>
                  <a:lnTo>
                    <a:pt x="768" y="324"/>
                  </a:lnTo>
                  <a:lnTo>
                    <a:pt x="766" y="322"/>
                  </a:lnTo>
                  <a:lnTo>
                    <a:pt x="768" y="316"/>
                  </a:lnTo>
                  <a:lnTo>
                    <a:pt x="772" y="312"/>
                  </a:lnTo>
                  <a:lnTo>
                    <a:pt x="774" y="306"/>
                  </a:lnTo>
                  <a:lnTo>
                    <a:pt x="780" y="300"/>
                  </a:lnTo>
                  <a:lnTo>
                    <a:pt x="784" y="298"/>
                  </a:lnTo>
                  <a:lnTo>
                    <a:pt x="788" y="292"/>
                  </a:lnTo>
                  <a:lnTo>
                    <a:pt x="784" y="286"/>
                  </a:lnTo>
                  <a:lnTo>
                    <a:pt x="790" y="282"/>
                  </a:lnTo>
                  <a:lnTo>
                    <a:pt x="796" y="280"/>
                  </a:lnTo>
                  <a:lnTo>
                    <a:pt x="798" y="278"/>
                  </a:lnTo>
                  <a:lnTo>
                    <a:pt x="802" y="272"/>
                  </a:lnTo>
                  <a:lnTo>
                    <a:pt x="808" y="270"/>
                  </a:lnTo>
                  <a:lnTo>
                    <a:pt x="814" y="266"/>
                  </a:lnTo>
                  <a:lnTo>
                    <a:pt x="820" y="264"/>
                  </a:lnTo>
                  <a:lnTo>
                    <a:pt x="826" y="262"/>
                  </a:lnTo>
                  <a:lnTo>
                    <a:pt x="830" y="258"/>
                  </a:lnTo>
                  <a:lnTo>
                    <a:pt x="832" y="258"/>
                  </a:lnTo>
                  <a:lnTo>
                    <a:pt x="838" y="252"/>
                  </a:lnTo>
                  <a:lnTo>
                    <a:pt x="840" y="246"/>
                  </a:lnTo>
                  <a:lnTo>
                    <a:pt x="844" y="242"/>
                  </a:lnTo>
                  <a:lnTo>
                    <a:pt x="850" y="236"/>
                  </a:lnTo>
                  <a:lnTo>
                    <a:pt x="856" y="240"/>
                  </a:lnTo>
                  <a:lnTo>
                    <a:pt x="860" y="238"/>
                  </a:lnTo>
                  <a:lnTo>
                    <a:pt x="864" y="232"/>
                  </a:lnTo>
                  <a:lnTo>
                    <a:pt x="870" y="230"/>
                  </a:lnTo>
                  <a:lnTo>
                    <a:pt x="876" y="226"/>
                  </a:lnTo>
                  <a:lnTo>
                    <a:pt x="882" y="224"/>
                  </a:lnTo>
                  <a:lnTo>
                    <a:pt x="888" y="226"/>
                  </a:lnTo>
                  <a:lnTo>
                    <a:pt x="894" y="228"/>
                  </a:lnTo>
                  <a:lnTo>
                    <a:pt x="888" y="234"/>
                  </a:lnTo>
                  <a:lnTo>
                    <a:pt x="882" y="238"/>
                  </a:lnTo>
                  <a:lnTo>
                    <a:pt x="876" y="240"/>
                  </a:lnTo>
                  <a:lnTo>
                    <a:pt x="874" y="246"/>
                  </a:lnTo>
                  <a:lnTo>
                    <a:pt x="868" y="250"/>
                  </a:lnTo>
                  <a:lnTo>
                    <a:pt x="862" y="254"/>
                  </a:lnTo>
                  <a:lnTo>
                    <a:pt x="858" y="260"/>
                  </a:lnTo>
                  <a:lnTo>
                    <a:pt x="852" y="266"/>
                  </a:lnTo>
                  <a:lnTo>
                    <a:pt x="848" y="270"/>
                  </a:lnTo>
                  <a:lnTo>
                    <a:pt x="844" y="276"/>
                  </a:lnTo>
                  <a:lnTo>
                    <a:pt x="846" y="276"/>
                  </a:lnTo>
                  <a:lnTo>
                    <a:pt x="852" y="276"/>
                  </a:lnTo>
                  <a:lnTo>
                    <a:pt x="858" y="278"/>
                  </a:lnTo>
                  <a:lnTo>
                    <a:pt x="864" y="284"/>
                  </a:lnTo>
                  <a:lnTo>
                    <a:pt x="870" y="282"/>
                  </a:lnTo>
                  <a:lnTo>
                    <a:pt x="874" y="280"/>
                  </a:lnTo>
                  <a:lnTo>
                    <a:pt x="880" y="284"/>
                  </a:lnTo>
                  <a:lnTo>
                    <a:pt x="882" y="290"/>
                  </a:lnTo>
                  <a:lnTo>
                    <a:pt x="888" y="294"/>
                  </a:lnTo>
                  <a:lnTo>
                    <a:pt x="894" y="298"/>
                  </a:lnTo>
                  <a:lnTo>
                    <a:pt x="900" y="298"/>
                  </a:lnTo>
                  <a:lnTo>
                    <a:pt x="906" y="300"/>
                  </a:lnTo>
                  <a:lnTo>
                    <a:pt x="912" y="300"/>
                  </a:lnTo>
                  <a:lnTo>
                    <a:pt x="918" y="300"/>
                  </a:lnTo>
                  <a:lnTo>
                    <a:pt x="920" y="302"/>
                  </a:lnTo>
                  <a:lnTo>
                    <a:pt x="922" y="298"/>
                  </a:lnTo>
                  <a:lnTo>
                    <a:pt x="920" y="292"/>
                  </a:lnTo>
                  <a:lnTo>
                    <a:pt x="926" y="292"/>
                  </a:lnTo>
                  <a:lnTo>
                    <a:pt x="928" y="284"/>
                  </a:lnTo>
                  <a:lnTo>
                    <a:pt x="928" y="280"/>
                  </a:lnTo>
                  <a:lnTo>
                    <a:pt x="926" y="274"/>
                  </a:lnTo>
                  <a:lnTo>
                    <a:pt x="930" y="280"/>
                  </a:lnTo>
                  <a:lnTo>
                    <a:pt x="930" y="282"/>
                  </a:lnTo>
                  <a:lnTo>
                    <a:pt x="934" y="280"/>
                  </a:lnTo>
                  <a:lnTo>
                    <a:pt x="940" y="286"/>
                  </a:lnTo>
                  <a:lnTo>
                    <a:pt x="942" y="288"/>
                  </a:lnTo>
                  <a:lnTo>
                    <a:pt x="946" y="294"/>
                  </a:lnTo>
                  <a:lnTo>
                    <a:pt x="950" y="298"/>
                  </a:lnTo>
                  <a:lnTo>
                    <a:pt x="952" y="298"/>
                  </a:lnTo>
                  <a:lnTo>
                    <a:pt x="958" y="300"/>
                  </a:lnTo>
                  <a:lnTo>
                    <a:pt x="960" y="298"/>
                  </a:lnTo>
                  <a:lnTo>
                    <a:pt x="962" y="298"/>
                  </a:lnTo>
                  <a:lnTo>
                    <a:pt x="964" y="300"/>
                  </a:lnTo>
                  <a:lnTo>
                    <a:pt x="966" y="306"/>
                  </a:lnTo>
                  <a:lnTo>
                    <a:pt x="966" y="308"/>
                  </a:lnTo>
                  <a:lnTo>
                    <a:pt x="966" y="312"/>
                  </a:lnTo>
                  <a:lnTo>
                    <a:pt x="972" y="310"/>
                  </a:lnTo>
                  <a:lnTo>
                    <a:pt x="974" y="308"/>
                  </a:lnTo>
                  <a:lnTo>
                    <a:pt x="980" y="310"/>
                  </a:lnTo>
                  <a:lnTo>
                    <a:pt x="984" y="310"/>
                  </a:lnTo>
                  <a:lnTo>
                    <a:pt x="990" y="316"/>
                  </a:lnTo>
                  <a:lnTo>
                    <a:pt x="996" y="320"/>
                  </a:lnTo>
                  <a:lnTo>
                    <a:pt x="1002" y="320"/>
                  </a:lnTo>
                  <a:lnTo>
                    <a:pt x="1008" y="320"/>
                  </a:lnTo>
                  <a:lnTo>
                    <a:pt x="1008" y="322"/>
                  </a:lnTo>
                  <a:lnTo>
                    <a:pt x="1010" y="324"/>
                  </a:lnTo>
                  <a:lnTo>
                    <a:pt x="1014" y="322"/>
                  </a:lnTo>
                  <a:lnTo>
                    <a:pt x="1014" y="320"/>
                  </a:lnTo>
                  <a:lnTo>
                    <a:pt x="1020" y="322"/>
                  </a:lnTo>
                  <a:lnTo>
                    <a:pt x="1022" y="328"/>
                  </a:lnTo>
                  <a:lnTo>
                    <a:pt x="1016" y="330"/>
                  </a:lnTo>
                  <a:lnTo>
                    <a:pt x="1014" y="330"/>
                  </a:lnTo>
                  <a:lnTo>
                    <a:pt x="1010" y="332"/>
                  </a:lnTo>
                  <a:lnTo>
                    <a:pt x="1006" y="338"/>
                  </a:lnTo>
                  <a:lnTo>
                    <a:pt x="1006" y="340"/>
                  </a:lnTo>
                  <a:lnTo>
                    <a:pt x="1000" y="344"/>
                  </a:lnTo>
                  <a:lnTo>
                    <a:pt x="994" y="342"/>
                  </a:lnTo>
                  <a:lnTo>
                    <a:pt x="988" y="338"/>
                  </a:lnTo>
                  <a:lnTo>
                    <a:pt x="986" y="344"/>
                  </a:lnTo>
                  <a:lnTo>
                    <a:pt x="988" y="346"/>
                  </a:lnTo>
                  <a:lnTo>
                    <a:pt x="992" y="352"/>
                  </a:lnTo>
                  <a:lnTo>
                    <a:pt x="986" y="352"/>
                  </a:lnTo>
                  <a:lnTo>
                    <a:pt x="980" y="350"/>
                  </a:lnTo>
                  <a:lnTo>
                    <a:pt x="978" y="348"/>
                  </a:lnTo>
                  <a:lnTo>
                    <a:pt x="972" y="350"/>
                  </a:lnTo>
                  <a:lnTo>
                    <a:pt x="970" y="356"/>
                  </a:lnTo>
                  <a:lnTo>
                    <a:pt x="966" y="360"/>
                  </a:lnTo>
                  <a:lnTo>
                    <a:pt x="972" y="364"/>
                  </a:lnTo>
                  <a:lnTo>
                    <a:pt x="970" y="364"/>
                  </a:lnTo>
                  <a:lnTo>
                    <a:pt x="968" y="364"/>
                  </a:lnTo>
                  <a:lnTo>
                    <a:pt x="966" y="364"/>
                  </a:lnTo>
                  <a:lnTo>
                    <a:pt x="960" y="364"/>
                  </a:lnTo>
                  <a:lnTo>
                    <a:pt x="960" y="366"/>
                  </a:lnTo>
                  <a:lnTo>
                    <a:pt x="958" y="368"/>
                  </a:lnTo>
                  <a:lnTo>
                    <a:pt x="956" y="368"/>
                  </a:lnTo>
                  <a:lnTo>
                    <a:pt x="952" y="364"/>
                  </a:lnTo>
                  <a:lnTo>
                    <a:pt x="946" y="366"/>
                  </a:lnTo>
                  <a:lnTo>
                    <a:pt x="940" y="362"/>
                  </a:lnTo>
                  <a:lnTo>
                    <a:pt x="934" y="360"/>
                  </a:lnTo>
                  <a:lnTo>
                    <a:pt x="928" y="358"/>
                  </a:lnTo>
                  <a:lnTo>
                    <a:pt x="922" y="362"/>
                  </a:lnTo>
                  <a:lnTo>
                    <a:pt x="920" y="362"/>
                  </a:lnTo>
                  <a:lnTo>
                    <a:pt x="916" y="362"/>
                  </a:lnTo>
                  <a:lnTo>
                    <a:pt x="912" y="364"/>
                  </a:lnTo>
                  <a:lnTo>
                    <a:pt x="906" y="364"/>
                  </a:lnTo>
                  <a:lnTo>
                    <a:pt x="900" y="366"/>
                  </a:lnTo>
                  <a:lnTo>
                    <a:pt x="894" y="366"/>
                  </a:lnTo>
                  <a:lnTo>
                    <a:pt x="890" y="360"/>
                  </a:lnTo>
                  <a:lnTo>
                    <a:pt x="884" y="356"/>
                  </a:lnTo>
                  <a:lnTo>
                    <a:pt x="882" y="356"/>
                  </a:lnTo>
                  <a:lnTo>
                    <a:pt x="880" y="356"/>
                  </a:lnTo>
                  <a:lnTo>
                    <a:pt x="876" y="354"/>
                  </a:lnTo>
                  <a:lnTo>
                    <a:pt x="874" y="352"/>
                  </a:lnTo>
                  <a:lnTo>
                    <a:pt x="874" y="348"/>
                  </a:lnTo>
                  <a:lnTo>
                    <a:pt x="880" y="344"/>
                  </a:lnTo>
                  <a:lnTo>
                    <a:pt x="882" y="342"/>
                  </a:lnTo>
                  <a:lnTo>
                    <a:pt x="888" y="336"/>
                  </a:lnTo>
                  <a:lnTo>
                    <a:pt x="894" y="330"/>
                  </a:lnTo>
                  <a:lnTo>
                    <a:pt x="892" y="330"/>
                  </a:lnTo>
                  <a:lnTo>
                    <a:pt x="886" y="328"/>
                  </a:lnTo>
                  <a:lnTo>
                    <a:pt x="884" y="322"/>
                  </a:lnTo>
                  <a:lnTo>
                    <a:pt x="878" y="316"/>
                  </a:lnTo>
                  <a:lnTo>
                    <a:pt x="872" y="312"/>
                  </a:lnTo>
                  <a:lnTo>
                    <a:pt x="870" y="308"/>
                  </a:lnTo>
                  <a:lnTo>
                    <a:pt x="866" y="314"/>
                  </a:lnTo>
                  <a:lnTo>
                    <a:pt x="860" y="320"/>
                  </a:lnTo>
                  <a:lnTo>
                    <a:pt x="856" y="324"/>
                  </a:lnTo>
                  <a:lnTo>
                    <a:pt x="850" y="328"/>
                  </a:lnTo>
                  <a:lnTo>
                    <a:pt x="848" y="328"/>
                  </a:lnTo>
                  <a:lnTo>
                    <a:pt x="842" y="330"/>
                  </a:lnTo>
                  <a:lnTo>
                    <a:pt x="836" y="336"/>
                  </a:lnTo>
                  <a:lnTo>
                    <a:pt x="830" y="334"/>
                  </a:lnTo>
                  <a:lnTo>
                    <a:pt x="824" y="328"/>
                  </a:lnTo>
                  <a:lnTo>
                    <a:pt x="822" y="328"/>
                  </a:lnTo>
                  <a:lnTo>
                    <a:pt x="818" y="324"/>
                  </a:lnTo>
                  <a:lnTo>
                    <a:pt x="812" y="328"/>
                  </a:lnTo>
                  <a:lnTo>
                    <a:pt x="812" y="334"/>
                  </a:lnTo>
                  <a:lnTo>
                    <a:pt x="808" y="340"/>
                  </a:lnTo>
                  <a:lnTo>
                    <a:pt x="812" y="346"/>
                  </a:lnTo>
                  <a:lnTo>
                    <a:pt x="814" y="352"/>
                  </a:lnTo>
                  <a:lnTo>
                    <a:pt x="816" y="354"/>
                  </a:lnTo>
                  <a:lnTo>
                    <a:pt x="818" y="360"/>
                  </a:lnTo>
                  <a:lnTo>
                    <a:pt x="816" y="360"/>
                  </a:lnTo>
                  <a:lnTo>
                    <a:pt x="816" y="364"/>
                  </a:lnTo>
                  <a:lnTo>
                    <a:pt x="818" y="364"/>
                  </a:lnTo>
                  <a:lnTo>
                    <a:pt x="820" y="366"/>
                  </a:lnTo>
                  <a:lnTo>
                    <a:pt x="816" y="366"/>
                  </a:lnTo>
                  <a:lnTo>
                    <a:pt x="816" y="368"/>
                  </a:lnTo>
                  <a:lnTo>
                    <a:pt x="810" y="366"/>
                  </a:lnTo>
                  <a:lnTo>
                    <a:pt x="806" y="364"/>
                  </a:lnTo>
                  <a:lnTo>
                    <a:pt x="804" y="364"/>
                  </a:lnTo>
                  <a:lnTo>
                    <a:pt x="802" y="364"/>
                  </a:lnTo>
                  <a:lnTo>
                    <a:pt x="798" y="364"/>
                  </a:lnTo>
                  <a:lnTo>
                    <a:pt x="792" y="366"/>
                  </a:lnTo>
                  <a:lnTo>
                    <a:pt x="790" y="366"/>
                  </a:lnTo>
                  <a:lnTo>
                    <a:pt x="788" y="366"/>
                  </a:lnTo>
                  <a:lnTo>
                    <a:pt x="782" y="368"/>
                  </a:lnTo>
                  <a:lnTo>
                    <a:pt x="780" y="370"/>
                  </a:lnTo>
                  <a:lnTo>
                    <a:pt x="782" y="370"/>
                  </a:lnTo>
                  <a:lnTo>
                    <a:pt x="786" y="372"/>
                  </a:lnTo>
                  <a:lnTo>
                    <a:pt x="788" y="372"/>
                  </a:lnTo>
                  <a:lnTo>
                    <a:pt x="794" y="370"/>
                  </a:lnTo>
                  <a:lnTo>
                    <a:pt x="796" y="370"/>
                  </a:lnTo>
                  <a:lnTo>
                    <a:pt x="800" y="376"/>
                  </a:lnTo>
                  <a:lnTo>
                    <a:pt x="798" y="374"/>
                  </a:lnTo>
                  <a:lnTo>
                    <a:pt x="792" y="374"/>
                  </a:lnTo>
                  <a:lnTo>
                    <a:pt x="794" y="380"/>
                  </a:lnTo>
                  <a:lnTo>
                    <a:pt x="800" y="386"/>
                  </a:lnTo>
                  <a:lnTo>
                    <a:pt x="794" y="382"/>
                  </a:lnTo>
                  <a:lnTo>
                    <a:pt x="796" y="388"/>
                  </a:lnTo>
                  <a:lnTo>
                    <a:pt x="790" y="390"/>
                  </a:lnTo>
                  <a:lnTo>
                    <a:pt x="788" y="390"/>
                  </a:lnTo>
                  <a:lnTo>
                    <a:pt x="788" y="396"/>
                  </a:lnTo>
                  <a:lnTo>
                    <a:pt x="790" y="404"/>
                  </a:lnTo>
                  <a:lnTo>
                    <a:pt x="786" y="410"/>
                  </a:lnTo>
                  <a:lnTo>
                    <a:pt x="780" y="412"/>
                  </a:lnTo>
                  <a:lnTo>
                    <a:pt x="774" y="410"/>
                  </a:lnTo>
                  <a:lnTo>
                    <a:pt x="768" y="410"/>
                  </a:lnTo>
                  <a:lnTo>
                    <a:pt x="762" y="410"/>
                  </a:lnTo>
                  <a:lnTo>
                    <a:pt x="754" y="408"/>
                  </a:lnTo>
                  <a:lnTo>
                    <a:pt x="750" y="408"/>
                  </a:lnTo>
                  <a:lnTo>
                    <a:pt x="744" y="406"/>
                  </a:lnTo>
                  <a:lnTo>
                    <a:pt x="738" y="406"/>
                  </a:lnTo>
                  <a:lnTo>
                    <a:pt x="732" y="410"/>
                  </a:lnTo>
                  <a:lnTo>
                    <a:pt x="730" y="414"/>
                  </a:lnTo>
                  <a:lnTo>
                    <a:pt x="726" y="416"/>
                  </a:lnTo>
                  <a:lnTo>
                    <a:pt x="726" y="418"/>
                  </a:lnTo>
                  <a:lnTo>
                    <a:pt x="726" y="424"/>
                  </a:lnTo>
                  <a:lnTo>
                    <a:pt x="724" y="430"/>
                  </a:lnTo>
                  <a:lnTo>
                    <a:pt x="728" y="436"/>
                  </a:lnTo>
                  <a:lnTo>
                    <a:pt x="734" y="438"/>
                  </a:lnTo>
                  <a:lnTo>
                    <a:pt x="740" y="438"/>
                  </a:lnTo>
                  <a:lnTo>
                    <a:pt x="746" y="442"/>
                  </a:lnTo>
                  <a:lnTo>
                    <a:pt x="746" y="448"/>
                  </a:lnTo>
                  <a:lnTo>
                    <a:pt x="754" y="450"/>
                  </a:lnTo>
                  <a:lnTo>
                    <a:pt x="760" y="450"/>
                  </a:lnTo>
                  <a:lnTo>
                    <a:pt x="764" y="448"/>
                  </a:lnTo>
                  <a:lnTo>
                    <a:pt x="770" y="448"/>
                  </a:lnTo>
                  <a:lnTo>
                    <a:pt x="776" y="454"/>
                  </a:lnTo>
                  <a:lnTo>
                    <a:pt x="776" y="456"/>
                  </a:lnTo>
                  <a:lnTo>
                    <a:pt x="778" y="462"/>
                  </a:lnTo>
                  <a:lnTo>
                    <a:pt x="774" y="468"/>
                  </a:lnTo>
                  <a:lnTo>
                    <a:pt x="774" y="474"/>
                  </a:lnTo>
                  <a:lnTo>
                    <a:pt x="776" y="478"/>
                  </a:lnTo>
                  <a:lnTo>
                    <a:pt x="780" y="484"/>
                  </a:lnTo>
                  <a:lnTo>
                    <a:pt x="780" y="488"/>
                  </a:lnTo>
                  <a:lnTo>
                    <a:pt x="782" y="490"/>
                  </a:lnTo>
                  <a:lnTo>
                    <a:pt x="788" y="496"/>
                  </a:lnTo>
                  <a:lnTo>
                    <a:pt x="792" y="498"/>
                  </a:lnTo>
                  <a:lnTo>
                    <a:pt x="798" y="504"/>
                  </a:lnTo>
                  <a:lnTo>
                    <a:pt x="798" y="512"/>
                  </a:lnTo>
                  <a:lnTo>
                    <a:pt x="798" y="514"/>
                  </a:lnTo>
                  <a:lnTo>
                    <a:pt x="796" y="520"/>
                  </a:lnTo>
                  <a:lnTo>
                    <a:pt x="794" y="522"/>
                  </a:lnTo>
                  <a:lnTo>
                    <a:pt x="788" y="528"/>
                  </a:lnTo>
                  <a:lnTo>
                    <a:pt x="788" y="534"/>
                  </a:lnTo>
                  <a:lnTo>
                    <a:pt x="784" y="540"/>
                  </a:lnTo>
                  <a:lnTo>
                    <a:pt x="780" y="546"/>
                  </a:lnTo>
                  <a:lnTo>
                    <a:pt x="778" y="552"/>
                  </a:lnTo>
                  <a:lnTo>
                    <a:pt x="778" y="558"/>
                  </a:lnTo>
                  <a:lnTo>
                    <a:pt x="780" y="564"/>
                  </a:lnTo>
                  <a:lnTo>
                    <a:pt x="782" y="570"/>
                  </a:lnTo>
                  <a:lnTo>
                    <a:pt x="780" y="572"/>
                  </a:lnTo>
                  <a:lnTo>
                    <a:pt x="780" y="574"/>
                  </a:lnTo>
                  <a:lnTo>
                    <a:pt x="776" y="572"/>
                  </a:lnTo>
                  <a:lnTo>
                    <a:pt x="770" y="570"/>
                  </a:lnTo>
                  <a:lnTo>
                    <a:pt x="764" y="568"/>
                  </a:lnTo>
                  <a:lnTo>
                    <a:pt x="758" y="572"/>
                  </a:lnTo>
                  <a:lnTo>
                    <a:pt x="752" y="574"/>
                  </a:lnTo>
                  <a:lnTo>
                    <a:pt x="750" y="574"/>
                  </a:lnTo>
                  <a:lnTo>
                    <a:pt x="744" y="568"/>
                  </a:lnTo>
                  <a:lnTo>
                    <a:pt x="738" y="562"/>
                  </a:lnTo>
                  <a:lnTo>
                    <a:pt x="732" y="560"/>
                  </a:lnTo>
                  <a:lnTo>
                    <a:pt x="726" y="562"/>
                  </a:lnTo>
                  <a:lnTo>
                    <a:pt x="720" y="562"/>
                  </a:lnTo>
                  <a:lnTo>
                    <a:pt x="714" y="564"/>
                  </a:lnTo>
                  <a:lnTo>
                    <a:pt x="708" y="562"/>
                  </a:lnTo>
                  <a:lnTo>
                    <a:pt x="706" y="562"/>
                  </a:lnTo>
                  <a:lnTo>
                    <a:pt x="704" y="560"/>
                  </a:lnTo>
                  <a:lnTo>
                    <a:pt x="706" y="554"/>
                  </a:lnTo>
                  <a:lnTo>
                    <a:pt x="702" y="548"/>
                  </a:lnTo>
                  <a:lnTo>
                    <a:pt x="702" y="542"/>
                  </a:lnTo>
                  <a:lnTo>
                    <a:pt x="700" y="538"/>
                  </a:lnTo>
                  <a:lnTo>
                    <a:pt x="700" y="530"/>
                  </a:lnTo>
                  <a:lnTo>
                    <a:pt x="704" y="524"/>
                  </a:lnTo>
                  <a:lnTo>
                    <a:pt x="704" y="520"/>
                  </a:lnTo>
                  <a:lnTo>
                    <a:pt x="702" y="518"/>
                  </a:lnTo>
                  <a:lnTo>
                    <a:pt x="696" y="516"/>
                  </a:lnTo>
                  <a:lnTo>
                    <a:pt x="692" y="516"/>
                  </a:lnTo>
                  <a:lnTo>
                    <a:pt x="684" y="512"/>
                  </a:lnTo>
                  <a:lnTo>
                    <a:pt x="678" y="508"/>
                  </a:lnTo>
                  <a:lnTo>
                    <a:pt x="674" y="506"/>
                  </a:lnTo>
                  <a:lnTo>
                    <a:pt x="666" y="502"/>
                  </a:lnTo>
                  <a:lnTo>
                    <a:pt x="660" y="500"/>
                  </a:lnTo>
                  <a:lnTo>
                    <a:pt x="654" y="498"/>
                  </a:lnTo>
                  <a:lnTo>
                    <a:pt x="648" y="502"/>
                  </a:lnTo>
                  <a:lnTo>
                    <a:pt x="642" y="502"/>
                  </a:lnTo>
                  <a:lnTo>
                    <a:pt x="636" y="500"/>
                  </a:lnTo>
                  <a:lnTo>
                    <a:pt x="632" y="496"/>
                  </a:lnTo>
                  <a:lnTo>
                    <a:pt x="630" y="496"/>
                  </a:lnTo>
                  <a:lnTo>
                    <a:pt x="624" y="492"/>
                  </a:lnTo>
                  <a:lnTo>
                    <a:pt x="618" y="488"/>
                  </a:lnTo>
                  <a:lnTo>
                    <a:pt x="612" y="484"/>
                  </a:lnTo>
                  <a:lnTo>
                    <a:pt x="606" y="480"/>
                  </a:lnTo>
                  <a:lnTo>
                    <a:pt x="600" y="476"/>
                  </a:lnTo>
                  <a:lnTo>
                    <a:pt x="598" y="474"/>
                  </a:lnTo>
                  <a:lnTo>
                    <a:pt x="592" y="472"/>
                  </a:lnTo>
                  <a:lnTo>
                    <a:pt x="586" y="470"/>
                  </a:lnTo>
                  <a:lnTo>
                    <a:pt x="580" y="466"/>
                  </a:lnTo>
                  <a:lnTo>
                    <a:pt x="574" y="462"/>
                  </a:lnTo>
                  <a:lnTo>
                    <a:pt x="568" y="458"/>
                  </a:lnTo>
                  <a:lnTo>
                    <a:pt x="562" y="454"/>
                  </a:lnTo>
                  <a:lnTo>
                    <a:pt x="560" y="452"/>
                  </a:lnTo>
                  <a:lnTo>
                    <a:pt x="556" y="450"/>
                  </a:lnTo>
                  <a:lnTo>
                    <a:pt x="550" y="452"/>
                  </a:lnTo>
                  <a:lnTo>
                    <a:pt x="544" y="450"/>
                  </a:lnTo>
                  <a:lnTo>
                    <a:pt x="538" y="446"/>
                  </a:lnTo>
                  <a:lnTo>
                    <a:pt x="532" y="442"/>
                  </a:lnTo>
                  <a:lnTo>
                    <a:pt x="526" y="440"/>
                  </a:lnTo>
                  <a:lnTo>
                    <a:pt x="520" y="436"/>
                  </a:lnTo>
                  <a:lnTo>
                    <a:pt x="518" y="436"/>
                  </a:lnTo>
                  <a:lnTo>
                    <a:pt x="516" y="432"/>
                  </a:lnTo>
                  <a:lnTo>
                    <a:pt x="514" y="432"/>
                  </a:lnTo>
                  <a:lnTo>
                    <a:pt x="510" y="426"/>
                  </a:lnTo>
                  <a:lnTo>
                    <a:pt x="504" y="420"/>
                  </a:lnTo>
                  <a:lnTo>
                    <a:pt x="498" y="418"/>
                  </a:lnTo>
                  <a:lnTo>
                    <a:pt x="492" y="414"/>
                  </a:lnTo>
                  <a:lnTo>
                    <a:pt x="486" y="410"/>
                  </a:lnTo>
                  <a:lnTo>
                    <a:pt x="480" y="408"/>
                  </a:lnTo>
                  <a:lnTo>
                    <a:pt x="474" y="404"/>
                  </a:lnTo>
                  <a:lnTo>
                    <a:pt x="468" y="400"/>
                  </a:lnTo>
                  <a:lnTo>
                    <a:pt x="462" y="396"/>
                  </a:lnTo>
                  <a:lnTo>
                    <a:pt x="456" y="392"/>
                  </a:lnTo>
                  <a:lnTo>
                    <a:pt x="450" y="390"/>
                  </a:lnTo>
                  <a:lnTo>
                    <a:pt x="444" y="386"/>
                  </a:lnTo>
                  <a:lnTo>
                    <a:pt x="438" y="380"/>
                  </a:lnTo>
                  <a:lnTo>
                    <a:pt x="434" y="378"/>
                  </a:lnTo>
                  <a:lnTo>
                    <a:pt x="432" y="372"/>
                  </a:lnTo>
                  <a:lnTo>
                    <a:pt x="432" y="366"/>
                  </a:lnTo>
                  <a:lnTo>
                    <a:pt x="428" y="360"/>
                  </a:lnTo>
                  <a:lnTo>
                    <a:pt x="424" y="354"/>
                  </a:lnTo>
                  <a:lnTo>
                    <a:pt x="420" y="348"/>
                  </a:lnTo>
                  <a:lnTo>
                    <a:pt x="414" y="346"/>
                  </a:lnTo>
                  <a:lnTo>
                    <a:pt x="408" y="340"/>
                  </a:lnTo>
                  <a:lnTo>
                    <a:pt x="404" y="334"/>
                  </a:lnTo>
                  <a:lnTo>
                    <a:pt x="400" y="328"/>
                  </a:lnTo>
                  <a:lnTo>
                    <a:pt x="398" y="322"/>
                  </a:lnTo>
                  <a:lnTo>
                    <a:pt x="396" y="316"/>
                  </a:lnTo>
                  <a:lnTo>
                    <a:pt x="392" y="310"/>
                  </a:lnTo>
                  <a:lnTo>
                    <a:pt x="390" y="306"/>
                  </a:lnTo>
                  <a:lnTo>
                    <a:pt x="384" y="302"/>
                  </a:lnTo>
                  <a:lnTo>
                    <a:pt x="378" y="298"/>
                  </a:lnTo>
                  <a:lnTo>
                    <a:pt x="372" y="294"/>
                  </a:lnTo>
                  <a:lnTo>
                    <a:pt x="366" y="292"/>
                  </a:lnTo>
                  <a:lnTo>
                    <a:pt x="360" y="292"/>
                  </a:lnTo>
                  <a:lnTo>
                    <a:pt x="358" y="296"/>
                  </a:lnTo>
                  <a:lnTo>
                    <a:pt x="356" y="298"/>
                  </a:lnTo>
                  <a:lnTo>
                    <a:pt x="356" y="300"/>
                  </a:lnTo>
                  <a:lnTo>
                    <a:pt x="350" y="300"/>
                  </a:lnTo>
                  <a:lnTo>
                    <a:pt x="344" y="296"/>
                  </a:lnTo>
                  <a:lnTo>
                    <a:pt x="338" y="296"/>
                  </a:lnTo>
                  <a:lnTo>
                    <a:pt x="336" y="296"/>
                  </a:lnTo>
                  <a:lnTo>
                    <a:pt x="330" y="294"/>
                  </a:lnTo>
                  <a:lnTo>
                    <a:pt x="324" y="294"/>
                  </a:lnTo>
                  <a:lnTo>
                    <a:pt x="318" y="294"/>
                  </a:lnTo>
                  <a:lnTo>
                    <a:pt x="312" y="296"/>
                  </a:lnTo>
                  <a:lnTo>
                    <a:pt x="306" y="296"/>
                  </a:lnTo>
                  <a:lnTo>
                    <a:pt x="300" y="292"/>
                  </a:lnTo>
                  <a:lnTo>
                    <a:pt x="294" y="288"/>
                  </a:lnTo>
                  <a:lnTo>
                    <a:pt x="288" y="288"/>
                  </a:lnTo>
                  <a:lnTo>
                    <a:pt x="282" y="284"/>
                  </a:lnTo>
                  <a:lnTo>
                    <a:pt x="280" y="278"/>
                  </a:lnTo>
                  <a:lnTo>
                    <a:pt x="284" y="272"/>
                  </a:lnTo>
                  <a:lnTo>
                    <a:pt x="280" y="266"/>
                  </a:lnTo>
                  <a:lnTo>
                    <a:pt x="276" y="260"/>
                  </a:lnTo>
                  <a:lnTo>
                    <a:pt x="276" y="258"/>
                  </a:lnTo>
                  <a:lnTo>
                    <a:pt x="282" y="258"/>
                  </a:lnTo>
                  <a:lnTo>
                    <a:pt x="280" y="252"/>
                  </a:lnTo>
                  <a:lnTo>
                    <a:pt x="278" y="250"/>
                  </a:lnTo>
                  <a:lnTo>
                    <a:pt x="272" y="248"/>
                  </a:lnTo>
                  <a:lnTo>
                    <a:pt x="272" y="246"/>
                  </a:lnTo>
                  <a:lnTo>
                    <a:pt x="268" y="246"/>
                  </a:lnTo>
                  <a:lnTo>
                    <a:pt x="268" y="242"/>
                  </a:lnTo>
                  <a:lnTo>
                    <a:pt x="268" y="236"/>
                  </a:lnTo>
                  <a:lnTo>
                    <a:pt x="266" y="236"/>
                  </a:lnTo>
                  <a:lnTo>
                    <a:pt x="266" y="232"/>
                  </a:lnTo>
                  <a:lnTo>
                    <a:pt x="264" y="228"/>
                  </a:lnTo>
                  <a:lnTo>
                    <a:pt x="262" y="226"/>
                  </a:lnTo>
                  <a:lnTo>
                    <a:pt x="256" y="222"/>
                  </a:lnTo>
                  <a:lnTo>
                    <a:pt x="248" y="220"/>
                  </a:lnTo>
                  <a:lnTo>
                    <a:pt x="246" y="222"/>
                  </a:lnTo>
                  <a:lnTo>
                    <a:pt x="240" y="222"/>
                  </a:lnTo>
                  <a:lnTo>
                    <a:pt x="238" y="222"/>
                  </a:lnTo>
                  <a:lnTo>
                    <a:pt x="234" y="224"/>
                  </a:lnTo>
                  <a:lnTo>
                    <a:pt x="228" y="220"/>
                  </a:lnTo>
                  <a:lnTo>
                    <a:pt x="222" y="218"/>
                  </a:lnTo>
                  <a:lnTo>
                    <a:pt x="220" y="212"/>
                  </a:lnTo>
                  <a:lnTo>
                    <a:pt x="214" y="208"/>
                  </a:lnTo>
                  <a:lnTo>
                    <a:pt x="208" y="208"/>
                  </a:lnTo>
                  <a:lnTo>
                    <a:pt x="202" y="206"/>
                  </a:lnTo>
                  <a:lnTo>
                    <a:pt x="196" y="202"/>
                  </a:lnTo>
                  <a:lnTo>
                    <a:pt x="190" y="198"/>
                  </a:lnTo>
                  <a:lnTo>
                    <a:pt x="184" y="194"/>
                  </a:lnTo>
                  <a:lnTo>
                    <a:pt x="178" y="192"/>
                  </a:lnTo>
                  <a:lnTo>
                    <a:pt x="176" y="198"/>
                  </a:lnTo>
                  <a:lnTo>
                    <a:pt x="170" y="198"/>
                  </a:lnTo>
                  <a:lnTo>
                    <a:pt x="166" y="196"/>
                  </a:lnTo>
                  <a:lnTo>
                    <a:pt x="158" y="196"/>
                  </a:lnTo>
                  <a:lnTo>
                    <a:pt x="158" y="202"/>
                  </a:lnTo>
                  <a:lnTo>
                    <a:pt x="166" y="204"/>
                  </a:lnTo>
                  <a:lnTo>
                    <a:pt x="170" y="210"/>
                  </a:lnTo>
                  <a:lnTo>
                    <a:pt x="176" y="216"/>
                  </a:lnTo>
                  <a:lnTo>
                    <a:pt x="180" y="222"/>
                  </a:lnTo>
                  <a:lnTo>
                    <a:pt x="174" y="220"/>
                  </a:lnTo>
                  <a:lnTo>
                    <a:pt x="170" y="214"/>
                  </a:lnTo>
                  <a:lnTo>
                    <a:pt x="164" y="212"/>
                  </a:lnTo>
                  <a:lnTo>
                    <a:pt x="158" y="212"/>
                  </a:lnTo>
                  <a:lnTo>
                    <a:pt x="152" y="208"/>
                  </a:lnTo>
                  <a:lnTo>
                    <a:pt x="146" y="212"/>
                  </a:lnTo>
                  <a:lnTo>
                    <a:pt x="150" y="218"/>
                  </a:lnTo>
                  <a:lnTo>
                    <a:pt x="148" y="224"/>
                  </a:lnTo>
                  <a:lnTo>
                    <a:pt x="144" y="230"/>
                  </a:lnTo>
                  <a:lnTo>
                    <a:pt x="138" y="232"/>
                  </a:lnTo>
                  <a:lnTo>
                    <a:pt x="132" y="232"/>
                  </a:lnTo>
                  <a:lnTo>
                    <a:pt x="126" y="232"/>
                  </a:lnTo>
                  <a:lnTo>
                    <a:pt x="120" y="232"/>
                  </a:lnTo>
                  <a:lnTo>
                    <a:pt x="114" y="236"/>
                  </a:lnTo>
                  <a:lnTo>
                    <a:pt x="112" y="242"/>
                  </a:lnTo>
                  <a:lnTo>
                    <a:pt x="106" y="248"/>
                  </a:lnTo>
                  <a:lnTo>
                    <a:pt x="102" y="252"/>
                  </a:lnTo>
                  <a:lnTo>
                    <a:pt x="104" y="258"/>
                  </a:lnTo>
                  <a:lnTo>
                    <a:pt x="104" y="264"/>
                  </a:lnTo>
                  <a:lnTo>
                    <a:pt x="108" y="270"/>
                  </a:lnTo>
                  <a:lnTo>
                    <a:pt x="110" y="276"/>
                  </a:lnTo>
                  <a:lnTo>
                    <a:pt x="112" y="282"/>
                  </a:lnTo>
                  <a:lnTo>
                    <a:pt x="120" y="288"/>
                  </a:lnTo>
                  <a:lnTo>
                    <a:pt x="114" y="292"/>
                  </a:lnTo>
                  <a:lnTo>
                    <a:pt x="108" y="292"/>
                  </a:lnTo>
                  <a:lnTo>
                    <a:pt x="102" y="292"/>
                  </a:lnTo>
                  <a:lnTo>
                    <a:pt x="96" y="292"/>
                  </a:lnTo>
                  <a:lnTo>
                    <a:pt x="90" y="292"/>
                  </a:lnTo>
                  <a:lnTo>
                    <a:pt x="84" y="292"/>
                  </a:lnTo>
                  <a:lnTo>
                    <a:pt x="78" y="290"/>
                  </a:lnTo>
                  <a:lnTo>
                    <a:pt x="72" y="290"/>
                  </a:lnTo>
                  <a:lnTo>
                    <a:pt x="66" y="290"/>
                  </a:lnTo>
                  <a:lnTo>
                    <a:pt x="60" y="290"/>
                  </a:lnTo>
                  <a:lnTo>
                    <a:pt x="54" y="288"/>
                  </a:lnTo>
                  <a:lnTo>
                    <a:pt x="52" y="278"/>
                  </a:lnTo>
                  <a:lnTo>
                    <a:pt x="50" y="268"/>
                  </a:lnTo>
                  <a:lnTo>
                    <a:pt x="50" y="262"/>
                  </a:lnTo>
                  <a:lnTo>
                    <a:pt x="48" y="256"/>
                  </a:lnTo>
                  <a:lnTo>
                    <a:pt x="46" y="248"/>
                  </a:lnTo>
                  <a:lnTo>
                    <a:pt x="44" y="242"/>
                  </a:lnTo>
                  <a:lnTo>
                    <a:pt x="44" y="236"/>
                  </a:lnTo>
                  <a:lnTo>
                    <a:pt x="42" y="224"/>
                  </a:lnTo>
                  <a:lnTo>
                    <a:pt x="40" y="216"/>
                  </a:lnTo>
                  <a:lnTo>
                    <a:pt x="38" y="210"/>
                  </a:lnTo>
                  <a:lnTo>
                    <a:pt x="36" y="204"/>
                  </a:lnTo>
                  <a:lnTo>
                    <a:pt x="36" y="196"/>
                  </a:lnTo>
                  <a:lnTo>
                    <a:pt x="34" y="190"/>
                  </a:lnTo>
                  <a:lnTo>
                    <a:pt x="32" y="184"/>
                  </a:lnTo>
                  <a:lnTo>
                    <a:pt x="30" y="176"/>
                  </a:lnTo>
                  <a:lnTo>
                    <a:pt x="30" y="170"/>
                  </a:lnTo>
                  <a:lnTo>
                    <a:pt x="28" y="164"/>
                  </a:lnTo>
                  <a:lnTo>
                    <a:pt x="26" y="158"/>
                  </a:lnTo>
                  <a:lnTo>
                    <a:pt x="26" y="150"/>
                  </a:lnTo>
                  <a:lnTo>
                    <a:pt x="24" y="144"/>
                  </a:lnTo>
                  <a:lnTo>
                    <a:pt x="22" y="138"/>
                  </a:lnTo>
                  <a:lnTo>
                    <a:pt x="22" y="130"/>
                  </a:lnTo>
                  <a:lnTo>
                    <a:pt x="20" y="124"/>
                  </a:lnTo>
                  <a:lnTo>
                    <a:pt x="18" y="118"/>
                  </a:lnTo>
                  <a:lnTo>
                    <a:pt x="18" y="110"/>
                  </a:lnTo>
                  <a:lnTo>
                    <a:pt x="16" y="104"/>
                  </a:lnTo>
                  <a:lnTo>
                    <a:pt x="14" y="98"/>
                  </a:lnTo>
                  <a:lnTo>
                    <a:pt x="12" y="90"/>
                  </a:lnTo>
                  <a:lnTo>
                    <a:pt x="10" y="84"/>
                  </a:lnTo>
                  <a:lnTo>
                    <a:pt x="10" y="78"/>
                  </a:lnTo>
                  <a:lnTo>
                    <a:pt x="8" y="70"/>
                  </a:lnTo>
                  <a:lnTo>
                    <a:pt x="6" y="64"/>
                  </a:lnTo>
                  <a:lnTo>
                    <a:pt x="6" y="58"/>
                  </a:lnTo>
                  <a:lnTo>
                    <a:pt x="4" y="50"/>
                  </a:lnTo>
                  <a:lnTo>
                    <a:pt x="2" y="44"/>
                  </a:lnTo>
                  <a:lnTo>
                    <a:pt x="0" y="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0" name="Freeform 107"/>
            <p:cNvSpPr>
              <a:spLocks/>
            </p:cNvSpPr>
            <p:nvPr/>
          </p:nvSpPr>
          <p:spPr bwMode="auto">
            <a:xfrm>
              <a:off x="5276850" y="2679700"/>
              <a:ext cx="884238" cy="409575"/>
            </a:xfrm>
            <a:custGeom>
              <a:avLst/>
              <a:gdLst>
                <a:gd name="T0" fmla="*/ 2147483647 w 2172"/>
                <a:gd name="T1" fmla="*/ 2147483647 h 998"/>
                <a:gd name="T2" fmla="*/ 2147483647 w 2172"/>
                <a:gd name="T3" fmla="*/ 2147483647 h 998"/>
                <a:gd name="T4" fmla="*/ 2147483647 w 2172"/>
                <a:gd name="T5" fmla="*/ 2147483647 h 998"/>
                <a:gd name="T6" fmla="*/ 2147483647 w 2172"/>
                <a:gd name="T7" fmla="*/ 2147483647 h 998"/>
                <a:gd name="T8" fmla="*/ 2147483647 w 2172"/>
                <a:gd name="T9" fmla="*/ 2147483647 h 998"/>
                <a:gd name="T10" fmla="*/ 2147483647 w 2172"/>
                <a:gd name="T11" fmla="*/ 2147483647 h 998"/>
                <a:gd name="T12" fmla="*/ 2147483647 w 2172"/>
                <a:gd name="T13" fmla="*/ 2147483647 h 998"/>
                <a:gd name="T14" fmla="*/ 2147483647 w 2172"/>
                <a:gd name="T15" fmla="*/ 2147483647 h 998"/>
                <a:gd name="T16" fmla="*/ 2147483647 w 2172"/>
                <a:gd name="T17" fmla="*/ 2147483647 h 998"/>
                <a:gd name="T18" fmla="*/ 2147483647 w 2172"/>
                <a:gd name="T19" fmla="*/ 2147483647 h 998"/>
                <a:gd name="T20" fmla="*/ 2147483647 w 2172"/>
                <a:gd name="T21" fmla="*/ 2147483647 h 998"/>
                <a:gd name="T22" fmla="*/ 2147483647 w 2172"/>
                <a:gd name="T23" fmla="*/ 2147483647 h 998"/>
                <a:gd name="T24" fmla="*/ 2147483647 w 2172"/>
                <a:gd name="T25" fmla="*/ 2147483647 h 998"/>
                <a:gd name="T26" fmla="*/ 2147483647 w 2172"/>
                <a:gd name="T27" fmla="*/ 2147483647 h 998"/>
                <a:gd name="T28" fmla="*/ 2147483647 w 2172"/>
                <a:gd name="T29" fmla="*/ 2147483647 h 998"/>
                <a:gd name="T30" fmla="*/ 2147483647 w 2172"/>
                <a:gd name="T31" fmla="*/ 2147483647 h 998"/>
                <a:gd name="T32" fmla="*/ 2147483647 w 2172"/>
                <a:gd name="T33" fmla="*/ 2147483647 h 998"/>
                <a:gd name="T34" fmla="*/ 2147483647 w 2172"/>
                <a:gd name="T35" fmla="*/ 2147483647 h 998"/>
                <a:gd name="T36" fmla="*/ 2147483647 w 2172"/>
                <a:gd name="T37" fmla="*/ 2147483647 h 998"/>
                <a:gd name="T38" fmla="*/ 2147483647 w 2172"/>
                <a:gd name="T39" fmla="*/ 2147483647 h 998"/>
                <a:gd name="T40" fmla="*/ 2147483647 w 2172"/>
                <a:gd name="T41" fmla="*/ 2147483647 h 998"/>
                <a:gd name="T42" fmla="*/ 2147483647 w 2172"/>
                <a:gd name="T43" fmla="*/ 2147483647 h 998"/>
                <a:gd name="T44" fmla="*/ 2147483647 w 2172"/>
                <a:gd name="T45" fmla="*/ 2147483647 h 998"/>
                <a:gd name="T46" fmla="*/ 2147483647 w 2172"/>
                <a:gd name="T47" fmla="*/ 2147483647 h 998"/>
                <a:gd name="T48" fmla="*/ 2147483647 w 2172"/>
                <a:gd name="T49" fmla="*/ 2147483647 h 998"/>
                <a:gd name="T50" fmla="*/ 2147483647 w 2172"/>
                <a:gd name="T51" fmla="*/ 2147483647 h 998"/>
                <a:gd name="T52" fmla="*/ 2147483647 w 2172"/>
                <a:gd name="T53" fmla="*/ 2147483647 h 998"/>
                <a:gd name="T54" fmla="*/ 2147483647 w 2172"/>
                <a:gd name="T55" fmla="*/ 2147483647 h 998"/>
                <a:gd name="T56" fmla="*/ 2147483647 w 2172"/>
                <a:gd name="T57" fmla="*/ 2147483647 h 998"/>
                <a:gd name="T58" fmla="*/ 2147483647 w 2172"/>
                <a:gd name="T59" fmla="*/ 2147483647 h 998"/>
                <a:gd name="T60" fmla="*/ 2147483647 w 2172"/>
                <a:gd name="T61" fmla="*/ 2147483647 h 998"/>
                <a:gd name="T62" fmla="*/ 2147483647 w 2172"/>
                <a:gd name="T63" fmla="*/ 2147483647 h 998"/>
                <a:gd name="T64" fmla="*/ 2147483647 w 2172"/>
                <a:gd name="T65" fmla="*/ 2147483647 h 998"/>
                <a:gd name="T66" fmla="*/ 2147483647 w 2172"/>
                <a:gd name="T67" fmla="*/ 2147483647 h 998"/>
                <a:gd name="T68" fmla="*/ 2147483647 w 2172"/>
                <a:gd name="T69" fmla="*/ 2147483647 h 998"/>
                <a:gd name="T70" fmla="*/ 2147483647 w 2172"/>
                <a:gd name="T71" fmla="*/ 2147483647 h 998"/>
                <a:gd name="T72" fmla="*/ 2147483647 w 2172"/>
                <a:gd name="T73" fmla="*/ 2147483647 h 998"/>
                <a:gd name="T74" fmla="*/ 2147483647 w 2172"/>
                <a:gd name="T75" fmla="*/ 2147483647 h 998"/>
                <a:gd name="T76" fmla="*/ 2147483647 w 2172"/>
                <a:gd name="T77" fmla="*/ 2147483647 h 998"/>
                <a:gd name="T78" fmla="*/ 2147483647 w 2172"/>
                <a:gd name="T79" fmla="*/ 2147483647 h 998"/>
                <a:gd name="T80" fmla="*/ 2147483647 w 2172"/>
                <a:gd name="T81" fmla="*/ 2147483647 h 998"/>
                <a:gd name="T82" fmla="*/ 2147483647 w 2172"/>
                <a:gd name="T83" fmla="*/ 2147483647 h 998"/>
                <a:gd name="T84" fmla="*/ 2147483647 w 2172"/>
                <a:gd name="T85" fmla="*/ 2147483647 h 998"/>
                <a:gd name="T86" fmla="*/ 2147483647 w 2172"/>
                <a:gd name="T87" fmla="*/ 2147483647 h 998"/>
                <a:gd name="T88" fmla="*/ 2147483647 w 2172"/>
                <a:gd name="T89" fmla="*/ 2147483647 h 998"/>
                <a:gd name="T90" fmla="*/ 2147483647 w 2172"/>
                <a:gd name="T91" fmla="*/ 2147483647 h 998"/>
                <a:gd name="T92" fmla="*/ 2147483647 w 2172"/>
                <a:gd name="T93" fmla="*/ 2147483647 h 998"/>
                <a:gd name="T94" fmla="*/ 2147483647 w 2172"/>
                <a:gd name="T95" fmla="*/ 2147483647 h 998"/>
                <a:gd name="T96" fmla="*/ 2147483647 w 2172"/>
                <a:gd name="T97" fmla="*/ 2147483647 h 998"/>
                <a:gd name="T98" fmla="*/ 2147483647 w 2172"/>
                <a:gd name="T99" fmla="*/ 2147483647 h 998"/>
                <a:gd name="T100" fmla="*/ 2147483647 w 2172"/>
                <a:gd name="T101" fmla="*/ 2147483647 h 998"/>
                <a:gd name="T102" fmla="*/ 2147483647 w 2172"/>
                <a:gd name="T103" fmla="*/ 2147483647 h 998"/>
                <a:gd name="T104" fmla="*/ 2147483647 w 2172"/>
                <a:gd name="T105" fmla="*/ 2147483647 h 998"/>
                <a:gd name="T106" fmla="*/ 2147483647 w 2172"/>
                <a:gd name="T107" fmla="*/ 2147483647 h 998"/>
                <a:gd name="T108" fmla="*/ 2147483647 w 2172"/>
                <a:gd name="T109" fmla="*/ 2147483647 h 998"/>
                <a:gd name="T110" fmla="*/ 2147483647 w 2172"/>
                <a:gd name="T111" fmla="*/ 2147483647 h 998"/>
                <a:gd name="T112" fmla="*/ 2147483647 w 2172"/>
                <a:gd name="T113" fmla="*/ 2147483647 h 998"/>
                <a:gd name="T114" fmla="*/ 2147483647 w 2172"/>
                <a:gd name="T115" fmla="*/ 2147483647 h 998"/>
                <a:gd name="T116" fmla="*/ 2147483647 w 2172"/>
                <a:gd name="T117" fmla="*/ 2147483647 h 998"/>
                <a:gd name="T118" fmla="*/ 2147483647 w 2172"/>
                <a:gd name="T119" fmla="*/ 2147483647 h 998"/>
                <a:gd name="T120" fmla="*/ 2147483647 w 2172"/>
                <a:gd name="T121" fmla="*/ 2147483647 h 998"/>
                <a:gd name="T122" fmla="*/ 2147483647 w 2172"/>
                <a:gd name="T123" fmla="*/ 2147483647 h 9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72"/>
                <a:gd name="T187" fmla="*/ 0 h 998"/>
                <a:gd name="T188" fmla="*/ 2172 w 2172"/>
                <a:gd name="T189" fmla="*/ 998 h 9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72" h="998">
                  <a:moveTo>
                    <a:pt x="4" y="450"/>
                  </a:moveTo>
                  <a:lnTo>
                    <a:pt x="4" y="446"/>
                  </a:lnTo>
                  <a:lnTo>
                    <a:pt x="6" y="440"/>
                  </a:lnTo>
                  <a:lnTo>
                    <a:pt x="6" y="438"/>
                  </a:lnTo>
                  <a:lnTo>
                    <a:pt x="8" y="430"/>
                  </a:lnTo>
                  <a:lnTo>
                    <a:pt x="10" y="430"/>
                  </a:lnTo>
                  <a:lnTo>
                    <a:pt x="12" y="430"/>
                  </a:lnTo>
                  <a:lnTo>
                    <a:pt x="18" y="426"/>
                  </a:lnTo>
                  <a:lnTo>
                    <a:pt x="20" y="418"/>
                  </a:lnTo>
                  <a:lnTo>
                    <a:pt x="18" y="414"/>
                  </a:lnTo>
                  <a:lnTo>
                    <a:pt x="12" y="408"/>
                  </a:lnTo>
                  <a:lnTo>
                    <a:pt x="6" y="406"/>
                  </a:lnTo>
                  <a:lnTo>
                    <a:pt x="4" y="400"/>
                  </a:lnTo>
                  <a:lnTo>
                    <a:pt x="4" y="396"/>
                  </a:lnTo>
                  <a:lnTo>
                    <a:pt x="4" y="388"/>
                  </a:lnTo>
                  <a:lnTo>
                    <a:pt x="4" y="386"/>
                  </a:lnTo>
                  <a:lnTo>
                    <a:pt x="4" y="380"/>
                  </a:lnTo>
                  <a:lnTo>
                    <a:pt x="4" y="372"/>
                  </a:lnTo>
                  <a:lnTo>
                    <a:pt x="8" y="368"/>
                  </a:lnTo>
                  <a:lnTo>
                    <a:pt x="14" y="364"/>
                  </a:lnTo>
                  <a:lnTo>
                    <a:pt x="20" y="360"/>
                  </a:lnTo>
                  <a:lnTo>
                    <a:pt x="22" y="358"/>
                  </a:lnTo>
                  <a:lnTo>
                    <a:pt x="22" y="352"/>
                  </a:lnTo>
                  <a:lnTo>
                    <a:pt x="18" y="346"/>
                  </a:lnTo>
                  <a:lnTo>
                    <a:pt x="18" y="342"/>
                  </a:lnTo>
                  <a:lnTo>
                    <a:pt x="24" y="334"/>
                  </a:lnTo>
                  <a:lnTo>
                    <a:pt x="30" y="330"/>
                  </a:lnTo>
                  <a:lnTo>
                    <a:pt x="36" y="332"/>
                  </a:lnTo>
                  <a:lnTo>
                    <a:pt x="42" y="336"/>
                  </a:lnTo>
                  <a:lnTo>
                    <a:pt x="48" y="342"/>
                  </a:lnTo>
                  <a:lnTo>
                    <a:pt x="54" y="346"/>
                  </a:lnTo>
                  <a:lnTo>
                    <a:pt x="58" y="350"/>
                  </a:lnTo>
                  <a:lnTo>
                    <a:pt x="64" y="354"/>
                  </a:lnTo>
                  <a:lnTo>
                    <a:pt x="66" y="360"/>
                  </a:lnTo>
                  <a:lnTo>
                    <a:pt x="72" y="364"/>
                  </a:lnTo>
                  <a:lnTo>
                    <a:pt x="76" y="368"/>
                  </a:lnTo>
                  <a:lnTo>
                    <a:pt x="82" y="372"/>
                  </a:lnTo>
                  <a:lnTo>
                    <a:pt x="88" y="370"/>
                  </a:lnTo>
                  <a:lnTo>
                    <a:pt x="94" y="368"/>
                  </a:lnTo>
                  <a:lnTo>
                    <a:pt x="100" y="366"/>
                  </a:lnTo>
                  <a:lnTo>
                    <a:pt x="106" y="360"/>
                  </a:lnTo>
                  <a:lnTo>
                    <a:pt x="106" y="358"/>
                  </a:lnTo>
                  <a:lnTo>
                    <a:pt x="106" y="354"/>
                  </a:lnTo>
                  <a:lnTo>
                    <a:pt x="100" y="350"/>
                  </a:lnTo>
                  <a:lnTo>
                    <a:pt x="96" y="344"/>
                  </a:lnTo>
                  <a:lnTo>
                    <a:pt x="92" y="338"/>
                  </a:lnTo>
                  <a:lnTo>
                    <a:pt x="90" y="332"/>
                  </a:lnTo>
                  <a:lnTo>
                    <a:pt x="88" y="326"/>
                  </a:lnTo>
                  <a:lnTo>
                    <a:pt x="86" y="320"/>
                  </a:lnTo>
                  <a:lnTo>
                    <a:pt x="80" y="316"/>
                  </a:lnTo>
                  <a:lnTo>
                    <a:pt x="88" y="318"/>
                  </a:lnTo>
                  <a:lnTo>
                    <a:pt x="92" y="320"/>
                  </a:lnTo>
                  <a:lnTo>
                    <a:pt x="98" y="318"/>
                  </a:lnTo>
                  <a:lnTo>
                    <a:pt x="106" y="312"/>
                  </a:lnTo>
                  <a:lnTo>
                    <a:pt x="110" y="308"/>
                  </a:lnTo>
                  <a:lnTo>
                    <a:pt x="116" y="306"/>
                  </a:lnTo>
                  <a:lnTo>
                    <a:pt x="122" y="300"/>
                  </a:lnTo>
                  <a:lnTo>
                    <a:pt x="116" y="294"/>
                  </a:lnTo>
                  <a:lnTo>
                    <a:pt x="118" y="288"/>
                  </a:lnTo>
                  <a:lnTo>
                    <a:pt x="124" y="286"/>
                  </a:lnTo>
                  <a:lnTo>
                    <a:pt x="130" y="286"/>
                  </a:lnTo>
                  <a:lnTo>
                    <a:pt x="136" y="286"/>
                  </a:lnTo>
                  <a:lnTo>
                    <a:pt x="142" y="282"/>
                  </a:lnTo>
                  <a:lnTo>
                    <a:pt x="144" y="280"/>
                  </a:lnTo>
                  <a:lnTo>
                    <a:pt x="146" y="278"/>
                  </a:lnTo>
                  <a:lnTo>
                    <a:pt x="152" y="276"/>
                  </a:lnTo>
                  <a:lnTo>
                    <a:pt x="158" y="276"/>
                  </a:lnTo>
                  <a:lnTo>
                    <a:pt x="164" y="272"/>
                  </a:lnTo>
                  <a:lnTo>
                    <a:pt x="164" y="266"/>
                  </a:lnTo>
                  <a:lnTo>
                    <a:pt x="170" y="262"/>
                  </a:lnTo>
                  <a:lnTo>
                    <a:pt x="170" y="258"/>
                  </a:lnTo>
                  <a:lnTo>
                    <a:pt x="172" y="250"/>
                  </a:lnTo>
                  <a:lnTo>
                    <a:pt x="178" y="252"/>
                  </a:lnTo>
                  <a:lnTo>
                    <a:pt x="182" y="254"/>
                  </a:lnTo>
                  <a:lnTo>
                    <a:pt x="180" y="248"/>
                  </a:lnTo>
                  <a:lnTo>
                    <a:pt x="178" y="242"/>
                  </a:lnTo>
                  <a:lnTo>
                    <a:pt x="184" y="244"/>
                  </a:lnTo>
                  <a:lnTo>
                    <a:pt x="190" y="248"/>
                  </a:lnTo>
                  <a:lnTo>
                    <a:pt x="192" y="248"/>
                  </a:lnTo>
                  <a:lnTo>
                    <a:pt x="198" y="248"/>
                  </a:lnTo>
                  <a:lnTo>
                    <a:pt x="204" y="248"/>
                  </a:lnTo>
                  <a:lnTo>
                    <a:pt x="210" y="250"/>
                  </a:lnTo>
                  <a:lnTo>
                    <a:pt x="210" y="256"/>
                  </a:lnTo>
                  <a:lnTo>
                    <a:pt x="216" y="262"/>
                  </a:lnTo>
                  <a:lnTo>
                    <a:pt x="220" y="262"/>
                  </a:lnTo>
                  <a:lnTo>
                    <a:pt x="226" y="258"/>
                  </a:lnTo>
                  <a:lnTo>
                    <a:pt x="232" y="262"/>
                  </a:lnTo>
                  <a:lnTo>
                    <a:pt x="236" y="258"/>
                  </a:lnTo>
                  <a:lnTo>
                    <a:pt x="236" y="252"/>
                  </a:lnTo>
                  <a:lnTo>
                    <a:pt x="242" y="248"/>
                  </a:lnTo>
                  <a:lnTo>
                    <a:pt x="248" y="250"/>
                  </a:lnTo>
                  <a:lnTo>
                    <a:pt x="254" y="244"/>
                  </a:lnTo>
                  <a:lnTo>
                    <a:pt x="260" y="242"/>
                  </a:lnTo>
                  <a:lnTo>
                    <a:pt x="264" y="248"/>
                  </a:lnTo>
                  <a:lnTo>
                    <a:pt x="270" y="254"/>
                  </a:lnTo>
                  <a:lnTo>
                    <a:pt x="272" y="260"/>
                  </a:lnTo>
                  <a:lnTo>
                    <a:pt x="274" y="260"/>
                  </a:lnTo>
                  <a:lnTo>
                    <a:pt x="278" y="262"/>
                  </a:lnTo>
                  <a:lnTo>
                    <a:pt x="284" y="262"/>
                  </a:lnTo>
                  <a:lnTo>
                    <a:pt x="290" y="262"/>
                  </a:lnTo>
                  <a:lnTo>
                    <a:pt x="296" y="264"/>
                  </a:lnTo>
                  <a:lnTo>
                    <a:pt x="300" y="262"/>
                  </a:lnTo>
                  <a:lnTo>
                    <a:pt x="306" y="262"/>
                  </a:lnTo>
                  <a:lnTo>
                    <a:pt x="312" y="260"/>
                  </a:lnTo>
                  <a:lnTo>
                    <a:pt x="318" y="260"/>
                  </a:lnTo>
                  <a:lnTo>
                    <a:pt x="324" y="264"/>
                  </a:lnTo>
                  <a:lnTo>
                    <a:pt x="330" y="266"/>
                  </a:lnTo>
                  <a:lnTo>
                    <a:pt x="334" y="272"/>
                  </a:lnTo>
                  <a:lnTo>
                    <a:pt x="338" y="278"/>
                  </a:lnTo>
                  <a:lnTo>
                    <a:pt x="344" y="280"/>
                  </a:lnTo>
                  <a:lnTo>
                    <a:pt x="350" y="280"/>
                  </a:lnTo>
                  <a:lnTo>
                    <a:pt x="356" y="282"/>
                  </a:lnTo>
                  <a:lnTo>
                    <a:pt x="362" y="286"/>
                  </a:lnTo>
                  <a:lnTo>
                    <a:pt x="364" y="286"/>
                  </a:lnTo>
                  <a:lnTo>
                    <a:pt x="368" y="290"/>
                  </a:lnTo>
                  <a:lnTo>
                    <a:pt x="372" y="296"/>
                  </a:lnTo>
                  <a:lnTo>
                    <a:pt x="378" y="300"/>
                  </a:lnTo>
                  <a:lnTo>
                    <a:pt x="384" y="300"/>
                  </a:lnTo>
                  <a:lnTo>
                    <a:pt x="390" y="304"/>
                  </a:lnTo>
                  <a:lnTo>
                    <a:pt x="388" y="310"/>
                  </a:lnTo>
                  <a:lnTo>
                    <a:pt x="388" y="316"/>
                  </a:lnTo>
                  <a:lnTo>
                    <a:pt x="390" y="320"/>
                  </a:lnTo>
                  <a:lnTo>
                    <a:pt x="396" y="326"/>
                  </a:lnTo>
                  <a:lnTo>
                    <a:pt x="402" y="322"/>
                  </a:lnTo>
                  <a:lnTo>
                    <a:pt x="402" y="316"/>
                  </a:lnTo>
                  <a:lnTo>
                    <a:pt x="400" y="310"/>
                  </a:lnTo>
                  <a:lnTo>
                    <a:pt x="398" y="304"/>
                  </a:lnTo>
                  <a:lnTo>
                    <a:pt x="392" y="300"/>
                  </a:lnTo>
                  <a:lnTo>
                    <a:pt x="390" y="294"/>
                  </a:lnTo>
                  <a:lnTo>
                    <a:pt x="396" y="292"/>
                  </a:lnTo>
                  <a:lnTo>
                    <a:pt x="402" y="294"/>
                  </a:lnTo>
                  <a:lnTo>
                    <a:pt x="408" y="296"/>
                  </a:lnTo>
                  <a:lnTo>
                    <a:pt x="412" y="300"/>
                  </a:lnTo>
                  <a:lnTo>
                    <a:pt x="414" y="300"/>
                  </a:lnTo>
                  <a:lnTo>
                    <a:pt x="420" y="306"/>
                  </a:lnTo>
                  <a:lnTo>
                    <a:pt x="428" y="310"/>
                  </a:lnTo>
                  <a:lnTo>
                    <a:pt x="432" y="314"/>
                  </a:lnTo>
                  <a:lnTo>
                    <a:pt x="438" y="316"/>
                  </a:lnTo>
                  <a:lnTo>
                    <a:pt x="444" y="316"/>
                  </a:lnTo>
                  <a:lnTo>
                    <a:pt x="450" y="320"/>
                  </a:lnTo>
                  <a:lnTo>
                    <a:pt x="458" y="324"/>
                  </a:lnTo>
                  <a:lnTo>
                    <a:pt x="462" y="320"/>
                  </a:lnTo>
                  <a:lnTo>
                    <a:pt x="468" y="318"/>
                  </a:lnTo>
                  <a:lnTo>
                    <a:pt x="474" y="312"/>
                  </a:lnTo>
                  <a:lnTo>
                    <a:pt x="476" y="306"/>
                  </a:lnTo>
                  <a:lnTo>
                    <a:pt x="476" y="304"/>
                  </a:lnTo>
                  <a:lnTo>
                    <a:pt x="482" y="300"/>
                  </a:lnTo>
                  <a:lnTo>
                    <a:pt x="488" y="296"/>
                  </a:lnTo>
                  <a:lnTo>
                    <a:pt x="488" y="290"/>
                  </a:lnTo>
                  <a:lnTo>
                    <a:pt x="496" y="292"/>
                  </a:lnTo>
                  <a:lnTo>
                    <a:pt x="500" y="294"/>
                  </a:lnTo>
                  <a:lnTo>
                    <a:pt x="502" y="288"/>
                  </a:lnTo>
                  <a:lnTo>
                    <a:pt x="508" y="290"/>
                  </a:lnTo>
                  <a:lnTo>
                    <a:pt x="514" y="288"/>
                  </a:lnTo>
                  <a:lnTo>
                    <a:pt x="520" y="288"/>
                  </a:lnTo>
                  <a:lnTo>
                    <a:pt x="526" y="286"/>
                  </a:lnTo>
                  <a:lnTo>
                    <a:pt x="530" y="292"/>
                  </a:lnTo>
                  <a:lnTo>
                    <a:pt x="536" y="296"/>
                  </a:lnTo>
                  <a:lnTo>
                    <a:pt x="542" y="300"/>
                  </a:lnTo>
                  <a:lnTo>
                    <a:pt x="546" y="302"/>
                  </a:lnTo>
                  <a:lnTo>
                    <a:pt x="548" y="302"/>
                  </a:lnTo>
                  <a:lnTo>
                    <a:pt x="554" y="298"/>
                  </a:lnTo>
                  <a:lnTo>
                    <a:pt x="558" y="300"/>
                  </a:lnTo>
                  <a:lnTo>
                    <a:pt x="558" y="294"/>
                  </a:lnTo>
                  <a:lnTo>
                    <a:pt x="556" y="288"/>
                  </a:lnTo>
                  <a:lnTo>
                    <a:pt x="558" y="286"/>
                  </a:lnTo>
                  <a:lnTo>
                    <a:pt x="564" y="286"/>
                  </a:lnTo>
                  <a:lnTo>
                    <a:pt x="570" y="288"/>
                  </a:lnTo>
                  <a:lnTo>
                    <a:pt x="576" y="290"/>
                  </a:lnTo>
                  <a:lnTo>
                    <a:pt x="582" y="284"/>
                  </a:lnTo>
                  <a:lnTo>
                    <a:pt x="586" y="282"/>
                  </a:lnTo>
                  <a:lnTo>
                    <a:pt x="592" y="288"/>
                  </a:lnTo>
                  <a:lnTo>
                    <a:pt x="594" y="288"/>
                  </a:lnTo>
                  <a:lnTo>
                    <a:pt x="596" y="288"/>
                  </a:lnTo>
                  <a:lnTo>
                    <a:pt x="602" y="290"/>
                  </a:lnTo>
                  <a:lnTo>
                    <a:pt x="604" y="296"/>
                  </a:lnTo>
                  <a:lnTo>
                    <a:pt x="606" y="302"/>
                  </a:lnTo>
                  <a:lnTo>
                    <a:pt x="610" y="308"/>
                  </a:lnTo>
                  <a:lnTo>
                    <a:pt x="616" y="308"/>
                  </a:lnTo>
                  <a:lnTo>
                    <a:pt x="622" y="312"/>
                  </a:lnTo>
                  <a:lnTo>
                    <a:pt x="628" y="314"/>
                  </a:lnTo>
                  <a:lnTo>
                    <a:pt x="632" y="314"/>
                  </a:lnTo>
                  <a:lnTo>
                    <a:pt x="638" y="316"/>
                  </a:lnTo>
                  <a:lnTo>
                    <a:pt x="644" y="316"/>
                  </a:lnTo>
                  <a:lnTo>
                    <a:pt x="650" y="318"/>
                  </a:lnTo>
                  <a:lnTo>
                    <a:pt x="656" y="318"/>
                  </a:lnTo>
                  <a:lnTo>
                    <a:pt x="662" y="320"/>
                  </a:lnTo>
                  <a:lnTo>
                    <a:pt x="660" y="326"/>
                  </a:lnTo>
                  <a:lnTo>
                    <a:pt x="666" y="326"/>
                  </a:lnTo>
                  <a:lnTo>
                    <a:pt x="672" y="324"/>
                  </a:lnTo>
                  <a:lnTo>
                    <a:pt x="678" y="318"/>
                  </a:lnTo>
                  <a:lnTo>
                    <a:pt x="678" y="312"/>
                  </a:lnTo>
                  <a:lnTo>
                    <a:pt x="678" y="306"/>
                  </a:lnTo>
                  <a:lnTo>
                    <a:pt x="678" y="304"/>
                  </a:lnTo>
                  <a:lnTo>
                    <a:pt x="680" y="304"/>
                  </a:lnTo>
                  <a:lnTo>
                    <a:pt x="682" y="302"/>
                  </a:lnTo>
                  <a:lnTo>
                    <a:pt x="688" y="304"/>
                  </a:lnTo>
                  <a:lnTo>
                    <a:pt x="690" y="308"/>
                  </a:lnTo>
                  <a:lnTo>
                    <a:pt x="696" y="312"/>
                  </a:lnTo>
                  <a:lnTo>
                    <a:pt x="702" y="314"/>
                  </a:lnTo>
                  <a:lnTo>
                    <a:pt x="708" y="316"/>
                  </a:lnTo>
                  <a:lnTo>
                    <a:pt x="714" y="316"/>
                  </a:lnTo>
                  <a:lnTo>
                    <a:pt x="720" y="316"/>
                  </a:lnTo>
                  <a:lnTo>
                    <a:pt x="726" y="316"/>
                  </a:lnTo>
                  <a:lnTo>
                    <a:pt x="732" y="314"/>
                  </a:lnTo>
                  <a:lnTo>
                    <a:pt x="738" y="312"/>
                  </a:lnTo>
                  <a:lnTo>
                    <a:pt x="744" y="310"/>
                  </a:lnTo>
                  <a:lnTo>
                    <a:pt x="750" y="308"/>
                  </a:lnTo>
                  <a:lnTo>
                    <a:pt x="756" y="304"/>
                  </a:lnTo>
                  <a:lnTo>
                    <a:pt x="756" y="300"/>
                  </a:lnTo>
                  <a:lnTo>
                    <a:pt x="754" y="292"/>
                  </a:lnTo>
                  <a:lnTo>
                    <a:pt x="754" y="290"/>
                  </a:lnTo>
                  <a:lnTo>
                    <a:pt x="754" y="284"/>
                  </a:lnTo>
                  <a:lnTo>
                    <a:pt x="754" y="278"/>
                  </a:lnTo>
                  <a:lnTo>
                    <a:pt x="760" y="276"/>
                  </a:lnTo>
                  <a:lnTo>
                    <a:pt x="758" y="276"/>
                  </a:lnTo>
                  <a:lnTo>
                    <a:pt x="752" y="270"/>
                  </a:lnTo>
                  <a:lnTo>
                    <a:pt x="746" y="266"/>
                  </a:lnTo>
                  <a:lnTo>
                    <a:pt x="740" y="264"/>
                  </a:lnTo>
                  <a:lnTo>
                    <a:pt x="734" y="262"/>
                  </a:lnTo>
                  <a:lnTo>
                    <a:pt x="728" y="262"/>
                  </a:lnTo>
                  <a:lnTo>
                    <a:pt x="722" y="262"/>
                  </a:lnTo>
                  <a:lnTo>
                    <a:pt x="716" y="258"/>
                  </a:lnTo>
                  <a:lnTo>
                    <a:pt x="714" y="252"/>
                  </a:lnTo>
                  <a:lnTo>
                    <a:pt x="710" y="252"/>
                  </a:lnTo>
                  <a:lnTo>
                    <a:pt x="704" y="252"/>
                  </a:lnTo>
                  <a:lnTo>
                    <a:pt x="698" y="252"/>
                  </a:lnTo>
                  <a:lnTo>
                    <a:pt x="692" y="252"/>
                  </a:lnTo>
                  <a:lnTo>
                    <a:pt x="686" y="244"/>
                  </a:lnTo>
                  <a:lnTo>
                    <a:pt x="682" y="240"/>
                  </a:lnTo>
                  <a:lnTo>
                    <a:pt x="676" y="238"/>
                  </a:lnTo>
                  <a:lnTo>
                    <a:pt x="670" y="236"/>
                  </a:lnTo>
                  <a:lnTo>
                    <a:pt x="664" y="236"/>
                  </a:lnTo>
                  <a:lnTo>
                    <a:pt x="658" y="230"/>
                  </a:lnTo>
                  <a:lnTo>
                    <a:pt x="658" y="228"/>
                  </a:lnTo>
                  <a:lnTo>
                    <a:pt x="662" y="228"/>
                  </a:lnTo>
                  <a:lnTo>
                    <a:pt x="666" y="228"/>
                  </a:lnTo>
                  <a:lnTo>
                    <a:pt x="674" y="222"/>
                  </a:lnTo>
                  <a:lnTo>
                    <a:pt x="678" y="216"/>
                  </a:lnTo>
                  <a:lnTo>
                    <a:pt x="686" y="216"/>
                  </a:lnTo>
                  <a:lnTo>
                    <a:pt x="690" y="216"/>
                  </a:lnTo>
                  <a:lnTo>
                    <a:pt x="696" y="210"/>
                  </a:lnTo>
                  <a:lnTo>
                    <a:pt x="702" y="206"/>
                  </a:lnTo>
                  <a:lnTo>
                    <a:pt x="706" y="204"/>
                  </a:lnTo>
                  <a:lnTo>
                    <a:pt x="700" y="200"/>
                  </a:lnTo>
                  <a:lnTo>
                    <a:pt x="696" y="194"/>
                  </a:lnTo>
                  <a:lnTo>
                    <a:pt x="690" y="190"/>
                  </a:lnTo>
                  <a:lnTo>
                    <a:pt x="686" y="186"/>
                  </a:lnTo>
                  <a:lnTo>
                    <a:pt x="680" y="182"/>
                  </a:lnTo>
                  <a:lnTo>
                    <a:pt x="680" y="176"/>
                  </a:lnTo>
                  <a:lnTo>
                    <a:pt x="686" y="172"/>
                  </a:lnTo>
                  <a:lnTo>
                    <a:pt x="692" y="168"/>
                  </a:lnTo>
                  <a:lnTo>
                    <a:pt x="690" y="162"/>
                  </a:lnTo>
                  <a:lnTo>
                    <a:pt x="696" y="162"/>
                  </a:lnTo>
                  <a:lnTo>
                    <a:pt x="698" y="160"/>
                  </a:lnTo>
                  <a:lnTo>
                    <a:pt x="704" y="162"/>
                  </a:lnTo>
                  <a:lnTo>
                    <a:pt x="710" y="160"/>
                  </a:lnTo>
                  <a:lnTo>
                    <a:pt x="716" y="160"/>
                  </a:lnTo>
                  <a:lnTo>
                    <a:pt x="722" y="164"/>
                  </a:lnTo>
                  <a:lnTo>
                    <a:pt x="728" y="162"/>
                  </a:lnTo>
                  <a:lnTo>
                    <a:pt x="734" y="162"/>
                  </a:lnTo>
                  <a:lnTo>
                    <a:pt x="740" y="164"/>
                  </a:lnTo>
                  <a:lnTo>
                    <a:pt x="746" y="160"/>
                  </a:lnTo>
                  <a:lnTo>
                    <a:pt x="744" y="154"/>
                  </a:lnTo>
                  <a:lnTo>
                    <a:pt x="738" y="152"/>
                  </a:lnTo>
                  <a:lnTo>
                    <a:pt x="732" y="150"/>
                  </a:lnTo>
                  <a:lnTo>
                    <a:pt x="726" y="150"/>
                  </a:lnTo>
                  <a:lnTo>
                    <a:pt x="720" y="144"/>
                  </a:lnTo>
                  <a:lnTo>
                    <a:pt x="714" y="146"/>
                  </a:lnTo>
                  <a:lnTo>
                    <a:pt x="708" y="146"/>
                  </a:lnTo>
                  <a:lnTo>
                    <a:pt x="702" y="142"/>
                  </a:lnTo>
                  <a:lnTo>
                    <a:pt x="696" y="142"/>
                  </a:lnTo>
                  <a:lnTo>
                    <a:pt x="690" y="138"/>
                  </a:lnTo>
                  <a:lnTo>
                    <a:pt x="690" y="132"/>
                  </a:lnTo>
                  <a:lnTo>
                    <a:pt x="696" y="128"/>
                  </a:lnTo>
                  <a:lnTo>
                    <a:pt x="702" y="132"/>
                  </a:lnTo>
                  <a:lnTo>
                    <a:pt x="708" y="126"/>
                  </a:lnTo>
                  <a:lnTo>
                    <a:pt x="702" y="122"/>
                  </a:lnTo>
                  <a:lnTo>
                    <a:pt x="696" y="122"/>
                  </a:lnTo>
                  <a:lnTo>
                    <a:pt x="690" y="124"/>
                  </a:lnTo>
                  <a:lnTo>
                    <a:pt x="684" y="122"/>
                  </a:lnTo>
                  <a:lnTo>
                    <a:pt x="678" y="120"/>
                  </a:lnTo>
                  <a:lnTo>
                    <a:pt x="672" y="118"/>
                  </a:lnTo>
                  <a:lnTo>
                    <a:pt x="678" y="116"/>
                  </a:lnTo>
                  <a:lnTo>
                    <a:pt x="682" y="110"/>
                  </a:lnTo>
                  <a:lnTo>
                    <a:pt x="682" y="106"/>
                  </a:lnTo>
                  <a:lnTo>
                    <a:pt x="676" y="102"/>
                  </a:lnTo>
                  <a:lnTo>
                    <a:pt x="670" y="98"/>
                  </a:lnTo>
                  <a:lnTo>
                    <a:pt x="676" y="98"/>
                  </a:lnTo>
                  <a:lnTo>
                    <a:pt x="682" y="98"/>
                  </a:lnTo>
                  <a:lnTo>
                    <a:pt x="682" y="92"/>
                  </a:lnTo>
                  <a:lnTo>
                    <a:pt x="688" y="90"/>
                  </a:lnTo>
                  <a:lnTo>
                    <a:pt x="694" y="94"/>
                  </a:lnTo>
                  <a:lnTo>
                    <a:pt x="700" y="96"/>
                  </a:lnTo>
                  <a:lnTo>
                    <a:pt x="702" y="94"/>
                  </a:lnTo>
                  <a:lnTo>
                    <a:pt x="710" y="94"/>
                  </a:lnTo>
                  <a:lnTo>
                    <a:pt x="716" y="98"/>
                  </a:lnTo>
                  <a:lnTo>
                    <a:pt x="722" y="98"/>
                  </a:lnTo>
                  <a:lnTo>
                    <a:pt x="726" y="92"/>
                  </a:lnTo>
                  <a:lnTo>
                    <a:pt x="732" y="94"/>
                  </a:lnTo>
                  <a:lnTo>
                    <a:pt x="736" y="94"/>
                  </a:lnTo>
                  <a:lnTo>
                    <a:pt x="742" y="94"/>
                  </a:lnTo>
                  <a:lnTo>
                    <a:pt x="746" y="100"/>
                  </a:lnTo>
                  <a:lnTo>
                    <a:pt x="750" y="102"/>
                  </a:lnTo>
                  <a:lnTo>
                    <a:pt x="750" y="96"/>
                  </a:lnTo>
                  <a:lnTo>
                    <a:pt x="750" y="90"/>
                  </a:lnTo>
                  <a:lnTo>
                    <a:pt x="758" y="90"/>
                  </a:lnTo>
                  <a:lnTo>
                    <a:pt x="762" y="88"/>
                  </a:lnTo>
                  <a:lnTo>
                    <a:pt x="770" y="88"/>
                  </a:lnTo>
                  <a:lnTo>
                    <a:pt x="774" y="88"/>
                  </a:lnTo>
                  <a:lnTo>
                    <a:pt x="778" y="82"/>
                  </a:lnTo>
                  <a:lnTo>
                    <a:pt x="784" y="84"/>
                  </a:lnTo>
                  <a:lnTo>
                    <a:pt x="788" y="84"/>
                  </a:lnTo>
                  <a:lnTo>
                    <a:pt x="794" y="82"/>
                  </a:lnTo>
                  <a:lnTo>
                    <a:pt x="800" y="80"/>
                  </a:lnTo>
                  <a:lnTo>
                    <a:pt x="804" y="78"/>
                  </a:lnTo>
                  <a:lnTo>
                    <a:pt x="812" y="82"/>
                  </a:lnTo>
                  <a:lnTo>
                    <a:pt x="818" y="80"/>
                  </a:lnTo>
                  <a:lnTo>
                    <a:pt x="820" y="74"/>
                  </a:lnTo>
                  <a:lnTo>
                    <a:pt x="826" y="74"/>
                  </a:lnTo>
                  <a:lnTo>
                    <a:pt x="832" y="72"/>
                  </a:lnTo>
                  <a:lnTo>
                    <a:pt x="838" y="70"/>
                  </a:lnTo>
                  <a:lnTo>
                    <a:pt x="844" y="70"/>
                  </a:lnTo>
                  <a:lnTo>
                    <a:pt x="848" y="70"/>
                  </a:lnTo>
                  <a:lnTo>
                    <a:pt x="854" y="72"/>
                  </a:lnTo>
                  <a:lnTo>
                    <a:pt x="858" y="68"/>
                  </a:lnTo>
                  <a:lnTo>
                    <a:pt x="864" y="70"/>
                  </a:lnTo>
                  <a:lnTo>
                    <a:pt x="870" y="74"/>
                  </a:lnTo>
                  <a:lnTo>
                    <a:pt x="876" y="70"/>
                  </a:lnTo>
                  <a:lnTo>
                    <a:pt x="872" y="64"/>
                  </a:lnTo>
                  <a:lnTo>
                    <a:pt x="876" y="58"/>
                  </a:lnTo>
                  <a:lnTo>
                    <a:pt x="884" y="54"/>
                  </a:lnTo>
                  <a:lnTo>
                    <a:pt x="890" y="54"/>
                  </a:lnTo>
                  <a:lnTo>
                    <a:pt x="894" y="54"/>
                  </a:lnTo>
                  <a:lnTo>
                    <a:pt x="900" y="50"/>
                  </a:lnTo>
                  <a:lnTo>
                    <a:pt x="906" y="48"/>
                  </a:lnTo>
                  <a:lnTo>
                    <a:pt x="912" y="54"/>
                  </a:lnTo>
                  <a:lnTo>
                    <a:pt x="916" y="52"/>
                  </a:lnTo>
                  <a:lnTo>
                    <a:pt x="922" y="50"/>
                  </a:lnTo>
                  <a:lnTo>
                    <a:pt x="928" y="50"/>
                  </a:lnTo>
                  <a:lnTo>
                    <a:pt x="934" y="48"/>
                  </a:lnTo>
                  <a:lnTo>
                    <a:pt x="940" y="48"/>
                  </a:lnTo>
                  <a:lnTo>
                    <a:pt x="944" y="46"/>
                  </a:lnTo>
                  <a:lnTo>
                    <a:pt x="952" y="44"/>
                  </a:lnTo>
                  <a:lnTo>
                    <a:pt x="956" y="44"/>
                  </a:lnTo>
                  <a:lnTo>
                    <a:pt x="964" y="42"/>
                  </a:lnTo>
                  <a:lnTo>
                    <a:pt x="970" y="42"/>
                  </a:lnTo>
                  <a:lnTo>
                    <a:pt x="974" y="38"/>
                  </a:lnTo>
                  <a:lnTo>
                    <a:pt x="982" y="38"/>
                  </a:lnTo>
                  <a:lnTo>
                    <a:pt x="986" y="38"/>
                  </a:lnTo>
                  <a:lnTo>
                    <a:pt x="994" y="36"/>
                  </a:lnTo>
                  <a:lnTo>
                    <a:pt x="998" y="30"/>
                  </a:lnTo>
                  <a:lnTo>
                    <a:pt x="1004" y="32"/>
                  </a:lnTo>
                  <a:lnTo>
                    <a:pt x="1010" y="32"/>
                  </a:lnTo>
                  <a:lnTo>
                    <a:pt x="1014" y="30"/>
                  </a:lnTo>
                  <a:lnTo>
                    <a:pt x="1016" y="28"/>
                  </a:lnTo>
                  <a:lnTo>
                    <a:pt x="1018" y="24"/>
                  </a:lnTo>
                  <a:lnTo>
                    <a:pt x="1012" y="22"/>
                  </a:lnTo>
                  <a:lnTo>
                    <a:pt x="1014" y="16"/>
                  </a:lnTo>
                  <a:lnTo>
                    <a:pt x="1020" y="16"/>
                  </a:lnTo>
                  <a:lnTo>
                    <a:pt x="1026" y="16"/>
                  </a:lnTo>
                  <a:lnTo>
                    <a:pt x="1032" y="12"/>
                  </a:lnTo>
                  <a:lnTo>
                    <a:pt x="1032" y="6"/>
                  </a:lnTo>
                  <a:lnTo>
                    <a:pt x="1034" y="6"/>
                  </a:lnTo>
                  <a:lnTo>
                    <a:pt x="1040" y="8"/>
                  </a:lnTo>
                  <a:lnTo>
                    <a:pt x="1046" y="6"/>
                  </a:lnTo>
                  <a:lnTo>
                    <a:pt x="1040" y="0"/>
                  </a:lnTo>
                  <a:lnTo>
                    <a:pt x="1046" y="2"/>
                  </a:lnTo>
                  <a:lnTo>
                    <a:pt x="1054" y="4"/>
                  </a:lnTo>
                  <a:lnTo>
                    <a:pt x="1058" y="6"/>
                  </a:lnTo>
                  <a:lnTo>
                    <a:pt x="1062" y="4"/>
                  </a:lnTo>
                  <a:lnTo>
                    <a:pt x="1068" y="6"/>
                  </a:lnTo>
                  <a:lnTo>
                    <a:pt x="1074" y="6"/>
                  </a:lnTo>
                  <a:lnTo>
                    <a:pt x="1080" y="6"/>
                  </a:lnTo>
                  <a:lnTo>
                    <a:pt x="1088" y="10"/>
                  </a:lnTo>
                  <a:lnTo>
                    <a:pt x="1094" y="12"/>
                  </a:lnTo>
                  <a:lnTo>
                    <a:pt x="1100" y="16"/>
                  </a:lnTo>
                  <a:lnTo>
                    <a:pt x="1102" y="16"/>
                  </a:lnTo>
                  <a:lnTo>
                    <a:pt x="1108" y="18"/>
                  </a:lnTo>
                  <a:lnTo>
                    <a:pt x="1114" y="20"/>
                  </a:lnTo>
                  <a:lnTo>
                    <a:pt x="1120" y="16"/>
                  </a:lnTo>
                  <a:lnTo>
                    <a:pt x="1122" y="10"/>
                  </a:lnTo>
                  <a:lnTo>
                    <a:pt x="1126" y="12"/>
                  </a:lnTo>
                  <a:lnTo>
                    <a:pt x="1132" y="8"/>
                  </a:lnTo>
                  <a:lnTo>
                    <a:pt x="1138" y="8"/>
                  </a:lnTo>
                  <a:lnTo>
                    <a:pt x="1142" y="14"/>
                  </a:lnTo>
                  <a:lnTo>
                    <a:pt x="1148" y="18"/>
                  </a:lnTo>
                  <a:lnTo>
                    <a:pt x="1154" y="24"/>
                  </a:lnTo>
                  <a:lnTo>
                    <a:pt x="1156" y="30"/>
                  </a:lnTo>
                  <a:lnTo>
                    <a:pt x="1158" y="34"/>
                  </a:lnTo>
                  <a:lnTo>
                    <a:pt x="1162" y="40"/>
                  </a:lnTo>
                  <a:lnTo>
                    <a:pt x="1166" y="46"/>
                  </a:lnTo>
                  <a:lnTo>
                    <a:pt x="1172" y="46"/>
                  </a:lnTo>
                  <a:lnTo>
                    <a:pt x="1178" y="50"/>
                  </a:lnTo>
                  <a:lnTo>
                    <a:pt x="1176" y="56"/>
                  </a:lnTo>
                  <a:lnTo>
                    <a:pt x="1178" y="62"/>
                  </a:lnTo>
                  <a:lnTo>
                    <a:pt x="1184" y="68"/>
                  </a:lnTo>
                  <a:lnTo>
                    <a:pt x="1182" y="74"/>
                  </a:lnTo>
                  <a:lnTo>
                    <a:pt x="1176" y="76"/>
                  </a:lnTo>
                  <a:lnTo>
                    <a:pt x="1182" y="82"/>
                  </a:lnTo>
                  <a:lnTo>
                    <a:pt x="1186" y="84"/>
                  </a:lnTo>
                  <a:lnTo>
                    <a:pt x="1192" y="86"/>
                  </a:lnTo>
                  <a:lnTo>
                    <a:pt x="1198" y="82"/>
                  </a:lnTo>
                  <a:lnTo>
                    <a:pt x="1206" y="88"/>
                  </a:lnTo>
                  <a:lnTo>
                    <a:pt x="1210" y="86"/>
                  </a:lnTo>
                  <a:lnTo>
                    <a:pt x="1216" y="84"/>
                  </a:lnTo>
                  <a:lnTo>
                    <a:pt x="1220" y="78"/>
                  </a:lnTo>
                  <a:lnTo>
                    <a:pt x="1226" y="78"/>
                  </a:lnTo>
                  <a:lnTo>
                    <a:pt x="1232" y="82"/>
                  </a:lnTo>
                  <a:lnTo>
                    <a:pt x="1238" y="82"/>
                  </a:lnTo>
                  <a:lnTo>
                    <a:pt x="1232" y="76"/>
                  </a:lnTo>
                  <a:lnTo>
                    <a:pt x="1232" y="70"/>
                  </a:lnTo>
                  <a:lnTo>
                    <a:pt x="1238" y="74"/>
                  </a:lnTo>
                  <a:lnTo>
                    <a:pt x="1244" y="78"/>
                  </a:lnTo>
                  <a:lnTo>
                    <a:pt x="1250" y="84"/>
                  </a:lnTo>
                  <a:lnTo>
                    <a:pt x="1256" y="86"/>
                  </a:lnTo>
                  <a:lnTo>
                    <a:pt x="1252" y="88"/>
                  </a:lnTo>
                  <a:lnTo>
                    <a:pt x="1256" y="94"/>
                  </a:lnTo>
                  <a:lnTo>
                    <a:pt x="1260" y="100"/>
                  </a:lnTo>
                  <a:lnTo>
                    <a:pt x="1266" y="96"/>
                  </a:lnTo>
                  <a:lnTo>
                    <a:pt x="1272" y="96"/>
                  </a:lnTo>
                  <a:lnTo>
                    <a:pt x="1266" y="90"/>
                  </a:lnTo>
                  <a:lnTo>
                    <a:pt x="1260" y="92"/>
                  </a:lnTo>
                  <a:lnTo>
                    <a:pt x="1264" y="86"/>
                  </a:lnTo>
                  <a:lnTo>
                    <a:pt x="1270" y="86"/>
                  </a:lnTo>
                  <a:lnTo>
                    <a:pt x="1276" y="86"/>
                  </a:lnTo>
                  <a:lnTo>
                    <a:pt x="1282" y="88"/>
                  </a:lnTo>
                  <a:lnTo>
                    <a:pt x="1288" y="94"/>
                  </a:lnTo>
                  <a:lnTo>
                    <a:pt x="1294" y="96"/>
                  </a:lnTo>
                  <a:lnTo>
                    <a:pt x="1300" y="98"/>
                  </a:lnTo>
                  <a:lnTo>
                    <a:pt x="1308" y="96"/>
                  </a:lnTo>
                  <a:lnTo>
                    <a:pt x="1314" y="96"/>
                  </a:lnTo>
                  <a:lnTo>
                    <a:pt x="1318" y="90"/>
                  </a:lnTo>
                  <a:lnTo>
                    <a:pt x="1320" y="90"/>
                  </a:lnTo>
                  <a:lnTo>
                    <a:pt x="1320" y="92"/>
                  </a:lnTo>
                  <a:lnTo>
                    <a:pt x="1324" y="96"/>
                  </a:lnTo>
                  <a:lnTo>
                    <a:pt x="1326" y="104"/>
                  </a:lnTo>
                  <a:lnTo>
                    <a:pt x="1318" y="104"/>
                  </a:lnTo>
                  <a:lnTo>
                    <a:pt x="1312" y="106"/>
                  </a:lnTo>
                  <a:lnTo>
                    <a:pt x="1310" y="112"/>
                  </a:lnTo>
                  <a:lnTo>
                    <a:pt x="1308" y="118"/>
                  </a:lnTo>
                  <a:lnTo>
                    <a:pt x="1314" y="124"/>
                  </a:lnTo>
                  <a:lnTo>
                    <a:pt x="1320" y="126"/>
                  </a:lnTo>
                  <a:lnTo>
                    <a:pt x="1322" y="132"/>
                  </a:lnTo>
                  <a:lnTo>
                    <a:pt x="1326" y="130"/>
                  </a:lnTo>
                  <a:lnTo>
                    <a:pt x="1330" y="124"/>
                  </a:lnTo>
                  <a:lnTo>
                    <a:pt x="1336" y="120"/>
                  </a:lnTo>
                  <a:lnTo>
                    <a:pt x="1342" y="118"/>
                  </a:lnTo>
                  <a:lnTo>
                    <a:pt x="1346" y="118"/>
                  </a:lnTo>
                  <a:lnTo>
                    <a:pt x="1352" y="122"/>
                  </a:lnTo>
                  <a:lnTo>
                    <a:pt x="1354" y="122"/>
                  </a:lnTo>
                  <a:lnTo>
                    <a:pt x="1360" y="122"/>
                  </a:lnTo>
                  <a:lnTo>
                    <a:pt x="1366" y="128"/>
                  </a:lnTo>
                  <a:lnTo>
                    <a:pt x="1372" y="128"/>
                  </a:lnTo>
                  <a:lnTo>
                    <a:pt x="1372" y="122"/>
                  </a:lnTo>
                  <a:lnTo>
                    <a:pt x="1374" y="116"/>
                  </a:lnTo>
                  <a:lnTo>
                    <a:pt x="1380" y="110"/>
                  </a:lnTo>
                  <a:lnTo>
                    <a:pt x="1386" y="106"/>
                  </a:lnTo>
                  <a:lnTo>
                    <a:pt x="1394" y="106"/>
                  </a:lnTo>
                  <a:lnTo>
                    <a:pt x="1396" y="108"/>
                  </a:lnTo>
                  <a:lnTo>
                    <a:pt x="1398" y="106"/>
                  </a:lnTo>
                  <a:lnTo>
                    <a:pt x="1400" y="104"/>
                  </a:lnTo>
                  <a:lnTo>
                    <a:pt x="1406" y="100"/>
                  </a:lnTo>
                  <a:lnTo>
                    <a:pt x="1412" y="96"/>
                  </a:lnTo>
                  <a:lnTo>
                    <a:pt x="1408" y="88"/>
                  </a:lnTo>
                  <a:lnTo>
                    <a:pt x="1414" y="88"/>
                  </a:lnTo>
                  <a:lnTo>
                    <a:pt x="1420" y="88"/>
                  </a:lnTo>
                  <a:lnTo>
                    <a:pt x="1424" y="86"/>
                  </a:lnTo>
                  <a:lnTo>
                    <a:pt x="1430" y="84"/>
                  </a:lnTo>
                  <a:lnTo>
                    <a:pt x="1436" y="80"/>
                  </a:lnTo>
                  <a:lnTo>
                    <a:pt x="1444" y="78"/>
                  </a:lnTo>
                  <a:lnTo>
                    <a:pt x="1446" y="72"/>
                  </a:lnTo>
                  <a:lnTo>
                    <a:pt x="1450" y="72"/>
                  </a:lnTo>
                  <a:lnTo>
                    <a:pt x="1456" y="72"/>
                  </a:lnTo>
                  <a:lnTo>
                    <a:pt x="1462" y="66"/>
                  </a:lnTo>
                  <a:lnTo>
                    <a:pt x="1468" y="66"/>
                  </a:lnTo>
                  <a:lnTo>
                    <a:pt x="1474" y="64"/>
                  </a:lnTo>
                  <a:lnTo>
                    <a:pt x="1470" y="70"/>
                  </a:lnTo>
                  <a:lnTo>
                    <a:pt x="1476" y="74"/>
                  </a:lnTo>
                  <a:lnTo>
                    <a:pt x="1474" y="80"/>
                  </a:lnTo>
                  <a:lnTo>
                    <a:pt x="1470" y="86"/>
                  </a:lnTo>
                  <a:lnTo>
                    <a:pt x="1464" y="84"/>
                  </a:lnTo>
                  <a:lnTo>
                    <a:pt x="1458" y="86"/>
                  </a:lnTo>
                  <a:lnTo>
                    <a:pt x="1464" y="92"/>
                  </a:lnTo>
                  <a:lnTo>
                    <a:pt x="1470" y="98"/>
                  </a:lnTo>
                  <a:lnTo>
                    <a:pt x="1472" y="98"/>
                  </a:lnTo>
                  <a:lnTo>
                    <a:pt x="1478" y="102"/>
                  </a:lnTo>
                  <a:lnTo>
                    <a:pt x="1486" y="104"/>
                  </a:lnTo>
                  <a:lnTo>
                    <a:pt x="1492" y="108"/>
                  </a:lnTo>
                  <a:lnTo>
                    <a:pt x="1498" y="110"/>
                  </a:lnTo>
                  <a:lnTo>
                    <a:pt x="1502" y="112"/>
                  </a:lnTo>
                  <a:lnTo>
                    <a:pt x="1508" y="116"/>
                  </a:lnTo>
                  <a:lnTo>
                    <a:pt x="1514" y="118"/>
                  </a:lnTo>
                  <a:lnTo>
                    <a:pt x="1520" y="122"/>
                  </a:lnTo>
                  <a:lnTo>
                    <a:pt x="1524" y="124"/>
                  </a:lnTo>
                  <a:lnTo>
                    <a:pt x="1530" y="126"/>
                  </a:lnTo>
                  <a:lnTo>
                    <a:pt x="1538" y="130"/>
                  </a:lnTo>
                  <a:lnTo>
                    <a:pt x="1544" y="134"/>
                  </a:lnTo>
                  <a:lnTo>
                    <a:pt x="1550" y="138"/>
                  </a:lnTo>
                  <a:lnTo>
                    <a:pt x="1552" y="138"/>
                  </a:lnTo>
                  <a:lnTo>
                    <a:pt x="1558" y="142"/>
                  </a:lnTo>
                  <a:lnTo>
                    <a:pt x="1564" y="148"/>
                  </a:lnTo>
                  <a:lnTo>
                    <a:pt x="1572" y="154"/>
                  </a:lnTo>
                  <a:lnTo>
                    <a:pt x="1578" y="160"/>
                  </a:lnTo>
                  <a:lnTo>
                    <a:pt x="1584" y="164"/>
                  </a:lnTo>
                  <a:lnTo>
                    <a:pt x="1590" y="170"/>
                  </a:lnTo>
                  <a:lnTo>
                    <a:pt x="1596" y="176"/>
                  </a:lnTo>
                  <a:lnTo>
                    <a:pt x="1602" y="180"/>
                  </a:lnTo>
                  <a:lnTo>
                    <a:pt x="1608" y="186"/>
                  </a:lnTo>
                  <a:lnTo>
                    <a:pt x="1614" y="192"/>
                  </a:lnTo>
                  <a:lnTo>
                    <a:pt x="1616" y="192"/>
                  </a:lnTo>
                  <a:lnTo>
                    <a:pt x="1622" y="198"/>
                  </a:lnTo>
                  <a:lnTo>
                    <a:pt x="1628" y="204"/>
                  </a:lnTo>
                  <a:lnTo>
                    <a:pt x="1634" y="210"/>
                  </a:lnTo>
                  <a:lnTo>
                    <a:pt x="1642" y="216"/>
                  </a:lnTo>
                  <a:lnTo>
                    <a:pt x="1648" y="222"/>
                  </a:lnTo>
                  <a:lnTo>
                    <a:pt x="1654" y="228"/>
                  </a:lnTo>
                  <a:lnTo>
                    <a:pt x="1658" y="232"/>
                  </a:lnTo>
                  <a:lnTo>
                    <a:pt x="1664" y="236"/>
                  </a:lnTo>
                  <a:lnTo>
                    <a:pt x="1670" y="242"/>
                  </a:lnTo>
                  <a:lnTo>
                    <a:pt x="1676" y="248"/>
                  </a:lnTo>
                  <a:lnTo>
                    <a:pt x="1684" y="254"/>
                  </a:lnTo>
                  <a:lnTo>
                    <a:pt x="1690" y="260"/>
                  </a:lnTo>
                  <a:lnTo>
                    <a:pt x="1696" y="266"/>
                  </a:lnTo>
                  <a:lnTo>
                    <a:pt x="1702" y="274"/>
                  </a:lnTo>
                  <a:lnTo>
                    <a:pt x="1708" y="280"/>
                  </a:lnTo>
                  <a:lnTo>
                    <a:pt x="1714" y="286"/>
                  </a:lnTo>
                  <a:lnTo>
                    <a:pt x="1720" y="292"/>
                  </a:lnTo>
                  <a:lnTo>
                    <a:pt x="1726" y="296"/>
                  </a:lnTo>
                  <a:lnTo>
                    <a:pt x="1732" y="302"/>
                  </a:lnTo>
                  <a:lnTo>
                    <a:pt x="1736" y="306"/>
                  </a:lnTo>
                  <a:lnTo>
                    <a:pt x="1742" y="308"/>
                  </a:lnTo>
                  <a:lnTo>
                    <a:pt x="1738" y="304"/>
                  </a:lnTo>
                  <a:lnTo>
                    <a:pt x="1744" y="304"/>
                  </a:lnTo>
                  <a:lnTo>
                    <a:pt x="1748" y="298"/>
                  </a:lnTo>
                  <a:lnTo>
                    <a:pt x="1754" y="296"/>
                  </a:lnTo>
                  <a:lnTo>
                    <a:pt x="1754" y="292"/>
                  </a:lnTo>
                  <a:lnTo>
                    <a:pt x="1750" y="286"/>
                  </a:lnTo>
                  <a:lnTo>
                    <a:pt x="1752" y="278"/>
                  </a:lnTo>
                  <a:lnTo>
                    <a:pt x="1758" y="278"/>
                  </a:lnTo>
                  <a:lnTo>
                    <a:pt x="1760" y="274"/>
                  </a:lnTo>
                  <a:lnTo>
                    <a:pt x="1766" y="274"/>
                  </a:lnTo>
                  <a:lnTo>
                    <a:pt x="1772" y="274"/>
                  </a:lnTo>
                  <a:lnTo>
                    <a:pt x="1778" y="280"/>
                  </a:lnTo>
                  <a:lnTo>
                    <a:pt x="1784" y="280"/>
                  </a:lnTo>
                  <a:lnTo>
                    <a:pt x="1786" y="280"/>
                  </a:lnTo>
                  <a:lnTo>
                    <a:pt x="1788" y="282"/>
                  </a:lnTo>
                  <a:lnTo>
                    <a:pt x="1788" y="284"/>
                  </a:lnTo>
                  <a:lnTo>
                    <a:pt x="1786" y="292"/>
                  </a:lnTo>
                  <a:lnTo>
                    <a:pt x="1790" y="296"/>
                  </a:lnTo>
                  <a:lnTo>
                    <a:pt x="1796" y="296"/>
                  </a:lnTo>
                  <a:lnTo>
                    <a:pt x="1802" y="296"/>
                  </a:lnTo>
                  <a:lnTo>
                    <a:pt x="1808" y="300"/>
                  </a:lnTo>
                  <a:lnTo>
                    <a:pt x="1812" y="304"/>
                  </a:lnTo>
                  <a:lnTo>
                    <a:pt x="1816" y="310"/>
                  </a:lnTo>
                  <a:lnTo>
                    <a:pt x="1822" y="312"/>
                  </a:lnTo>
                  <a:lnTo>
                    <a:pt x="1826" y="310"/>
                  </a:lnTo>
                  <a:lnTo>
                    <a:pt x="1834" y="308"/>
                  </a:lnTo>
                  <a:lnTo>
                    <a:pt x="1838" y="308"/>
                  </a:lnTo>
                  <a:lnTo>
                    <a:pt x="1842" y="308"/>
                  </a:lnTo>
                  <a:lnTo>
                    <a:pt x="1850" y="312"/>
                  </a:lnTo>
                  <a:lnTo>
                    <a:pt x="1854" y="312"/>
                  </a:lnTo>
                  <a:lnTo>
                    <a:pt x="1862" y="310"/>
                  </a:lnTo>
                  <a:lnTo>
                    <a:pt x="1868" y="310"/>
                  </a:lnTo>
                  <a:lnTo>
                    <a:pt x="1872" y="310"/>
                  </a:lnTo>
                  <a:lnTo>
                    <a:pt x="1878" y="306"/>
                  </a:lnTo>
                  <a:lnTo>
                    <a:pt x="1882" y="300"/>
                  </a:lnTo>
                  <a:lnTo>
                    <a:pt x="1888" y="300"/>
                  </a:lnTo>
                  <a:lnTo>
                    <a:pt x="1894" y="300"/>
                  </a:lnTo>
                  <a:lnTo>
                    <a:pt x="1896" y="294"/>
                  </a:lnTo>
                  <a:lnTo>
                    <a:pt x="1902" y="294"/>
                  </a:lnTo>
                  <a:lnTo>
                    <a:pt x="1910" y="294"/>
                  </a:lnTo>
                  <a:lnTo>
                    <a:pt x="1916" y="296"/>
                  </a:lnTo>
                  <a:lnTo>
                    <a:pt x="1922" y="298"/>
                  </a:lnTo>
                  <a:lnTo>
                    <a:pt x="1928" y="300"/>
                  </a:lnTo>
                  <a:lnTo>
                    <a:pt x="1934" y="302"/>
                  </a:lnTo>
                  <a:lnTo>
                    <a:pt x="1940" y="304"/>
                  </a:lnTo>
                  <a:lnTo>
                    <a:pt x="1946" y="308"/>
                  </a:lnTo>
                  <a:lnTo>
                    <a:pt x="1950" y="314"/>
                  </a:lnTo>
                  <a:lnTo>
                    <a:pt x="1956" y="318"/>
                  </a:lnTo>
                  <a:lnTo>
                    <a:pt x="1960" y="320"/>
                  </a:lnTo>
                  <a:lnTo>
                    <a:pt x="1966" y="326"/>
                  </a:lnTo>
                  <a:lnTo>
                    <a:pt x="1968" y="330"/>
                  </a:lnTo>
                  <a:lnTo>
                    <a:pt x="1974" y="338"/>
                  </a:lnTo>
                  <a:lnTo>
                    <a:pt x="1978" y="342"/>
                  </a:lnTo>
                  <a:lnTo>
                    <a:pt x="1984" y="346"/>
                  </a:lnTo>
                  <a:lnTo>
                    <a:pt x="1990" y="346"/>
                  </a:lnTo>
                  <a:lnTo>
                    <a:pt x="1996" y="348"/>
                  </a:lnTo>
                  <a:lnTo>
                    <a:pt x="2002" y="350"/>
                  </a:lnTo>
                  <a:lnTo>
                    <a:pt x="2008" y="350"/>
                  </a:lnTo>
                  <a:lnTo>
                    <a:pt x="2014" y="354"/>
                  </a:lnTo>
                  <a:lnTo>
                    <a:pt x="2020" y="354"/>
                  </a:lnTo>
                  <a:lnTo>
                    <a:pt x="2022" y="360"/>
                  </a:lnTo>
                  <a:lnTo>
                    <a:pt x="2022" y="362"/>
                  </a:lnTo>
                  <a:lnTo>
                    <a:pt x="2024" y="368"/>
                  </a:lnTo>
                  <a:lnTo>
                    <a:pt x="2026" y="368"/>
                  </a:lnTo>
                  <a:lnTo>
                    <a:pt x="2028" y="368"/>
                  </a:lnTo>
                  <a:lnTo>
                    <a:pt x="2032" y="374"/>
                  </a:lnTo>
                  <a:lnTo>
                    <a:pt x="2040" y="378"/>
                  </a:lnTo>
                  <a:lnTo>
                    <a:pt x="2042" y="384"/>
                  </a:lnTo>
                  <a:lnTo>
                    <a:pt x="2048" y="388"/>
                  </a:lnTo>
                  <a:lnTo>
                    <a:pt x="2054" y="386"/>
                  </a:lnTo>
                  <a:lnTo>
                    <a:pt x="2060" y="388"/>
                  </a:lnTo>
                  <a:lnTo>
                    <a:pt x="2066" y="386"/>
                  </a:lnTo>
                  <a:lnTo>
                    <a:pt x="2072" y="388"/>
                  </a:lnTo>
                  <a:lnTo>
                    <a:pt x="2078" y="390"/>
                  </a:lnTo>
                  <a:lnTo>
                    <a:pt x="2084" y="388"/>
                  </a:lnTo>
                  <a:lnTo>
                    <a:pt x="2090" y="392"/>
                  </a:lnTo>
                  <a:lnTo>
                    <a:pt x="2096" y="392"/>
                  </a:lnTo>
                  <a:lnTo>
                    <a:pt x="2102" y="392"/>
                  </a:lnTo>
                  <a:lnTo>
                    <a:pt x="2104" y="386"/>
                  </a:lnTo>
                  <a:lnTo>
                    <a:pt x="2110" y="382"/>
                  </a:lnTo>
                  <a:lnTo>
                    <a:pt x="2110" y="380"/>
                  </a:lnTo>
                  <a:lnTo>
                    <a:pt x="2112" y="376"/>
                  </a:lnTo>
                  <a:lnTo>
                    <a:pt x="2118" y="374"/>
                  </a:lnTo>
                  <a:lnTo>
                    <a:pt x="2122" y="376"/>
                  </a:lnTo>
                  <a:lnTo>
                    <a:pt x="2120" y="382"/>
                  </a:lnTo>
                  <a:lnTo>
                    <a:pt x="2120" y="388"/>
                  </a:lnTo>
                  <a:lnTo>
                    <a:pt x="2126" y="390"/>
                  </a:lnTo>
                  <a:lnTo>
                    <a:pt x="2132" y="392"/>
                  </a:lnTo>
                  <a:lnTo>
                    <a:pt x="2136" y="398"/>
                  </a:lnTo>
                  <a:lnTo>
                    <a:pt x="2142" y="400"/>
                  </a:lnTo>
                  <a:lnTo>
                    <a:pt x="2146" y="406"/>
                  </a:lnTo>
                  <a:lnTo>
                    <a:pt x="2152" y="410"/>
                  </a:lnTo>
                  <a:lnTo>
                    <a:pt x="2156" y="410"/>
                  </a:lnTo>
                  <a:lnTo>
                    <a:pt x="2158" y="410"/>
                  </a:lnTo>
                  <a:lnTo>
                    <a:pt x="2164" y="412"/>
                  </a:lnTo>
                  <a:lnTo>
                    <a:pt x="2168" y="416"/>
                  </a:lnTo>
                  <a:lnTo>
                    <a:pt x="2172" y="422"/>
                  </a:lnTo>
                  <a:lnTo>
                    <a:pt x="2170" y="420"/>
                  </a:lnTo>
                  <a:lnTo>
                    <a:pt x="2164" y="420"/>
                  </a:lnTo>
                  <a:lnTo>
                    <a:pt x="2158" y="418"/>
                  </a:lnTo>
                  <a:lnTo>
                    <a:pt x="2152" y="420"/>
                  </a:lnTo>
                  <a:lnTo>
                    <a:pt x="2146" y="422"/>
                  </a:lnTo>
                  <a:lnTo>
                    <a:pt x="2142" y="426"/>
                  </a:lnTo>
                  <a:lnTo>
                    <a:pt x="2144" y="434"/>
                  </a:lnTo>
                  <a:lnTo>
                    <a:pt x="2150" y="438"/>
                  </a:lnTo>
                  <a:lnTo>
                    <a:pt x="2150" y="444"/>
                  </a:lnTo>
                  <a:lnTo>
                    <a:pt x="2150" y="450"/>
                  </a:lnTo>
                  <a:lnTo>
                    <a:pt x="2146" y="456"/>
                  </a:lnTo>
                  <a:lnTo>
                    <a:pt x="2142" y="460"/>
                  </a:lnTo>
                  <a:lnTo>
                    <a:pt x="2136" y="460"/>
                  </a:lnTo>
                  <a:lnTo>
                    <a:pt x="2130" y="466"/>
                  </a:lnTo>
                  <a:lnTo>
                    <a:pt x="2124" y="466"/>
                  </a:lnTo>
                  <a:lnTo>
                    <a:pt x="2118" y="466"/>
                  </a:lnTo>
                  <a:lnTo>
                    <a:pt x="2112" y="466"/>
                  </a:lnTo>
                  <a:lnTo>
                    <a:pt x="2106" y="472"/>
                  </a:lnTo>
                  <a:lnTo>
                    <a:pt x="2106" y="478"/>
                  </a:lnTo>
                  <a:lnTo>
                    <a:pt x="2104" y="484"/>
                  </a:lnTo>
                  <a:lnTo>
                    <a:pt x="2106" y="490"/>
                  </a:lnTo>
                  <a:lnTo>
                    <a:pt x="2106" y="494"/>
                  </a:lnTo>
                  <a:lnTo>
                    <a:pt x="2106" y="496"/>
                  </a:lnTo>
                  <a:lnTo>
                    <a:pt x="2106" y="498"/>
                  </a:lnTo>
                  <a:lnTo>
                    <a:pt x="2110" y="504"/>
                  </a:lnTo>
                  <a:lnTo>
                    <a:pt x="2114" y="510"/>
                  </a:lnTo>
                  <a:lnTo>
                    <a:pt x="2118" y="516"/>
                  </a:lnTo>
                  <a:lnTo>
                    <a:pt x="2120" y="524"/>
                  </a:lnTo>
                  <a:lnTo>
                    <a:pt x="2122" y="528"/>
                  </a:lnTo>
                  <a:lnTo>
                    <a:pt x="2124" y="530"/>
                  </a:lnTo>
                  <a:lnTo>
                    <a:pt x="2130" y="536"/>
                  </a:lnTo>
                  <a:lnTo>
                    <a:pt x="2132" y="542"/>
                  </a:lnTo>
                  <a:lnTo>
                    <a:pt x="2134" y="548"/>
                  </a:lnTo>
                  <a:lnTo>
                    <a:pt x="2128" y="554"/>
                  </a:lnTo>
                  <a:lnTo>
                    <a:pt x="2128" y="558"/>
                  </a:lnTo>
                  <a:lnTo>
                    <a:pt x="2122" y="558"/>
                  </a:lnTo>
                  <a:lnTo>
                    <a:pt x="2116" y="558"/>
                  </a:lnTo>
                  <a:lnTo>
                    <a:pt x="2110" y="564"/>
                  </a:lnTo>
                  <a:lnTo>
                    <a:pt x="2104" y="568"/>
                  </a:lnTo>
                  <a:lnTo>
                    <a:pt x="2098" y="572"/>
                  </a:lnTo>
                  <a:lnTo>
                    <a:pt x="2092" y="568"/>
                  </a:lnTo>
                  <a:lnTo>
                    <a:pt x="2086" y="564"/>
                  </a:lnTo>
                  <a:lnTo>
                    <a:pt x="2080" y="562"/>
                  </a:lnTo>
                  <a:lnTo>
                    <a:pt x="2074" y="564"/>
                  </a:lnTo>
                  <a:lnTo>
                    <a:pt x="2068" y="562"/>
                  </a:lnTo>
                  <a:lnTo>
                    <a:pt x="2062" y="562"/>
                  </a:lnTo>
                  <a:lnTo>
                    <a:pt x="2058" y="562"/>
                  </a:lnTo>
                  <a:lnTo>
                    <a:pt x="2052" y="564"/>
                  </a:lnTo>
                  <a:lnTo>
                    <a:pt x="2046" y="564"/>
                  </a:lnTo>
                  <a:lnTo>
                    <a:pt x="2040" y="562"/>
                  </a:lnTo>
                  <a:lnTo>
                    <a:pt x="2034" y="560"/>
                  </a:lnTo>
                  <a:lnTo>
                    <a:pt x="2028" y="560"/>
                  </a:lnTo>
                  <a:lnTo>
                    <a:pt x="2022" y="558"/>
                  </a:lnTo>
                  <a:lnTo>
                    <a:pt x="2016" y="554"/>
                  </a:lnTo>
                  <a:lnTo>
                    <a:pt x="2010" y="552"/>
                  </a:lnTo>
                  <a:lnTo>
                    <a:pt x="2004" y="550"/>
                  </a:lnTo>
                  <a:lnTo>
                    <a:pt x="1998" y="548"/>
                  </a:lnTo>
                  <a:lnTo>
                    <a:pt x="1992" y="552"/>
                  </a:lnTo>
                  <a:lnTo>
                    <a:pt x="1994" y="558"/>
                  </a:lnTo>
                  <a:lnTo>
                    <a:pt x="1994" y="564"/>
                  </a:lnTo>
                  <a:lnTo>
                    <a:pt x="1994" y="570"/>
                  </a:lnTo>
                  <a:lnTo>
                    <a:pt x="1992" y="576"/>
                  </a:lnTo>
                  <a:lnTo>
                    <a:pt x="1992" y="582"/>
                  </a:lnTo>
                  <a:lnTo>
                    <a:pt x="1992" y="586"/>
                  </a:lnTo>
                  <a:lnTo>
                    <a:pt x="1992" y="592"/>
                  </a:lnTo>
                  <a:lnTo>
                    <a:pt x="1994" y="598"/>
                  </a:lnTo>
                  <a:lnTo>
                    <a:pt x="1992" y="602"/>
                  </a:lnTo>
                  <a:lnTo>
                    <a:pt x="1994" y="608"/>
                  </a:lnTo>
                  <a:lnTo>
                    <a:pt x="1992" y="614"/>
                  </a:lnTo>
                  <a:lnTo>
                    <a:pt x="1990" y="620"/>
                  </a:lnTo>
                  <a:lnTo>
                    <a:pt x="1992" y="626"/>
                  </a:lnTo>
                  <a:lnTo>
                    <a:pt x="1994" y="632"/>
                  </a:lnTo>
                  <a:lnTo>
                    <a:pt x="1994" y="638"/>
                  </a:lnTo>
                  <a:lnTo>
                    <a:pt x="1994" y="642"/>
                  </a:lnTo>
                  <a:lnTo>
                    <a:pt x="1992" y="648"/>
                  </a:lnTo>
                  <a:lnTo>
                    <a:pt x="1992" y="656"/>
                  </a:lnTo>
                  <a:lnTo>
                    <a:pt x="1992" y="660"/>
                  </a:lnTo>
                  <a:lnTo>
                    <a:pt x="1996" y="664"/>
                  </a:lnTo>
                  <a:lnTo>
                    <a:pt x="2002" y="666"/>
                  </a:lnTo>
                  <a:lnTo>
                    <a:pt x="2008" y="666"/>
                  </a:lnTo>
                  <a:lnTo>
                    <a:pt x="2014" y="672"/>
                  </a:lnTo>
                  <a:lnTo>
                    <a:pt x="2016" y="678"/>
                  </a:lnTo>
                  <a:lnTo>
                    <a:pt x="2016" y="684"/>
                  </a:lnTo>
                  <a:lnTo>
                    <a:pt x="2016" y="686"/>
                  </a:lnTo>
                  <a:lnTo>
                    <a:pt x="2014" y="690"/>
                  </a:lnTo>
                  <a:lnTo>
                    <a:pt x="2008" y="688"/>
                  </a:lnTo>
                  <a:lnTo>
                    <a:pt x="2002" y="684"/>
                  </a:lnTo>
                  <a:lnTo>
                    <a:pt x="1996" y="682"/>
                  </a:lnTo>
                  <a:lnTo>
                    <a:pt x="1990" y="684"/>
                  </a:lnTo>
                  <a:lnTo>
                    <a:pt x="1984" y="688"/>
                  </a:lnTo>
                  <a:lnTo>
                    <a:pt x="1978" y="686"/>
                  </a:lnTo>
                  <a:lnTo>
                    <a:pt x="1972" y="684"/>
                  </a:lnTo>
                  <a:lnTo>
                    <a:pt x="1970" y="678"/>
                  </a:lnTo>
                  <a:lnTo>
                    <a:pt x="1964" y="674"/>
                  </a:lnTo>
                  <a:lnTo>
                    <a:pt x="1958" y="676"/>
                  </a:lnTo>
                  <a:lnTo>
                    <a:pt x="1952" y="680"/>
                  </a:lnTo>
                  <a:lnTo>
                    <a:pt x="1946" y="680"/>
                  </a:lnTo>
                  <a:lnTo>
                    <a:pt x="1940" y="682"/>
                  </a:lnTo>
                  <a:lnTo>
                    <a:pt x="1934" y="686"/>
                  </a:lnTo>
                  <a:lnTo>
                    <a:pt x="1928" y="686"/>
                  </a:lnTo>
                  <a:lnTo>
                    <a:pt x="1922" y="690"/>
                  </a:lnTo>
                  <a:lnTo>
                    <a:pt x="1916" y="688"/>
                  </a:lnTo>
                  <a:lnTo>
                    <a:pt x="1910" y="690"/>
                  </a:lnTo>
                  <a:lnTo>
                    <a:pt x="1904" y="690"/>
                  </a:lnTo>
                  <a:lnTo>
                    <a:pt x="1898" y="694"/>
                  </a:lnTo>
                  <a:lnTo>
                    <a:pt x="1892" y="694"/>
                  </a:lnTo>
                  <a:lnTo>
                    <a:pt x="1886" y="696"/>
                  </a:lnTo>
                  <a:lnTo>
                    <a:pt x="1880" y="698"/>
                  </a:lnTo>
                  <a:lnTo>
                    <a:pt x="1878" y="700"/>
                  </a:lnTo>
                  <a:lnTo>
                    <a:pt x="1876" y="702"/>
                  </a:lnTo>
                  <a:lnTo>
                    <a:pt x="1876" y="708"/>
                  </a:lnTo>
                  <a:lnTo>
                    <a:pt x="1882" y="712"/>
                  </a:lnTo>
                  <a:lnTo>
                    <a:pt x="1886" y="712"/>
                  </a:lnTo>
                  <a:lnTo>
                    <a:pt x="1888" y="710"/>
                  </a:lnTo>
                  <a:lnTo>
                    <a:pt x="1896" y="710"/>
                  </a:lnTo>
                  <a:lnTo>
                    <a:pt x="1902" y="712"/>
                  </a:lnTo>
                  <a:lnTo>
                    <a:pt x="1908" y="714"/>
                  </a:lnTo>
                  <a:lnTo>
                    <a:pt x="1914" y="718"/>
                  </a:lnTo>
                  <a:lnTo>
                    <a:pt x="1910" y="724"/>
                  </a:lnTo>
                  <a:lnTo>
                    <a:pt x="1910" y="730"/>
                  </a:lnTo>
                  <a:lnTo>
                    <a:pt x="1910" y="736"/>
                  </a:lnTo>
                  <a:lnTo>
                    <a:pt x="1914" y="742"/>
                  </a:lnTo>
                  <a:lnTo>
                    <a:pt x="1918" y="748"/>
                  </a:lnTo>
                  <a:lnTo>
                    <a:pt x="1918" y="754"/>
                  </a:lnTo>
                  <a:lnTo>
                    <a:pt x="1918" y="756"/>
                  </a:lnTo>
                  <a:lnTo>
                    <a:pt x="1922" y="762"/>
                  </a:lnTo>
                  <a:lnTo>
                    <a:pt x="1926" y="766"/>
                  </a:lnTo>
                  <a:lnTo>
                    <a:pt x="1932" y="772"/>
                  </a:lnTo>
                  <a:lnTo>
                    <a:pt x="1936" y="778"/>
                  </a:lnTo>
                  <a:lnTo>
                    <a:pt x="1938" y="782"/>
                  </a:lnTo>
                  <a:lnTo>
                    <a:pt x="1944" y="790"/>
                  </a:lnTo>
                  <a:lnTo>
                    <a:pt x="1948" y="796"/>
                  </a:lnTo>
                  <a:lnTo>
                    <a:pt x="1952" y="802"/>
                  </a:lnTo>
                  <a:lnTo>
                    <a:pt x="1954" y="808"/>
                  </a:lnTo>
                  <a:lnTo>
                    <a:pt x="1954" y="812"/>
                  </a:lnTo>
                  <a:lnTo>
                    <a:pt x="1960" y="816"/>
                  </a:lnTo>
                  <a:lnTo>
                    <a:pt x="1964" y="822"/>
                  </a:lnTo>
                  <a:lnTo>
                    <a:pt x="1962" y="828"/>
                  </a:lnTo>
                  <a:lnTo>
                    <a:pt x="1956" y="824"/>
                  </a:lnTo>
                  <a:lnTo>
                    <a:pt x="1950" y="830"/>
                  </a:lnTo>
                  <a:lnTo>
                    <a:pt x="1946" y="836"/>
                  </a:lnTo>
                  <a:lnTo>
                    <a:pt x="1952" y="838"/>
                  </a:lnTo>
                  <a:lnTo>
                    <a:pt x="1958" y="842"/>
                  </a:lnTo>
                  <a:lnTo>
                    <a:pt x="1954" y="844"/>
                  </a:lnTo>
                  <a:lnTo>
                    <a:pt x="1948" y="846"/>
                  </a:lnTo>
                  <a:lnTo>
                    <a:pt x="1942" y="846"/>
                  </a:lnTo>
                  <a:lnTo>
                    <a:pt x="1942" y="852"/>
                  </a:lnTo>
                  <a:lnTo>
                    <a:pt x="1940" y="858"/>
                  </a:lnTo>
                  <a:lnTo>
                    <a:pt x="1944" y="864"/>
                  </a:lnTo>
                  <a:lnTo>
                    <a:pt x="1948" y="870"/>
                  </a:lnTo>
                  <a:lnTo>
                    <a:pt x="1950" y="876"/>
                  </a:lnTo>
                  <a:lnTo>
                    <a:pt x="1954" y="882"/>
                  </a:lnTo>
                  <a:lnTo>
                    <a:pt x="1954" y="884"/>
                  </a:lnTo>
                  <a:lnTo>
                    <a:pt x="1954" y="890"/>
                  </a:lnTo>
                  <a:lnTo>
                    <a:pt x="1948" y="886"/>
                  </a:lnTo>
                  <a:lnTo>
                    <a:pt x="1944" y="880"/>
                  </a:lnTo>
                  <a:lnTo>
                    <a:pt x="1936" y="876"/>
                  </a:lnTo>
                  <a:lnTo>
                    <a:pt x="1930" y="872"/>
                  </a:lnTo>
                  <a:lnTo>
                    <a:pt x="1926" y="872"/>
                  </a:lnTo>
                  <a:lnTo>
                    <a:pt x="1918" y="870"/>
                  </a:lnTo>
                  <a:lnTo>
                    <a:pt x="1914" y="872"/>
                  </a:lnTo>
                  <a:lnTo>
                    <a:pt x="1906" y="872"/>
                  </a:lnTo>
                  <a:lnTo>
                    <a:pt x="1902" y="868"/>
                  </a:lnTo>
                  <a:lnTo>
                    <a:pt x="1896" y="860"/>
                  </a:lnTo>
                  <a:lnTo>
                    <a:pt x="1888" y="858"/>
                  </a:lnTo>
                  <a:lnTo>
                    <a:pt x="1884" y="852"/>
                  </a:lnTo>
                  <a:lnTo>
                    <a:pt x="1880" y="850"/>
                  </a:lnTo>
                  <a:lnTo>
                    <a:pt x="1878" y="850"/>
                  </a:lnTo>
                  <a:lnTo>
                    <a:pt x="1872" y="850"/>
                  </a:lnTo>
                  <a:lnTo>
                    <a:pt x="1866" y="848"/>
                  </a:lnTo>
                  <a:lnTo>
                    <a:pt x="1860" y="848"/>
                  </a:lnTo>
                  <a:lnTo>
                    <a:pt x="1854" y="846"/>
                  </a:lnTo>
                  <a:lnTo>
                    <a:pt x="1848" y="844"/>
                  </a:lnTo>
                  <a:lnTo>
                    <a:pt x="1842" y="842"/>
                  </a:lnTo>
                  <a:lnTo>
                    <a:pt x="1836" y="842"/>
                  </a:lnTo>
                  <a:lnTo>
                    <a:pt x="1830" y="844"/>
                  </a:lnTo>
                  <a:lnTo>
                    <a:pt x="1826" y="844"/>
                  </a:lnTo>
                  <a:lnTo>
                    <a:pt x="1818" y="844"/>
                  </a:lnTo>
                  <a:lnTo>
                    <a:pt x="1812" y="842"/>
                  </a:lnTo>
                  <a:lnTo>
                    <a:pt x="1808" y="842"/>
                  </a:lnTo>
                  <a:lnTo>
                    <a:pt x="1800" y="840"/>
                  </a:lnTo>
                  <a:lnTo>
                    <a:pt x="1796" y="840"/>
                  </a:lnTo>
                  <a:lnTo>
                    <a:pt x="1790" y="840"/>
                  </a:lnTo>
                  <a:lnTo>
                    <a:pt x="1782" y="840"/>
                  </a:lnTo>
                  <a:lnTo>
                    <a:pt x="1778" y="842"/>
                  </a:lnTo>
                  <a:lnTo>
                    <a:pt x="1770" y="840"/>
                  </a:lnTo>
                  <a:lnTo>
                    <a:pt x="1764" y="836"/>
                  </a:lnTo>
                  <a:lnTo>
                    <a:pt x="1758" y="836"/>
                  </a:lnTo>
                  <a:lnTo>
                    <a:pt x="1754" y="836"/>
                  </a:lnTo>
                  <a:lnTo>
                    <a:pt x="1748" y="838"/>
                  </a:lnTo>
                  <a:lnTo>
                    <a:pt x="1740" y="840"/>
                  </a:lnTo>
                  <a:lnTo>
                    <a:pt x="1736" y="840"/>
                  </a:lnTo>
                  <a:lnTo>
                    <a:pt x="1730" y="842"/>
                  </a:lnTo>
                  <a:lnTo>
                    <a:pt x="1724" y="842"/>
                  </a:lnTo>
                  <a:lnTo>
                    <a:pt x="1718" y="840"/>
                  </a:lnTo>
                  <a:lnTo>
                    <a:pt x="1712" y="838"/>
                  </a:lnTo>
                  <a:lnTo>
                    <a:pt x="1706" y="840"/>
                  </a:lnTo>
                  <a:lnTo>
                    <a:pt x="1700" y="838"/>
                  </a:lnTo>
                  <a:lnTo>
                    <a:pt x="1694" y="838"/>
                  </a:lnTo>
                  <a:lnTo>
                    <a:pt x="1692" y="838"/>
                  </a:lnTo>
                  <a:lnTo>
                    <a:pt x="1690" y="844"/>
                  </a:lnTo>
                  <a:lnTo>
                    <a:pt x="1688" y="848"/>
                  </a:lnTo>
                  <a:lnTo>
                    <a:pt x="1682" y="846"/>
                  </a:lnTo>
                  <a:lnTo>
                    <a:pt x="1676" y="846"/>
                  </a:lnTo>
                  <a:lnTo>
                    <a:pt x="1670" y="846"/>
                  </a:lnTo>
                  <a:lnTo>
                    <a:pt x="1664" y="844"/>
                  </a:lnTo>
                  <a:lnTo>
                    <a:pt x="1658" y="842"/>
                  </a:lnTo>
                  <a:lnTo>
                    <a:pt x="1652" y="840"/>
                  </a:lnTo>
                  <a:lnTo>
                    <a:pt x="1648" y="840"/>
                  </a:lnTo>
                  <a:lnTo>
                    <a:pt x="1642" y="836"/>
                  </a:lnTo>
                  <a:lnTo>
                    <a:pt x="1636" y="836"/>
                  </a:lnTo>
                  <a:lnTo>
                    <a:pt x="1630" y="834"/>
                  </a:lnTo>
                  <a:lnTo>
                    <a:pt x="1628" y="832"/>
                  </a:lnTo>
                  <a:lnTo>
                    <a:pt x="1622" y="828"/>
                  </a:lnTo>
                  <a:lnTo>
                    <a:pt x="1618" y="824"/>
                  </a:lnTo>
                  <a:lnTo>
                    <a:pt x="1610" y="822"/>
                  </a:lnTo>
                  <a:lnTo>
                    <a:pt x="1604" y="820"/>
                  </a:lnTo>
                  <a:lnTo>
                    <a:pt x="1600" y="816"/>
                  </a:lnTo>
                  <a:lnTo>
                    <a:pt x="1596" y="816"/>
                  </a:lnTo>
                  <a:lnTo>
                    <a:pt x="1598" y="818"/>
                  </a:lnTo>
                  <a:lnTo>
                    <a:pt x="1596" y="820"/>
                  </a:lnTo>
                  <a:lnTo>
                    <a:pt x="1590" y="822"/>
                  </a:lnTo>
                  <a:lnTo>
                    <a:pt x="1584" y="824"/>
                  </a:lnTo>
                  <a:lnTo>
                    <a:pt x="1580" y="826"/>
                  </a:lnTo>
                  <a:lnTo>
                    <a:pt x="1574" y="828"/>
                  </a:lnTo>
                  <a:lnTo>
                    <a:pt x="1568" y="830"/>
                  </a:lnTo>
                  <a:lnTo>
                    <a:pt x="1566" y="832"/>
                  </a:lnTo>
                  <a:lnTo>
                    <a:pt x="1566" y="838"/>
                  </a:lnTo>
                  <a:lnTo>
                    <a:pt x="1568" y="844"/>
                  </a:lnTo>
                  <a:lnTo>
                    <a:pt x="1568" y="846"/>
                  </a:lnTo>
                  <a:lnTo>
                    <a:pt x="1568" y="848"/>
                  </a:lnTo>
                  <a:lnTo>
                    <a:pt x="1566" y="854"/>
                  </a:lnTo>
                  <a:lnTo>
                    <a:pt x="1566" y="860"/>
                  </a:lnTo>
                  <a:lnTo>
                    <a:pt x="1570" y="866"/>
                  </a:lnTo>
                  <a:lnTo>
                    <a:pt x="1576" y="872"/>
                  </a:lnTo>
                  <a:lnTo>
                    <a:pt x="1570" y="874"/>
                  </a:lnTo>
                  <a:lnTo>
                    <a:pt x="1564" y="868"/>
                  </a:lnTo>
                  <a:lnTo>
                    <a:pt x="1558" y="868"/>
                  </a:lnTo>
                  <a:lnTo>
                    <a:pt x="1552" y="864"/>
                  </a:lnTo>
                  <a:lnTo>
                    <a:pt x="1546" y="866"/>
                  </a:lnTo>
                  <a:lnTo>
                    <a:pt x="1540" y="866"/>
                  </a:lnTo>
                  <a:lnTo>
                    <a:pt x="1534" y="862"/>
                  </a:lnTo>
                  <a:lnTo>
                    <a:pt x="1528" y="858"/>
                  </a:lnTo>
                  <a:lnTo>
                    <a:pt x="1522" y="856"/>
                  </a:lnTo>
                  <a:lnTo>
                    <a:pt x="1516" y="856"/>
                  </a:lnTo>
                  <a:lnTo>
                    <a:pt x="1508" y="854"/>
                  </a:lnTo>
                  <a:lnTo>
                    <a:pt x="1504" y="850"/>
                  </a:lnTo>
                  <a:lnTo>
                    <a:pt x="1498" y="850"/>
                  </a:lnTo>
                  <a:lnTo>
                    <a:pt x="1490" y="850"/>
                  </a:lnTo>
                  <a:lnTo>
                    <a:pt x="1486" y="848"/>
                  </a:lnTo>
                  <a:lnTo>
                    <a:pt x="1478" y="846"/>
                  </a:lnTo>
                  <a:lnTo>
                    <a:pt x="1474" y="846"/>
                  </a:lnTo>
                  <a:lnTo>
                    <a:pt x="1466" y="848"/>
                  </a:lnTo>
                  <a:lnTo>
                    <a:pt x="1462" y="850"/>
                  </a:lnTo>
                  <a:lnTo>
                    <a:pt x="1456" y="848"/>
                  </a:lnTo>
                  <a:lnTo>
                    <a:pt x="1450" y="850"/>
                  </a:lnTo>
                  <a:lnTo>
                    <a:pt x="1444" y="852"/>
                  </a:lnTo>
                  <a:lnTo>
                    <a:pt x="1440" y="858"/>
                  </a:lnTo>
                  <a:lnTo>
                    <a:pt x="1438" y="862"/>
                  </a:lnTo>
                  <a:lnTo>
                    <a:pt x="1438" y="868"/>
                  </a:lnTo>
                  <a:lnTo>
                    <a:pt x="1434" y="874"/>
                  </a:lnTo>
                  <a:lnTo>
                    <a:pt x="1432" y="880"/>
                  </a:lnTo>
                  <a:lnTo>
                    <a:pt x="1432" y="882"/>
                  </a:lnTo>
                  <a:lnTo>
                    <a:pt x="1438" y="886"/>
                  </a:lnTo>
                  <a:lnTo>
                    <a:pt x="1432" y="890"/>
                  </a:lnTo>
                  <a:lnTo>
                    <a:pt x="1426" y="892"/>
                  </a:lnTo>
                  <a:lnTo>
                    <a:pt x="1422" y="898"/>
                  </a:lnTo>
                  <a:lnTo>
                    <a:pt x="1418" y="900"/>
                  </a:lnTo>
                  <a:lnTo>
                    <a:pt x="1412" y="896"/>
                  </a:lnTo>
                  <a:lnTo>
                    <a:pt x="1406" y="902"/>
                  </a:lnTo>
                  <a:lnTo>
                    <a:pt x="1402" y="906"/>
                  </a:lnTo>
                  <a:lnTo>
                    <a:pt x="1400" y="912"/>
                  </a:lnTo>
                  <a:lnTo>
                    <a:pt x="1394" y="918"/>
                  </a:lnTo>
                  <a:lnTo>
                    <a:pt x="1392" y="918"/>
                  </a:lnTo>
                  <a:lnTo>
                    <a:pt x="1388" y="922"/>
                  </a:lnTo>
                  <a:lnTo>
                    <a:pt x="1382" y="924"/>
                  </a:lnTo>
                  <a:lnTo>
                    <a:pt x="1376" y="926"/>
                  </a:lnTo>
                  <a:lnTo>
                    <a:pt x="1370" y="930"/>
                  </a:lnTo>
                  <a:lnTo>
                    <a:pt x="1364" y="932"/>
                  </a:lnTo>
                  <a:lnTo>
                    <a:pt x="1360" y="938"/>
                  </a:lnTo>
                  <a:lnTo>
                    <a:pt x="1358" y="940"/>
                  </a:lnTo>
                  <a:lnTo>
                    <a:pt x="1352" y="942"/>
                  </a:lnTo>
                  <a:lnTo>
                    <a:pt x="1346" y="946"/>
                  </a:lnTo>
                  <a:lnTo>
                    <a:pt x="1350" y="952"/>
                  </a:lnTo>
                  <a:lnTo>
                    <a:pt x="1346" y="958"/>
                  </a:lnTo>
                  <a:lnTo>
                    <a:pt x="1342" y="960"/>
                  </a:lnTo>
                  <a:lnTo>
                    <a:pt x="1336" y="966"/>
                  </a:lnTo>
                  <a:lnTo>
                    <a:pt x="1334" y="972"/>
                  </a:lnTo>
                  <a:lnTo>
                    <a:pt x="1330" y="976"/>
                  </a:lnTo>
                  <a:lnTo>
                    <a:pt x="1328" y="982"/>
                  </a:lnTo>
                  <a:lnTo>
                    <a:pt x="1330" y="984"/>
                  </a:lnTo>
                  <a:lnTo>
                    <a:pt x="1330" y="986"/>
                  </a:lnTo>
                  <a:lnTo>
                    <a:pt x="1334" y="992"/>
                  </a:lnTo>
                  <a:lnTo>
                    <a:pt x="1336" y="998"/>
                  </a:lnTo>
                  <a:lnTo>
                    <a:pt x="1330" y="998"/>
                  </a:lnTo>
                  <a:lnTo>
                    <a:pt x="1324" y="998"/>
                  </a:lnTo>
                  <a:lnTo>
                    <a:pt x="1320" y="996"/>
                  </a:lnTo>
                  <a:lnTo>
                    <a:pt x="1314" y="994"/>
                  </a:lnTo>
                  <a:lnTo>
                    <a:pt x="1310" y="992"/>
                  </a:lnTo>
                  <a:lnTo>
                    <a:pt x="1308" y="990"/>
                  </a:lnTo>
                  <a:lnTo>
                    <a:pt x="1302" y="986"/>
                  </a:lnTo>
                  <a:lnTo>
                    <a:pt x="1302" y="980"/>
                  </a:lnTo>
                  <a:lnTo>
                    <a:pt x="1302" y="978"/>
                  </a:lnTo>
                  <a:lnTo>
                    <a:pt x="1302" y="976"/>
                  </a:lnTo>
                  <a:lnTo>
                    <a:pt x="1302" y="972"/>
                  </a:lnTo>
                  <a:lnTo>
                    <a:pt x="1300" y="968"/>
                  </a:lnTo>
                  <a:lnTo>
                    <a:pt x="1298" y="968"/>
                  </a:lnTo>
                  <a:lnTo>
                    <a:pt x="1292" y="964"/>
                  </a:lnTo>
                  <a:lnTo>
                    <a:pt x="1286" y="958"/>
                  </a:lnTo>
                  <a:lnTo>
                    <a:pt x="1284" y="960"/>
                  </a:lnTo>
                  <a:lnTo>
                    <a:pt x="1282" y="960"/>
                  </a:lnTo>
                  <a:lnTo>
                    <a:pt x="1276" y="958"/>
                  </a:lnTo>
                  <a:lnTo>
                    <a:pt x="1270" y="960"/>
                  </a:lnTo>
                  <a:lnTo>
                    <a:pt x="1264" y="960"/>
                  </a:lnTo>
                  <a:lnTo>
                    <a:pt x="1258" y="960"/>
                  </a:lnTo>
                  <a:lnTo>
                    <a:pt x="1252" y="962"/>
                  </a:lnTo>
                  <a:lnTo>
                    <a:pt x="1246" y="962"/>
                  </a:lnTo>
                  <a:lnTo>
                    <a:pt x="1240" y="962"/>
                  </a:lnTo>
                  <a:lnTo>
                    <a:pt x="1234" y="962"/>
                  </a:lnTo>
                  <a:lnTo>
                    <a:pt x="1228" y="960"/>
                  </a:lnTo>
                  <a:lnTo>
                    <a:pt x="1222" y="960"/>
                  </a:lnTo>
                  <a:lnTo>
                    <a:pt x="1220" y="960"/>
                  </a:lnTo>
                  <a:lnTo>
                    <a:pt x="1216" y="954"/>
                  </a:lnTo>
                  <a:lnTo>
                    <a:pt x="1212" y="948"/>
                  </a:lnTo>
                  <a:lnTo>
                    <a:pt x="1210" y="940"/>
                  </a:lnTo>
                  <a:lnTo>
                    <a:pt x="1206" y="934"/>
                  </a:lnTo>
                  <a:lnTo>
                    <a:pt x="1204" y="928"/>
                  </a:lnTo>
                  <a:lnTo>
                    <a:pt x="1200" y="922"/>
                  </a:lnTo>
                  <a:lnTo>
                    <a:pt x="1198" y="916"/>
                  </a:lnTo>
                  <a:lnTo>
                    <a:pt x="1196" y="910"/>
                  </a:lnTo>
                  <a:lnTo>
                    <a:pt x="1192" y="902"/>
                  </a:lnTo>
                  <a:lnTo>
                    <a:pt x="1186" y="902"/>
                  </a:lnTo>
                  <a:lnTo>
                    <a:pt x="1178" y="902"/>
                  </a:lnTo>
                  <a:lnTo>
                    <a:pt x="1172" y="902"/>
                  </a:lnTo>
                  <a:lnTo>
                    <a:pt x="1164" y="898"/>
                  </a:lnTo>
                  <a:lnTo>
                    <a:pt x="1164" y="892"/>
                  </a:lnTo>
                  <a:lnTo>
                    <a:pt x="1162" y="886"/>
                  </a:lnTo>
                  <a:lnTo>
                    <a:pt x="1160" y="880"/>
                  </a:lnTo>
                  <a:lnTo>
                    <a:pt x="1162" y="874"/>
                  </a:lnTo>
                  <a:lnTo>
                    <a:pt x="1160" y="868"/>
                  </a:lnTo>
                  <a:lnTo>
                    <a:pt x="1160" y="860"/>
                  </a:lnTo>
                  <a:lnTo>
                    <a:pt x="1158" y="854"/>
                  </a:lnTo>
                  <a:lnTo>
                    <a:pt x="1158" y="850"/>
                  </a:lnTo>
                  <a:lnTo>
                    <a:pt x="1156" y="842"/>
                  </a:lnTo>
                  <a:lnTo>
                    <a:pt x="1154" y="836"/>
                  </a:lnTo>
                  <a:lnTo>
                    <a:pt x="1148" y="838"/>
                  </a:lnTo>
                  <a:lnTo>
                    <a:pt x="1142" y="842"/>
                  </a:lnTo>
                  <a:lnTo>
                    <a:pt x="1136" y="838"/>
                  </a:lnTo>
                  <a:lnTo>
                    <a:pt x="1130" y="832"/>
                  </a:lnTo>
                  <a:lnTo>
                    <a:pt x="1126" y="824"/>
                  </a:lnTo>
                  <a:lnTo>
                    <a:pt x="1120" y="818"/>
                  </a:lnTo>
                  <a:lnTo>
                    <a:pt x="1114" y="812"/>
                  </a:lnTo>
                  <a:lnTo>
                    <a:pt x="1108" y="810"/>
                  </a:lnTo>
                  <a:lnTo>
                    <a:pt x="1102" y="806"/>
                  </a:lnTo>
                  <a:lnTo>
                    <a:pt x="1096" y="802"/>
                  </a:lnTo>
                  <a:lnTo>
                    <a:pt x="1090" y="798"/>
                  </a:lnTo>
                  <a:lnTo>
                    <a:pt x="1084" y="792"/>
                  </a:lnTo>
                  <a:lnTo>
                    <a:pt x="1080" y="788"/>
                  </a:lnTo>
                  <a:lnTo>
                    <a:pt x="1074" y="784"/>
                  </a:lnTo>
                  <a:lnTo>
                    <a:pt x="1068" y="788"/>
                  </a:lnTo>
                  <a:lnTo>
                    <a:pt x="1062" y="792"/>
                  </a:lnTo>
                  <a:lnTo>
                    <a:pt x="1056" y="796"/>
                  </a:lnTo>
                  <a:lnTo>
                    <a:pt x="1048" y="796"/>
                  </a:lnTo>
                  <a:lnTo>
                    <a:pt x="1042" y="796"/>
                  </a:lnTo>
                  <a:lnTo>
                    <a:pt x="1036" y="796"/>
                  </a:lnTo>
                  <a:lnTo>
                    <a:pt x="1028" y="796"/>
                  </a:lnTo>
                  <a:lnTo>
                    <a:pt x="1022" y="796"/>
                  </a:lnTo>
                  <a:lnTo>
                    <a:pt x="1016" y="794"/>
                  </a:lnTo>
                  <a:lnTo>
                    <a:pt x="1008" y="794"/>
                  </a:lnTo>
                  <a:lnTo>
                    <a:pt x="1002" y="794"/>
                  </a:lnTo>
                  <a:lnTo>
                    <a:pt x="996" y="792"/>
                  </a:lnTo>
                  <a:lnTo>
                    <a:pt x="990" y="792"/>
                  </a:lnTo>
                  <a:lnTo>
                    <a:pt x="982" y="790"/>
                  </a:lnTo>
                  <a:lnTo>
                    <a:pt x="978" y="792"/>
                  </a:lnTo>
                  <a:lnTo>
                    <a:pt x="970" y="792"/>
                  </a:lnTo>
                  <a:lnTo>
                    <a:pt x="966" y="794"/>
                  </a:lnTo>
                  <a:lnTo>
                    <a:pt x="958" y="796"/>
                  </a:lnTo>
                  <a:lnTo>
                    <a:pt x="952" y="796"/>
                  </a:lnTo>
                  <a:lnTo>
                    <a:pt x="944" y="796"/>
                  </a:lnTo>
                  <a:lnTo>
                    <a:pt x="938" y="798"/>
                  </a:lnTo>
                  <a:lnTo>
                    <a:pt x="932" y="800"/>
                  </a:lnTo>
                  <a:lnTo>
                    <a:pt x="924" y="800"/>
                  </a:lnTo>
                  <a:lnTo>
                    <a:pt x="918" y="802"/>
                  </a:lnTo>
                  <a:lnTo>
                    <a:pt x="918" y="800"/>
                  </a:lnTo>
                  <a:lnTo>
                    <a:pt x="912" y="796"/>
                  </a:lnTo>
                  <a:lnTo>
                    <a:pt x="906" y="790"/>
                  </a:lnTo>
                  <a:lnTo>
                    <a:pt x="900" y="786"/>
                  </a:lnTo>
                  <a:lnTo>
                    <a:pt x="894" y="780"/>
                  </a:lnTo>
                  <a:lnTo>
                    <a:pt x="888" y="776"/>
                  </a:lnTo>
                  <a:lnTo>
                    <a:pt x="882" y="770"/>
                  </a:lnTo>
                  <a:lnTo>
                    <a:pt x="876" y="766"/>
                  </a:lnTo>
                  <a:lnTo>
                    <a:pt x="870" y="762"/>
                  </a:lnTo>
                  <a:lnTo>
                    <a:pt x="864" y="756"/>
                  </a:lnTo>
                  <a:lnTo>
                    <a:pt x="858" y="752"/>
                  </a:lnTo>
                  <a:lnTo>
                    <a:pt x="854" y="746"/>
                  </a:lnTo>
                  <a:lnTo>
                    <a:pt x="850" y="740"/>
                  </a:lnTo>
                  <a:lnTo>
                    <a:pt x="844" y="736"/>
                  </a:lnTo>
                  <a:lnTo>
                    <a:pt x="838" y="732"/>
                  </a:lnTo>
                  <a:lnTo>
                    <a:pt x="832" y="730"/>
                  </a:lnTo>
                  <a:lnTo>
                    <a:pt x="830" y="728"/>
                  </a:lnTo>
                  <a:lnTo>
                    <a:pt x="800" y="714"/>
                  </a:lnTo>
                  <a:lnTo>
                    <a:pt x="770" y="698"/>
                  </a:lnTo>
                  <a:lnTo>
                    <a:pt x="752" y="690"/>
                  </a:lnTo>
                  <a:lnTo>
                    <a:pt x="748" y="686"/>
                  </a:lnTo>
                  <a:lnTo>
                    <a:pt x="746" y="686"/>
                  </a:lnTo>
                  <a:lnTo>
                    <a:pt x="740" y="682"/>
                  </a:lnTo>
                  <a:lnTo>
                    <a:pt x="736" y="680"/>
                  </a:lnTo>
                  <a:lnTo>
                    <a:pt x="730" y="678"/>
                  </a:lnTo>
                  <a:lnTo>
                    <a:pt x="724" y="674"/>
                  </a:lnTo>
                  <a:lnTo>
                    <a:pt x="718" y="672"/>
                  </a:lnTo>
                  <a:lnTo>
                    <a:pt x="716" y="670"/>
                  </a:lnTo>
                  <a:lnTo>
                    <a:pt x="710" y="666"/>
                  </a:lnTo>
                  <a:lnTo>
                    <a:pt x="702" y="664"/>
                  </a:lnTo>
                  <a:lnTo>
                    <a:pt x="696" y="660"/>
                  </a:lnTo>
                  <a:lnTo>
                    <a:pt x="694" y="660"/>
                  </a:lnTo>
                  <a:lnTo>
                    <a:pt x="690" y="660"/>
                  </a:lnTo>
                  <a:lnTo>
                    <a:pt x="684" y="662"/>
                  </a:lnTo>
                  <a:lnTo>
                    <a:pt x="678" y="664"/>
                  </a:lnTo>
                  <a:lnTo>
                    <a:pt x="672" y="666"/>
                  </a:lnTo>
                  <a:lnTo>
                    <a:pt x="666" y="668"/>
                  </a:lnTo>
                  <a:lnTo>
                    <a:pt x="660" y="668"/>
                  </a:lnTo>
                  <a:lnTo>
                    <a:pt x="652" y="672"/>
                  </a:lnTo>
                  <a:lnTo>
                    <a:pt x="646" y="672"/>
                  </a:lnTo>
                  <a:lnTo>
                    <a:pt x="638" y="676"/>
                  </a:lnTo>
                  <a:lnTo>
                    <a:pt x="632" y="676"/>
                  </a:lnTo>
                  <a:lnTo>
                    <a:pt x="626" y="678"/>
                  </a:lnTo>
                  <a:lnTo>
                    <a:pt x="618" y="680"/>
                  </a:lnTo>
                  <a:lnTo>
                    <a:pt x="612" y="682"/>
                  </a:lnTo>
                  <a:lnTo>
                    <a:pt x="606" y="686"/>
                  </a:lnTo>
                  <a:lnTo>
                    <a:pt x="602" y="686"/>
                  </a:lnTo>
                  <a:lnTo>
                    <a:pt x="596" y="688"/>
                  </a:lnTo>
                  <a:lnTo>
                    <a:pt x="590" y="690"/>
                  </a:lnTo>
                  <a:lnTo>
                    <a:pt x="582" y="692"/>
                  </a:lnTo>
                  <a:lnTo>
                    <a:pt x="576" y="694"/>
                  </a:lnTo>
                  <a:lnTo>
                    <a:pt x="570" y="696"/>
                  </a:lnTo>
                  <a:lnTo>
                    <a:pt x="562" y="698"/>
                  </a:lnTo>
                  <a:lnTo>
                    <a:pt x="564" y="704"/>
                  </a:lnTo>
                  <a:lnTo>
                    <a:pt x="566" y="710"/>
                  </a:lnTo>
                  <a:lnTo>
                    <a:pt x="568" y="718"/>
                  </a:lnTo>
                  <a:lnTo>
                    <a:pt x="568" y="724"/>
                  </a:lnTo>
                  <a:lnTo>
                    <a:pt x="570" y="730"/>
                  </a:lnTo>
                  <a:lnTo>
                    <a:pt x="572" y="738"/>
                  </a:lnTo>
                  <a:lnTo>
                    <a:pt x="572" y="744"/>
                  </a:lnTo>
                  <a:lnTo>
                    <a:pt x="574" y="750"/>
                  </a:lnTo>
                  <a:lnTo>
                    <a:pt x="576" y="758"/>
                  </a:lnTo>
                  <a:lnTo>
                    <a:pt x="578" y="764"/>
                  </a:lnTo>
                  <a:lnTo>
                    <a:pt x="580" y="770"/>
                  </a:lnTo>
                  <a:lnTo>
                    <a:pt x="580" y="778"/>
                  </a:lnTo>
                  <a:lnTo>
                    <a:pt x="582" y="784"/>
                  </a:lnTo>
                  <a:lnTo>
                    <a:pt x="584" y="790"/>
                  </a:lnTo>
                  <a:lnTo>
                    <a:pt x="584" y="798"/>
                  </a:lnTo>
                  <a:lnTo>
                    <a:pt x="586" y="804"/>
                  </a:lnTo>
                  <a:lnTo>
                    <a:pt x="588" y="810"/>
                  </a:lnTo>
                  <a:lnTo>
                    <a:pt x="588" y="818"/>
                  </a:lnTo>
                  <a:lnTo>
                    <a:pt x="590" y="824"/>
                  </a:lnTo>
                  <a:lnTo>
                    <a:pt x="592" y="830"/>
                  </a:lnTo>
                  <a:lnTo>
                    <a:pt x="592" y="836"/>
                  </a:lnTo>
                  <a:lnTo>
                    <a:pt x="594" y="844"/>
                  </a:lnTo>
                  <a:lnTo>
                    <a:pt x="596" y="850"/>
                  </a:lnTo>
                  <a:lnTo>
                    <a:pt x="598" y="856"/>
                  </a:lnTo>
                  <a:lnTo>
                    <a:pt x="598" y="864"/>
                  </a:lnTo>
                  <a:lnTo>
                    <a:pt x="600" y="870"/>
                  </a:lnTo>
                  <a:lnTo>
                    <a:pt x="602" y="876"/>
                  </a:lnTo>
                  <a:lnTo>
                    <a:pt x="604" y="884"/>
                  </a:lnTo>
                  <a:lnTo>
                    <a:pt x="606" y="896"/>
                  </a:lnTo>
                  <a:lnTo>
                    <a:pt x="606" y="902"/>
                  </a:lnTo>
                  <a:lnTo>
                    <a:pt x="608" y="908"/>
                  </a:lnTo>
                  <a:lnTo>
                    <a:pt x="610" y="916"/>
                  </a:lnTo>
                  <a:lnTo>
                    <a:pt x="612" y="922"/>
                  </a:lnTo>
                  <a:lnTo>
                    <a:pt x="612" y="928"/>
                  </a:lnTo>
                  <a:lnTo>
                    <a:pt x="614" y="938"/>
                  </a:lnTo>
                  <a:lnTo>
                    <a:pt x="616" y="948"/>
                  </a:lnTo>
                  <a:lnTo>
                    <a:pt x="610" y="950"/>
                  </a:lnTo>
                  <a:lnTo>
                    <a:pt x="604" y="952"/>
                  </a:lnTo>
                  <a:lnTo>
                    <a:pt x="598" y="954"/>
                  </a:lnTo>
                  <a:lnTo>
                    <a:pt x="592" y="954"/>
                  </a:lnTo>
                  <a:lnTo>
                    <a:pt x="586" y="950"/>
                  </a:lnTo>
                  <a:lnTo>
                    <a:pt x="582" y="944"/>
                  </a:lnTo>
                  <a:lnTo>
                    <a:pt x="576" y="942"/>
                  </a:lnTo>
                  <a:lnTo>
                    <a:pt x="570" y="936"/>
                  </a:lnTo>
                  <a:lnTo>
                    <a:pt x="566" y="930"/>
                  </a:lnTo>
                  <a:lnTo>
                    <a:pt x="560" y="924"/>
                  </a:lnTo>
                  <a:lnTo>
                    <a:pt x="554" y="918"/>
                  </a:lnTo>
                  <a:lnTo>
                    <a:pt x="550" y="912"/>
                  </a:lnTo>
                  <a:lnTo>
                    <a:pt x="548" y="906"/>
                  </a:lnTo>
                  <a:lnTo>
                    <a:pt x="542" y="902"/>
                  </a:lnTo>
                  <a:lnTo>
                    <a:pt x="536" y="898"/>
                  </a:lnTo>
                  <a:lnTo>
                    <a:pt x="530" y="894"/>
                  </a:lnTo>
                  <a:lnTo>
                    <a:pt x="524" y="892"/>
                  </a:lnTo>
                  <a:lnTo>
                    <a:pt x="518" y="888"/>
                  </a:lnTo>
                  <a:lnTo>
                    <a:pt x="512" y="886"/>
                  </a:lnTo>
                  <a:lnTo>
                    <a:pt x="506" y="882"/>
                  </a:lnTo>
                  <a:lnTo>
                    <a:pt x="500" y="880"/>
                  </a:lnTo>
                  <a:lnTo>
                    <a:pt x="494" y="880"/>
                  </a:lnTo>
                  <a:lnTo>
                    <a:pt x="488" y="880"/>
                  </a:lnTo>
                  <a:lnTo>
                    <a:pt x="484" y="880"/>
                  </a:lnTo>
                  <a:lnTo>
                    <a:pt x="478" y="882"/>
                  </a:lnTo>
                  <a:lnTo>
                    <a:pt x="474" y="884"/>
                  </a:lnTo>
                  <a:lnTo>
                    <a:pt x="466" y="884"/>
                  </a:lnTo>
                  <a:lnTo>
                    <a:pt x="462" y="884"/>
                  </a:lnTo>
                  <a:lnTo>
                    <a:pt x="456" y="886"/>
                  </a:lnTo>
                  <a:lnTo>
                    <a:pt x="448" y="890"/>
                  </a:lnTo>
                  <a:lnTo>
                    <a:pt x="444" y="892"/>
                  </a:lnTo>
                  <a:lnTo>
                    <a:pt x="438" y="894"/>
                  </a:lnTo>
                  <a:lnTo>
                    <a:pt x="432" y="900"/>
                  </a:lnTo>
                  <a:lnTo>
                    <a:pt x="426" y="906"/>
                  </a:lnTo>
                  <a:lnTo>
                    <a:pt x="420" y="912"/>
                  </a:lnTo>
                  <a:lnTo>
                    <a:pt x="418" y="914"/>
                  </a:lnTo>
                  <a:lnTo>
                    <a:pt x="412" y="920"/>
                  </a:lnTo>
                  <a:lnTo>
                    <a:pt x="412" y="914"/>
                  </a:lnTo>
                  <a:lnTo>
                    <a:pt x="412" y="910"/>
                  </a:lnTo>
                  <a:lnTo>
                    <a:pt x="408" y="904"/>
                  </a:lnTo>
                  <a:lnTo>
                    <a:pt x="406" y="896"/>
                  </a:lnTo>
                  <a:lnTo>
                    <a:pt x="406" y="892"/>
                  </a:lnTo>
                  <a:lnTo>
                    <a:pt x="410" y="886"/>
                  </a:lnTo>
                  <a:lnTo>
                    <a:pt x="412" y="880"/>
                  </a:lnTo>
                  <a:lnTo>
                    <a:pt x="414" y="874"/>
                  </a:lnTo>
                  <a:lnTo>
                    <a:pt x="414" y="868"/>
                  </a:lnTo>
                  <a:lnTo>
                    <a:pt x="414" y="862"/>
                  </a:lnTo>
                  <a:lnTo>
                    <a:pt x="408" y="856"/>
                  </a:lnTo>
                  <a:lnTo>
                    <a:pt x="414" y="860"/>
                  </a:lnTo>
                  <a:lnTo>
                    <a:pt x="416" y="854"/>
                  </a:lnTo>
                  <a:lnTo>
                    <a:pt x="410" y="852"/>
                  </a:lnTo>
                  <a:lnTo>
                    <a:pt x="404" y="848"/>
                  </a:lnTo>
                  <a:lnTo>
                    <a:pt x="398" y="846"/>
                  </a:lnTo>
                  <a:lnTo>
                    <a:pt x="392" y="846"/>
                  </a:lnTo>
                  <a:lnTo>
                    <a:pt x="386" y="844"/>
                  </a:lnTo>
                  <a:lnTo>
                    <a:pt x="380" y="842"/>
                  </a:lnTo>
                  <a:lnTo>
                    <a:pt x="374" y="844"/>
                  </a:lnTo>
                  <a:lnTo>
                    <a:pt x="368" y="846"/>
                  </a:lnTo>
                  <a:lnTo>
                    <a:pt x="362" y="840"/>
                  </a:lnTo>
                  <a:lnTo>
                    <a:pt x="358" y="834"/>
                  </a:lnTo>
                  <a:lnTo>
                    <a:pt x="352" y="828"/>
                  </a:lnTo>
                  <a:lnTo>
                    <a:pt x="350" y="822"/>
                  </a:lnTo>
                  <a:lnTo>
                    <a:pt x="344" y="822"/>
                  </a:lnTo>
                  <a:lnTo>
                    <a:pt x="338" y="824"/>
                  </a:lnTo>
                  <a:lnTo>
                    <a:pt x="332" y="824"/>
                  </a:lnTo>
                  <a:lnTo>
                    <a:pt x="328" y="818"/>
                  </a:lnTo>
                  <a:lnTo>
                    <a:pt x="328" y="812"/>
                  </a:lnTo>
                  <a:lnTo>
                    <a:pt x="328" y="806"/>
                  </a:lnTo>
                  <a:lnTo>
                    <a:pt x="326" y="800"/>
                  </a:lnTo>
                  <a:lnTo>
                    <a:pt x="320" y="794"/>
                  </a:lnTo>
                  <a:lnTo>
                    <a:pt x="314" y="790"/>
                  </a:lnTo>
                  <a:lnTo>
                    <a:pt x="310" y="784"/>
                  </a:lnTo>
                  <a:lnTo>
                    <a:pt x="306" y="778"/>
                  </a:lnTo>
                  <a:lnTo>
                    <a:pt x="304" y="772"/>
                  </a:lnTo>
                  <a:lnTo>
                    <a:pt x="298" y="766"/>
                  </a:lnTo>
                  <a:lnTo>
                    <a:pt x="294" y="760"/>
                  </a:lnTo>
                  <a:lnTo>
                    <a:pt x="292" y="754"/>
                  </a:lnTo>
                  <a:lnTo>
                    <a:pt x="286" y="750"/>
                  </a:lnTo>
                  <a:lnTo>
                    <a:pt x="280" y="748"/>
                  </a:lnTo>
                  <a:lnTo>
                    <a:pt x="274" y="746"/>
                  </a:lnTo>
                  <a:lnTo>
                    <a:pt x="268" y="746"/>
                  </a:lnTo>
                  <a:lnTo>
                    <a:pt x="262" y="744"/>
                  </a:lnTo>
                  <a:lnTo>
                    <a:pt x="256" y="742"/>
                  </a:lnTo>
                  <a:lnTo>
                    <a:pt x="254" y="736"/>
                  </a:lnTo>
                  <a:lnTo>
                    <a:pt x="252" y="730"/>
                  </a:lnTo>
                  <a:lnTo>
                    <a:pt x="254" y="724"/>
                  </a:lnTo>
                  <a:lnTo>
                    <a:pt x="262" y="724"/>
                  </a:lnTo>
                  <a:lnTo>
                    <a:pt x="266" y="724"/>
                  </a:lnTo>
                  <a:lnTo>
                    <a:pt x="272" y="724"/>
                  </a:lnTo>
                  <a:lnTo>
                    <a:pt x="280" y="724"/>
                  </a:lnTo>
                  <a:lnTo>
                    <a:pt x="284" y="724"/>
                  </a:lnTo>
                  <a:lnTo>
                    <a:pt x="290" y="726"/>
                  </a:lnTo>
                  <a:lnTo>
                    <a:pt x="296" y="730"/>
                  </a:lnTo>
                  <a:lnTo>
                    <a:pt x="302" y="734"/>
                  </a:lnTo>
                  <a:lnTo>
                    <a:pt x="308" y="732"/>
                  </a:lnTo>
                  <a:lnTo>
                    <a:pt x="314" y="728"/>
                  </a:lnTo>
                  <a:lnTo>
                    <a:pt x="320" y="730"/>
                  </a:lnTo>
                  <a:lnTo>
                    <a:pt x="326" y="732"/>
                  </a:lnTo>
                  <a:lnTo>
                    <a:pt x="320" y="726"/>
                  </a:lnTo>
                  <a:lnTo>
                    <a:pt x="314" y="726"/>
                  </a:lnTo>
                  <a:lnTo>
                    <a:pt x="308" y="720"/>
                  </a:lnTo>
                  <a:lnTo>
                    <a:pt x="302" y="714"/>
                  </a:lnTo>
                  <a:lnTo>
                    <a:pt x="296" y="712"/>
                  </a:lnTo>
                  <a:lnTo>
                    <a:pt x="290" y="710"/>
                  </a:lnTo>
                  <a:lnTo>
                    <a:pt x="290" y="704"/>
                  </a:lnTo>
                  <a:lnTo>
                    <a:pt x="292" y="698"/>
                  </a:lnTo>
                  <a:lnTo>
                    <a:pt x="300" y="694"/>
                  </a:lnTo>
                  <a:lnTo>
                    <a:pt x="300" y="688"/>
                  </a:lnTo>
                  <a:lnTo>
                    <a:pt x="302" y="682"/>
                  </a:lnTo>
                  <a:lnTo>
                    <a:pt x="306" y="676"/>
                  </a:lnTo>
                  <a:lnTo>
                    <a:pt x="312" y="676"/>
                  </a:lnTo>
                  <a:lnTo>
                    <a:pt x="318" y="674"/>
                  </a:lnTo>
                  <a:lnTo>
                    <a:pt x="322" y="668"/>
                  </a:lnTo>
                  <a:lnTo>
                    <a:pt x="330" y="672"/>
                  </a:lnTo>
                  <a:lnTo>
                    <a:pt x="334" y="674"/>
                  </a:lnTo>
                  <a:lnTo>
                    <a:pt x="342" y="672"/>
                  </a:lnTo>
                  <a:lnTo>
                    <a:pt x="348" y="672"/>
                  </a:lnTo>
                  <a:lnTo>
                    <a:pt x="354" y="672"/>
                  </a:lnTo>
                  <a:lnTo>
                    <a:pt x="360" y="670"/>
                  </a:lnTo>
                  <a:lnTo>
                    <a:pt x="366" y="670"/>
                  </a:lnTo>
                  <a:lnTo>
                    <a:pt x="372" y="672"/>
                  </a:lnTo>
                  <a:lnTo>
                    <a:pt x="376" y="674"/>
                  </a:lnTo>
                  <a:lnTo>
                    <a:pt x="382" y="674"/>
                  </a:lnTo>
                  <a:lnTo>
                    <a:pt x="390" y="676"/>
                  </a:lnTo>
                  <a:lnTo>
                    <a:pt x="394" y="676"/>
                  </a:lnTo>
                  <a:lnTo>
                    <a:pt x="400" y="678"/>
                  </a:lnTo>
                  <a:lnTo>
                    <a:pt x="406" y="676"/>
                  </a:lnTo>
                  <a:lnTo>
                    <a:pt x="400" y="672"/>
                  </a:lnTo>
                  <a:lnTo>
                    <a:pt x="394" y="670"/>
                  </a:lnTo>
                  <a:lnTo>
                    <a:pt x="388" y="668"/>
                  </a:lnTo>
                  <a:lnTo>
                    <a:pt x="382" y="664"/>
                  </a:lnTo>
                  <a:lnTo>
                    <a:pt x="376" y="662"/>
                  </a:lnTo>
                  <a:lnTo>
                    <a:pt x="376" y="656"/>
                  </a:lnTo>
                  <a:lnTo>
                    <a:pt x="378" y="650"/>
                  </a:lnTo>
                  <a:lnTo>
                    <a:pt x="382" y="644"/>
                  </a:lnTo>
                  <a:lnTo>
                    <a:pt x="386" y="638"/>
                  </a:lnTo>
                  <a:lnTo>
                    <a:pt x="388" y="632"/>
                  </a:lnTo>
                  <a:lnTo>
                    <a:pt x="388" y="626"/>
                  </a:lnTo>
                  <a:lnTo>
                    <a:pt x="390" y="622"/>
                  </a:lnTo>
                  <a:lnTo>
                    <a:pt x="388" y="616"/>
                  </a:lnTo>
                  <a:lnTo>
                    <a:pt x="388" y="610"/>
                  </a:lnTo>
                  <a:lnTo>
                    <a:pt x="386" y="604"/>
                  </a:lnTo>
                  <a:lnTo>
                    <a:pt x="382" y="598"/>
                  </a:lnTo>
                  <a:lnTo>
                    <a:pt x="380" y="592"/>
                  </a:lnTo>
                  <a:lnTo>
                    <a:pt x="380" y="590"/>
                  </a:lnTo>
                  <a:lnTo>
                    <a:pt x="376" y="584"/>
                  </a:lnTo>
                  <a:lnTo>
                    <a:pt x="374" y="578"/>
                  </a:lnTo>
                  <a:lnTo>
                    <a:pt x="370" y="574"/>
                  </a:lnTo>
                  <a:lnTo>
                    <a:pt x="366" y="570"/>
                  </a:lnTo>
                  <a:lnTo>
                    <a:pt x="362" y="566"/>
                  </a:lnTo>
                  <a:lnTo>
                    <a:pt x="356" y="566"/>
                  </a:lnTo>
                  <a:lnTo>
                    <a:pt x="350" y="566"/>
                  </a:lnTo>
                  <a:lnTo>
                    <a:pt x="344" y="564"/>
                  </a:lnTo>
                  <a:lnTo>
                    <a:pt x="338" y="564"/>
                  </a:lnTo>
                  <a:lnTo>
                    <a:pt x="336" y="570"/>
                  </a:lnTo>
                  <a:lnTo>
                    <a:pt x="332" y="576"/>
                  </a:lnTo>
                  <a:lnTo>
                    <a:pt x="326" y="574"/>
                  </a:lnTo>
                  <a:lnTo>
                    <a:pt x="320" y="572"/>
                  </a:lnTo>
                  <a:lnTo>
                    <a:pt x="314" y="570"/>
                  </a:lnTo>
                  <a:lnTo>
                    <a:pt x="308" y="568"/>
                  </a:lnTo>
                  <a:lnTo>
                    <a:pt x="300" y="566"/>
                  </a:lnTo>
                  <a:lnTo>
                    <a:pt x="294" y="564"/>
                  </a:lnTo>
                  <a:lnTo>
                    <a:pt x="288" y="558"/>
                  </a:lnTo>
                  <a:lnTo>
                    <a:pt x="282" y="558"/>
                  </a:lnTo>
                  <a:lnTo>
                    <a:pt x="276" y="556"/>
                  </a:lnTo>
                  <a:lnTo>
                    <a:pt x="270" y="554"/>
                  </a:lnTo>
                  <a:lnTo>
                    <a:pt x="264" y="558"/>
                  </a:lnTo>
                  <a:lnTo>
                    <a:pt x="258" y="558"/>
                  </a:lnTo>
                  <a:lnTo>
                    <a:pt x="252" y="562"/>
                  </a:lnTo>
                  <a:lnTo>
                    <a:pt x="250" y="568"/>
                  </a:lnTo>
                  <a:lnTo>
                    <a:pt x="244" y="568"/>
                  </a:lnTo>
                  <a:lnTo>
                    <a:pt x="238" y="570"/>
                  </a:lnTo>
                  <a:lnTo>
                    <a:pt x="232" y="570"/>
                  </a:lnTo>
                  <a:lnTo>
                    <a:pt x="228" y="574"/>
                  </a:lnTo>
                  <a:lnTo>
                    <a:pt x="224" y="580"/>
                  </a:lnTo>
                  <a:lnTo>
                    <a:pt x="218" y="582"/>
                  </a:lnTo>
                  <a:lnTo>
                    <a:pt x="212" y="588"/>
                  </a:lnTo>
                  <a:lnTo>
                    <a:pt x="208" y="590"/>
                  </a:lnTo>
                  <a:lnTo>
                    <a:pt x="202" y="592"/>
                  </a:lnTo>
                  <a:lnTo>
                    <a:pt x="196" y="592"/>
                  </a:lnTo>
                  <a:lnTo>
                    <a:pt x="190" y="594"/>
                  </a:lnTo>
                  <a:lnTo>
                    <a:pt x="184" y="590"/>
                  </a:lnTo>
                  <a:lnTo>
                    <a:pt x="186" y="596"/>
                  </a:lnTo>
                  <a:lnTo>
                    <a:pt x="182" y="594"/>
                  </a:lnTo>
                  <a:lnTo>
                    <a:pt x="174" y="590"/>
                  </a:lnTo>
                  <a:lnTo>
                    <a:pt x="176" y="592"/>
                  </a:lnTo>
                  <a:lnTo>
                    <a:pt x="182" y="598"/>
                  </a:lnTo>
                  <a:lnTo>
                    <a:pt x="176" y="598"/>
                  </a:lnTo>
                  <a:lnTo>
                    <a:pt x="176" y="604"/>
                  </a:lnTo>
                  <a:lnTo>
                    <a:pt x="170" y="602"/>
                  </a:lnTo>
                  <a:lnTo>
                    <a:pt x="174" y="606"/>
                  </a:lnTo>
                  <a:lnTo>
                    <a:pt x="168" y="604"/>
                  </a:lnTo>
                  <a:lnTo>
                    <a:pt x="162" y="600"/>
                  </a:lnTo>
                  <a:lnTo>
                    <a:pt x="156" y="596"/>
                  </a:lnTo>
                  <a:lnTo>
                    <a:pt x="152" y="598"/>
                  </a:lnTo>
                  <a:lnTo>
                    <a:pt x="146" y="592"/>
                  </a:lnTo>
                  <a:lnTo>
                    <a:pt x="142" y="592"/>
                  </a:lnTo>
                  <a:lnTo>
                    <a:pt x="136" y="590"/>
                  </a:lnTo>
                  <a:lnTo>
                    <a:pt x="130" y="584"/>
                  </a:lnTo>
                  <a:lnTo>
                    <a:pt x="136" y="578"/>
                  </a:lnTo>
                  <a:lnTo>
                    <a:pt x="142" y="580"/>
                  </a:lnTo>
                  <a:lnTo>
                    <a:pt x="148" y="584"/>
                  </a:lnTo>
                  <a:lnTo>
                    <a:pt x="154" y="582"/>
                  </a:lnTo>
                  <a:lnTo>
                    <a:pt x="156" y="576"/>
                  </a:lnTo>
                  <a:lnTo>
                    <a:pt x="150" y="570"/>
                  </a:lnTo>
                  <a:lnTo>
                    <a:pt x="144" y="564"/>
                  </a:lnTo>
                  <a:lnTo>
                    <a:pt x="138" y="558"/>
                  </a:lnTo>
                  <a:lnTo>
                    <a:pt x="134" y="552"/>
                  </a:lnTo>
                  <a:lnTo>
                    <a:pt x="130" y="546"/>
                  </a:lnTo>
                  <a:lnTo>
                    <a:pt x="126" y="540"/>
                  </a:lnTo>
                  <a:lnTo>
                    <a:pt x="120" y="534"/>
                  </a:lnTo>
                  <a:lnTo>
                    <a:pt x="114" y="530"/>
                  </a:lnTo>
                  <a:lnTo>
                    <a:pt x="110" y="524"/>
                  </a:lnTo>
                  <a:lnTo>
                    <a:pt x="104" y="518"/>
                  </a:lnTo>
                  <a:lnTo>
                    <a:pt x="98" y="512"/>
                  </a:lnTo>
                  <a:lnTo>
                    <a:pt x="92" y="510"/>
                  </a:lnTo>
                  <a:lnTo>
                    <a:pt x="86" y="510"/>
                  </a:lnTo>
                  <a:lnTo>
                    <a:pt x="80" y="510"/>
                  </a:lnTo>
                  <a:lnTo>
                    <a:pt x="74" y="510"/>
                  </a:lnTo>
                  <a:lnTo>
                    <a:pt x="68" y="510"/>
                  </a:lnTo>
                  <a:lnTo>
                    <a:pt x="62" y="508"/>
                  </a:lnTo>
                  <a:lnTo>
                    <a:pt x="56" y="508"/>
                  </a:lnTo>
                  <a:lnTo>
                    <a:pt x="54" y="514"/>
                  </a:lnTo>
                  <a:lnTo>
                    <a:pt x="48" y="512"/>
                  </a:lnTo>
                  <a:lnTo>
                    <a:pt x="42" y="506"/>
                  </a:lnTo>
                  <a:lnTo>
                    <a:pt x="42" y="500"/>
                  </a:lnTo>
                  <a:lnTo>
                    <a:pt x="38" y="494"/>
                  </a:lnTo>
                  <a:lnTo>
                    <a:pt x="42" y="490"/>
                  </a:lnTo>
                  <a:lnTo>
                    <a:pt x="38" y="484"/>
                  </a:lnTo>
                  <a:lnTo>
                    <a:pt x="36" y="478"/>
                  </a:lnTo>
                  <a:lnTo>
                    <a:pt x="34" y="476"/>
                  </a:lnTo>
                  <a:lnTo>
                    <a:pt x="28" y="474"/>
                  </a:lnTo>
                  <a:lnTo>
                    <a:pt x="22" y="472"/>
                  </a:lnTo>
                  <a:lnTo>
                    <a:pt x="16" y="470"/>
                  </a:lnTo>
                  <a:lnTo>
                    <a:pt x="14" y="470"/>
                  </a:lnTo>
                  <a:lnTo>
                    <a:pt x="12" y="470"/>
                  </a:lnTo>
                  <a:lnTo>
                    <a:pt x="6" y="468"/>
                  </a:lnTo>
                  <a:lnTo>
                    <a:pt x="0" y="462"/>
                  </a:lnTo>
                  <a:lnTo>
                    <a:pt x="2" y="456"/>
                  </a:lnTo>
                  <a:lnTo>
                    <a:pt x="4" y="4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1" name="Freeform 108"/>
            <p:cNvSpPr>
              <a:spLocks/>
            </p:cNvSpPr>
            <p:nvPr/>
          </p:nvSpPr>
          <p:spPr bwMode="auto">
            <a:xfrm>
              <a:off x="5262563" y="3113088"/>
              <a:ext cx="501650" cy="419100"/>
            </a:xfrm>
            <a:custGeom>
              <a:avLst/>
              <a:gdLst>
                <a:gd name="T0" fmla="*/ 2147483647 w 1232"/>
                <a:gd name="T1" fmla="*/ 2147483647 h 1016"/>
                <a:gd name="T2" fmla="*/ 2147483647 w 1232"/>
                <a:gd name="T3" fmla="*/ 2147483647 h 1016"/>
                <a:gd name="T4" fmla="*/ 2147483647 w 1232"/>
                <a:gd name="T5" fmla="*/ 2147483647 h 1016"/>
                <a:gd name="T6" fmla="*/ 2147483647 w 1232"/>
                <a:gd name="T7" fmla="*/ 2147483647 h 1016"/>
                <a:gd name="T8" fmla="*/ 2147483647 w 1232"/>
                <a:gd name="T9" fmla="*/ 2147483647 h 1016"/>
                <a:gd name="T10" fmla="*/ 2147483647 w 1232"/>
                <a:gd name="T11" fmla="*/ 2147483647 h 1016"/>
                <a:gd name="T12" fmla="*/ 2147483647 w 1232"/>
                <a:gd name="T13" fmla="*/ 2147483647 h 1016"/>
                <a:gd name="T14" fmla="*/ 2147483647 w 1232"/>
                <a:gd name="T15" fmla="*/ 2147483647 h 1016"/>
                <a:gd name="T16" fmla="*/ 2147483647 w 1232"/>
                <a:gd name="T17" fmla="*/ 2147483647 h 1016"/>
                <a:gd name="T18" fmla="*/ 2147483647 w 1232"/>
                <a:gd name="T19" fmla="*/ 2147483647 h 1016"/>
                <a:gd name="T20" fmla="*/ 2147483647 w 1232"/>
                <a:gd name="T21" fmla="*/ 2147483647 h 1016"/>
                <a:gd name="T22" fmla="*/ 2147483647 w 1232"/>
                <a:gd name="T23" fmla="*/ 2147483647 h 1016"/>
                <a:gd name="T24" fmla="*/ 2147483647 w 1232"/>
                <a:gd name="T25" fmla="*/ 2147483647 h 1016"/>
                <a:gd name="T26" fmla="*/ 2147483647 w 1232"/>
                <a:gd name="T27" fmla="*/ 2147483647 h 1016"/>
                <a:gd name="T28" fmla="*/ 2147483647 w 1232"/>
                <a:gd name="T29" fmla="*/ 2147483647 h 1016"/>
                <a:gd name="T30" fmla="*/ 2147483647 w 1232"/>
                <a:gd name="T31" fmla="*/ 2147483647 h 1016"/>
                <a:gd name="T32" fmla="*/ 2147483647 w 1232"/>
                <a:gd name="T33" fmla="*/ 2147483647 h 1016"/>
                <a:gd name="T34" fmla="*/ 2147483647 w 1232"/>
                <a:gd name="T35" fmla="*/ 2147483647 h 1016"/>
                <a:gd name="T36" fmla="*/ 2147483647 w 1232"/>
                <a:gd name="T37" fmla="*/ 2147483647 h 1016"/>
                <a:gd name="T38" fmla="*/ 2147483647 w 1232"/>
                <a:gd name="T39" fmla="*/ 2147483647 h 1016"/>
                <a:gd name="T40" fmla="*/ 2147483647 w 1232"/>
                <a:gd name="T41" fmla="*/ 2147483647 h 1016"/>
                <a:gd name="T42" fmla="*/ 2147483647 w 1232"/>
                <a:gd name="T43" fmla="*/ 2147483647 h 1016"/>
                <a:gd name="T44" fmla="*/ 2147483647 w 1232"/>
                <a:gd name="T45" fmla="*/ 2147483647 h 1016"/>
                <a:gd name="T46" fmla="*/ 2147483647 w 1232"/>
                <a:gd name="T47" fmla="*/ 2147483647 h 1016"/>
                <a:gd name="T48" fmla="*/ 2147483647 w 1232"/>
                <a:gd name="T49" fmla="*/ 2147483647 h 1016"/>
                <a:gd name="T50" fmla="*/ 2147483647 w 1232"/>
                <a:gd name="T51" fmla="*/ 2147483647 h 1016"/>
                <a:gd name="T52" fmla="*/ 2147483647 w 1232"/>
                <a:gd name="T53" fmla="*/ 2147483647 h 1016"/>
                <a:gd name="T54" fmla="*/ 2147483647 w 1232"/>
                <a:gd name="T55" fmla="*/ 2147483647 h 1016"/>
                <a:gd name="T56" fmla="*/ 2147483647 w 1232"/>
                <a:gd name="T57" fmla="*/ 2147483647 h 1016"/>
                <a:gd name="T58" fmla="*/ 2147483647 w 1232"/>
                <a:gd name="T59" fmla="*/ 2147483647 h 1016"/>
                <a:gd name="T60" fmla="*/ 2147483647 w 1232"/>
                <a:gd name="T61" fmla="*/ 2147483647 h 1016"/>
                <a:gd name="T62" fmla="*/ 2147483647 w 1232"/>
                <a:gd name="T63" fmla="*/ 2147483647 h 1016"/>
                <a:gd name="T64" fmla="*/ 2147483647 w 1232"/>
                <a:gd name="T65" fmla="*/ 2147483647 h 1016"/>
                <a:gd name="T66" fmla="*/ 2147483647 w 1232"/>
                <a:gd name="T67" fmla="*/ 2147483647 h 1016"/>
                <a:gd name="T68" fmla="*/ 2147483647 w 1232"/>
                <a:gd name="T69" fmla="*/ 2147483647 h 1016"/>
                <a:gd name="T70" fmla="*/ 2147483647 w 1232"/>
                <a:gd name="T71" fmla="*/ 2147483647 h 1016"/>
                <a:gd name="T72" fmla="*/ 2147483647 w 1232"/>
                <a:gd name="T73" fmla="*/ 2147483647 h 1016"/>
                <a:gd name="T74" fmla="*/ 2147483647 w 1232"/>
                <a:gd name="T75" fmla="*/ 2147483647 h 1016"/>
                <a:gd name="T76" fmla="*/ 2147483647 w 1232"/>
                <a:gd name="T77" fmla="*/ 2147483647 h 1016"/>
                <a:gd name="T78" fmla="*/ 2147483647 w 1232"/>
                <a:gd name="T79" fmla="*/ 2147483647 h 1016"/>
                <a:gd name="T80" fmla="*/ 2147483647 w 1232"/>
                <a:gd name="T81" fmla="*/ 2147483647 h 1016"/>
                <a:gd name="T82" fmla="*/ 2147483647 w 1232"/>
                <a:gd name="T83" fmla="*/ 2147483647 h 1016"/>
                <a:gd name="T84" fmla="*/ 2147483647 w 1232"/>
                <a:gd name="T85" fmla="*/ 2147483647 h 1016"/>
                <a:gd name="T86" fmla="*/ 2147483647 w 1232"/>
                <a:gd name="T87" fmla="*/ 2147483647 h 1016"/>
                <a:gd name="T88" fmla="*/ 2147483647 w 1232"/>
                <a:gd name="T89" fmla="*/ 2147483647 h 1016"/>
                <a:gd name="T90" fmla="*/ 2147483647 w 1232"/>
                <a:gd name="T91" fmla="*/ 2147483647 h 1016"/>
                <a:gd name="T92" fmla="*/ 2147483647 w 1232"/>
                <a:gd name="T93" fmla="*/ 2147483647 h 1016"/>
                <a:gd name="T94" fmla="*/ 2147483647 w 1232"/>
                <a:gd name="T95" fmla="*/ 2147483647 h 1016"/>
                <a:gd name="T96" fmla="*/ 2147483647 w 1232"/>
                <a:gd name="T97" fmla="*/ 2147483647 h 1016"/>
                <a:gd name="T98" fmla="*/ 2147483647 w 1232"/>
                <a:gd name="T99" fmla="*/ 2147483647 h 1016"/>
                <a:gd name="T100" fmla="*/ 2147483647 w 1232"/>
                <a:gd name="T101" fmla="*/ 2147483647 h 1016"/>
                <a:gd name="T102" fmla="*/ 2147483647 w 1232"/>
                <a:gd name="T103" fmla="*/ 2147483647 h 1016"/>
                <a:gd name="T104" fmla="*/ 2147483647 w 1232"/>
                <a:gd name="T105" fmla="*/ 2147483647 h 1016"/>
                <a:gd name="T106" fmla="*/ 2147483647 w 1232"/>
                <a:gd name="T107" fmla="*/ 2147483647 h 1016"/>
                <a:gd name="T108" fmla="*/ 2147483647 w 1232"/>
                <a:gd name="T109" fmla="*/ 2147483647 h 1016"/>
                <a:gd name="T110" fmla="*/ 2147483647 w 1232"/>
                <a:gd name="T111" fmla="*/ 2147483647 h 1016"/>
                <a:gd name="T112" fmla="*/ 2147483647 w 1232"/>
                <a:gd name="T113" fmla="*/ 2147483647 h 1016"/>
                <a:gd name="T114" fmla="*/ 2147483647 w 1232"/>
                <a:gd name="T115" fmla="*/ 2147483647 h 1016"/>
                <a:gd name="T116" fmla="*/ 2147483647 w 1232"/>
                <a:gd name="T117" fmla="*/ 2147483647 h 1016"/>
                <a:gd name="T118" fmla="*/ 2147483647 w 1232"/>
                <a:gd name="T119" fmla="*/ 2147483647 h 1016"/>
                <a:gd name="T120" fmla="*/ 2147483647 w 1232"/>
                <a:gd name="T121" fmla="*/ 2147483647 h 101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32"/>
                <a:gd name="T184" fmla="*/ 0 h 1016"/>
                <a:gd name="T185" fmla="*/ 1232 w 1232"/>
                <a:gd name="T186" fmla="*/ 1016 h 101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32" h="1016">
                  <a:moveTo>
                    <a:pt x="0" y="28"/>
                  </a:moveTo>
                  <a:lnTo>
                    <a:pt x="6" y="26"/>
                  </a:lnTo>
                  <a:lnTo>
                    <a:pt x="12" y="26"/>
                  </a:lnTo>
                  <a:lnTo>
                    <a:pt x="18" y="26"/>
                  </a:lnTo>
                  <a:lnTo>
                    <a:pt x="20" y="24"/>
                  </a:lnTo>
                  <a:lnTo>
                    <a:pt x="20" y="18"/>
                  </a:lnTo>
                  <a:lnTo>
                    <a:pt x="20" y="12"/>
                  </a:lnTo>
                  <a:lnTo>
                    <a:pt x="22" y="6"/>
                  </a:lnTo>
                  <a:lnTo>
                    <a:pt x="28" y="0"/>
                  </a:lnTo>
                  <a:lnTo>
                    <a:pt x="34" y="4"/>
                  </a:lnTo>
                  <a:lnTo>
                    <a:pt x="38" y="8"/>
                  </a:lnTo>
                  <a:lnTo>
                    <a:pt x="42" y="10"/>
                  </a:lnTo>
                  <a:lnTo>
                    <a:pt x="48" y="14"/>
                  </a:lnTo>
                  <a:lnTo>
                    <a:pt x="50" y="20"/>
                  </a:lnTo>
                  <a:lnTo>
                    <a:pt x="54" y="24"/>
                  </a:lnTo>
                  <a:lnTo>
                    <a:pt x="60" y="30"/>
                  </a:lnTo>
                  <a:lnTo>
                    <a:pt x="64" y="36"/>
                  </a:lnTo>
                  <a:lnTo>
                    <a:pt x="70" y="40"/>
                  </a:lnTo>
                  <a:lnTo>
                    <a:pt x="76" y="42"/>
                  </a:lnTo>
                  <a:lnTo>
                    <a:pt x="80" y="48"/>
                  </a:lnTo>
                  <a:lnTo>
                    <a:pt x="82" y="52"/>
                  </a:lnTo>
                  <a:lnTo>
                    <a:pt x="86" y="54"/>
                  </a:lnTo>
                  <a:lnTo>
                    <a:pt x="92" y="56"/>
                  </a:lnTo>
                  <a:lnTo>
                    <a:pt x="94" y="56"/>
                  </a:lnTo>
                  <a:lnTo>
                    <a:pt x="96" y="56"/>
                  </a:lnTo>
                  <a:lnTo>
                    <a:pt x="102" y="58"/>
                  </a:lnTo>
                  <a:lnTo>
                    <a:pt x="108" y="60"/>
                  </a:lnTo>
                  <a:lnTo>
                    <a:pt x="114" y="62"/>
                  </a:lnTo>
                  <a:lnTo>
                    <a:pt x="118" y="62"/>
                  </a:lnTo>
                  <a:lnTo>
                    <a:pt x="126" y="64"/>
                  </a:lnTo>
                  <a:lnTo>
                    <a:pt x="132" y="60"/>
                  </a:lnTo>
                  <a:lnTo>
                    <a:pt x="138" y="60"/>
                  </a:lnTo>
                  <a:lnTo>
                    <a:pt x="144" y="62"/>
                  </a:lnTo>
                  <a:lnTo>
                    <a:pt x="146" y="62"/>
                  </a:lnTo>
                  <a:lnTo>
                    <a:pt x="150" y="56"/>
                  </a:lnTo>
                  <a:lnTo>
                    <a:pt x="156" y="50"/>
                  </a:lnTo>
                  <a:lnTo>
                    <a:pt x="160" y="44"/>
                  </a:lnTo>
                  <a:lnTo>
                    <a:pt x="164" y="42"/>
                  </a:lnTo>
                  <a:lnTo>
                    <a:pt x="170" y="40"/>
                  </a:lnTo>
                  <a:lnTo>
                    <a:pt x="174" y="34"/>
                  </a:lnTo>
                  <a:lnTo>
                    <a:pt x="176" y="30"/>
                  </a:lnTo>
                  <a:lnTo>
                    <a:pt x="182" y="28"/>
                  </a:lnTo>
                  <a:lnTo>
                    <a:pt x="188" y="22"/>
                  </a:lnTo>
                  <a:lnTo>
                    <a:pt x="194" y="18"/>
                  </a:lnTo>
                  <a:lnTo>
                    <a:pt x="200" y="14"/>
                  </a:lnTo>
                  <a:lnTo>
                    <a:pt x="206" y="10"/>
                  </a:lnTo>
                  <a:lnTo>
                    <a:pt x="212" y="6"/>
                  </a:lnTo>
                  <a:lnTo>
                    <a:pt x="218" y="6"/>
                  </a:lnTo>
                  <a:lnTo>
                    <a:pt x="220" y="4"/>
                  </a:lnTo>
                  <a:lnTo>
                    <a:pt x="224" y="8"/>
                  </a:lnTo>
                  <a:lnTo>
                    <a:pt x="232" y="14"/>
                  </a:lnTo>
                  <a:lnTo>
                    <a:pt x="236" y="18"/>
                  </a:lnTo>
                  <a:lnTo>
                    <a:pt x="242" y="24"/>
                  </a:lnTo>
                  <a:lnTo>
                    <a:pt x="244" y="26"/>
                  </a:lnTo>
                  <a:lnTo>
                    <a:pt x="238" y="30"/>
                  </a:lnTo>
                  <a:lnTo>
                    <a:pt x="232" y="34"/>
                  </a:lnTo>
                  <a:lnTo>
                    <a:pt x="234" y="40"/>
                  </a:lnTo>
                  <a:lnTo>
                    <a:pt x="240" y="44"/>
                  </a:lnTo>
                  <a:lnTo>
                    <a:pt x="246" y="50"/>
                  </a:lnTo>
                  <a:lnTo>
                    <a:pt x="244" y="54"/>
                  </a:lnTo>
                  <a:lnTo>
                    <a:pt x="238" y="56"/>
                  </a:lnTo>
                  <a:lnTo>
                    <a:pt x="232" y="58"/>
                  </a:lnTo>
                  <a:lnTo>
                    <a:pt x="230" y="64"/>
                  </a:lnTo>
                  <a:lnTo>
                    <a:pt x="236" y="68"/>
                  </a:lnTo>
                  <a:lnTo>
                    <a:pt x="242" y="72"/>
                  </a:lnTo>
                  <a:lnTo>
                    <a:pt x="246" y="78"/>
                  </a:lnTo>
                  <a:lnTo>
                    <a:pt x="252" y="80"/>
                  </a:lnTo>
                  <a:lnTo>
                    <a:pt x="258" y="84"/>
                  </a:lnTo>
                  <a:lnTo>
                    <a:pt x="264" y="88"/>
                  </a:lnTo>
                  <a:lnTo>
                    <a:pt x="268" y="94"/>
                  </a:lnTo>
                  <a:lnTo>
                    <a:pt x="270" y="94"/>
                  </a:lnTo>
                  <a:lnTo>
                    <a:pt x="276" y="94"/>
                  </a:lnTo>
                  <a:lnTo>
                    <a:pt x="280" y="92"/>
                  </a:lnTo>
                  <a:lnTo>
                    <a:pt x="284" y="92"/>
                  </a:lnTo>
                  <a:lnTo>
                    <a:pt x="284" y="98"/>
                  </a:lnTo>
                  <a:lnTo>
                    <a:pt x="286" y="104"/>
                  </a:lnTo>
                  <a:lnTo>
                    <a:pt x="288" y="110"/>
                  </a:lnTo>
                  <a:lnTo>
                    <a:pt x="288" y="116"/>
                  </a:lnTo>
                  <a:lnTo>
                    <a:pt x="290" y="122"/>
                  </a:lnTo>
                  <a:lnTo>
                    <a:pt x="292" y="128"/>
                  </a:lnTo>
                  <a:lnTo>
                    <a:pt x="296" y="134"/>
                  </a:lnTo>
                  <a:lnTo>
                    <a:pt x="298" y="138"/>
                  </a:lnTo>
                  <a:lnTo>
                    <a:pt x="302" y="146"/>
                  </a:lnTo>
                  <a:lnTo>
                    <a:pt x="308" y="150"/>
                  </a:lnTo>
                  <a:lnTo>
                    <a:pt x="314" y="152"/>
                  </a:lnTo>
                  <a:lnTo>
                    <a:pt x="320" y="156"/>
                  </a:lnTo>
                  <a:lnTo>
                    <a:pt x="326" y="158"/>
                  </a:lnTo>
                  <a:lnTo>
                    <a:pt x="332" y="158"/>
                  </a:lnTo>
                  <a:lnTo>
                    <a:pt x="338" y="158"/>
                  </a:lnTo>
                  <a:lnTo>
                    <a:pt x="344" y="158"/>
                  </a:lnTo>
                  <a:lnTo>
                    <a:pt x="348" y="160"/>
                  </a:lnTo>
                  <a:lnTo>
                    <a:pt x="354" y="160"/>
                  </a:lnTo>
                  <a:lnTo>
                    <a:pt x="358" y="162"/>
                  </a:lnTo>
                  <a:lnTo>
                    <a:pt x="360" y="162"/>
                  </a:lnTo>
                  <a:lnTo>
                    <a:pt x="366" y="164"/>
                  </a:lnTo>
                  <a:lnTo>
                    <a:pt x="372" y="170"/>
                  </a:lnTo>
                  <a:lnTo>
                    <a:pt x="376" y="176"/>
                  </a:lnTo>
                  <a:lnTo>
                    <a:pt x="380" y="180"/>
                  </a:lnTo>
                  <a:lnTo>
                    <a:pt x="386" y="184"/>
                  </a:lnTo>
                  <a:lnTo>
                    <a:pt x="390" y="190"/>
                  </a:lnTo>
                  <a:lnTo>
                    <a:pt x="398" y="192"/>
                  </a:lnTo>
                  <a:lnTo>
                    <a:pt x="400" y="194"/>
                  </a:lnTo>
                  <a:lnTo>
                    <a:pt x="406" y="198"/>
                  </a:lnTo>
                  <a:lnTo>
                    <a:pt x="412" y="200"/>
                  </a:lnTo>
                  <a:lnTo>
                    <a:pt x="418" y="204"/>
                  </a:lnTo>
                  <a:lnTo>
                    <a:pt x="424" y="208"/>
                  </a:lnTo>
                  <a:lnTo>
                    <a:pt x="430" y="210"/>
                  </a:lnTo>
                  <a:lnTo>
                    <a:pt x="436" y="212"/>
                  </a:lnTo>
                  <a:lnTo>
                    <a:pt x="442" y="212"/>
                  </a:lnTo>
                  <a:lnTo>
                    <a:pt x="448" y="214"/>
                  </a:lnTo>
                  <a:lnTo>
                    <a:pt x="450" y="214"/>
                  </a:lnTo>
                  <a:lnTo>
                    <a:pt x="456" y="216"/>
                  </a:lnTo>
                  <a:lnTo>
                    <a:pt x="462" y="218"/>
                  </a:lnTo>
                  <a:lnTo>
                    <a:pt x="468" y="218"/>
                  </a:lnTo>
                  <a:lnTo>
                    <a:pt x="474" y="220"/>
                  </a:lnTo>
                  <a:lnTo>
                    <a:pt x="480" y="220"/>
                  </a:lnTo>
                  <a:lnTo>
                    <a:pt x="486" y="218"/>
                  </a:lnTo>
                  <a:lnTo>
                    <a:pt x="492" y="216"/>
                  </a:lnTo>
                  <a:lnTo>
                    <a:pt x="498" y="214"/>
                  </a:lnTo>
                  <a:lnTo>
                    <a:pt x="504" y="214"/>
                  </a:lnTo>
                  <a:lnTo>
                    <a:pt x="510" y="212"/>
                  </a:lnTo>
                  <a:lnTo>
                    <a:pt x="516" y="210"/>
                  </a:lnTo>
                  <a:lnTo>
                    <a:pt x="522" y="210"/>
                  </a:lnTo>
                  <a:lnTo>
                    <a:pt x="528" y="208"/>
                  </a:lnTo>
                  <a:lnTo>
                    <a:pt x="534" y="206"/>
                  </a:lnTo>
                  <a:lnTo>
                    <a:pt x="540" y="204"/>
                  </a:lnTo>
                  <a:lnTo>
                    <a:pt x="544" y="202"/>
                  </a:lnTo>
                  <a:lnTo>
                    <a:pt x="546" y="202"/>
                  </a:lnTo>
                  <a:lnTo>
                    <a:pt x="552" y="200"/>
                  </a:lnTo>
                  <a:lnTo>
                    <a:pt x="558" y="200"/>
                  </a:lnTo>
                  <a:lnTo>
                    <a:pt x="564" y="198"/>
                  </a:lnTo>
                  <a:lnTo>
                    <a:pt x="570" y="198"/>
                  </a:lnTo>
                  <a:lnTo>
                    <a:pt x="576" y="198"/>
                  </a:lnTo>
                  <a:lnTo>
                    <a:pt x="582" y="198"/>
                  </a:lnTo>
                  <a:lnTo>
                    <a:pt x="588" y="198"/>
                  </a:lnTo>
                  <a:lnTo>
                    <a:pt x="582" y="200"/>
                  </a:lnTo>
                  <a:lnTo>
                    <a:pt x="576" y="200"/>
                  </a:lnTo>
                  <a:lnTo>
                    <a:pt x="570" y="200"/>
                  </a:lnTo>
                  <a:lnTo>
                    <a:pt x="576" y="204"/>
                  </a:lnTo>
                  <a:lnTo>
                    <a:pt x="582" y="204"/>
                  </a:lnTo>
                  <a:lnTo>
                    <a:pt x="588" y="206"/>
                  </a:lnTo>
                  <a:lnTo>
                    <a:pt x="594" y="204"/>
                  </a:lnTo>
                  <a:lnTo>
                    <a:pt x="594" y="198"/>
                  </a:lnTo>
                  <a:lnTo>
                    <a:pt x="590" y="192"/>
                  </a:lnTo>
                  <a:lnTo>
                    <a:pt x="592" y="192"/>
                  </a:lnTo>
                  <a:lnTo>
                    <a:pt x="588" y="186"/>
                  </a:lnTo>
                  <a:lnTo>
                    <a:pt x="586" y="180"/>
                  </a:lnTo>
                  <a:lnTo>
                    <a:pt x="584" y="174"/>
                  </a:lnTo>
                  <a:lnTo>
                    <a:pt x="582" y="168"/>
                  </a:lnTo>
                  <a:lnTo>
                    <a:pt x="582" y="166"/>
                  </a:lnTo>
                  <a:lnTo>
                    <a:pt x="584" y="166"/>
                  </a:lnTo>
                  <a:lnTo>
                    <a:pt x="590" y="168"/>
                  </a:lnTo>
                  <a:lnTo>
                    <a:pt x="596" y="168"/>
                  </a:lnTo>
                  <a:lnTo>
                    <a:pt x="602" y="168"/>
                  </a:lnTo>
                  <a:lnTo>
                    <a:pt x="608" y="166"/>
                  </a:lnTo>
                  <a:lnTo>
                    <a:pt x="614" y="162"/>
                  </a:lnTo>
                  <a:lnTo>
                    <a:pt x="620" y="160"/>
                  </a:lnTo>
                  <a:lnTo>
                    <a:pt x="626" y="158"/>
                  </a:lnTo>
                  <a:lnTo>
                    <a:pt x="630" y="154"/>
                  </a:lnTo>
                  <a:lnTo>
                    <a:pt x="628" y="148"/>
                  </a:lnTo>
                  <a:lnTo>
                    <a:pt x="630" y="142"/>
                  </a:lnTo>
                  <a:lnTo>
                    <a:pt x="636" y="136"/>
                  </a:lnTo>
                  <a:lnTo>
                    <a:pt x="638" y="134"/>
                  </a:lnTo>
                  <a:lnTo>
                    <a:pt x="644" y="128"/>
                  </a:lnTo>
                  <a:lnTo>
                    <a:pt x="650" y="124"/>
                  </a:lnTo>
                  <a:lnTo>
                    <a:pt x="652" y="122"/>
                  </a:lnTo>
                  <a:lnTo>
                    <a:pt x="658" y="120"/>
                  </a:lnTo>
                  <a:lnTo>
                    <a:pt x="664" y="116"/>
                  </a:lnTo>
                  <a:lnTo>
                    <a:pt x="670" y="114"/>
                  </a:lnTo>
                  <a:lnTo>
                    <a:pt x="676" y="114"/>
                  </a:lnTo>
                  <a:lnTo>
                    <a:pt x="682" y="114"/>
                  </a:lnTo>
                  <a:lnTo>
                    <a:pt x="688" y="116"/>
                  </a:lnTo>
                  <a:lnTo>
                    <a:pt x="694" y="116"/>
                  </a:lnTo>
                  <a:lnTo>
                    <a:pt x="700" y="116"/>
                  </a:lnTo>
                  <a:lnTo>
                    <a:pt x="704" y="116"/>
                  </a:lnTo>
                  <a:lnTo>
                    <a:pt x="712" y="116"/>
                  </a:lnTo>
                  <a:lnTo>
                    <a:pt x="710" y="110"/>
                  </a:lnTo>
                  <a:lnTo>
                    <a:pt x="714" y="104"/>
                  </a:lnTo>
                  <a:lnTo>
                    <a:pt x="720" y="104"/>
                  </a:lnTo>
                  <a:lnTo>
                    <a:pt x="726" y="106"/>
                  </a:lnTo>
                  <a:lnTo>
                    <a:pt x="732" y="104"/>
                  </a:lnTo>
                  <a:lnTo>
                    <a:pt x="732" y="102"/>
                  </a:lnTo>
                  <a:lnTo>
                    <a:pt x="738" y="106"/>
                  </a:lnTo>
                  <a:lnTo>
                    <a:pt x="744" y="108"/>
                  </a:lnTo>
                  <a:lnTo>
                    <a:pt x="746" y="108"/>
                  </a:lnTo>
                  <a:lnTo>
                    <a:pt x="754" y="108"/>
                  </a:lnTo>
                  <a:lnTo>
                    <a:pt x="756" y="104"/>
                  </a:lnTo>
                  <a:lnTo>
                    <a:pt x="762" y="104"/>
                  </a:lnTo>
                  <a:lnTo>
                    <a:pt x="766" y="110"/>
                  </a:lnTo>
                  <a:lnTo>
                    <a:pt x="770" y="116"/>
                  </a:lnTo>
                  <a:lnTo>
                    <a:pt x="770" y="122"/>
                  </a:lnTo>
                  <a:lnTo>
                    <a:pt x="776" y="126"/>
                  </a:lnTo>
                  <a:lnTo>
                    <a:pt x="782" y="126"/>
                  </a:lnTo>
                  <a:lnTo>
                    <a:pt x="788" y="128"/>
                  </a:lnTo>
                  <a:lnTo>
                    <a:pt x="794" y="128"/>
                  </a:lnTo>
                  <a:lnTo>
                    <a:pt x="800" y="130"/>
                  </a:lnTo>
                  <a:lnTo>
                    <a:pt x="806" y="132"/>
                  </a:lnTo>
                  <a:lnTo>
                    <a:pt x="808" y="134"/>
                  </a:lnTo>
                  <a:lnTo>
                    <a:pt x="814" y="136"/>
                  </a:lnTo>
                  <a:lnTo>
                    <a:pt x="820" y="136"/>
                  </a:lnTo>
                  <a:lnTo>
                    <a:pt x="824" y="142"/>
                  </a:lnTo>
                  <a:lnTo>
                    <a:pt x="830" y="146"/>
                  </a:lnTo>
                  <a:lnTo>
                    <a:pt x="834" y="148"/>
                  </a:lnTo>
                  <a:lnTo>
                    <a:pt x="840" y="146"/>
                  </a:lnTo>
                  <a:lnTo>
                    <a:pt x="846" y="144"/>
                  </a:lnTo>
                  <a:lnTo>
                    <a:pt x="852" y="146"/>
                  </a:lnTo>
                  <a:lnTo>
                    <a:pt x="858" y="144"/>
                  </a:lnTo>
                  <a:lnTo>
                    <a:pt x="864" y="146"/>
                  </a:lnTo>
                  <a:lnTo>
                    <a:pt x="870" y="148"/>
                  </a:lnTo>
                  <a:lnTo>
                    <a:pt x="876" y="150"/>
                  </a:lnTo>
                  <a:lnTo>
                    <a:pt x="882" y="154"/>
                  </a:lnTo>
                  <a:lnTo>
                    <a:pt x="888" y="154"/>
                  </a:lnTo>
                  <a:lnTo>
                    <a:pt x="892" y="160"/>
                  </a:lnTo>
                  <a:lnTo>
                    <a:pt x="894" y="166"/>
                  </a:lnTo>
                  <a:lnTo>
                    <a:pt x="898" y="172"/>
                  </a:lnTo>
                  <a:lnTo>
                    <a:pt x="904" y="176"/>
                  </a:lnTo>
                  <a:lnTo>
                    <a:pt x="910" y="180"/>
                  </a:lnTo>
                  <a:lnTo>
                    <a:pt x="914" y="180"/>
                  </a:lnTo>
                  <a:lnTo>
                    <a:pt x="922" y="182"/>
                  </a:lnTo>
                  <a:lnTo>
                    <a:pt x="928" y="186"/>
                  </a:lnTo>
                  <a:lnTo>
                    <a:pt x="932" y="188"/>
                  </a:lnTo>
                  <a:lnTo>
                    <a:pt x="934" y="188"/>
                  </a:lnTo>
                  <a:lnTo>
                    <a:pt x="940" y="192"/>
                  </a:lnTo>
                  <a:lnTo>
                    <a:pt x="944" y="198"/>
                  </a:lnTo>
                  <a:lnTo>
                    <a:pt x="950" y="204"/>
                  </a:lnTo>
                  <a:lnTo>
                    <a:pt x="954" y="210"/>
                  </a:lnTo>
                  <a:lnTo>
                    <a:pt x="960" y="216"/>
                  </a:lnTo>
                  <a:lnTo>
                    <a:pt x="966" y="216"/>
                  </a:lnTo>
                  <a:lnTo>
                    <a:pt x="972" y="216"/>
                  </a:lnTo>
                  <a:lnTo>
                    <a:pt x="978" y="216"/>
                  </a:lnTo>
                  <a:lnTo>
                    <a:pt x="984" y="216"/>
                  </a:lnTo>
                  <a:lnTo>
                    <a:pt x="990" y="216"/>
                  </a:lnTo>
                  <a:lnTo>
                    <a:pt x="996" y="216"/>
                  </a:lnTo>
                  <a:lnTo>
                    <a:pt x="1002" y="216"/>
                  </a:lnTo>
                  <a:lnTo>
                    <a:pt x="1004" y="216"/>
                  </a:lnTo>
                  <a:lnTo>
                    <a:pt x="1008" y="220"/>
                  </a:lnTo>
                  <a:lnTo>
                    <a:pt x="1006" y="226"/>
                  </a:lnTo>
                  <a:lnTo>
                    <a:pt x="1008" y="232"/>
                  </a:lnTo>
                  <a:lnTo>
                    <a:pt x="1008" y="238"/>
                  </a:lnTo>
                  <a:lnTo>
                    <a:pt x="1012" y="244"/>
                  </a:lnTo>
                  <a:lnTo>
                    <a:pt x="1014" y="250"/>
                  </a:lnTo>
                  <a:lnTo>
                    <a:pt x="1014" y="256"/>
                  </a:lnTo>
                  <a:lnTo>
                    <a:pt x="1012" y="262"/>
                  </a:lnTo>
                  <a:lnTo>
                    <a:pt x="1014" y="264"/>
                  </a:lnTo>
                  <a:lnTo>
                    <a:pt x="1020" y="268"/>
                  </a:lnTo>
                  <a:lnTo>
                    <a:pt x="1020" y="276"/>
                  </a:lnTo>
                  <a:lnTo>
                    <a:pt x="1020" y="282"/>
                  </a:lnTo>
                  <a:lnTo>
                    <a:pt x="1024" y="288"/>
                  </a:lnTo>
                  <a:lnTo>
                    <a:pt x="1026" y="294"/>
                  </a:lnTo>
                  <a:lnTo>
                    <a:pt x="1024" y="298"/>
                  </a:lnTo>
                  <a:lnTo>
                    <a:pt x="1022" y="306"/>
                  </a:lnTo>
                  <a:lnTo>
                    <a:pt x="1018" y="310"/>
                  </a:lnTo>
                  <a:lnTo>
                    <a:pt x="1020" y="318"/>
                  </a:lnTo>
                  <a:lnTo>
                    <a:pt x="1022" y="324"/>
                  </a:lnTo>
                  <a:lnTo>
                    <a:pt x="1022" y="330"/>
                  </a:lnTo>
                  <a:lnTo>
                    <a:pt x="1020" y="336"/>
                  </a:lnTo>
                  <a:lnTo>
                    <a:pt x="1022" y="342"/>
                  </a:lnTo>
                  <a:lnTo>
                    <a:pt x="1018" y="348"/>
                  </a:lnTo>
                  <a:lnTo>
                    <a:pt x="1018" y="354"/>
                  </a:lnTo>
                  <a:lnTo>
                    <a:pt x="1012" y="358"/>
                  </a:lnTo>
                  <a:lnTo>
                    <a:pt x="1006" y="360"/>
                  </a:lnTo>
                  <a:lnTo>
                    <a:pt x="1010" y="366"/>
                  </a:lnTo>
                  <a:lnTo>
                    <a:pt x="1014" y="372"/>
                  </a:lnTo>
                  <a:lnTo>
                    <a:pt x="1008" y="376"/>
                  </a:lnTo>
                  <a:lnTo>
                    <a:pt x="1002" y="380"/>
                  </a:lnTo>
                  <a:lnTo>
                    <a:pt x="998" y="386"/>
                  </a:lnTo>
                  <a:lnTo>
                    <a:pt x="998" y="392"/>
                  </a:lnTo>
                  <a:lnTo>
                    <a:pt x="998" y="394"/>
                  </a:lnTo>
                  <a:lnTo>
                    <a:pt x="1000" y="400"/>
                  </a:lnTo>
                  <a:lnTo>
                    <a:pt x="1002" y="406"/>
                  </a:lnTo>
                  <a:lnTo>
                    <a:pt x="1004" y="410"/>
                  </a:lnTo>
                  <a:lnTo>
                    <a:pt x="1002" y="416"/>
                  </a:lnTo>
                  <a:lnTo>
                    <a:pt x="1004" y="422"/>
                  </a:lnTo>
                  <a:lnTo>
                    <a:pt x="1010" y="426"/>
                  </a:lnTo>
                  <a:lnTo>
                    <a:pt x="1016" y="430"/>
                  </a:lnTo>
                  <a:lnTo>
                    <a:pt x="1016" y="428"/>
                  </a:lnTo>
                  <a:lnTo>
                    <a:pt x="1020" y="428"/>
                  </a:lnTo>
                  <a:lnTo>
                    <a:pt x="1024" y="430"/>
                  </a:lnTo>
                  <a:lnTo>
                    <a:pt x="1028" y="432"/>
                  </a:lnTo>
                  <a:lnTo>
                    <a:pt x="1026" y="438"/>
                  </a:lnTo>
                  <a:lnTo>
                    <a:pt x="1020" y="444"/>
                  </a:lnTo>
                  <a:lnTo>
                    <a:pt x="1016" y="450"/>
                  </a:lnTo>
                  <a:lnTo>
                    <a:pt x="1014" y="456"/>
                  </a:lnTo>
                  <a:lnTo>
                    <a:pt x="1014" y="462"/>
                  </a:lnTo>
                  <a:lnTo>
                    <a:pt x="1016" y="468"/>
                  </a:lnTo>
                  <a:lnTo>
                    <a:pt x="1020" y="474"/>
                  </a:lnTo>
                  <a:lnTo>
                    <a:pt x="1022" y="480"/>
                  </a:lnTo>
                  <a:lnTo>
                    <a:pt x="1024" y="486"/>
                  </a:lnTo>
                  <a:lnTo>
                    <a:pt x="1026" y="492"/>
                  </a:lnTo>
                  <a:lnTo>
                    <a:pt x="1028" y="498"/>
                  </a:lnTo>
                  <a:lnTo>
                    <a:pt x="1032" y="504"/>
                  </a:lnTo>
                  <a:lnTo>
                    <a:pt x="1034" y="510"/>
                  </a:lnTo>
                  <a:lnTo>
                    <a:pt x="1038" y="516"/>
                  </a:lnTo>
                  <a:lnTo>
                    <a:pt x="1040" y="522"/>
                  </a:lnTo>
                  <a:lnTo>
                    <a:pt x="1038" y="528"/>
                  </a:lnTo>
                  <a:lnTo>
                    <a:pt x="1038" y="534"/>
                  </a:lnTo>
                  <a:lnTo>
                    <a:pt x="1038" y="536"/>
                  </a:lnTo>
                  <a:lnTo>
                    <a:pt x="1040" y="544"/>
                  </a:lnTo>
                  <a:lnTo>
                    <a:pt x="1042" y="548"/>
                  </a:lnTo>
                  <a:lnTo>
                    <a:pt x="1042" y="556"/>
                  </a:lnTo>
                  <a:lnTo>
                    <a:pt x="1042" y="560"/>
                  </a:lnTo>
                  <a:lnTo>
                    <a:pt x="1046" y="566"/>
                  </a:lnTo>
                  <a:lnTo>
                    <a:pt x="1050" y="572"/>
                  </a:lnTo>
                  <a:lnTo>
                    <a:pt x="1058" y="574"/>
                  </a:lnTo>
                  <a:lnTo>
                    <a:pt x="1062" y="574"/>
                  </a:lnTo>
                  <a:lnTo>
                    <a:pt x="1066" y="574"/>
                  </a:lnTo>
                  <a:lnTo>
                    <a:pt x="1072" y="576"/>
                  </a:lnTo>
                  <a:lnTo>
                    <a:pt x="1078" y="576"/>
                  </a:lnTo>
                  <a:lnTo>
                    <a:pt x="1080" y="578"/>
                  </a:lnTo>
                  <a:lnTo>
                    <a:pt x="1086" y="578"/>
                  </a:lnTo>
                  <a:lnTo>
                    <a:pt x="1092" y="578"/>
                  </a:lnTo>
                  <a:lnTo>
                    <a:pt x="1096" y="580"/>
                  </a:lnTo>
                  <a:lnTo>
                    <a:pt x="1100" y="582"/>
                  </a:lnTo>
                  <a:lnTo>
                    <a:pt x="1102" y="588"/>
                  </a:lnTo>
                  <a:lnTo>
                    <a:pt x="1102" y="590"/>
                  </a:lnTo>
                  <a:lnTo>
                    <a:pt x="1106" y="594"/>
                  </a:lnTo>
                  <a:lnTo>
                    <a:pt x="1108" y="600"/>
                  </a:lnTo>
                  <a:lnTo>
                    <a:pt x="1108" y="608"/>
                  </a:lnTo>
                  <a:lnTo>
                    <a:pt x="1108" y="610"/>
                  </a:lnTo>
                  <a:lnTo>
                    <a:pt x="1108" y="616"/>
                  </a:lnTo>
                  <a:lnTo>
                    <a:pt x="1108" y="618"/>
                  </a:lnTo>
                  <a:lnTo>
                    <a:pt x="1104" y="624"/>
                  </a:lnTo>
                  <a:lnTo>
                    <a:pt x="1100" y="630"/>
                  </a:lnTo>
                  <a:lnTo>
                    <a:pt x="1096" y="638"/>
                  </a:lnTo>
                  <a:lnTo>
                    <a:pt x="1092" y="642"/>
                  </a:lnTo>
                  <a:lnTo>
                    <a:pt x="1088" y="650"/>
                  </a:lnTo>
                  <a:lnTo>
                    <a:pt x="1084" y="654"/>
                  </a:lnTo>
                  <a:lnTo>
                    <a:pt x="1080" y="660"/>
                  </a:lnTo>
                  <a:lnTo>
                    <a:pt x="1076" y="666"/>
                  </a:lnTo>
                  <a:lnTo>
                    <a:pt x="1076" y="668"/>
                  </a:lnTo>
                  <a:lnTo>
                    <a:pt x="1070" y="674"/>
                  </a:lnTo>
                  <a:lnTo>
                    <a:pt x="1070" y="676"/>
                  </a:lnTo>
                  <a:lnTo>
                    <a:pt x="1066" y="682"/>
                  </a:lnTo>
                  <a:lnTo>
                    <a:pt x="1062" y="684"/>
                  </a:lnTo>
                  <a:lnTo>
                    <a:pt x="1064" y="686"/>
                  </a:lnTo>
                  <a:lnTo>
                    <a:pt x="1070" y="692"/>
                  </a:lnTo>
                  <a:lnTo>
                    <a:pt x="1076" y="696"/>
                  </a:lnTo>
                  <a:lnTo>
                    <a:pt x="1080" y="702"/>
                  </a:lnTo>
                  <a:lnTo>
                    <a:pt x="1086" y="708"/>
                  </a:lnTo>
                  <a:lnTo>
                    <a:pt x="1092" y="714"/>
                  </a:lnTo>
                  <a:lnTo>
                    <a:pt x="1098" y="722"/>
                  </a:lnTo>
                  <a:lnTo>
                    <a:pt x="1100" y="728"/>
                  </a:lnTo>
                  <a:lnTo>
                    <a:pt x="1102" y="734"/>
                  </a:lnTo>
                  <a:lnTo>
                    <a:pt x="1108" y="738"/>
                  </a:lnTo>
                  <a:lnTo>
                    <a:pt x="1110" y="744"/>
                  </a:lnTo>
                  <a:lnTo>
                    <a:pt x="1112" y="746"/>
                  </a:lnTo>
                  <a:lnTo>
                    <a:pt x="1114" y="750"/>
                  </a:lnTo>
                  <a:lnTo>
                    <a:pt x="1118" y="756"/>
                  </a:lnTo>
                  <a:lnTo>
                    <a:pt x="1122" y="762"/>
                  </a:lnTo>
                  <a:lnTo>
                    <a:pt x="1128" y="768"/>
                  </a:lnTo>
                  <a:lnTo>
                    <a:pt x="1134" y="772"/>
                  </a:lnTo>
                  <a:lnTo>
                    <a:pt x="1140" y="776"/>
                  </a:lnTo>
                  <a:lnTo>
                    <a:pt x="1146" y="780"/>
                  </a:lnTo>
                  <a:lnTo>
                    <a:pt x="1152" y="780"/>
                  </a:lnTo>
                  <a:lnTo>
                    <a:pt x="1158" y="782"/>
                  </a:lnTo>
                  <a:lnTo>
                    <a:pt x="1164" y="784"/>
                  </a:lnTo>
                  <a:lnTo>
                    <a:pt x="1170" y="788"/>
                  </a:lnTo>
                  <a:lnTo>
                    <a:pt x="1176" y="794"/>
                  </a:lnTo>
                  <a:lnTo>
                    <a:pt x="1182" y="798"/>
                  </a:lnTo>
                  <a:lnTo>
                    <a:pt x="1186" y="796"/>
                  </a:lnTo>
                  <a:lnTo>
                    <a:pt x="1190" y="798"/>
                  </a:lnTo>
                  <a:lnTo>
                    <a:pt x="1192" y="802"/>
                  </a:lnTo>
                  <a:lnTo>
                    <a:pt x="1192" y="804"/>
                  </a:lnTo>
                  <a:lnTo>
                    <a:pt x="1192" y="810"/>
                  </a:lnTo>
                  <a:lnTo>
                    <a:pt x="1192" y="812"/>
                  </a:lnTo>
                  <a:lnTo>
                    <a:pt x="1192" y="818"/>
                  </a:lnTo>
                  <a:lnTo>
                    <a:pt x="1194" y="824"/>
                  </a:lnTo>
                  <a:lnTo>
                    <a:pt x="1198" y="830"/>
                  </a:lnTo>
                  <a:lnTo>
                    <a:pt x="1198" y="836"/>
                  </a:lnTo>
                  <a:lnTo>
                    <a:pt x="1198" y="842"/>
                  </a:lnTo>
                  <a:lnTo>
                    <a:pt x="1200" y="848"/>
                  </a:lnTo>
                  <a:lnTo>
                    <a:pt x="1200" y="854"/>
                  </a:lnTo>
                  <a:lnTo>
                    <a:pt x="1200" y="860"/>
                  </a:lnTo>
                  <a:lnTo>
                    <a:pt x="1202" y="866"/>
                  </a:lnTo>
                  <a:lnTo>
                    <a:pt x="1208" y="868"/>
                  </a:lnTo>
                  <a:lnTo>
                    <a:pt x="1216" y="866"/>
                  </a:lnTo>
                  <a:lnTo>
                    <a:pt x="1220" y="866"/>
                  </a:lnTo>
                  <a:lnTo>
                    <a:pt x="1226" y="866"/>
                  </a:lnTo>
                  <a:lnTo>
                    <a:pt x="1232" y="872"/>
                  </a:lnTo>
                  <a:lnTo>
                    <a:pt x="1232" y="874"/>
                  </a:lnTo>
                  <a:lnTo>
                    <a:pt x="1230" y="874"/>
                  </a:lnTo>
                  <a:lnTo>
                    <a:pt x="1230" y="876"/>
                  </a:lnTo>
                  <a:lnTo>
                    <a:pt x="1228" y="882"/>
                  </a:lnTo>
                  <a:lnTo>
                    <a:pt x="1230" y="884"/>
                  </a:lnTo>
                  <a:lnTo>
                    <a:pt x="1232" y="890"/>
                  </a:lnTo>
                  <a:lnTo>
                    <a:pt x="1228" y="896"/>
                  </a:lnTo>
                  <a:lnTo>
                    <a:pt x="1228" y="902"/>
                  </a:lnTo>
                  <a:lnTo>
                    <a:pt x="1226" y="908"/>
                  </a:lnTo>
                  <a:lnTo>
                    <a:pt x="1220" y="908"/>
                  </a:lnTo>
                  <a:lnTo>
                    <a:pt x="1212" y="908"/>
                  </a:lnTo>
                  <a:lnTo>
                    <a:pt x="1206" y="908"/>
                  </a:lnTo>
                  <a:lnTo>
                    <a:pt x="1202" y="910"/>
                  </a:lnTo>
                  <a:lnTo>
                    <a:pt x="1196" y="912"/>
                  </a:lnTo>
                  <a:lnTo>
                    <a:pt x="1190" y="912"/>
                  </a:lnTo>
                  <a:lnTo>
                    <a:pt x="1184" y="914"/>
                  </a:lnTo>
                  <a:lnTo>
                    <a:pt x="1178" y="916"/>
                  </a:lnTo>
                  <a:lnTo>
                    <a:pt x="1176" y="922"/>
                  </a:lnTo>
                  <a:lnTo>
                    <a:pt x="1176" y="928"/>
                  </a:lnTo>
                  <a:lnTo>
                    <a:pt x="1172" y="926"/>
                  </a:lnTo>
                  <a:lnTo>
                    <a:pt x="1166" y="930"/>
                  </a:lnTo>
                  <a:lnTo>
                    <a:pt x="1160" y="934"/>
                  </a:lnTo>
                  <a:lnTo>
                    <a:pt x="1154" y="934"/>
                  </a:lnTo>
                  <a:lnTo>
                    <a:pt x="1152" y="940"/>
                  </a:lnTo>
                  <a:lnTo>
                    <a:pt x="1150" y="946"/>
                  </a:lnTo>
                  <a:lnTo>
                    <a:pt x="1152" y="948"/>
                  </a:lnTo>
                  <a:lnTo>
                    <a:pt x="1150" y="954"/>
                  </a:lnTo>
                  <a:lnTo>
                    <a:pt x="1150" y="960"/>
                  </a:lnTo>
                  <a:lnTo>
                    <a:pt x="1146" y="966"/>
                  </a:lnTo>
                  <a:lnTo>
                    <a:pt x="1146" y="972"/>
                  </a:lnTo>
                  <a:lnTo>
                    <a:pt x="1146" y="978"/>
                  </a:lnTo>
                  <a:lnTo>
                    <a:pt x="1146" y="984"/>
                  </a:lnTo>
                  <a:lnTo>
                    <a:pt x="1146" y="988"/>
                  </a:lnTo>
                  <a:lnTo>
                    <a:pt x="1146" y="996"/>
                  </a:lnTo>
                  <a:lnTo>
                    <a:pt x="1146" y="1002"/>
                  </a:lnTo>
                  <a:lnTo>
                    <a:pt x="1146" y="1008"/>
                  </a:lnTo>
                  <a:lnTo>
                    <a:pt x="1140" y="1006"/>
                  </a:lnTo>
                  <a:lnTo>
                    <a:pt x="1140" y="1014"/>
                  </a:lnTo>
                  <a:lnTo>
                    <a:pt x="1134" y="1016"/>
                  </a:lnTo>
                  <a:lnTo>
                    <a:pt x="1128" y="1014"/>
                  </a:lnTo>
                  <a:lnTo>
                    <a:pt x="1122" y="1012"/>
                  </a:lnTo>
                  <a:lnTo>
                    <a:pt x="1116" y="1008"/>
                  </a:lnTo>
                  <a:lnTo>
                    <a:pt x="1110" y="1006"/>
                  </a:lnTo>
                  <a:lnTo>
                    <a:pt x="1104" y="1006"/>
                  </a:lnTo>
                  <a:lnTo>
                    <a:pt x="1098" y="1004"/>
                  </a:lnTo>
                  <a:lnTo>
                    <a:pt x="1092" y="1004"/>
                  </a:lnTo>
                  <a:lnTo>
                    <a:pt x="1086" y="1002"/>
                  </a:lnTo>
                  <a:lnTo>
                    <a:pt x="1084" y="996"/>
                  </a:lnTo>
                  <a:lnTo>
                    <a:pt x="1080" y="990"/>
                  </a:lnTo>
                  <a:lnTo>
                    <a:pt x="1074" y="992"/>
                  </a:lnTo>
                  <a:lnTo>
                    <a:pt x="1072" y="998"/>
                  </a:lnTo>
                  <a:lnTo>
                    <a:pt x="1076" y="998"/>
                  </a:lnTo>
                  <a:lnTo>
                    <a:pt x="1068" y="998"/>
                  </a:lnTo>
                  <a:lnTo>
                    <a:pt x="1062" y="996"/>
                  </a:lnTo>
                  <a:lnTo>
                    <a:pt x="1060" y="996"/>
                  </a:lnTo>
                  <a:lnTo>
                    <a:pt x="1054" y="998"/>
                  </a:lnTo>
                  <a:lnTo>
                    <a:pt x="1048" y="996"/>
                  </a:lnTo>
                  <a:lnTo>
                    <a:pt x="1042" y="998"/>
                  </a:lnTo>
                  <a:lnTo>
                    <a:pt x="1036" y="992"/>
                  </a:lnTo>
                  <a:lnTo>
                    <a:pt x="1030" y="994"/>
                  </a:lnTo>
                  <a:lnTo>
                    <a:pt x="1024" y="994"/>
                  </a:lnTo>
                  <a:lnTo>
                    <a:pt x="1018" y="990"/>
                  </a:lnTo>
                  <a:lnTo>
                    <a:pt x="1012" y="988"/>
                  </a:lnTo>
                  <a:lnTo>
                    <a:pt x="1008" y="990"/>
                  </a:lnTo>
                  <a:lnTo>
                    <a:pt x="1004" y="992"/>
                  </a:lnTo>
                  <a:lnTo>
                    <a:pt x="998" y="994"/>
                  </a:lnTo>
                  <a:lnTo>
                    <a:pt x="992" y="994"/>
                  </a:lnTo>
                  <a:lnTo>
                    <a:pt x="986" y="988"/>
                  </a:lnTo>
                  <a:lnTo>
                    <a:pt x="980" y="984"/>
                  </a:lnTo>
                  <a:lnTo>
                    <a:pt x="974" y="982"/>
                  </a:lnTo>
                  <a:lnTo>
                    <a:pt x="968" y="982"/>
                  </a:lnTo>
                  <a:lnTo>
                    <a:pt x="962" y="980"/>
                  </a:lnTo>
                  <a:lnTo>
                    <a:pt x="956" y="982"/>
                  </a:lnTo>
                  <a:lnTo>
                    <a:pt x="950" y="980"/>
                  </a:lnTo>
                  <a:lnTo>
                    <a:pt x="944" y="982"/>
                  </a:lnTo>
                  <a:lnTo>
                    <a:pt x="938" y="984"/>
                  </a:lnTo>
                  <a:lnTo>
                    <a:pt x="932" y="982"/>
                  </a:lnTo>
                  <a:lnTo>
                    <a:pt x="928" y="976"/>
                  </a:lnTo>
                  <a:lnTo>
                    <a:pt x="922" y="974"/>
                  </a:lnTo>
                  <a:lnTo>
                    <a:pt x="916" y="978"/>
                  </a:lnTo>
                  <a:lnTo>
                    <a:pt x="914" y="978"/>
                  </a:lnTo>
                  <a:lnTo>
                    <a:pt x="914" y="972"/>
                  </a:lnTo>
                  <a:lnTo>
                    <a:pt x="908" y="970"/>
                  </a:lnTo>
                  <a:lnTo>
                    <a:pt x="902" y="970"/>
                  </a:lnTo>
                  <a:lnTo>
                    <a:pt x="896" y="970"/>
                  </a:lnTo>
                  <a:lnTo>
                    <a:pt x="890" y="968"/>
                  </a:lnTo>
                  <a:lnTo>
                    <a:pt x="884" y="962"/>
                  </a:lnTo>
                  <a:lnTo>
                    <a:pt x="882" y="956"/>
                  </a:lnTo>
                  <a:lnTo>
                    <a:pt x="876" y="950"/>
                  </a:lnTo>
                  <a:lnTo>
                    <a:pt x="876" y="944"/>
                  </a:lnTo>
                  <a:lnTo>
                    <a:pt x="876" y="938"/>
                  </a:lnTo>
                  <a:lnTo>
                    <a:pt x="872" y="932"/>
                  </a:lnTo>
                  <a:lnTo>
                    <a:pt x="870" y="926"/>
                  </a:lnTo>
                  <a:lnTo>
                    <a:pt x="868" y="920"/>
                  </a:lnTo>
                  <a:lnTo>
                    <a:pt x="868" y="914"/>
                  </a:lnTo>
                  <a:lnTo>
                    <a:pt x="866" y="908"/>
                  </a:lnTo>
                  <a:lnTo>
                    <a:pt x="864" y="902"/>
                  </a:lnTo>
                  <a:lnTo>
                    <a:pt x="862" y="896"/>
                  </a:lnTo>
                  <a:lnTo>
                    <a:pt x="860" y="892"/>
                  </a:lnTo>
                  <a:lnTo>
                    <a:pt x="856" y="884"/>
                  </a:lnTo>
                  <a:lnTo>
                    <a:pt x="852" y="882"/>
                  </a:lnTo>
                  <a:lnTo>
                    <a:pt x="848" y="876"/>
                  </a:lnTo>
                  <a:lnTo>
                    <a:pt x="846" y="874"/>
                  </a:lnTo>
                  <a:lnTo>
                    <a:pt x="840" y="872"/>
                  </a:lnTo>
                  <a:lnTo>
                    <a:pt x="834" y="872"/>
                  </a:lnTo>
                  <a:lnTo>
                    <a:pt x="828" y="872"/>
                  </a:lnTo>
                  <a:lnTo>
                    <a:pt x="822" y="870"/>
                  </a:lnTo>
                  <a:lnTo>
                    <a:pt x="816" y="870"/>
                  </a:lnTo>
                  <a:lnTo>
                    <a:pt x="810" y="872"/>
                  </a:lnTo>
                  <a:lnTo>
                    <a:pt x="804" y="874"/>
                  </a:lnTo>
                  <a:lnTo>
                    <a:pt x="798" y="878"/>
                  </a:lnTo>
                  <a:lnTo>
                    <a:pt x="792" y="882"/>
                  </a:lnTo>
                  <a:lnTo>
                    <a:pt x="790" y="882"/>
                  </a:lnTo>
                  <a:lnTo>
                    <a:pt x="786" y="882"/>
                  </a:lnTo>
                  <a:lnTo>
                    <a:pt x="780" y="884"/>
                  </a:lnTo>
                  <a:lnTo>
                    <a:pt x="774" y="890"/>
                  </a:lnTo>
                  <a:lnTo>
                    <a:pt x="778" y="896"/>
                  </a:lnTo>
                  <a:lnTo>
                    <a:pt x="772" y="900"/>
                  </a:lnTo>
                  <a:lnTo>
                    <a:pt x="768" y="900"/>
                  </a:lnTo>
                  <a:lnTo>
                    <a:pt x="762" y="898"/>
                  </a:lnTo>
                  <a:lnTo>
                    <a:pt x="756" y="898"/>
                  </a:lnTo>
                  <a:lnTo>
                    <a:pt x="750" y="904"/>
                  </a:lnTo>
                  <a:lnTo>
                    <a:pt x="744" y="908"/>
                  </a:lnTo>
                  <a:lnTo>
                    <a:pt x="742" y="908"/>
                  </a:lnTo>
                  <a:lnTo>
                    <a:pt x="736" y="914"/>
                  </a:lnTo>
                  <a:lnTo>
                    <a:pt x="730" y="918"/>
                  </a:lnTo>
                  <a:lnTo>
                    <a:pt x="724" y="916"/>
                  </a:lnTo>
                  <a:lnTo>
                    <a:pt x="718" y="912"/>
                  </a:lnTo>
                  <a:lnTo>
                    <a:pt x="712" y="912"/>
                  </a:lnTo>
                  <a:lnTo>
                    <a:pt x="706" y="910"/>
                  </a:lnTo>
                  <a:lnTo>
                    <a:pt x="702" y="904"/>
                  </a:lnTo>
                  <a:lnTo>
                    <a:pt x="696" y="904"/>
                  </a:lnTo>
                  <a:lnTo>
                    <a:pt x="690" y="904"/>
                  </a:lnTo>
                  <a:lnTo>
                    <a:pt x="684" y="900"/>
                  </a:lnTo>
                  <a:lnTo>
                    <a:pt x="678" y="904"/>
                  </a:lnTo>
                  <a:lnTo>
                    <a:pt x="672" y="904"/>
                  </a:lnTo>
                  <a:lnTo>
                    <a:pt x="666" y="904"/>
                  </a:lnTo>
                  <a:lnTo>
                    <a:pt x="660" y="900"/>
                  </a:lnTo>
                  <a:lnTo>
                    <a:pt x="654" y="894"/>
                  </a:lnTo>
                  <a:lnTo>
                    <a:pt x="650" y="888"/>
                  </a:lnTo>
                  <a:lnTo>
                    <a:pt x="648" y="886"/>
                  </a:lnTo>
                  <a:lnTo>
                    <a:pt x="644" y="882"/>
                  </a:lnTo>
                  <a:lnTo>
                    <a:pt x="638" y="880"/>
                  </a:lnTo>
                  <a:lnTo>
                    <a:pt x="632" y="878"/>
                  </a:lnTo>
                  <a:lnTo>
                    <a:pt x="626" y="876"/>
                  </a:lnTo>
                  <a:lnTo>
                    <a:pt x="620" y="872"/>
                  </a:lnTo>
                  <a:lnTo>
                    <a:pt x="614" y="868"/>
                  </a:lnTo>
                  <a:lnTo>
                    <a:pt x="608" y="866"/>
                  </a:lnTo>
                  <a:lnTo>
                    <a:pt x="602" y="862"/>
                  </a:lnTo>
                  <a:lnTo>
                    <a:pt x="602" y="860"/>
                  </a:lnTo>
                  <a:lnTo>
                    <a:pt x="596" y="858"/>
                  </a:lnTo>
                  <a:lnTo>
                    <a:pt x="598" y="852"/>
                  </a:lnTo>
                  <a:lnTo>
                    <a:pt x="592" y="846"/>
                  </a:lnTo>
                  <a:lnTo>
                    <a:pt x="588" y="840"/>
                  </a:lnTo>
                  <a:lnTo>
                    <a:pt x="582" y="838"/>
                  </a:lnTo>
                  <a:lnTo>
                    <a:pt x="576" y="836"/>
                  </a:lnTo>
                  <a:lnTo>
                    <a:pt x="570" y="834"/>
                  </a:lnTo>
                  <a:lnTo>
                    <a:pt x="564" y="830"/>
                  </a:lnTo>
                  <a:lnTo>
                    <a:pt x="558" y="826"/>
                  </a:lnTo>
                  <a:lnTo>
                    <a:pt x="552" y="826"/>
                  </a:lnTo>
                  <a:lnTo>
                    <a:pt x="546" y="824"/>
                  </a:lnTo>
                  <a:lnTo>
                    <a:pt x="538" y="826"/>
                  </a:lnTo>
                  <a:lnTo>
                    <a:pt x="534" y="824"/>
                  </a:lnTo>
                  <a:lnTo>
                    <a:pt x="528" y="820"/>
                  </a:lnTo>
                  <a:lnTo>
                    <a:pt x="520" y="818"/>
                  </a:lnTo>
                  <a:lnTo>
                    <a:pt x="518" y="810"/>
                  </a:lnTo>
                  <a:lnTo>
                    <a:pt x="512" y="806"/>
                  </a:lnTo>
                  <a:lnTo>
                    <a:pt x="512" y="802"/>
                  </a:lnTo>
                  <a:lnTo>
                    <a:pt x="512" y="798"/>
                  </a:lnTo>
                  <a:lnTo>
                    <a:pt x="506" y="792"/>
                  </a:lnTo>
                  <a:lnTo>
                    <a:pt x="502" y="786"/>
                  </a:lnTo>
                  <a:lnTo>
                    <a:pt x="498" y="780"/>
                  </a:lnTo>
                  <a:lnTo>
                    <a:pt x="498" y="776"/>
                  </a:lnTo>
                  <a:lnTo>
                    <a:pt x="498" y="770"/>
                  </a:lnTo>
                  <a:lnTo>
                    <a:pt x="496" y="764"/>
                  </a:lnTo>
                  <a:lnTo>
                    <a:pt x="492" y="758"/>
                  </a:lnTo>
                  <a:lnTo>
                    <a:pt x="486" y="756"/>
                  </a:lnTo>
                  <a:lnTo>
                    <a:pt x="480" y="752"/>
                  </a:lnTo>
                  <a:lnTo>
                    <a:pt x="478" y="746"/>
                  </a:lnTo>
                  <a:lnTo>
                    <a:pt x="484" y="746"/>
                  </a:lnTo>
                  <a:lnTo>
                    <a:pt x="486" y="740"/>
                  </a:lnTo>
                  <a:lnTo>
                    <a:pt x="478" y="734"/>
                  </a:lnTo>
                  <a:lnTo>
                    <a:pt x="474" y="734"/>
                  </a:lnTo>
                  <a:lnTo>
                    <a:pt x="468" y="734"/>
                  </a:lnTo>
                  <a:lnTo>
                    <a:pt x="466" y="730"/>
                  </a:lnTo>
                  <a:lnTo>
                    <a:pt x="470" y="726"/>
                  </a:lnTo>
                  <a:lnTo>
                    <a:pt x="468" y="718"/>
                  </a:lnTo>
                  <a:lnTo>
                    <a:pt x="466" y="714"/>
                  </a:lnTo>
                  <a:lnTo>
                    <a:pt x="460" y="708"/>
                  </a:lnTo>
                  <a:lnTo>
                    <a:pt x="456" y="702"/>
                  </a:lnTo>
                  <a:lnTo>
                    <a:pt x="454" y="700"/>
                  </a:lnTo>
                  <a:lnTo>
                    <a:pt x="450" y="700"/>
                  </a:lnTo>
                  <a:lnTo>
                    <a:pt x="446" y="694"/>
                  </a:lnTo>
                  <a:lnTo>
                    <a:pt x="440" y="688"/>
                  </a:lnTo>
                  <a:lnTo>
                    <a:pt x="440" y="686"/>
                  </a:lnTo>
                  <a:lnTo>
                    <a:pt x="434" y="682"/>
                  </a:lnTo>
                  <a:lnTo>
                    <a:pt x="432" y="676"/>
                  </a:lnTo>
                  <a:lnTo>
                    <a:pt x="432" y="672"/>
                  </a:lnTo>
                  <a:lnTo>
                    <a:pt x="430" y="666"/>
                  </a:lnTo>
                  <a:lnTo>
                    <a:pt x="424" y="660"/>
                  </a:lnTo>
                  <a:lnTo>
                    <a:pt x="422" y="660"/>
                  </a:lnTo>
                  <a:lnTo>
                    <a:pt x="418" y="662"/>
                  </a:lnTo>
                  <a:lnTo>
                    <a:pt x="412" y="666"/>
                  </a:lnTo>
                  <a:lnTo>
                    <a:pt x="406" y="670"/>
                  </a:lnTo>
                  <a:lnTo>
                    <a:pt x="400" y="674"/>
                  </a:lnTo>
                  <a:lnTo>
                    <a:pt x="394" y="670"/>
                  </a:lnTo>
                  <a:lnTo>
                    <a:pt x="394" y="668"/>
                  </a:lnTo>
                  <a:lnTo>
                    <a:pt x="390" y="664"/>
                  </a:lnTo>
                  <a:lnTo>
                    <a:pt x="384" y="664"/>
                  </a:lnTo>
                  <a:lnTo>
                    <a:pt x="378" y="664"/>
                  </a:lnTo>
                  <a:lnTo>
                    <a:pt x="376" y="658"/>
                  </a:lnTo>
                  <a:lnTo>
                    <a:pt x="370" y="658"/>
                  </a:lnTo>
                  <a:lnTo>
                    <a:pt x="364" y="654"/>
                  </a:lnTo>
                  <a:lnTo>
                    <a:pt x="358" y="648"/>
                  </a:lnTo>
                  <a:lnTo>
                    <a:pt x="364" y="648"/>
                  </a:lnTo>
                  <a:lnTo>
                    <a:pt x="370" y="650"/>
                  </a:lnTo>
                  <a:lnTo>
                    <a:pt x="376" y="648"/>
                  </a:lnTo>
                  <a:lnTo>
                    <a:pt x="372" y="642"/>
                  </a:lnTo>
                  <a:lnTo>
                    <a:pt x="368" y="640"/>
                  </a:lnTo>
                  <a:lnTo>
                    <a:pt x="366" y="640"/>
                  </a:lnTo>
                  <a:lnTo>
                    <a:pt x="364" y="640"/>
                  </a:lnTo>
                  <a:lnTo>
                    <a:pt x="358" y="642"/>
                  </a:lnTo>
                  <a:lnTo>
                    <a:pt x="364" y="646"/>
                  </a:lnTo>
                  <a:lnTo>
                    <a:pt x="358" y="648"/>
                  </a:lnTo>
                  <a:lnTo>
                    <a:pt x="356" y="654"/>
                  </a:lnTo>
                  <a:lnTo>
                    <a:pt x="356" y="656"/>
                  </a:lnTo>
                  <a:lnTo>
                    <a:pt x="360" y="662"/>
                  </a:lnTo>
                  <a:lnTo>
                    <a:pt x="360" y="668"/>
                  </a:lnTo>
                  <a:lnTo>
                    <a:pt x="358" y="674"/>
                  </a:lnTo>
                  <a:lnTo>
                    <a:pt x="356" y="674"/>
                  </a:lnTo>
                  <a:lnTo>
                    <a:pt x="350" y="674"/>
                  </a:lnTo>
                  <a:lnTo>
                    <a:pt x="344" y="672"/>
                  </a:lnTo>
                  <a:lnTo>
                    <a:pt x="346" y="676"/>
                  </a:lnTo>
                  <a:lnTo>
                    <a:pt x="342" y="678"/>
                  </a:lnTo>
                  <a:lnTo>
                    <a:pt x="338" y="678"/>
                  </a:lnTo>
                  <a:lnTo>
                    <a:pt x="334" y="676"/>
                  </a:lnTo>
                  <a:lnTo>
                    <a:pt x="332" y="670"/>
                  </a:lnTo>
                  <a:lnTo>
                    <a:pt x="330" y="664"/>
                  </a:lnTo>
                  <a:lnTo>
                    <a:pt x="326" y="658"/>
                  </a:lnTo>
                  <a:lnTo>
                    <a:pt x="322" y="652"/>
                  </a:lnTo>
                  <a:lnTo>
                    <a:pt x="316" y="652"/>
                  </a:lnTo>
                  <a:lnTo>
                    <a:pt x="314" y="646"/>
                  </a:lnTo>
                  <a:lnTo>
                    <a:pt x="312" y="646"/>
                  </a:lnTo>
                  <a:lnTo>
                    <a:pt x="308" y="644"/>
                  </a:lnTo>
                  <a:lnTo>
                    <a:pt x="304" y="638"/>
                  </a:lnTo>
                  <a:lnTo>
                    <a:pt x="304" y="632"/>
                  </a:lnTo>
                  <a:lnTo>
                    <a:pt x="304" y="624"/>
                  </a:lnTo>
                  <a:lnTo>
                    <a:pt x="302" y="618"/>
                  </a:lnTo>
                  <a:lnTo>
                    <a:pt x="302" y="612"/>
                  </a:lnTo>
                  <a:lnTo>
                    <a:pt x="302" y="606"/>
                  </a:lnTo>
                  <a:lnTo>
                    <a:pt x="296" y="606"/>
                  </a:lnTo>
                  <a:lnTo>
                    <a:pt x="290" y="606"/>
                  </a:lnTo>
                  <a:lnTo>
                    <a:pt x="284" y="606"/>
                  </a:lnTo>
                  <a:lnTo>
                    <a:pt x="280" y="600"/>
                  </a:lnTo>
                  <a:lnTo>
                    <a:pt x="280" y="594"/>
                  </a:lnTo>
                  <a:lnTo>
                    <a:pt x="280" y="588"/>
                  </a:lnTo>
                  <a:lnTo>
                    <a:pt x="280" y="582"/>
                  </a:lnTo>
                  <a:lnTo>
                    <a:pt x="280" y="576"/>
                  </a:lnTo>
                  <a:lnTo>
                    <a:pt x="280" y="570"/>
                  </a:lnTo>
                  <a:lnTo>
                    <a:pt x="282" y="564"/>
                  </a:lnTo>
                  <a:lnTo>
                    <a:pt x="284" y="558"/>
                  </a:lnTo>
                  <a:lnTo>
                    <a:pt x="284" y="556"/>
                  </a:lnTo>
                  <a:lnTo>
                    <a:pt x="284" y="550"/>
                  </a:lnTo>
                  <a:lnTo>
                    <a:pt x="280" y="544"/>
                  </a:lnTo>
                  <a:lnTo>
                    <a:pt x="276" y="538"/>
                  </a:lnTo>
                  <a:lnTo>
                    <a:pt x="274" y="536"/>
                  </a:lnTo>
                  <a:lnTo>
                    <a:pt x="268" y="530"/>
                  </a:lnTo>
                  <a:lnTo>
                    <a:pt x="266" y="528"/>
                  </a:lnTo>
                  <a:lnTo>
                    <a:pt x="262" y="522"/>
                  </a:lnTo>
                  <a:lnTo>
                    <a:pt x="258" y="518"/>
                  </a:lnTo>
                  <a:lnTo>
                    <a:pt x="254" y="512"/>
                  </a:lnTo>
                  <a:lnTo>
                    <a:pt x="256" y="512"/>
                  </a:lnTo>
                  <a:lnTo>
                    <a:pt x="252" y="506"/>
                  </a:lnTo>
                  <a:lnTo>
                    <a:pt x="248" y="504"/>
                  </a:lnTo>
                  <a:lnTo>
                    <a:pt x="246" y="504"/>
                  </a:lnTo>
                  <a:lnTo>
                    <a:pt x="244" y="504"/>
                  </a:lnTo>
                  <a:lnTo>
                    <a:pt x="240" y="504"/>
                  </a:lnTo>
                  <a:lnTo>
                    <a:pt x="234" y="502"/>
                  </a:lnTo>
                  <a:lnTo>
                    <a:pt x="228" y="498"/>
                  </a:lnTo>
                  <a:lnTo>
                    <a:pt x="222" y="494"/>
                  </a:lnTo>
                  <a:lnTo>
                    <a:pt x="216" y="488"/>
                  </a:lnTo>
                  <a:lnTo>
                    <a:pt x="210" y="484"/>
                  </a:lnTo>
                  <a:lnTo>
                    <a:pt x="204" y="480"/>
                  </a:lnTo>
                  <a:lnTo>
                    <a:pt x="204" y="478"/>
                  </a:lnTo>
                  <a:lnTo>
                    <a:pt x="198" y="476"/>
                  </a:lnTo>
                  <a:lnTo>
                    <a:pt x="194" y="472"/>
                  </a:lnTo>
                  <a:lnTo>
                    <a:pt x="188" y="470"/>
                  </a:lnTo>
                  <a:lnTo>
                    <a:pt x="182" y="470"/>
                  </a:lnTo>
                  <a:lnTo>
                    <a:pt x="176" y="470"/>
                  </a:lnTo>
                  <a:lnTo>
                    <a:pt x="176" y="464"/>
                  </a:lnTo>
                  <a:lnTo>
                    <a:pt x="170" y="460"/>
                  </a:lnTo>
                  <a:lnTo>
                    <a:pt x="174" y="458"/>
                  </a:lnTo>
                  <a:lnTo>
                    <a:pt x="178" y="454"/>
                  </a:lnTo>
                  <a:lnTo>
                    <a:pt x="176" y="448"/>
                  </a:lnTo>
                  <a:lnTo>
                    <a:pt x="170" y="442"/>
                  </a:lnTo>
                  <a:lnTo>
                    <a:pt x="166" y="438"/>
                  </a:lnTo>
                  <a:lnTo>
                    <a:pt x="164" y="434"/>
                  </a:lnTo>
                  <a:lnTo>
                    <a:pt x="158" y="434"/>
                  </a:lnTo>
                  <a:lnTo>
                    <a:pt x="160" y="428"/>
                  </a:lnTo>
                  <a:lnTo>
                    <a:pt x="154" y="424"/>
                  </a:lnTo>
                  <a:lnTo>
                    <a:pt x="148" y="424"/>
                  </a:lnTo>
                  <a:lnTo>
                    <a:pt x="142" y="418"/>
                  </a:lnTo>
                  <a:lnTo>
                    <a:pt x="138" y="412"/>
                  </a:lnTo>
                  <a:lnTo>
                    <a:pt x="134" y="406"/>
                  </a:lnTo>
                  <a:lnTo>
                    <a:pt x="128" y="402"/>
                  </a:lnTo>
                  <a:lnTo>
                    <a:pt x="126" y="402"/>
                  </a:lnTo>
                  <a:lnTo>
                    <a:pt x="126" y="400"/>
                  </a:lnTo>
                  <a:lnTo>
                    <a:pt x="128" y="398"/>
                  </a:lnTo>
                  <a:lnTo>
                    <a:pt x="130" y="392"/>
                  </a:lnTo>
                  <a:lnTo>
                    <a:pt x="132" y="386"/>
                  </a:lnTo>
                  <a:lnTo>
                    <a:pt x="134" y="380"/>
                  </a:lnTo>
                  <a:lnTo>
                    <a:pt x="130" y="374"/>
                  </a:lnTo>
                  <a:lnTo>
                    <a:pt x="126" y="372"/>
                  </a:lnTo>
                  <a:lnTo>
                    <a:pt x="124" y="366"/>
                  </a:lnTo>
                  <a:lnTo>
                    <a:pt x="126" y="360"/>
                  </a:lnTo>
                  <a:lnTo>
                    <a:pt x="126" y="356"/>
                  </a:lnTo>
                  <a:lnTo>
                    <a:pt x="134" y="360"/>
                  </a:lnTo>
                  <a:lnTo>
                    <a:pt x="140" y="360"/>
                  </a:lnTo>
                  <a:lnTo>
                    <a:pt x="138" y="354"/>
                  </a:lnTo>
                  <a:lnTo>
                    <a:pt x="134" y="348"/>
                  </a:lnTo>
                  <a:lnTo>
                    <a:pt x="134" y="342"/>
                  </a:lnTo>
                  <a:lnTo>
                    <a:pt x="140" y="336"/>
                  </a:lnTo>
                  <a:lnTo>
                    <a:pt x="144" y="332"/>
                  </a:lnTo>
                  <a:lnTo>
                    <a:pt x="144" y="330"/>
                  </a:lnTo>
                  <a:lnTo>
                    <a:pt x="146" y="324"/>
                  </a:lnTo>
                  <a:lnTo>
                    <a:pt x="146" y="322"/>
                  </a:lnTo>
                  <a:lnTo>
                    <a:pt x="152" y="326"/>
                  </a:lnTo>
                  <a:lnTo>
                    <a:pt x="158" y="322"/>
                  </a:lnTo>
                  <a:lnTo>
                    <a:pt x="160" y="322"/>
                  </a:lnTo>
                  <a:lnTo>
                    <a:pt x="160" y="316"/>
                  </a:lnTo>
                  <a:lnTo>
                    <a:pt x="156" y="310"/>
                  </a:lnTo>
                  <a:lnTo>
                    <a:pt x="156" y="308"/>
                  </a:lnTo>
                  <a:lnTo>
                    <a:pt x="152" y="302"/>
                  </a:lnTo>
                  <a:lnTo>
                    <a:pt x="148" y="296"/>
                  </a:lnTo>
                  <a:lnTo>
                    <a:pt x="146" y="290"/>
                  </a:lnTo>
                  <a:lnTo>
                    <a:pt x="148" y="286"/>
                  </a:lnTo>
                  <a:lnTo>
                    <a:pt x="150" y="282"/>
                  </a:lnTo>
                  <a:lnTo>
                    <a:pt x="156" y="280"/>
                  </a:lnTo>
                  <a:lnTo>
                    <a:pt x="160" y="278"/>
                  </a:lnTo>
                  <a:lnTo>
                    <a:pt x="164" y="272"/>
                  </a:lnTo>
                  <a:lnTo>
                    <a:pt x="158" y="272"/>
                  </a:lnTo>
                  <a:lnTo>
                    <a:pt x="152" y="270"/>
                  </a:lnTo>
                  <a:lnTo>
                    <a:pt x="146" y="270"/>
                  </a:lnTo>
                  <a:lnTo>
                    <a:pt x="140" y="272"/>
                  </a:lnTo>
                  <a:lnTo>
                    <a:pt x="134" y="272"/>
                  </a:lnTo>
                  <a:lnTo>
                    <a:pt x="128" y="270"/>
                  </a:lnTo>
                  <a:lnTo>
                    <a:pt x="124" y="264"/>
                  </a:lnTo>
                  <a:lnTo>
                    <a:pt x="122" y="262"/>
                  </a:lnTo>
                  <a:lnTo>
                    <a:pt x="120" y="262"/>
                  </a:lnTo>
                  <a:lnTo>
                    <a:pt x="118" y="260"/>
                  </a:lnTo>
                  <a:lnTo>
                    <a:pt x="114" y="260"/>
                  </a:lnTo>
                  <a:lnTo>
                    <a:pt x="104" y="260"/>
                  </a:lnTo>
                  <a:lnTo>
                    <a:pt x="106" y="254"/>
                  </a:lnTo>
                  <a:lnTo>
                    <a:pt x="102" y="248"/>
                  </a:lnTo>
                  <a:lnTo>
                    <a:pt x="100" y="242"/>
                  </a:lnTo>
                  <a:lnTo>
                    <a:pt x="98" y="234"/>
                  </a:lnTo>
                  <a:lnTo>
                    <a:pt x="92" y="232"/>
                  </a:lnTo>
                  <a:lnTo>
                    <a:pt x="86" y="228"/>
                  </a:lnTo>
                  <a:lnTo>
                    <a:pt x="82" y="224"/>
                  </a:lnTo>
                  <a:lnTo>
                    <a:pt x="82" y="218"/>
                  </a:lnTo>
                  <a:lnTo>
                    <a:pt x="84" y="214"/>
                  </a:lnTo>
                  <a:lnTo>
                    <a:pt x="80" y="208"/>
                  </a:lnTo>
                  <a:lnTo>
                    <a:pt x="78" y="208"/>
                  </a:lnTo>
                  <a:lnTo>
                    <a:pt x="72" y="206"/>
                  </a:lnTo>
                  <a:lnTo>
                    <a:pt x="70" y="200"/>
                  </a:lnTo>
                  <a:lnTo>
                    <a:pt x="70" y="194"/>
                  </a:lnTo>
                  <a:lnTo>
                    <a:pt x="68" y="188"/>
                  </a:lnTo>
                  <a:lnTo>
                    <a:pt x="64" y="184"/>
                  </a:lnTo>
                  <a:lnTo>
                    <a:pt x="64" y="180"/>
                  </a:lnTo>
                  <a:lnTo>
                    <a:pt x="62" y="176"/>
                  </a:lnTo>
                  <a:lnTo>
                    <a:pt x="62" y="170"/>
                  </a:lnTo>
                  <a:lnTo>
                    <a:pt x="56" y="164"/>
                  </a:lnTo>
                  <a:lnTo>
                    <a:pt x="50" y="162"/>
                  </a:lnTo>
                  <a:lnTo>
                    <a:pt x="48" y="154"/>
                  </a:lnTo>
                  <a:lnTo>
                    <a:pt x="48" y="150"/>
                  </a:lnTo>
                  <a:lnTo>
                    <a:pt x="48" y="144"/>
                  </a:lnTo>
                  <a:lnTo>
                    <a:pt x="48" y="142"/>
                  </a:lnTo>
                  <a:lnTo>
                    <a:pt x="42" y="138"/>
                  </a:lnTo>
                  <a:lnTo>
                    <a:pt x="36" y="134"/>
                  </a:lnTo>
                  <a:lnTo>
                    <a:pt x="30" y="130"/>
                  </a:lnTo>
                  <a:lnTo>
                    <a:pt x="24" y="130"/>
                  </a:lnTo>
                  <a:lnTo>
                    <a:pt x="24" y="128"/>
                  </a:lnTo>
                  <a:lnTo>
                    <a:pt x="26" y="124"/>
                  </a:lnTo>
                  <a:lnTo>
                    <a:pt x="28" y="116"/>
                  </a:lnTo>
                  <a:lnTo>
                    <a:pt x="30" y="112"/>
                  </a:lnTo>
                  <a:lnTo>
                    <a:pt x="30" y="106"/>
                  </a:lnTo>
                  <a:lnTo>
                    <a:pt x="34" y="100"/>
                  </a:lnTo>
                  <a:lnTo>
                    <a:pt x="30" y="96"/>
                  </a:lnTo>
                  <a:lnTo>
                    <a:pt x="24" y="90"/>
                  </a:lnTo>
                  <a:lnTo>
                    <a:pt x="24" y="88"/>
                  </a:lnTo>
                  <a:lnTo>
                    <a:pt x="24" y="82"/>
                  </a:lnTo>
                  <a:lnTo>
                    <a:pt x="20" y="76"/>
                  </a:lnTo>
                  <a:lnTo>
                    <a:pt x="20" y="70"/>
                  </a:lnTo>
                  <a:lnTo>
                    <a:pt x="20" y="64"/>
                  </a:lnTo>
                  <a:lnTo>
                    <a:pt x="14" y="60"/>
                  </a:lnTo>
                  <a:lnTo>
                    <a:pt x="10" y="54"/>
                  </a:lnTo>
                  <a:lnTo>
                    <a:pt x="12" y="52"/>
                  </a:lnTo>
                  <a:lnTo>
                    <a:pt x="12" y="46"/>
                  </a:lnTo>
                  <a:lnTo>
                    <a:pt x="6" y="40"/>
                  </a:lnTo>
                  <a:lnTo>
                    <a:pt x="4" y="34"/>
                  </a:lnTo>
                  <a:lnTo>
                    <a:pt x="0" y="2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2" name="Freeform 109"/>
            <p:cNvSpPr>
              <a:spLocks/>
            </p:cNvSpPr>
            <p:nvPr/>
          </p:nvSpPr>
          <p:spPr bwMode="auto">
            <a:xfrm>
              <a:off x="5840413" y="3014663"/>
              <a:ext cx="233362" cy="115887"/>
            </a:xfrm>
            <a:custGeom>
              <a:avLst/>
              <a:gdLst>
                <a:gd name="T0" fmla="*/ 2147483647 w 574"/>
                <a:gd name="T1" fmla="*/ 2147483647 h 280"/>
                <a:gd name="T2" fmla="*/ 2147483647 w 574"/>
                <a:gd name="T3" fmla="*/ 2147483647 h 280"/>
                <a:gd name="T4" fmla="*/ 2147483647 w 574"/>
                <a:gd name="T5" fmla="*/ 2147483647 h 280"/>
                <a:gd name="T6" fmla="*/ 2147483647 w 574"/>
                <a:gd name="T7" fmla="*/ 2147483647 h 280"/>
                <a:gd name="T8" fmla="*/ 2147483647 w 574"/>
                <a:gd name="T9" fmla="*/ 2147483647 h 280"/>
                <a:gd name="T10" fmla="*/ 2147483647 w 574"/>
                <a:gd name="T11" fmla="*/ 2147483647 h 280"/>
                <a:gd name="T12" fmla="*/ 2147483647 w 574"/>
                <a:gd name="T13" fmla="*/ 2147483647 h 280"/>
                <a:gd name="T14" fmla="*/ 2147483647 w 574"/>
                <a:gd name="T15" fmla="*/ 2147483647 h 280"/>
                <a:gd name="T16" fmla="*/ 2147483647 w 574"/>
                <a:gd name="T17" fmla="*/ 2147483647 h 280"/>
                <a:gd name="T18" fmla="*/ 2147483647 w 574"/>
                <a:gd name="T19" fmla="*/ 2147483647 h 280"/>
                <a:gd name="T20" fmla="*/ 2147483647 w 574"/>
                <a:gd name="T21" fmla="*/ 2147483647 h 280"/>
                <a:gd name="T22" fmla="*/ 2147483647 w 574"/>
                <a:gd name="T23" fmla="*/ 2147483647 h 280"/>
                <a:gd name="T24" fmla="*/ 2147483647 w 574"/>
                <a:gd name="T25" fmla="*/ 2147483647 h 280"/>
                <a:gd name="T26" fmla="*/ 2147483647 w 574"/>
                <a:gd name="T27" fmla="*/ 2147483647 h 280"/>
                <a:gd name="T28" fmla="*/ 2147483647 w 574"/>
                <a:gd name="T29" fmla="*/ 2147483647 h 280"/>
                <a:gd name="T30" fmla="*/ 2147483647 w 574"/>
                <a:gd name="T31" fmla="*/ 2147483647 h 280"/>
                <a:gd name="T32" fmla="*/ 2147483647 w 574"/>
                <a:gd name="T33" fmla="*/ 2147483647 h 280"/>
                <a:gd name="T34" fmla="*/ 2147483647 w 574"/>
                <a:gd name="T35" fmla="*/ 2147483647 h 280"/>
                <a:gd name="T36" fmla="*/ 2147483647 w 574"/>
                <a:gd name="T37" fmla="*/ 2147483647 h 280"/>
                <a:gd name="T38" fmla="*/ 2147483647 w 574"/>
                <a:gd name="T39" fmla="*/ 2147483647 h 280"/>
                <a:gd name="T40" fmla="*/ 2147483647 w 574"/>
                <a:gd name="T41" fmla="*/ 2147483647 h 280"/>
                <a:gd name="T42" fmla="*/ 2147483647 w 574"/>
                <a:gd name="T43" fmla="*/ 2147483647 h 280"/>
                <a:gd name="T44" fmla="*/ 2147483647 w 574"/>
                <a:gd name="T45" fmla="*/ 2147483647 h 280"/>
                <a:gd name="T46" fmla="*/ 2147483647 w 574"/>
                <a:gd name="T47" fmla="*/ 2147483647 h 280"/>
                <a:gd name="T48" fmla="*/ 2147483647 w 574"/>
                <a:gd name="T49" fmla="*/ 2147483647 h 280"/>
                <a:gd name="T50" fmla="*/ 2147483647 w 574"/>
                <a:gd name="T51" fmla="*/ 2147483647 h 280"/>
                <a:gd name="T52" fmla="*/ 2147483647 w 574"/>
                <a:gd name="T53" fmla="*/ 2147483647 h 280"/>
                <a:gd name="T54" fmla="*/ 2147483647 w 574"/>
                <a:gd name="T55" fmla="*/ 2147483647 h 280"/>
                <a:gd name="T56" fmla="*/ 2147483647 w 574"/>
                <a:gd name="T57" fmla="*/ 2147483647 h 280"/>
                <a:gd name="T58" fmla="*/ 2147483647 w 574"/>
                <a:gd name="T59" fmla="*/ 2147483647 h 280"/>
                <a:gd name="T60" fmla="*/ 2147483647 w 574"/>
                <a:gd name="T61" fmla="*/ 2147483647 h 280"/>
                <a:gd name="T62" fmla="*/ 2147483647 w 574"/>
                <a:gd name="T63" fmla="*/ 2147483647 h 280"/>
                <a:gd name="T64" fmla="*/ 2147483647 w 574"/>
                <a:gd name="T65" fmla="*/ 2147483647 h 280"/>
                <a:gd name="T66" fmla="*/ 2147483647 w 574"/>
                <a:gd name="T67" fmla="*/ 2147483647 h 280"/>
                <a:gd name="T68" fmla="*/ 2147483647 w 574"/>
                <a:gd name="T69" fmla="*/ 2147483647 h 280"/>
                <a:gd name="T70" fmla="*/ 2147483647 w 574"/>
                <a:gd name="T71" fmla="*/ 2147483647 h 280"/>
                <a:gd name="T72" fmla="*/ 2147483647 w 574"/>
                <a:gd name="T73" fmla="*/ 2147483647 h 280"/>
                <a:gd name="T74" fmla="*/ 2147483647 w 574"/>
                <a:gd name="T75" fmla="*/ 2147483647 h 280"/>
                <a:gd name="T76" fmla="*/ 2147483647 w 574"/>
                <a:gd name="T77" fmla="*/ 2147483647 h 280"/>
                <a:gd name="T78" fmla="*/ 2147483647 w 574"/>
                <a:gd name="T79" fmla="*/ 2147483647 h 280"/>
                <a:gd name="T80" fmla="*/ 2147483647 w 574"/>
                <a:gd name="T81" fmla="*/ 2147483647 h 280"/>
                <a:gd name="T82" fmla="*/ 2147483647 w 574"/>
                <a:gd name="T83" fmla="*/ 2147483647 h 280"/>
                <a:gd name="T84" fmla="*/ 2147483647 w 574"/>
                <a:gd name="T85" fmla="*/ 2147483647 h 280"/>
                <a:gd name="T86" fmla="*/ 2147483647 w 574"/>
                <a:gd name="T87" fmla="*/ 2147483647 h 280"/>
                <a:gd name="T88" fmla="*/ 2147483647 w 574"/>
                <a:gd name="T89" fmla="*/ 2147483647 h 280"/>
                <a:gd name="T90" fmla="*/ 2147483647 w 574"/>
                <a:gd name="T91" fmla="*/ 2147483647 h 280"/>
                <a:gd name="T92" fmla="*/ 2147483647 w 574"/>
                <a:gd name="T93" fmla="*/ 2147483647 h 280"/>
                <a:gd name="T94" fmla="*/ 2147483647 w 574"/>
                <a:gd name="T95" fmla="*/ 2147483647 h 280"/>
                <a:gd name="T96" fmla="*/ 2147483647 w 574"/>
                <a:gd name="T97" fmla="*/ 2147483647 h 280"/>
                <a:gd name="T98" fmla="*/ 2147483647 w 574"/>
                <a:gd name="T99" fmla="*/ 2147483647 h 280"/>
                <a:gd name="T100" fmla="*/ 2147483647 w 574"/>
                <a:gd name="T101" fmla="*/ 2147483647 h 280"/>
                <a:gd name="T102" fmla="*/ 2147483647 w 574"/>
                <a:gd name="T103" fmla="*/ 2147483647 h 280"/>
                <a:gd name="T104" fmla="*/ 2147483647 w 574"/>
                <a:gd name="T105" fmla="*/ 2147483647 h 280"/>
                <a:gd name="T106" fmla="*/ 2147483647 w 574"/>
                <a:gd name="T107" fmla="*/ 2147483647 h 280"/>
                <a:gd name="T108" fmla="*/ 2147483647 w 574"/>
                <a:gd name="T109" fmla="*/ 2147483647 h 280"/>
                <a:gd name="T110" fmla="*/ 2147483647 w 574"/>
                <a:gd name="T111" fmla="*/ 2147483647 h 280"/>
                <a:gd name="T112" fmla="*/ 2147483647 w 574"/>
                <a:gd name="T113" fmla="*/ 2147483647 h 280"/>
                <a:gd name="T114" fmla="*/ 2147483647 w 574"/>
                <a:gd name="T115" fmla="*/ 2147483647 h 280"/>
                <a:gd name="T116" fmla="*/ 2147483647 w 574"/>
                <a:gd name="T117" fmla="*/ 2147483647 h 280"/>
                <a:gd name="T118" fmla="*/ 2147483647 w 574"/>
                <a:gd name="T119" fmla="*/ 2147483647 h 280"/>
                <a:gd name="T120" fmla="*/ 2147483647 w 574"/>
                <a:gd name="T121" fmla="*/ 2147483647 h 280"/>
                <a:gd name="T122" fmla="*/ 2147483647 w 574"/>
                <a:gd name="T123" fmla="*/ 2147483647 h 28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4"/>
                <a:gd name="T187" fmla="*/ 0 h 280"/>
                <a:gd name="T188" fmla="*/ 574 w 574"/>
                <a:gd name="T189" fmla="*/ 280 h 28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4" h="280">
                  <a:moveTo>
                    <a:pt x="10" y="218"/>
                  </a:moveTo>
                  <a:lnTo>
                    <a:pt x="10" y="216"/>
                  </a:lnTo>
                  <a:lnTo>
                    <a:pt x="16" y="216"/>
                  </a:lnTo>
                  <a:lnTo>
                    <a:pt x="22" y="214"/>
                  </a:lnTo>
                  <a:lnTo>
                    <a:pt x="28" y="212"/>
                  </a:lnTo>
                  <a:lnTo>
                    <a:pt x="34" y="210"/>
                  </a:lnTo>
                  <a:lnTo>
                    <a:pt x="36" y="210"/>
                  </a:lnTo>
                  <a:lnTo>
                    <a:pt x="38" y="210"/>
                  </a:lnTo>
                  <a:lnTo>
                    <a:pt x="40" y="210"/>
                  </a:lnTo>
                  <a:lnTo>
                    <a:pt x="46" y="214"/>
                  </a:lnTo>
                  <a:lnTo>
                    <a:pt x="52" y="214"/>
                  </a:lnTo>
                  <a:lnTo>
                    <a:pt x="58" y="218"/>
                  </a:lnTo>
                  <a:lnTo>
                    <a:pt x="64" y="220"/>
                  </a:lnTo>
                  <a:lnTo>
                    <a:pt x="70" y="222"/>
                  </a:lnTo>
                  <a:lnTo>
                    <a:pt x="70" y="224"/>
                  </a:lnTo>
                  <a:lnTo>
                    <a:pt x="66" y="228"/>
                  </a:lnTo>
                  <a:lnTo>
                    <a:pt x="70" y="228"/>
                  </a:lnTo>
                  <a:lnTo>
                    <a:pt x="76" y="224"/>
                  </a:lnTo>
                  <a:lnTo>
                    <a:pt x="76" y="222"/>
                  </a:lnTo>
                  <a:lnTo>
                    <a:pt x="78" y="216"/>
                  </a:lnTo>
                  <a:lnTo>
                    <a:pt x="84" y="212"/>
                  </a:lnTo>
                  <a:lnTo>
                    <a:pt x="90" y="208"/>
                  </a:lnTo>
                  <a:lnTo>
                    <a:pt x="94" y="206"/>
                  </a:lnTo>
                  <a:lnTo>
                    <a:pt x="98" y="206"/>
                  </a:lnTo>
                  <a:lnTo>
                    <a:pt x="100" y="206"/>
                  </a:lnTo>
                  <a:lnTo>
                    <a:pt x="106" y="202"/>
                  </a:lnTo>
                  <a:lnTo>
                    <a:pt x="112" y="204"/>
                  </a:lnTo>
                  <a:lnTo>
                    <a:pt x="118" y="206"/>
                  </a:lnTo>
                  <a:lnTo>
                    <a:pt x="124" y="210"/>
                  </a:lnTo>
                  <a:lnTo>
                    <a:pt x="130" y="208"/>
                  </a:lnTo>
                  <a:lnTo>
                    <a:pt x="134" y="212"/>
                  </a:lnTo>
                  <a:lnTo>
                    <a:pt x="136" y="212"/>
                  </a:lnTo>
                  <a:lnTo>
                    <a:pt x="138" y="210"/>
                  </a:lnTo>
                  <a:lnTo>
                    <a:pt x="138" y="208"/>
                  </a:lnTo>
                  <a:lnTo>
                    <a:pt x="144" y="208"/>
                  </a:lnTo>
                  <a:lnTo>
                    <a:pt x="146" y="208"/>
                  </a:lnTo>
                  <a:lnTo>
                    <a:pt x="148" y="208"/>
                  </a:lnTo>
                  <a:lnTo>
                    <a:pt x="150" y="208"/>
                  </a:lnTo>
                  <a:lnTo>
                    <a:pt x="144" y="204"/>
                  </a:lnTo>
                  <a:lnTo>
                    <a:pt x="148" y="200"/>
                  </a:lnTo>
                  <a:lnTo>
                    <a:pt x="150" y="194"/>
                  </a:lnTo>
                  <a:lnTo>
                    <a:pt x="156" y="192"/>
                  </a:lnTo>
                  <a:lnTo>
                    <a:pt x="158" y="194"/>
                  </a:lnTo>
                  <a:lnTo>
                    <a:pt x="164" y="196"/>
                  </a:lnTo>
                  <a:lnTo>
                    <a:pt x="170" y="196"/>
                  </a:lnTo>
                  <a:lnTo>
                    <a:pt x="166" y="190"/>
                  </a:lnTo>
                  <a:lnTo>
                    <a:pt x="164" y="188"/>
                  </a:lnTo>
                  <a:lnTo>
                    <a:pt x="166" y="182"/>
                  </a:lnTo>
                  <a:lnTo>
                    <a:pt x="172" y="186"/>
                  </a:lnTo>
                  <a:lnTo>
                    <a:pt x="178" y="188"/>
                  </a:lnTo>
                  <a:lnTo>
                    <a:pt x="184" y="184"/>
                  </a:lnTo>
                  <a:lnTo>
                    <a:pt x="184" y="182"/>
                  </a:lnTo>
                  <a:lnTo>
                    <a:pt x="188" y="176"/>
                  </a:lnTo>
                  <a:lnTo>
                    <a:pt x="192" y="174"/>
                  </a:lnTo>
                  <a:lnTo>
                    <a:pt x="194" y="174"/>
                  </a:lnTo>
                  <a:lnTo>
                    <a:pt x="200" y="172"/>
                  </a:lnTo>
                  <a:lnTo>
                    <a:pt x="198" y="166"/>
                  </a:lnTo>
                  <a:lnTo>
                    <a:pt x="192" y="164"/>
                  </a:lnTo>
                  <a:lnTo>
                    <a:pt x="192" y="166"/>
                  </a:lnTo>
                  <a:lnTo>
                    <a:pt x="188" y="168"/>
                  </a:lnTo>
                  <a:lnTo>
                    <a:pt x="186" y="166"/>
                  </a:lnTo>
                  <a:lnTo>
                    <a:pt x="186" y="164"/>
                  </a:lnTo>
                  <a:lnTo>
                    <a:pt x="180" y="164"/>
                  </a:lnTo>
                  <a:lnTo>
                    <a:pt x="174" y="164"/>
                  </a:lnTo>
                  <a:lnTo>
                    <a:pt x="168" y="160"/>
                  </a:lnTo>
                  <a:lnTo>
                    <a:pt x="162" y="154"/>
                  </a:lnTo>
                  <a:lnTo>
                    <a:pt x="158" y="154"/>
                  </a:lnTo>
                  <a:lnTo>
                    <a:pt x="152" y="152"/>
                  </a:lnTo>
                  <a:lnTo>
                    <a:pt x="150" y="154"/>
                  </a:lnTo>
                  <a:lnTo>
                    <a:pt x="144" y="156"/>
                  </a:lnTo>
                  <a:lnTo>
                    <a:pt x="144" y="152"/>
                  </a:lnTo>
                  <a:lnTo>
                    <a:pt x="144" y="150"/>
                  </a:lnTo>
                  <a:lnTo>
                    <a:pt x="142" y="144"/>
                  </a:lnTo>
                  <a:lnTo>
                    <a:pt x="140" y="142"/>
                  </a:lnTo>
                  <a:lnTo>
                    <a:pt x="138" y="142"/>
                  </a:lnTo>
                  <a:lnTo>
                    <a:pt x="136" y="144"/>
                  </a:lnTo>
                  <a:lnTo>
                    <a:pt x="130" y="142"/>
                  </a:lnTo>
                  <a:lnTo>
                    <a:pt x="128" y="142"/>
                  </a:lnTo>
                  <a:lnTo>
                    <a:pt x="124" y="138"/>
                  </a:lnTo>
                  <a:lnTo>
                    <a:pt x="120" y="132"/>
                  </a:lnTo>
                  <a:lnTo>
                    <a:pt x="118" y="130"/>
                  </a:lnTo>
                  <a:lnTo>
                    <a:pt x="112" y="124"/>
                  </a:lnTo>
                  <a:lnTo>
                    <a:pt x="108" y="126"/>
                  </a:lnTo>
                  <a:lnTo>
                    <a:pt x="108" y="124"/>
                  </a:lnTo>
                  <a:lnTo>
                    <a:pt x="104" y="118"/>
                  </a:lnTo>
                  <a:lnTo>
                    <a:pt x="106" y="124"/>
                  </a:lnTo>
                  <a:lnTo>
                    <a:pt x="106" y="128"/>
                  </a:lnTo>
                  <a:lnTo>
                    <a:pt x="104" y="136"/>
                  </a:lnTo>
                  <a:lnTo>
                    <a:pt x="98" y="136"/>
                  </a:lnTo>
                  <a:lnTo>
                    <a:pt x="100" y="142"/>
                  </a:lnTo>
                  <a:lnTo>
                    <a:pt x="98" y="146"/>
                  </a:lnTo>
                  <a:lnTo>
                    <a:pt x="96" y="144"/>
                  </a:lnTo>
                  <a:lnTo>
                    <a:pt x="90" y="144"/>
                  </a:lnTo>
                  <a:lnTo>
                    <a:pt x="84" y="144"/>
                  </a:lnTo>
                  <a:lnTo>
                    <a:pt x="78" y="142"/>
                  </a:lnTo>
                  <a:lnTo>
                    <a:pt x="72" y="142"/>
                  </a:lnTo>
                  <a:lnTo>
                    <a:pt x="66" y="138"/>
                  </a:lnTo>
                  <a:lnTo>
                    <a:pt x="60" y="134"/>
                  </a:lnTo>
                  <a:lnTo>
                    <a:pt x="58" y="128"/>
                  </a:lnTo>
                  <a:lnTo>
                    <a:pt x="52" y="124"/>
                  </a:lnTo>
                  <a:lnTo>
                    <a:pt x="48" y="126"/>
                  </a:lnTo>
                  <a:lnTo>
                    <a:pt x="42" y="128"/>
                  </a:lnTo>
                  <a:lnTo>
                    <a:pt x="36" y="122"/>
                  </a:lnTo>
                  <a:lnTo>
                    <a:pt x="30" y="120"/>
                  </a:lnTo>
                  <a:lnTo>
                    <a:pt x="24" y="120"/>
                  </a:lnTo>
                  <a:lnTo>
                    <a:pt x="22" y="120"/>
                  </a:lnTo>
                  <a:lnTo>
                    <a:pt x="26" y="114"/>
                  </a:lnTo>
                  <a:lnTo>
                    <a:pt x="30" y="110"/>
                  </a:lnTo>
                  <a:lnTo>
                    <a:pt x="36" y="104"/>
                  </a:lnTo>
                  <a:lnTo>
                    <a:pt x="40" y="98"/>
                  </a:lnTo>
                  <a:lnTo>
                    <a:pt x="46" y="94"/>
                  </a:lnTo>
                  <a:lnTo>
                    <a:pt x="52" y="90"/>
                  </a:lnTo>
                  <a:lnTo>
                    <a:pt x="54" y="84"/>
                  </a:lnTo>
                  <a:lnTo>
                    <a:pt x="60" y="82"/>
                  </a:lnTo>
                  <a:lnTo>
                    <a:pt x="66" y="78"/>
                  </a:lnTo>
                  <a:lnTo>
                    <a:pt x="72" y="72"/>
                  </a:lnTo>
                  <a:lnTo>
                    <a:pt x="66" y="70"/>
                  </a:lnTo>
                  <a:lnTo>
                    <a:pt x="60" y="68"/>
                  </a:lnTo>
                  <a:lnTo>
                    <a:pt x="54" y="70"/>
                  </a:lnTo>
                  <a:lnTo>
                    <a:pt x="48" y="66"/>
                  </a:lnTo>
                  <a:lnTo>
                    <a:pt x="48" y="64"/>
                  </a:lnTo>
                  <a:lnTo>
                    <a:pt x="50" y="58"/>
                  </a:lnTo>
                  <a:lnTo>
                    <a:pt x="54" y="52"/>
                  </a:lnTo>
                  <a:lnTo>
                    <a:pt x="54" y="46"/>
                  </a:lnTo>
                  <a:lnTo>
                    <a:pt x="56" y="42"/>
                  </a:lnTo>
                  <a:lnTo>
                    <a:pt x="60" y="36"/>
                  </a:lnTo>
                  <a:lnTo>
                    <a:pt x="66" y="34"/>
                  </a:lnTo>
                  <a:lnTo>
                    <a:pt x="72" y="32"/>
                  </a:lnTo>
                  <a:lnTo>
                    <a:pt x="78" y="34"/>
                  </a:lnTo>
                  <a:lnTo>
                    <a:pt x="82" y="32"/>
                  </a:lnTo>
                  <a:lnTo>
                    <a:pt x="90" y="30"/>
                  </a:lnTo>
                  <a:lnTo>
                    <a:pt x="94" y="30"/>
                  </a:lnTo>
                  <a:lnTo>
                    <a:pt x="102" y="32"/>
                  </a:lnTo>
                  <a:lnTo>
                    <a:pt x="106" y="34"/>
                  </a:lnTo>
                  <a:lnTo>
                    <a:pt x="114" y="34"/>
                  </a:lnTo>
                  <a:lnTo>
                    <a:pt x="120" y="34"/>
                  </a:lnTo>
                  <a:lnTo>
                    <a:pt x="124" y="38"/>
                  </a:lnTo>
                  <a:lnTo>
                    <a:pt x="132" y="40"/>
                  </a:lnTo>
                  <a:lnTo>
                    <a:pt x="138" y="40"/>
                  </a:lnTo>
                  <a:lnTo>
                    <a:pt x="144" y="42"/>
                  </a:lnTo>
                  <a:lnTo>
                    <a:pt x="150" y="46"/>
                  </a:lnTo>
                  <a:lnTo>
                    <a:pt x="156" y="50"/>
                  </a:lnTo>
                  <a:lnTo>
                    <a:pt x="162" y="50"/>
                  </a:lnTo>
                  <a:lnTo>
                    <a:pt x="168" y="48"/>
                  </a:lnTo>
                  <a:lnTo>
                    <a:pt x="174" y="52"/>
                  </a:lnTo>
                  <a:lnTo>
                    <a:pt x="180" y="52"/>
                  </a:lnTo>
                  <a:lnTo>
                    <a:pt x="186" y="58"/>
                  </a:lnTo>
                  <a:lnTo>
                    <a:pt x="192" y="56"/>
                  </a:lnTo>
                  <a:lnTo>
                    <a:pt x="186" y="50"/>
                  </a:lnTo>
                  <a:lnTo>
                    <a:pt x="182" y="44"/>
                  </a:lnTo>
                  <a:lnTo>
                    <a:pt x="182" y="38"/>
                  </a:lnTo>
                  <a:lnTo>
                    <a:pt x="184" y="32"/>
                  </a:lnTo>
                  <a:lnTo>
                    <a:pt x="184" y="30"/>
                  </a:lnTo>
                  <a:lnTo>
                    <a:pt x="184" y="28"/>
                  </a:lnTo>
                  <a:lnTo>
                    <a:pt x="182" y="22"/>
                  </a:lnTo>
                  <a:lnTo>
                    <a:pt x="182" y="16"/>
                  </a:lnTo>
                  <a:lnTo>
                    <a:pt x="184" y="14"/>
                  </a:lnTo>
                  <a:lnTo>
                    <a:pt x="190" y="12"/>
                  </a:lnTo>
                  <a:lnTo>
                    <a:pt x="196" y="10"/>
                  </a:lnTo>
                  <a:lnTo>
                    <a:pt x="200" y="8"/>
                  </a:lnTo>
                  <a:lnTo>
                    <a:pt x="206" y="6"/>
                  </a:lnTo>
                  <a:lnTo>
                    <a:pt x="212" y="4"/>
                  </a:lnTo>
                  <a:lnTo>
                    <a:pt x="214" y="2"/>
                  </a:lnTo>
                  <a:lnTo>
                    <a:pt x="212" y="0"/>
                  </a:lnTo>
                  <a:lnTo>
                    <a:pt x="216" y="0"/>
                  </a:lnTo>
                  <a:lnTo>
                    <a:pt x="220" y="4"/>
                  </a:lnTo>
                  <a:lnTo>
                    <a:pt x="226" y="6"/>
                  </a:lnTo>
                  <a:lnTo>
                    <a:pt x="234" y="8"/>
                  </a:lnTo>
                  <a:lnTo>
                    <a:pt x="238" y="12"/>
                  </a:lnTo>
                  <a:lnTo>
                    <a:pt x="244" y="16"/>
                  </a:lnTo>
                  <a:lnTo>
                    <a:pt x="246" y="18"/>
                  </a:lnTo>
                  <a:lnTo>
                    <a:pt x="252" y="20"/>
                  </a:lnTo>
                  <a:lnTo>
                    <a:pt x="258" y="20"/>
                  </a:lnTo>
                  <a:lnTo>
                    <a:pt x="264" y="24"/>
                  </a:lnTo>
                  <a:lnTo>
                    <a:pt x="268" y="24"/>
                  </a:lnTo>
                  <a:lnTo>
                    <a:pt x="274" y="26"/>
                  </a:lnTo>
                  <a:lnTo>
                    <a:pt x="280" y="28"/>
                  </a:lnTo>
                  <a:lnTo>
                    <a:pt x="286" y="30"/>
                  </a:lnTo>
                  <a:lnTo>
                    <a:pt x="292" y="30"/>
                  </a:lnTo>
                  <a:lnTo>
                    <a:pt x="298" y="30"/>
                  </a:lnTo>
                  <a:lnTo>
                    <a:pt x="304" y="32"/>
                  </a:lnTo>
                  <a:lnTo>
                    <a:pt x="306" y="28"/>
                  </a:lnTo>
                  <a:lnTo>
                    <a:pt x="308" y="22"/>
                  </a:lnTo>
                  <a:lnTo>
                    <a:pt x="310" y="22"/>
                  </a:lnTo>
                  <a:lnTo>
                    <a:pt x="316" y="22"/>
                  </a:lnTo>
                  <a:lnTo>
                    <a:pt x="322" y="24"/>
                  </a:lnTo>
                  <a:lnTo>
                    <a:pt x="328" y="22"/>
                  </a:lnTo>
                  <a:lnTo>
                    <a:pt x="334" y="24"/>
                  </a:lnTo>
                  <a:lnTo>
                    <a:pt x="340" y="26"/>
                  </a:lnTo>
                  <a:lnTo>
                    <a:pt x="346" y="26"/>
                  </a:lnTo>
                  <a:lnTo>
                    <a:pt x="352" y="24"/>
                  </a:lnTo>
                  <a:lnTo>
                    <a:pt x="356" y="24"/>
                  </a:lnTo>
                  <a:lnTo>
                    <a:pt x="364" y="22"/>
                  </a:lnTo>
                  <a:lnTo>
                    <a:pt x="370" y="20"/>
                  </a:lnTo>
                  <a:lnTo>
                    <a:pt x="374" y="20"/>
                  </a:lnTo>
                  <a:lnTo>
                    <a:pt x="380" y="20"/>
                  </a:lnTo>
                  <a:lnTo>
                    <a:pt x="386" y="24"/>
                  </a:lnTo>
                  <a:lnTo>
                    <a:pt x="394" y="26"/>
                  </a:lnTo>
                  <a:lnTo>
                    <a:pt x="398" y="24"/>
                  </a:lnTo>
                  <a:lnTo>
                    <a:pt x="406" y="24"/>
                  </a:lnTo>
                  <a:lnTo>
                    <a:pt x="412" y="24"/>
                  </a:lnTo>
                  <a:lnTo>
                    <a:pt x="416" y="24"/>
                  </a:lnTo>
                  <a:lnTo>
                    <a:pt x="424" y="26"/>
                  </a:lnTo>
                  <a:lnTo>
                    <a:pt x="428" y="26"/>
                  </a:lnTo>
                  <a:lnTo>
                    <a:pt x="434" y="28"/>
                  </a:lnTo>
                  <a:lnTo>
                    <a:pt x="442" y="28"/>
                  </a:lnTo>
                  <a:lnTo>
                    <a:pt x="446" y="28"/>
                  </a:lnTo>
                  <a:lnTo>
                    <a:pt x="452" y="26"/>
                  </a:lnTo>
                  <a:lnTo>
                    <a:pt x="458" y="26"/>
                  </a:lnTo>
                  <a:lnTo>
                    <a:pt x="464" y="28"/>
                  </a:lnTo>
                  <a:lnTo>
                    <a:pt x="470" y="30"/>
                  </a:lnTo>
                  <a:lnTo>
                    <a:pt x="476" y="32"/>
                  </a:lnTo>
                  <a:lnTo>
                    <a:pt x="482" y="32"/>
                  </a:lnTo>
                  <a:lnTo>
                    <a:pt x="488" y="34"/>
                  </a:lnTo>
                  <a:lnTo>
                    <a:pt x="494" y="34"/>
                  </a:lnTo>
                  <a:lnTo>
                    <a:pt x="496" y="34"/>
                  </a:lnTo>
                  <a:lnTo>
                    <a:pt x="500" y="36"/>
                  </a:lnTo>
                  <a:lnTo>
                    <a:pt x="504" y="42"/>
                  </a:lnTo>
                  <a:lnTo>
                    <a:pt x="512" y="44"/>
                  </a:lnTo>
                  <a:lnTo>
                    <a:pt x="518" y="52"/>
                  </a:lnTo>
                  <a:lnTo>
                    <a:pt x="522" y="56"/>
                  </a:lnTo>
                  <a:lnTo>
                    <a:pt x="530" y="56"/>
                  </a:lnTo>
                  <a:lnTo>
                    <a:pt x="534" y="54"/>
                  </a:lnTo>
                  <a:lnTo>
                    <a:pt x="542" y="56"/>
                  </a:lnTo>
                  <a:lnTo>
                    <a:pt x="546" y="56"/>
                  </a:lnTo>
                  <a:lnTo>
                    <a:pt x="552" y="60"/>
                  </a:lnTo>
                  <a:lnTo>
                    <a:pt x="560" y="64"/>
                  </a:lnTo>
                  <a:lnTo>
                    <a:pt x="564" y="70"/>
                  </a:lnTo>
                  <a:lnTo>
                    <a:pt x="570" y="74"/>
                  </a:lnTo>
                  <a:lnTo>
                    <a:pt x="574" y="78"/>
                  </a:lnTo>
                  <a:lnTo>
                    <a:pt x="572" y="86"/>
                  </a:lnTo>
                  <a:lnTo>
                    <a:pt x="566" y="86"/>
                  </a:lnTo>
                  <a:lnTo>
                    <a:pt x="560" y="84"/>
                  </a:lnTo>
                  <a:lnTo>
                    <a:pt x="558" y="86"/>
                  </a:lnTo>
                  <a:lnTo>
                    <a:pt x="552" y="90"/>
                  </a:lnTo>
                  <a:lnTo>
                    <a:pt x="548" y="94"/>
                  </a:lnTo>
                  <a:lnTo>
                    <a:pt x="542" y="98"/>
                  </a:lnTo>
                  <a:lnTo>
                    <a:pt x="536" y="100"/>
                  </a:lnTo>
                  <a:lnTo>
                    <a:pt x="530" y="102"/>
                  </a:lnTo>
                  <a:lnTo>
                    <a:pt x="524" y="104"/>
                  </a:lnTo>
                  <a:lnTo>
                    <a:pt x="518" y="106"/>
                  </a:lnTo>
                  <a:lnTo>
                    <a:pt x="514" y="110"/>
                  </a:lnTo>
                  <a:lnTo>
                    <a:pt x="508" y="114"/>
                  </a:lnTo>
                  <a:lnTo>
                    <a:pt x="502" y="116"/>
                  </a:lnTo>
                  <a:lnTo>
                    <a:pt x="496" y="124"/>
                  </a:lnTo>
                  <a:lnTo>
                    <a:pt x="488" y="126"/>
                  </a:lnTo>
                  <a:lnTo>
                    <a:pt x="484" y="132"/>
                  </a:lnTo>
                  <a:lnTo>
                    <a:pt x="484" y="138"/>
                  </a:lnTo>
                  <a:lnTo>
                    <a:pt x="480" y="144"/>
                  </a:lnTo>
                  <a:lnTo>
                    <a:pt x="480" y="146"/>
                  </a:lnTo>
                  <a:lnTo>
                    <a:pt x="474" y="152"/>
                  </a:lnTo>
                  <a:lnTo>
                    <a:pt x="470" y="152"/>
                  </a:lnTo>
                  <a:lnTo>
                    <a:pt x="464" y="150"/>
                  </a:lnTo>
                  <a:lnTo>
                    <a:pt x="458" y="152"/>
                  </a:lnTo>
                  <a:lnTo>
                    <a:pt x="452" y="156"/>
                  </a:lnTo>
                  <a:lnTo>
                    <a:pt x="446" y="156"/>
                  </a:lnTo>
                  <a:lnTo>
                    <a:pt x="440" y="156"/>
                  </a:lnTo>
                  <a:lnTo>
                    <a:pt x="434" y="154"/>
                  </a:lnTo>
                  <a:lnTo>
                    <a:pt x="428" y="154"/>
                  </a:lnTo>
                  <a:lnTo>
                    <a:pt x="422" y="154"/>
                  </a:lnTo>
                  <a:lnTo>
                    <a:pt x="416" y="152"/>
                  </a:lnTo>
                  <a:lnTo>
                    <a:pt x="410" y="154"/>
                  </a:lnTo>
                  <a:lnTo>
                    <a:pt x="404" y="158"/>
                  </a:lnTo>
                  <a:lnTo>
                    <a:pt x="406" y="164"/>
                  </a:lnTo>
                  <a:lnTo>
                    <a:pt x="402" y="168"/>
                  </a:lnTo>
                  <a:lnTo>
                    <a:pt x="400" y="174"/>
                  </a:lnTo>
                  <a:lnTo>
                    <a:pt x="400" y="180"/>
                  </a:lnTo>
                  <a:lnTo>
                    <a:pt x="398" y="186"/>
                  </a:lnTo>
                  <a:lnTo>
                    <a:pt x="398" y="190"/>
                  </a:lnTo>
                  <a:lnTo>
                    <a:pt x="394" y="196"/>
                  </a:lnTo>
                  <a:lnTo>
                    <a:pt x="388" y="198"/>
                  </a:lnTo>
                  <a:lnTo>
                    <a:pt x="382" y="196"/>
                  </a:lnTo>
                  <a:lnTo>
                    <a:pt x="376" y="198"/>
                  </a:lnTo>
                  <a:lnTo>
                    <a:pt x="370" y="198"/>
                  </a:lnTo>
                  <a:lnTo>
                    <a:pt x="364" y="204"/>
                  </a:lnTo>
                  <a:lnTo>
                    <a:pt x="358" y="202"/>
                  </a:lnTo>
                  <a:lnTo>
                    <a:pt x="352" y="200"/>
                  </a:lnTo>
                  <a:lnTo>
                    <a:pt x="352" y="196"/>
                  </a:lnTo>
                  <a:lnTo>
                    <a:pt x="348" y="190"/>
                  </a:lnTo>
                  <a:lnTo>
                    <a:pt x="344" y="182"/>
                  </a:lnTo>
                  <a:lnTo>
                    <a:pt x="340" y="182"/>
                  </a:lnTo>
                  <a:lnTo>
                    <a:pt x="332" y="186"/>
                  </a:lnTo>
                  <a:lnTo>
                    <a:pt x="330" y="188"/>
                  </a:lnTo>
                  <a:lnTo>
                    <a:pt x="324" y="194"/>
                  </a:lnTo>
                  <a:lnTo>
                    <a:pt x="318" y="192"/>
                  </a:lnTo>
                  <a:lnTo>
                    <a:pt x="312" y="192"/>
                  </a:lnTo>
                  <a:lnTo>
                    <a:pt x="310" y="190"/>
                  </a:lnTo>
                  <a:lnTo>
                    <a:pt x="302" y="190"/>
                  </a:lnTo>
                  <a:lnTo>
                    <a:pt x="302" y="196"/>
                  </a:lnTo>
                  <a:lnTo>
                    <a:pt x="304" y="202"/>
                  </a:lnTo>
                  <a:lnTo>
                    <a:pt x="298" y="202"/>
                  </a:lnTo>
                  <a:lnTo>
                    <a:pt x="292" y="208"/>
                  </a:lnTo>
                  <a:lnTo>
                    <a:pt x="288" y="214"/>
                  </a:lnTo>
                  <a:lnTo>
                    <a:pt x="282" y="218"/>
                  </a:lnTo>
                  <a:lnTo>
                    <a:pt x="276" y="216"/>
                  </a:lnTo>
                  <a:lnTo>
                    <a:pt x="270" y="220"/>
                  </a:lnTo>
                  <a:lnTo>
                    <a:pt x="264" y="224"/>
                  </a:lnTo>
                  <a:lnTo>
                    <a:pt x="264" y="226"/>
                  </a:lnTo>
                  <a:lnTo>
                    <a:pt x="262" y="232"/>
                  </a:lnTo>
                  <a:lnTo>
                    <a:pt x="258" y="238"/>
                  </a:lnTo>
                  <a:lnTo>
                    <a:pt x="264" y="242"/>
                  </a:lnTo>
                  <a:lnTo>
                    <a:pt x="268" y="250"/>
                  </a:lnTo>
                  <a:lnTo>
                    <a:pt x="270" y="252"/>
                  </a:lnTo>
                  <a:lnTo>
                    <a:pt x="266" y="258"/>
                  </a:lnTo>
                  <a:lnTo>
                    <a:pt x="260" y="262"/>
                  </a:lnTo>
                  <a:lnTo>
                    <a:pt x="254" y="262"/>
                  </a:lnTo>
                  <a:lnTo>
                    <a:pt x="248" y="260"/>
                  </a:lnTo>
                  <a:lnTo>
                    <a:pt x="242" y="262"/>
                  </a:lnTo>
                  <a:lnTo>
                    <a:pt x="236" y="266"/>
                  </a:lnTo>
                  <a:lnTo>
                    <a:pt x="230" y="268"/>
                  </a:lnTo>
                  <a:lnTo>
                    <a:pt x="224" y="268"/>
                  </a:lnTo>
                  <a:lnTo>
                    <a:pt x="218" y="268"/>
                  </a:lnTo>
                  <a:lnTo>
                    <a:pt x="212" y="268"/>
                  </a:lnTo>
                  <a:lnTo>
                    <a:pt x="206" y="268"/>
                  </a:lnTo>
                  <a:lnTo>
                    <a:pt x="200" y="266"/>
                  </a:lnTo>
                  <a:lnTo>
                    <a:pt x="194" y="268"/>
                  </a:lnTo>
                  <a:lnTo>
                    <a:pt x="188" y="268"/>
                  </a:lnTo>
                  <a:lnTo>
                    <a:pt x="182" y="274"/>
                  </a:lnTo>
                  <a:lnTo>
                    <a:pt x="180" y="280"/>
                  </a:lnTo>
                  <a:lnTo>
                    <a:pt x="176" y="276"/>
                  </a:lnTo>
                  <a:lnTo>
                    <a:pt x="170" y="272"/>
                  </a:lnTo>
                  <a:lnTo>
                    <a:pt x="164" y="268"/>
                  </a:lnTo>
                  <a:lnTo>
                    <a:pt x="158" y="272"/>
                  </a:lnTo>
                  <a:lnTo>
                    <a:pt x="152" y="274"/>
                  </a:lnTo>
                  <a:lnTo>
                    <a:pt x="148" y="268"/>
                  </a:lnTo>
                  <a:lnTo>
                    <a:pt x="148" y="262"/>
                  </a:lnTo>
                  <a:lnTo>
                    <a:pt x="144" y="262"/>
                  </a:lnTo>
                  <a:lnTo>
                    <a:pt x="140" y="262"/>
                  </a:lnTo>
                  <a:lnTo>
                    <a:pt x="132" y="258"/>
                  </a:lnTo>
                  <a:lnTo>
                    <a:pt x="132" y="252"/>
                  </a:lnTo>
                  <a:lnTo>
                    <a:pt x="126" y="252"/>
                  </a:lnTo>
                  <a:lnTo>
                    <a:pt x="120" y="254"/>
                  </a:lnTo>
                  <a:lnTo>
                    <a:pt x="114" y="256"/>
                  </a:lnTo>
                  <a:lnTo>
                    <a:pt x="108" y="258"/>
                  </a:lnTo>
                  <a:lnTo>
                    <a:pt x="108" y="264"/>
                  </a:lnTo>
                  <a:lnTo>
                    <a:pt x="102" y="264"/>
                  </a:lnTo>
                  <a:lnTo>
                    <a:pt x="96" y="266"/>
                  </a:lnTo>
                  <a:lnTo>
                    <a:pt x="90" y="264"/>
                  </a:lnTo>
                  <a:lnTo>
                    <a:pt x="86" y="258"/>
                  </a:lnTo>
                  <a:lnTo>
                    <a:pt x="84" y="254"/>
                  </a:lnTo>
                  <a:lnTo>
                    <a:pt x="78" y="254"/>
                  </a:lnTo>
                  <a:lnTo>
                    <a:pt x="72" y="252"/>
                  </a:lnTo>
                  <a:lnTo>
                    <a:pt x="66" y="254"/>
                  </a:lnTo>
                  <a:lnTo>
                    <a:pt x="60" y="256"/>
                  </a:lnTo>
                  <a:lnTo>
                    <a:pt x="60" y="250"/>
                  </a:lnTo>
                  <a:lnTo>
                    <a:pt x="52" y="254"/>
                  </a:lnTo>
                  <a:lnTo>
                    <a:pt x="48" y="256"/>
                  </a:lnTo>
                  <a:lnTo>
                    <a:pt x="44" y="254"/>
                  </a:lnTo>
                  <a:lnTo>
                    <a:pt x="38" y="256"/>
                  </a:lnTo>
                  <a:lnTo>
                    <a:pt x="32" y="252"/>
                  </a:lnTo>
                  <a:lnTo>
                    <a:pt x="26" y="254"/>
                  </a:lnTo>
                  <a:lnTo>
                    <a:pt x="20" y="256"/>
                  </a:lnTo>
                  <a:lnTo>
                    <a:pt x="14" y="256"/>
                  </a:lnTo>
                  <a:lnTo>
                    <a:pt x="8" y="256"/>
                  </a:lnTo>
                  <a:lnTo>
                    <a:pt x="6" y="250"/>
                  </a:lnTo>
                  <a:lnTo>
                    <a:pt x="4" y="244"/>
                  </a:lnTo>
                  <a:lnTo>
                    <a:pt x="0" y="238"/>
                  </a:lnTo>
                  <a:lnTo>
                    <a:pt x="0" y="232"/>
                  </a:lnTo>
                  <a:lnTo>
                    <a:pt x="4" y="226"/>
                  </a:lnTo>
                  <a:lnTo>
                    <a:pt x="10" y="230"/>
                  </a:lnTo>
                  <a:lnTo>
                    <a:pt x="10" y="224"/>
                  </a:lnTo>
                  <a:lnTo>
                    <a:pt x="10" y="2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3" name="Freeform 110"/>
            <p:cNvSpPr>
              <a:spLocks/>
            </p:cNvSpPr>
            <p:nvPr/>
          </p:nvSpPr>
          <p:spPr bwMode="auto">
            <a:xfrm>
              <a:off x="5156200" y="3006725"/>
              <a:ext cx="160338" cy="69850"/>
            </a:xfrm>
            <a:custGeom>
              <a:avLst/>
              <a:gdLst>
                <a:gd name="T0" fmla="*/ 0 w 396"/>
                <a:gd name="T1" fmla="*/ 2147483647 h 170"/>
                <a:gd name="T2" fmla="*/ 2147483647 w 396"/>
                <a:gd name="T3" fmla="*/ 0 h 170"/>
                <a:gd name="T4" fmla="*/ 2147483647 w 396"/>
                <a:gd name="T5" fmla="*/ 2147483647 h 170"/>
                <a:gd name="T6" fmla="*/ 2147483647 w 396"/>
                <a:gd name="T7" fmla="*/ 2147483647 h 170"/>
                <a:gd name="T8" fmla="*/ 2147483647 w 396"/>
                <a:gd name="T9" fmla="*/ 2147483647 h 170"/>
                <a:gd name="T10" fmla="*/ 2147483647 w 396"/>
                <a:gd name="T11" fmla="*/ 2147483647 h 170"/>
                <a:gd name="T12" fmla="*/ 2147483647 w 396"/>
                <a:gd name="T13" fmla="*/ 2147483647 h 170"/>
                <a:gd name="T14" fmla="*/ 2147483647 w 396"/>
                <a:gd name="T15" fmla="*/ 2147483647 h 170"/>
                <a:gd name="T16" fmla="*/ 2147483647 w 396"/>
                <a:gd name="T17" fmla="*/ 2147483647 h 170"/>
                <a:gd name="T18" fmla="*/ 2147483647 w 396"/>
                <a:gd name="T19" fmla="*/ 2147483647 h 170"/>
                <a:gd name="T20" fmla="*/ 2147483647 w 396"/>
                <a:gd name="T21" fmla="*/ 2147483647 h 170"/>
                <a:gd name="T22" fmla="*/ 2147483647 w 396"/>
                <a:gd name="T23" fmla="*/ 2147483647 h 170"/>
                <a:gd name="T24" fmla="*/ 2147483647 w 396"/>
                <a:gd name="T25" fmla="*/ 2147483647 h 170"/>
                <a:gd name="T26" fmla="*/ 2147483647 w 396"/>
                <a:gd name="T27" fmla="*/ 2147483647 h 170"/>
                <a:gd name="T28" fmla="*/ 2147483647 w 396"/>
                <a:gd name="T29" fmla="*/ 2147483647 h 170"/>
                <a:gd name="T30" fmla="*/ 2147483647 w 396"/>
                <a:gd name="T31" fmla="*/ 2147483647 h 170"/>
                <a:gd name="T32" fmla="*/ 2147483647 w 396"/>
                <a:gd name="T33" fmla="*/ 2147483647 h 170"/>
                <a:gd name="T34" fmla="*/ 2147483647 w 396"/>
                <a:gd name="T35" fmla="*/ 2147483647 h 170"/>
                <a:gd name="T36" fmla="*/ 2147483647 w 396"/>
                <a:gd name="T37" fmla="*/ 2147483647 h 170"/>
                <a:gd name="T38" fmla="*/ 2147483647 w 396"/>
                <a:gd name="T39" fmla="*/ 2147483647 h 170"/>
                <a:gd name="T40" fmla="*/ 2147483647 w 396"/>
                <a:gd name="T41" fmla="*/ 2147483647 h 170"/>
                <a:gd name="T42" fmla="*/ 2147483647 w 396"/>
                <a:gd name="T43" fmla="*/ 2147483647 h 170"/>
                <a:gd name="T44" fmla="*/ 2147483647 w 396"/>
                <a:gd name="T45" fmla="*/ 2147483647 h 170"/>
                <a:gd name="T46" fmla="*/ 2147483647 w 396"/>
                <a:gd name="T47" fmla="*/ 2147483647 h 170"/>
                <a:gd name="T48" fmla="*/ 2147483647 w 396"/>
                <a:gd name="T49" fmla="*/ 2147483647 h 170"/>
                <a:gd name="T50" fmla="*/ 2147483647 w 396"/>
                <a:gd name="T51" fmla="*/ 2147483647 h 170"/>
                <a:gd name="T52" fmla="*/ 2147483647 w 396"/>
                <a:gd name="T53" fmla="*/ 2147483647 h 170"/>
                <a:gd name="T54" fmla="*/ 2147483647 w 396"/>
                <a:gd name="T55" fmla="*/ 2147483647 h 170"/>
                <a:gd name="T56" fmla="*/ 2147483647 w 396"/>
                <a:gd name="T57" fmla="*/ 2147483647 h 170"/>
                <a:gd name="T58" fmla="*/ 2147483647 w 396"/>
                <a:gd name="T59" fmla="*/ 2147483647 h 170"/>
                <a:gd name="T60" fmla="*/ 2147483647 w 396"/>
                <a:gd name="T61" fmla="*/ 2147483647 h 170"/>
                <a:gd name="T62" fmla="*/ 2147483647 w 396"/>
                <a:gd name="T63" fmla="*/ 2147483647 h 170"/>
                <a:gd name="T64" fmla="*/ 2147483647 w 396"/>
                <a:gd name="T65" fmla="*/ 2147483647 h 170"/>
                <a:gd name="T66" fmla="*/ 2147483647 w 396"/>
                <a:gd name="T67" fmla="*/ 2147483647 h 170"/>
                <a:gd name="T68" fmla="*/ 2147483647 w 396"/>
                <a:gd name="T69" fmla="*/ 2147483647 h 170"/>
                <a:gd name="T70" fmla="*/ 2147483647 w 396"/>
                <a:gd name="T71" fmla="*/ 2147483647 h 170"/>
                <a:gd name="T72" fmla="*/ 2147483647 w 396"/>
                <a:gd name="T73" fmla="*/ 2147483647 h 170"/>
                <a:gd name="T74" fmla="*/ 2147483647 w 396"/>
                <a:gd name="T75" fmla="*/ 2147483647 h 170"/>
                <a:gd name="T76" fmla="*/ 2147483647 w 396"/>
                <a:gd name="T77" fmla="*/ 2147483647 h 170"/>
                <a:gd name="T78" fmla="*/ 2147483647 w 396"/>
                <a:gd name="T79" fmla="*/ 2147483647 h 170"/>
                <a:gd name="T80" fmla="*/ 2147483647 w 396"/>
                <a:gd name="T81" fmla="*/ 2147483647 h 170"/>
                <a:gd name="T82" fmla="*/ 2147483647 w 396"/>
                <a:gd name="T83" fmla="*/ 2147483647 h 170"/>
                <a:gd name="T84" fmla="*/ 2147483647 w 396"/>
                <a:gd name="T85" fmla="*/ 2147483647 h 170"/>
                <a:gd name="T86" fmla="*/ 2147483647 w 396"/>
                <a:gd name="T87" fmla="*/ 2147483647 h 170"/>
                <a:gd name="T88" fmla="*/ 2147483647 w 396"/>
                <a:gd name="T89" fmla="*/ 2147483647 h 170"/>
                <a:gd name="T90" fmla="*/ 2147483647 w 396"/>
                <a:gd name="T91" fmla="*/ 2147483647 h 170"/>
                <a:gd name="T92" fmla="*/ 2147483647 w 396"/>
                <a:gd name="T93" fmla="*/ 2147483647 h 170"/>
                <a:gd name="T94" fmla="*/ 2147483647 w 396"/>
                <a:gd name="T95" fmla="*/ 2147483647 h 170"/>
                <a:gd name="T96" fmla="*/ 2147483647 w 396"/>
                <a:gd name="T97" fmla="*/ 2147483647 h 170"/>
                <a:gd name="T98" fmla="*/ 2147483647 w 396"/>
                <a:gd name="T99" fmla="*/ 2147483647 h 170"/>
                <a:gd name="T100" fmla="*/ 2147483647 w 396"/>
                <a:gd name="T101" fmla="*/ 2147483647 h 170"/>
                <a:gd name="T102" fmla="*/ 2147483647 w 396"/>
                <a:gd name="T103" fmla="*/ 2147483647 h 170"/>
                <a:gd name="T104" fmla="*/ 2147483647 w 396"/>
                <a:gd name="T105" fmla="*/ 2147483647 h 170"/>
                <a:gd name="T106" fmla="*/ 2147483647 w 396"/>
                <a:gd name="T107" fmla="*/ 2147483647 h 170"/>
                <a:gd name="T108" fmla="*/ 2147483647 w 396"/>
                <a:gd name="T109" fmla="*/ 2147483647 h 170"/>
                <a:gd name="T110" fmla="*/ 2147483647 w 396"/>
                <a:gd name="T111" fmla="*/ 2147483647 h 170"/>
                <a:gd name="T112" fmla="*/ 2147483647 w 396"/>
                <a:gd name="T113" fmla="*/ 2147483647 h 170"/>
                <a:gd name="T114" fmla="*/ 2147483647 w 396"/>
                <a:gd name="T115" fmla="*/ 2147483647 h 170"/>
                <a:gd name="T116" fmla="*/ 2147483647 w 396"/>
                <a:gd name="T117" fmla="*/ 2147483647 h 170"/>
                <a:gd name="T118" fmla="*/ 2147483647 w 396"/>
                <a:gd name="T119" fmla="*/ 2147483647 h 170"/>
                <a:gd name="T120" fmla="*/ 2147483647 w 396"/>
                <a:gd name="T121" fmla="*/ 2147483647 h 170"/>
                <a:gd name="T122" fmla="*/ 2147483647 w 396"/>
                <a:gd name="T123" fmla="*/ 2147483647 h 170"/>
                <a:gd name="T124" fmla="*/ 0 w 396"/>
                <a:gd name="T125" fmla="*/ 2147483647 h 1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6"/>
                <a:gd name="T190" fmla="*/ 0 h 170"/>
                <a:gd name="T191" fmla="*/ 396 w 396"/>
                <a:gd name="T192" fmla="*/ 170 h 1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6" h="170">
                  <a:moveTo>
                    <a:pt x="0" y="12"/>
                  </a:moveTo>
                  <a:lnTo>
                    <a:pt x="0" y="12"/>
                  </a:lnTo>
                  <a:lnTo>
                    <a:pt x="0" y="10"/>
                  </a:lnTo>
                  <a:lnTo>
                    <a:pt x="2" y="4"/>
                  </a:lnTo>
                  <a:lnTo>
                    <a:pt x="8" y="0"/>
                  </a:lnTo>
                  <a:lnTo>
                    <a:pt x="14" y="0"/>
                  </a:lnTo>
                  <a:lnTo>
                    <a:pt x="18" y="0"/>
                  </a:lnTo>
                  <a:lnTo>
                    <a:pt x="26" y="4"/>
                  </a:lnTo>
                  <a:lnTo>
                    <a:pt x="30" y="4"/>
                  </a:lnTo>
                  <a:lnTo>
                    <a:pt x="36" y="2"/>
                  </a:lnTo>
                  <a:lnTo>
                    <a:pt x="44" y="4"/>
                  </a:lnTo>
                  <a:lnTo>
                    <a:pt x="48" y="8"/>
                  </a:lnTo>
                  <a:lnTo>
                    <a:pt x="56" y="12"/>
                  </a:lnTo>
                  <a:lnTo>
                    <a:pt x="60" y="12"/>
                  </a:lnTo>
                  <a:lnTo>
                    <a:pt x="66" y="12"/>
                  </a:lnTo>
                  <a:lnTo>
                    <a:pt x="72" y="16"/>
                  </a:lnTo>
                  <a:lnTo>
                    <a:pt x="78" y="16"/>
                  </a:lnTo>
                  <a:lnTo>
                    <a:pt x="84" y="20"/>
                  </a:lnTo>
                  <a:lnTo>
                    <a:pt x="90" y="24"/>
                  </a:lnTo>
                  <a:lnTo>
                    <a:pt x="96" y="24"/>
                  </a:lnTo>
                  <a:lnTo>
                    <a:pt x="102" y="24"/>
                  </a:lnTo>
                  <a:lnTo>
                    <a:pt x="106" y="24"/>
                  </a:lnTo>
                  <a:lnTo>
                    <a:pt x="112" y="24"/>
                  </a:lnTo>
                  <a:lnTo>
                    <a:pt x="118" y="26"/>
                  </a:lnTo>
                  <a:lnTo>
                    <a:pt x="118" y="24"/>
                  </a:lnTo>
                  <a:lnTo>
                    <a:pt x="124" y="22"/>
                  </a:lnTo>
                  <a:lnTo>
                    <a:pt x="130" y="22"/>
                  </a:lnTo>
                  <a:lnTo>
                    <a:pt x="132" y="22"/>
                  </a:lnTo>
                  <a:lnTo>
                    <a:pt x="138" y="24"/>
                  </a:lnTo>
                  <a:lnTo>
                    <a:pt x="144" y="28"/>
                  </a:lnTo>
                  <a:lnTo>
                    <a:pt x="150" y="28"/>
                  </a:lnTo>
                  <a:lnTo>
                    <a:pt x="156" y="26"/>
                  </a:lnTo>
                  <a:lnTo>
                    <a:pt x="162" y="28"/>
                  </a:lnTo>
                  <a:lnTo>
                    <a:pt x="168" y="30"/>
                  </a:lnTo>
                  <a:lnTo>
                    <a:pt x="174" y="36"/>
                  </a:lnTo>
                  <a:lnTo>
                    <a:pt x="180" y="42"/>
                  </a:lnTo>
                  <a:lnTo>
                    <a:pt x="184" y="44"/>
                  </a:lnTo>
                  <a:lnTo>
                    <a:pt x="188" y="44"/>
                  </a:lnTo>
                  <a:lnTo>
                    <a:pt x="192" y="46"/>
                  </a:lnTo>
                  <a:lnTo>
                    <a:pt x="198" y="46"/>
                  </a:lnTo>
                  <a:lnTo>
                    <a:pt x="204" y="50"/>
                  </a:lnTo>
                  <a:lnTo>
                    <a:pt x="210" y="54"/>
                  </a:lnTo>
                  <a:lnTo>
                    <a:pt x="216" y="54"/>
                  </a:lnTo>
                  <a:lnTo>
                    <a:pt x="218" y="58"/>
                  </a:lnTo>
                  <a:lnTo>
                    <a:pt x="214" y="62"/>
                  </a:lnTo>
                  <a:lnTo>
                    <a:pt x="220" y="66"/>
                  </a:lnTo>
                  <a:lnTo>
                    <a:pt x="226" y="68"/>
                  </a:lnTo>
                  <a:lnTo>
                    <a:pt x="232" y="64"/>
                  </a:lnTo>
                  <a:lnTo>
                    <a:pt x="238" y="64"/>
                  </a:lnTo>
                  <a:lnTo>
                    <a:pt x="240" y="64"/>
                  </a:lnTo>
                  <a:lnTo>
                    <a:pt x="242" y="60"/>
                  </a:lnTo>
                  <a:lnTo>
                    <a:pt x="250" y="58"/>
                  </a:lnTo>
                  <a:lnTo>
                    <a:pt x="256" y="56"/>
                  </a:lnTo>
                  <a:lnTo>
                    <a:pt x="260" y="54"/>
                  </a:lnTo>
                  <a:lnTo>
                    <a:pt x="264" y="56"/>
                  </a:lnTo>
                  <a:lnTo>
                    <a:pt x="270" y="58"/>
                  </a:lnTo>
                  <a:lnTo>
                    <a:pt x="274" y="64"/>
                  </a:lnTo>
                  <a:lnTo>
                    <a:pt x="276" y="58"/>
                  </a:lnTo>
                  <a:lnTo>
                    <a:pt x="280" y="56"/>
                  </a:lnTo>
                  <a:lnTo>
                    <a:pt x="284" y="58"/>
                  </a:lnTo>
                  <a:lnTo>
                    <a:pt x="288" y="60"/>
                  </a:lnTo>
                  <a:lnTo>
                    <a:pt x="294" y="60"/>
                  </a:lnTo>
                  <a:lnTo>
                    <a:pt x="300" y="64"/>
                  </a:lnTo>
                  <a:lnTo>
                    <a:pt x="306" y="70"/>
                  </a:lnTo>
                  <a:lnTo>
                    <a:pt x="312" y="70"/>
                  </a:lnTo>
                  <a:lnTo>
                    <a:pt x="318" y="70"/>
                  </a:lnTo>
                  <a:lnTo>
                    <a:pt x="324" y="72"/>
                  </a:lnTo>
                  <a:lnTo>
                    <a:pt x="328" y="74"/>
                  </a:lnTo>
                  <a:lnTo>
                    <a:pt x="328" y="76"/>
                  </a:lnTo>
                  <a:lnTo>
                    <a:pt x="328" y="82"/>
                  </a:lnTo>
                  <a:lnTo>
                    <a:pt x="326" y="88"/>
                  </a:lnTo>
                  <a:lnTo>
                    <a:pt x="326" y="94"/>
                  </a:lnTo>
                  <a:lnTo>
                    <a:pt x="332" y="96"/>
                  </a:lnTo>
                  <a:lnTo>
                    <a:pt x="338" y="100"/>
                  </a:lnTo>
                  <a:lnTo>
                    <a:pt x="344" y="104"/>
                  </a:lnTo>
                  <a:lnTo>
                    <a:pt x="350" y="106"/>
                  </a:lnTo>
                  <a:lnTo>
                    <a:pt x="356" y="108"/>
                  </a:lnTo>
                  <a:lnTo>
                    <a:pt x="362" y="108"/>
                  </a:lnTo>
                  <a:lnTo>
                    <a:pt x="368" y="112"/>
                  </a:lnTo>
                  <a:lnTo>
                    <a:pt x="374" y="114"/>
                  </a:lnTo>
                  <a:lnTo>
                    <a:pt x="372" y="120"/>
                  </a:lnTo>
                  <a:lnTo>
                    <a:pt x="370" y="122"/>
                  </a:lnTo>
                  <a:lnTo>
                    <a:pt x="364" y="122"/>
                  </a:lnTo>
                  <a:lnTo>
                    <a:pt x="362" y="130"/>
                  </a:lnTo>
                  <a:lnTo>
                    <a:pt x="366" y="134"/>
                  </a:lnTo>
                  <a:lnTo>
                    <a:pt x="372" y="136"/>
                  </a:lnTo>
                  <a:lnTo>
                    <a:pt x="372" y="142"/>
                  </a:lnTo>
                  <a:lnTo>
                    <a:pt x="378" y="146"/>
                  </a:lnTo>
                  <a:lnTo>
                    <a:pt x="384" y="148"/>
                  </a:lnTo>
                  <a:lnTo>
                    <a:pt x="390" y="152"/>
                  </a:lnTo>
                  <a:lnTo>
                    <a:pt x="396" y="158"/>
                  </a:lnTo>
                  <a:lnTo>
                    <a:pt x="394" y="164"/>
                  </a:lnTo>
                  <a:lnTo>
                    <a:pt x="388" y="168"/>
                  </a:lnTo>
                  <a:lnTo>
                    <a:pt x="382" y="170"/>
                  </a:lnTo>
                  <a:lnTo>
                    <a:pt x="376" y="168"/>
                  </a:lnTo>
                  <a:lnTo>
                    <a:pt x="370" y="162"/>
                  </a:lnTo>
                  <a:lnTo>
                    <a:pt x="366" y="162"/>
                  </a:lnTo>
                  <a:lnTo>
                    <a:pt x="358" y="164"/>
                  </a:lnTo>
                  <a:lnTo>
                    <a:pt x="352" y="162"/>
                  </a:lnTo>
                  <a:lnTo>
                    <a:pt x="348" y="160"/>
                  </a:lnTo>
                  <a:lnTo>
                    <a:pt x="340" y="158"/>
                  </a:lnTo>
                  <a:lnTo>
                    <a:pt x="340" y="152"/>
                  </a:lnTo>
                  <a:lnTo>
                    <a:pt x="336" y="150"/>
                  </a:lnTo>
                  <a:lnTo>
                    <a:pt x="330" y="148"/>
                  </a:lnTo>
                  <a:lnTo>
                    <a:pt x="324" y="146"/>
                  </a:lnTo>
                  <a:lnTo>
                    <a:pt x="318" y="144"/>
                  </a:lnTo>
                  <a:lnTo>
                    <a:pt x="312" y="146"/>
                  </a:lnTo>
                  <a:lnTo>
                    <a:pt x="308" y="148"/>
                  </a:lnTo>
                  <a:lnTo>
                    <a:pt x="304" y="152"/>
                  </a:lnTo>
                  <a:lnTo>
                    <a:pt x="302" y="154"/>
                  </a:lnTo>
                  <a:lnTo>
                    <a:pt x="300" y="156"/>
                  </a:lnTo>
                  <a:lnTo>
                    <a:pt x="298" y="158"/>
                  </a:lnTo>
                  <a:lnTo>
                    <a:pt x="292" y="158"/>
                  </a:lnTo>
                  <a:lnTo>
                    <a:pt x="294" y="160"/>
                  </a:lnTo>
                  <a:lnTo>
                    <a:pt x="292" y="160"/>
                  </a:lnTo>
                  <a:lnTo>
                    <a:pt x="286" y="160"/>
                  </a:lnTo>
                  <a:lnTo>
                    <a:pt x="280" y="160"/>
                  </a:lnTo>
                  <a:lnTo>
                    <a:pt x="274" y="160"/>
                  </a:lnTo>
                  <a:lnTo>
                    <a:pt x="268" y="162"/>
                  </a:lnTo>
                  <a:lnTo>
                    <a:pt x="262" y="162"/>
                  </a:lnTo>
                  <a:lnTo>
                    <a:pt x="258" y="160"/>
                  </a:lnTo>
                  <a:lnTo>
                    <a:pt x="252" y="164"/>
                  </a:lnTo>
                  <a:lnTo>
                    <a:pt x="246" y="164"/>
                  </a:lnTo>
                  <a:lnTo>
                    <a:pt x="240" y="164"/>
                  </a:lnTo>
                  <a:lnTo>
                    <a:pt x="234" y="166"/>
                  </a:lnTo>
                  <a:lnTo>
                    <a:pt x="234" y="168"/>
                  </a:lnTo>
                  <a:lnTo>
                    <a:pt x="232" y="168"/>
                  </a:lnTo>
                  <a:lnTo>
                    <a:pt x="226" y="168"/>
                  </a:lnTo>
                  <a:lnTo>
                    <a:pt x="222" y="166"/>
                  </a:lnTo>
                  <a:lnTo>
                    <a:pt x="214" y="168"/>
                  </a:lnTo>
                  <a:lnTo>
                    <a:pt x="214" y="164"/>
                  </a:lnTo>
                  <a:lnTo>
                    <a:pt x="208" y="162"/>
                  </a:lnTo>
                  <a:lnTo>
                    <a:pt x="202" y="164"/>
                  </a:lnTo>
                  <a:lnTo>
                    <a:pt x="196" y="158"/>
                  </a:lnTo>
                  <a:lnTo>
                    <a:pt x="200" y="156"/>
                  </a:lnTo>
                  <a:lnTo>
                    <a:pt x="196" y="154"/>
                  </a:lnTo>
                  <a:lnTo>
                    <a:pt x="192" y="150"/>
                  </a:lnTo>
                  <a:lnTo>
                    <a:pt x="186" y="146"/>
                  </a:lnTo>
                  <a:lnTo>
                    <a:pt x="180" y="140"/>
                  </a:lnTo>
                  <a:lnTo>
                    <a:pt x="174" y="140"/>
                  </a:lnTo>
                  <a:lnTo>
                    <a:pt x="176" y="136"/>
                  </a:lnTo>
                  <a:lnTo>
                    <a:pt x="174" y="136"/>
                  </a:lnTo>
                  <a:lnTo>
                    <a:pt x="168" y="134"/>
                  </a:lnTo>
                  <a:lnTo>
                    <a:pt x="162" y="136"/>
                  </a:lnTo>
                  <a:lnTo>
                    <a:pt x="160" y="140"/>
                  </a:lnTo>
                  <a:lnTo>
                    <a:pt x="156" y="146"/>
                  </a:lnTo>
                  <a:lnTo>
                    <a:pt x="150" y="144"/>
                  </a:lnTo>
                  <a:lnTo>
                    <a:pt x="144" y="142"/>
                  </a:lnTo>
                  <a:lnTo>
                    <a:pt x="138" y="140"/>
                  </a:lnTo>
                  <a:lnTo>
                    <a:pt x="132" y="142"/>
                  </a:lnTo>
                  <a:lnTo>
                    <a:pt x="126" y="140"/>
                  </a:lnTo>
                  <a:lnTo>
                    <a:pt x="120" y="146"/>
                  </a:lnTo>
                  <a:lnTo>
                    <a:pt x="114" y="144"/>
                  </a:lnTo>
                  <a:lnTo>
                    <a:pt x="110" y="142"/>
                  </a:lnTo>
                  <a:lnTo>
                    <a:pt x="104" y="140"/>
                  </a:lnTo>
                  <a:lnTo>
                    <a:pt x="102" y="140"/>
                  </a:lnTo>
                  <a:lnTo>
                    <a:pt x="104" y="136"/>
                  </a:lnTo>
                  <a:lnTo>
                    <a:pt x="106" y="132"/>
                  </a:lnTo>
                  <a:lnTo>
                    <a:pt x="112" y="126"/>
                  </a:lnTo>
                  <a:lnTo>
                    <a:pt x="114" y="122"/>
                  </a:lnTo>
                  <a:lnTo>
                    <a:pt x="112" y="114"/>
                  </a:lnTo>
                  <a:lnTo>
                    <a:pt x="112" y="110"/>
                  </a:lnTo>
                  <a:lnTo>
                    <a:pt x="108" y="102"/>
                  </a:lnTo>
                  <a:lnTo>
                    <a:pt x="104" y="96"/>
                  </a:lnTo>
                  <a:lnTo>
                    <a:pt x="102" y="92"/>
                  </a:lnTo>
                  <a:lnTo>
                    <a:pt x="98" y="84"/>
                  </a:lnTo>
                  <a:lnTo>
                    <a:pt x="96" y="80"/>
                  </a:lnTo>
                  <a:lnTo>
                    <a:pt x="94" y="74"/>
                  </a:lnTo>
                  <a:lnTo>
                    <a:pt x="92" y="66"/>
                  </a:lnTo>
                  <a:lnTo>
                    <a:pt x="90" y="62"/>
                  </a:lnTo>
                  <a:lnTo>
                    <a:pt x="84" y="56"/>
                  </a:lnTo>
                  <a:lnTo>
                    <a:pt x="78" y="54"/>
                  </a:lnTo>
                  <a:lnTo>
                    <a:pt x="72" y="52"/>
                  </a:lnTo>
                  <a:lnTo>
                    <a:pt x="66" y="48"/>
                  </a:lnTo>
                  <a:lnTo>
                    <a:pt x="62" y="42"/>
                  </a:lnTo>
                  <a:lnTo>
                    <a:pt x="56" y="40"/>
                  </a:lnTo>
                  <a:lnTo>
                    <a:pt x="52" y="34"/>
                  </a:lnTo>
                  <a:lnTo>
                    <a:pt x="44" y="34"/>
                  </a:lnTo>
                  <a:lnTo>
                    <a:pt x="40" y="32"/>
                  </a:lnTo>
                  <a:lnTo>
                    <a:pt x="34" y="32"/>
                  </a:lnTo>
                  <a:lnTo>
                    <a:pt x="26" y="30"/>
                  </a:lnTo>
                  <a:lnTo>
                    <a:pt x="22" y="28"/>
                  </a:lnTo>
                  <a:lnTo>
                    <a:pt x="16" y="22"/>
                  </a:lnTo>
                  <a:lnTo>
                    <a:pt x="12" y="16"/>
                  </a:lnTo>
                  <a:lnTo>
                    <a:pt x="6" y="14"/>
                  </a:lnTo>
                  <a:lnTo>
                    <a:pt x="0"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4" name="Freeform 111"/>
            <p:cNvSpPr>
              <a:spLocks/>
            </p:cNvSpPr>
            <p:nvPr/>
          </p:nvSpPr>
          <p:spPr bwMode="auto">
            <a:xfrm>
              <a:off x="5892800" y="3235325"/>
              <a:ext cx="687388" cy="781050"/>
            </a:xfrm>
            <a:custGeom>
              <a:avLst/>
              <a:gdLst>
                <a:gd name="T0" fmla="*/ 2147483647 w 1690"/>
                <a:gd name="T1" fmla="*/ 2147483647 h 1898"/>
                <a:gd name="T2" fmla="*/ 2147483647 w 1690"/>
                <a:gd name="T3" fmla="*/ 2147483647 h 1898"/>
                <a:gd name="T4" fmla="*/ 2147483647 w 1690"/>
                <a:gd name="T5" fmla="*/ 2147483647 h 1898"/>
                <a:gd name="T6" fmla="*/ 2147483647 w 1690"/>
                <a:gd name="T7" fmla="*/ 2147483647 h 1898"/>
                <a:gd name="T8" fmla="*/ 2147483647 w 1690"/>
                <a:gd name="T9" fmla="*/ 2147483647 h 1898"/>
                <a:gd name="T10" fmla="*/ 2147483647 w 1690"/>
                <a:gd name="T11" fmla="*/ 2147483647 h 1898"/>
                <a:gd name="T12" fmla="*/ 2147483647 w 1690"/>
                <a:gd name="T13" fmla="*/ 2147483647 h 1898"/>
                <a:gd name="T14" fmla="*/ 2147483647 w 1690"/>
                <a:gd name="T15" fmla="*/ 2147483647 h 1898"/>
                <a:gd name="T16" fmla="*/ 2147483647 w 1690"/>
                <a:gd name="T17" fmla="*/ 2147483647 h 1898"/>
                <a:gd name="T18" fmla="*/ 2147483647 w 1690"/>
                <a:gd name="T19" fmla="*/ 2147483647 h 1898"/>
                <a:gd name="T20" fmla="*/ 2147483647 w 1690"/>
                <a:gd name="T21" fmla="*/ 2147483647 h 1898"/>
                <a:gd name="T22" fmla="*/ 2147483647 w 1690"/>
                <a:gd name="T23" fmla="*/ 2147483647 h 1898"/>
                <a:gd name="T24" fmla="*/ 2147483647 w 1690"/>
                <a:gd name="T25" fmla="*/ 2147483647 h 1898"/>
                <a:gd name="T26" fmla="*/ 2147483647 w 1690"/>
                <a:gd name="T27" fmla="*/ 2147483647 h 1898"/>
                <a:gd name="T28" fmla="*/ 2147483647 w 1690"/>
                <a:gd name="T29" fmla="*/ 2147483647 h 1898"/>
                <a:gd name="T30" fmla="*/ 2147483647 w 1690"/>
                <a:gd name="T31" fmla="*/ 2147483647 h 1898"/>
                <a:gd name="T32" fmla="*/ 2147483647 w 1690"/>
                <a:gd name="T33" fmla="*/ 2147483647 h 1898"/>
                <a:gd name="T34" fmla="*/ 2147483647 w 1690"/>
                <a:gd name="T35" fmla="*/ 2147483647 h 1898"/>
                <a:gd name="T36" fmla="*/ 2147483647 w 1690"/>
                <a:gd name="T37" fmla="*/ 2147483647 h 1898"/>
                <a:gd name="T38" fmla="*/ 2147483647 w 1690"/>
                <a:gd name="T39" fmla="*/ 2147483647 h 1898"/>
                <a:gd name="T40" fmla="*/ 2147483647 w 1690"/>
                <a:gd name="T41" fmla="*/ 2147483647 h 1898"/>
                <a:gd name="T42" fmla="*/ 2147483647 w 1690"/>
                <a:gd name="T43" fmla="*/ 2147483647 h 1898"/>
                <a:gd name="T44" fmla="*/ 2147483647 w 1690"/>
                <a:gd name="T45" fmla="*/ 2147483647 h 1898"/>
                <a:gd name="T46" fmla="*/ 2147483647 w 1690"/>
                <a:gd name="T47" fmla="*/ 2147483647 h 1898"/>
                <a:gd name="T48" fmla="*/ 2147483647 w 1690"/>
                <a:gd name="T49" fmla="*/ 2147483647 h 1898"/>
                <a:gd name="T50" fmla="*/ 2147483647 w 1690"/>
                <a:gd name="T51" fmla="*/ 2147483647 h 1898"/>
                <a:gd name="T52" fmla="*/ 2147483647 w 1690"/>
                <a:gd name="T53" fmla="*/ 2147483647 h 1898"/>
                <a:gd name="T54" fmla="*/ 2147483647 w 1690"/>
                <a:gd name="T55" fmla="*/ 2147483647 h 1898"/>
                <a:gd name="T56" fmla="*/ 2147483647 w 1690"/>
                <a:gd name="T57" fmla="*/ 2147483647 h 1898"/>
                <a:gd name="T58" fmla="*/ 2147483647 w 1690"/>
                <a:gd name="T59" fmla="*/ 2147483647 h 1898"/>
                <a:gd name="T60" fmla="*/ 2147483647 w 1690"/>
                <a:gd name="T61" fmla="*/ 2147483647 h 1898"/>
                <a:gd name="T62" fmla="*/ 2147483647 w 1690"/>
                <a:gd name="T63" fmla="*/ 2147483647 h 1898"/>
                <a:gd name="T64" fmla="*/ 2147483647 w 1690"/>
                <a:gd name="T65" fmla="*/ 2147483647 h 1898"/>
                <a:gd name="T66" fmla="*/ 2147483647 w 1690"/>
                <a:gd name="T67" fmla="*/ 2147483647 h 1898"/>
                <a:gd name="T68" fmla="*/ 2147483647 w 1690"/>
                <a:gd name="T69" fmla="*/ 2147483647 h 1898"/>
                <a:gd name="T70" fmla="*/ 2147483647 w 1690"/>
                <a:gd name="T71" fmla="*/ 2147483647 h 1898"/>
                <a:gd name="T72" fmla="*/ 2147483647 w 1690"/>
                <a:gd name="T73" fmla="*/ 2147483647 h 1898"/>
                <a:gd name="T74" fmla="*/ 2147483647 w 1690"/>
                <a:gd name="T75" fmla="*/ 2147483647 h 1898"/>
                <a:gd name="T76" fmla="*/ 2147483647 w 1690"/>
                <a:gd name="T77" fmla="*/ 2147483647 h 1898"/>
                <a:gd name="T78" fmla="*/ 2147483647 w 1690"/>
                <a:gd name="T79" fmla="*/ 2147483647 h 1898"/>
                <a:gd name="T80" fmla="*/ 2147483647 w 1690"/>
                <a:gd name="T81" fmla="*/ 2147483647 h 1898"/>
                <a:gd name="T82" fmla="*/ 2147483647 w 1690"/>
                <a:gd name="T83" fmla="*/ 2147483647 h 1898"/>
                <a:gd name="T84" fmla="*/ 2147483647 w 1690"/>
                <a:gd name="T85" fmla="*/ 2147483647 h 1898"/>
                <a:gd name="T86" fmla="*/ 2147483647 w 1690"/>
                <a:gd name="T87" fmla="*/ 2147483647 h 1898"/>
                <a:gd name="T88" fmla="*/ 2147483647 w 1690"/>
                <a:gd name="T89" fmla="*/ 2147483647 h 1898"/>
                <a:gd name="T90" fmla="*/ 2147483647 w 1690"/>
                <a:gd name="T91" fmla="*/ 2147483647 h 1898"/>
                <a:gd name="T92" fmla="*/ 2147483647 w 1690"/>
                <a:gd name="T93" fmla="*/ 2147483647 h 1898"/>
                <a:gd name="T94" fmla="*/ 2147483647 w 1690"/>
                <a:gd name="T95" fmla="*/ 2147483647 h 1898"/>
                <a:gd name="T96" fmla="*/ 2147483647 w 1690"/>
                <a:gd name="T97" fmla="*/ 2147483647 h 1898"/>
                <a:gd name="T98" fmla="*/ 2147483647 w 1690"/>
                <a:gd name="T99" fmla="*/ 2147483647 h 1898"/>
                <a:gd name="T100" fmla="*/ 2147483647 w 1690"/>
                <a:gd name="T101" fmla="*/ 2147483647 h 1898"/>
                <a:gd name="T102" fmla="*/ 2147483647 w 1690"/>
                <a:gd name="T103" fmla="*/ 2147483647 h 1898"/>
                <a:gd name="T104" fmla="*/ 2147483647 w 1690"/>
                <a:gd name="T105" fmla="*/ 2147483647 h 1898"/>
                <a:gd name="T106" fmla="*/ 2147483647 w 1690"/>
                <a:gd name="T107" fmla="*/ 2147483647 h 1898"/>
                <a:gd name="T108" fmla="*/ 2147483647 w 1690"/>
                <a:gd name="T109" fmla="*/ 2147483647 h 1898"/>
                <a:gd name="T110" fmla="*/ 2147483647 w 1690"/>
                <a:gd name="T111" fmla="*/ 2147483647 h 1898"/>
                <a:gd name="T112" fmla="*/ 2147483647 w 1690"/>
                <a:gd name="T113" fmla="*/ 2147483647 h 1898"/>
                <a:gd name="T114" fmla="*/ 2147483647 w 1690"/>
                <a:gd name="T115" fmla="*/ 2147483647 h 1898"/>
                <a:gd name="T116" fmla="*/ 2147483647 w 1690"/>
                <a:gd name="T117" fmla="*/ 2147483647 h 1898"/>
                <a:gd name="T118" fmla="*/ 2147483647 w 1690"/>
                <a:gd name="T119" fmla="*/ 2147483647 h 1898"/>
                <a:gd name="T120" fmla="*/ 2147483647 w 1690"/>
                <a:gd name="T121" fmla="*/ 2147483647 h 1898"/>
                <a:gd name="T122" fmla="*/ 2147483647 w 1690"/>
                <a:gd name="T123" fmla="*/ 2147483647 h 1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690"/>
                <a:gd name="T187" fmla="*/ 0 h 1898"/>
                <a:gd name="T188" fmla="*/ 1690 w 1690"/>
                <a:gd name="T189" fmla="*/ 1898 h 1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690" h="1898">
                  <a:moveTo>
                    <a:pt x="0" y="812"/>
                  </a:moveTo>
                  <a:lnTo>
                    <a:pt x="2" y="806"/>
                  </a:lnTo>
                  <a:lnTo>
                    <a:pt x="4" y="800"/>
                  </a:lnTo>
                  <a:lnTo>
                    <a:pt x="10" y="800"/>
                  </a:lnTo>
                  <a:lnTo>
                    <a:pt x="16" y="798"/>
                  </a:lnTo>
                  <a:lnTo>
                    <a:pt x="22" y="798"/>
                  </a:lnTo>
                  <a:lnTo>
                    <a:pt x="30" y="798"/>
                  </a:lnTo>
                  <a:lnTo>
                    <a:pt x="32" y="792"/>
                  </a:lnTo>
                  <a:lnTo>
                    <a:pt x="32" y="786"/>
                  </a:lnTo>
                  <a:lnTo>
                    <a:pt x="30" y="780"/>
                  </a:lnTo>
                  <a:lnTo>
                    <a:pt x="30" y="776"/>
                  </a:lnTo>
                  <a:lnTo>
                    <a:pt x="30" y="774"/>
                  </a:lnTo>
                  <a:lnTo>
                    <a:pt x="36" y="776"/>
                  </a:lnTo>
                  <a:lnTo>
                    <a:pt x="42" y="774"/>
                  </a:lnTo>
                  <a:lnTo>
                    <a:pt x="48" y="778"/>
                  </a:lnTo>
                  <a:lnTo>
                    <a:pt x="50" y="776"/>
                  </a:lnTo>
                  <a:lnTo>
                    <a:pt x="56" y="778"/>
                  </a:lnTo>
                  <a:lnTo>
                    <a:pt x="58" y="778"/>
                  </a:lnTo>
                  <a:lnTo>
                    <a:pt x="64" y="776"/>
                  </a:lnTo>
                  <a:lnTo>
                    <a:pt x="72" y="776"/>
                  </a:lnTo>
                  <a:lnTo>
                    <a:pt x="76" y="778"/>
                  </a:lnTo>
                  <a:lnTo>
                    <a:pt x="82" y="778"/>
                  </a:lnTo>
                  <a:lnTo>
                    <a:pt x="88" y="784"/>
                  </a:lnTo>
                  <a:lnTo>
                    <a:pt x="94" y="784"/>
                  </a:lnTo>
                  <a:lnTo>
                    <a:pt x="100" y="784"/>
                  </a:lnTo>
                  <a:lnTo>
                    <a:pt x="106" y="784"/>
                  </a:lnTo>
                  <a:lnTo>
                    <a:pt x="110" y="784"/>
                  </a:lnTo>
                  <a:lnTo>
                    <a:pt x="110" y="782"/>
                  </a:lnTo>
                  <a:lnTo>
                    <a:pt x="112" y="776"/>
                  </a:lnTo>
                  <a:lnTo>
                    <a:pt x="118" y="774"/>
                  </a:lnTo>
                  <a:lnTo>
                    <a:pt x="124" y="770"/>
                  </a:lnTo>
                  <a:lnTo>
                    <a:pt x="130" y="768"/>
                  </a:lnTo>
                  <a:lnTo>
                    <a:pt x="136" y="766"/>
                  </a:lnTo>
                  <a:lnTo>
                    <a:pt x="140" y="772"/>
                  </a:lnTo>
                  <a:lnTo>
                    <a:pt x="142" y="778"/>
                  </a:lnTo>
                  <a:lnTo>
                    <a:pt x="148" y="780"/>
                  </a:lnTo>
                  <a:lnTo>
                    <a:pt x="154" y="780"/>
                  </a:lnTo>
                  <a:lnTo>
                    <a:pt x="158" y="774"/>
                  </a:lnTo>
                  <a:lnTo>
                    <a:pt x="164" y="772"/>
                  </a:lnTo>
                  <a:lnTo>
                    <a:pt x="170" y="768"/>
                  </a:lnTo>
                  <a:lnTo>
                    <a:pt x="164" y="766"/>
                  </a:lnTo>
                  <a:lnTo>
                    <a:pt x="162" y="758"/>
                  </a:lnTo>
                  <a:lnTo>
                    <a:pt x="160" y="754"/>
                  </a:lnTo>
                  <a:lnTo>
                    <a:pt x="166" y="750"/>
                  </a:lnTo>
                  <a:lnTo>
                    <a:pt x="164" y="744"/>
                  </a:lnTo>
                  <a:lnTo>
                    <a:pt x="160" y="738"/>
                  </a:lnTo>
                  <a:lnTo>
                    <a:pt x="156" y="732"/>
                  </a:lnTo>
                  <a:lnTo>
                    <a:pt x="154" y="728"/>
                  </a:lnTo>
                  <a:lnTo>
                    <a:pt x="152" y="722"/>
                  </a:lnTo>
                  <a:lnTo>
                    <a:pt x="150" y="716"/>
                  </a:lnTo>
                  <a:lnTo>
                    <a:pt x="144" y="710"/>
                  </a:lnTo>
                  <a:lnTo>
                    <a:pt x="140" y="704"/>
                  </a:lnTo>
                  <a:lnTo>
                    <a:pt x="136" y="698"/>
                  </a:lnTo>
                  <a:lnTo>
                    <a:pt x="136" y="692"/>
                  </a:lnTo>
                  <a:lnTo>
                    <a:pt x="136" y="686"/>
                  </a:lnTo>
                  <a:lnTo>
                    <a:pt x="134" y="680"/>
                  </a:lnTo>
                  <a:lnTo>
                    <a:pt x="128" y="678"/>
                  </a:lnTo>
                  <a:lnTo>
                    <a:pt x="122" y="680"/>
                  </a:lnTo>
                  <a:lnTo>
                    <a:pt x="116" y="680"/>
                  </a:lnTo>
                  <a:lnTo>
                    <a:pt x="110" y="678"/>
                  </a:lnTo>
                  <a:lnTo>
                    <a:pt x="110" y="676"/>
                  </a:lnTo>
                  <a:lnTo>
                    <a:pt x="106" y="670"/>
                  </a:lnTo>
                  <a:lnTo>
                    <a:pt x="100" y="664"/>
                  </a:lnTo>
                  <a:lnTo>
                    <a:pt x="96" y="658"/>
                  </a:lnTo>
                  <a:lnTo>
                    <a:pt x="96" y="652"/>
                  </a:lnTo>
                  <a:lnTo>
                    <a:pt x="98" y="648"/>
                  </a:lnTo>
                  <a:lnTo>
                    <a:pt x="100" y="642"/>
                  </a:lnTo>
                  <a:lnTo>
                    <a:pt x="98" y="636"/>
                  </a:lnTo>
                  <a:lnTo>
                    <a:pt x="98" y="630"/>
                  </a:lnTo>
                  <a:lnTo>
                    <a:pt x="98" y="624"/>
                  </a:lnTo>
                  <a:lnTo>
                    <a:pt x="92" y="618"/>
                  </a:lnTo>
                  <a:lnTo>
                    <a:pt x="88" y="616"/>
                  </a:lnTo>
                  <a:lnTo>
                    <a:pt x="86" y="618"/>
                  </a:lnTo>
                  <a:lnTo>
                    <a:pt x="84" y="618"/>
                  </a:lnTo>
                  <a:lnTo>
                    <a:pt x="78" y="618"/>
                  </a:lnTo>
                  <a:lnTo>
                    <a:pt x="72" y="614"/>
                  </a:lnTo>
                  <a:lnTo>
                    <a:pt x="66" y="610"/>
                  </a:lnTo>
                  <a:lnTo>
                    <a:pt x="60" y="608"/>
                  </a:lnTo>
                  <a:lnTo>
                    <a:pt x="54" y="602"/>
                  </a:lnTo>
                  <a:lnTo>
                    <a:pt x="54" y="598"/>
                  </a:lnTo>
                  <a:lnTo>
                    <a:pt x="54" y="592"/>
                  </a:lnTo>
                  <a:lnTo>
                    <a:pt x="54" y="584"/>
                  </a:lnTo>
                  <a:lnTo>
                    <a:pt x="56" y="580"/>
                  </a:lnTo>
                  <a:lnTo>
                    <a:pt x="58" y="574"/>
                  </a:lnTo>
                  <a:lnTo>
                    <a:pt x="64" y="568"/>
                  </a:lnTo>
                  <a:lnTo>
                    <a:pt x="70" y="562"/>
                  </a:lnTo>
                  <a:lnTo>
                    <a:pt x="72" y="556"/>
                  </a:lnTo>
                  <a:lnTo>
                    <a:pt x="76" y="550"/>
                  </a:lnTo>
                  <a:lnTo>
                    <a:pt x="80" y="544"/>
                  </a:lnTo>
                  <a:lnTo>
                    <a:pt x="80" y="538"/>
                  </a:lnTo>
                  <a:lnTo>
                    <a:pt x="82" y="532"/>
                  </a:lnTo>
                  <a:lnTo>
                    <a:pt x="86" y="528"/>
                  </a:lnTo>
                  <a:lnTo>
                    <a:pt x="92" y="522"/>
                  </a:lnTo>
                  <a:lnTo>
                    <a:pt x="98" y="518"/>
                  </a:lnTo>
                  <a:lnTo>
                    <a:pt x="104" y="516"/>
                  </a:lnTo>
                  <a:lnTo>
                    <a:pt x="110" y="522"/>
                  </a:lnTo>
                  <a:lnTo>
                    <a:pt x="114" y="528"/>
                  </a:lnTo>
                  <a:lnTo>
                    <a:pt x="116" y="534"/>
                  </a:lnTo>
                  <a:lnTo>
                    <a:pt x="122" y="540"/>
                  </a:lnTo>
                  <a:lnTo>
                    <a:pt x="126" y="540"/>
                  </a:lnTo>
                  <a:lnTo>
                    <a:pt x="132" y="538"/>
                  </a:lnTo>
                  <a:lnTo>
                    <a:pt x="138" y="534"/>
                  </a:lnTo>
                  <a:lnTo>
                    <a:pt x="144" y="532"/>
                  </a:lnTo>
                  <a:lnTo>
                    <a:pt x="148" y="530"/>
                  </a:lnTo>
                  <a:lnTo>
                    <a:pt x="154" y="530"/>
                  </a:lnTo>
                  <a:lnTo>
                    <a:pt x="160" y="528"/>
                  </a:lnTo>
                  <a:lnTo>
                    <a:pt x="166" y="528"/>
                  </a:lnTo>
                  <a:lnTo>
                    <a:pt x="174" y="528"/>
                  </a:lnTo>
                  <a:lnTo>
                    <a:pt x="180" y="524"/>
                  </a:lnTo>
                  <a:lnTo>
                    <a:pt x="186" y="518"/>
                  </a:lnTo>
                  <a:lnTo>
                    <a:pt x="186" y="512"/>
                  </a:lnTo>
                  <a:lnTo>
                    <a:pt x="188" y="506"/>
                  </a:lnTo>
                  <a:lnTo>
                    <a:pt x="192" y="500"/>
                  </a:lnTo>
                  <a:lnTo>
                    <a:pt x="198" y="496"/>
                  </a:lnTo>
                  <a:lnTo>
                    <a:pt x="200" y="488"/>
                  </a:lnTo>
                  <a:lnTo>
                    <a:pt x="200" y="482"/>
                  </a:lnTo>
                  <a:lnTo>
                    <a:pt x="200" y="476"/>
                  </a:lnTo>
                  <a:lnTo>
                    <a:pt x="202" y="470"/>
                  </a:lnTo>
                  <a:lnTo>
                    <a:pt x="210" y="464"/>
                  </a:lnTo>
                  <a:lnTo>
                    <a:pt x="216" y="460"/>
                  </a:lnTo>
                  <a:lnTo>
                    <a:pt x="222" y="456"/>
                  </a:lnTo>
                  <a:lnTo>
                    <a:pt x="228" y="452"/>
                  </a:lnTo>
                  <a:lnTo>
                    <a:pt x="234" y="448"/>
                  </a:lnTo>
                  <a:lnTo>
                    <a:pt x="236" y="442"/>
                  </a:lnTo>
                  <a:lnTo>
                    <a:pt x="240" y="436"/>
                  </a:lnTo>
                  <a:lnTo>
                    <a:pt x="242" y="432"/>
                  </a:lnTo>
                  <a:lnTo>
                    <a:pt x="244" y="424"/>
                  </a:lnTo>
                  <a:lnTo>
                    <a:pt x="246" y="420"/>
                  </a:lnTo>
                  <a:lnTo>
                    <a:pt x="248" y="412"/>
                  </a:lnTo>
                  <a:lnTo>
                    <a:pt x="250" y="406"/>
                  </a:lnTo>
                  <a:lnTo>
                    <a:pt x="250" y="400"/>
                  </a:lnTo>
                  <a:lnTo>
                    <a:pt x="252" y="394"/>
                  </a:lnTo>
                  <a:lnTo>
                    <a:pt x="252" y="388"/>
                  </a:lnTo>
                  <a:lnTo>
                    <a:pt x="258" y="382"/>
                  </a:lnTo>
                  <a:lnTo>
                    <a:pt x="260" y="382"/>
                  </a:lnTo>
                  <a:lnTo>
                    <a:pt x="266" y="378"/>
                  </a:lnTo>
                  <a:lnTo>
                    <a:pt x="272" y="376"/>
                  </a:lnTo>
                  <a:lnTo>
                    <a:pt x="278" y="372"/>
                  </a:lnTo>
                  <a:lnTo>
                    <a:pt x="280" y="370"/>
                  </a:lnTo>
                  <a:lnTo>
                    <a:pt x="284" y="368"/>
                  </a:lnTo>
                  <a:lnTo>
                    <a:pt x="280" y="362"/>
                  </a:lnTo>
                  <a:lnTo>
                    <a:pt x="280" y="360"/>
                  </a:lnTo>
                  <a:lnTo>
                    <a:pt x="278" y="358"/>
                  </a:lnTo>
                  <a:lnTo>
                    <a:pt x="274" y="356"/>
                  </a:lnTo>
                  <a:lnTo>
                    <a:pt x="274" y="354"/>
                  </a:lnTo>
                  <a:lnTo>
                    <a:pt x="280" y="350"/>
                  </a:lnTo>
                  <a:lnTo>
                    <a:pt x="284" y="344"/>
                  </a:lnTo>
                  <a:lnTo>
                    <a:pt x="284" y="338"/>
                  </a:lnTo>
                  <a:lnTo>
                    <a:pt x="290" y="332"/>
                  </a:lnTo>
                  <a:lnTo>
                    <a:pt x="292" y="326"/>
                  </a:lnTo>
                  <a:lnTo>
                    <a:pt x="294" y="322"/>
                  </a:lnTo>
                  <a:lnTo>
                    <a:pt x="300" y="320"/>
                  </a:lnTo>
                  <a:lnTo>
                    <a:pt x="306" y="314"/>
                  </a:lnTo>
                  <a:lnTo>
                    <a:pt x="308" y="312"/>
                  </a:lnTo>
                  <a:lnTo>
                    <a:pt x="306" y="312"/>
                  </a:lnTo>
                  <a:lnTo>
                    <a:pt x="306" y="310"/>
                  </a:lnTo>
                  <a:lnTo>
                    <a:pt x="308" y="308"/>
                  </a:lnTo>
                  <a:lnTo>
                    <a:pt x="312" y="310"/>
                  </a:lnTo>
                  <a:lnTo>
                    <a:pt x="314" y="306"/>
                  </a:lnTo>
                  <a:lnTo>
                    <a:pt x="308" y="304"/>
                  </a:lnTo>
                  <a:lnTo>
                    <a:pt x="304" y="302"/>
                  </a:lnTo>
                  <a:lnTo>
                    <a:pt x="304" y="296"/>
                  </a:lnTo>
                  <a:lnTo>
                    <a:pt x="304" y="290"/>
                  </a:lnTo>
                  <a:lnTo>
                    <a:pt x="304" y="286"/>
                  </a:lnTo>
                  <a:lnTo>
                    <a:pt x="306" y="280"/>
                  </a:lnTo>
                  <a:lnTo>
                    <a:pt x="302" y="274"/>
                  </a:lnTo>
                  <a:lnTo>
                    <a:pt x="300" y="270"/>
                  </a:lnTo>
                  <a:lnTo>
                    <a:pt x="296" y="264"/>
                  </a:lnTo>
                  <a:lnTo>
                    <a:pt x="296" y="262"/>
                  </a:lnTo>
                  <a:lnTo>
                    <a:pt x="296" y="256"/>
                  </a:lnTo>
                  <a:lnTo>
                    <a:pt x="302" y="250"/>
                  </a:lnTo>
                  <a:lnTo>
                    <a:pt x="308" y="246"/>
                  </a:lnTo>
                  <a:lnTo>
                    <a:pt x="314" y="242"/>
                  </a:lnTo>
                  <a:lnTo>
                    <a:pt x="318" y="238"/>
                  </a:lnTo>
                  <a:lnTo>
                    <a:pt x="320" y="238"/>
                  </a:lnTo>
                  <a:lnTo>
                    <a:pt x="326" y="238"/>
                  </a:lnTo>
                  <a:lnTo>
                    <a:pt x="330" y="234"/>
                  </a:lnTo>
                  <a:lnTo>
                    <a:pt x="336" y="230"/>
                  </a:lnTo>
                  <a:lnTo>
                    <a:pt x="338" y="224"/>
                  </a:lnTo>
                  <a:lnTo>
                    <a:pt x="334" y="220"/>
                  </a:lnTo>
                  <a:lnTo>
                    <a:pt x="332" y="218"/>
                  </a:lnTo>
                  <a:lnTo>
                    <a:pt x="326" y="214"/>
                  </a:lnTo>
                  <a:lnTo>
                    <a:pt x="320" y="212"/>
                  </a:lnTo>
                  <a:lnTo>
                    <a:pt x="314" y="210"/>
                  </a:lnTo>
                  <a:lnTo>
                    <a:pt x="308" y="212"/>
                  </a:lnTo>
                  <a:lnTo>
                    <a:pt x="302" y="210"/>
                  </a:lnTo>
                  <a:lnTo>
                    <a:pt x="296" y="210"/>
                  </a:lnTo>
                  <a:lnTo>
                    <a:pt x="292" y="204"/>
                  </a:lnTo>
                  <a:lnTo>
                    <a:pt x="292" y="202"/>
                  </a:lnTo>
                  <a:lnTo>
                    <a:pt x="292" y="196"/>
                  </a:lnTo>
                  <a:lnTo>
                    <a:pt x="288" y="190"/>
                  </a:lnTo>
                  <a:lnTo>
                    <a:pt x="282" y="190"/>
                  </a:lnTo>
                  <a:lnTo>
                    <a:pt x="276" y="188"/>
                  </a:lnTo>
                  <a:lnTo>
                    <a:pt x="270" y="186"/>
                  </a:lnTo>
                  <a:lnTo>
                    <a:pt x="270" y="184"/>
                  </a:lnTo>
                  <a:lnTo>
                    <a:pt x="270" y="178"/>
                  </a:lnTo>
                  <a:lnTo>
                    <a:pt x="266" y="172"/>
                  </a:lnTo>
                  <a:lnTo>
                    <a:pt x="260" y="172"/>
                  </a:lnTo>
                  <a:lnTo>
                    <a:pt x="254" y="166"/>
                  </a:lnTo>
                  <a:lnTo>
                    <a:pt x="252" y="164"/>
                  </a:lnTo>
                  <a:lnTo>
                    <a:pt x="246" y="160"/>
                  </a:lnTo>
                  <a:lnTo>
                    <a:pt x="246" y="154"/>
                  </a:lnTo>
                  <a:lnTo>
                    <a:pt x="250" y="148"/>
                  </a:lnTo>
                  <a:lnTo>
                    <a:pt x="252" y="142"/>
                  </a:lnTo>
                  <a:lnTo>
                    <a:pt x="250" y="136"/>
                  </a:lnTo>
                  <a:lnTo>
                    <a:pt x="246" y="132"/>
                  </a:lnTo>
                  <a:lnTo>
                    <a:pt x="240" y="128"/>
                  </a:lnTo>
                  <a:lnTo>
                    <a:pt x="238" y="124"/>
                  </a:lnTo>
                  <a:lnTo>
                    <a:pt x="236" y="122"/>
                  </a:lnTo>
                  <a:lnTo>
                    <a:pt x="238" y="122"/>
                  </a:lnTo>
                  <a:lnTo>
                    <a:pt x="242" y="116"/>
                  </a:lnTo>
                  <a:lnTo>
                    <a:pt x="246" y="114"/>
                  </a:lnTo>
                  <a:lnTo>
                    <a:pt x="252" y="110"/>
                  </a:lnTo>
                  <a:lnTo>
                    <a:pt x="250" y="104"/>
                  </a:lnTo>
                  <a:lnTo>
                    <a:pt x="244" y="104"/>
                  </a:lnTo>
                  <a:lnTo>
                    <a:pt x="238" y="102"/>
                  </a:lnTo>
                  <a:lnTo>
                    <a:pt x="232" y="104"/>
                  </a:lnTo>
                  <a:lnTo>
                    <a:pt x="228" y="98"/>
                  </a:lnTo>
                  <a:lnTo>
                    <a:pt x="232" y="92"/>
                  </a:lnTo>
                  <a:lnTo>
                    <a:pt x="230" y="86"/>
                  </a:lnTo>
                  <a:lnTo>
                    <a:pt x="224" y="82"/>
                  </a:lnTo>
                  <a:lnTo>
                    <a:pt x="218" y="80"/>
                  </a:lnTo>
                  <a:lnTo>
                    <a:pt x="218" y="76"/>
                  </a:lnTo>
                  <a:lnTo>
                    <a:pt x="220" y="70"/>
                  </a:lnTo>
                  <a:lnTo>
                    <a:pt x="222" y="64"/>
                  </a:lnTo>
                  <a:lnTo>
                    <a:pt x="224" y="58"/>
                  </a:lnTo>
                  <a:lnTo>
                    <a:pt x="230" y="56"/>
                  </a:lnTo>
                  <a:lnTo>
                    <a:pt x="236" y="52"/>
                  </a:lnTo>
                  <a:lnTo>
                    <a:pt x="242" y="50"/>
                  </a:lnTo>
                  <a:lnTo>
                    <a:pt x="246" y="50"/>
                  </a:lnTo>
                  <a:lnTo>
                    <a:pt x="252" y="52"/>
                  </a:lnTo>
                  <a:lnTo>
                    <a:pt x="258" y="54"/>
                  </a:lnTo>
                  <a:lnTo>
                    <a:pt x="264" y="56"/>
                  </a:lnTo>
                  <a:lnTo>
                    <a:pt x="270" y="58"/>
                  </a:lnTo>
                  <a:lnTo>
                    <a:pt x="276" y="58"/>
                  </a:lnTo>
                  <a:lnTo>
                    <a:pt x="282" y="60"/>
                  </a:lnTo>
                  <a:lnTo>
                    <a:pt x="286" y="60"/>
                  </a:lnTo>
                  <a:lnTo>
                    <a:pt x="292" y="62"/>
                  </a:lnTo>
                  <a:lnTo>
                    <a:pt x="298" y="62"/>
                  </a:lnTo>
                  <a:lnTo>
                    <a:pt x="300" y="62"/>
                  </a:lnTo>
                  <a:lnTo>
                    <a:pt x="306" y="66"/>
                  </a:lnTo>
                  <a:lnTo>
                    <a:pt x="312" y="68"/>
                  </a:lnTo>
                  <a:lnTo>
                    <a:pt x="318" y="68"/>
                  </a:lnTo>
                  <a:lnTo>
                    <a:pt x="322" y="70"/>
                  </a:lnTo>
                  <a:lnTo>
                    <a:pt x="330" y="70"/>
                  </a:lnTo>
                  <a:lnTo>
                    <a:pt x="336" y="64"/>
                  </a:lnTo>
                  <a:lnTo>
                    <a:pt x="342" y="60"/>
                  </a:lnTo>
                  <a:lnTo>
                    <a:pt x="344" y="58"/>
                  </a:lnTo>
                  <a:lnTo>
                    <a:pt x="348" y="58"/>
                  </a:lnTo>
                  <a:lnTo>
                    <a:pt x="352" y="58"/>
                  </a:lnTo>
                  <a:lnTo>
                    <a:pt x="356" y="56"/>
                  </a:lnTo>
                  <a:lnTo>
                    <a:pt x="362" y="52"/>
                  </a:lnTo>
                  <a:lnTo>
                    <a:pt x="368" y="52"/>
                  </a:lnTo>
                  <a:lnTo>
                    <a:pt x="374" y="54"/>
                  </a:lnTo>
                  <a:lnTo>
                    <a:pt x="380" y="52"/>
                  </a:lnTo>
                  <a:lnTo>
                    <a:pt x="382" y="46"/>
                  </a:lnTo>
                  <a:lnTo>
                    <a:pt x="384" y="40"/>
                  </a:lnTo>
                  <a:lnTo>
                    <a:pt x="388" y="40"/>
                  </a:lnTo>
                  <a:lnTo>
                    <a:pt x="390" y="40"/>
                  </a:lnTo>
                  <a:lnTo>
                    <a:pt x="390" y="42"/>
                  </a:lnTo>
                  <a:lnTo>
                    <a:pt x="394" y="36"/>
                  </a:lnTo>
                  <a:lnTo>
                    <a:pt x="396" y="34"/>
                  </a:lnTo>
                  <a:lnTo>
                    <a:pt x="394" y="28"/>
                  </a:lnTo>
                  <a:lnTo>
                    <a:pt x="394" y="26"/>
                  </a:lnTo>
                  <a:lnTo>
                    <a:pt x="402" y="22"/>
                  </a:lnTo>
                  <a:lnTo>
                    <a:pt x="406" y="18"/>
                  </a:lnTo>
                  <a:lnTo>
                    <a:pt x="414" y="14"/>
                  </a:lnTo>
                  <a:lnTo>
                    <a:pt x="420" y="8"/>
                  </a:lnTo>
                  <a:lnTo>
                    <a:pt x="426" y="4"/>
                  </a:lnTo>
                  <a:lnTo>
                    <a:pt x="432" y="0"/>
                  </a:lnTo>
                  <a:lnTo>
                    <a:pt x="436" y="4"/>
                  </a:lnTo>
                  <a:lnTo>
                    <a:pt x="440" y="2"/>
                  </a:lnTo>
                  <a:lnTo>
                    <a:pt x="446" y="4"/>
                  </a:lnTo>
                  <a:lnTo>
                    <a:pt x="446" y="10"/>
                  </a:lnTo>
                  <a:lnTo>
                    <a:pt x="446" y="12"/>
                  </a:lnTo>
                  <a:lnTo>
                    <a:pt x="446" y="14"/>
                  </a:lnTo>
                  <a:lnTo>
                    <a:pt x="448" y="16"/>
                  </a:lnTo>
                  <a:lnTo>
                    <a:pt x="452" y="24"/>
                  </a:lnTo>
                  <a:lnTo>
                    <a:pt x="456" y="30"/>
                  </a:lnTo>
                  <a:lnTo>
                    <a:pt x="460" y="36"/>
                  </a:lnTo>
                  <a:lnTo>
                    <a:pt x="460" y="38"/>
                  </a:lnTo>
                  <a:lnTo>
                    <a:pt x="462" y="40"/>
                  </a:lnTo>
                  <a:lnTo>
                    <a:pt x="466" y="44"/>
                  </a:lnTo>
                  <a:lnTo>
                    <a:pt x="468" y="50"/>
                  </a:lnTo>
                  <a:lnTo>
                    <a:pt x="470" y="56"/>
                  </a:lnTo>
                  <a:lnTo>
                    <a:pt x="476" y="62"/>
                  </a:lnTo>
                  <a:lnTo>
                    <a:pt x="480" y="64"/>
                  </a:lnTo>
                  <a:lnTo>
                    <a:pt x="482" y="64"/>
                  </a:lnTo>
                  <a:lnTo>
                    <a:pt x="488" y="66"/>
                  </a:lnTo>
                  <a:lnTo>
                    <a:pt x="494" y="66"/>
                  </a:lnTo>
                  <a:lnTo>
                    <a:pt x="500" y="68"/>
                  </a:lnTo>
                  <a:lnTo>
                    <a:pt x="506" y="74"/>
                  </a:lnTo>
                  <a:lnTo>
                    <a:pt x="508" y="76"/>
                  </a:lnTo>
                  <a:lnTo>
                    <a:pt x="512" y="76"/>
                  </a:lnTo>
                  <a:lnTo>
                    <a:pt x="516" y="80"/>
                  </a:lnTo>
                  <a:lnTo>
                    <a:pt x="520" y="84"/>
                  </a:lnTo>
                  <a:lnTo>
                    <a:pt x="520" y="90"/>
                  </a:lnTo>
                  <a:lnTo>
                    <a:pt x="514" y="96"/>
                  </a:lnTo>
                  <a:lnTo>
                    <a:pt x="508" y="98"/>
                  </a:lnTo>
                  <a:lnTo>
                    <a:pt x="508" y="104"/>
                  </a:lnTo>
                  <a:lnTo>
                    <a:pt x="512" y="110"/>
                  </a:lnTo>
                  <a:lnTo>
                    <a:pt x="516" y="116"/>
                  </a:lnTo>
                  <a:lnTo>
                    <a:pt x="516" y="122"/>
                  </a:lnTo>
                  <a:lnTo>
                    <a:pt x="518" y="126"/>
                  </a:lnTo>
                  <a:lnTo>
                    <a:pt x="518" y="128"/>
                  </a:lnTo>
                  <a:lnTo>
                    <a:pt x="520" y="134"/>
                  </a:lnTo>
                  <a:lnTo>
                    <a:pt x="520" y="136"/>
                  </a:lnTo>
                  <a:lnTo>
                    <a:pt x="522" y="142"/>
                  </a:lnTo>
                  <a:lnTo>
                    <a:pt x="530" y="146"/>
                  </a:lnTo>
                  <a:lnTo>
                    <a:pt x="534" y="152"/>
                  </a:lnTo>
                  <a:lnTo>
                    <a:pt x="538" y="154"/>
                  </a:lnTo>
                  <a:lnTo>
                    <a:pt x="546" y="158"/>
                  </a:lnTo>
                  <a:lnTo>
                    <a:pt x="552" y="160"/>
                  </a:lnTo>
                  <a:lnTo>
                    <a:pt x="558" y="162"/>
                  </a:lnTo>
                  <a:lnTo>
                    <a:pt x="558" y="168"/>
                  </a:lnTo>
                  <a:lnTo>
                    <a:pt x="560" y="174"/>
                  </a:lnTo>
                  <a:lnTo>
                    <a:pt x="562" y="178"/>
                  </a:lnTo>
                  <a:lnTo>
                    <a:pt x="568" y="184"/>
                  </a:lnTo>
                  <a:lnTo>
                    <a:pt x="572" y="190"/>
                  </a:lnTo>
                  <a:lnTo>
                    <a:pt x="574" y="196"/>
                  </a:lnTo>
                  <a:lnTo>
                    <a:pt x="572" y="198"/>
                  </a:lnTo>
                  <a:lnTo>
                    <a:pt x="568" y="204"/>
                  </a:lnTo>
                  <a:lnTo>
                    <a:pt x="566" y="206"/>
                  </a:lnTo>
                  <a:lnTo>
                    <a:pt x="560" y="208"/>
                  </a:lnTo>
                  <a:lnTo>
                    <a:pt x="554" y="210"/>
                  </a:lnTo>
                  <a:lnTo>
                    <a:pt x="554" y="216"/>
                  </a:lnTo>
                  <a:lnTo>
                    <a:pt x="548" y="218"/>
                  </a:lnTo>
                  <a:lnTo>
                    <a:pt x="542" y="216"/>
                  </a:lnTo>
                  <a:lnTo>
                    <a:pt x="536" y="212"/>
                  </a:lnTo>
                  <a:lnTo>
                    <a:pt x="532" y="206"/>
                  </a:lnTo>
                  <a:lnTo>
                    <a:pt x="532" y="200"/>
                  </a:lnTo>
                  <a:lnTo>
                    <a:pt x="528" y="200"/>
                  </a:lnTo>
                  <a:lnTo>
                    <a:pt x="522" y="204"/>
                  </a:lnTo>
                  <a:lnTo>
                    <a:pt x="516" y="202"/>
                  </a:lnTo>
                  <a:lnTo>
                    <a:pt x="510" y="206"/>
                  </a:lnTo>
                  <a:lnTo>
                    <a:pt x="512" y="208"/>
                  </a:lnTo>
                  <a:lnTo>
                    <a:pt x="516" y="214"/>
                  </a:lnTo>
                  <a:lnTo>
                    <a:pt x="518" y="220"/>
                  </a:lnTo>
                  <a:lnTo>
                    <a:pt x="520" y="226"/>
                  </a:lnTo>
                  <a:lnTo>
                    <a:pt x="526" y="232"/>
                  </a:lnTo>
                  <a:lnTo>
                    <a:pt x="532" y="238"/>
                  </a:lnTo>
                  <a:lnTo>
                    <a:pt x="534" y="240"/>
                  </a:lnTo>
                  <a:lnTo>
                    <a:pt x="538" y="244"/>
                  </a:lnTo>
                  <a:lnTo>
                    <a:pt x="540" y="250"/>
                  </a:lnTo>
                  <a:lnTo>
                    <a:pt x="540" y="254"/>
                  </a:lnTo>
                  <a:lnTo>
                    <a:pt x="538" y="256"/>
                  </a:lnTo>
                  <a:lnTo>
                    <a:pt x="540" y="262"/>
                  </a:lnTo>
                  <a:lnTo>
                    <a:pt x="546" y="268"/>
                  </a:lnTo>
                  <a:lnTo>
                    <a:pt x="546" y="274"/>
                  </a:lnTo>
                  <a:lnTo>
                    <a:pt x="546" y="280"/>
                  </a:lnTo>
                  <a:lnTo>
                    <a:pt x="548" y="284"/>
                  </a:lnTo>
                  <a:lnTo>
                    <a:pt x="550" y="292"/>
                  </a:lnTo>
                  <a:lnTo>
                    <a:pt x="556" y="292"/>
                  </a:lnTo>
                  <a:lnTo>
                    <a:pt x="562" y="290"/>
                  </a:lnTo>
                  <a:lnTo>
                    <a:pt x="562" y="284"/>
                  </a:lnTo>
                  <a:lnTo>
                    <a:pt x="568" y="284"/>
                  </a:lnTo>
                  <a:lnTo>
                    <a:pt x="570" y="284"/>
                  </a:lnTo>
                  <a:lnTo>
                    <a:pt x="576" y="290"/>
                  </a:lnTo>
                  <a:lnTo>
                    <a:pt x="578" y="296"/>
                  </a:lnTo>
                  <a:lnTo>
                    <a:pt x="580" y="296"/>
                  </a:lnTo>
                  <a:lnTo>
                    <a:pt x="584" y="302"/>
                  </a:lnTo>
                  <a:lnTo>
                    <a:pt x="588" y="304"/>
                  </a:lnTo>
                  <a:lnTo>
                    <a:pt x="590" y="306"/>
                  </a:lnTo>
                  <a:lnTo>
                    <a:pt x="596" y="310"/>
                  </a:lnTo>
                  <a:lnTo>
                    <a:pt x="602" y="316"/>
                  </a:lnTo>
                  <a:lnTo>
                    <a:pt x="608" y="314"/>
                  </a:lnTo>
                  <a:lnTo>
                    <a:pt x="614" y="314"/>
                  </a:lnTo>
                  <a:lnTo>
                    <a:pt x="620" y="314"/>
                  </a:lnTo>
                  <a:lnTo>
                    <a:pt x="624" y="320"/>
                  </a:lnTo>
                  <a:lnTo>
                    <a:pt x="628" y="322"/>
                  </a:lnTo>
                  <a:lnTo>
                    <a:pt x="632" y="326"/>
                  </a:lnTo>
                  <a:lnTo>
                    <a:pt x="640" y="326"/>
                  </a:lnTo>
                  <a:lnTo>
                    <a:pt x="644" y="332"/>
                  </a:lnTo>
                  <a:lnTo>
                    <a:pt x="644" y="338"/>
                  </a:lnTo>
                  <a:lnTo>
                    <a:pt x="644" y="342"/>
                  </a:lnTo>
                  <a:lnTo>
                    <a:pt x="648" y="342"/>
                  </a:lnTo>
                  <a:lnTo>
                    <a:pt x="656" y="344"/>
                  </a:lnTo>
                  <a:lnTo>
                    <a:pt x="660" y="348"/>
                  </a:lnTo>
                  <a:lnTo>
                    <a:pt x="668" y="348"/>
                  </a:lnTo>
                  <a:lnTo>
                    <a:pt x="674" y="352"/>
                  </a:lnTo>
                  <a:lnTo>
                    <a:pt x="678" y="356"/>
                  </a:lnTo>
                  <a:lnTo>
                    <a:pt x="686" y="360"/>
                  </a:lnTo>
                  <a:lnTo>
                    <a:pt x="690" y="362"/>
                  </a:lnTo>
                  <a:lnTo>
                    <a:pt x="696" y="368"/>
                  </a:lnTo>
                  <a:lnTo>
                    <a:pt x="694" y="368"/>
                  </a:lnTo>
                  <a:lnTo>
                    <a:pt x="688" y="368"/>
                  </a:lnTo>
                  <a:lnTo>
                    <a:pt x="686" y="374"/>
                  </a:lnTo>
                  <a:lnTo>
                    <a:pt x="682" y="380"/>
                  </a:lnTo>
                  <a:lnTo>
                    <a:pt x="680" y="382"/>
                  </a:lnTo>
                  <a:lnTo>
                    <a:pt x="678" y="384"/>
                  </a:lnTo>
                  <a:lnTo>
                    <a:pt x="674" y="390"/>
                  </a:lnTo>
                  <a:lnTo>
                    <a:pt x="670" y="396"/>
                  </a:lnTo>
                  <a:lnTo>
                    <a:pt x="664" y="400"/>
                  </a:lnTo>
                  <a:lnTo>
                    <a:pt x="668" y="406"/>
                  </a:lnTo>
                  <a:lnTo>
                    <a:pt x="666" y="410"/>
                  </a:lnTo>
                  <a:lnTo>
                    <a:pt x="664" y="416"/>
                  </a:lnTo>
                  <a:lnTo>
                    <a:pt x="662" y="422"/>
                  </a:lnTo>
                  <a:lnTo>
                    <a:pt x="664" y="428"/>
                  </a:lnTo>
                  <a:lnTo>
                    <a:pt x="666" y="434"/>
                  </a:lnTo>
                  <a:lnTo>
                    <a:pt x="664" y="440"/>
                  </a:lnTo>
                  <a:lnTo>
                    <a:pt x="660" y="442"/>
                  </a:lnTo>
                  <a:lnTo>
                    <a:pt x="658" y="442"/>
                  </a:lnTo>
                  <a:lnTo>
                    <a:pt x="660" y="446"/>
                  </a:lnTo>
                  <a:lnTo>
                    <a:pt x="660" y="452"/>
                  </a:lnTo>
                  <a:lnTo>
                    <a:pt x="658" y="452"/>
                  </a:lnTo>
                  <a:lnTo>
                    <a:pt x="656" y="458"/>
                  </a:lnTo>
                  <a:lnTo>
                    <a:pt x="660" y="462"/>
                  </a:lnTo>
                  <a:lnTo>
                    <a:pt x="664" y="466"/>
                  </a:lnTo>
                  <a:lnTo>
                    <a:pt x="668" y="468"/>
                  </a:lnTo>
                  <a:lnTo>
                    <a:pt x="676" y="474"/>
                  </a:lnTo>
                  <a:lnTo>
                    <a:pt x="682" y="476"/>
                  </a:lnTo>
                  <a:lnTo>
                    <a:pt x="686" y="478"/>
                  </a:lnTo>
                  <a:lnTo>
                    <a:pt x="686" y="472"/>
                  </a:lnTo>
                  <a:lnTo>
                    <a:pt x="690" y="474"/>
                  </a:lnTo>
                  <a:lnTo>
                    <a:pt x="696" y="478"/>
                  </a:lnTo>
                  <a:lnTo>
                    <a:pt x="702" y="482"/>
                  </a:lnTo>
                  <a:lnTo>
                    <a:pt x="708" y="484"/>
                  </a:lnTo>
                  <a:lnTo>
                    <a:pt x="714" y="490"/>
                  </a:lnTo>
                  <a:lnTo>
                    <a:pt x="720" y="492"/>
                  </a:lnTo>
                  <a:lnTo>
                    <a:pt x="724" y="492"/>
                  </a:lnTo>
                  <a:lnTo>
                    <a:pt x="730" y="494"/>
                  </a:lnTo>
                  <a:lnTo>
                    <a:pt x="732" y="498"/>
                  </a:lnTo>
                  <a:lnTo>
                    <a:pt x="736" y="504"/>
                  </a:lnTo>
                  <a:lnTo>
                    <a:pt x="740" y="510"/>
                  </a:lnTo>
                  <a:lnTo>
                    <a:pt x="746" y="510"/>
                  </a:lnTo>
                  <a:lnTo>
                    <a:pt x="752" y="516"/>
                  </a:lnTo>
                  <a:lnTo>
                    <a:pt x="758" y="518"/>
                  </a:lnTo>
                  <a:lnTo>
                    <a:pt x="762" y="520"/>
                  </a:lnTo>
                  <a:lnTo>
                    <a:pt x="768" y="524"/>
                  </a:lnTo>
                  <a:lnTo>
                    <a:pt x="774" y="528"/>
                  </a:lnTo>
                  <a:lnTo>
                    <a:pt x="780" y="526"/>
                  </a:lnTo>
                  <a:lnTo>
                    <a:pt x="786" y="526"/>
                  </a:lnTo>
                  <a:lnTo>
                    <a:pt x="790" y="528"/>
                  </a:lnTo>
                  <a:lnTo>
                    <a:pt x="796" y="530"/>
                  </a:lnTo>
                  <a:lnTo>
                    <a:pt x="800" y="536"/>
                  </a:lnTo>
                  <a:lnTo>
                    <a:pt x="806" y="538"/>
                  </a:lnTo>
                  <a:lnTo>
                    <a:pt x="812" y="542"/>
                  </a:lnTo>
                  <a:lnTo>
                    <a:pt x="818" y="542"/>
                  </a:lnTo>
                  <a:lnTo>
                    <a:pt x="824" y="540"/>
                  </a:lnTo>
                  <a:lnTo>
                    <a:pt x="828" y="542"/>
                  </a:lnTo>
                  <a:lnTo>
                    <a:pt x="830" y="548"/>
                  </a:lnTo>
                  <a:lnTo>
                    <a:pt x="834" y="554"/>
                  </a:lnTo>
                  <a:lnTo>
                    <a:pt x="840" y="554"/>
                  </a:lnTo>
                  <a:lnTo>
                    <a:pt x="846" y="558"/>
                  </a:lnTo>
                  <a:lnTo>
                    <a:pt x="854" y="558"/>
                  </a:lnTo>
                  <a:lnTo>
                    <a:pt x="860" y="560"/>
                  </a:lnTo>
                  <a:lnTo>
                    <a:pt x="864" y="566"/>
                  </a:lnTo>
                  <a:lnTo>
                    <a:pt x="870" y="562"/>
                  </a:lnTo>
                  <a:lnTo>
                    <a:pt x="874" y="556"/>
                  </a:lnTo>
                  <a:lnTo>
                    <a:pt x="880" y="556"/>
                  </a:lnTo>
                  <a:lnTo>
                    <a:pt x="886" y="558"/>
                  </a:lnTo>
                  <a:lnTo>
                    <a:pt x="892" y="562"/>
                  </a:lnTo>
                  <a:lnTo>
                    <a:pt x="898" y="564"/>
                  </a:lnTo>
                  <a:lnTo>
                    <a:pt x="898" y="562"/>
                  </a:lnTo>
                  <a:lnTo>
                    <a:pt x="898" y="558"/>
                  </a:lnTo>
                  <a:lnTo>
                    <a:pt x="902" y="558"/>
                  </a:lnTo>
                  <a:lnTo>
                    <a:pt x="906" y="558"/>
                  </a:lnTo>
                  <a:lnTo>
                    <a:pt x="910" y="554"/>
                  </a:lnTo>
                  <a:lnTo>
                    <a:pt x="918" y="556"/>
                  </a:lnTo>
                  <a:lnTo>
                    <a:pt x="922" y="560"/>
                  </a:lnTo>
                  <a:lnTo>
                    <a:pt x="928" y="564"/>
                  </a:lnTo>
                  <a:lnTo>
                    <a:pt x="934" y="564"/>
                  </a:lnTo>
                  <a:lnTo>
                    <a:pt x="940" y="566"/>
                  </a:lnTo>
                  <a:lnTo>
                    <a:pt x="946" y="568"/>
                  </a:lnTo>
                  <a:lnTo>
                    <a:pt x="950" y="574"/>
                  </a:lnTo>
                  <a:lnTo>
                    <a:pt x="950" y="580"/>
                  </a:lnTo>
                  <a:lnTo>
                    <a:pt x="952" y="586"/>
                  </a:lnTo>
                  <a:lnTo>
                    <a:pt x="958" y="588"/>
                  </a:lnTo>
                  <a:lnTo>
                    <a:pt x="964" y="590"/>
                  </a:lnTo>
                  <a:lnTo>
                    <a:pt x="966" y="590"/>
                  </a:lnTo>
                  <a:lnTo>
                    <a:pt x="972" y="596"/>
                  </a:lnTo>
                  <a:lnTo>
                    <a:pt x="978" y="598"/>
                  </a:lnTo>
                  <a:lnTo>
                    <a:pt x="984" y="600"/>
                  </a:lnTo>
                  <a:lnTo>
                    <a:pt x="988" y="606"/>
                  </a:lnTo>
                  <a:lnTo>
                    <a:pt x="994" y="606"/>
                  </a:lnTo>
                  <a:lnTo>
                    <a:pt x="1000" y="604"/>
                  </a:lnTo>
                  <a:lnTo>
                    <a:pt x="1004" y="600"/>
                  </a:lnTo>
                  <a:lnTo>
                    <a:pt x="1012" y="600"/>
                  </a:lnTo>
                  <a:lnTo>
                    <a:pt x="1016" y="606"/>
                  </a:lnTo>
                  <a:lnTo>
                    <a:pt x="1018" y="612"/>
                  </a:lnTo>
                  <a:lnTo>
                    <a:pt x="1024" y="616"/>
                  </a:lnTo>
                  <a:lnTo>
                    <a:pt x="1030" y="616"/>
                  </a:lnTo>
                  <a:lnTo>
                    <a:pt x="1036" y="612"/>
                  </a:lnTo>
                  <a:lnTo>
                    <a:pt x="1042" y="616"/>
                  </a:lnTo>
                  <a:lnTo>
                    <a:pt x="1044" y="616"/>
                  </a:lnTo>
                  <a:lnTo>
                    <a:pt x="1050" y="616"/>
                  </a:lnTo>
                  <a:lnTo>
                    <a:pt x="1056" y="618"/>
                  </a:lnTo>
                  <a:lnTo>
                    <a:pt x="1062" y="620"/>
                  </a:lnTo>
                  <a:lnTo>
                    <a:pt x="1068" y="622"/>
                  </a:lnTo>
                  <a:lnTo>
                    <a:pt x="1074" y="626"/>
                  </a:lnTo>
                  <a:lnTo>
                    <a:pt x="1080" y="628"/>
                  </a:lnTo>
                  <a:lnTo>
                    <a:pt x="1084" y="628"/>
                  </a:lnTo>
                  <a:lnTo>
                    <a:pt x="1088" y="626"/>
                  </a:lnTo>
                  <a:lnTo>
                    <a:pt x="1090" y="622"/>
                  </a:lnTo>
                  <a:lnTo>
                    <a:pt x="1092" y="622"/>
                  </a:lnTo>
                  <a:lnTo>
                    <a:pt x="1098" y="618"/>
                  </a:lnTo>
                  <a:lnTo>
                    <a:pt x="1100" y="624"/>
                  </a:lnTo>
                  <a:lnTo>
                    <a:pt x="1104" y="630"/>
                  </a:lnTo>
                  <a:lnTo>
                    <a:pt x="1110" y="630"/>
                  </a:lnTo>
                  <a:lnTo>
                    <a:pt x="1116" y="634"/>
                  </a:lnTo>
                  <a:lnTo>
                    <a:pt x="1122" y="628"/>
                  </a:lnTo>
                  <a:lnTo>
                    <a:pt x="1128" y="630"/>
                  </a:lnTo>
                  <a:lnTo>
                    <a:pt x="1134" y="630"/>
                  </a:lnTo>
                  <a:lnTo>
                    <a:pt x="1140" y="630"/>
                  </a:lnTo>
                  <a:lnTo>
                    <a:pt x="1146" y="628"/>
                  </a:lnTo>
                  <a:lnTo>
                    <a:pt x="1152" y="630"/>
                  </a:lnTo>
                  <a:lnTo>
                    <a:pt x="1158" y="632"/>
                  </a:lnTo>
                  <a:lnTo>
                    <a:pt x="1160" y="626"/>
                  </a:lnTo>
                  <a:lnTo>
                    <a:pt x="1160" y="620"/>
                  </a:lnTo>
                  <a:lnTo>
                    <a:pt x="1162" y="614"/>
                  </a:lnTo>
                  <a:lnTo>
                    <a:pt x="1162" y="610"/>
                  </a:lnTo>
                  <a:lnTo>
                    <a:pt x="1162" y="604"/>
                  </a:lnTo>
                  <a:lnTo>
                    <a:pt x="1160" y="598"/>
                  </a:lnTo>
                  <a:lnTo>
                    <a:pt x="1156" y="592"/>
                  </a:lnTo>
                  <a:lnTo>
                    <a:pt x="1150" y="586"/>
                  </a:lnTo>
                  <a:lnTo>
                    <a:pt x="1146" y="580"/>
                  </a:lnTo>
                  <a:lnTo>
                    <a:pt x="1146" y="574"/>
                  </a:lnTo>
                  <a:lnTo>
                    <a:pt x="1146" y="572"/>
                  </a:lnTo>
                  <a:lnTo>
                    <a:pt x="1146" y="570"/>
                  </a:lnTo>
                  <a:lnTo>
                    <a:pt x="1146" y="564"/>
                  </a:lnTo>
                  <a:lnTo>
                    <a:pt x="1146" y="558"/>
                  </a:lnTo>
                  <a:lnTo>
                    <a:pt x="1144" y="552"/>
                  </a:lnTo>
                  <a:lnTo>
                    <a:pt x="1148" y="546"/>
                  </a:lnTo>
                  <a:lnTo>
                    <a:pt x="1148" y="540"/>
                  </a:lnTo>
                  <a:lnTo>
                    <a:pt x="1150" y="534"/>
                  </a:lnTo>
                  <a:lnTo>
                    <a:pt x="1146" y="530"/>
                  </a:lnTo>
                  <a:lnTo>
                    <a:pt x="1144" y="522"/>
                  </a:lnTo>
                  <a:lnTo>
                    <a:pt x="1150" y="522"/>
                  </a:lnTo>
                  <a:lnTo>
                    <a:pt x="1156" y="520"/>
                  </a:lnTo>
                  <a:lnTo>
                    <a:pt x="1162" y="518"/>
                  </a:lnTo>
                  <a:lnTo>
                    <a:pt x="1168" y="514"/>
                  </a:lnTo>
                  <a:lnTo>
                    <a:pt x="1174" y="514"/>
                  </a:lnTo>
                  <a:lnTo>
                    <a:pt x="1180" y="516"/>
                  </a:lnTo>
                  <a:lnTo>
                    <a:pt x="1186" y="520"/>
                  </a:lnTo>
                  <a:lnTo>
                    <a:pt x="1188" y="526"/>
                  </a:lnTo>
                  <a:lnTo>
                    <a:pt x="1190" y="532"/>
                  </a:lnTo>
                  <a:lnTo>
                    <a:pt x="1190" y="538"/>
                  </a:lnTo>
                  <a:lnTo>
                    <a:pt x="1190" y="544"/>
                  </a:lnTo>
                  <a:lnTo>
                    <a:pt x="1188" y="550"/>
                  </a:lnTo>
                  <a:lnTo>
                    <a:pt x="1188" y="556"/>
                  </a:lnTo>
                  <a:lnTo>
                    <a:pt x="1192" y="562"/>
                  </a:lnTo>
                  <a:lnTo>
                    <a:pt x="1198" y="566"/>
                  </a:lnTo>
                  <a:lnTo>
                    <a:pt x="1198" y="570"/>
                  </a:lnTo>
                  <a:lnTo>
                    <a:pt x="1192" y="572"/>
                  </a:lnTo>
                  <a:lnTo>
                    <a:pt x="1190" y="578"/>
                  </a:lnTo>
                  <a:lnTo>
                    <a:pt x="1194" y="580"/>
                  </a:lnTo>
                  <a:lnTo>
                    <a:pt x="1198" y="584"/>
                  </a:lnTo>
                  <a:lnTo>
                    <a:pt x="1202" y="590"/>
                  </a:lnTo>
                  <a:lnTo>
                    <a:pt x="1206" y="594"/>
                  </a:lnTo>
                  <a:lnTo>
                    <a:pt x="1212" y="596"/>
                  </a:lnTo>
                  <a:lnTo>
                    <a:pt x="1218" y="602"/>
                  </a:lnTo>
                  <a:lnTo>
                    <a:pt x="1224" y="602"/>
                  </a:lnTo>
                  <a:lnTo>
                    <a:pt x="1230" y="598"/>
                  </a:lnTo>
                  <a:lnTo>
                    <a:pt x="1232" y="600"/>
                  </a:lnTo>
                  <a:lnTo>
                    <a:pt x="1238" y="602"/>
                  </a:lnTo>
                  <a:lnTo>
                    <a:pt x="1244" y="604"/>
                  </a:lnTo>
                  <a:lnTo>
                    <a:pt x="1248" y="606"/>
                  </a:lnTo>
                  <a:lnTo>
                    <a:pt x="1250" y="608"/>
                  </a:lnTo>
                  <a:lnTo>
                    <a:pt x="1256" y="610"/>
                  </a:lnTo>
                  <a:lnTo>
                    <a:pt x="1262" y="610"/>
                  </a:lnTo>
                  <a:lnTo>
                    <a:pt x="1262" y="608"/>
                  </a:lnTo>
                  <a:lnTo>
                    <a:pt x="1264" y="608"/>
                  </a:lnTo>
                  <a:lnTo>
                    <a:pt x="1270" y="608"/>
                  </a:lnTo>
                  <a:lnTo>
                    <a:pt x="1276" y="606"/>
                  </a:lnTo>
                  <a:lnTo>
                    <a:pt x="1280" y="600"/>
                  </a:lnTo>
                  <a:lnTo>
                    <a:pt x="1286" y="598"/>
                  </a:lnTo>
                  <a:lnTo>
                    <a:pt x="1292" y="596"/>
                  </a:lnTo>
                  <a:lnTo>
                    <a:pt x="1298" y="600"/>
                  </a:lnTo>
                  <a:lnTo>
                    <a:pt x="1304" y="602"/>
                  </a:lnTo>
                  <a:lnTo>
                    <a:pt x="1308" y="604"/>
                  </a:lnTo>
                  <a:lnTo>
                    <a:pt x="1314" y="604"/>
                  </a:lnTo>
                  <a:lnTo>
                    <a:pt x="1322" y="604"/>
                  </a:lnTo>
                  <a:lnTo>
                    <a:pt x="1326" y="604"/>
                  </a:lnTo>
                  <a:lnTo>
                    <a:pt x="1332" y="602"/>
                  </a:lnTo>
                  <a:lnTo>
                    <a:pt x="1338" y="602"/>
                  </a:lnTo>
                  <a:lnTo>
                    <a:pt x="1344" y="604"/>
                  </a:lnTo>
                  <a:lnTo>
                    <a:pt x="1350" y="602"/>
                  </a:lnTo>
                  <a:lnTo>
                    <a:pt x="1356" y="598"/>
                  </a:lnTo>
                  <a:lnTo>
                    <a:pt x="1362" y="602"/>
                  </a:lnTo>
                  <a:lnTo>
                    <a:pt x="1368" y="602"/>
                  </a:lnTo>
                  <a:lnTo>
                    <a:pt x="1374" y="600"/>
                  </a:lnTo>
                  <a:lnTo>
                    <a:pt x="1380" y="600"/>
                  </a:lnTo>
                  <a:lnTo>
                    <a:pt x="1386" y="598"/>
                  </a:lnTo>
                  <a:lnTo>
                    <a:pt x="1392" y="598"/>
                  </a:lnTo>
                  <a:lnTo>
                    <a:pt x="1392" y="594"/>
                  </a:lnTo>
                  <a:lnTo>
                    <a:pt x="1390" y="588"/>
                  </a:lnTo>
                  <a:lnTo>
                    <a:pt x="1384" y="582"/>
                  </a:lnTo>
                  <a:lnTo>
                    <a:pt x="1384" y="578"/>
                  </a:lnTo>
                  <a:lnTo>
                    <a:pt x="1386" y="572"/>
                  </a:lnTo>
                  <a:lnTo>
                    <a:pt x="1386" y="566"/>
                  </a:lnTo>
                  <a:lnTo>
                    <a:pt x="1382" y="560"/>
                  </a:lnTo>
                  <a:lnTo>
                    <a:pt x="1376" y="558"/>
                  </a:lnTo>
                  <a:lnTo>
                    <a:pt x="1374" y="558"/>
                  </a:lnTo>
                  <a:lnTo>
                    <a:pt x="1368" y="560"/>
                  </a:lnTo>
                  <a:lnTo>
                    <a:pt x="1362" y="556"/>
                  </a:lnTo>
                  <a:lnTo>
                    <a:pt x="1360" y="554"/>
                  </a:lnTo>
                  <a:lnTo>
                    <a:pt x="1354" y="550"/>
                  </a:lnTo>
                  <a:lnTo>
                    <a:pt x="1352" y="544"/>
                  </a:lnTo>
                  <a:lnTo>
                    <a:pt x="1354" y="538"/>
                  </a:lnTo>
                  <a:lnTo>
                    <a:pt x="1354" y="536"/>
                  </a:lnTo>
                  <a:lnTo>
                    <a:pt x="1360" y="536"/>
                  </a:lnTo>
                  <a:lnTo>
                    <a:pt x="1362" y="536"/>
                  </a:lnTo>
                  <a:lnTo>
                    <a:pt x="1368" y="538"/>
                  </a:lnTo>
                  <a:lnTo>
                    <a:pt x="1370" y="538"/>
                  </a:lnTo>
                  <a:lnTo>
                    <a:pt x="1376" y="538"/>
                  </a:lnTo>
                  <a:lnTo>
                    <a:pt x="1382" y="532"/>
                  </a:lnTo>
                  <a:lnTo>
                    <a:pt x="1388" y="532"/>
                  </a:lnTo>
                  <a:lnTo>
                    <a:pt x="1394" y="534"/>
                  </a:lnTo>
                  <a:lnTo>
                    <a:pt x="1400" y="532"/>
                  </a:lnTo>
                  <a:lnTo>
                    <a:pt x="1406" y="530"/>
                  </a:lnTo>
                  <a:lnTo>
                    <a:pt x="1412" y="524"/>
                  </a:lnTo>
                  <a:lnTo>
                    <a:pt x="1414" y="518"/>
                  </a:lnTo>
                  <a:lnTo>
                    <a:pt x="1410" y="512"/>
                  </a:lnTo>
                  <a:lnTo>
                    <a:pt x="1414" y="508"/>
                  </a:lnTo>
                  <a:lnTo>
                    <a:pt x="1420" y="506"/>
                  </a:lnTo>
                  <a:lnTo>
                    <a:pt x="1424" y="502"/>
                  </a:lnTo>
                  <a:lnTo>
                    <a:pt x="1430" y="496"/>
                  </a:lnTo>
                  <a:lnTo>
                    <a:pt x="1432" y="494"/>
                  </a:lnTo>
                  <a:lnTo>
                    <a:pt x="1434" y="492"/>
                  </a:lnTo>
                  <a:lnTo>
                    <a:pt x="1434" y="490"/>
                  </a:lnTo>
                  <a:lnTo>
                    <a:pt x="1434" y="484"/>
                  </a:lnTo>
                  <a:lnTo>
                    <a:pt x="1436" y="478"/>
                  </a:lnTo>
                  <a:lnTo>
                    <a:pt x="1442" y="474"/>
                  </a:lnTo>
                  <a:lnTo>
                    <a:pt x="1444" y="474"/>
                  </a:lnTo>
                  <a:lnTo>
                    <a:pt x="1450" y="472"/>
                  </a:lnTo>
                  <a:lnTo>
                    <a:pt x="1456" y="472"/>
                  </a:lnTo>
                  <a:lnTo>
                    <a:pt x="1462" y="470"/>
                  </a:lnTo>
                  <a:lnTo>
                    <a:pt x="1468" y="468"/>
                  </a:lnTo>
                  <a:lnTo>
                    <a:pt x="1474" y="464"/>
                  </a:lnTo>
                  <a:lnTo>
                    <a:pt x="1476" y="462"/>
                  </a:lnTo>
                  <a:lnTo>
                    <a:pt x="1480" y="456"/>
                  </a:lnTo>
                  <a:lnTo>
                    <a:pt x="1484" y="452"/>
                  </a:lnTo>
                  <a:lnTo>
                    <a:pt x="1486" y="446"/>
                  </a:lnTo>
                  <a:lnTo>
                    <a:pt x="1488" y="444"/>
                  </a:lnTo>
                  <a:lnTo>
                    <a:pt x="1494" y="440"/>
                  </a:lnTo>
                  <a:lnTo>
                    <a:pt x="1500" y="436"/>
                  </a:lnTo>
                  <a:lnTo>
                    <a:pt x="1506" y="434"/>
                  </a:lnTo>
                  <a:lnTo>
                    <a:pt x="1508" y="428"/>
                  </a:lnTo>
                  <a:lnTo>
                    <a:pt x="1514" y="430"/>
                  </a:lnTo>
                  <a:lnTo>
                    <a:pt x="1520" y="436"/>
                  </a:lnTo>
                  <a:lnTo>
                    <a:pt x="1526" y="438"/>
                  </a:lnTo>
                  <a:lnTo>
                    <a:pt x="1532" y="440"/>
                  </a:lnTo>
                  <a:lnTo>
                    <a:pt x="1532" y="442"/>
                  </a:lnTo>
                  <a:lnTo>
                    <a:pt x="1532" y="440"/>
                  </a:lnTo>
                  <a:lnTo>
                    <a:pt x="1530" y="438"/>
                  </a:lnTo>
                  <a:lnTo>
                    <a:pt x="1532" y="440"/>
                  </a:lnTo>
                  <a:lnTo>
                    <a:pt x="1538" y="440"/>
                  </a:lnTo>
                  <a:lnTo>
                    <a:pt x="1544" y="444"/>
                  </a:lnTo>
                  <a:lnTo>
                    <a:pt x="1550" y="446"/>
                  </a:lnTo>
                  <a:lnTo>
                    <a:pt x="1556" y="448"/>
                  </a:lnTo>
                  <a:lnTo>
                    <a:pt x="1562" y="446"/>
                  </a:lnTo>
                  <a:lnTo>
                    <a:pt x="1564" y="440"/>
                  </a:lnTo>
                  <a:lnTo>
                    <a:pt x="1566" y="434"/>
                  </a:lnTo>
                  <a:lnTo>
                    <a:pt x="1570" y="430"/>
                  </a:lnTo>
                  <a:lnTo>
                    <a:pt x="1576" y="426"/>
                  </a:lnTo>
                  <a:lnTo>
                    <a:pt x="1580" y="424"/>
                  </a:lnTo>
                  <a:lnTo>
                    <a:pt x="1586" y="422"/>
                  </a:lnTo>
                  <a:lnTo>
                    <a:pt x="1592" y="420"/>
                  </a:lnTo>
                  <a:lnTo>
                    <a:pt x="1598" y="424"/>
                  </a:lnTo>
                  <a:lnTo>
                    <a:pt x="1598" y="426"/>
                  </a:lnTo>
                  <a:lnTo>
                    <a:pt x="1602" y="432"/>
                  </a:lnTo>
                  <a:lnTo>
                    <a:pt x="1608" y="432"/>
                  </a:lnTo>
                  <a:lnTo>
                    <a:pt x="1612" y="436"/>
                  </a:lnTo>
                  <a:lnTo>
                    <a:pt x="1606" y="440"/>
                  </a:lnTo>
                  <a:lnTo>
                    <a:pt x="1600" y="444"/>
                  </a:lnTo>
                  <a:lnTo>
                    <a:pt x="1604" y="450"/>
                  </a:lnTo>
                  <a:lnTo>
                    <a:pt x="1604" y="452"/>
                  </a:lnTo>
                  <a:lnTo>
                    <a:pt x="1610" y="452"/>
                  </a:lnTo>
                  <a:lnTo>
                    <a:pt x="1616" y="448"/>
                  </a:lnTo>
                  <a:lnTo>
                    <a:pt x="1622" y="446"/>
                  </a:lnTo>
                  <a:lnTo>
                    <a:pt x="1622" y="452"/>
                  </a:lnTo>
                  <a:lnTo>
                    <a:pt x="1626" y="458"/>
                  </a:lnTo>
                  <a:lnTo>
                    <a:pt x="1632" y="464"/>
                  </a:lnTo>
                  <a:lnTo>
                    <a:pt x="1630" y="470"/>
                  </a:lnTo>
                  <a:lnTo>
                    <a:pt x="1626" y="476"/>
                  </a:lnTo>
                  <a:lnTo>
                    <a:pt x="1620" y="482"/>
                  </a:lnTo>
                  <a:lnTo>
                    <a:pt x="1622" y="488"/>
                  </a:lnTo>
                  <a:lnTo>
                    <a:pt x="1622" y="492"/>
                  </a:lnTo>
                  <a:lnTo>
                    <a:pt x="1626" y="496"/>
                  </a:lnTo>
                  <a:lnTo>
                    <a:pt x="1634" y="490"/>
                  </a:lnTo>
                  <a:lnTo>
                    <a:pt x="1638" y="488"/>
                  </a:lnTo>
                  <a:lnTo>
                    <a:pt x="1644" y="490"/>
                  </a:lnTo>
                  <a:lnTo>
                    <a:pt x="1650" y="494"/>
                  </a:lnTo>
                  <a:lnTo>
                    <a:pt x="1656" y="494"/>
                  </a:lnTo>
                  <a:lnTo>
                    <a:pt x="1662" y="496"/>
                  </a:lnTo>
                  <a:lnTo>
                    <a:pt x="1664" y="496"/>
                  </a:lnTo>
                  <a:lnTo>
                    <a:pt x="1670" y="494"/>
                  </a:lnTo>
                  <a:lnTo>
                    <a:pt x="1676" y="498"/>
                  </a:lnTo>
                  <a:lnTo>
                    <a:pt x="1682" y="504"/>
                  </a:lnTo>
                  <a:lnTo>
                    <a:pt x="1684" y="504"/>
                  </a:lnTo>
                  <a:lnTo>
                    <a:pt x="1684" y="510"/>
                  </a:lnTo>
                  <a:lnTo>
                    <a:pt x="1684" y="514"/>
                  </a:lnTo>
                  <a:lnTo>
                    <a:pt x="1690" y="520"/>
                  </a:lnTo>
                  <a:lnTo>
                    <a:pt x="1684" y="526"/>
                  </a:lnTo>
                  <a:lnTo>
                    <a:pt x="1680" y="532"/>
                  </a:lnTo>
                  <a:lnTo>
                    <a:pt x="1674" y="538"/>
                  </a:lnTo>
                  <a:lnTo>
                    <a:pt x="1672" y="538"/>
                  </a:lnTo>
                  <a:lnTo>
                    <a:pt x="1668" y="544"/>
                  </a:lnTo>
                  <a:lnTo>
                    <a:pt x="1668" y="550"/>
                  </a:lnTo>
                  <a:lnTo>
                    <a:pt x="1668" y="556"/>
                  </a:lnTo>
                  <a:lnTo>
                    <a:pt x="1670" y="558"/>
                  </a:lnTo>
                  <a:lnTo>
                    <a:pt x="1674" y="564"/>
                  </a:lnTo>
                  <a:lnTo>
                    <a:pt x="1680" y="570"/>
                  </a:lnTo>
                  <a:lnTo>
                    <a:pt x="1686" y="576"/>
                  </a:lnTo>
                  <a:lnTo>
                    <a:pt x="1688" y="582"/>
                  </a:lnTo>
                  <a:lnTo>
                    <a:pt x="1684" y="582"/>
                  </a:lnTo>
                  <a:lnTo>
                    <a:pt x="1678" y="580"/>
                  </a:lnTo>
                  <a:lnTo>
                    <a:pt x="1672" y="576"/>
                  </a:lnTo>
                  <a:lnTo>
                    <a:pt x="1668" y="570"/>
                  </a:lnTo>
                  <a:lnTo>
                    <a:pt x="1664" y="564"/>
                  </a:lnTo>
                  <a:lnTo>
                    <a:pt x="1656" y="566"/>
                  </a:lnTo>
                  <a:lnTo>
                    <a:pt x="1652" y="568"/>
                  </a:lnTo>
                  <a:lnTo>
                    <a:pt x="1644" y="568"/>
                  </a:lnTo>
                  <a:lnTo>
                    <a:pt x="1638" y="568"/>
                  </a:lnTo>
                  <a:lnTo>
                    <a:pt x="1632" y="570"/>
                  </a:lnTo>
                  <a:lnTo>
                    <a:pt x="1626" y="572"/>
                  </a:lnTo>
                  <a:lnTo>
                    <a:pt x="1622" y="576"/>
                  </a:lnTo>
                  <a:lnTo>
                    <a:pt x="1618" y="582"/>
                  </a:lnTo>
                  <a:lnTo>
                    <a:pt x="1616" y="588"/>
                  </a:lnTo>
                  <a:lnTo>
                    <a:pt x="1610" y="590"/>
                  </a:lnTo>
                  <a:lnTo>
                    <a:pt x="1606" y="596"/>
                  </a:lnTo>
                  <a:lnTo>
                    <a:pt x="1600" y="602"/>
                  </a:lnTo>
                  <a:lnTo>
                    <a:pt x="1596" y="602"/>
                  </a:lnTo>
                  <a:lnTo>
                    <a:pt x="1594" y="608"/>
                  </a:lnTo>
                  <a:lnTo>
                    <a:pt x="1592" y="608"/>
                  </a:lnTo>
                  <a:lnTo>
                    <a:pt x="1588" y="612"/>
                  </a:lnTo>
                  <a:lnTo>
                    <a:pt x="1582" y="610"/>
                  </a:lnTo>
                  <a:lnTo>
                    <a:pt x="1576" y="618"/>
                  </a:lnTo>
                  <a:lnTo>
                    <a:pt x="1574" y="622"/>
                  </a:lnTo>
                  <a:lnTo>
                    <a:pt x="1576" y="628"/>
                  </a:lnTo>
                  <a:lnTo>
                    <a:pt x="1576" y="636"/>
                  </a:lnTo>
                  <a:lnTo>
                    <a:pt x="1576" y="640"/>
                  </a:lnTo>
                  <a:lnTo>
                    <a:pt x="1580" y="646"/>
                  </a:lnTo>
                  <a:lnTo>
                    <a:pt x="1584" y="652"/>
                  </a:lnTo>
                  <a:lnTo>
                    <a:pt x="1584" y="658"/>
                  </a:lnTo>
                  <a:lnTo>
                    <a:pt x="1578" y="664"/>
                  </a:lnTo>
                  <a:lnTo>
                    <a:pt x="1580" y="670"/>
                  </a:lnTo>
                  <a:lnTo>
                    <a:pt x="1578" y="676"/>
                  </a:lnTo>
                  <a:lnTo>
                    <a:pt x="1576" y="680"/>
                  </a:lnTo>
                  <a:lnTo>
                    <a:pt x="1574" y="686"/>
                  </a:lnTo>
                  <a:lnTo>
                    <a:pt x="1574" y="688"/>
                  </a:lnTo>
                  <a:lnTo>
                    <a:pt x="1568" y="694"/>
                  </a:lnTo>
                  <a:lnTo>
                    <a:pt x="1562" y="696"/>
                  </a:lnTo>
                  <a:lnTo>
                    <a:pt x="1562" y="698"/>
                  </a:lnTo>
                  <a:lnTo>
                    <a:pt x="1560" y="704"/>
                  </a:lnTo>
                  <a:lnTo>
                    <a:pt x="1558" y="710"/>
                  </a:lnTo>
                  <a:lnTo>
                    <a:pt x="1564" y="716"/>
                  </a:lnTo>
                  <a:lnTo>
                    <a:pt x="1570" y="722"/>
                  </a:lnTo>
                  <a:lnTo>
                    <a:pt x="1570" y="728"/>
                  </a:lnTo>
                  <a:lnTo>
                    <a:pt x="1570" y="734"/>
                  </a:lnTo>
                  <a:lnTo>
                    <a:pt x="1566" y="740"/>
                  </a:lnTo>
                  <a:lnTo>
                    <a:pt x="1566" y="742"/>
                  </a:lnTo>
                  <a:lnTo>
                    <a:pt x="1566" y="748"/>
                  </a:lnTo>
                  <a:lnTo>
                    <a:pt x="1562" y="750"/>
                  </a:lnTo>
                  <a:lnTo>
                    <a:pt x="1560" y="756"/>
                  </a:lnTo>
                  <a:lnTo>
                    <a:pt x="1558" y="762"/>
                  </a:lnTo>
                  <a:lnTo>
                    <a:pt x="1556" y="768"/>
                  </a:lnTo>
                  <a:lnTo>
                    <a:pt x="1554" y="774"/>
                  </a:lnTo>
                  <a:lnTo>
                    <a:pt x="1552" y="780"/>
                  </a:lnTo>
                  <a:lnTo>
                    <a:pt x="1552" y="784"/>
                  </a:lnTo>
                  <a:lnTo>
                    <a:pt x="1550" y="790"/>
                  </a:lnTo>
                  <a:lnTo>
                    <a:pt x="1550" y="796"/>
                  </a:lnTo>
                  <a:lnTo>
                    <a:pt x="1548" y="802"/>
                  </a:lnTo>
                  <a:lnTo>
                    <a:pt x="1548" y="808"/>
                  </a:lnTo>
                  <a:lnTo>
                    <a:pt x="1546" y="806"/>
                  </a:lnTo>
                  <a:lnTo>
                    <a:pt x="1540" y="802"/>
                  </a:lnTo>
                  <a:lnTo>
                    <a:pt x="1532" y="800"/>
                  </a:lnTo>
                  <a:lnTo>
                    <a:pt x="1526" y="800"/>
                  </a:lnTo>
                  <a:lnTo>
                    <a:pt x="1520" y="796"/>
                  </a:lnTo>
                  <a:lnTo>
                    <a:pt x="1514" y="796"/>
                  </a:lnTo>
                  <a:lnTo>
                    <a:pt x="1508" y="800"/>
                  </a:lnTo>
                  <a:lnTo>
                    <a:pt x="1504" y="794"/>
                  </a:lnTo>
                  <a:lnTo>
                    <a:pt x="1498" y="794"/>
                  </a:lnTo>
                  <a:lnTo>
                    <a:pt x="1500" y="800"/>
                  </a:lnTo>
                  <a:lnTo>
                    <a:pt x="1502" y="806"/>
                  </a:lnTo>
                  <a:lnTo>
                    <a:pt x="1504" y="812"/>
                  </a:lnTo>
                  <a:lnTo>
                    <a:pt x="1504" y="814"/>
                  </a:lnTo>
                  <a:lnTo>
                    <a:pt x="1506" y="818"/>
                  </a:lnTo>
                  <a:lnTo>
                    <a:pt x="1508" y="818"/>
                  </a:lnTo>
                  <a:lnTo>
                    <a:pt x="1508" y="824"/>
                  </a:lnTo>
                  <a:lnTo>
                    <a:pt x="1508" y="830"/>
                  </a:lnTo>
                  <a:lnTo>
                    <a:pt x="1508" y="836"/>
                  </a:lnTo>
                  <a:lnTo>
                    <a:pt x="1506" y="842"/>
                  </a:lnTo>
                  <a:lnTo>
                    <a:pt x="1508" y="848"/>
                  </a:lnTo>
                  <a:lnTo>
                    <a:pt x="1508" y="854"/>
                  </a:lnTo>
                  <a:lnTo>
                    <a:pt x="1508" y="860"/>
                  </a:lnTo>
                  <a:lnTo>
                    <a:pt x="1508" y="862"/>
                  </a:lnTo>
                  <a:lnTo>
                    <a:pt x="1502" y="864"/>
                  </a:lnTo>
                  <a:lnTo>
                    <a:pt x="1496" y="862"/>
                  </a:lnTo>
                  <a:lnTo>
                    <a:pt x="1496" y="868"/>
                  </a:lnTo>
                  <a:lnTo>
                    <a:pt x="1496" y="874"/>
                  </a:lnTo>
                  <a:lnTo>
                    <a:pt x="1496" y="880"/>
                  </a:lnTo>
                  <a:lnTo>
                    <a:pt x="1496" y="886"/>
                  </a:lnTo>
                  <a:lnTo>
                    <a:pt x="1498" y="892"/>
                  </a:lnTo>
                  <a:lnTo>
                    <a:pt x="1498" y="898"/>
                  </a:lnTo>
                  <a:lnTo>
                    <a:pt x="1504" y="904"/>
                  </a:lnTo>
                  <a:lnTo>
                    <a:pt x="1506" y="910"/>
                  </a:lnTo>
                  <a:lnTo>
                    <a:pt x="1506" y="916"/>
                  </a:lnTo>
                  <a:lnTo>
                    <a:pt x="1506" y="922"/>
                  </a:lnTo>
                  <a:lnTo>
                    <a:pt x="1504" y="922"/>
                  </a:lnTo>
                  <a:lnTo>
                    <a:pt x="1498" y="920"/>
                  </a:lnTo>
                  <a:lnTo>
                    <a:pt x="1496" y="928"/>
                  </a:lnTo>
                  <a:lnTo>
                    <a:pt x="1496" y="932"/>
                  </a:lnTo>
                  <a:lnTo>
                    <a:pt x="1496" y="936"/>
                  </a:lnTo>
                  <a:lnTo>
                    <a:pt x="1490" y="936"/>
                  </a:lnTo>
                  <a:lnTo>
                    <a:pt x="1486" y="930"/>
                  </a:lnTo>
                  <a:lnTo>
                    <a:pt x="1484" y="928"/>
                  </a:lnTo>
                  <a:lnTo>
                    <a:pt x="1478" y="924"/>
                  </a:lnTo>
                  <a:lnTo>
                    <a:pt x="1478" y="930"/>
                  </a:lnTo>
                  <a:lnTo>
                    <a:pt x="1474" y="936"/>
                  </a:lnTo>
                  <a:lnTo>
                    <a:pt x="1472" y="930"/>
                  </a:lnTo>
                  <a:lnTo>
                    <a:pt x="1472" y="924"/>
                  </a:lnTo>
                  <a:lnTo>
                    <a:pt x="1470" y="918"/>
                  </a:lnTo>
                  <a:lnTo>
                    <a:pt x="1470" y="912"/>
                  </a:lnTo>
                  <a:lnTo>
                    <a:pt x="1466" y="906"/>
                  </a:lnTo>
                  <a:lnTo>
                    <a:pt x="1466" y="900"/>
                  </a:lnTo>
                  <a:lnTo>
                    <a:pt x="1464" y="894"/>
                  </a:lnTo>
                  <a:lnTo>
                    <a:pt x="1462" y="888"/>
                  </a:lnTo>
                  <a:lnTo>
                    <a:pt x="1458" y="882"/>
                  </a:lnTo>
                  <a:lnTo>
                    <a:pt x="1456" y="876"/>
                  </a:lnTo>
                  <a:lnTo>
                    <a:pt x="1456" y="874"/>
                  </a:lnTo>
                  <a:lnTo>
                    <a:pt x="1450" y="868"/>
                  </a:lnTo>
                  <a:lnTo>
                    <a:pt x="1450" y="862"/>
                  </a:lnTo>
                  <a:lnTo>
                    <a:pt x="1448" y="856"/>
                  </a:lnTo>
                  <a:lnTo>
                    <a:pt x="1446" y="850"/>
                  </a:lnTo>
                  <a:lnTo>
                    <a:pt x="1448" y="846"/>
                  </a:lnTo>
                  <a:lnTo>
                    <a:pt x="1448" y="842"/>
                  </a:lnTo>
                  <a:lnTo>
                    <a:pt x="1444" y="836"/>
                  </a:lnTo>
                  <a:lnTo>
                    <a:pt x="1442" y="830"/>
                  </a:lnTo>
                  <a:lnTo>
                    <a:pt x="1440" y="824"/>
                  </a:lnTo>
                  <a:lnTo>
                    <a:pt x="1438" y="818"/>
                  </a:lnTo>
                  <a:lnTo>
                    <a:pt x="1438" y="816"/>
                  </a:lnTo>
                  <a:lnTo>
                    <a:pt x="1432" y="814"/>
                  </a:lnTo>
                  <a:lnTo>
                    <a:pt x="1430" y="816"/>
                  </a:lnTo>
                  <a:lnTo>
                    <a:pt x="1426" y="822"/>
                  </a:lnTo>
                  <a:lnTo>
                    <a:pt x="1424" y="822"/>
                  </a:lnTo>
                  <a:lnTo>
                    <a:pt x="1418" y="818"/>
                  </a:lnTo>
                  <a:lnTo>
                    <a:pt x="1420" y="824"/>
                  </a:lnTo>
                  <a:lnTo>
                    <a:pt x="1422" y="830"/>
                  </a:lnTo>
                  <a:lnTo>
                    <a:pt x="1420" y="832"/>
                  </a:lnTo>
                  <a:lnTo>
                    <a:pt x="1414" y="838"/>
                  </a:lnTo>
                  <a:lnTo>
                    <a:pt x="1412" y="842"/>
                  </a:lnTo>
                  <a:lnTo>
                    <a:pt x="1412" y="848"/>
                  </a:lnTo>
                  <a:lnTo>
                    <a:pt x="1414" y="854"/>
                  </a:lnTo>
                  <a:lnTo>
                    <a:pt x="1416" y="860"/>
                  </a:lnTo>
                  <a:lnTo>
                    <a:pt x="1410" y="866"/>
                  </a:lnTo>
                  <a:lnTo>
                    <a:pt x="1408" y="868"/>
                  </a:lnTo>
                  <a:lnTo>
                    <a:pt x="1402" y="868"/>
                  </a:lnTo>
                  <a:lnTo>
                    <a:pt x="1400" y="866"/>
                  </a:lnTo>
                  <a:lnTo>
                    <a:pt x="1398" y="860"/>
                  </a:lnTo>
                  <a:lnTo>
                    <a:pt x="1396" y="854"/>
                  </a:lnTo>
                  <a:lnTo>
                    <a:pt x="1396" y="852"/>
                  </a:lnTo>
                  <a:lnTo>
                    <a:pt x="1388" y="848"/>
                  </a:lnTo>
                  <a:lnTo>
                    <a:pt x="1390" y="854"/>
                  </a:lnTo>
                  <a:lnTo>
                    <a:pt x="1388" y="860"/>
                  </a:lnTo>
                  <a:lnTo>
                    <a:pt x="1388" y="858"/>
                  </a:lnTo>
                  <a:lnTo>
                    <a:pt x="1386" y="852"/>
                  </a:lnTo>
                  <a:lnTo>
                    <a:pt x="1384" y="846"/>
                  </a:lnTo>
                  <a:lnTo>
                    <a:pt x="1382" y="840"/>
                  </a:lnTo>
                  <a:lnTo>
                    <a:pt x="1380" y="834"/>
                  </a:lnTo>
                  <a:lnTo>
                    <a:pt x="1378" y="832"/>
                  </a:lnTo>
                  <a:lnTo>
                    <a:pt x="1374" y="826"/>
                  </a:lnTo>
                  <a:lnTo>
                    <a:pt x="1372" y="820"/>
                  </a:lnTo>
                  <a:lnTo>
                    <a:pt x="1374" y="820"/>
                  </a:lnTo>
                  <a:lnTo>
                    <a:pt x="1374" y="814"/>
                  </a:lnTo>
                  <a:lnTo>
                    <a:pt x="1376" y="808"/>
                  </a:lnTo>
                  <a:lnTo>
                    <a:pt x="1374" y="802"/>
                  </a:lnTo>
                  <a:lnTo>
                    <a:pt x="1378" y="796"/>
                  </a:lnTo>
                  <a:lnTo>
                    <a:pt x="1380" y="796"/>
                  </a:lnTo>
                  <a:lnTo>
                    <a:pt x="1380" y="790"/>
                  </a:lnTo>
                  <a:lnTo>
                    <a:pt x="1386" y="790"/>
                  </a:lnTo>
                  <a:lnTo>
                    <a:pt x="1392" y="790"/>
                  </a:lnTo>
                  <a:lnTo>
                    <a:pt x="1396" y="788"/>
                  </a:lnTo>
                  <a:lnTo>
                    <a:pt x="1396" y="782"/>
                  </a:lnTo>
                  <a:lnTo>
                    <a:pt x="1398" y="786"/>
                  </a:lnTo>
                  <a:lnTo>
                    <a:pt x="1406" y="782"/>
                  </a:lnTo>
                  <a:lnTo>
                    <a:pt x="1410" y="784"/>
                  </a:lnTo>
                  <a:lnTo>
                    <a:pt x="1412" y="778"/>
                  </a:lnTo>
                  <a:lnTo>
                    <a:pt x="1412" y="772"/>
                  </a:lnTo>
                  <a:lnTo>
                    <a:pt x="1418" y="770"/>
                  </a:lnTo>
                  <a:lnTo>
                    <a:pt x="1422" y="764"/>
                  </a:lnTo>
                  <a:lnTo>
                    <a:pt x="1422" y="760"/>
                  </a:lnTo>
                  <a:lnTo>
                    <a:pt x="1424" y="754"/>
                  </a:lnTo>
                  <a:lnTo>
                    <a:pt x="1426" y="748"/>
                  </a:lnTo>
                  <a:lnTo>
                    <a:pt x="1426" y="742"/>
                  </a:lnTo>
                  <a:lnTo>
                    <a:pt x="1426" y="740"/>
                  </a:lnTo>
                  <a:lnTo>
                    <a:pt x="1424" y="736"/>
                  </a:lnTo>
                  <a:lnTo>
                    <a:pt x="1430" y="736"/>
                  </a:lnTo>
                  <a:lnTo>
                    <a:pt x="1432" y="738"/>
                  </a:lnTo>
                  <a:lnTo>
                    <a:pt x="1438" y="736"/>
                  </a:lnTo>
                  <a:lnTo>
                    <a:pt x="1440" y="734"/>
                  </a:lnTo>
                  <a:lnTo>
                    <a:pt x="1434" y="728"/>
                  </a:lnTo>
                  <a:lnTo>
                    <a:pt x="1432" y="726"/>
                  </a:lnTo>
                  <a:lnTo>
                    <a:pt x="1426" y="722"/>
                  </a:lnTo>
                  <a:lnTo>
                    <a:pt x="1420" y="720"/>
                  </a:lnTo>
                  <a:lnTo>
                    <a:pt x="1414" y="716"/>
                  </a:lnTo>
                  <a:lnTo>
                    <a:pt x="1410" y="714"/>
                  </a:lnTo>
                  <a:lnTo>
                    <a:pt x="1408" y="714"/>
                  </a:lnTo>
                  <a:lnTo>
                    <a:pt x="1402" y="716"/>
                  </a:lnTo>
                  <a:lnTo>
                    <a:pt x="1396" y="716"/>
                  </a:lnTo>
                  <a:lnTo>
                    <a:pt x="1390" y="716"/>
                  </a:lnTo>
                  <a:lnTo>
                    <a:pt x="1388" y="718"/>
                  </a:lnTo>
                  <a:lnTo>
                    <a:pt x="1384" y="718"/>
                  </a:lnTo>
                  <a:lnTo>
                    <a:pt x="1378" y="718"/>
                  </a:lnTo>
                  <a:lnTo>
                    <a:pt x="1372" y="716"/>
                  </a:lnTo>
                  <a:lnTo>
                    <a:pt x="1366" y="714"/>
                  </a:lnTo>
                  <a:lnTo>
                    <a:pt x="1362" y="714"/>
                  </a:lnTo>
                  <a:lnTo>
                    <a:pt x="1356" y="714"/>
                  </a:lnTo>
                  <a:lnTo>
                    <a:pt x="1350" y="714"/>
                  </a:lnTo>
                  <a:lnTo>
                    <a:pt x="1344" y="716"/>
                  </a:lnTo>
                  <a:lnTo>
                    <a:pt x="1338" y="716"/>
                  </a:lnTo>
                  <a:lnTo>
                    <a:pt x="1332" y="716"/>
                  </a:lnTo>
                  <a:lnTo>
                    <a:pt x="1326" y="716"/>
                  </a:lnTo>
                  <a:lnTo>
                    <a:pt x="1320" y="716"/>
                  </a:lnTo>
                  <a:lnTo>
                    <a:pt x="1314" y="716"/>
                  </a:lnTo>
                  <a:lnTo>
                    <a:pt x="1308" y="716"/>
                  </a:lnTo>
                  <a:lnTo>
                    <a:pt x="1302" y="714"/>
                  </a:lnTo>
                  <a:lnTo>
                    <a:pt x="1300" y="712"/>
                  </a:lnTo>
                  <a:lnTo>
                    <a:pt x="1294" y="712"/>
                  </a:lnTo>
                  <a:lnTo>
                    <a:pt x="1288" y="708"/>
                  </a:lnTo>
                  <a:lnTo>
                    <a:pt x="1286" y="708"/>
                  </a:lnTo>
                  <a:lnTo>
                    <a:pt x="1282" y="706"/>
                  </a:lnTo>
                  <a:lnTo>
                    <a:pt x="1278" y="708"/>
                  </a:lnTo>
                  <a:lnTo>
                    <a:pt x="1274" y="702"/>
                  </a:lnTo>
                  <a:lnTo>
                    <a:pt x="1274" y="698"/>
                  </a:lnTo>
                  <a:lnTo>
                    <a:pt x="1274" y="696"/>
                  </a:lnTo>
                  <a:lnTo>
                    <a:pt x="1274" y="694"/>
                  </a:lnTo>
                  <a:lnTo>
                    <a:pt x="1274" y="690"/>
                  </a:lnTo>
                  <a:lnTo>
                    <a:pt x="1274" y="688"/>
                  </a:lnTo>
                  <a:lnTo>
                    <a:pt x="1274" y="686"/>
                  </a:lnTo>
                  <a:lnTo>
                    <a:pt x="1272" y="680"/>
                  </a:lnTo>
                  <a:lnTo>
                    <a:pt x="1272" y="678"/>
                  </a:lnTo>
                  <a:lnTo>
                    <a:pt x="1270" y="676"/>
                  </a:lnTo>
                  <a:lnTo>
                    <a:pt x="1270" y="674"/>
                  </a:lnTo>
                  <a:lnTo>
                    <a:pt x="1270" y="672"/>
                  </a:lnTo>
                  <a:lnTo>
                    <a:pt x="1270" y="670"/>
                  </a:lnTo>
                  <a:lnTo>
                    <a:pt x="1270" y="664"/>
                  </a:lnTo>
                  <a:lnTo>
                    <a:pt x="1270" y="662"/>
                  </a:lnTo>
                  <a:lnTo>
                    <a:pt x="1268" y="662"/>
                  </a:lnTo>
                  <a:lnTo>
                    <a:pt x="1268" y="658"/>
                  </a:lnTo>
                  <a:lnTo>
                    <a:pt x="1266" y="656"/>
                  </a:lnTo>
                  <a:lnTo>
                    <a:pt x="1262" y="650"/>
                  </a:lnTo>
                  <a:lnTo>
                    <a:pt x="1258" y="648"/>
                  </a:lnTo>
                  <a:lnTo>
                    <a:pt x="1254" y="646"/>
                  </a:lnTo>
                  <a:lnTo>
                    <a:pt x="1256" y="652"/>
                  </a:lnTo>
                  <a:lnTo>
                    <a:pt x="1254" y="654"/>
                  </a:lnTo>
                  <a:lnTo>
                    <a:pt x="1252" y="660"/>
                  </a:lnTo>
                  <a:lnTo>
                    <a:pt x="1246" y="658"/>
                  </a:lnTo>
                  <a:lnTo>
                    <a:pt x="1244" y="656"/>
                  </a:lnTo>
                  <a:lnTo>
                    <a:pt x="1236" y="656"/>
                  </a:lnTo>
                  <a:lnTo>
                    <a:pt x="1232" y="650"/>
                  </a:lnTo>
                  <a:lnTo>
                    <a:pt x="1226" y="646"/>
                  </a:lnTo>
                  <a:lnTo>
                    <a:pt x="1222" y="640"/>
                  </a:lnTo>
                  <a:lnTo>
                    <a:pt x="1222" y="634"/>
                  </a:lnTo>
                  <a:lnTo>
                    <a:pt x="1216" y="630"/>
                  </a:lnTo>
                  <a:lnTo>
                    <a:pt x="1210" y="630"/>
                  </a:lnTo>
                  <a:lnTo>
                    <a:pt x="1216" y="636"/>
                  </a:lnTo>
                  <a:lnTo>
                    <a:pt x="1218" y="642"/>
                  </a:lnTo>
                  <a:lnTo>
                    <a:pt x="1214" y="642"/>
                  </a:lnTo>
                  <a:lnTo>
                    <a:pt x="1212" y="638"/>
                  </a:lnTo>
                  <a:lnTo>
                    <a:pt x="1210" y="638"/>
                  </a:lnTo>
                  <a:lnTo>
                    <a:pt x="1204" y="638"/>
                  </a:lnTo>
                  <a:lnTo>
                    <a:pt x="1202" y="638"/>
                  </a:lnTo>
                  <a:lnTo>
                    <a:pt x="1198" y="636"/>
                  </a:lnTo>
                  <a:lnTo>
                    <a:pt x="1196" y="632"/>
                  </a:lnTo>
                  <a:lnTo>
                    <a:pt x="1190" y="626"/>
                  </a:lnTo>
                  <a:lnTo>
                    <a:pt x="1184" y="622"/>
                  </a:lnTo>
                  <a:lnTo>
                    <a:pt x="1182" y="622"/>
                  </a:lnTo>
                  <a:lnTo>
                    <a:pt x="1182" y="620"/>
                  </a:lnTo>
                  <a:lnTo>
                    <a:pt x="1176" y="616"/>
                  </a:lnTo>
                  <a:lnTo>
                    <a:pt x="1176" y="618"/>
                  </a:lnTo>
                  <a:lnTo>
                    <a:pt x="1174" y="624"/>
                  </a:lnTo>
                  <a:lnTo>
                    <a:pt x="1178" y="624"/>
                  </a:lnTo>
                  <a:lnTo>
                    <a:pt x="1184" y="626"/>
                  </a:lnTo>
                  <a:lnTo>
                    <a:pt x="1186" y="632"/>
                  </a:lnTo>
                  <a:lnTo>
                    <a:pt x="1184" y="634"/>
                  </a:lnTo>
                  <a:lnTo>
                    <a:pt x="1178" y="636"/>
                  </a:lnTo>
                  <a:lnTo>
                    <a:pt x="1178" y="638"/>
                  </a:lnTo>
                  <a:lnTo>
                    <a:pt x="1174" y="644"/>
                  </a:lnTo>
                  <a:lnTo>
                    <a:pt x="1172" y="646"/>
                  </a:lnTo>
                  <a:lnTo>
                    <a:pt x="1168" y="652"/>
                  </a:lnTo>
                  <a:lnTo>
                    <a:pt x="1168" y="658"/>
                  </a:lnTo>
                  <a:lnTo>
                    <a:pt x="1166" y="664"/>
                  </a:lnTo>
                  <a:lnTo>
                    <a:pt x="1168" y="670"/>
                  </a:lnTo>
                  <a:lnTo>
                    <a:pt x="1174" y="672"/>
                  </a:lnTo>
                  <a:lnTo>
                    <a:pt x="1180" y="674"/>
                  </a:lnTo>
                  <a:lnTo>
                    <a:pt x="1184" y="678"/>
                  </a:lnTo>
                  <a:lnTo>
                    <a:pt x="1190" y="682"/>
                  </a:lnTo>
                  <a:lnTo>
                    <a:pt x="1194" y="688"/>
                  </a:lnTo>
                  <a:lnTo>
                    <a:pt x="1198" y="692"/>
                  </a:lnTo>
                  <a:lnTo>
                    <a:pt x="1206" y="694"/>
                  </a:lnTo>
                  <a:lnTo>
                    <a:pt x="1210" y="692"/>
                  </a:lnTo>
                  <a:lnTo>
                    <a:pt x="1216" y="694"/>
                  </a:lnTo>
                  <a:lnTo>
                    <a:pt x="1216" y="700"/>
                  </a:lnTo>
                  <a:lnTo>
                    <a:pt x="1222" y="706"/>
                  </a:lnTo>
                  <a:lnTo>
                    <a:pt x="1228" y="708"/>
                  </a:lnTo>
                  <a:lnTo>
                    <a:pt x="1226" y="710"/>
                  </a:lnTo>
                  <a:lnTo>
                    <a:pt x="1224" y="716"/>
                  </a:lnTo>
                  <a:lnTo>
                    <a:pt x="1220" y="714"/>
                  </a:lnTo>
                  <a:lnTo>
                    <a:pt x="1214" y="716"/>
                  </a:lnTo>
                  <a:lnTo>
                    <a:pt x="1208" y="714"/>
                  </a:lnTo>
                  <a:lnTo>
                    <a:pt x="1202" y="714"/>
                  </a:lnTo>
                  <a:lnTo>
                    <a:pt x="1196" y="716"/>
                  </a:lnTo>
                  <a:lnTo>
                    <a:pt x="1198" y="722"/>
                  </a:lnTo>
                  <a:lnTo>
                    <a:pt x="1196" y="728"/>
                  </a:lnTo>
                  <a:lnTo>
                    <a:pt x="1196" y="730"/>
                  </a:lnTo>
                  <a:lnTo>
                    <a:pt x="1194" y="732"/>
                  </a:lnTo>
                  <a:lnTo>
                    <a:pt x="1188" y="736"/>
                  </a:lnTo>
                  <a:lnTo>
                    <a:pt x="1182" y="730"/>
                  </a:lnTo>
                  <a:lnTo>
                    <a:pt x="1182" y="732"/>
                  </a:lnTo>
                  <a:lnTo>
                    <a:pt x="1182" y="738"/>
                  </a:lnTo>
                  <a:lnTo>
                    <a:pt x="1178" y="744"/>
                  </a:lnTo>
                  <a:lnTo>
                    <a:pt x="1176" y="750"/>
                  </a:lnTo>
                  <a:lnTo>
                    <a:pt x="1180" y="756"/>
                  </a:lnTo>
                  <a:lnTo>
                    <a:pt x="1184" y="762"/>
                  </a:lnTo>
                  <a:lnTo>
                    <a:pt x="1190" y="764"/>
                  </a:lnTo>
                  <a:lnTo>
                    <a:pt x="1196" y="766"/>
                  </a:lnTo>
                  <a:lnTo>
                    <a:pt x="1196" y="768"/>
                  </a:lnTo>
                  <a:lnTo>
                    <a:pt x="1198" y="768"/>
                  </a:lnTo>
                  <a:lnTo>
                    <a:pt x="1204" y="772"/>
                  </a:lnTo>
                  <a:lnTo>
                    <a:pt x="1206" y="774"/>
                  </a:lnTo>
                  <a:lnTo>
                    <a:pt x="1210" y="776"/>
                  </a:lnTo>
                  <a:lnTo>
                    <a:pt x="1218" y="776"/>
                  </a:lnTo>
                  <a:lnTo>
                    <a:pt x="1218" y="774"/>
                  </a:lnTo>
                  <a:lnTo>
                    <a:pt x="1218" y="776"/>
                  </a:lnTo>
                  <a:lnTo>
                    <a:pt x="1222" y="780"/>
                  </a:lnTo>
                  <a:lnTo>
                    <a:pt x="1222" y="784"/>
                  </a:lnTo>
                  <a:lnTo>
                    <a:pt x="1220" y="788"/>
                  </a:lnTo>
                  <a:lnTo>
                    <a:pt x="1224" y="792"/>
                  </a:lnTo>
                  <a:lnTo>
                    <a:pt x="1224" y="796"/>
                  </a:lnTo>
                  <a:lnTo>
                    <a:pt x="1224" y="798"/>
                  </a:lnTo>
                  <a:lnTo>
                    <a:pt x="1224" y="800"/>
                  </a:lnTo>
                  <a:lnTo>
                    <a:pt x="1220" y="806"/>
                  </a:lnTo>
                  <a:lnTo>
                    <a:pt x="1216" y="806"/>
                  </a:lnTo>
                  <a:lnTo>
                    <a:pt x="1216" y="812"/>
                  </a:lnTo>
                  <a:lnTo>
                    <a:pt x="1216" y="818"/>
                  </a:lnTo>
                  <a:lnTo>
                    <a:pt x="1222" y="824"/>
                  </a:lnTo>
                  <a:lnTo>
                    <a:pt x="1226" y="830"/>
                  </a:lnTo>
                  <a:lnTo>
                    <a:pt x="1232" y="830"/>
                  </a:lnTo>
                  <a:lnTo>
                    <a:pt x="1232" y="832"/>
                  </a:lnTo>
                  <a:lnTo>
                    <a:pt x="1232" y="834"/>
                  </a:lnTo>
                  <a:lnTo>
                    <a:pt x="1232" y="840"/>
                  </a:lnTo>
                  <a:lnTo>
                    <a:pt x="1230" y="842"/>
                  </a:lnTo>
                  <a:lnTo>
                    <a:pt x="1230" y="848"/>
                  </a:lnTo>
                  <a:lnTo>
                    <a:pt x="1236" y="848"/>
                  </a:lnTo>
                  <a:lnTo>
                    <a:pt x="1242" y="850"/>
                  </a:lnTo>
                  <a:lnTo>
                    <a:pt x="1244" y="856"/>
                  </a:lnTo>
                  <a:lnTo>
                    <a:pt x="1240" y="862"/>
                  </a:lnTo>
                  <a:lnTo>
                    <a:pt x="1240" y="864"/>
                  </a:lnTo>
                  <a:lnTo>
                    <a:pt x="1242" y="870"/>
                  </a:lnTo>
                  <a:lnTo>
                    <a:pt x="1244" y="874"/>
                  </a:lnTo>
                  <a:lnTo>
                    <a:pt x="1248" y="880"/>
                  </a:lnTo>
                  <a:lnTo>
                    <a:pt x="1248" y="886"/>
                  </a:lnTo>
                  <a:lnTo>
                    <a:pt x="1248" y="890"/>
                  </a:lnTo>
                  <a:lnTo>
                    <a:pt x="1250" y="892"/>
                  </a:lnTo>
                  <a:lnTo>
                    <a:pt x="1248" y="898"/>
                  </a:lnTo>
                  <a:lnTo>
                    <a:pt x="1254" y="904"/>
                  </a:lnTo>
                  <a:lnTo>
                    <a:pt x="1254" y="908"/>
                  </a:lnTo>
                  <a:lnTo>
                    <a:pt x="1256" y="914"/>
                  </a:lnTo>
                  <a:lnTo>
                    <a:pt x="1258" y="920"/>
                  </a:lnTo>
                  <a:lnTo>
                    <a:pt x="1260" y="922"/>
                  </a:lnTo>
                  <a:lnTo>
                    <a:pt x="1260" y="928"/>
                  </a:lnTo>
                  <a:lnTo>
                    <a:pt x="1258" y="926"/>
                  </a:lnTo>
                  <a:lnTo>
                    <a:pt x="1258" y="928"/>
                  </a:lnTo>
                  <a:lnTo>
                    <a:pt x="1260" y="932"/>
                  </a:lnTo>
                  <a:lnTo>
                    <a:pt x="1262" y="934"/>
                  </a:lnTo>
                  <a:lnTo>
                    <a:pt x="1260" y="940"/>
                  </a:lnTo>
                  <a:lnTo>
                    <a:pt x="1254" y="936"/>
                  </a:lnTo>
                  <a:lnTo>
                    <a:pt x="1252" y="936"/>
                  </a:lnTo>
                  <a:lnTo>
                    <a:pt x="1254" y="940"/>
                  </a:lnTo>
                  <a:lnTo>
                    <a:pt x="1258" y="942"/>
                  </a:lnTo>
                  <a:lnTo>
                    <a:pt x="1258" y="944"/>
                  </a:lnTo>
                  <a:lnTo>
                    <a:pt x="1260" y="948"/>
                  </a:lnTo>
                  <a:lnTo>
                    <a:pt x="1264" y="956"/>
                  </a:lnTo>
                  <a:lnTo>
                    <a:pt x="1262" y="962"/>
                  </a:lnTo>
                  <a:lnTo>
                    <a:pt x="1258" y="960"/>
                  </a:lnTo>
                  <a:lnTo>
                    <a:pt x="1254" y="958"/>
                  </a:lnTo>
                  <a:lnTo>
                    <a:pt x="1252" y="952"/>
                  </a:lnTo>
                  <a:lnTo>
                    <a:pt x="1250" y="952"/>
                  </a:lnTo>
                  <a:lnTo>
                    <a:pt x="1250" y="958"/>
                  </a:lnTo>
                  <a:lnTo>
                    <a:pt x="1248" y="960"/>
                  </a:lnTo>
                  <a:lnTo>
                    <a:pt x="1244" y="960"/>
                  </a:lnTo>
                  <a:lnTo>
                    <a:pt x="1242" y="954"/>
                  </a:lnTo>
                  <a:lnTo>
                    <a:pt x="1242" y="950"/>
                  </a:lnTo>
                  <a:lnTo>
                    <a:pt x="1240" y="944"/>
                  </a:lnTo>
                  <a:lnTo>
                    <a:pt x="1242" y="938"/>
                  </a:lnTo>
                  <a:lnTo>
                    <a:pt x="1242" y="932"/>
                  </a:lnTo>
                  <a:lnTo>
                    <a:pt x="1242" y="926"/>
                  </a:lnTo>
                  <a:lnTo>
                    <a:pt x="1240" y="928"/>
                  </a:lnTo>
                  <a:lnTo>
                    <a:pt x="1240" y="932"/>
                  </a:lnTo>
                  <a:lnTo>
                    <a:pt x="1236" y="940"/>
                  </a:lnTo>
                  <a:lnTo>
                    <a:pt x="1236" y="932"/>
                  </a:lnTo>
                  <a:lnTo>
                    <a:pt x="1236" y="928"/>
                  </a:lnTo>
                  <a:lnTo>
                    <a:pt x="1236" y="922"/>
                  </a:lnTo>
                  <a:lnTo>
                    <a:pt x="1234" y="928"/>
                  </a:lnTo>
                  <a:lnTo>
                    <a:pt x="1234" y="932"/>
                  </a:lnTo>
                  <a:lnTo>
                    <a:pt x="1234" y="940"/>
                  </a:lnTo>
                  <a:lnTo>
                    <a:pt x="1234" y="944"/>
                  </a:lnTo>
                  <a:lnTo>
                    <a:pt x="1234" y="950"/>
                  </a:lnTo>
                  <a:lnTo>
                    <a:pt x="1236" y="956"/>
                  </a:lnTo>
                  <a:lnTo>
                    <a:pt x="1236" y="962"/>
                  </a:lnTo>
                  <a:lnTo>
                    <a:pt x="1234" y="966"/>
                  </a:lnTo>
                  <a:lnTo>
                    <a:pt x="1234" y="968"/>
                  </a:lnTo>
                  <a:lnTo>
                    <a:pt x="1232" y="964"/>
                  </a:lnTo>
                  <a:lnTo>
                    <a:pt x="1232" y="960"/>
                  </a:lnTo>
                  <a:lnTo>
                    <a:pt x="1230" y="954"/>
                  </a:lnTo>
                  <a:lnTo>
                    <a:pt x="1232" y="948"/>
                  </a:lnTo>
                  <a:lnTo>
                    <a:pt x="1228" y="942"/>
                  </a:lnTo>
                  <a:lnTo>
                    <a:pt x="1228" y="946"/>
                  </a:lnTo>
                  <a:lnTo>
                    <a:pt x="1228" y="948"/>
                  </a:lnTo>
                  <a:lnTo>
                    <a:pt x="1228" y="950"/>
                  </a:lnTo>
                  <a:lnTo>
                    <a:pt x="1228" y="956"/>
                  </a:lnTo>
                  <a:lnTo>
                    <a:pt x="1228" y="962"/>
                  </a:lnTo>
                  <a:lnTo>
                    <a:pt x="1224" y="962"/>
                  </a:lnTo>
                  <a:lnTo>
                    <a:pt x="1224" y="956"/>
                  </a:lnTo>
                  <a:lnTo>
                    <a:pt x="1220" y="954"/>
                  </a:lnTo>
                  <a:lnTo>
                    <a:pt x="1220" y="960"/>
                  </a:lnTo>
                  <a:lnTo>
                    <a:pt x="1216" y="954"/>
                  </a:lnTo>
                  <a:lnTo>
                    <a:pt x="1218" y="960"/>
                  </a:lnTo>
                  <a:lnTo>
                    <a:pt x="1216" y="966"/>
                  </a:lnTo>
                  <a:lnTo>
                    <a:pt x="1214" y="962"/>
                  </a:lnTo>
                  <a:lnTo>
                    <a:pt x="1212" y="962"/>
                  </a:lnTo>
                  <a:lnTo>
                    <a:pt x="1212" y="956"/>
                  </a:lnTo>
                  <a:lnTo>
                    <a:pt x="1212" y="952"/>
                  </a:lnTo>
                  <a:lnTo>
                    <a:pt x="1210" y="946"/>
                  </a:lnTo>
                  <a:lnTo>
                    <a:pt x="1208" y="940"/>
                  </a:lnTo>
                  <a:lnTo>
                    <a:pt x="1208" y="934"/>
                  </a:lnTo>
                  <a:lnTo>
                    <a:pt x="1210" y="928"/>
                  </a:lnTo>
                  <a:lnTo>
                    <a:pt x="1206" y="922"/>
                  </a:lnTo>
                  <a:lnTo>
                    <a:pt x="1200" y="918"/>
                  </a:lnTo>
                  <a:lnTo>
                    <a:pt x="1200" y="920"/>
                  </a:lnTo>
                  <a:lnTo>
                    <a:pt x="1194" y="916"/>
                  </a:lnTo>
                  <a:lnTo>
                    <a:pt x="1190" y="910"/>
                  </a:lnTo>
                  <a:lnTo>
                    <a:pt x="1192" y="916"/>
                  </a:lnTo>
                  <a:lnTo>
                    <a:pt x="1198" y="922"/>
                  </a:lnTo>
                  <a:lnTo>
                    <a:pt x="1204" y="922"/>
                  </a:lnTo>
                  <a:lnTo>
                    <a:pt x="1206" y="926"/>
                  </a:lnTo>
                  <a:lnTo>
                    <a:pt x="1204" y="932"/>
                  </a:lnTo>
                  <a:lnTo>
                    <a:pt x="1200" y="938"/>
                  </a:lnTo>
                  <a:lnTo>
                    <a:pt x="1198" y="944"/>
                  </a:lnTo>
                  <a:lnTo>
                    <a:pt x="1194" y="950"/>
                  </a:lnTo>
                  <a:lnTo>
                    <a:pt x="1188" y="956"/>
                  </a:lnTo>
                  <a:lnTo>
                    <a:pt x="1182" y="960"/>
                  </a:lnTo>
                  <a:lnTo>
                    <a:pt x="1176" y="960"/>
                  </a:lnTo>
                  <a:lnTo>
                    <a:pt x="1170" y="962"/>
                  </a:lnTo>
                  <a:lnTo>
                    <a:pt x="1168" y="962"/>
                  </a:lnTo>
                  <a:lnTo>
                    <a:pt x="1162" y="966"/>
                  </a:lnTo>
                  <a:lnTo>
                    <a:pt x="1156" y="966"/>
                  </a:lnTo>
                  <a:lnTo>
                    <a:pt x="1152" y="968"/>
                  </a:lnTo>
                  <a:lnTo>
                    <a:pt x="1146" y="972"/>
                  </a:lnTo>
                  <a:lnTo>
                    <a:pt x="1140" y="978"/>
                  </a:lnTo>
                  <a:lnTo>
                    <a:pt x="1138" y="984"/>
                  </a:lnTo>
                  <a:lnTo>
                    <a:pt x="1134" y="990"/>
                  </a:lnTo>
                  <a:lnTo>
                    <a:pt x="1136" y="996"/>
                  </a:lnTo>
                  <a:lnTo>
                    <a:pt x="1138" y="1002"/>
                  </a:lnTo>
                  <a:lnTo>
                    <a:pt x="1140" y="1008"/>
                  </a:lnTo>
                  <a:lnTo>
                    <a:pt x="1144" y="1014"/>
                  </a:lnTo>
                  <a:lnTo>
                    <a:pt x="1140" y="1020"/>
                  </a:lnTo>
                  <a:lnTo>
                    <a:pt x="1144" y="1024"/>
                  </a:lnTo>
                  <a:lnTo>
                    <a:pt x="1148" y="1028"/>
                  </a:lnTo>
                  <a:lnTo>
                    <a:pt x="1146" y="1030"/>
                  </a:lnTo>
                  <a:lnTo>
                    <a:pt x="1140" y="1036"/>
                  </a:lnTo>
                  <a:lnTo>
                    <a:pt x="1134" y="1042"/>
                  </a:lnTo>
                  <a:lnTo>
                    <a:pt x="1140" y="1046"/>
                  </a:lnTo>
                  <a:lnTo>
                    <a:pt x="1134" y="1052"/>
                  </a:lnTo>
                  <a:lnTo>
                    <a:pt x="1134" y="1054"/>
                  </a:lnTo>
                  <a:lnTo>
                    <a:pt x="1128" y="1058"/>
                  </a:lnTo>
                  <a:lnTo>
                    <a:pt x="1122" y="1062"/>
                  </a:lnTo>
                  <a:lnTo>
                    <a:pt x="1122" y="1068"/>
                  </a:lnTo>
                  <a:lnTo>
                    <a:pt x="1118" y="1074"/>
                  </a:lnTo>
                  <a:lnTo>
                    <a:pt x="1116" y="1074"/>
                  </a:lnTo>
                  <a:lnTo>
                    <a:pt x="1114" y="1072"/>
                  </a:lnTo>
                  <a:lnTo>
                    <a:pt x="1108" y="1070"/>
                  </a:lnTo>
                  <a:lnTo>
                    <a:pt x="1102" y="1064"/>
                  </a:lnTo>
                  <a:lnTo>
                    <a:pt x="1106" y="1070"/>
                  </a:lnTo>
                  <a:lnTo>
                    <a:pt x="1112" y="1074"/>
                  </a:lnTo>
                  <a:lnTo>
                    <a:pt x="1118" y="1076"/>
                  </a:lnTo>
                  <a:lnTo>
                    <a:pt x="1112" y="1080"/>
                  </a:lnTo>
                  <a:lnTo>
                    <a:pt x="1106" y="1082"/>
                  </a:lnTo>
                  <a:lnTo>
                    <a:pt x="1100" y="1084"/>
                  </a:lnTo>
                  <a:lnTo>
                    <a:pt x="1094" y="1086"/>
                  </a:lnTo>
                  <a:lnTo>
                    <a:pt x="1088" y="1088"/>
                  </a:lnTo>
                  <a:lnTo>
                    <a:pt x="1082" y="1090"/>
                  </a:lnTo>
                  <a:lnTo>
                    <a:pt x="1076" y="1092"/>
                  </a:lnTo>
                  <a:lnTo>
                    <a:pt x="1070" y="1094"/>
                  </a:lnTo>
                  <a:lnTo>
                    <a:pt x="1064" y="1096"/>
                  </a:lnTo>
                  <a:lnTo>
                    <a:pt x="1068" y="1094"/>
                  </a:lnTo>
                  <a:lnTo>
                    <a:pt x="1070" y="1088"/>
                  </a:lnTo>
                  <a:lnTo>
                    <a:pt x="1068" y="1082"/>
                  </a:lnTo>
                  <a:lnTo>
                    <a:pt x="1062" y="1080"/>
                  </a:lnTo>
                  <a:lnTo>
                    <a:pt x="1056" y="1086"/>
                  </a:lnTo>
                  <a:lnTo>
                    <a:pt x="1050" y="1090"/>
                  </a:lnTo>
                  <a:lnTo>
                    <a:pt x="1048" y="1096"/>
                  </a:lnTo>
                  <a:lnTo>
                    <a:pt x="1046" y="1102"/>
                  </a:lnTo>
                  <a:lnTo>
                    <a:pt x="1048" y="1108"/>
                  </a:lnTo>
                  <a:lnTo>
                    <a:pt x="1050" y="1102"/>
                  </a:lnTo>
                  <a:lnTo>
                    <a:pt x="1056" y="1098"/>
                  </a:lnTo>
                  <a:lnTo>
                    <a:pt x="1060" y="1096"/>
                  </a:lnTo>
                  <a:lnTo>
                    <a:pt x="1060" y="1098"/>
                  </a:lnTo>
                  <a:lnTo>
                    <a:pt x="1056" y="1100"/>
                  </a:lnTo>
                  <a:lnTo>
                    <a:pt x="1058" y="1102"/>
                  </a:lnTo>
                  <a:lnTo>
                    <a:pt x="1054" y="1106"/>
                  </a:lnTo>
                  <a:lnTo>
                    <a:pt x="1048" y="1112"/>
                  </a:lnTo>
                  <a:lnTo>
                    <a:pt x="1044" y="1118"/>
                  </a:lnTo>
                  <a:lnTo>
                    <a:pt x="1038" y="1122"/>
                  </a:lnTo>
                  <a:lnTo>
                    <a:pt x="1032" y="1128"/>
                  </a:lnTo>
                  <a:lnTo>
                    <a:pt x="1028" y="1134"/>
                  </a:lnTo>
                  <a:lnTo>
                    <a:pt x="1028" y="1136"/>
                  </a:lnTo>
                  <a:lnTo>
                    <a:pt x="1026" y="1142"/>
                  </a:lnTo>
                  <a:lnTo>
                    <a:pt x="1022" y="1148"/>
                  </a:lnTo>
                  <a:lnTo>
                    <a:pt x="1018" y="1154"/>
                  </a:lnTo>
                  <a:lnTo>
                    <a:pt x="1016" y="1160"/>
                  </a:lnTo>
                  <a:lnTo>
                    <a:pt x="1012" y="1164"/>
                  </a:lnTo>
                  <a:lnTo>
                    <a:pt x="1008" y="1172"/>
                  </a:lnTo>
                  <a:lnTo>
                    <a:pt x="1004" y="1178"/>
                  </a:lnTo>
                  <a:lnTo>
                    <a:pt x="998" y="1182"/>
                  </a:lnTo>
                  <a:lnTo>
                    <a:pt x="994" y="1188"/>
                  </a:lnTo>
                  <a:lnTo>
                    <a:pt x="992" y="1194"/>
                  </a:lnTo>
                  <a:lnTo>
                    <a:pt x="986" y="1196"/>
                  </a:lnTo>
                  <a:lnTo>
                    <a:pt x="982" y="1200"/>
                  </a:lnTo>
                  <a:lnTo>
                    <a:pt x="974" y="1202"/>
                  </a:lnTo>
                  <a:lnTo>
                    <a:pt x="970" y="1206"/>
                  </a:lnTo>
                  <a:lnTo>
                    <a:pt x="964" y="1210"/>
                  </a:lnTo>
                  <a:lnTo>
                    <a:pt x="962" y="1216"/>
                  </a:lnTo>
                  <a:lnTo>
                    <a:pt x="956" y="1222"/>
                  </a:lnTo>
                  <a:lnTo>
                    <a:pt x="954" y="1228"/>
                  </a:lnTo>
                  <a:lnTo>
                    <a:pt x="948" y="1232"/>
                  </a:lnTo>
                  <a:lnTo>
                    <a:pt x="946" y="1234"/>
                  </a:lnTo>
                  <a:lnTo>
                    <a:pt x="950" y="1236"/>
                  </a:lnTo>
                  <a:lnTo>
                    <a:pt x="944" y="1240"/>
                  </a:lnTo>
                  <a:lnTo>
                    <a:pt x="938" y="1244"/>
                  </a:lnTo>
                  <a:lnTo>
                    <a:pt x="932" y="1250"/>
                  </a:lnTo>
                  <a:lnTo>
                    <a:pt x="928" y="1254"/>
                  </a:lnTo>
                  <a:lnTo>
                    <a:pt x="922" y="1254"/>
                  </a:lnTo>
                  <a:lnTo>
                    <a:pt x="914" y="1258"/>
                  </a:lnTo>
                  <a:lnTo>
                    <a:pt x="910" y="1262"/>
                  </a:lnTo>
                  <a:lnTo>
                    <a:pt x="904" y="1266"/>
                  </a:lnTo>
                  <a:lnTo>
                    <a:pt x="898" y="1272"/>
                  </a:lnTo>
                  <a:lnTo>
                    <a:pt x="894" y="1278"/>
                  </a:lnTo>
                  <a:lnTo>
                    <a:pt x="892" y="1284"/>
                  </a:lnTo>
                  <a:lnTo>
                    <a:pt x="894" y="1290"/>
                  </a:lnTo>
                  <a:lnTo>
                    <a:pt x="900" y="1294"/>
                  </a:lnTo>
                  <a:lnTo>
                    <a:pt x="898" y="1300"/>
                  </a:lnTo>
                  <a:lnTo>
                    <a:pt x="896" y="1306"/>
                  </a:lnTo>
                  <a:lnTo>
                    <a:pt x="896" y="1308"/>
                  </a:lnTo>
                  <a:lnTo>
                    <a:pt x="894" y="1312"/>
                  </a:lnTo>
                  <a:lnTo>
                    <a:pt x="890" y="1316"/>
                  </a:lnTo>
                  <a:lnTo>
                    <a:pt x="884" y="1320"/>
                  </a:lnTo>
                  <a:lnTo>
                    <a:pt x="876" y="1322"/>
                  </a:lnTo>
                  <a:lnTo>
                    <a:pt x="872" y="1326"/>
                  </a:lnTo>
                  <a:lnTo>
                    <a:pt x="864" y="1328"/>
                  </a:lnTo>
                  <a:lnTo>
                    <a:pt x="860" y="1326"/>
                  </a:lnTo>
                  <a:lnTo>
                    <a:pt x="854" y="1326"/>
                  </a:lnTo>
                  <a:lnTo>
                    <a:pt x="846" y="1326"/>
                  </a:lnTo>
                  <a:lnTo>
                    <a:pt x="842" y="1324"/>
                  </a:lnTo>
                  <a:lnTo>
                    <a:pt x="834" y="1328"/>
                  </a:lnTo>
                  <a:lnTo>
                    <a:pt x="834" y="1334"/>
                  </a:lnTo>
                  <a:lnTo>
                    <a:pt x="832" y="1340"/>
                  </a:lnTo>
                  <a:lnTo>
                    <a:pt x="832" y="1346"/>
                  </a:lnTo>
                  <a:lnTo>
                    <a:pt x="830" y="1352"/>
                  </a:lnTo>
                  <a:lnTo>
                    <a:pt x="830" y="1354"/>
                  </a:lnTo>
                  <a:lnTo>
                    <a:pt x="824" y="1360"/>
                  </a:lnTo>
                  <a:lnTo>
                    <a:pt x="824" y="1366"/>
                  </a:lnTo>
                  <a:lnTo>
                    <a:pt x="818" y="1362"/>
                  </a:lnTo>
                  <a:lnTo>
                    <a:pt x="818" y="1356"/>
                  </a:lnTo>
                  <a:lnTo>
                    <a:pt x="816" y="1352"/>
                  </a:lnTo>
                  <a:lnTo>
                    <a:pt x="816" y="1358"/>
                  </a:lnTo>
                  <a:lnTo>
                    <a:pt x="814" y="1364"/>
                  </a:lnTo>
                  <a:lnTo>
                    <a:pt x="812" y="1370"/>
                  </a:lnTo>
                  <a:lnTo>
                    <a:pt x="812" y="1364"/>
                  </a:lnTo>
                  <a:lnTo>
                    <a:pt x="806" y="1358"/>
                  </a:lnTo>
                  <a:lnTo>
                    <a:pt x="800" y="1358"/>
                  </a:lnTo>
                  <a:lnTo>
                    <a:pt x="794" y="1360"/>
                  </a:lnTo>
                  <a:lnTo>
                    <a:pt x="788" y="1364"/>
                  </a:lnTo>
                  <a:lnTo>
                    <a:pt x="784" y="1368"/>
                  </a:lnTo>
                  <a:lnTo>
                    <a:pt x="778" y="1374"/>
                  </a:lnTo>
                  <a:lnTo>
                    <a:pt x="778" y="1380"/>
                  </a:lnTo>
                  <a:lnTo>
                    <a:pt x="778" y="1386"/>
                  </a:lnTo>
                  <a:lnTo>
                    <a:pt x="774" y="1392"/>
                  </a:lnTo>
                  <a:lnTo>
                    <a:pt x="772" y="1398"/>
                  </a:lnTo>
                  <a:lnTo>
                    <a:pt x="772" y="1404"/>
                  </a:lnTo>
                  <a:lnTo>
                    <a:pt x="770" y="1410"/>
                  </a:lnTo>
                  <a:lnTo>
                    <a:pt x="770" y="1416"/>
                  </a:lnTo>
                  <a:lnTo>
                    <a:pt x="772" y="1422"/>
                  </a:lnTo>
                  <a:lnTo>
                    <a:pt x="774" y="1428"/>
                  </a:lnTo>
                  <a:lnTo>
                    <a:pt x="774" y="1434"/>
                  </a:lnTo>
                  <a:lnTo>
                    <a:pt x="776" y="1440"/>
                  </a:lnTo>
                  <a:lnTo>
                    <a:pt x="780" y="1446"/>
                  </a:lnTo>
                  <a:lnTo>
                    <a:pt x="778" y="1450"/>
                  </a:lnTo>
                  <a:lnTo>
                    <a:pt x="782" y="1450"/>
                  </a:lnTo>
                  <a:lnTo>
                    <a:pt x="782" y="1456"/>
                  </a:lnTo>
                  <a:lnTo>
                    <a:pt x="782" y="1462"/>
                  </a:lnTo>
                  <a:lnTo>
                    <a:pt x="780" y="1468"/>
                  </a:lnTo>
                  <a:lnTo>
                    <a:pt x="780" y="1474"/>
                  </a:lnTo>
                  <a:lnTo>
                    <a:pt x="780" y="1480"/>
                  </a:lnTo>
                  <a:lnTo>
                    <a:pt x="782" y="1486"/>
                  </a:lnTo>
                  <a:lnTo>
                    <a:pt x="784" y="1492"/>
                  </a:lnTo>
                  <a:lnTo>
                    <a:pt x="788" y="1498"/>
                  </a:lnTo>
                  <a:lnTo>
                    <a:pt x="790" y="1504"/>
                  </a:lnTo>
                  <a:lnTo>
                    <a:pt x="788" y="1510"/>
                  </a:lnTo>
                  <a:lnTo>
                    <a:pt x="790" y="1516"/>
                  </a:lnTo>
                  <a:lnTo>
                    <a:pt x="792" y="1522"/>
                  </a:lnTo>
                  <a:lnTo>
                    <a:pt x="792" y="1520"/>
                  </a:lnTo>
                  <a:lnTo>
                    <a:pt x="788" y="1516"/>
                  </a:lnTo>
                  <a:lnTo>
                    <a:pt x="784" y="1508"/>
                  </a:lnTo>
                  <a:lnTo>
                    <a:pt x="782" y="1516"/>
                  </a:lnTo>
                  <a:lnTo>
                    <a:pt x="780" y="1510"/>
                  </a:lnTo>
                  <a:lnTo>
                    <a:pt x="778" y="1516"/>
                  </a:lnTo>
                  <a:lnTo>
                    <a:pt x="782" y="1522"/>
                  </a:lnTo>
                  <a:lnTo>
                    <a:pt x="786" y="1524"/>
                  </a:lnTo>
                  <a:lnTo>
                    <a:pt x="792" y="1526"/>
                  </a:lnTo>
                  <a:lnTo>
                    <a:pt x="796" y="1530"/>
                  </a:lnTo>
                  <a:lnTo>
                    <a:pt x="798" y="1536"/>
                  </a:lnTo>
                  <a:lnTo>
                    <a:pt x="796" y="1542"/>
                  </a:lnTo>
                  <a:lnTo>
                    <a:pt x="796" y="1548"/>
                  </a:lnTo>
                  <a:lnTo>
                    <a:pt x="794" y="1554"/>
                  </a:lnTo>
                  <a:lnTo>
                    <a:pt x="794" y="1560"/>
                  </a:lnTo>
                  <a:lnTo>
                    <a:pt x="794" y="1566"/>
                  </a:lnTo>
                  <a:lnTo>
                    <a:pt x="794" y="1572"/>
                  </a:lnTo>
                  <a:lnTo>
                    <a:pt x="794" y="1578"/>
                  </a:lnTo>
                  <a:lnTo>
                    <a:pt x="792" y="1584"/>
                  </a:lnTo>
                  <a:lnTo>
                    <a:pt x="792" y="1590"/>
                  </a:lnTo>
                  <a:lnTo>
                    <a:pt x="790" y="1596"/>
                  </a:lnTo>
                  <a:lnTo>
                    <a:pt x="788" y="1598"/>
                  </a:lnTo>
                  <a:lnTo>
                    <a:pt x="786" y="1604"/>
                  </a:lnTo>
                  <a:lnTo>
                    <a:pt x="782" y="1610"/>
                  </a:lnTo>
                  <a:lnTo>
                    <a:pt x="782" y="1612"/>
                  </a:lnTo>
                  <a:lnTo>
                    <a:pt x="778" y="1618"/>
                  </a:lnTo>
                  <a:lnTo>
                    <a:pt x="774" y="1624"/>
                  </a:lnTo>
                  <a:lnTo>
                    <a:pt x="774" y="1628"/>
                  </a:lnTo>
                  <a:lnTo>
                    <a:pt x="774" y="1630"/>
                  </a:lnTo>
                  <a:lnTo>
                    <a:pt x="772" y="1636"/>
                  </a:lnTo>
                  <a:lnTo>
                    <a:pt x="772" y="1640"/>
                  </a:lnTo>
                  <a:lnTo>
                    <a:pt x="770" y="1642"/>
                  </a:lnTo>
                  <a:lnTo>
                    <a:pt x="770" y="1644"/>
                  </a:lnTo>
                  <a:lnTo>
                    <a:pt x="770" y="1648"/>
                  </a:lnTo>
                  <a:lnTo>
                    <a:pt x="770" y="1654"/>
                  </a:lnTo>
                  <a:lnTo>
                    <a:pt x="770" y="1660"/>
                  </a:lnTo>
                  <a:lnTo>
                    <a:pt x="772" y="1666"/>
                  </a:lnTo>
                  <a:lnTo>
                    <a:pt x="770" y="1672"/>
                  </a:lnTo>
                  <a:lnTo>
                    <a:pt x="766" y="1674"/>
                  </a:lnTo>
                  <a:lnTo>
                    <a:pt x="766" y="1676"/>
                  </a:lnTo>
                  <a:lnTo>
                    <a:pt x="772" y="1672"/>
                  </a:lnTo>
                  <a:lnTo>
                    <a:pt x="776" y="1678"/>
                  </a:lnTo>
                  <a:lnTo>
                    <a:pt x="776" y="1684"/>
                  </a:lnTo>
                  <a:lnTo>
                    <a:pt x="778" y="1688"/>
                  </a:lnTo>
                  <a:lnTo>
                    <a:pt x="778" y="1694"/>
                  </a:lnTo>
                  <a:lnTo>
                    <a:pt x="778" y="1696"/>
                  </a:lnTo>
                  <a:lnTo>
                    <a:pt x="778" y="1702"/>
                  </a:lnTo>
                  <a:lnTo>
                    <a:pt x="778" y="1706"/>
                  </a:lnTo>
                  <a:lnTo>
                    <a:pt x="778" y="1710"/>
                  </a:lnTo>
                  <a:lnTo>
                    <a:pt x="778" y="1716"/>
                  </a:lnTo>
                  <a:lnTo>
                    <a:pt x="778" y="1722"/>
                  </a:lnTo>
                  <a:lnTo>
                    <a:pt x="780" y="1728"/>
                  </a:lnTo>
                  <a:lnTo>
                    <a:pt x="780" y="1732"/>
                  </a:lnTo>
                  <a:lnTo>
                    <a:pt x="780" y="1738"/>
                  </a:lnTo>
                  <a:lnTo>
                    <a:pt x="780" y="1744"/>
                  </a:lnTo>
                  <a:lnTo>
                    <a:pt x="774" y="1744"/>
                  </a:lnTo>
                  <a:lnTo>
                    <a:pt x="768" y="1744"/>
                  </a:lnTo>
                  <a:lnTo>
                    <a:pt x="774" y="1746"/>
                  </a:lnTo>
                  <a:lnTo>
                    <a:pt x="768" y="1746"/>
                  </a:lnTo>
                  <a:lnTo>
                    <a:pt x="762" y="1744"/>
                  </a:lnTo>
                  <a:lnTo>
                    <a:pt x="760" y="1742"/>
                  </a:lnTo>
                  <a:lnTo>
                    <a:pt x="754" y="1744"/>
                  </a:lnTo>
                  <a:lnTo>
                    <a:pt x="748" y="1746"/>
                  </a:lnTo>
                  <a:lnTo>
                    <a:pt x="746" y="1752"/>
                  </a:lnTo>
                  <a:lnTo>
                    <a:pt x="744" y="1758"/>
                  </a:lnTo>
                  <a:lnTo>
                    <a:pt x="746" y="1764"/>
                  </a:lnTo>
                  <a:lnTo>
                    <a:pt x="744" y="1766"/>
                  </a:lnTo>
                  <a:lnTo>
                    <a:pt x="740" y="1772"/>
                  </a:lnTo>
                  <a:lnTo>
                    <a:pt x="736" y="1778"/>
                  </a:lnTo>
                  <a:lnTo>
                    <a:pt x="732" y="1784"/>
                  </a:lnTo>
                  <a:lnTo>
                    <a:pt x="730" y="1790"/>
                  </a:lnTo>
                  <a:lnTo>
                    <a:pt x="728" y="1796"/>
                  </a:lnTo>
                  <a:lnTo>
                    <a:pt x="726" y="1800"/>
                  </a:lnTo>
                  <a:lnTo>
                    <a:pt x="728" y="1806"/>
                  </a:lnTo>
                  <a:lnTo>
                    <a:pt x="734" y="1812"/>
                  </a:lnTo>
                  <a:lnTo>
                    <a:pt x="740" y="1814"/>
                  </a:lnTo>
                  <a:lnTo>
                    <a:pt x="746" y="1816"/>
                  </a:lnTo>
                  <a:lnTo>
                    <a:pt x="750" y="1812"/>
                  </a:lnTo>
                  <a:lnTo>
                    <a:pt x="754" y="1818"/>
                  </a:lnTo>
                  <a:lnTo>
                    <a:pt x="760" y="1824"/>
                  </a:lnTo>
                  <a:lnTo>
                    <a:pt x="754" y="1820"/>
                  </a:lnTo>
                  <a:lnTo>
                    <a:pt x="748" y="1818"/>
                  </a:lnTo>
                  <a:lnTo>
                    <a:pt x="742" y="1816"/>
                  </a:lnTo>
                  <a:lnTo>
                    <a:pt x="736" y="1816"/>
                  </a:lnTo>
                  <a:lnTo>
                    <a:pt x="730" y="1816"/>
                  </a:lnTo>
                  <a:lnTo>
                    <a:pt x="724" y="1818"/>
                  </a:lnTo>
                  <a:lnTo>
                    <a:pt x="718" y="1820"/>
                  </a:lnTo>
                  <a:lnTo>
                    <a:pt x="712" y="1822"/>
                  </a:lnTo>
                  <a:lnTo>
                    <a:pt x="706" y="1826"/>
                  </a:lnTo>
                  <a:lnTo>
                    <a:pt x="700" y="1826"/>
                  </a:lnTo>
                  <a:lnTo>
                    <a:pt x="694" y="1830"/>
                  </a:lnTo>
                  <a:lnTo>
                    <a:pt x="690" y="1834"/>
                  </a:lnTo>
                  <a:lnTo>
                    <a:pt x="684" y="1840"/>
                  </a:lnTo>
                  <a:lnTo>
                    <a:pt x="684" y="1846"/>
                  </a:lnTo>
                  <a:lnTo>
                    <a:pt x="684" y="1848"/>
                  </a:lnTo>
                  <a:lnTo>
                    <a:pt x="682" y="1854"/>
                  </a:lnTo>
                  <a:lnTo>
                    <a:pt x="680" y="1858"/>
                  </a:lnTo>
                  <a:lnTo>
                    <a:pt x="682" y="1864"/>
                  </a:lnTo>
                  <a:lnTo>
                    <a:pt x="682" y="1870"/>
                  </a:lnTo>
                  <a:lnTo>
                    <a:pt x="678" y="1876"/>
                  </a:lnTo>
                  <a:lnTo>
                    <a:pt x="672" y="1882"/>
                  </a:lnTo>
                  <a:lnTo>
                    <a:pt x="666" y="1886"/>
                  </a:lnTo>
                  <a:lnTo>
                    <a:pt x="660" y="1892"/>
                  </a:lnTo>
                  <a:lnTo>
                    <a:pt x="654" y="1894"/>
                  </a:lnTo>
                  <a:lnTo>
                    <a:pt x="648" y="1896"/>
                  </a:lnTo>
                  <a:lnTo>
                    <a:pt x="642" y="1898"/>
                  </a:lnTo>
                  <a:lnTo>
                    <a:pt x="636" y="1896"/>
                  </a:lnTo>
                  <a:lnTo>
                    <a:pt x="630" y="1894"/>
                  </a:lnTo>
                  <a:lnTo>
                    <a:pt x="624" y="1888"/>
                  </a:lnTo>
                  <a:lnTo>
                    <a:pt x="620" y="1884"/>
                  </a:lnTo>
                  <a:lnTo>
                    <a:pt x="614" y="1880"/>
                  </a:lnTo>
                  <a:lnTo>
                    <a:pt x="610" y="1874"/>
                  </a:lnTo>
                  <a:lnTo>
                    <a:pt x="604" y="1868"/>
                  </a:lnTo>
                  <a:lnTo>
                    <a:pt x="600" y="1862"/>
                  </a:lnTo>
                  <a:lnTo>
                    <a:pt x="596" y="1856"/>
                  </a:lnTo>
                  <a:lnTo>
                    <a:pt x="592" y="1850"/>
                  </a:lnTo>
                  <a:lnTo>
                    <a:pt x="586" y="1844"/>
                  </a:lnTo>
                  <a:lnTo>
                    <a:pt x="584" y="1842"/>
                  </a:lnTo>
                  <a:lnTo>
                    <a:pt x="584" y="1840"/>
                  </a:lnTo>
                  <a:lnTo>
                    <a:pt x="590" y="1838"/>
                  </a:lnTo>
                  <a:lnTo>
                    <a:pt x="584" y="1836"/>
                  </a:lnTo>
                  <a:lnTo>
                    <a:pt x="584" y="1838"/>
                  </a:lnTo>
                  <a:lnTo>
                    <a:pt x="580" y="1834"/>
                  </a:lnTo>
                  <a:lnTo>
                    <a:pt x="578" y="1828"/>
                  </a:lnTo>
                  <a:lnTo>
                    <a:pt x="576" y="1822"/>
                  </a:lnTo>
                  <a:lnTo>
                    <a:pt x="572" y="1816"/>
                  </a:lnTo>
                  <a:lnTo>
                    <a:pt x="570" y="1810"/>
                  </a:lnTo>
                  <a:lnTo>
                    <a:pt x="568" y="1804"/>
                  </a:lnTo>
                  <a:lnTo>
                    <a:pt x="568" y="1798"/>
                  </a:lnTo>
                  <a:lnTo>
                    <a:pt x="566" y="1792"/>
                  </a:lnTo>
                  <a:lnTo>
                    <a:pt x="566" y="1790"/>
                  </a:lnTo>
                  <a:lnTo>
                    <a:pt x="566" y="1784"/>
                  </a:lnTo>
                  <a:lnTo>
                    <a:pt x="564" y="1778"/>
                  </a:lnTo>
                  <a:lnTo>
                    <a:pt x="562" y="1772"/>
                  </a:lnTo>
                  <a:lnTo>
                    <a:pt x="564" y="1770"/>
                  </a:lnTo>
                  <a:lnTo>
                    <a:pt x="566" y="1772"/>
                  </a:lnTo>
                  <a:lnTo>
                    <a:pt x="566" y="1774"/>
                  </a:lnTo>
                  <a:lnTo>
                    <a:pt x="568" y="1780"/>
                  </a:lnTo>
                  <a:lnTo>
                    <a:pt x="568" y="1786"/>
                  </a:lnTo>
                  <a:lnTo>
                    <a:pt x="568" y="1780"/>
                  </a:lnTo>
                  <a:lnTo>
                    <a:pt x="570" y="1786"/>
                  </a:lnTo>
                  <a:lnTo>
                    <a:pt x="572" y="1792"/>
                  </a:lnTo>
                  <a:lnTo>
                    <a:pt x="570" y="1798"/>
                  </a:lnTo>
                  <a:lnTo>
                    <a:pt x="576" y="1800"/>
                  </a:lnTo>
                  <a:lnTo>
                    <a:pt x="574" y="1794"/>
                  </a:lnTo>
                  <a:lnTo>
                    <a:pt x="574" y="1788"/>
                  </a:lnTo>
                  <a:lnTo>
                    <a:pt x="572" y="1782"/>
                  </a:lnTo>
                  <a:lnTo>
                    <a:pt x="572" y="1776"/>
                  </a:lnTo>
                  <a:lnTo>
                    <a:pt x="568" y="1770"/>
                  </a:lnTo>
                  <a:lnTo>
                    <a:pt x="564" y="1768"/>
                  </a:lnTo>
                  <a:lnTo>
                    <a:pt x="564" y="1766"/>
                  </a:lnTo>
                  <a:lnTo>
                    <a:pt x="562" y="1760"/>
                  </a:lnTo>
                  <a:lnTo>
                    <a:pt x="562" y="1766"/>
                  </a:lnTo>
                  <a:lnTo>
                    <a:pt x="560" y="1766"/>
                  </a:lnTo>
                  <a:lnTo>
                    <a:pt x="558" y="1760"/>
                  </a:lnTo>
                  <a:lnTo>
                    <a:pt x="558" y="1754"/>
                  </a:lnTo>
                  <a:lnTo>
                    <a:pt x="560" y="1752"/>
                  </a:lnTo>
                  <a:lnTo>
                    <a:pt x="554" y="1746"/>
                  </a:lnTo>
                  <a:lnTo>
                    <a:pt x="552" y="1740"/>
                  </a:lnTo>
                  <a:lnTo>
                    <a:pt x="550" y="1736"/>
                  </a:lnTo>
                  <a:lnTo>
                    <a:pt x="548" y="1730"/>
                  </a:lnTo>
                  <a:lnTo>
                    <a:pt x="544" y="1724"/>
                  </a:lnTo>
                  <a:lnTo>
                    <a:pt x="542" y="1718"/>
                  </a:lnTo>
                  <a:lnTo>
                    <a:pt x="540" y="1712"/>
                  </a:lnTo>
                  <a:lnTo>
                    <a:pt x="538" y="1706"/>
                  </a:lnTo>
                  <a:lnTo>
                    <a:pt x="536" y="1700"/>
                  </a:lnTo>
                  <a:lnTo>
                    <a:pt x="534" y="1694"/>
                  </a:lnTo>
                  <a:lnTo>
                    <a:pt x="532" y="1688"/>
                  </a:lnTo>
                  <a:lnTo>
                    <a:pt x="530" y="1682"/>
                  </a:lnTo>
                  <a:lnTo>
                    <a:pt x="526" y="1676"/>
                  </a:lnTo>
                  <a:lnTo>
                    <a:pt x="524" y="1670"/>
                  </a:lnTo>
                  <a:lnTo>
                    <a:pt x="518" y="1664"/>
                  </a:lnTo>
                  <a:lnTo>
                    <a:pt x="516" y="1658"/>
                  </a:lnTo>
                  <a:lnTo>
                    <a:pt x="514" y="1654"/>
                  </a:lnTo>
                  <a:lnTo>
                    <a:pt x="514" y="1652"/>
                  </a:lnTo>
                  <a:lnTo>
                    <a:pt x="510" y="1646"/>
                  </a:lnTo>
                  <a:lnTo>
                    <a:pt x="504" y="1640"/>
                  </a:lnTo>
                  <a:lnTo>
                    <a:pt x="500" y="1634"/>
                  </a:lnTo>
                  <a:lnTo>
                    <a:pt x="500" y="1632"/>
                  </a:lnTo>
                  <a:lnTo>
                    <a:pt x="500" y="1630"/>
                  </a:lnTo>
                  <a:lnTo>
                    <a:pt x="498" y="1630"/>
                  </a:lnTo>
                  <a:lnTo>
                    <a:pt x="496" y="1626"/>
                  </a:lnTo>
                  <a:lnTo>
                    <a:pt x="494" y="1626"/>
                  </a:lnTo>
                  <a:lnTo>
                    <a:pt x="488" y="1620"/>
                  </a:lnTo>
                  <a:lnTo>
                    <a:pt x="486" y="1614"/>
                  </a:lnTo>
                  <a:lnTo>
                    <a:pt x="482" y="1608"/>
                  </a:lnTo>
                  <a:lnTo>
                    <a:pt x="480" y="1602"/>
                  </a:lnTo>
                  <a:lnTo>
                    <a:pt x="476" y="1596"/>
                  </a:lnTo>
                  <a:lnTo>
                    <a:pt x="474" y="1590"/>
                  </a:lnTo>
                  <a:lnTo>
                    <a:pt x="470" y="1584"/>
                  </a:lnTo>
                  <a:lnTo>
                    <a:pt x="468" y="1578"/>
                  </a:lnTo>
                  <a:lnTo>
                    <a:pt x="466" y="1574"/>
                  </a:lnTo>
                  <a:lnTo>
                    <a:pt x="466" y="1570"/>
                  </a:lnTo>
                  <a:lnTo>
                    <a:pt x="466" y="1568"/>
                  </a:lnTo>
                  <a:lnTo>
                    <a:pt x="462" y="1562"/>
                  </a:lnTo>
                  <a:lnTo>
                    <a:pt x="460" y="1556"/>
                  </a:lnTo>
                  <a:lnTo>
                    <a:pt x="460" y="1550"/>
                  </a:lnTo>
                  <a:lnTo>
                    <a:pt x="458" y="1546"/>
                  </a:lnTo>
                  <a:lnTo>
                    <a:pt x="456" y="1538"/>
                  </a:lnTo>
                  <a:lnTo>
                    <a:pt x="454" y="1534"/>
                  </a:lnTo>
                  <a:lnTo>
                    <a:pt x="454" y="1528"/>
                  </a:lnTo>
                  <a:lnTo>
                    <a:pt x="452" y="1524"/>
                  </a:lnTo>
                  <a:lnTo>
                    <a:pt x="452" y="1516"/>
                  </a:lnTo>
                  <a:lnTo>
                    <a:pt x="452" y="1514"/>
                  </a:lnTo>
                  <a:lnTo>
                    <a:pt x="450" y="1512"/>
                  </a:lnTo>
                  <a:lnTo>
                    <a:pt x="448" y="1506"/>
                  </a:lnTo>
                  <a:lnTo>
                    <a:pt x="448" y="1500"/>
                  </a:lnTo>
                  <a:lnTo>
                    <a:pt x="444" y="1494"/>
                  </a:lnTo>
                  <a:lnTo>
                    <a:pt x="440" y="1488"/>
                  </a:lnTo>
                  <a:lnTo>
                    <a:pt x="438" y="1482"/>
                  </a:lnTo>
                  <a:lnTo>
                    <a:pt x="436" y="1476"/>
                  </a:lnTo>
                  <a:lnTo>
                    <a:pt x="434" y="1470"/>
                  </a:lnTo>
                  <a:lnTo>
                    <a:pt x="436" y="1472"/>
                  </a:lnTo>
                  <a:lnTo>
                    <a:pt x="440" y="1472"/>
                  </a:lnTo>
                  <a:lnTo>
                    <a:pt x="434" y="1470"/>
                  </a:lnTo>
                  <a:lnTo>
                    <a:pt x="432" y="1464"/>
                  </a:lnTo>
                  <a:lnTo>
                    <a:pt x="430" y="1458"/>
                  </a:lnTo>
                  <a:lnTo>
                    <a:pt x="430" y="1452"/>
                  </a:lnTo>
                  <a:lnTo>
                    <a:pt x="426" y="1446"/>
                  </a:lnTo>
                  <a:lnTo>
                    <a:pt x="422" y="1440"/>
                  </a:lnTo>
                  <a:lnTo>
                    <a:pt x="418" y="1440"/>
                  </a:lnTo>
                  <a:lnTo>
                    <a:pt x="412" y="1434"/>
                  </a:lnTo>
                  <a:lnTo>
                    <a:pt x="414" y="1432"/>
                  </a:lnTo>
                  <a:lnTo>
                    <a:pt x="418" y="1428"/>
                  </a:lnTo>
                  <a:lnTo>
                    <a:pt x="414" y="1430"/>
                  </a:lnTo>
                  <a:lnTo>
                    <a:pt x="410" y="1428"/>
                  </a:lnTo>
                  <a:lnTo>
                    <a:pt x="406" y="1422"/>
                  </a:lnTo>
                  <a:lnTo>
                    <a:pt x="402" y="1416"/>
                  </a:lnTo>
                  <a:lnTo>
                    <a:pt x="402" y="1410"/>
                  </a:lnTo>
                  <a:lnTo>
                    <a:pt x="398" y="1404"/>
                  </a:lnTo>
                  <a:lnTo>
                    <a:pt x="396" y="1398"/>
                  </a:lnTo>
                  <a:lnTo>
                    <a:pt x="390" y="1394"/>
                  </a:lnTo>
                  <a:lnTo>
                    <a:pt x="396" y="1392"/>
                  </a:lnTo>
                  <a:lnTo>
                    <a:pt x="390" y="1388"/>
                  </a:lnTo>
                  <a:lnTo>
                    <a:pt x="392" y="1384"/>
                  </a:lnTo>
                  <a:lnTo>
                    <a:pt x="386" y="1380"/>
                  </a:lnTo>
                  <a:lnTo>
                    <a:pt x="388" y="1376"/>
                  </a:lnTo>
                  <a:lnTo>
                    <a:pt x="382" y="1374"/>
                  </a:lnTo>
                  <a:lnTo>
                    <a:pt x="382" y="1370"/>
                  </a:lnTo>
                  <a:lnTo>
                    <a:pt x="378" y="1362"/>
                  </a:lnTo>
                  <a:lnTo>
                    <a:pt x="374" y="1356"/>
                  </a:lnTo>
                  <a:lnTo>
                    <a:pt x="368" y="1352"/>
                  </a:lnTo>
                  <a:lnTo>
                    <a:pt x="366" y="1346"/>
                  </a:lnTo>
                  <a:lnTo>
                    <a:pt x="366" y="1340"/>
                  </a:lnTo>
                  <a:lnTo>
                    <a:pt x="362" y="1334"/>
                  </a:lnTo>
                  <a:lnTo>
                    <a:pt x="360" y="1328"/>
                  </a:lnTo>
                  <a:lnTo>
                    <a:pt x="358" y="1322"/>
                  </a:lnTo>
                  <a:lnTo>
                    <a:pt x="356" y="1316"/>
                  </a:lnTo>
                  <a:lnTo>
                    <a:pt x="354" y="1310"/>
                  </a:lnTo>
                  <a:lnTo>
                    <a:pt x="354" y="1304"/>
                  </a:lnTo>
                  <a:lnTo>
                    <a:pt x="352" y="1298"/>
                  </a:lnTo>
                  <a:lnTo>
                    <a:pt x="350" y="1292"/>
                  </a:lnTo>
                  <a:lnTo>
                    <a:pt x="350" y="1288"/>
                  </a:lnTo>
                  <a:lnTo>
                    <a:pt x="350" y="1282"/>
                  </a:lnTo>
                  <a:lnTo>
                    <a:pt x="348" y="1276"/>
                  </a:lnTo>
                  <a:lnTo>
                    <a:pt x="348" y="1270"/>
                  </a:lnTo>
                  <a:lnTo>
                    <a:pt x="344" y="1264"/>
                  </a:lnTo>
                  <a:lnTo>
                    <a:pt x="344" y="1258"/>
                  </a:lnTo>
                  <a:lnTo>
                    <a:pt x="340" y="1254"/>
                  </a:lnTo>
                  <a:lnTo>
                    <a:pt x="340" y="1248"/>
                  </a:lnTo>
                  <a:lnTo>
                    <a:pt x="340" y="1242"/>
                  </a:lnTo>
                  <a:lnTo>
                    <a:pt x="336" y="1236"/>
                  </a:lnTo>
                  <a:lnTo>
                    <a:pt x="336" y="1230"/>
                  </a:lnTo>
                  <a:lnTo>
                    <a:pt x="332" y="1224"/>
                  </a:lnTo>
                  <a:lnTo>
                    <a:pt x="330" y="1218"/>
                  </a:lnTo>
                  <a:lnTo>
                    <a:pt x="328" y="1212"/>
                  </a:lnTo>
                  <a:lnTo>
                    <a:pt x="326" y="1206"/>
                  </a:lnTo>
                  <a:lnTo>
                    <a:pt x="324" y="1200"/>
                  </a:lnTo>
                  <a:lnTo>
                    <a:pt x="322" y="1194"/>
                  </a:lnTo>
                  <a:lnTo>
                    <a:pt x="328" y="1196"/>
                  </a:lnTo>
                  <a:lnTo>
                    <a:pt x="322" y="1190"/>
                  </a:lnTo>
                  <a:lnTo>
                    <a:pt x="318" y="1184"/>
                  </a:lnTo>
                  <a:lnTo>
                    <a:pt x="318" y="1178"/>
                  </a:lnTo>
                  <a:lnTo>
                    <a:pt x="324" y="1180"/>
                  </a:lnTo>
                  <a:lnTo>
                    <a:pt x="322" y="1174"/>
                  </a:lnTo>
                  <a:lnTo>
                    <a:pt x="316" y="1168"/>
                  </a:lnTo>
                  <a:lnTo>
                    <a:pt x="314" y="1162"/>
                  </a:lnTo>
                  <a:lnTo>
                    <a:pt x="314" y="1156"/>
                  </a:lnTo>
                  <a:lnTo>
                    <a:pt x="320" y="1160"/>
                  </a:lnTo>
                  <a:lnTo>
                    <a:pt x="320" y="1154"/>
                  </a:lnTo>
                  <a:lnTo>
                    <a:pt x="316" y="1148"/>
                  </a:lnTo>
                  <a:lnTo>
                    <a:pt x="322" y="1144"/>
                  </a:lnTo>
                  <a:lnTo>
                    <a:pt x="320" y="1138"/>
                  </a:lnTo>
                  <a:lnTo>
                    <a:pt x="318" y="1132"/>
                  </a:lnTo>
                  <a:lnTo>
                    <a:pt x="316" y="1138"/>
                  </a:lnTo>
                  <a:lnTo>
                    <a:pt x="312" y="1144"/>
                  </a:lnTo>
                  <a:lnTo>
                    <a:pt x="308" y="1138"/>
                  </a:lnTo>
                  <a:lnTo>
                    <a:pt x="308" y="1132"/>
                  </a:lnTo>
                  <a:lnTo>
                    <a:pt x="308" y="1126"/>
                  </a:lnTo>
                  <a:lnTo>
                    <a:pt x="308" y="1122"/>
                  </a:lnTo>
                  <a:lnTo>
                    <a:pt x="308" y="1120"/>
                  </a:lnTo>
                  <a:lnTo>
                    <a:pt x="312" y="1122"/>
                  </a:lnTo>
                  <a:lnTo>
                    <a:pt x="318" y="1124"/>
                  </a:lnTo>
                  <a:lnTo>
                    <a:pt x="318" y="1126"/>
                  </a:lnTo>
                  <a:lnTo>
                    <a:pt x="322" y="1128"/>
                  </a:lnTo>
                  <a:lnTo>
                    <a:pt x="320" y="1124"/>
                  </a:lnTo>
                  <a:lnTo>
                    <a:pt x="314" y="1122"/>
                  </a:lnTo>
                  <a:lnTo>
                    <a:pt x="312" y="1122"/>
                  </a:lnTo>
                  <a:lnTo>
                    <a:pt x="308" y="1118"/>
                  </a:lnTo>
                  <a:lnTo>
                    <a:pt x="302" y="1114"/>
                  </a:lnTo>
                  <a:lnTo>
                    <a:pt x="306" y="1108"/>
                  </a:lnTo>
                  <a:lnTo>
                    <a:pt x="308" y="1106"/>
                  </a:lnTo>
                  <a:lnTo>
                    <a:pt x="300" y="1102"/>
                  </a:lnTo>
                  <a:lnTo>
                    <a:pt x="298" y="1096"/>
                  </a:lnTo>
                  <a:lnTo>
                    <a:pt x="298" y="1092"/>
                  </a:lnTo>
                  <a:lnTo>
                    <a:pt x="294" y="1086"/>
                  </a:lnTo>
                  <a:lnTo>
                    <a:pt x="294" y="1080"/>
                  </a:lnTo>
                  <a:lnTo>
                    <a:pt x="296" y="1074"/>
                  </a:lnTo>
                  <a:lnTo>
                    <a:pt x="296" y="1068"/>
                  </a:lnTo>
                  <a:lnTo>
                    <a:pt x="296" y="1062"/>
                  </a:lnTo>
                  <a:lnTo>
                    <a:pt x="296" y="1056"/>
                  </a:lnTo>
                  <a:lnTo>
                    <a:pt x="296" y="1052"/>
                  </a:lnTo>
                  <a:lnTo>
                    <a:pt x="300" y="1048"/>
                  </a:lnTo>
                  <a:lnTo>
                    <a:pt x="302" y="1042"/>
                  </a:lnTo>
                  <a:lnTo>
                    <a:pt x="304" y="1036"/>
                  </a:lnTo>
                  <a:lnTo>
                    <a:pt x="304" y="1030"/>
                  </a:lnTo>
                  <a:lnTo>
                    <a:pt x="304" y="1024"/>
                  </a:lnTo>
                  <a:lnTo>
                    <a:pt x="304" y="1018"/>
                  </a:lnTo>
                  <a:lnTo>
                    <a:pt x="298" y="1012"/>
                  </a:lnTo>
                  <a:lnTo>
                    <a:pt x="300" y="1006"/>
                  </a:lnTo>
                  <a:lnTo>
                    <a:pt x="296" y="1004"/>
                  </a:lnTo>
                  <a:lnTo>
                    <a:pt x="296" y="998"/>
                  </a:lnTo>
                  <a:lnTo>
                    <a:pt x="290" y="996"/>
                  </a:lnTo>
                  <a:lnTo>
                    <a:pt x="288" y="1000"/>
                  </a:lnTo>
                  <a:lnTo>
                    <a:pt x="290" y="994"/>
                  </a:lnTo>
                  <a:lnTo>
                    <a:pt x="284" y="998"/>
                  </a:lnTo>
                  <a:lnTo>
                    <a:pt x="288" y="992"/>
                  </a:lnTo>
                  <a:lnTo>
                    <a:pt x="284" y="986"/>
                  </a:lnTo>
                  <a:lnTo>
                    <a:pt x="280" y="980"/>
                  </a:lnTo>
                  <a:lnTo>
                    <a:pt x="284" y="974"/>
                  </a:lnTo>
                  <a:lnTo>
                    <a:pt x="282" y="968"/>
                  </a:lnTo>
                  <a:lnTo>
                    <a:pt x="288" y="966"/>
                  </a:lnTo>
                  <a:lnTo>
                    <a:pt x="294" y="960"/>
                  </a:lnTo>
                  <a:lnTo>
                    <a:pt x="300" y="958"/>
                  </a:lnTo>
                  <a:lnTo>
                    <a:pt x="302" y="956"/>
                  </a:lnTo>
                  <a:lnTo>
                    <a:pt x="308" y="954"/>
                  </a:lnTo>
                  <a:lnTo>
                    <a:pt x="310" y="952"/>
                  </a:lnTo>
                  <a:lnTo>
                    <a:pt x="304" y="954"/>
                  </a:lnTo>
                  <a:lnTo>
                    <a:pt x="302" y="956"/>
                  </a:lnTo>
                  <a:lnTo>
                    <a:pt x="296" y="958"/>
                  </a:lnTo>
                  <a:lnTo>
                    <a:pt x="290" y="958"/>
                  </a:lnTo>
                  <a:lnTo>
                    <a:pt x="288" y="958"/>
                  </a:lnTo>
                  <a:lnTo>
                    <a:pt x="284" y="958"/>
                  </a:lnTo>
                  <a:lnTo>
                    <a:pt x="278" y="958"/>
                  </a:lnTo>
                  <a:lnTo>
                    <a:pt x="274" y="952"/>
                  </a:lnTo>
                  <a:lnTo>
                    <a:pt x="274" y="948"/>
                  </a:lnTo>
                  <a:lnTo>
                    <a:pt x="278" y="942"/>
                  </a:lnTo>
                  <a:lnTo>
                    <a:pt x="284" y="936"/>
                  </a:lnTo>
                  <a:lnTo>
                    <a:pt x="276" y="938"/>
                  </a:lnTo>
                  <a:lnTo>
                    <a:pt x="270" y="938"/>
                  </a:lnTo>
                  <a:lnTo>
                    <a:pt x="270" y="932"/>
                  </a:lnTo>
                  <a:lnTo>
                    <a:pt x="272" y="926"/>
                  </a:lnTo>
                  <a:lnTo>
                    <a:pt x="278" y="920"/>
                  </a:lnTo>
                  <a:lnTo>
                    <a:pt x="284" y="924"/>
                  </a:lnTo>
                  <a:lnTo>
                    <a:pt x="290" y="918"/>
                  </a:lnTo>
                  <a:lnTo>
                    <a:pt x="284" y="920"/>
                  </a:lnTo>
                  <a:lnTo>
                    <a:pt x="278" y="916"/>
                  </a:lnTo>
                  <a:lnTo>
                    <a:pt x="272" y="916"/>
                  </a:lnTo>
                  <a:lnTo>
                    <a:pt x="266" y="916"/>
                  </a:lnTo>
                  <a:lnTo>
                    <a:pt x="262" y="910"/>
                  </a:lnTo>
                  <a:lnTo>
                    <a:pt x="260" y="910"/>
                  </a:lnTo>
                  <a:lnTo>
                    <a:pt x="258" y="916"/>
                  </a:lnTo>
                  <a:lnTo>
                    <a:pt x="252" y="914"/>
                  </a:lnTo>
                  <a:lnTo>
                    <a:pt x="252" y="918"/>
                  </a:lnTo>
                  <a:lnTo>
                    <a:pt x="258" y="920"/>
                  </a:lnTo>
                  <a:lnTo>
                    <a:pt x="258" y="926"/>
                  </a:lnTo>
                  <a:lnTo>
                    <a:pt x="258" y="932"/>
                  </a:lnTo>
                  <a:lnTo>
                    <a:pt x="252" y="934"/>
                  </a:lnTo>
                  <a:lnTo>
                    <a:pt x="246" y="936"/>
                  </a:lnTo>
                  <a:lnTo>
                    <a:pt x="250" y="942"/>
                  </a:lnTo>
                  <a:lnTo>
                    <a:pt x="244" y="942"/>
                  </a:lnTo>
                  <a:lnTo>
                    <a:pt x="242" y="948"/>
                  </a:lnTo>
                  <a:lnTo>
                    <a:pt x="246" y="950"/>
                  </a:lnTo>
                  <a:lnTo>
                    <a:pt x="254" y="952"/>
                  </a:lnTo>
                  <a:lnTo>
                    <a:pt x="258" y="958"/>
                  </a:lnTo>
                  <a:lnTo>
                    <a:pt x="260" y="964"/>
                  </a:lnTo>
                  <a:lnTo>
                    <a:pt x="258" y="970"/>
                  </a:lnTo>
                  <a:lnTo>
                    <a:pt x="256" y="974"/>
                  </a:lnTo>
                  <a:lnTo>
                    <a:pt x="252" y="980"/>
                  </a:lnTo>
                  <a:lnTo>
                    <a:pt x="252" y="982"/>
                  </a:lnTo>
                  <a:lnTo>
                    <a:pt x="252" y="988"/>
                  </a:lnTo>
                  <a:lnTo>
                    <a:pt x="246" y="994"/>
                  </a:lnTo>
                  <a:lnTo>
                    <a:pt x="242" y="996"/>
                  </a:lnTo>
                  <a:lnTo>
                    <a:pt x="236" y="1000"/>
                  </a:lnTo>
                  <a:lnTo>
                    <a:pt x="230" y="1002"/>
                  </a:lnTo>
                  <a:lnTo>
                    <a:pt x="224" y="1006"/>
                  </a:lnTo>
                  <a:lnTo>
                    <a:pt x="218" y="1008"/>
                  </a:lnTo>
                  <a:lnTo>
                    <a:pt x="212" y="1014"/>
                  </a:lnTo>
                  <a:lnTo>
                    <a:pt x="206" y="1016"/>
                  </a:lnTo>
                  <a:lnTo>
                    <a:pt x="200" y="1018"/>
                  </a:lnTo>
                  <a:lnTo>
                    <a:pt x="194" y="1020"/>
                  </a:lnTo>
                  <a:lnTo>
                    <a:pt x="190" y="1022"/>
                  </a:lnTo>
                  <a:lnTo>
                    <a:pt x="184" y="1024"/>
                  </a:lnTo>
                  <a:lnTo>
                    <a:pt x="178" y="1024"/>
                  </a:lnTo>
                  <a:lnTo>
                    <a:pt x="172" y="1022"/>
                  </a:lnTo>
                  <a:lnTo>
                    <a:pt x="166" y="1020"/>
                  </a:lnTo>
                  <a:lnTo>
                    <a:pt x="160" y="1016"/>
                  </a:lnTo>
                  <a:lnTo>
                    <a:pt x="154" y="1012"/>
                  </a:lnTo>
                  <a:lnTo>
                    <a:pt x="150" y="1010"/>
                  </a:lnTo>
                  <a:lnTo>
                    <a:pt x="144" y="1006"/>
                  </a:lnTo>
                  <a:lnTo>
                    <a:pt x="138" y="1002"/>
                  </a:lnTo>
                  <a:lnTo>
                    <a:pt x="132" y="996"/>
                  </a:lnTo>
                  <a:lnTo>
                    <a:pt x="126" y="992"/>
                  </a:lnTo>
                  <a:lnTo>
                    <a:pt x="126" y="990"/>
                  </a:lnTo>
                  <a:lnTo>
                    <a:pt x="120" y="984"/>
                  </a:lnTo>
                  <a:lnTo>
                    <a:pt x="116" y="978"/>
                  </a:lnTo>
                  <a:lnTo>
                    <a:pt x="112" y="972"/>
                  </a:lnTo>
                  <a:lnTo>
                    <a:pt x="106" y="968"/>
                  </a:lnTo>
                  <a:lnTo>
                    <a:pt x="102" y="962"/>
                  </a:lnTo>
                  <a:lnTo>
                    <a:pt x="100" y="960"/>
                  </a:lnTo>
                  <a:lnTo>
                    <a:pt x="92" y="956"/>
                  </a:lnTo>
                  <a:lnTo>
                    <a:pt x="88" y="950"/>
                  </a:lnTo>
                  <a:lnTo>
                    <a:pt x="84" y="944"/>
                  </a:lnTo>
                  <a:lnTo>
                    <a:pt x="80" y="942"/>
                  </a:lnTo>
                  <a:lnTo>
                    <a:pt x="72" y="936"/>
                  </a:lnTo>
                  <a:lnTo>
                    <a:pt x="68" y="932"/>
                  </a:lnTo>
                  <a:lnTo>
                    <a:pt x="64" y="924"/>
                  </a:lnTo>
                  <a:lnTo>
                    <a:pt x="58" y="920"/>
                  </a:lnTo>
                  <a:lnTo>
                    <a:pt x="56" y="914"/>
                  </a:lnTo>
                  <a:lnTo>
                    <a:pt x="56" y="906"/>
                  </a:lnTo>
                  <a:lnTo>
                    <a:pt x="62" y="902"/>
                  </a:lnTo>
                  <a:lnTo>
                    <a:pt x="62" y="904"/>
                  </a:lnTo>
                  <a:lnTo>
                    <a:pt x="68" y="906"/>
                  </a:lnTo>
                  <a:lnTo>
                    <a:pt x="68" y="912"/>
                  </a:lnTo>
                  <a:lnTo>
                    <a:pt x="76" y="916"/>
                  </a:lnTo>
                  <a:lnTo>
                    <a:pt x="80" y="912"/>
                  </a:lnTo>
                  <a:lnTo>
                    <a:pt x="86" y="912"/>
                  </a:lnTo>
                  <a:lnTo>
                    <a:pt x="88" y="906"/>
                  </a:lnTo>
                  <a:lnTo>
                    <a:pt x="94" y="910"/>
                  </a:lnTo>
                  <a:lnTo>
                    <a:pt x="100" y="904"/>
                  </a:lnTo>
                  <a:lnTo>
                    <a:pt x="106" y="906"/>
                  </a:lnTo>
                  <a:lnTo>
                    <a:pt x="112" y="900"/>
                  </a:lnTo>
                  <a:lnTo>
                    <a:pt x="118" y="898"/>
                  </a:lnTo>
                  <a:lnTo>
                    <a:pt x="122" y="896"/>
                  </a:lnTo>
                  <a:lnTo>
                    <a:pt x="128" y="892"/>
                  </a:lnTo>
                  <a:lnTo>
                    <a:pt x="132" y="886"/>
                  </a:lnTo>
                  <a:lnTo>
                    <a:pt x="134" y="880"/>
                  </a:lnTo>
                  <a:lnTo>
                    <a:pt x="136" y="874"/>
                  </a:lnTo>
                  <a:lnTo>
                    <a:pt x="140" y="868"/>
                  </a:lnTo>
                  <a:lnTo>
                    <a:pt x="144" y="866"/>
                  </a:lnTo>
                  <a:lnTo>
                    <a:pt x="146" y="864"/>
                  </a:lnTo>
                  <a:lnTo>
                    <a:pt x="142" y="856"/>
                  </a:lnTo>
                  <a:lnTo>
                    <a:pt x="138" y="864"/>
                  </a:lnTo>
                  <a:lnTo>
                    <a:pt x="138" y="868"/>
                  </a:lnTo>
                  <a:lnTo>
                    <a:pt x="132" y="870"/>
                  </a:lnTo>
                  <a:lnTo>
                    <a:pt x="126" y="868"/>
                  </a:lnTo>
                  <a:lnTo>
                    <a:pt x="120" y="872"/>
                  </a:lnTo>
                  <a:lnTo>
                    <a:pt x="114" y="872"/>
                  </a:lnTo>
                  <a:lnTo>
                    <a:pt x="108" y="876"/>
                  </a:lnTo>
                  <a:lnTo>
                    <a:pt x="102" y="878"/>
                  </a:lnTo>
                  <a:lnTo>
                    <a:pt x="98" y="884"/>
                  </a:lnTo>
                  <a:lnTo>
                    <a:pt x="92" y="882"/>
                  </a:lnTo>
                  <a:lnTo>
                    <a:pt x="86" y="880"/>
                  </a:lnTo>
                  <a:lnTo>
                    <a:pt x="80" y="880"/>
                  </a:lnTo>
                  <a:lnTo>
                    <a:pt x="74" y="878"/>
                  </a:lnTo>
                  <a:lnTo>
                    <a:pt x="68" y="876"/>
                  </a:lnTo>
                  <a:lnTo>
                    <a:pt x="64" y="874"/>
                  </a:lnTo>
                  <a:lnTo>
                    <a:pt x="58" y="870"/>
                  </a:lnTo>
                  <a:lnTo>
                    <a:pt x="50" y="866"/>
                  </a:lnTo>
                  <a:lnTo>
                    <a:pt x="46" y="864"/>
                  </a:lnTo>
                  <a:lnTo>
                    <a:pt x="40" y="860"/>
                  </a:lnTo>
                  <a:lnTo>
                    <a:pt x="34" y="856"/>
                  </a:lnTo>
                  <a:lnTo>
                    <a:pt x="28" y="850"/>
                  </a:lnTo>
                  <a:lnTo>
                    <a:pt x="30" y="848"/>
                  </a:lnTo>
                  <a:lnTo>
                    <a:pt x="28" y="842"/>
                  </a:lnTo>
                  <a:lnTo>
                    <a:pt x="22" y="840"/>
                  </a:lnTo>
                  <a:lnTo>
                    <a:pt x="16" y="834"/>
                  </a:lnTo>
                  <a:lnTo>
                    <a:pt x="16" y="828"/>
                  </a:lnTo>
                  <a:lnTo>
                    <a:pt x="16" y="822"/>
                  </a:lnTo>
                  <a:lnTo>
                    <a:pt x="22" y="818"/>
                  </a:lnTo>
                  <a:lnTo>
                    <a:pt x="28" y="814"/>
                  </a:lnTo>
                  <a:lnTo>
                    <a:pt x="34" y="808"/>
                  </a:lnTo>
                  <a:lnTo>
                    <a:pt x="36" y="806"/>
                  </a:lnTo>
                  <a:lnTo>
                    <a:pt x="34" y="806"/>
                  </a:lnTo>
                  <a:lnTo>
                    <a:pt x="28" y="808"/>
                  </a:lnTo>
                  <a:lnTo>
                    <a:pt x="22" y="814"/>
                  </a:lnTo>
                  <a:lnTo>
                    <a:pt x="16" y="816"/>
                  </a:lnTo>
                  <a:lnTo>
                    <a:pt x="12" y="822"/>
                  </a:lnTo>
                  <a:lnTo>
                    <a:pt x="6" y="826"/>
                  </a:lnTo>
                  <a:lnTo>
                    <a:pt x="0" y="824"/>
                  </a:lnTo>
                  <a:lnTo>
                    <a:pt x="2" y="818"/>
                  </a:lnTo>
                  <a:lnTo>
                    <a:pt x="0" y="8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5" name="Freeform 112"/>
            <p:cNvSpPr>
              <a:spLocks/>
            </p:cNvSpPr>
            <p:nvPr/>
          </p:nvSpPr>
          <p:spPr bwMode="auto">
            <a:xfrm>
              <a:off x="5278438" y="3054350"/>
              <a:ext cx="127000" cy="98425"/>
            </a:xfrm>
            <a:custGeom>
              <a:avLst/>
              <a:gdLst>
                <a:gd name="T0" fmla="*/ 2147483647 w 314"/>
                <a:gd name="T1" fmla="*/ 2147483647 h 240"/>
                <a:gd name="T2" fmla="*/ 2147483647 w 314"/>
                <a:gd name="T3" fmla="*/ 2147483647 h 240"/>
                <a:gd name="T4" fmla="*/ 2147483647 w 314"/>
                <a:gd name="T5" fmla="*/ 2147483647 h 240"/>
                <a:gd name="T6" fmla="*/ 2147483647 w 314"/>
                <a:gd name="T7" fmla="*/ 2147483647 h 240"/>
                <a:gd name="T8" fmla="*/ 2147483647 w 314"/>
                <a:gd name="T9" fmla="*/ 2147483647 h 240"/>
                <a:gd name="T10" fmla="*/ 2147483647 w 314"/>
                <a:gd name="T11" fmla="*/ 2147483647 h 240"/>
                <a:gd name="T12" fmla="*/ 2147483647 w 314"/>
                <a:gd name="T13" fmla="*/ 2147483647 h 240"/>
                <a:gd name="T14" fmla="*/ 2147483647 w 314"/>
                <a:gd name="T15" fmla="*/ 0 h 240"/>
                <a:gd name="T16" fmla="*/ 2147483647 w 314"/>
                <a:gd name="T17" fmla="*/ 2147483647 h 240"/>
                <a:gd name="T18" fmla="*/ 2147483647 w 314"/>
                <a:gd name="T19" fmla="*/ 2147483647 h 240"/>
                <a:gd name="T20" fmla="*/ 2147483647 w 314"/>
                <a:gd name="T21" fmla="*/ 2147483647 h 240"/>
                <a:gd name="T22" fmla="*/ 2147483647 w 314"/>
                <a:gd name="T23" fmla="*/ 2147483647 h 240"/>
                <a:gd name="T24" fmla="*/ 2147483647 w 314"/>
                <a:gd name="T25" fmla="*/ 2147483647 h 240"/>
                <a:gd name="T26" fmla="*/ 2147483647 w 314"/>
                <a:gd name="T27" fmla="*/ 2147483647 h 240"/>
                <a:gd name="T28" fmla="*/ 2147483647 w 314"/>
                <a:gd name="T29" fmla="*/ 2147483647 h 240"/>
                <a:gd name="T30" fmla="*/ 2147483647 w 314"/>
                <a:gd name="T31" fmla="*/ 2147483647 h 240"/>
                <a:gd name="T32" fmla="*/ 2147483647 w 314"/>
                <a:gd name="T33" fmla="*/ 2147483647 h 240"/>
                <a:gd name="T34" fmla="*/ 2147483647 w 314"/>
                <a:gd name="T35" fmla="*/ 2147483647 h 240"/>
                <a:gd name="T36" fmla="*/ 2147483647 w 314"/>
                <a:gd name="T37" fmla="*/ 2147483647 h 240"/>
                <a:gd name="T38" fmla="*/ 2147483647 w 314"/>
                <a:gd name="T39" fmla="*/ 2147483647 h 240"/>
                <a:gd name="T40" fmla="*/ 2147483647 w 314"/>
                <a:gd name="T41" fmla="*/ 2147483647 h 240"/>
                <a:gd name="T42" fmla="*/ 2147483647 w 314"/>
                <a:gd name="T43" fmla="*/ 2147483647 h 240"/>
                <a:gd name="T44" fmla="*/ 2147483647 w 314"/>
                <a:gd name="T45" fmla="*/ 2147483647 h 240"/>
                <a:gd name="T46" fmla="*/ 2147483647 w 314"/>
                <a:gd name="T47" fmla="*/ 2147483647 h 240"/>
                <a:gd name="T48" fmla="*/ 2147483647 w 314"/>
                <a:gd name="T49" fmla="*/ 2147483647 h 240"/>
                <a:gd name="T50" fmla="*/ 2147483647 w 314"/>
                <a:gd name="T51" fmla="*/ 2147483647 h 240"/>
                <a:gd name="T52" fmla="*/ 2147483647 w 314"/>
                <a:gd name="T53" fmla="*/ 2147483647 h 240"/>
                <a:gd name="T54" fmla="*/ 2147483647 w 314"/>
                <a:gd name="T55" fmla="*/ 2147483647 h 240"/>
                <a:gd name="T56" fmla="*/ 2147483647 w 314"/>
                <a:gd name="T57" fmla="*/ 2147483647 h 240"/>
                <a:gd name="T58" fmla="*/ 2147483647 w 314"/>
                <a:gd name="T59" fmla="*/ 2147483647 h 240"/>
                <a:gd name="T60" fmla="*/ 2147483647 w 314"/>
                <a:gd name="T61" fmla="*/ 2147483647 h 240"/>
                <a:gd name="T62" fmla="*/ 2147483647 w 314"/>
                <a:gd name="T63" fmla="*/ 2147483647 h 240"/>
                <a:gd name="T64" fmla="*/ 2147483647 w 314"/>
                <a:gd name="T65" fmla="*/ 2147483647 h 240"/>
                <a:gd name="T66" fmla="*/ 2147483647 w 314"/>
                <a:gd name="T67" fmla="*/ 2147483647 h 240"/>
                <a:gd name="T68" fmla="*/ 2147483647 w 314"/>
                <a:gd name="T69" fmla="*/ 2147483647 h 240"/>
                <a:gd name="T70" fmla="*/ 2147483647 w 314"/>
                <a:gd name="T71" fmla="*/ 2147483647 h 240"/>
                <a:gd name="T72" fmla="*/ 2147483647 w 314"/>
                <a:gd name="T73" fmla="*/ 2147483647 h 240"/>
                <a:gd name="T74" fmla="*/ 2147483647 w 314"/>
                <a:gd name="T75" fmla="*/ 2147483647 h 240"/>
                <a:gd name="T76" fmla="*/ 2147483647 w 314"/>
                <a:gd name="T77" fmla="*/ 2147483647 h 240"/>
                <a:gd name="T78" fmla="*/ 2147483647 w 314"/>
                <a:gd name="T79" fmla="*/ 2147483647 h 240"/>
                <a:gd name="T80" fmla="*/ 2147483647 w 314"/>
                <a:gd name="T81" fmla="*/ 2147483647 h 240"/>
                <a:gd name="T82" fmla="*/ 2147483647 w 314"/>
                <a:gd name="T83" fmla="*/ 2147483647 h 240"/>
                <a:gd name="T84" fmla="*/ 2147483647 w 314"/>
                <a:gd name="T85" fmla="*/ 2147483647 h 240"/>
                <a:gd name="T86" fmla="*/ 2147483647 w 314"/>
                <a:gd name="T87" fmla="*/ 2147483647 h 240"/>
                <a:gd name="T88" fmla="*/ 2147483647 w 314"/>
                <a:gd name="T89" fmla="*/ 2147483647 h 240"/>
                <a:gd name="T90" fmla="*/ 2147483647 w 314"/>
                <a:gd name="T91" fmla="*/ 2147483647 h 240"/>
                <a:gd name="T92" fmla="*/ 2147483647 w 314"/>
                <a:gd name="T93" fmla="*/ 2147483647 h 240"/>
                <a:gd name="T94" fmla="*/ 2147483647 w 314"/>
                <a:gd name="T95" fmla="*/ 2147483647 h 240"/>
                <a:gd name="T96" fmla="*/ 2147483647 w 314"/>
                <a:gd name="T97" fmla="*/ 2147483647 h 240"/>
                <a:gd name="T98" fmla="*/ 2147483647 w 314"/>
                <a:gd name="T99" fmla="*/ 2147483647 h 240"/>
                <a:gd name="T100" fmla="*/ 2147483647 w 314"/>
                <a:gd name="T101" fmla="*/ 2147483647 h 240"/>
                <a:gd name="T102" fmla="*/ 2147483647 w 314"/>
                <a:gd name="T103" fmla="*/ 2147483647 h 24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4"/>
                <a:gd name="T157" fmla="*/ 0 h 240"/>
                <a:gd name="T158" fmla="*/ 314 w 314"/>
                <a:gd name="T159" fmla="*/ 240 h 24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4" h="240">
                  <a:moveTo>
                    <a:pt x="0" y="42"/>
                  </a:moveTo>
                  <a:lnTo>
                    <a:pt x="2" y="40"/>
                  </a:lnTo>
                  <a:lnTo>
                    <a:pt x="4" y="38"/>
                  </a:lnTo>
                  <a:lnTo>
                    <a:pt x="8" y="34"/>
                  </a:lnTo>
                  <a:lnTo>
                    <a:pt x="12" y="32"/>
                  </a:lnTo>
                  <a:lnTo>
                    <a:pt x="18" y="30"/>
                  </a:lnTo>
                  <a:lnTo>
                    <a:pt x="24" y="32"/>
                  </a:lnTo>
                  <a:lnTo>
                    <a:pt x="30" y="34"/>
                  </a:lnTo>
                  <a:lnTo>
                    <a:pt x="36" y="36"/>
                  </a:lnTo>
                  <a:lnTo>
                    <a:pt x="40" y="38"/>
                  </a:lnTo>
                  <a:lnTo>
                    <a:pt x="40" y="44"/>
                  </a:lnTo>
                  <a:lnTo>
                    <a:pt x="48" y="46"/>
                  </a:lnTo>
                  <a:lnTo>
                    <a:pt x="52" y="48"/>
                  </a:lnTo>
                  <a:lnTo>
                    <a:pt x="58" y="50"/>
                  </a:lnTo>
                  <a:lnTo>
                    <a:pt x="66" y="48"/>
                  </a:lnTo>
                  <a:lnTo>
                    <a:pt x="70" y="48"/>
                  </a:lnTo>
                  <a:lnTo>
                    <a:pt x="76" y="54"/>
                  </a:lnTo>
                  <a:lnTo>
                    <a:pt x="82" y="56"/>
                  </a:lnTo>
                  <a:lnTo>
                    <a:pt x="88" y="54"/>
                  </a:lnTo>
                  <a:lnTo>
                    <a:pt x="94" y="50"/>
                  </a:lnTo>
                  <a:lnTo>
                    <a:pt x="96" y="44"/>
                  </a:lnTo>
                  <a:lnTo>
                    <a:pt x="90" y="38"/>
                  </a:lnTo>
                  <a:lnTo>
                    <a:pt x="84" y="34"/>
                  </a:lnTo>
                  <a:lnTo>
                    <a:pt x="78" y="32"/>
                  </a:lnTo>
                  <a:lnTo>
                    <a:pt x="72" y="28"/>
                  </a:lnTo>
                  <a:lnTo>
                    <a:pt x="72" y="22"/>
                  </a:lnTo>
                  <a:lnTo>
                    <a:pt x="66" y="20"/>
                  </a:lnTo>
                  <a:lnTo>
                    <a:pt x="62" y="16"/>
                  </a:lnTo>
                  <a:lnTo>
                    <a:pt x="64" y="8"/>
                  </a:lnTo>
                  <a:lnTo>
                    <a:pt x="70" y="8"/>
                  </a:lnTo>
                  <a:lnTo>
                    <a:pt x="72" y="6"/>
                  </a:lnTo>
                  <a:lnTo>
                    <a:pt x="74" y="0"/>
                  </a:lnTo>
                  <a:lnTo>
                    <a:pt x="80" y="0"/>
                  </a:lnTo>
                  <a:lnTo>
                    <a:pt x="86" y="4"/>
                  </a:lnTo>
                  <a:lnTo>
                    <a:pt x="92" y="4"/>
                  </a:lnTo>
                  <a:lnTo>
                    <a:pt x="96" y="10"/>
                  </a:lnTo>
                  <a:lnTo>
                    <a:pt x="102" y="12"/>
                  </a:lnTo>
                  <a:lnTo>
                    <a:pt x="108" y="18"/>
                  </a:lnTo>
                  <a:lnTo>
                    <a:pt x="112" y="24"/>
                  </a:lnTo>
                  <a:lnTo>
                    <a:pt x="118" y="24"/>
                  </a:lnTo>
                  <a:lnTo>
                    <a:pt x="122" y="30"/>
                  </a:lnTo>
                  <a:lnTo>
                    <a:pt x="124" y="36"/>
                  </a:lnTo>
                  <a:lnTo>
                    <a:pt x="130" y="42"/>
                  </a:lnTo>
                  <a:lnTo>
                    <a:pt x="136" y="44"/>
                  </a:lnTo>
                  <a:lnTo>
                    <a:pt x="142" y="44"/>
                  </a:lnTo>
                  <a:lnTo>
                    <a:pt x="148" y="46"/>
                  </a:lnTo>
                  <a:lnTo>
                    <a:pt x="154" y="48"/>
                  </a:lnTo>
                  <a:lnTo>
                    <a:pt x="160" y="48"/>
                  </a:lnTo>
                  <a:lnTo>
                    <a:pt x="162" y="42"/>
                  </a:lnTo>
                  <a:lnTo>
                    <a:pt x="168" y="36"/>
                  </a:lnTo>
                  <a:lnTo>
                    <a:pt x="170" y="30"/>
                  </a:lnTo>
                  <a:lnTo>
                    <a:pt x="176" y="28"/>
                  </a:lnTo>
                  <a:lnTo>
                    <a:pt x="182" y="24"/>
                  </a:lnTo>
                  <a:lnTo>
                    <a:pt x="188" y="18"/>
                  </a:lnTo>
                  <a:lnTo>
                    <a:pt x="188" y="14"/>
                  </a:lnTo>
                  <a:lnTo>
                    <a:pt x="192" y="8"/>
                  </a:lnTo>
                  <a:lnTo>
                    <a:pt x="194" y="4"/>
                  </a:lnTo>
                  <a:lnTo>
                    <a:pt x="196" y="4"/>
                  </a:lnTo>
                  <a:lnTo>
                    <a:pt x="200" y="10"/>
                  </a:lnTo>
                  <a:lnTo>
                    <a:pt x="206" y="16"/>
                  </a:lnTo>
                  <a:lnTo>
                    <a:pt x="212" y="20"/>
                  </a:lnTo>
                  <a:lnTo>
                    <a:pt x="218" y="28"/>
                  </a:lnTo>
                  <a:lnTo>
                    <a:pt x="222" y="32"/>
                  </a:lnTo>
                  <a:lnTo>
                    <a:pt x="228" y="38"/>
                  </a:lnTo>
                  <a:lnTo>
                    <a:pt x="232" y="44"/>
                  </a:lnTo>
                  <a:lnTo>
                    <a:pt x="234" y="50"/>
                  </a:lnTo>
                  <a:lnTo>
                    <a:pt x="236" y="56"/>
                  </a:lnTo>
                  <a:lnTo>
                    <a:pt x="240" y="62"/>
                  </a:lnTo>
                  <a:lnTo>
                    <a:pt x="246" y="68"/>
                  </a:lnTo>
                  <a:lnTo>
                    <a:pt x="252" y="72"/>
                  </a:lnTo>
                  <a:lnTo>
                    <a:pt x="258" y="76"/>
                  </a:lnTo>
                  <a:lnTo>
                    <a:pt x="258" y="82"/>
                  </a:lnTo>
                  <a:lnTo>
                    <a:pt x="264" y="88"/>
                  </a:lnTo>
                  <a:lnTo>
                    <a:pt x="270" y="90"/>
                  </a:lnTo>
                  <a:lnTo>
                    <a:pt x="276" y="92"/>
                  </a:lnTo>
                  <a:lnTo>
                    <a:pt x="282" y="90"/>
                  </a:lnTo>
                  <a:lnTo>
                    <a:pt x="288" y="90"/>
                  </a:lnTo>
                  <a:lnTo>
                    <a:pt x="292" y="92"/>
                  </a:lnTo>
                  <a:lnTo>
                    <a:pt x="298" y="96"/>
                  </a:lnTo>
                  <a:lnTo>
                    <a:pt x="304" y="100"/>
                  </a:lnTo>
                  <a:lnTo>
                    <a:pt x="308" y="102"/>
                  </a:lnTo>
                  <a:lnTo>
                    <a:pt x="310" y="104"/>
                  </a:lnTo>
                  <a:lnTo>
                    <a:pt x="312" y="110"/>
                  </a:lnTo>
                  <a:lnTo>
                    <a:pt x="314" y="114"/>
                  </a:lnTo>
                  <a:lnTo>
                    <a:pt x="308" y="110"/>
                  </a:lnTo>
                  <a:lnTo>
                    <a:pt x="302" y="106"/>
                  </a:lnTo>
                  <a:lnTo>
                    <a:pt x="296" y="106"/>
                  </a:lnTo>
                  <a:lnTo>
                    <a:pt x="290" y="108"/>
                  </a:lnTo>
                  <a:lnTo>
                    <a:pt x="288" y="106"/>
                  </a:lnTo>
                  <a:lnTo>
                    <a:pt x="282" y="106"/>
                  </a:lnTo>
                  <a:lnTo>
                    <a:pt x="276" y="112"/>
                  </a:lnTo>
                  <a:lnTo>
                    <a:pt x="270" y="114"/>
                  </a:lnTo>
                  <a:lnTo>
                    <a:pt x="264" y="118"/>
                  </a:lnTo>
                  <a:lnTo>
                    <a:pt x="264" y="124"/>
                  </a:lnTo>
                  <a:lnTo>
                    <a:pt x="264" y="130"/>
                  </a:lnTo>
                  <a:lnTo>
                    <a:pt x="262" y="134"/>
                  </a:lnTo>
                  <a:lnTo>
                    <a:pt x="264" y="140"/>
                  </a:lnTo>
                  <a:lnTo>
                    <a:pt x="262" y="146"/>
                  </a:lnTo>
                  <a:lnTo>
                    <a:pt x="264" y="152"/>
                  </a:lnTo>
                  <a:lnTo>
                    <a:pt x="260" y="158"/>
                  </a:lnTo>
                  <a:lnTo>
                    <a:pt x="260" y="164"/>
                  </a:lnTo>
                  <a:lnTo>
                    <a:pt x="264" y="168"/>
                  </a:lnTo>
                  <a:lnTo>
                    <a:pt x="266" y="174"/>
                  </a:lnTo>
                  <a:lnTo>
                    <a:pt x="264" y="176"/>
                  </a:lnTo>
                  <a:lnTo>
                    <a:pt x="260" y="182"/>
                  </a:lnTo>
                  <a:lnTo>
                    <a:pt x="260" y="188"/>
                  </a:lnTo>
                  <a:lnTo>
                    <a:pt x="260" y="194"/>
                  </a:lnTo>
                  <a:lnTo>
                    <a:pt x="258" y="200"/>
                  </a:lnTo>
                  <a:lnTo>
                    <a:pt x="252" y="198"/>
                  </a:lnTo>
                  <a:lnTo>
                    <a:pt x="256" y="192"/>
                  </a:lnTo>
                  <a:lnTo>
                    <a:pt x="250" y="188"/>
                  </a:lnTo>
                  <a:lnTo>
                    <a:pt x="244" y="190"/>
                  </a:lnTo>
                  <a:lnTo>
                    <a:pt x="244" y="196"/>
                  </a:lnTo>
                  <a:lnTo>
                    <a:pt x="246" y="202"/>
                  </a:lnTo>
                  <a:lnTo>
                    <a:pt x="244" y="208"/>
                  </a:lnTo>
                  <a:lnTo>
                    <a:pt x="242" y="214"/>
                  </a:lnTo>
                  <a:lnTo>
                    <a:pt x="244" y="220"/>
                  </a:lnTo>
                  <a:lnTo>
                    <a:pt x="246" y="226"/>
                  </a:lnTo>
                  <a:lnTo>
                    <a:pt x="246" y="232"/>
                  </a:lnTo>
                  <a:lnTo>
                    <a:pt x="248" y="238"/>
                  </a:lnTo>
                  <a:lnTo>
                    <a:pt x="244" y="238"/>
                  </a:lnTo>
                  <a:lnTo>
                    <a:pt x="240" y="240"/>
                  </a:lnTo>
                  <a:lnTo>
                    <a:pt x="234" y="240"/>
                  </a:lnTo>
                  <a:lnTo>
                    <a:pt x="232" y="240"/>
                  </a:lnTo>
                  <a:lnTo>
                    <a:pt x="228" y="234"/>
                  </a:lnTo>
                  <a:lnTo>
                    <a:pt x="222" y="230"/>
                  </a:lnTo>
                  <a:lnTo>
                    <a:pt x="216" y="226"/>
                  </a:lnTo>
                  <a:lnTo>
                    <a:pt x="210" y="224"/>
                  </a:lnTo>
                  <a:lnTo>
                    <a:pt x="206" y="218"/>
                  </a:lnTo>
                  <a:lnTo>
                    <a:pt x="200" y="214"/>
                  </a:lnTo>
                  <a:lnTo>
                    <a:pt x="194" y="210"/>
                  </a:lnTo>
                  <a:lnTo>
                    <a:pt x="196" y="204"/>
                  </a:lnTo>
                  <a:lnTo>
                    <a:pt x="202" y="202"/>
                  </a:lnTo>
                  <a:lnTo>
                    <a:pt x="208" y="200"/>
                  </a:lnTo>
                  <a:lnTo>
                    <a:pt x="210" y="196"/>
                  </a:lnTo>
                  <a:lnTo>
                    <a:pt x="204" y="190"/>
                  </a:lnTo>
                  <a:lnTo>
                    <a:pt x="198" y="186"/>
                  </a:lnTo>
                  <a:lnTo>
                    <a:pt x="196" y="180"/>
                  </a:lnTo>
                  <a:lnTo>
                    <a:pt x="202" y="176"/>
                  </a:lnTo>
                  <a:lnTo>
                    <a:pt x="208" y="172"/>
                  </a:lnTo>
                  <a:lnTo>
                    <a:pt x="206" y="170"/>
                  </a:lnTo>
                  <a:lnTo>
                    <a:pt x="200" y="164"/>
                  </a:lnTo>
                  <a:lnTo>
                    <a:pt x="196" y="160"/>
                  </a:lnTo>
                  <a:lnTo>
                    <a:pt x="188" y="154"/>
                  </a:lnTo>
                  <a:lnTo>
                    <a:pt x="184" y="150"/>
                  </a:lnTo>
                  <a:lnTo>
                    <a:pt x="182" y="152"/>
                  </a:lnTo>
                  <a:lnTo>
                    <a:pt x="176" y="152"/>
                  </a:lnTo>
                  <a:lnTo>
                    <a:pt x="170" y="156"/>
                  </a:lnTo>
                  <a:lnTo>
                    <a:pt x="164" y="160"/>
                  </a:lnTo>
                  <a:lnTo>
                    <a:pt x="158" y="164"/>
                  </a:lnTo>
                  <a:lnTo>
                    <a:pt x="152" y="168"/>
                  </a:lnTo>
                  <a:lnTo>
                    <a:pt x="146" y="174"/>
                  </a:lnTo>
                  <a:lnTo>
                    <a:pt x="140" y="176"/>
                  </a:lnTo>
                  <a:lnTo>
                    <a:pt x="138" y="180"/>
                  </a:lnTo>
                  <a:lnTo>
                    <a:pt x="134" y="186"/>
                  </a:lnTo>
                  <a:lnTo>
                    <a:pt x="128" y="188"/>
                  </a:lnTo>
                  <a:lnTo>
                    <a:pt x="124" y="190"/>
                  </a:lnTo>
                  <a:lnTo>
                    <a:pt x="120" y="196"/>
                  </a:lnTo>
                  <a:lnTo>
                    <a:pt x="114" y="202"/>
                  </a:lnTo>
                  <a:lnTo>
                    <a:pt x="110" y="208"/>
                  </a:lnTo>
                  <a:lnTo>
                    <a:pt x="110" y="206"/>
                  </a:lnTo>
                  <a:lnTo>
                    <a:pt x="108" y="202"/>
                  </a:lnTo>
                  <a:lnTo>
                    <a:pt x="108" y="196"/>
                  </a:lnTo>
                  <a:lnTo>
                    <a:pt x="106" y="190"/>
                  </a:lnTo>
                  <a:lnTo>
                    <a:pt x="106" y="186"/>
                  </a:lnTo>
                  <a:lnTo>
                    <a:pt x="112" y="182"/>
                  </a:lnTo>
                  <a:lnTo>
                    <a:pt x="106" y="178"/>
                  </a:lnTo>
                  <a:lnTo>
                    <a:pt x="100" y="174"/>
                  </a:lnTo>
                  <a:lnTo>
                    <a:pt x="96" y="168"/>
                  </a:lnTo>
                  <a:lnTo>
                    <a:pt x="102" y="164"/>
                  </a:lnTo>
                  <a:lnTo>
                    <a:pt x="100" y="158"/>
                  </a:lnTo>
                  <a:lnTo>
                    <a:pt x="98" y="160"/>
                  </a:lnTo>
                  <a:lnTo>
                    <a:pt x="90" y="156"/>
                  </a:lnTo>
                  <a:lnTo>
                    <a:pt x="86" y="158"/>
                  </a:lnTo>
                  <a:lnTo>
                    <a:pt x="78" y="152"/>
                  </a:lnTo>
                  <a:lnTo>
                    <a:pt x="74" y="148"/>
                  </a:lnTo>
                  <a:lnTo>
                    <a:pt x="68" y="144"/>
                  </a:lnTo>
                  <a:lnTo>
                    <a:pt x="62" y="142"/>
                  </a:lnTo>
                  <a:lnTo>
                    <a:pt x="58" y="136"/>
                  </a:lnTo>
                  <a:lnTo>
                    <a:pt x="52" y="132"/>
                  </a:lnTo>
                  <a:lnTo>
                    <a:pt x="46" y="130"/>
                  </a:lnTo>
                  <a:lnTo>
                    <a:pt x="52" y="128"/>
                  </a:lnTo>
                  <a:lnTo>
                    <a:pt x="58" y="128"/>
                  </a:lnTo>
                  <a:lnTo>
                    <a:pt x="64" y="126"/>
                  </a:lnTo>
                  <a:lnTo>
                    <a:pt x="66" y="120"/>
                  </a:lnTo>
                  <a:lnTo>
                    <a:pt x="66" y="114"/>
                  </a:lnTo>
                  <a:lnTo>
                    <a:pt x="60" y="112"/>
                  </a:lnTo>
                  <a:lnTo>
                    <a:pt x="54" y="108"/>
                  </a:lnTo>
                  <a:lnTo>
                    <a:pt x="48" y="106"/>
                  </a:lnTo>
                  <a:lnTo>
                    <a:pt x="42" y="102"/>
                  </a:lnTo>
                  <a:lnTo>
                    <a:pt x="36" y="96"/>
                  </a:lnTo>
                  <a:lnTo>
                    <a:pt x="32" y="90"/>
                  </a:lnTo>
                  <a:lnTo>
                    <a:pt x="28" y="84"/>
                  </a:lnTo>
                  <a:lnTo>
                    <a:pt x="32" y="78"/>
                  </a:lnTo>
                  <a:lnTo>
                    <a:pt x="38" y="76"/>
                  </a:lnTo>
                  <a:lnTo>
                    <a:pt x="36" y="70"/>
                  </a:lnTo>
                  <a:lnTo>
                    <a:pt x="30" y="64"/>
                  </a:lnTo>
                  <a:lnTo>
                    <a:pt x="24" y="60"/>
                  </a:lnTo>
                  <a:lnTo>
                    <a:pt x="18" y="60"/>
                  </a:lnTo>
                  <a:lnTo>
                    <a:pt x="16" y="60"/>
                  </a:lnTo>
                  <a:lnTo>
                    <a:pt x="12" y="58"/>
                  </a:lnTo>
                  <a:lnTo>
                    <a:pt x="6" y="54"/>
                  </a:lnTo>
                  <a:lnTo>
                    <a:pt x="12" y="54"/>
                  </a:lnTo>
                  <a:lnTo>
                    <a:pt x="8" y="48"/>
                  </a:lnTo>
                  <a:lnTo>
                    <a:pt x="2" y="46"/>
                  </a:lnTo>
                  <a:lnTo>
                    <a:pt x="0"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6" name="Freeform 113"/>
            <p:cNvSpPr>
              <a:spLocks/>
            </p:cNvSpPr>
            <p:nvPr/>
          </p:nvSpPr>
          <p:spPr bwMode="auto">
            <a:xfrm>
              <a:off x="5243513" y="3070225"/>
              <a:ext cx="79375" cy="69850"/>
            </a:xfrm>
            <a:custGeom>
              <a:avLst/>
              <a:gdLst>
                <a:gd name="T0" fmla="*/ 2147483647 w 198"/>
                <a:gd name="T1" fmla="*/ 2147483647 h 168"/>
                <a:gd name="T2" fmla="*/ 2147483647 w 198"/>
                <a:gd name="T3" fmla="*/ 2147483647 h 168"/>
                <a:gd name="T4" fmla="*/ 2147483647 w 198"/>
                <a:gd name="T5" fmla="*/ 2147483647 h 168"/>
                <a:gd name="T6" fmla="*/ 2147483647 w 198"/>
                <a:gd name="T7" fmla="*/ 2147483647 h 168"/>
                <a:gd name="T8" fmla="*/ 2147483647 w 198"/>
                <a:gd name="T9" fmla="*/ 2147483647 h 168"/>
                <a:gd name="T10" fmla="*/ 2147483647 w 198"/>
                <a:gd name="T11" fmla="*/ 2147483647 h 168"/>
                <a:gd name="T12" fmla="*/ 2147483647 w 198"/>
                <a:gd name="T13" fmla="*/ 2147483647 h 168"/>
                <a:gd name="T14" fmla="*/ 2147483647 w 198"/>
                <a:gd name="T15" fmla="*/ 2147483647 h 168"/>
                <a:gd name="T16" fmla="*/ 2147483647 w 198"/>
                <a:gd name="T17" fmla="*/ 2147483647 h 168"/>
                <a:gd name="T18" fmla="*/ 2147483647 w 198"/>
                <a:gd name="T19" fmla="*/ 0 h 168"/>
                <a:gd name="T20" fmla="*/ 2147483647 w 198"/>
                <a:gd name="T21" fmla="*/ 2147483647 h 168"/>
                <a:gd name="T22" fmla="*/ 2147483647 w 198"/>
                <a:gd name="T23" fmla="*/ 2147483647 h 168"/>
                <a:gd name="T24" fmla="*/ 2147483647 w 198"/>
                <a:gd name="T25" fmla="*/ 2147483647 h 168"/>
                <a:gd name="T26" fmla="*/ 2147483647 w 198"/>
                <a:gd name="T27" fmla="*/ 2147483647 h 168"/>
                <a:gd name="T28" fmla="*/ 2147483647 w 198"/>
                <a:gd name="T29" fmla="*/ 2147483647 h 168"/>
                <a:gd name="T30" fmla="*/ 2147483647 w 198"/>
                <a:gd name="T31" fmla="*/ 2147483647 h 168"/>
                <a:gd name="T32" fmla="*/ 2147483647 w 198"/>
                <a:gd name="T33" fmla="*/ 2147483647 h 168"/>
                <a:gd name="T34" fmla="*/ 2147483647 w 198"/>
                <a:gd name="T35" fmla="*/ 2147483647 h 168"/>
                <a:gd name="T36" fmla="*/ 2147483647 w 198"/>
                <a:gd name="T37" fmla="*/ 2147483647 h 168"/>
                <a:gd name="T38" fmla="*/ 2147483647 w 198"/>
                <a:gd name="T39" fmla="*/ 2147483647 h 168"/>
                <a:gd name="T40" fmla="*/ 2147483647 w 198"/>
                <a:gd name="T41" fmla="*/ 2147483647 h 168"/>
                <a:gd name="T42" fmla="*/ 2147483647 w 198"/>
                <a:gd name="T43" fmla="*/ 2147483647 h 168"/>
                <a:gd name="T44" fmla="*/ 2147483647 w 198"/>
                <a:gd name="T45" fmla="*/ 2147483647 h 168"/>
                <a:gd name="T46" fmla="*/ 2147483647 w 198"/>
                <a:gd name="T47" fmla="*/ 2147483647 h 168"/>
                <a:gd name="T48" fmla="*/ 2147483647 w 198"/>
                <a:gd name="T49" fmla="*/ 2147483647 h 168"/>
                <a:gd name="T50" fmla="*/ 2147483647 w 198"/>
                <a:gd name="T51" fmla="*/ 2147483647 h 168"/>
                <a:gd name="T52" fmla="*/ 2147483647 w 198"/>
                <a:gd name="T53" fmla="*/ 2147483647 h 168"/>
                <a:gd name="T54" fmla="*/ 2147483647 w 198"/>
                <a:gd name="T55" fmla="*/ 2147483647 h 168"/>
                <a:gd name="T56" fmla="*/ 2147483647 w 198"/>
                <a:gd name="T57" fmla="*/ 2147483647 h 168"/>
                <a:gd name="T58" fmla="*/ 2147483647 w 198"/>
                <a:gd name="T59" fmla="*/ 2147483647 h 168"/>
                <a:gd name="T60" fmla="*/ 2147483647 w 198"/>
                <a:gd name="T61" fmla="*/ 2147483647 h 168"/>
                <a:gd name="T62" fmla="*/ 2147483647 w 198"/>
                <a:gd name="T63" fmla="*/ 2147483647 h 168"/>
                <a:gd name="T64" fmla="*/ 2147483647 w 198"/>
                <a:gd name="T65" fmla="*/ 2147483647 h 168"/>
                <a:gd name="T66" fmla="*/ 2147483647 w 198"/>
                <a:gd name="T67" fmla="*/ 2147483647 h 168"/>
                <a:gd name="T68" fmla="*/ 2147483647 w 198"/>
                <a:gd name="T69" fmla="*/ 2147483647 h 168"/>
                <a:gd name="T70" fmla="*/ 2147483647 w 198"/>
                <a:gd name="T71" fmla="*/ 2147483647 h 168"/>
                <a:gd name="T72" fmla="*/ 2147483647 w 198"/>
                <a:gd name="T73" fmla="*/ 2147483647 h 168"/>
                <a:gd name="T74" fmla="*/ 2147483647 w 198"/>
                <a:gd name="T75" fmla="*/ 2147483647 h 168"/>
                <a:gd name="T76" fmla="*/ 2147483647 w 198"/>
                <a:gd name="T77" fmla="*/ 2147483647 h 168"/>
                <a:gd name="T78" fmla="*/ 2147483647 w 198"/>
                <a:gd name="T79" fmla="*/ 2147483647 h 168"/>
                <a:gd name="T80" fmla="*/ 2147483647 w 198"/>
                <a:gd name="T81" fmla="*/ 2147483647 h 168"/>
                <a:gd name="T82" fmla="*/ 2147483647 w 198"/>
                <a:gd name="T83" fmla="*/ 2147483647 h 168"/>
                <a:gd name="T84" fmla="*/ 2147483647 w 198"/>
                <a:gd name="T85" fmla="*/ 2147483647 h 168"/>
                <a:gd name="T86" fmla="*/ 2147483647 w 198"/>
                <a:gd name="T87" fmla="*/ 2147483647 h 168"/>
                <a:gd name="T88" fmla="*/ 2147483647 w 198"/>
                <a:gd name="T89" fmla="*/ 2147483647 h 168"/>
                <a:gd name="T90" fmla="*/ 2147483647 w 198"/>
                <a:gd name="T91" fmla="*/ 2147483647 h 168"/>
                <a:gd name="T92" fmla="*/ 2147483647 w 198"/>
                <a:gd name="T93" fmla="*/ 2147483647 h 168"/>
                <a:gd name="T94" fmla="*/ 2147483647 w 198"/>
                <a:gd name="T95" fmla="*/ 2147483647 h 168"/>
                <a:gd name="T96" fmla="*/ 2147483647 w 198"/>
                <a:gd name="T97" fmla="*/ 2147483647 h 168"/>
                <a:gd name="T98" fmla="*/ 2147483647 w 198"/>
                <a:gd name="T99" fmla="*/ 2147483647 h 168"/>
                <a:gd name="T100" fmla="*/ 2147483647 w 198"/>
                <a:gd name="T101" fmla="*/ 2147483647 h 168"/>
                <a:gd name="T102" fmla="*/ 2147483647 w 198"/>
                <a:gd name="T103" fmla="*/ 2147483647 h 168"/>
                <a:gd name="T104" fmla="*/ 2147483647 w 198"/>
                <a:gd name="T105" fmla="*/ 2147483647 h 168"/>
                <a:gd name="T106" fmla="*/ 2147483647 w 198"/>
                <a:gd name="T107" fmla="*/ 2147483647 h 168"/>
                <a:gd name="T108" fmla="*/ 2147483647 w 198"/>
                <a:gd name="T109" fmla="*/ 2147483647 h 168"/>
                <a:gd name="T110" fmla="*/ 2147483647 w 198"/>
                <a:gd name="T111" fmla="*/ 2147483647 h 168"/>
                <a:gd name="T112" fmla="*/ 2147483647 w 198"/>
                <a:gd name="T113" fmla="*/ 2147483647 h 168"/>
                <a:gd name="T114" fmla="*/ 2147483647 w 198"/>
                <a:gd name="T115" fmla="*/ 2147483647 h 168"/>
                <a:gd name="T116" fmla="*/ 2147483647 w 198"/>
                <a:gd name="T117" fmla="*/ 2147483647 h 168"/>
                <a:gd name="T118" fmla="*/ 2147483647 w 198"/>
                <a:gd name="T119" fmla="*/ 2147483647 h 168"/>
                <a:gd name="T120" fmla="*/ 2147483647 w 198"/>
                <a:gd name="T121" fmla="*/ 2147483647 h 168"/>
                <a:gd name="T122" fmla="*/ 2147483647 w 198"/>
                <a:gd name="T123" fmla="*/ 2147483647 h 168"/>
                <a:gd name="T124" fmla="*/ 0 w 198"/>
                <a:gd name="T125" fmla="*/ 2147483647 h 1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8"/>
                <a:gd name="T190" fmla="*/ 0 h 168"/>
                <a:gd name="T191" fmla="*/ 198 w 198"/>
                <a:gd name="T192" fmla="*/ 168 h 1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8" h="168">
                  <a:moveTo>
                    <a:pt x="0" y="12"/>
                  </a:moveTo>
                  <a:lnTo>
                    <a:pt x="8" y="10"/>
                  </a:lnTo>
                  <a:lnTo>
                    <a:pt x="12" y="12"/>
                  </a:lnTo>
                  <a:lnTo>
                    <a:pt x="18" y="12"/>
                  </a:lnTo>
                  <a:lnTo>
                    <a:pt x="20" y="12"/>
                  </a:lnTo>
                  <a:lnTo>
                    <a:pt x="20" y="10"/>
                  </a:lnTo>
                  <a:lnTo>
                    <a:pt x="26" y="8"/>
                  </a:lnTo>
                  <a:lnTo>
                    <a:pt x="32" y="8"/>
                  </a:lnTo>
                  <a:lnTo>
                    <a:pt x="38" y="8"/>
                  </a:lnTo>
                  <a:lnTo>
                    <a:pt x="44" y="4"/>
                  </a:lnTo>
                  <a:lnTo>
                    <a:pt x="48" y="6"/>
                  </a:lnTo>
                  <a:lnTo>
                    <a:pt x="54" y="6"/>
                  </a:lnTo>
                  <a:lnTo>
                    <a:pt x="60" y="4"/>
                  </a:lnTo>
                  <a:lnTo>
                    <a:pt x="66" y="4"/>
                  </a:lnTo>
                  <a:lnTo>
                    <a:pt x="72" y="4"/>
                  </a:lnTo>
                  <a:lnTo>
                    <a:pt x="78" y="4"/>
                  </a:lnTo>
                  <a:lnTo>
                    <a:pt x="80" y="4"/>
                  </a:lnTo>
                  <a:lnTo>
                    <a:pt x="78" y="2"/>
                  </a:lnTo>
                  <a:lnTo>
                    <a:pt x="84" y="2"/>
                  </a:lnTo>
                  <a:lnTo>
                    <a:pt x="86" y="0"/>
                  </a:lnTo>
                  <a:lnTo>
                    <a:pt x="88" y="4"/>
                  </a:lnTo>
                  <a:lnTo>
                    <a:pt x="94" y="6"/>
                  </a:lnTo>
                  <a:lnTo>
                    <a:pt x="98" y="12"/>
                  </a:lnTo>
                  <a:lnTo>
                    <a:pt x="92" y="12"/>
                  </a:lnTo>
                  <a:lnTo>
                    <a:pt x="98" y="16"/>
                  </a:lnTo>
                  <a:lnTo>
                    <a:pt x="102" y="18"/>
                  </a:lnTo>
                  <a:lnTo>
                    <a:pt x="104" y="18"/>
                  </a:lnTo>
                  <a:lnTo>
                    <a:pt x="110" y="18"/>
                  </a:lnTo>
                  <a:lnTo>
                    <a:pt x="116" y="22"/>
                  </a:lnTo>
                  <a:lnTo>
                    <a:pt x="122" y="28"/>
                  </a:lnTo>
                  <a:lnTo>
                    <a:pt x="124" y="34"/>
                  </a:lnTo>
                  <a:lnTo>
                    <a:pt x="118" y="36"/>
                  </a:lnTo>
                  <a:lnTo>
                    <a:pt x="114" y="42"/>
                  </a:lnTo>
                  <a:lnTo>
                    <a:pt x="118" y="48"/>
                  </a:lnTo>
                  <a:lnTo>
                    <a:pt x="122" y="54"/>
                  </a:lnTo>
                  <a:lnTo>
                    <a:pt x="128" y="60"/>
                  </a:lnTo>
                  <a:lnTo>
                    <a:pt x="134" y="64"/>
                  </a:lnTo>
                  <a:lnTo>
                    <a:pt x="140" y="66"/>
                  </a:lnTo>
                  <a:lnTo>
                    <a:pt x="146" y="70"/>
                  </a:lnTo>
                  <a:lnTo>
                    <a:pt x="152" y="72"/>
                  </a:lnTo>
                  <a:lnTo>
                    <a:pt x="152" y="78"/>
                  </a:lnTo>
                  <a:lnTo>
                    <a:pt x="150" y="84"/>
                  </a:lnTo>
                  <a:lnTo>
                    <a:pt x="144" y="86"/>
                  </a:lnTo>
                  <a:lnTo>
                    <a:pt x="138" y="86"/>
                  </a:lnTo>
                  <a:lnTo>
                    <a:pt x="132" y="88"/>
                  </a:lnTo>
                  <a:lnTo>
                    <a:pt x="138" y="90"/>
                  </a:lnTo>
                  <a:lnTo>
                    <a:pt x="144" y="94"/>
                  </a:lnTo>
                  <a:lnTo>
                    <a:pt x="148" y="100"/>
                  </a:lnTo>
                  <a:lnTo>
                    <a:pt x="154" y="102"/>
                  </a:lnTo>
                  <a:lnTo>
                    <a:pt x="160" y="106"/>
                  </a:lnTo>
                  <a:lnTo>
                    <a:pt x="164" y="110"/>
                  </a:lnTo>
                  <a:lnTo>
                    <a:pt x="172" y="116"/>
                  </a:lnTo>
                  <a:lnTo>
                    <a:pt x="176" y="114"/>
                  </a:lnTo>
                  <a:lnTo>
                    <a:pt x="184" y="118"/>
                  </a:lnTo>
                  <a:lnTo>
                    <a:pt x="186" y="116"/>
                  </a:lnTo>
                  <a:lnTo>
                    <a:pt x="188" y="122"/>
                  </a:lnTo>
                  <a:lnTo>
                    <a:pt x="182" y="126"/>
                  </a:lnTo>
                  <a:lnTo>
                    <a:pt x="186" y="132"/>
                  </a:lnTo>
                  <a:lnTo>
                    <a:pt x="192" y="136"/>
                  </a:lnTo>
                  <a:lnTo>
                    <a:pt x="198" y="140"/>
                  </a:lnTo>
                  <a:lnTo>
                    <a:pt x="192" y="144"/>
                  </a:lnTo>
                  <a:lnTo>
                    <a:pt x="192" y="148"/>
                  </a:lnTo>
                  <a:lnTo>
                    <a:pt x="194" y="154"/>
                  </a:lnTo>
                  <a:lnTo>
                    <a:pt x="194" y="160"/>
                  </a:lnTo>
                  <a:lnTo>
                    <a:pt x="196" y="164"/>
                  </a:lnTo>
                  <a:lnTo>
                    <a:pt x="196" y="166"/>
                  </a:lnTo>
                  <a:lnTo>
                    <a:pt x="194" y="166"/>
                  </a:lnTo>
                  <a:lnTo>
                    <a:pt x="188" y="164"/>
                  </a:lnTo>
                  <a:lnTo>
                    <a:pt x="182" y="164"/>
                  </a:lnTo>
                  <a:lnTo>
                    <a:pt x="176" y="168"/>
                  </a:lnTo>
                  <a:lnTo>
                    <a:pt x="176" y="166"/>
                  </a:lnTo>
                  <a:lnTo>
                    <a:pt x="174" y="164"/>
                  </a:lnTo>
                  <a:lnTo>
                    <a:pt x="172" y="162"/>
                  </a:lnTo>
                  <a:lnTo>
                    <a:pt x="168" y="156"/>
                  </a:lnTo>
                  <a:lnTo>
                    <a:pt x="164" y="150"/>
                  </a:lnTo>
                  <a:lnTo>
                    <a:pt x="160" y="144"/>
                  </a:lnTo>
                  <a:lnTo>
                    <a:pt x="160" y="138"/>
                  </a:lnTo>
                  <a:lnTo>
                    <a:pt x="156" y="136"/>
                  </a:lnTo>
                  <a:lnTo>
                    <a:pt x="150" y="132"/>
                  </a:lnTo>
                  <a:lnTo>
                    <a:pt x="150" y="126"/>
                  </a:lnTo>
                  <a:lnTo>
                    <a:pt x="150" y="120"/>
                  </a:lnTo>
                  <a:lnTo>
                    <a:pt x="148" y="118"/>
                  </a:lnTo>
                  <a:lnTo>
                    <a:pt x="142" y="118"/>
                  </a:lnTo>
                  <a:lnTo>
                    <a:pt x="136" y="120"/>
                  </a:lnTo>
                  <a:lnTo>
                    <a:pt x="130" y="122"/>
                  </a:lnTo>
                  <a:lnTo>
                    <a:pt x="124" y="120"/>
                  </a:lnTo>
                  <a:lnTo>
                    <a:pt x="118" y="116"/>
                  </a:lnTo>
                  <a:lnTo>
                    <a:pt x="112" y="118"/>
                  </a:lnTo>
                  <a:lnTo>
                    <a:pt x="112" y="112"/>
                  </a:lnTo>
                  <a:lnTo>
                    <a:pt x="106" y="106"/>
                  </a:lnTo>
                  <a:lnTo>
                    <a:pt x="100" y="106"/>
                  </a:lnTo>
                  <a:lnTo>
                    <a:pt x="94" y="108"/>
                  </a:lnTo>
                  <a:lnTo>
                    <a:pt x="92" y="108"/>
                  </a:lnTo>
                  <a:lnTo>
                    <a:pt x="88" y="108"/>
                  </a:lnTo>
                  <a:lnTo>
                    <a:pt x="82" y="102"/>
                  </a:lnTo>
                  <a:lnTo>
                    <a:pt x="76" y="98"/>
                  </a:lnTo>
                  <a:lnTo>
                    <a:pt x="70" y="92"/>
                  </a:lnTo>
                  <a:lnTo>
                    <a:pt x="64" y="88"/>
                  </a:lnTo>
                  <a:lnTo>
                    <a:pt x="58" y="84"/>
                  </a:lnTo>
                  <a:lnTo>
                    <a:pt x="52" y="86"/>
                  </a:lnTo>
                  <a:lnTo>
                    <a:pt x="50" y="88"/>
                  </a:lnTo>
                  <a:lnTo>
                    <a:pt x="44" y="88"/>
                  </a:lnTo>
                  <a:lnTo>
                    <a:pt x="38" y="88"/>
                  </a:lnTo>
                  <a:lnTo>
                    <a:pt x="32" y="84"/>
                  </a:lnTo>
                  <a:lnTo>
                    <a:pt x="28" y="82"/>
                  </a:lnTo>
                  <a:lnTo>
                    <a:pt x="20" y="80"/>
                  </a:lnTo>
                  <a:lnTo>
                    <a:pt x="24" y="76"/>
                  </a:lnTo>
                  <a:lnTo>
                    <a:pt x="22" y="70"/>
                  </a:lnTo>
                  <a:lnTo>
                    <a:pt x="16" y="64"/>
                  </a:lnTo>
                  <a:lnTo>
                    <a:pt x="16" y="60"/>
                  </a:lnTo>
                  <a:lnTo>
                    <a:pt x="16" y="54"/>
                  </a:lnTo>
                  <a:lnTo>
                    <a:pt x="20" y="48"/>
                  </a:lnTo>
                  <a:lnTo>
                    <a:pt x="20" y="46"/>
                  </a:lnTo>
                  <a:lnTo>
                    <a:pt x="22" y="42"/>
                  </a:lnTo>
                  <a:lnTo>
                    <a:pt x="20" y="38"/>
                  </a:lnTo>
                  <a:lnTo>
                    <a:pt x="20" y="36"/>
                  </a:lnTo>
                  <a:lnTo>
                    <a:pt x="16" y="30"/>
                  </a:lnTo>
                  <a:lnTo>
                    <a:pt x="14" y="24"/>
                  </a:lnTo>
                  <a:lnTo>
                    <a:pt x="8" y="20"/>
                  </a:lnTo>
                  <a:lnTo>
                    <a:pt x="2" y="18"/>
                  </a:lnTo>
                  <a:lnTo>
                    <a:pt x="0"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7" name="Freeform 114"/>
            <p:cNvSpPr>
              <a:spLocks/>
            </p:cNvSpPr>
            <p:nvPr/>
          </p:nvSpPr>
          <p:spPr bwMode="auto">
            <a:xfrm>
              <a:off x="5800725" y="3078163"/>
              <a:ext cx="192088" cy="123825"/>
            </a:xfrm>
            <a:custGeom>
              <a:avLst/>
              <a:gdLst>
                <a:gd name="T0" fmla="*/ 2147483647 w 472"/>
                <a:gd name="T1" fmla="*/ 2147483647 h 302"/>
                <a:gd name="T2" fmla="*/ 2147483647 w 472"/>
                <a:gd name="T3" fmla="*/ 2147483647 h 302"/>
                <a:gd name="T4" fmla="*/ 2147483647 w 472"/>
                <a:gd name="T5" fmla="*/ 2147483647 h 302"/>
                <a:gd name="T6" fmla="*/ 2147483647 w 472"/>
                <a:gd name="T7" fmla="*/ 2147483647 h 302"/>
                <a:gd name="T8" fmla="*/ 2147483647 w 472"/>
                <a:gd name="T9" fmla="*/ 2147483647 h 302"/>
                <a:gd name="T10" fmla="*/ 2147483647 w 472"/>
                <a:gd name="T11" fmla="*/ 2147483647 h 302"/>
                <a:gd name="T12" fmla="*/ 2147483647 w 472"/>
                <a:gd name="T13" fmla="*/ 2147483647 h 302"/>
                <a:gd name="T14" fmla="*/ 2147483647 w 472"/>
                <a:gd name="T15" fmla="*/ 2147483647 h 302"/>
                <a:gd name="T16" fmla="*/ 2147483647 w 472"/>
                <a:gd name="T17" fmla="*/ 2147483647 h 302"/>
                <a:gd name="T18" fmla="*/ 2147483647 w 472"/>
                <a:gd name="T19" fmla="*/ 2147483647 h 302"/>
                <a:gd name="T20" fmla="*/ 2147483647 w 472"/>
                <a:gd name="T21" fmla="*/ 2147483647 h 302"/>
                <a:gd name="T22" fmla="*/ 2147483647 w 472"/>
                <a:gd name="T23" fmla="*/ 2147483647 h 302"/>
                <a:gd name="T24" fmla="*/ 2147483647 w 472"/>
                <a:gd name="T25" fmla="*/ 2147483647 h 302"/>
                <a:gd name="T26" fmla="*/ 2147483647 w 472"/>
                <a:gd name="T27" fmla="*/ 2147483647 h 302"/>
                <a:gd name="T28" fmla="*/ 2147483647 w 472"/>
                <a:gd name="T29" fmla="*/ 2147483647 h 302"/>
                <a:gd name="T30" fmla="*/ 2147483647 w 472"/>
                <a:gd name="T31" fmla="*/ 2147483647 h 302"/>
                <a:gd name="T32" fmla="*/ 2147483647 w 472"/>
                <a:gd name="T33" fmla="*/ 2147483647 h 302"/>
                <a:gd name="T34" fmla="*/ 2147483647 w 472"/>
                <a:gd name="T35" fmla="*/ 2147483647 h 302"/>
                <a:gd name="T36" fmla="*/ 2147483647 w 472"/>
                <a:gd name="T37" fmla="*/ 2147483647 h 302"/>
                <a:gd name="T38" fmla="*/ 2147483647 w 472"/>
                <a:gd name="T39" fmla="*/ 2147483647 h 302"/>
                <a:gd name="T40" fmla="*/ 2147483647 w 472"/>
                <a:gd name="T41" fmla="*/ 2147483647 h 302"/>
                <a:gd name="T42" fmla="*/ 2147483647 w 472"/>
                <a:gd name="T43" fmla="*/ 2147483647 h 302"/>
                <a:gd name="T44" fmla="*/ 2147483647 w 472"/>
                <a:gd name="T45" fmla="*/ 2147483647 h 302"/>
                <a:gd name="T46" fmla="*/ 2147483647 w 472"/>
                <a:gd name="T47" fmla="*/ 2147483647 h 302"/>
                <a:gd name="T48" fmla="*/ 2147483647 w 472"/>
                <a:gd name="T49" fmla="*/ 2147483647 h 302"/>
                <a:gd name="T50" fmla="*/ 2147483647 w 472"/>
                <a:gd name="T51" fmla="*/ 2147483647 h 302"/>
                <a:gd name="T52" fmla="*/ 2147483647 w 472"/>
                <a:gd name="T53" fmla="*/ 2147483647 h 302"/>
                <a:gd name="T54" fmla="*/ 2147483647 w 472"/>
                <a:gd name="T55" fmla="*/ 2147483647 h 302"/>
                <a:gd name="T56" fmla="*/ 2147483647 w 472"/>
                <a:gd name="T57" fmla="*/ 2147483647 h 302"/>
                <a:gd name="T58" fmla="*/ 2147483647 w 472"/>
                <a:gd name="T59" fmla="*/ 2147483647 h 302"/>
                <a:gd name="T60" fmla="*/ 2147483647 w 472"/>
                <a:gd name="T61" fmla="*/ 2147483647 h 302"/>
                <a:gd name="T62" fmla="*/ 2147483647 w 472"/>
                <a:gd name="T63" fmla="*/ 2147483647 h 302"/>
                <a:gd name="T64" fmla="*/ 2147483647 w 472"/>
                <a:gd name="T65" fmla="*/ 2147483647 h 302"/>
                <a:gd name="T66" fmla="*/ 2147483647 w 472"/>
                <a:gd name="T67" fmla="*/ 2147483647 h 302"/>
                <a:gd name="T68" fmla="*/ 2147483647 w 472"/>
                <a:gd name="T69" fmla="*/ 2147483647 h 302"/>
                <a:gd name="T70" fmla="*/ 2147483647 w 472"/>
                <a:gd name="T71" fmla="*/ 2147483647 h 302"/>
                <a:gd name="T72" fmla="*/ 2147483647 w 472"/>
                <a:gd name="T73" fmla="*/ 2147483647 h 302"/>
                <a:gd name="T74" fmla="*/ 2147483647 w 472"/>
                <a:gd name="T75" fmla="*/ 2147483647 h 302"/>
                <a:gd name="T76" fmla="*/ 2147483647 w 472"/>
                <a:gd name="T77" fmla="*/ 2147483647 h 302"/>
                <a:gd name="T78" fmla="*/ 2147483647 w 472"/>
                <a:gd name="T79" fmla="*/ 2147483647 h 302"/>
                <a:gd name="T80" fmla="*/ 2147483647 w 472"/>
                <a:gd name="T81" fmla="*/ 2147483647 h 302"/>
                <a:gd name="T82" fmla="*/ 2147483647 w 472"/>
                <a:gd name="T83" fmla="*/ 2147483647 h 302"/>
                <a:gd name="T84" fmla="*/ 2147483647 w 472"/>
                <a:gd name="T85" fmla="*/ 2147483647 h 302"/>
                <a:gd name="T86" fmla="*/ 2147483647 w 472"/>
                <a:gd name="T87" fmla="*/ 2147483647 h 302"/>
                <a:gd name="T88" fmla="*/ 2147483647 w 472"/>
                <a:gd name="T89" fmla="*/ 2147483647 h 302"/>
                <a:gd name="T90" fmla="*/ 2147483647 w 472"/>
                <a:gd name="T91" fmla="*/ 2147483647 h 302"/>
                <a:gd name="T92" fmla="*/ 2147483647 w 472"/>
                <a:gd name="T93" fmla="*/ 2147483647 h 302"/>
                <a:gd name="T94" fmla="*/ 2147483647 w 472"/>
                <a:gd name="T95" fmla="*/ 2147483647 h 302"/>
                <a:gd name="T96" fmla="*/ 2147483647 w 472"/>
                <a:gd name="T97" fmla="*/ 2147483647 h 302"/>
                <a:gd name="T98" fmla="*/ 2147483647 w 472"/>
                <a:gd name="T99" fmla="*/ 2147483647 h 302"/>
                <a:gd name="T100" fmla="*/ 2147483647 w 472"/>
                <a:gd name="T101" fmla="*/ 2147483647 h 302"/>
                <a:gd name="T102" fmla="*/ 2147483647 w 472"/>
                <a:gd name="T103" fmla="*/ 2147483647 h 302"/>
                <a:gd name="T104" fmla="*/ 2147483647 w 472"/>
                <a:gd name="T105" fmla="*/ 2147483647 h 302"/>
                <a:gd name="T106" fmla="*/ 2147483647 w 472"/>
                <a:gd name="T107" fmla="*/ 2147483647 h 302"/>
                <a:gd name="T108" fmla="*/ 2147483647 w 472"/>
                <a:gd name="T109" fmla="*/ 2147483647 h 302"/>
                <a:gd name="T110" fmla="*/ 2147483647 w 472"/>
                <a:gd name="T111" fmla="*/ 2147483647 h 302"/>
                <a:gd name="T112" fmla="*/ 2147483647 w 472"/>
                <a:gd name="T113" fmla="*/ 2147483647 h 302"/>
                <a:gd name="T114" fmla="*/ 2147483647 w 472"/>
                <a:gd name="T115" fmla="*/ 2147483647 h 302"/>
                <a:gd name="T116" fmla="*/ 2147483647 w 472"/>
                <a:gd name="T117" fmla="*/ 2147483647 h 30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72"/>
                <a:gd name="T178" fmla="*/ 0 h 302"/>
                <a:gd name="T179" fmla="*/ 472 w 472"/>
                <a:gd name="T180" fmla="*/ 302 h 30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72" h="302">
                  <a:moveTo>
                    <a:pt x="0" y="122"/>
                  </a:moveTo>
                  <a:lnTo>
                    <a:pt x="2" y="116"/>
                  </a:lnTo>
                  <a:lnTo>
                    <a:pt x="2" y="110"/>
                  </a:lnTo>
                  <a:lnTo>
                    <a:pt x="2" y="108"/>
                  </a:lnTo>
                  <a:lnTo>
                    <a:pt x="6" y="106"/>
                  </a:lnTo>
                  <a:lnTo>
                    <a:pt x="8" y="102"/>
                  </a:lnTo>
                  <a:lnTo>
                    <a:pt x="14" y="98"/>
                  </a:lnTo>
                  <a:lnTo>
                    <a:pt x="20" y="98"/>
                  </a:lnTo>
                  <a:lnTo>
                    <a:pt x="26" y="100"/>
                  </a:lnTo>
                  <a:lnTo>
                    <a:pt x="30" y="100"/>
                  </a:lnTo>
                  <a:lnTo>
                    <a:pt x="38" y="102"/>
                  </a:lnTo>
                  <a:lnTo>
                    <a:pt x="44" y="102"/>
                  </a:lnTo>
                  <a:lnTo>
                    <a:pt x="50" y="102"/>
                  </a:lnTo>
                  <a:lnTo>
                    <a:pt x="56" y="104"/>
                  </a:lnTo>
                  <a:lnTo>
                    <a:pt x="62" y="102"/>
                  </a:lnTo>
                  <a:lnTo>
                    <a:pt x="66" y="96"/>
                  </a:lnTo>
                  <a:lnTo>
                    <a:pt x="64" y="88"/>
                  </a:lnTo>
                  <a:lnTo>
                    <a:pt x="64" y="82"/>
                  </a:lnTo>
                  <a:lnTo>
                    <a:pt x="66" y="82"/>
                  </a:lnTo>
                  <a:lnTo>
                    <a:pt x="72" y="80"/>
                  </a:lnTo>
                  <a:lnTo>
                    <a:pt x="70" y="74"/>
                  </a:lnTo>
                  <a:lnTo>
                    <a:pt x="76" y="78"/>
                  </a:lnTo>
                  <a:lnTo>
                    <a:pt x="70" y="72"/>
                  </a:lnTo>
                  <a:lnTo>
                    <a:pt x="68" y="66"/>
                  </a:lnTo>
                  <a:lnTo>
                    <a:pt x="74" y="66"/>
                  </a:lnTo>
                  <a:lnTo>
                    <a:pt x="76" y="68"/>
                  </a:lnTo>
                  <a:lnTo>
                    <a:pt x="72" y="62"/>
                  </a:lnTo>
                  <a:lnTo>
                    <a:pt x="70" y="62"/>
                  </a:lnTo>
                  <a:lnTo>
                    <a:pt x="64" y="64"/>
                  </a:lnTo>
                  <a:lnTo>
                    <a:pt x="62" y="64"/>
                  </a:lnTo>
                  <a:lnTo>
                    <a:pt x="58" y="62"/>
                  </a:lnTo>
                  <a:lnTo>
                    <a:pt x="56" y="62"/>
                  </a:lnTo>
                  <a:lnTo>
                    <a:pt x="58" y="60"/>
                  </a:lnTo>
                  <a:lnTo>
                    <a:pt x="64" y="58"/>
                  </a:lnTo>
                  <a:lnTo>
                    <a:pt x="66" y="58"/>
                  </a:lnTo>
                  <a:lnTo>
                    <a:pt x="68" y="58"/>
                  </a:lnTo>
                  <a:lnTo>
                    <a:pt x="74" y="56"/>
                  </a:lnTo>
                  <a:lnTo>
                    <a:pt x="78" y="56"/>
                  </a:lnTo>
                  <a:lnTo>
                    <a:pt x="80" y="56"/>
                  </a:lnTo>
                  <a:lnTo>
                    <a:pt x="82" y="56"/>
                  </a:lnTo>
                  <a:lnTo>
                    <a:pt x="86" y="58"/>
                  </a:lnTo>
                  <a:lnTo>
                    <a:pt x="92" y="60"/>
                  </a:lnTo>
                  <a:lnTo>
                    <a:pt x="92" y="58"/>
                  </a:lnTo>
                  <a:lnTo>
                    <a:pt x="96" y="58"/>
                  </a:lnTo>
                  <a:lnTo>
                    <a:pt x="94" y="56"/>
                  </a:lnTo>
                  <a:lnTo>
                    <a:pt x="92" y="56"/>
                  </a:lnTo>
                  <a:lnTo>
                    <a:pt x="92" y="52"/>
                  </a:lnTo>
                  <a:lnTo>
                    <a:pt x="94" y="52"/>
                  </a:lnTo>
                  <a:lnTo>
                    <a:pt x="92" y="46"/>
                  </a:lnTo>
                  <a:lnTo>
                    <a:pt x="90" y="44"/>
                  </a:lnTo>
                  <a:lnTo>
                    <a:pt x="88" y="38"/>
                  </a:lnTo>
                  <a:lnTo>
                    <a:pt x="84" y="32"/>
                  </a:lnTo>
                  <a:lnTo>
                    <a:pt x="88" y="26"/>
                  </a:lnTo>
                  <a:lnTo>
                    <a:pt x="88" y="20"/>
                  </a:lnTo>
                  <a:lnTo>
                    <a:pt x="94" y="16"/>
                  </a:lnTo>
                  <a:lnTo>
                    <a:pt x="98" y="20"/>
                  </a:lnTo>
                  <a:lnTo>
                    <a:pt x="100" y="20"/>
                  </a:lnTo>
                  <a:lnTo>
                    <a:pt x="106" y="26"/>
                  </a:lnTo>
                  <a:lnTo>
                    <a:pt x="112" y="28"/>
                  </a:lnTo>
                  <a:lnTo>
                    <a:pt x="118" y="22"/>
                  </a:lnTo>
                  <a:lnTo>
                    <a:pt x="124" y="20"/>
                  </a:lnTo>
                  <a:lnTo>
                    <a:pt x="126" y="20"/>
                  </a:lnTo>
                  <a:lnTo>
                    <a:pt x="132" y="16"/>
                  </a:lnTo>
                  <a:lnTo>
                    <a:pt x="136" y="12"/>
                  </a:lnTo>
                  <a:lnTo>
                    <a:pt x="142" y="6"/>
                  </a:lnTo>
                  <a:lnTo>
                    <a:pt x="146" y="0"/>
                  </a:lnTo>
                  <a:lnTo>
                    <a:pt x="148" y="4"/>
                  </a:lnTo>
                  <a:lnTo>
                    <a:pt x="154" y="8"/>
                  </a:lnTo>
                  <a:lnTo>
                    <a:pt x="160" y="14"/>
                  </a:lnTo>
                  <a:lnTo>
                    <a:pt x="162" y="20"/>
                  </a:lnTo>
                  <a:lnTo>
                    <a:pt x="168" y="22"/>
                  </a:lnTo>
                  <a:lnTo>
                    <a:pt x="170" y="22"/>
                  </a:lnTo>
                  <a:lnTo>
                    <a:pt x="164" y="28"/>
                  </a:lnTo>
                  <a:lnTo>
                    <a:pt x="158" y="34"/>
                  </a:lnTo>
                  <a:lnTo>
                    <a:pt x="156" y="36"/>
                  </a:lnTo>
                  <a:lnTo>
                    <a:pt x="150" y="40"/>
                  </a:lnTo>
                  <a:lnTo>
                    <a:pt x="150" y="44"/>
                  </a:lnTo>
                  <a:lnTo>
                    <a:pt x="152" y="46"/>
                  </a:lnTo>
                  <a:lnTo>
                    <a:pt x="156" y="48"/>
                  </a:lnTo>
                  <a:lnTo>
                    <a:pt x="158" y="48"/>
                  </a:lnTo>
                  <a:lnTo>
                    <a:pt x="160" y="48"/>
                  </a:lnTo>
                  <a:lnTo>
                    <a:pt x="166" y="52"/>
                  </a:lnTo>
                  <a:lnTo>
                    <a:pt x="170" y="58"/>
                  </a:lnTo>
                  <a:lnTo>
                    <a:pt x="176" y="58"/>
                  </a:lnTo>
                  <a:lnTo>
                    <a:pt x="182" y="56"/>
                  </a:lnTo>
                  <a:lnTo>
                    <a:pt x="188" y="56"/>
                  </a:lnTo>
                  <a:lnTo>
                    <a:pt x="182" y="60"/>
                  </a:lnTo>
                  <a:lnTo>
                    <a:pt x="176" y="64"/>
                  </a:lnTo>
                  <a:lnTo>
                    <a:pt x="174" y="70"/>
                  </a:lnTo>
                  <a:lnTo>
                    <a:pt x="174" y="72"/>
                  </a:lnTo>
                  <a:lnTo>
                    <a:pt x="168" y="76"/>
                  </a:lnTo>
                  <a:lnTo>
                    <a:pt x="164" y="76"/>
                  </a:lnTo>
                  <a:lnTo>
                    <a:pt x="168" y="72"/>
                  </a:lnTo>
                  <a:lnTo>
                    <a:pt x="168" y="70"/>
                  </a:lnTo>
                  <a:lnTo>
                    <a:pt x="162" y="68"/>
                  </a:lnTo>
                  <a:lnTo>
                    <a:pt x="156" y="66"/>
                  </a:lnTo>
                  <a:lnTo>
                    <a:pt x="150" y="62"/>
                  </a:lnTo>
                  <a:lnTo>
                    <a:pt x="144" y="62"/>
                  </a:lnTo>
                  <a:lnTo>
                    <a:pt x="138" y="58"/>
                  </a:lnTo>
                  <a:lnTo>
                    <a:pt x="136" y="58"/>
                  </a:lnTo>
                  <a:lnTo>
                    <a:pt x="134" y="58"/>
                  </a:lnTo>
                  <a:lnTo>
                    <a:pt x="132" y="58"/>
                  </a:lnTo>
                  <a:lnTo>
                    <a:pt x="126" y="60"/>
                  </a:lnTo>
                  <a:lnTo>
                    <a:pt x="120" y="62"/>
                  </a:lnTo>
                  <a:lnTo>
                    <a:pt x="114" y="64"/>
                  </a:lnTo>
                  <a:lnTo>
                    <a:pt x="108" y="64"/>
                  </a:lnTo>
                  <a:lnTo>
                    <a:pt x="108" y="66"/>
                  </a:lnTo>
                  <a:lnTo>
                    <a:pt x="108" y="72"/>
                  </a:lnTo>
                  <a:lnTo>
                    <a:pt x="108" y="78"/>
                  </a:lnTo>
                  <a:lnTo>
                    <a:pt x="102" y="74"/>
                  </a:lnTo>
                  <a:lnTo>
                    <a:pt x="98" y="80"/>
                  </a:lnTo>
                  <a:lnTo>
                    <a:pt x="98" y="86"/>
                  </a:lnTo>
                  <a:lnTo>
                    <a:pt x="102" y="92"/>
                  </a:lnTo>
                  <a:lnTo>
                    <a:pt x="104" y="98"/>
                  </a:lnTo>
                  <a:lnTo>
                    <a:pt x="106" y="104"/>
                  </a:lnTo>
                  <a:lnTo>
                    <a:pt x="112" y="104"/>
                  </a:lnTo>
                  <a:lnTo>
                    <a:pt x="118" y="104"/>
                  </a:lnTo>
                  <a:lnTo>
                    <a:pt x="124" y="102"/>
                  </a:lnTo>
                  <a:lnTo>
                    <a:pt x="130" y="100"/>
                  </a:lnTo>
                  <a:lnTo>
                    <a:pt x="136" y="104"/>
                  </a:lnTo>
                  <a:lnTo>
                    <a:pt x="142" y="102"/>
                  </a:lnTo>
                  <a:lnTo>
                    <a:pt x="146" y="104"/>
                  </a:lnTo>
                  <a:lnTo>
                    <a:pt x="150" y="102"/>
                  </a:lnTo>
                  <a:lnTo>
                    <a:pt x="158" y="98"/>
                  </a:lnTo>
                  <a:lnTo>
                    <a:pt x="158" y="104"/>
                  </a:lnTo>
                  <a:lnTo>
                    <a:pt x="164" y="102"/>
                  </a:lnTo>
                  <a:lnTo>
                    <a:pt x="170" y="100"/>
                  </a:lnTo>
                  <a:lnTo>
                    <a:pt x="176" y="102"/>
                  </a:lnTo>
                  <a:lnTo>
                    <a:pt x="182" y="102"/>
                  </a:lnTo>
                  <a:lnTo>
                    <a:pt x="184" y="106"/>
                  </a:lnTo>
                  <a:lnTo>
                    <a:pt x="188" y="112"/>
                  </a:lnTo>
                  <a:lnTo>
                    <a:pt x="194" y="114"/>
                  </a:lnTo>
                  <a:lnTo>
                    <a:pt x="200" y="112"/>
                  </a:lnTo>
                  <a:lnTo>
                    <a:pt x="206" y="112"/>
                  </a:lnTo>
                  <a:lnTo>
                    <a:pt x="206" y="106"/>
                  </a:lnTo>
                  <a:lnTo>
                    <a:pt x="212" y="104"/>
                  </a:lnTo>
                  <a:lnTo>
                    <a:pt x="218" y="102"/>
                  </a:lnTo>
                  <a:lnTo>
                    <a:pt x="224" y="100"/>
                  </a:lnTo>
                  <a:lnTo>
                    <a:pt x="230" y="100"/>
                  </a:lnTo>
                  <a:lnTo>
                    <a:pt x="230" y="106"/>
                  </a:lnTo>
                  <a:lnTo>
                    <a:pt x="238" y="110"/>
                  </a:lnTo>
                  <a:lnTo>
                    <a:pt x="242" y="110"/>
                  </a:lnTo>
                  <a:lnTo>
                    <a:pt x="246" y="110"/>
                  </a:lnTo>
                  <a:lnTo>
                    <a:pt x="246" y="116"/>
                  </a:lnTo>
                  <a:lnTo>
                    <a:pt x="250" y="122"/>
                  </a:lnTo>
                  <a:lnTo>
                    <a:pt x="256" y="120"/>
                  </a:lnTo>
                  <a:lnTo>
                    <a:pt x="262" y="116"/>
                  </a:lnTo>
                  <a:lnTo>
                    <a:pt x="268" y="120"/>
                  </a:lnTo>
                  <a:lnTo>
                    <a:pt x="274" y="124"/>
                  </a:lnTo>
                  <a:lnTo>
                    <a:pt x="278" y="128"/>
                  </a:lnTo>
                  <a:lnTo>
                    <a:pt x="280" y="122"/>
                  </a:lnTo>
                  <a:lnTo>
                    <a:pt x="286" y="116"/>
                  </a:lnTo>
                  <a:lnTo>
                    <a:pt x="292" y="116"/>
                  </a:lnTo>
                  <a:lnTo>
                    <a:pt x="298" y="114"/>
                  </a:lnTo>
                  <a:lnTo>
                    <a:pt x="304" y="116"/>
                  </a:lnTo>
                  <a:lnTo>
                    <a:pt x="310" y="116"/>
                  </a:lnTo>
                  <a:lnTo>
                    <a:pt x="316" y="116"/>
                  </a:lnTo>
                  <a:lnTo>
                    <a:pt x="322" y="116"/>
                  </a:lnTo>
                  <a:lnTo>
                    <a:pt x="328" y="116"/>
                  </a:lnTo>
                  <a:lnTo>
                    <a:pt x="334" y="114"/>
                  </a:lnTo>
                  <a:lnTo>
                    <a:pt x="340" y="110"/>
                  </a:lnTo>
                  <a:lnTo>
                    <a:pt x="346" y="108"/>
                  </a:lnTo>
                  <a:lnTo>
                    <a:pt x="352" y="110"/>
                  </a:lnTo>
                  <a:lnTo>
                    <a:pt x="354" y="116"/>
                  </a:lnTo>
                  <a:lnTo>
                    <a:pt x="356" y="122"/>
                  </a:lnTo>
                  <a:lnTo>
                    <a:pt x="356" y="128"/>
                  </a:lnTo>
                  <a:lnTo>
                    <a:pt x="362" y="134"/>
                  </a:lnTo>
                  <a:lnTo>
                    <a:pt x="368" y="138"/>
                  </a:lnTo>
                  <a:lnTo>
                    <a:pt x="372" y="144"/>
                  </a:lnTo>
                  <a:lnTo>
                    <a:pt x="366" y="146"/>
                  </a:lnTo>
                  <a:lnTo>
                    <a:pt x="368" y="152"/>
                  </a:lnTo>
                  <a:lnTo>
                    <a:pt x="370" y="158"/>
                  </a:lnTo>
                  <a:lnTo>
                    <a:pt x="374" y="164"/>
                  </a:lnTo>
                  <a:lnTo>
                    <a:pt x="374" y="166"/>
                  </a:lnTo>
                  <a:lnTo>
                    <a:pt x="378" y="170"/>
                  </a:lnTo>
                  <a:lnTo>
                    <a:pt x="386" y="172"/>
                  </a:lnTo>
                  <a:lnTo>
                    <a:pt x="390" y="170"/>
                  </a:lnTo>
                  <a:lnTo>
                    <a:pt x="396" y="164"/>
                  </a:lnTo>
                  <a:lnTo>
                    <a:pt x="402" y="164"/>
                  </a:lnTo>
                  <a:lnTo>
                    <a:pt x="408" y="164"/>
                  </a:lnTo>
                  <a:lnTo>
                    <a:pt x="414" y="166"/>
                  </a:lnTo>
                  <a:lnTo>
                    <a:pt x="420" y="168"/>
                  </a:lnTo>
                  <a:lnTo>
                    <a:pt x="424" y="170"/>
                  </a:lnTo>
                  <a:lnTo>
                    <a:pt x="432" y="174"/>
                  </a:lnTo>
                  <a:lnTo>
                    <a:pt x="438" y="178"/>
                  </a:lnTo>
                  <a:lnTo>
                    <a:pt x="440" y="182"/>
                  </a:lnTo>
                  <a:lnTo>
                    <a:pt x="438" y="188"/>
                  </a:lnTo>
                  <a:lnTo>
                    <a:pt x="438" y="194"/>
                  </a:lnTo>
                  <a:lnTo>
                    <a:pt x="440" y="200"/>
                  </a:lnTo>
                  <a:lnTo>
                    <a:pt x="444" y="206"/>
                  </a:lnTo>
                  <a:lnTo>
                    <a:pt x="450" y="208"/>
                  </a:lnTo>
                  <a:lnTo>
                    <a:pt x="450" y="216"/>
                  </a:lnTo>
                  <a:lnTo>
                    <a:pt x="452" y="222"/>
                  </a:lnTo>
                  <a:lnTo>
                    <a:pt x="458" y="226"/>
                  </a:lnTo>
                  <a:lnTo>
                    <a:pt x="456" y="230"/>
                  </a:lnTo>
                  <a:lnTo>
                    <a:pt x="456" y="238"/>
                  </a:lnTo>
                  <a:lnTo>
                    <a:pt x="462" y="242"/>
                  </a:lnTo>
                  <a:lnTo>
                    <a:pt x="464" y="242"/>
                  </a:lnTo>
                  <a:lnTo>
                    <a:pt x="470" y="248"/>
                  </a:lnTo>
                  <a:lnTo>
                    <a:pt x="472" y="254"/>
                  </a:lnTo>
                  <a:lnTo>
                    <a:pt x="466" y="260"/>
                  </a:lnTo>
                  <a:lnTo>
                    <a:pt x="462" y="262"/>
                  </a:lnTo>
                  <a:lnTo>
                    <a:pt x="456" y="256"/>
                  </a:lnTo>
                  <a:lnTo>
                    <a:pt x="450" y="254"/>
                  </a:lnTo>
                  <a:lnTo>
                    <a:pt x="446" y="252"/>
                  </a:lnTo>
                  <a:lnTo>
                    <a:pt x="440" y="252"/>
                  </a:lnTo>
                  <a:lnTo>
                    <a:pt x="438" y="252"/>
                  </a:lnTo>
                  <a:lnTo>
                    <a:pt x="432" y="252"/>
                  </a:lnTo>
                  <a:lnTo>
                    <a:pt x="426" y="250"/>
                  </a:lnTo>
                  <a:lnTo>
                    <a:pt x="420" y="254"/>
                  </a:lnTo>
                  <a:lnTo>
                    <a:pt x="414" y="256"/>
                  </a:lnTo>
                  <a:lnTo>
                    <a:pt x="408" y="258"/>
                  </a:lnTo>
                  <a:lnTo>
                    <a:pt x="404" y="260"/>
                  </a:lnTo>
                  <a:lnTo>
                    <a:pt x="398" y="264"/>
                  </a:lnTo>
                  <a:lnTo>
                    <a:pt x="390" y="262"/>
                  </a:lnTo>
                  <a:lnTo>
                    <a:pt x="394" y="256"/>
                  </a:lnTo>
                  <a:lnTo>
                    <a:pt x="394" y="250"/>
                  </a:lnTo>
                  <a:lnTo>
                    <a:pt x="388" y="250"/>
                  </a:lnTo>
                  <a:lnTo>
                    <a:pt x="382" y="248"/>
                  </a:lnTo>
                  <a:lnTo>
                    <a:pt x="376" y="246"/>
                  </a:lnTo>
                  <a:lnTo>
                    <a:pt x="370" y="248"/>
                  </a:lnTo>
                  <a:lnTo>
                    <a:pt x="364" y="248"/>
                  </a:lnTo>
                  <a:lnTo>
                    <a:pt x="358" y="252"/>
                  </a:lnTo>
                  <a:lnTo>
                    <a:pt x="356" y="258"/>
                  </a:lnTo>
                  <a:lnTo>
                    <a:pt x="350" y="260"/>
                  </a:lnTo>
                  <a:lnTo>
                    <a:pt x="344" y="264"/>
                  </a:lnTo>
                  <a:lnTo>
                    <a:pt x="340" y="268"/>
                  </a:lnTo>
                  <a:lnTo>
                    <a:pt x="338" y="274"/>
                  </a:lnTo>
                  <a:lnTo>
                    <a:pt x="336" y="278"/>
                  </a:lnTo>
                  <a:lnTo>
                    <a:pt x="332" y="278"/>
                  </a:lnTo>
                  <a:lnTo>
                    <a:pt x="326" y="280"/>
                  </a:lnTo>
                  <a:lnTo>
                    <a:pt x="318" y="280"/>
                  </a:lnTo>
                  <a:lnTo>
                    <a:pt x="314" y="284"/>
                  </a:lnTo>
                  <a:lnTo>
                    <a:pt x="308" y="288"/>
                  </a:lnTo>
                  <a:lnTo>
                    <a:pt x="302" y="294"/>
                  </a:lnTo>
                  <a:lnTo>
                    <a:pt x="296" y="298"/>
                  </a:lnTo>
                  <a:lnTo>
                    <a:pt x="290" y="302"/>
                  </a:lnTo>
                  <a:lnTo>
                    <a:pt x="284" y="300"/>
                  </a:lnTo>
                  <a:lnTo>
                    <a:pt x="280" y="298"/>
                  </a:lnTo>
                  <a:lnTo>
                    <a:pt x="276" y="292"/>
                  </a:lnTo>
                  <a:lnTo>
                    <a:pt x="272" y="286"/>
                  </a:lnTo>
                  <a:lnTo>
                    <a:pt x="270" y="280"/>
                  </a:lnTo>
                  <a:lnTo>
                    <a:pt x="266" y="274"/>
                  </a:lnTo>
                  <a:lnTo>
                    <a:pt x="266" y="268"/>
                  </a:lnTo>
                  <a:lnTo>
                    <a:pt x="266" y="262"/>
                  </a:lnTo>
                  <a:lnTo>
                    <a:pt x="266" y="256"/>
                  </a:lnTo>
                  <a:lnTo>
                    <a:pt x="264" y="250"/>
                  </a:lnTo>
                  <a:lnTo>
                    <a:pt x="264" y="244"/>
                  </a:lnTo>
                  <a:lnTo>
                    <a:pt x="262" y="238"/>
                  </a:lnTo>
                  <a:lnTo>
                    <a:pt x="262" y="234"/>
                  </a:lnTo>
                  <a:lnTo>
                    <a:pt x="260" y="228"/>
                  </a:lnTo>
                  <a:lnTo>
                    <a:pt x="264" y="222"/>
                  </a:lnTo>
                  <a:lnTo>
                    <a:pt x="260" y="216"/>
                  </a:lnTo>
                  <a:lnTo>
                    <a:pt x="256" y="214"/>
                  </a:lnTo>
                  <a:lnTo>
                    <a:pt x="250" y="216"/>
                  </a:lnTo>
                  <a:lnTo>
                    <a:pt x="242" y="216"/>
                  </a:lnTo>
                  <a:lnTo>
                    <a:pt x="242" y="210"/>
                  </a:lnTo>
                  <a:lnTo>
                    <a:pt x="244" y="204"/>
                  </a:lnTo>
                  <a:lnTo>
                    <a:pt x="244" y="198"/>
                  </a:lnTo>
                  <a:lnTo>
                    <a:pt x="242" y="192"/>
                  </a:lnTo>
                  <a:lnTo>
                    <a:pt x="236" y="190"/>
                  </a:lnTo>
                  <a:lnTo>
                    <a:pt x="230" y="186"/>
                  </a:lnTo>
                  <a:lnTo>
                    <a:pt x="226" y="182"/>
                  </a:lnTo>
                  <a:lnTo>
                    <a:pt x="218" y="178"/>
                  </a:lnTo>
                  <a:lnTo>
                    <a:pt x="212" y="178"/>
                  </a:lnTo>
                  <a:lnTo>
                    <a:pt x="208" y="180"/>
                  </a:lnTo>
                  <a:lnTo>
                    <a:pt x="202" y="182"/>
                  </a:lnTo>
                  <a:lnTo>
                    <a:pt x="198" y="188"/>
                  </a:lnTo>
                  <a:lnTo>
                    <a:pt x="196" y="194"/>
                  </a:lnTo>
                  <a:lnTo>
                    <a:pt x="196" y="200"/>
                  </a:lnTo>
                  <a:lnTo>
                    <a:pt x="190" y="206"/>
                  </a:lnTo>
                  <a:lnTo>
                    <a:pt x="188" y="210"/>
                  </a:lnTo>
                  <a:lnTo>
                    <a:pt x="182" y="214"/>
                  </a:lnTo>
                  <a:lnTo>
                    <a:pt x="182" y="220"/>
                  </a:lnTo>
                  <a:lnTo>
                    <a:pt x="188" y="226"/>
                  </a:lnTo>
                  <a:lnTo>
                    <a:pt x="190" y="230"/>
                  </a:lnTo>
                  <a:lnTo>
                    <a:pt x="190" y="236"/>
                  </a:lnTo>
                  <a:lnTo>
                    <a:pt x="186" y="242"/>
                  </a:lnTo>
                  <a:lnTo>
                    <a:pt x="180" y="242"/>
                  </a:lnTo>
                  <a:lnTo>
                    <a:pt x="176" y="240"/>
                  </a:lnTo>
                  <a:lnTo>
                    <a:pt x="170" y="236"/>
                  </a:lnTo>
                  <a:lnTo>
                    <a:pt x="164" y="238"/>
                  </a:lnTo>
                  <a:lnTo>
                    <a:pt x="158" y="240"/>
                  </a:lnTo>
                  <a:lnTo>
                    <a:pt x="154" y="240"/>
                  </a:lnTo>
                  <a:lnTo>
                    <a:pt x="148" y="242"/>
                  </a:lnTo>
                  <a:lnTo>
                    <a:pt x="144" y="248"/>
                  </a:lnTo>
                  <a:lnTo>
                    <a:pt x="144" y="254"/>
                  </a:lnTo>
                  <a:lnTo>
                    <a:pt x="148" y="260"/>
                  </a:lnTo>
                  <a:lnTo>
                    <a:pt x="150" y="266"/>
                  </a:lnTo>
                  <a:lnTo>
                    <a:pt x="148" y="268"/>
                  </a:lnTo>
                  <a:lnTo>
                    <a:pt x="146" y="268"/>
                  </a:lnTo>
                  <a:lnTo>
                    <a:pt x="140" y="272"/>
                  </a:lnTo>
                  <a:lnTo>
                    <a:pt x="134" y="268"/>
                  </a:lnTo>
                  <a:lnTo>
                    <a:pt x="128" y="264"/>
                  </a:lnTo>
                  <a:lnTo>
                    <a:pt x="122" y="258"/>
                  </a:lnTo>
                  <a:lnTo>
                    <a:pt x="116" y="256"/>
                  </a:lnTo>
                  <a:lnTo>
                    <a:pt x="114" y="262"/>
                  </a:lnTo>
                  <a:lnTo>
                    <a:pt x="108" y="260"/>
                  </a:lnTo>
                  <a:lnTo>
                    <a:pt x="102" y="266"/>
                  </a:lnTo>
                  <a:lnTo>
                    <a:pt x="98" y="268"/>
                  </a:lnTo>
                  <a:lnTo>
                    <a:pt x="94" y="272"/>
                  </a:lnTo>
                  <a:lnTo>
                    <a:pt x="86" y="272"/>
                  </a:lnTo>
                  <a:lnTo>
                    <a:pt x="86" y="278"/>
                  </a:lnTo>
                  <a:lnTo>
                    <a:pt x="82" y="278"/>
                  </a:lnTo>
                  <a:lnTo>
                    <a:pt x="76" y="284"/>
                  </a:lnTo>
                  <a:lnTo>
                    <a:pt x="74" y="284"/>
                  </a:lnTo>
                  <a:lnTo>
                    <a:pt x="70" y="282"/>
                  </a:lnTo>
                  <a:lnTo>
                    <a:pt x="68" y="280"/>
                  </a:lnTo>
                  <a:lnTo>
                    <a:pt x="62" y="274"/>
                  </a:lnTo>
                  <a:lnTo>
                    <a:pt x="56" y="272"/>
                  </a:lnTo>
                  <a:lnTo>
                    <a:pt x="56" y="266"/>
                  </a:lnTo>
                  <a:lnTo>
                    <a:pt x="56" y="264"/>
                  </a:lnTo>
                  <a:lnTo>
                    <a:pt x="58" y="262"/>
                  </a:lnTo>
                  <a:lnTo>
                    <a:pt x="56" y="256"/>
                  </a:lnTo>
                  <a:lnTo>
                    <a:pt x="54" y="250"/>
                  </a:lnTo>
                  <a:lnTo>
                    <a:pt x="54" y="244"/>
                  </a:lnTo>
                  <a:lnTo>
                    <a:pt x="56" y="238"/>
                  </a:lnTo>
                  <a:lnTo>
                    <a:pt x="60" y="232"/>
                  </a:lnTo>
                  <a:lnTo>
                    <a:pt x="64" y="226"/>
                  </a:lnTo>
                  <a:lnTo>
                    <a:pt x="64" y="220"/>
                  </a:lnTo>
                  <a:lnTo>
                    <a:pt x="70" y="214"/>
                  </a:lnTo>
                  <a:lnTo>
                    <a:pt x="72" y="212"/>
                  </a:lnTo>
                  <a:lnTo>
                    <a:pt x="74" y="206"/>
                  </a:lnTo>
                  <a:lnTo>
                    <a:pt x="74" y="204"/>
                  </a:lnTo>
                  <a:lnTo>
                    <a:pt x="74" y="196"/>
                  </a:lnTo>
                  <a:lnTo>
                    <a:pt x="68" y="190"/>
                  </a:lnTo>
                  <a:lnTo>
                    <a:pt x="64" y="188"/>
                  </a:lnTo>
                  <a:lnTo>
                    <a:pt x="58" y="182"/>
                  </a:lnTo>
                  <a:lnTo>
                    <a:pt x="56" y="180"/>
                  </a:lnTo>
                  <a:lnTo>
                    <a:pt x="56" y="176"/>
                  </a:lnTo>
                  <a:lnTo>
                    <a:pt x="52" y="170"/>
                  </a:lnTo>
                  <a:lnTo>
                    <a:pt x="50" y="166"/>
                  </a:lnTo>
                  <a:lnTo>
                    <a:pt x="50" y="160"/>
                  </a:lnTo>
                  <a:lnTo>
                    <a:pt x="54" y="154"/>
                  </a:lnTo>
                  <a:lnTo>
                    <a:pt x="52" y="148"/>
                  </a:lnTo>
                  <a:lnTo>
                    <a:pt x="52" y="146"/>
                  </a:lnTo>
                  <a:lnTo>
                    <a:pt x="46" y="140"/>
                  </a:lnTo>
                  <a:lnTo>
                    <a:pt x="40" y="140"/>
                  </a:lnTo>
                  <a:lnTo>
                    <a:pt x="36" y="142"/>
                  </a:lnTo>
                  <a:lnTo>
                    <a:pt x="30" y="142"/>
                  </a:lnTo>
                  <a:lnTo>
                    <a:pt x="22" y="140"/>
                  </a:lnTo>
                  <a:lnTo>
                    <a:pt x="22" y="134"/>
                  </a:lnTo>
                  <a:lnTo>
                    <a:pt x="16" y="130"/>
                  </a:lnTo>
                  <a:lnTo>
                    <a:pt x="10" y="130"/>
                  </a:lnTo>
                  <a:lnTo>
                    <a:pt x="4" y="128"/>
                  </a:lnTo>
                  <a:lnTo>
                    <a:pt x="0" y="1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8" name="Freeform 115"/>
            <p:cNvSpPr>
              <a:spLocks/>
            </p:cNvSpPr>
            <p:nvPr/>
          </p:nvSpPr>
          <p:spPr bwMode="auto">
            <a:xfrm>
              <a:off x="5445125" y="3030538"/>
              <a:ext cx="347663" cy="214312"/>
            </a:xfrm>
            <a:custGeom>
              <a:avLst/>
              <a:gdLst>
                <a:gd name="T0" fmla="*/ 2147483647 w 856"/>
                <a:gd name="T1" fmla="*/ 2147483647 h 524"/>
                <a:gd name="T2" fmla="*/ 2147483647 w 856"/>
                <a:gd name="T3" fmla="*/ 2147483647 h 524"/>
                <a:gd name="T4" fmla="*/ 2147483647 w 856"/>
                <a:gd name="T5" fmla="*/ 2147483647 h 524"/>
                <a:gd name="T6" fmla="*/ 2147483647 w 856"/>
                <a:gd name="T7" fmla="*/ 2147483647 h 524"/>
                <a:gd name="T8" fmla="*/ 2147483647 w 856"/>
                <a:gd name="T9" fmla="*/ 2147483647 h 524"/>
                <a:gd name="T10" fmla="*/ 2147483647 w 856"/>
                <a:gd name="T11" fmla="*/ 2147483647 h 524"/>
                <a:gd name="T12" fmla="*/ 2147483647 w 856"/>
                <a:gd name="T13" fmla="*/ 2147483647 h 524"/>
                <a:gd name="T14" fmla="*/ 2147483647 w 856"/>
                <a:gd name="T15" fmla="*/ 2147483647 h 524"/>
                <a:gd name="T16" fmla="*/ 2147483647 w 856"/>
                <a:gd name="T17" fmla="*/ 2147483647 h 524"/>
                <a:gd name="T18" fmla="*/ 2147483647 w 856"/>
                <a:gd name="T19" fmla="*/ 2147483647 h 524"/>
                <a:gd name="T20" fmla="*/ 2147483647 w 856"/>
                <a:gd name="T21" fmla="*/ 2147483647 h 524"/>
                <a:gd name="T22" fmla="*/ 2147483647 w 856"/>
                <a:gd name="T23" fmla="*/ 2147483647 h 524"/>
                <a:gd name="T24" fmla="*/ 2147483647 w 856"/>
                <a:gd name="T25" fmla="*/ 2147483647 h 524"/>
                <a:gd name="T26" fmla="*/ 2147483647 w 856"/>
                <a:gd name="T27" fmla="*/ 2147483647 h 524"/>
                <a:gd name="T28" fmla="*/ 2147483647 w 856"/>
                <a:gd name="T29" fmla="*/ 2147483647 h 524"/>
                <a:gd name="T30" fmla="*/ 2147483647 w 856"/>
                <a:gd name="T31" fmla="*/ 2147483647 h 524"/>
                <a:gd name="T32" fmla="*/ 2147483647 w 856"/>
                <a:gd name="T33" fmla="*/ 2147483647 h 524"/>
                <a:gd name="T34" fmla="*/ 2147483647 w 856"/>
                <a:gd name="T35" fmla="*/ 2147483647 h 524"/>
                <a:gd name="T36" fmla="*/ 2147483647 w 856"/>
                <a:gd name="T37" fmla="*/ 2147483647 h 524"/>
                <a:gd name="T38" fmla="*/ 2147483647 w 856"/>
                <a:gd name="T39" fmla="*/ 2147483647 h 524"/>
                <a:gd name="T40" fmla="*/ 2147483647 w 856"/>
                <a:gd name="T41" fmla="*/ 2147483647 h 524"/>
                <a:gd name="T42" fmla="*/ 2147483647 w 856"/>
                <a:gd name="T43" fmla="*/ 2147483647 h 524"/>
                <a:gd name="T44" fmla="*/ 2147483647 w 856"/>
                <a:gd name="T45" fmla="*/ 2147483647 h 524"/>
                <a:gd name="T46" fmla="*/ 2147483647 w 856"/>
                <a:gd name="T47" fmla="*/ 2147483647 h 524"/>
                <a:gd name="T48" fmla="*/ 2147483647 w 856"/>
                <a:gd name="T49" fmla="*/ 2147483647 h 524"/>
                <a:gd name="T50" fmla="*/ 2147483647 w 856"/>
                <a:gd name="T51" fmla="*/ 2147483647 h 524"/>
                <a:gd name="T52" fmla="*/ 2147483647 w 856"/>
                <a:gd name="T53" fmla="*/ 2147483647 h 524"/>
                <a:gd name="T54" fmla="*/ 2147483647 w 856"/>
                <a:gd name="T55" fmla="*/ 2147483647 h 524"/>
                <a:gd name="T56" fmla="*/ 2147483647 w 856"/>
                <a:gd name="T57" fmla="*/ 2147483647 h 524"/>
                <a:gd name="T58" fmla="*/ 2147483647 w 856"/>
                <a:gd name="T59" fmla="*/ 2147483647 h 524"/>
                <a:gd name="T60" fmla="*/ 2147483647 w 856"/>
                <a:gd name="T61" fmla="*/ 2147483647 h 524"/>
                <a:gd name="T62" fmla="*/ 2147483647 w 856"/>
                <a:gd name="T63" fmla="*/ 2147483647 h 524"/>
                <a:gd name="T64" fmla="*/ 2147483647 w 856"/>
                <a:gd name="T65" fmla="*/ 2147483647 h 524"/>
                <a:gd name="T66" fmla="*/ 2147483647 w 856"/>
                <a:gd name="T67" fmla="*/ 2147483647 h 524"/>
                <a:gd name="T68" fmla="*/ 2147483647 w 856"/>
                <a:gd name="T69" fmla="*/ 2147483647 h 524"/>
                <a:gd name="T70" fmla="*/ 2147483647 w 856"/>
                <a:gd name="T71" fmla="*/ 2147483647 h 524"/>
                <a:gd name="T72" fmla="*/ 2147483647 w 856"/>
                <a:gd name="T73" fmla="*/ 2147483647 h 524"/>
                <a:gd name="T74" fmla="*/ 2147483647 w 856"/>
                <a:gd name="T75" fmla="*/ 2147483647 h 524"/>
                <a:gd name="T76" fmla="*/ 2147483647 w 856"/>
                <a:gd name="T77" fmla="*/ 2147483647 h 524"/>
                <a:gd name="T78" fmla="*/ 2147483647 w 856"/>
                <a:gd name="T79" fmla="*/ 2147483647 h 524"/>
                <a:gd name="T80" fmla="*/ 2147483647 w 856"/>
                <a:gd name="T81" fmla="*/ 2147483647 h 524"/>
                <a:gd name="T82" fmla="*/ 2147483647 w 856"/>
                <a:gd name="T83" fmla="*/ 2147483647 h 524"/>
                <a:gd name="T84" fmla="*/ 2147483647 w 856"/>
                <a:gd name="T85" fmla="*/ 2147483647 h 524"/>
                <a:gd name="T86" fmla="*/ 2147483647 w 856"/>
                <a:gd name="T87" fmla="*/ 2147483647 h 524"/>
                <a:gd name="T88" fmla="*/ 2147483647 w 856"/>
                <a:gd name="T89" fmla="*/ 2147483647 h 524"/>
                <a:gd name="T90" fmla="*/ 2147483647 w 856"/>
                <a:gd name="T91" fmla="*/ 2147483647 h 524"/>
                <a:gd name="T92" fmla="*/ 2147483647 w 856"/>
                <a:gd name="T93" fmla="*/ 2147483647 h 524"/>
                <a:gd name="T94" fmla="*/ 2147483647 w 856"/>
                <a:gd name="T95" fmla="*/ 2147483647 h 524"/>
                <a:gd name="T96" fmla="*/ 2147483647 w 856"/>
                <a:gd name="T97" fmla="*/ 2147483647 h 524"/>
                <a:gd name="T98" fmla="*/ 2147483647 w 856"/>
                <a:gd name="T99" fmla="*/ 2147483647 h 524"/>
                <a:gd name="T100" fmla="*/ 2147483647 w 856"/>
                <a:gd name="T101" fmla="*/ 2147483647 h 524"/>
                <a:gd name="T102" fmla="*/ 2147483647 w 856"/>
                <a:gd name="T103" fmla="*/ 2147483647 h 524"/>
                <a:gd name="T104" fmla="*/ 2147483647 w 856"/>
                <a:gd name="T105" fmla="*/ 2147483647 h 524"/>
                <a:gd name="T106" fmla="*/ 2147483647 w 856"/>
                <a:gd name="T107" fmla="*/ 2147483647 h 524"/>
                <a:gd name="T108" fmla="*/ 2147483647 w 856"/>
                <a:gd name="T109" fmla="*/ 2147483647 h 524"/>
                <a:gd name="T110" fmla="*/ 2147483647 w 856"/>
                <a:gd name="T111" fmla="*/ 2147483647 h 524"/>
                <a:gd name="T112" fmla="*/ 2147483647 w 856"/>
                <a:gd name="T113" fmla="*/ 2147483647 h 52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856"/>
                <a:gd name="T172" fmla="*/ 0 h 524"/>
                <a:gd name="T173" fmla="*/ 856 w 856"/>
                <a:gd name="T174" fmla="*/ 524 h 52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856" h="524">
                  <a:moveTo>
                    <a:pt x="0" y="68"/>
                  </a:moveTo>
                  <a:lnTo>
                    <a:pt x="6" y="62"/>
                  </a:lnTo>
                  <a:lnTo>
                    <a:pt x="8" y="60"/>
                  </a:lnTo>
                  <a:lnTo>
                    <a:pt x="14" y="54"/>
                  </a:lnTo>
                  <a:lnTo>
                    <a:pt x="20" y="48"/>
                  </a:lnTo>
                  <a:lnTo>
                    <a:pt x="26" y="42"/>
                  </a:lnTo>
                  <a:lnTo>
                    <a:pt x="32" y="40"/>
                  </a:lnTo>
                  <a:lnTo>
                    <a:pt x="36" y="38"/>
                  </a:lnTo>
                  <a:lnTo>
                    <a:pt x="44" y="34"/>
                  </a:lnTo>
                  <a:lnTo>
                    <a:pt x="50" y="32"/>
                  </a:lnTo>
                  <a:lnTo>
                    <a:pt x="54" y="32"/>
                  </a:lnTo>
                  <a:lnTo>
                    <a:pt x="62" y="32"/>
                  </a:lnTo>
                  <a:lnTo>
                    <a:pt x="66" y="30"/>
                  </a:lnTo>
                  <a:lnTo>
                    <a:pt x="72" y="28"/>
                  </a:lnTo>
                  <a:lnTo>
                    <a:pt x="76" y="28"/>
                  </a:lnTo>
                  <a:lnTo>
                    <a:pt x="82" y="28"/>
                  </a:lnTo>
                  <a:lnTo>
                    <a:pt x="88" y="28"/>
                  </a:lnTo>
                  <a:lnTo>
                    <a:pt x="94" y="30"/>
                  </a:lnTo>
                  <a:lnTo>
                    <a:pt x="100" y="34"/>
                  </a:lnTo>
                  <a:lnTo>
                    <a:pt x="106" y="36"/>
                  </a:lnTo>
                  <a:lnTo>
                    <a:pt x="112" y="40"/>
                  </a:lnTo>
                  <a:lnTo>
                    <a:pt x="118" y="42"/>
                  </a:lnTo>
                  <a:lnTo>
                    <a:pt x="124" y="46"/>
                  </a:lnTo>
                  <a:lnTo>
                    <a:pt x="130" y="50"/>
                  </a:lnTo>
                  <a:lnTo>
                    <a:pt x="136" y="54"/>
                  </a:lnTo>
                  <a:lnTo>
                    <a:pt x="138" y="60"/>
                  </a:lnTo>
                  <a:lnTo>
                    <a:pt x="142" y="66"/>
                  </a:lnTo>
                  <a:lnTo>
                    <a:pt x="148" y="72"/>
                  </a:lnTo>
                  <a:lnTo>
                    <a:pt x="154" y="78"/>
                  </a:lnTo>
                  <a:lnTo>
                    <a:pt x="158" y="84"/>
                  </a:lnTo>
                  <a:lnTo>
                    <a:pt x="164" y="90"/>
                  </a:lnTo>
                  <a:lnTo>
                    <a:pt x="170" y="92"/>
                  </a:lnTo>
                  <a:lnTo>
                    <a:pt x="174" y="98"/>
                  </a:lnTo>
                  <a:lnTo>
                    <a:pt x="180" y="102"/>
                  </a:lnTo>
                  <a:lnTo>
                    <a:pt x="186" y="102"/>
                  </a:lnTo>
                  <a:lnTo>
                    <a:pt x="192" y="100"/>
                  </a:lnTo>
                  <a:lnTo>
                    <a:pt x="198" y="98"/>
                  </a:lnTo>
                  <a:lnTo>
                    <a:pt x="204" y="96"/>
                  </a:lnTo>
                  <a:lnTo>
                    <a:pt x="210" y="98"/>
                  </a:lnTo>
                  <a:lnTo>
                    <a:pt x="216" y="98"/>
                  </a:lnTo>
                  <a:lnTo>
                    <a:pt x="222" y="98"/>
                  </a:lnTo>
                  <a:lnTo>
                    <a:pt x="228" y="98"/>
                  </a:lnTo>
                  <a:lnTo>
                    <a:pt x="234" y="100"/>
                  </a:lnTo>
                  <a:lnTo>
                    <a:pt x="240" y="100"/>
                  </a:lnTo>
                  <a:lnTo>
                    <a:pt x="246" y="100"/>
                  </a:lnTo>
                  <a:lnTo>
                    <a:pt x="252" y="100"/>
                  </a:lnTo>
                  <a:lnTo>
                    <a:pt x="258" y="100"/>
                  </a:lnTo>
                  <a:lnTo>
                    <a:pt x="264" y="100"/>
                  </a:lnTo>
                  <a:lnTo>
                    <a:pt x="270" y="96"/>
                  </a:lnTo>
                  <a:lnTo>
                    <a:pt x="262" y="90"/>
                  </a:lnTo>
                  <a:lnTo>
                    <a:pt x="260" y="84"/>
                  </a:lnTo>
                  <a:lnTo>
                    <a:pt x="258" y="78"/>
                  </a:lnTo>
                  <a:lnTo>
                    <a:pt x="254" y="72"/>
                  </a:lnTo>
                  <a:lnTo>
                    <a:pt x="254" y="66"/>
                  </a:lnTo>
                  <a:lnTo>
                    <a:pt x="252" y="60"/>
                  </a:lnTo>
                  <a:lnTo>
                    <a:pt x="256" y="56"/>
                  </a:lnTo>
                  <a:lnTo>
                    <a:pt x="262" y="50"/>
                  </a:lnTo>
                  <a:lnTo>
                    <a:pt x="264" y="44"/>
                  </a:lnTo>
                  <a:lnTo>
                    <a:pt x="270" y="40"/>
                  </a:lnTo>
                  <a:lnTo>
                    <a:pt x="276" y="40"/>
                  </a:lnTo>
                  <a:lnTo>
                    <a:pt x="282" y="40"/>
                  </a:lnTo>
                  <a:lnTo>
                    <a:pt x="288" y="40"/>
                  </a:lnTo>
                  <a:lnTo>
                    <a:pt x="294" y="38"/>
                  </a:lnTo>
                  <a:lnTo>
                    <a:pt x="298" y="32"/>
                  </a:lnTo>
                  <a:lnTo>
                    <a:pt x="300" y="26"/>
                  </a:lnTo>
                  <a:lnTo>
                    <a:pt x="296" y="20"/>
                  </a:lnTo>
                  <a:lnTo>
                    <a:pt x="302" y="16"/>
                  </a:lnTo>
                  <a:lnTo>
                    <a:pt x="308" y="20"/>
                  </a:lnTo>
                  <a:lnTo>
                    <a:pt x="314" y="20"/>
                  </a:lnTo>
                  <a:lnTo>
                    <a:pt x="320" y="22"/>
                  </a:lnTo>
                  <a:lnTo>
                    <a:pt x="324" y="28"/>
                  </a:lnTo>
                  <a:lnTo>
                    <a:pt x="330" y="30"/>
                  </a:lnTo>
                  <a:lnTo>
                    <a:pt x="326" y="24"/>
                  </a:lnTo>
                  <a:lnTo>
                    <a:pt x="320" y="18"/>
                  </a:lnTo>
                  <a:lnTo>
                    <a:pt x="316" y="12"/>
                  </a:lnTo>
                  <a:lnTo>
                    <a:pt x="308" y="10"/>
                  </a:lnTo>
                  <a:lnTo>
                    <a:pt x="308" y="4"/>
                  </a:lnTo>
                  <a:lnTo>
                    <a:pt x="316" y="4"/>
                  </a:lnTo>
                  <a:lnTo>
                    <a:pt x="320" y="6"/>
                  </a:lnTo>
                  <a:lnTo>
                    <a:pt x="326" y="6"/>
                  </a:lnTo>
                  <a:lnTo>
                    <a:pt x="328" y="0"/>
                  </a:lnTo>
                  <a:lnTo>
                    <a:pt x="334" y="2"/>
                  </a:lnTo>
                  <a:lnTo>
                    <a:pt x="340" y="6"/>
                  </a:lnTo>
                  <a:lnTo>
                    <a:pt x="346" y="10"/>
                  </a:lnTo>
                  <a:lnTo>
                    <a:pt x="352" y="14"/>
                  </a:lnTo>
                  <a:lnTo>
                    <a:pt x="358" y="16"/>
                  </a:lnTo>
                  <a:lnTo>
                    <a:pt x="364" y="16"/>
                  </a:lnTo>
                  <a:lnTo>
                    <a:pt x="370" y="20"/>
                  </a:lnTo>
                  <a:lnTo>
                    <a:pt x="372" y="26"/>
                  </a:lnTo>
                  <a:lnTo>
                    <a:pt x="378" y="28"/>
                  </a:lnTo>
                  <a:lnTo>
                    <a:pt x="384" y="32"/>
                  </a:lnTo>
                  <a:lnTo>
                    <a:pt x="388" y="30"/>
                  </a:lnTo>
                  <a:lnTo>
                    <a:pt x="390" y="30"/>
                  </a:lnTo>
                  <a:lnTo>
                    <a:pt x="396" y="30"/>
                  </a:lnTo>
                  <a:lnTo>
                    <a:pt x="398" y="28"/>
                  </a:lnTo>
                  <a:lnTo>
                    <a:pt x="406" y="30"/>
                  </a:lnTo>
                  <a:lnTo>
                    <a:pt x="412" y="34"/>
                  </a:lnTo>
                  <a:lnTo>
                    <a:pt x="414" y="36"/>
                  </a:lnTo>
                  <a:lnTo>
                    <a:pt x="416" y="40"/>
                  </a:lnTo>
                  <a:lnTo>
                    <a:pt x="416" y="44"/>
                  </a:lnTo>
                  <a:lnTo>
                    <a:pt x="418" y="44"/>
                  </a:lnTo>
                  <a:lnTo>
                    <a:pt x="418" y="50"/>
                  </a:lnTo>
                  <a:lnTo>
                    <a:pt x="418" y="54"/>
                  </a:lnTo>
                  <a:lnTo>
                    <a:pt x="422" y="54"/>
                  </a:lnTo>
                  <a:lnTo>
                    <a:pt x="422" y="56"/>
                  </a:lnTo>
                  <a:lnTo>
                    <a:pt x="428" y="58"/>
                  </a:lnTo>
                  <a:lnTo>
                    <a:pt x="430" y="60"/>
                  </a:lnTo>
                  <a:lnTo>
                    <a:pt x="432" y="66"/>
                  </a:lnTo>
                  <a:lnTo>
                    <a:pt x="426" y="66"/>
                  </a:lnTo>
                  <a:lnTo>
                    <a:pt x="426" y="68"/>
                  </a:lnTo>
                  <a:lnTo>
                    <a:pt x="430" y="74"/>
                  </a:lnTo>
                  <a:lnTo>
                    <a:pt x="434" y="80"/>
                  </a:lnTo>
                  <a:lnTo>
                    <a:pt x="430" y="86"/>
                  </a:lnTo>
                  <a:lnTo>
                    <a:pt x="432" y="92"/>
                  </a:lnTo>
                  <a:lnTo>
                    <a:pt x="438" y="96"/>
                  </a:lnTo>
                  <a:lnTo>
                    <a:pt x="444" y="96"/>
                  </a:lnTo>
                  <a:lnTo>
                    <a:pt x="450" y="100"/>
                  </a:lnTo>
                  <a:lnTo>
                    <a:pt x="456" y="104"/>
                  </a:lnTo>
                  <a:lnTo>
                    <a:pt x="462" y="104"/>
                  </a:lnTo>
                  <a:lnTo>
                    <a:pt x="468" y="102"/>
                  </a:lnTo>
                  <a:lnTo>
                    <a:pt x="474" y="102"/>
                  </a:lnTo>
                  <a:lnTo>
                    <a:pt x="480" y="102"/>
                  </a:lnTo>
                  <a:lnTo>
                    <a:pt x="486" y="104"/>
                  </a:lnTo>
                  <a:lnTo>
                    <a:pt x="488" y="104"/>
                  </a:lnTo>
                  <a:lnTo>
                    <a:pt x="494" y="104"/>
                  </a:lnTo>
                  <a:lnTo>
                    <a:pt x="500" y="108"/>
                  </a:lnTo>
                  <a:lnTo>
                    <a:pt x="506" y="108"/>
                  </a:lnTo>
                  <a:lnTo>
                    <a:pt x="506" y="106"/>
                  </a:lnTo>
                  <a:lnTo>
                    <a:pt x="508" y="104"/>
                  </a:lnTo>
                  <a:lnTo>
                    <a:pt x="510" y="100"/>
                  </a:lnTo>
                  <a:lnTo>
                    <a:pt x="516" y="100"/>
                  </a:lnTo>
                  <a:lnTo>
                    <a:pt x="522" y="102"/>
                  </a:lnTo>
                  <a:lnTo>
                    <a:pt x="528" y="106"/>
                  </a:lnTo>
                  <a:lnTo>
                    <a:pt x="534" y="110"/>
                  </a:lnTo>
                  <a:lnTo>
                    <a:pt x="540" y="114"/>
                  </a:lnTo>
                  <a:lnTo>
                    <a:pt x="542" y="118"/>
                  </a:lnTo>
                  <a:lnTo>
                    <a:pt x="546" y="124"/>
                  </a:lnTo>
                  <a:lnTo>
                    <a:pt x="548" y="130"/>
                  </a:lnTo>
                  <a:lnTo>
                    <a:pt x="550" y="136"/>
                  </a:lnTo>
                  <a:lnTo>
                    <a:pt x="554" y="142"/>
                  </a:lnTo>
                  <a:lnTo>
                    <a:pt x="558" y="148"/>
                  </a:lnTo>
                  <a:lnTo>
                    <a:pt x="564" y="154"/>
                  </a:lnTo>
                  <a:lnTo>
                    <a:pt x="570" y="156"/>
                  </a:lnTo>
                  <a:lnTo>
                    <a:pt x="574" y="162"/>
                  </a:lnTo>
                  <a:lnTo>
                    <a:pt x="578" y="168"/>
                  </a:lnTo>
                  <a:lnTo>
                    <a:pt x="582" y="174"/>
                  </a:lnTo>
                  <a:lnTo>
                    <a:pt x="582" y="180"/>
                  </a:lnTo>
                  <a:lnTo>
                    <a:pt x="584" y="186"/>
                  </a:lnTo>
                  <a:lnTo>
                    <a:pt x="588" y="188"/>
                  </a:lnTo>
                  <a:lnTo>
                    <a:pt x="594" y="194"/>
                  </a:lnTo>
                  <a:lnTo>
                    <a:pt x="600" y="198"/>
                  </a:lnTo>
                  <a:lnTo>
                    <a:pt x="606" y="200"/>
                  </a:lnTo>
                  <a:lnTo>
                    <a:pt x="612" y="204"/>
                  </a:lnTo>
                  <a:lnTo>
                    <a:pt x="618" y="208"/>
                  </a:lnTo>
                  <a:lnTo>
                    <a:pt x="624" y="212"/>
                  </a:lnTo>
                  <a:lnTo>
                    <a:pt x="630" y="216"/>
                  </a:lnTo>
                  <a:lnTo>
                    <a:pt x="636" y="218"/>
                  </a:lnTo>
                  <a:lnTo>
                    <a:pt x="642" y="222"/>
                  </a:lnTo>
                  <a:lnTo>
                    <a:pt x="648" y="226"/>
                  </a:lnTo>
                  <a:lnTo>
                    <a:pt x="654" y="228"/>
                  </a:lnTo>
                  <a:lnTo>
                    <a:pt x="660" y="234"/>
                  </a:lnTo>
                  <a:lnTo>
                    <a:pt x="664" y="240"/>
                  </a:lnTo>
                  <a:lnTo>
                    <a:pt x="666" y="240"/>
                  </a:lnTo>
                  <a:lnTo>
                    <a:pt x="668" y="244"/>
                  </a:lnTo>
                  <a:lnTo>
                    <a:pt x="670" y="244"/>
                  </a:lnTo>
                  <a:lnTo>
                    <a:pt x="676" y="248"/>
                  </a:lnTo>
                  <a:lnTo>
                    <a:pt x="682" y="250"/>
                  </a:lnTo>
                  <a:lnTo>
                    <a:pt x="688" y="254"/>
                  </a:lnTo>
                  <a:lnTo>
                    <a:pt x="694" y="258"/>
                  </a:lnTo>
                  <a:lnTo>
                    <a:pt x="700" y="260"/>
                  </a:lnTo>
                  <a:lnTo>
                    <a:pt x="706" y="258"/>
                  </a:lnTo>
                  <a:lnTo>
                    <a:pt x="710" y="260"/>
                  </a:lnTo>
                  <a:lnTo>
                    <a:pt x="712" y="262"/>
                  </a:lnTo>
                  <a:lnTo>
                    <a:pt x="718" y="266"/>
                  </a:lnTo>
                  <a:lnTo>
                    <a:pt x="724" y="270"/>
                  </a:lnTo>
                  <a:lnTo>
                    <a:pt x="730" y="274"/>
                  </a:lnTo>
                  <a:lnTo>
                    <a:pt x="736" y="278"/>
                  </a:lnTo>
                  <a:lnTo>
                    <a:pt x="742" y="280"/>
                  </a:lnTo>
                  <a:lnTo>
                    <a:pt x="748" y="282"/>
                  </a:lnTo>
                  <a:lnTo>
                    <a:pt x="750" y="284"/>
                  </a:lnTo>
                  <a:lnTo>
                    <a:pt x="756" y="288"/>
                  </a:lnTo>
                  <a:lnTo>
                    <a:pt x="762" y="292"/>
                  </a:lnTo>
                  <a:lnTo>
                    <a:pt x="768" y="296"/>
                  </a:lnTo>
                  <a:lnTo>
                    <a:pt x="774" y="300"/>
                  </a:lnTo>
                  <a:lnTo>
                    <a:pt x="780" y="304"/>
                  </a:lnTo>
                  <a:lnTo>
                    <a:pt x="782" y="304"/>
                  </a:lnTo>
                  <a:lnTo>
                    <a:pt x="786" y="308"/>
                  </a:lnTo>
                  <a:lnTo>
                    <a:pt x="792" y="310"/>
                  </a:lnTo>
                  <a:lnTo>
                    <a:pt x="798" y="310"/>
                  </a:lnTo>
                  <a:lnTo>
                    <a:pt x="804" y="306"/>
                  </a:lnTo>
                  <a:lnTo>
                    <a:pt x="810" y="308"/>
                  </a:lnTo>
                  <a:lnTo>
                    <a:pt x="816" y="310"/>
                  </a:lnTo>
                  <a:lnTo>
                    <a:pt x="824" y="314"/>
                  </a:lnTo>
                  <a:lnTo>
                    <a:pt x="828" y="316"/>
                  </a:lnTo>
                  <a:lnTo>
                    <a:pt x="834" y="320"/>
                  </a:lnTo>
                  <a:lnTo>
                    <a:pt x="842" y="324"/>
                  </a:lnTo>
                  <a:lnTo>
                    <a:pt x="846" y="324"/>
                  </a:lnTo>
                  <a:lnTo>
                    <a:pt x="852" y="326"/>
                  </a:lnTo>
                  <a:lnTo>
                    <a:pt x="854" y="328"/>
                  </a:lnTo>
                  <a:lnTo>
                    <a:pt x="854" y="332"/>
                  </a:lnTo>
                  <a:lnTo>
                    <a:pt x="850" y="338"/>
                  </a:lnTo>
                  <a:lnTo>
                    <a:pt x="850" y="346"/>
                  </a:lnTo>
                  <a:lnTo>
                    <a:pt x="852" y="350"/>
                  </a:lnTo>
                  <a:lnTo>
                    <a:pt x="852" y="356"/>
                  </a:lnTo>
                  <a:lnTo>
                    <a:pt x="856" y="362"/>
                  </a:lnTo>
                  <a:lnTo>
                    <a:pt x="854" y="368"/>
                  </a:lnTo>
                  <a:lnTo>
                    <a:pt x="856" y="370"/>
                  </a:lnTo>
                  <a:lnTo>
                    <a:pt x="854" y="370"/>
                  </a:lnTo>
                  <a:lnTo>
                    <a:pt x="854" y="372"/>
                  </a:lnTo>
                  <a:lnTo>
                    <a:pt x="848" y="372"/>
                  </a:lnTo>
                  <a:lnTo>
                    <a:pt x="842" y="372"/>
                  </a:lnTo>
                  <a:lnTo>
                    <a:pt x="836" y="370"/>
                  </a:lnTo>
                  <a:lnTo>
                    <a:pt x="830" y="366"/>
                  </a:lnTo>
                  <a:lnTo>
                    <a:pt x="824" y="364"/>
                  </a:lnTo>
                  <a:lnTo>
                    <a:pt x="818" y="362"/>
                  </a:lnTo>
                  <a:lnTo>
                    <a:pt x="812" y="358"/>
                  </a:lnTo>
                  <a:lnTo>
                    <a:pt x="810" y="356"/>
                  </a:lnTo>
                  <a:lnTo>
                    <a:pt x="804" y="362"/>
                  </a:lnTo>
                  <a:lnTo>
                    <a:pt x="804" y="368"/>
                  </a:lnTo>
                  <a:lnTo>
                    <a:pt x="804" y="374"/>
                  </a:lnTo>
                  <a:lnTo>
                    <a:pt x="800" y="378"/>
                  </a:lnTo>
                  <a:lnTo>
                    <a:pt x="794" y="378"/>
                  </a:lnTo>
                  <a:lnTo>
                    <a:pt x="788" y="378"/>
                  </a:lnTo>
                  <a:lnTo>
                    <a:pt x="782" y="380"/>
                  </a:lnTo>
                  <a:lnTo>
                    <a:pt x="776" y="378"/>
                  </a:lnTo>
                  <a:lnTo>
                    <a:pt x="770" y="380"/>
                  </a:lnTo>
                  <a:lnTo>
                    <a:pt x="766" y="384"/>
                  </a:lnTo>
                  <a:lnTo>
                    <a:pt x="760" y="388"/>
                  </a:lnTo>
                  <a:lnTo>
                    <a:pt x="760" y="394"/>
                  </a:lnTo>
                  <a:lnTo>
                    <a:pt x="762" y="400"/>
                  </a:lnTo>
                  <a:lnTo>
                    <a:pt x="760" y="406"/>
                  </a:lnTo>
                  <a:lnTo>
                    <a:pt x="760" y="412"/>
                  </a:lnTo>
                  <a:lnTo>
                    <a:pt x="756" y="418"/>
                  </a:lnTo>
                  <a:lnTo>
                    <a:pt x="756" y="424"/>
                  </a:lnTo>
                  <a:lnTo>
                    <a:pt x="760" y="430"/>
                  </a:lnTo>
                  <a:lnTo>
                    <a:pt x="760" y="434"/>
                  </a:lnTo>
                  <a:lnTo>
                    <a:pt x="756" y="442"/>
                  </a:lnTo>
                  <a:lnTo>
                    <a:pt x="752" y="448"/>
                  </a:lnTo>
                  <a:lnTo>
                    <a:pt x="746" y="450"/>
                  </a:lnTo>
                  <a:lnTo>
                    <a:pt x="740" y="452"/>
                  </a:lnTo>
                  <a:lnTo>
                    <a:pt x="734" y="456"/>
                  </a:lnTo>
                  <a:lnTo>
                    <a:pt x="728" y="462"/>
                  </a:lnTo>
                  <a:lnTo>
                    <a:pt x="722" y="462"/>
                  </a:lnTo>
                  <a:lnTo>
                    <a:pt x="716" y="466"/>
                  </a:lnTo>
                  <a:lnTo>
                    <a:pt x="710" y="466"/>
                  </a:lnTo>
                  <a:lnTo>
                    <a:pt x="704" y="470"/>
                  </a:lnTo>
                  <a:lnTo>
                    <a:pt x="698" y="472"/>
                  </a:lnTo>
                  <a:lnTo>
                    <a:pt x="694" y="474"/>
                  </a:lnTo>
                  <a:lnTo>
                    <a:pt x="686" y="474"/>
                  </a:lnTo>
                  <a:lnTo>
                    <a:pt x="680" y="474"/>
                  </a:lnTo>
                  <a:lnTo>
                    <a:pt x="684" y="480"/>
                  </a:lnTo>
                  <a:lnTo>
                    <a:pt x="690" y="486"/>
                  </a:lnTo>
                  <a:lnTo>
                    <a:pt x="688" y="486"/>
                  </a:lnTo>
                  <a:lnTo>
                    <a:pt x="684" y="492"/>
                  </a:lnTo>
                  <a:lnTo>
                    <a:pt x="686" y="498"/>
                  </a:lnTo>
                  <a:lnTo>
                    <a:pt x="684" y="504"/>
                  </a:lnTo>
                  <a:lnTo>
                    <a:pt x="676" y="506"/>
                  </a:lnTo>
                  <a:lnTo>
                    <a:pt x="672" y="510"/>
                  </a:lnTo>
                  <a:lnTo>
                    <a:pt x="666" y="516"/>
                  </a:lnTo>
                  <a:lnTo>
                    <a:pt x="660" y="516"/>
                  </a:lnTo>
                  <a:lnTo>
                    <a:pt x="654" y="514"/>
                  </a:lnTo>
                  <a:lnTo>
                    <a:pt x="646" y="518"/>
                  </a:lnTo>
                  <a:lnTo>
                    <a:pt x="642" y="524"/>
                  </a:lnTo>
                  <a:lnTo>
                    <a:pt x="642" y="522"/>
                  </a:lnTo>
                  <a:lnTo>
                    <a:pt x="640" y="516"/>
                  </a:lnTo>
                  <a:lnTo>
                    <a:pt x="640" y="514"/>
                  </a:lnTo>
                  <a:lnTo>
                    <a:pt x="636" y="510"/>
                  </a:lnTo>
                  <a:lnTo>
                    <a:pt x="630" y="508"/>
                  </a:lnTo>
                  <a:lnTo>
                    <a:pt x="628" y="506"/>
                  </a:lnTo>
                  <a:lnTo>
                    <a:pt x="624" y="502"/>
                  </a:lnTo>
                  <a:lnTo>
                    <a:pt x="618" y="502"/>
                  </a:lnTo>
                  <a:lnTo>
                    <a:pt x="612" y="504"/>
                  </a:lnTo>
                  <a:lnTo>
                    <a:pt x="606" y="504"/>
                  </a:lnTo>
                  <a:lnTo>
                    <a:pt x="600" y="502"/>
                  </a:lnTo>
                  <a:lnTo>
                    <a:pt x="594" y="498"/>
                  </a:lnTo>
                  <a:lnTo>
                    <a:pt x="588" y="494"/>
                  </a:lnTo>
                  <a:lnTo>
                    <a:pt x="584" y="490"/>
                  </a:lnTo>
                  <a:lnTo>
                    <a:pt x="578" y="492"/>
                  </a:lnTo>
                  <a:lnTo>
                    <a:pt x="574" y="486"/>
                  </a:lnTo>
                  <a:lnTo>
                    <a:pt x="574" y="480"/>
                  </a:lnTo>
                  <a:lnTo>
                    <a:pt x="574" y="472"/>
                  </a:lnTo>
                  <a:lnTo>
                    <a:pt x="568" y="468"/>
                  </a:lnTo>
                  <a:lnTo>
                    <a:pt x="566" y="466"/>
                  </a:lnTo>
                  <a:lnTo>
                    <a:pt x="568" y="460"/>
                  </a:lnTo>
                  <a:lnTo>
                    <a:pt x="568" y="454"/>
                  </a:lnTo>
                  <a:lnTo>
                    <a:pt x="566" y="448"/>
                  </a:lnTo>
                  <a:lnTo>
                    <a:pt x="562" y="442"/>
                  </a:lnTo>
                  <a:lnTo>
                    <a:pt x="562" y="436"/>
                  </a:lnTo>
                  <a:lnTo>
                    <a:pt x="560" y="430"/>
                  </a:lnTo>
                  <a:lnTo>
                    <a:pt x="562" y="424"/>
                  </a:lnTo>
                  <a:lnTo>
                    <a:pt x="558" y="420"/>
                  </a:lnTo>
                  <a:lnTo>
                    <a:pt x="556" y="420"/>
                  </a:lnTo>
                  <a:lnTo>
                    <a:pt x="550" y="420"/>
                  </a:lnTo>
                  <a:lnTo>
                    <a:pt x="544" y="420"/>
                  </a:lnTo>
                  <a:lnTo>
                    <a:pt x="538" y="420"/>
                  </a:lnTo>
                  <a:lnTo>
                    <a:pt x="532" y="420"/>
                  </a:lnTo>
                  <a:lnTo>
                    <a:pt x="526" y="420"/>
                  </a:lnTo>
                  <a:lnTo>
                    <a:pt x="520" y="420"/>
                  </a:lnTo>
                  <a:lnTo>
                    <a:pt x="514" y="420"/>
                  </a:lnTo>
                  <a:lnTo>
                    <a:pt x="508" y="414"/>
                  </a:lnTo>
                  <a:lnTo>
                    <a:pt x="504" y="408"/>
                  </a:lnTo>
                  <a:lnTo>
                    <a:pt x="498" y="402"/>
                  </a:lnTo>
                  <a:lnTo>
                    <a:pt x="494" y="396"/>
                  </a:lnTo>
                  <a:lnTo>
                    <a:pt x="488" y="392"/>
                  </a:lnTo>
                  <a:lnTo>
                    <a:pt x="486" y="392"/>
                  </a:lnTo>
                  <a:lnTo>
                    <a:pt x="482" y="390"/>
                  </a:lnTo>
                  <a:lnTo>
                    <a:pt x="476" y="386"/>
                  </a:lnTo>
                  <a:lnTo>
                    <a:pt x="468" y="384"/>
                  </a:lnTo>
                  <a:lnTo>
                    <a:pt x="464" y="384"/>
                  </a:lnTo>
                  <a:lnTo>
                    <a:pt x="458" y="380"/>
                  </a:lnTo>
                  <a:lnTo>
                    <a:pt x="452" y="376"/>
                  </a:lnTo>
                  <a:lnTo>
                    <a:pt x="448" y="370"/>
                  </a:lnTo>
                  <a:lnTo>
                    <a:pt x="446" y="364"/>
                  </a:lnTo>
                  <a:lnTo>
                    <a:pt x="442" y="358"/>
                  </a:lnTo>
                  <a:lnTo>
                    <a:pt x="436" y="358"/>
                  </a:lnTo>
                  <a:lnTo>
                    <a:pt x="430" y="354"/>
                  </a:lnTo>
                  <a:lnTo>
                    <a:pt x="424" y="352"/>
                  </a:lnTo>
                  <a:lnTo>
                    <a:pt x="418" y="350"/>
                  </a:lnTo>
                  <a:lnTo>
                    <a:pt x="412" y="348"/>
                  </a:lnTo>
                  <a:lnTo>
                    <a:pt x="406" y="350"/>
                  </a:lnTo>
                  <a:lnTo>
                    <a:pt x="400" y="348"/>
                  </a:lnTo>
                  <a:lnTo>
                    <a:pt x="394" y="350"/>
                  </a:lnTo>
                  <a:lnTo>
                    <a:pt x="388" y="352"/>
                  </a:lnTo>
                  <a:lnTo>
                    <a:pt x="384" y="350"/>
                  </a:lnTo>
                  <a:lnTo>
                    <a:pt x="378" y="346"/>
                  </a:lnTo>
                  <a:lnTo>
                    <a:pt x="374" y="340"/>
                  </a:lnTo>
                  <a:lnTo>
                    <a:pt x="368" y="340"/>
                  </a:lnTo>
                  <a:lnTo>
                    <a:pt x="362" y="338"/>
                  </a:lnTo>
                  <a:lnTo>
                    <a:pt x="360" y="336"/>
                  </a:lnTo>
                  <a:lnTo>
                    <a:pt x="354" y="334"/>
                  </a:lnTo>
                  <a:lnTo>
                    <a:pt x="348" y="332"/>
                  </a:lnTo>
                  <a:lnTo>
                    <a:pt x="342" y="332"/>
                  </a:lnTo>
                  <a:lnTo>
                    <a:pt x="336" y="330"/>
                  </a:lnTo>
                  <a:lnTo>
                    <a:pt x="330" y="330"/>
                  </a:lnTo>
                  <a:lnTo>
                    <a:pt x="324" y="326"/>
                  </a:lnTo>
                  <a:lnTo>
                    <a:pt x="324" y="320"/>
                  </a:lnTo>
                  <a:lnTo>
                    <a:pt x="320" y="314"/>
                  </a:lnTo>
                  <a:lnTo>
                    <a:pt x="316" y="308"/>
                  </a:lnTo>
                  <a:lnTo>
                    <a:pt x="310" y="308"/>
                  </a:lnTo>
                  <a:lnTo>
                    <a:pt x="308" y="312"/>
                  </a:lnTo>
                  <a:lnTo>
                    <a:pt x="300" y="312"/>
                  </a:lnTo>
                  <a:lnTo>
                    <a:pt x="298" y="312"/>
                  </a:lnTo>
                  <a:lnTo>
                    <a:pt x="292" y="310"/>
                  </a:lnTo>
                  <a:lnTo>
                    <a:pt x="286" y="306"/>
                  </a:lnTo>
                  <a:lnTo>
                    <a:pt x="286" y="308"/>
                  </a:lnTo>
                  <a:lnTo>
                    <a:pt x="280" y="310"/>
                  </a:lnTo>
                  <a:lnTo>
                    <a:pt x="274" y="308"/>
                  </a:lnTo>
                  <a:lnTo>
                    <a:pt x="268" y="308"/>
                  </a:lnTo>
                  <a:lnTo>
                    <a:pt x="264" y="314"/>
                  </a:lnTo>
                  <a:lnTo>
                    <a:pt x="266" y="320"/>
                  </a:lnTo>
                  <a:lnTo>
                    <a:pt x="258" y="320"/>
                  </a:lnTo>
                  <a:lnTo>
                    <a:pt x="254" y="320"/>
                  </a:lnTo>
                  <a:lnTo>
                    <a:pt x="248" y="320"/>
                  </a:lnTo>
                  <a:lnTo>
                    <a:pt x="242" y="320"/>
                  </a:lnTo>
                  <a:lnTo>
                    <a:pt x="236" y="318"/>
                  </a:lnTo>
                  <a:lnTo>
                    <a:pt x="230" y="318"/>
                  </a:lnTo>
                  <a:lnTo>
                    <a:pt x="224" y="318"/>
                  </a:lnTo>
                  <a:lnTo>
                    <a:pt x="218" y="320"/>
                  </a:lnTo>
                  <a:lnTo>
                    <a:pt x="212" y="324"/>
                  </a:lnTo>
                  <a:lnTo>
                    <a:pt x="206" y="326"/>
                  </a:lnTo>
                  <a:lnTo>
                    <a:pt x="204" y="328"/>
                  </a:lnTo>
                  <a:lnTo>
                    <a:pt x="198" y="332"/>
                  </a:lnTo>
                  <a:lnTo>
                    <a:pt x="192" y="338"/>
                  </a:lnTo>
                  <a:lnTo>
                    <a:pt x="190" y="340"/>
                  </a:lnTo>
                  <a:lnTo>
                    <a:pt x="184" y="346"/>
                  </a:lnTo>
                  <a:lnTo>
                    <a:pt x="182" y="352"/>
                  </a:lnTo>
                  <a:lnTo>
                    <a:pt x="184" y="358"/>
                  </a:lnTo>
                  <a:lnTo>
                    <a:pt x="180" y="362"/>
                  </a:lnTo>
                  <a:lnTo>
                    <a:pt x="174" y="364"/>
                  </a:lnTo>
                  <a:lnTo>
                    <a:pt x="168" y="366"/>
                  </a:lnTo>
                  <a:lnTo>
                    <a:pt x="162" y="370"/>
                  </a:lnTo>
                  <a:lnTo>
                    <a:pt x="156" y="372"/>
                  </a:lnTo>
                  <a:lnTo>
                    <a:pt x="150" y="372"/>
                  </a:lnTo>
                  <a:lnTo>
                    <a:pt x="144" y="372"/>
                  </a:lnTo>
                  <a:lnTo>
                    <a:pt x="138" y="370"/>
                  </a:lnTo>
                  <a:lnTo>
                    <a:pt x="136" y="370"/>
                  </a:lnTo>
                  <a:lnTo>
                    <a:pt x="134" y="368"/>
                  </a:lnTo>
                  <a:lnTo>
                    <a:pt x="134" y="362"/>
                  </a:lnTo>
                  <a:lnTo>
                    <a:pt x="130" y="356"/>
                  </a:lnTo>
                  <a:lnTo>
                    <a:pt x="128" y="350"/>
                  </a:lnTo>
                  <a:lnTo>
                    <a:pt x="126" y="344"/>
                  </a:lnTo>
                  <a:lnTo>
                    <a:pt x="126" y="338"/>
                  </a:lnTo>
                  <a:lnTo>
                    <a:pt x="124" y="332"/>
                  </a:lnTo>
                  <a:lnTo>
                    <a:pt x="122" y="326"/>
                  </a:lnTo>
                  <a:lnTo>
                    <a:pt x="122" y="320"/>
                  </a:lnTo>
                  <a:lnTo>
                    <a:pt x="122" y="314"/>
                  </a:lnTo>
                  <a:lnTo>
                    <a:pt x="122" y="308"/>
                  </a:lnTo>
                  <a:lnTo>
                    <a:pt x="122" y="302"/>
                  </a:lnTo>
                  <a:lnTo>
                    <a:pt x="120" y="296"/>
                  </a:lnTo>
                  <a:lnTo>
                    <a:pt x="118" y="290"/>
                  </a:lnTo>
                  <a:lnTo>
                    <a:pt x="118" y="284"/>
                  </a:lnTo>
                  <a:lnTo>
                    <a:pt x="118" y="278"/>
                  </a:lnTo>
                  <a:lnTo>
                    <a:pt x="120" y="272"/>
                  </a:lnTo>
                  <a:lnTo>
                    <a:pt x="120" y="266"/>
                  </a:lnTo>
                  <a:lnTo>
                    <a:pt x="122" y="264"/>
                  </a:lnTo>
                  <a:lnTo>
                    <a:pt x="116" y="258"/>
                  </a:lnTo>
                  <a:lnTo>
                    <a:pt x="110" y="254"/>
                  </a:lnTo>
                  <a:lnTo>
                    <a:pt x="104" y="252"/>
                  </a:lnTo>
                  <a:lnTo>
                    <a:pt x="104" y="246"/>
                  </a:lnTo>
                  <a:lnTo>
                    <a:pt x="104" y="252"/>
                  </a:lnTo>
                  <a:lnTo>
                    <a:pt x="98" y="246"/>
                  </a:lnTo>
                  <a:lnTo>
                    <a:pt x="94" y="240"/>
                  </a:lnTo>
                  <a:lnTo>
                    <a:pt x="88" y="236"/>
                  </a:lnTo>
                  <a:lnTo>
                    <a:pt x="82" y="232"/>
                  </a:lnTo>
                  <a:lnTo>
                    <a:pt x="76" y="232"/>
                  </a:lnTo>
                  <a:lnTo>
                    <a:pt x="72" y="236"/>
                  </a:lnTo>
                  <a:lnTo>
                    <a:pt x="68" y="230"/>
                  </a:lnTo>
                  <a:lnTo>
                    <a:pt x="66" y="224"/>
                  </a:lnTo>
                  <a:lnTo>
                    <a:pt x="70" y="218"/>
                  </a:lnTo>
                  <a:lnTo>
                    <a:pt x="72" y="212"/>
                  </a:lnTo>
                  <a:lnTo>
                    <a:pt x="76" y="210"/>
                  </a:lnTo>
                  <a:lnTo>
                    <a:pt x="72" y="214"/>
                  </a:lnTo>
                  <a:lnTo>
                    <a:pt x="78" y="218"/>
                  </a:lnTo>
                  <a:lnTo>
                    <a:pt x="84" y="218"/>
                  </a:lnTo>
                  <a:lnTo>
                    <a:pt x="90" y="218"/>
                  </a:lnTo>
                  <a:lnTo>
                    <a:pt x="96" y="218"/>
                  </a:lnTo>
                  <a:lnTo>
                    <a:pt x="90" y="216"/>
                  </a:lnTo>
                  <a:lnTo>
                    <a:pt x="90" y="210"/>
                  </a:lnTo>
                  <a:lnTo>
                    <a:pt x="84" y="210"/>
                  </a:lnTo>
                  <a:lnTo>
                    <a:pt x="80" y="204"/>
                  </a:lnTo>
                  <a:lnTo>
                    <a:pt x="82" y="198"/>
                  </a:lnTo>
                  <a:lnTo>
                    <a:pt x="82" y="192"/>
                  </a:lnTo>
                  <a:lnTo>
                    <a:pt x="76" y="190"/>
                  </a:lnTo>
                  <a:lnTo>
                    <a:pt x="70" y="190"/>
                  </a:lnTo>
                  <a:lnTo>
                    <a:pt x="64" y="188"/>
                  </a:lnTo>
                  <a:lnTo>
                    <a:pt x="58" y="188"/>
                  </a:lnTo>
                  <a:lnTo>
                    <a:pt x="52" y="188"/>
                  </a:lnTo>
                  <a:lnTo>
                    <a:pt x="46" y="186"/>
                  </a:lnTo>
                  <a:lnTo>
                    <a:pt x="50" y="192"/>
                  </a:lnTo>
                  <a:lnTo>
                    <a:pt x="44" y="190"/>
                  </a:lnTo>
                  <a:lnTo>
                    <a:pt x="42" y="188"/>
                  </a:lnTo>
                  <a:lnTo>
                    <a:pt x="40" y="184"/>
                  </a:lnTo>
                  <a:lnTo>
                    <a:pt x="38" y="180"/>
                  </a:lnTo>
                  <a:lnTo>
                    <a:pt x="36" y="172"/>
                  </a:lnTo>
                  <a:lnTo>
                    <a:pt x="32" y="168"/>
                  </a:lnTo>
                  <a:lnTo>
                    <a:pt x="32" y="166"/>
                  </a:lnTo>
                  <a:lnTo>
                    <a:pt x="32" y="160"/>
                  </a:lnTo>
                  <a:lnTo>
                    <a:pt x="32" y="154"/>
                  </a:lnTo>
                  <a:lnTo>
                    <a:pt x="36" y="146"/>
                  </a:lnTo>
                  <a:lnTo>
                    <a:pt x="38" y="142"/>
                  </a:lnTo>
                  <a:lnTo>
                    <a:pt x="36" y="136"/>
                  </a:lnTo>
                  <a:lnTo>
                    <a:pt x="36" y="130"/>
                  </a:lnTo>
                  <a:lnTo>
                    <a:pt x="38" y="124"/>
                  </a:lnTo>
                  <a:lnTo>
                    <a:pt x="36" y="118"/>
                  </a:lnTo>
                  <a:lnTo>
                    <a:pt x="32" y="114"/>
                  </a:lnTo>
                  <a:lnTo>
                    <a:pt x="30" y="108"/>
                  </a:lnTo>
                  <a:lnTo>
                    <a:pt x="28" y="104"/>
                  </a:lnTo>
                  <a:lnTo>
                    <a:pt x="24" y="96"/>
                  </a:lnTo>
                  <a:lnTo>
                    <a:pt x="20" y="92"/>
                  </a:lnTo>
                  <a:lnTo>
                    <a:pt x="14" y="86"/>
                  </a:lnTo>
                  <a:lnTo>
                    <a:pt x="10" y="80"/>
                  </a:lnTo>
                  <a:lnTo>
                    <a:pt x="10" y="74"/>
                  </a:lnTo>
                  <a:lnTo>
                    <a:pt x="2" y="70"/>
                  </a:lnTo>
                  <a:lnTo>
                    <a:pt x="0"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299" name="Freeform 116"/>
            <p:cNvSpPr>
              <a:spLocks/>
            </p:cNvSpPr>
            <p:nvPr/>
          </p:nvSpPr>
          <p:spPr bwMode="auto">
            <a:xfrm>
              <a:off x="6159500" y="3379788"/>
              <a:ext cx="206375" cy="115887"/>
            </a:xfrm>
            <a:custGeom>
              <a:avLst/>
              <a:gdLst>
                <a:gd name="T0" fmla="*/ 2147483647 w 506"/>
                <a:gd name="T1" fmla="*/ 2147483647 h 282"/>
                <a:gd name="T2" fmla="*/ 2147483647 w 506"/>
                <a:gd name="T3" fmla="*/ 2147483647 h 282"/>
                <a:gd name="T4" fmla="*/ 2147483647 w 506"/>
                <a:gd name="T5" fmla="*/ 2147483647 h 282"/>
                <a:gd name="T6" fmla="*/ 2147483647 w 506"/>
                <a:gd name="T7" fmla="*/ 2147483647 h 282"/>
                <a:gd name="T8" fmla="*/ 2147483647 w 506"/>
                <a:gd name="T9" fmla="*/ 2147483647 h 282"/>
                <a:gd name="T10" fmla="*/ 2147483647 w 506"/>
                <a:gd name="T11" fmla="*/ 2147483647 h 282"/>
                <a:gd name="T12" fmla="*/ 2147483647 w 506"/>
                <a:gd name="T13" fmla="*/ 2147483647 h 282"/>
                <a:gd name="T14" fmla="*/ 2147483647 w 506"/>
                <a:gd name="T15" fmla="*/ 2147483647 h 282"/>
                <a:gd name="T16" fmla="*/ 2147483647 w 506"/>
                <a:gd name="T17" fmla="*/ 2147483647 h 282"/>
                <a:gd name="T18" fmla="*/ 2147483647 w 506"/>
                <a:gd name="T19" fmla="*/ 2147483647 h 282"/>
                <a:gd name="T20" fmla="*/ 2147483647 w 506"/>
                <a:gd name="T21" fmla="*/ 2147483647 h 282"/>
                <a:gd name="T22" fmla="*/ 2147483647 w 506"/>
                <a:gd name="T23" fmla="*/ 2147483647 h 282"/>
                <a:gd name="T24" fmla="*/ 2147483647 w 506"/>
                <a:gd name="T25" fmla="*/ 2147483647 h 282"/>
                <a:gd name="T26" fmla="*/ 2147483647 w 506"/>
                <a:gd name="T27" fmla="*/ 2147483647 h 282"/>
                <a:gd name="T28" fmla="*/ 2147483647 w 506"/>
                <a:gd name="T29" fmla="*/ 2147483647 h 282"/>
                <a:gd name="T30" fmla="*/ 2147483647 w 506"/>
                <a:gd name="T31" fmla="*/ 2147483647 h 282"/>
                <a:gd name="T32" fmla="*/ 2147483647 w 506"/>
                <a:gd name="T33" fmla="*/ 2147483647 h 282"/>
                <a:gd name="T34" fmla="*/ 2147483647 w 506"/>
                <a:gd name="T35" fmla="*/ 2147483647 h 282"/>
                <a:gd name="T36" fmla="*/ 2147483647 w 506"/>
                <a:gd name="T37" fmla="*/ 2147483647 h 282"/>
                <a:gd name="T38" fmla="*/ 2147483647 w 506"/>
                <a:gd name="T39" fmla="*/ 2147483647 h 282"/>
                <a:gd name="T40" fmla="*/ 2147483647 w 506"/>
                <a:gd name="T41" fmla="*/ 2147483647 h 282"/>
                <a:gd name="T42" fmla="*/ 2147483647 w 506"/>
                <a:gd name="T43" fmla="*/ 2147483647 h 282"/>
                <a:gd name="T44" fmla="*/ 2147483647 w 506"/>
                <a:gd name="T45" fmla="*/ 2147483647 h 282"/>
                <a:gd name="T46" fmla="*/ 2147483647 w 506"/>
                <a:gd name="T47" fmla="*/ 2147483647 h 282"/>
                <a:gd name="T48" fmla="*/ 2147483647 w 506"/>
                <a:gd name="T49" fmla="*/ 2147483647 h 282"/>
                <a:gd name="T50" fmla="*/ 2147483647 w 506"/>
                <a:gd name="T51" fmla="*/ 2147483647 h 282"/>
                <a:gd name="T52" fmla="*/ 2147483647 w 506"/>
                <a:gd name="T53" fmla="*/ 2147483647 h 282"/>
                <a:gd name="T54" fmla="*/ 2147483647 w 506"/>
                <a:gd name="T55" fmla="*/ 2147483647 h 282"/>
                <a:gd name="T56" fmla="*/ 2147483647 w 506"/>
                <a:gd name="T57" fmla="*/ 2147483647 h 282"/>
                <a:gd name="T58" fmla="*/ 2147483647 w 506"/>
                <a:gd name="T59" fmla="*/ 2147483647 h 282"/>
                <a:gd name="T60" fmla="*/ 2147483647 w 506"/>
                <a:gd name="T61" fmla="*/ 2147483647 h 282"/>
                <a:gd name="T62" fmla="*/ 2147483647 w 506"/>
                <a:gd name="T63" fmla="*/ 2147483647 h 282"/>
                <a:gd name="T64" fmla="*/ 2147483647 w 506"/>
                <a:gd name="T65" fmla="*/ 2147483647 h 282"/>
                <a:gd name="T66" fmla="*/ 2147483647 w 506"/>
                <a:gd name="T67" fmla="*/ 2147483647 h 282"/>
                <a:gd name="T68" fmla="*/ 2147483647 w 506"/>
                <a:gd name="T69" fmla="*/ 2147483647 h 282"/>
                <a:gd name="T70" fmla="*/ 2147483647 w 506"/>
                <a:gd name="T71" fmla="*/ 2147483647 h 282"/>
                <a:gd name="T72" fmla="*/ 2147483647 w 506"/>
                <a:gd name="T73" fmla="*/ 2147483647 h 282"/>
                <a:gd name="T74" fmla="*/ 2147483647 w 506"/>
                <a:gd name="T75" fmla="*/ 2147483647 h 282"/>
                <a:gd name="T76" fmla="*/ 2147483647 w 506"/>
                <a:gd name="T77" fmla="*/ 2147483647 h 282"/>
                <a:gd name="T78" fmla="*/ 2147483647 w 506"/>
                <a:gd name="T79" fmla="*/ 2147483647 h 282"/>
                <a:gd name="T80" fmla="*/ 2147483647 w 506"/>
                <a:gd name="T81" fmla="*/ 2147483647 h 282"/>
                <a:gd name="T82" fmla="*/ 2147483647 w 506"/>
                <a:gd name="T83" fmla="*/ 2147483647 h 282"/>
                <a:gd name="T84" fmla="*/ 2147483647 w 506"/>
                <a:gd name="T85" fmla="*/ 2147483647 h 282"/>
                <a:gd name="T86" fmla="*/ 2147483647 w 506"/>
                <a:gd name="T87" fmla="*/ 2147483647 h 282"/>
                <a:gd name="T88" fmla="*/ 2147483647 w 506"/>
                <a:gd name="T89" fmla="*/ 2147483647 h 282"/>
                <a:gd name="T90" fmla="*/ 2147483647 w 506"/>
                <a:gd name="T91" fmla="*/ 2147483647 h 282"/>
                <a:gd name="T92" fmla="*/ 2147483647 w 506"/>
                <a:gd name="T93" fmla="*/ 2147483647 h 282"/>
                <a:gd name="T94" fmla="*/ 2147483647 w 506"/>
                <a:gd name="T95" fmla="*/ 2147483647 h 282"/>
                <a:gd name="T96" fmla="*/ 2147483647 w 506"/>
                <a:gd name="T97" fmla="*/ 2147483647 h 282"/>
                <a:gd name="T98" fmla="*/ 2147483647 w 506"/>
                <a:gd name="T99" fmla="*/ 2147483647 h 282"/>
                <a:gd name="T100" fmla="*/ 2147483647 w 506"/>
                <a:gd name="T101" fmla="*/ 2147483647 h 282"/>
                <a:gd name="T102" fmla="*/ 2147483647 w 506"/>
                <a:gd name="T103" fmla="*/ 2147483647 h 282"/>
                <a:gd name="T104" fmla="*/ 2147483647 w 506"/>
                <a:gd name="T105" fmla="*/ 2147483647 h 282"/>
                <a:gd name="T106" fmla="*/ 2147483647 w 506"/>
                <a:gd name="T107" fmla="*/ 2147483647 h 282"/>
                <a:gd name="T108" fmla="*/ 2147483647 w 506"/>
                <a:gd name="T109" fmla="*/ 2147483647 h 282"/>
                <a:gd name="T110" fmla="*/ 2147483647 w 506"/>
                <a:gd name="T111" fmla="*/ 2147483647 h 282"/>
                <a:gd name="T112" fmla="*/ 2147483647 w 506"/>
                <a:gd name="T113" fmla="*/ 2147483647 h 282"/>
                <a:gd name="T114" fmla="*/ 2147483647 w 506"/>
                <a:gd name="T115" fmla="*/ 2147483647 h 282"/>
                <a:gd name="T116" fmla="*/ 2147483647 w 506"/>
                <a:gd name="T117" fmla="*/ 2147483647 h 282"/>
                <a:gd name="T118" fmla="*/ 2147483647 w 506"/>
                <a:gd name="T119" fmla="*/ 2147483647 h 282"/>
                <a:gd name="T120" fmla="*/ 2147483647 w 506"/>
                <a:gd name="T121" fmla="*/ 2147483647 h 28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6"/>
                <a:gd name="T184" fmla="*/ 0 h 282"/>
                <a:gd name="T185" fmla="*/ 506 w 506"/>
                <a:gd name="T186" fmla="*/ 282 h 28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6" h="282">
                  <a:moveTo>
                    <a:pt x="2" y="100"/>
                  </a:moveTo>
                  <a:lnTo>
                    <a:pt x="4" y="100"/>
                  </a:lnTo>
                  <a:lnTo>
                    <a:pt x="4" y="94"/>
                  </a:lnTo>
                  <a:lnTo>
                    <a:pt x="2" y="90"/>
                  </a:lnTo>
                  <a:lnTo>
                    <a:pt x="4" y="90"/>
                  </a:lnTo>
                  <a:lnTo>
                    <a:pt x="8" y="88"/>
                  </a:lnTo>
                  <a:lnTo>
                    <a:pt x="10" y="82"/>
                  </a:lnTo>
                  <a:lnTo>
                    <a:pt x="8" y="76"/>
                  </a:lnTo>
                  <a:lnTo>
                    <a:pt x="6" y="70"/>
                  </a:lnTo>
                  <a:lnTo>
                    <a:pt x="8" y="64"/>
                  </a:lnTo>
                  <a:lnTo>
                    <a:pt x="10" y="58"/>
                  </a:lnTo>
                  <a:lnTo>
                    <a:pt x="12" y="54"/>
                  </a:lnTo>
                  <a:lnTo>
                    <a:pt x="8" y="48"/>
                  </a:lnTo>
                  <a:lnTo>
                    <a:pt x="14" y="44"/>
                  </a:lnTo>
                  <a:lnTo>
                    <a:pt x="18" y="38"/>
                  </a:lnTo>
                  <a:lnTo>
                    <a:pt x="22" y="32"/>
                  </a:lnTo>
                  <a:lnTo>
                    <a:pt x="24" y="30"/>
                  </a:lnTo>
                  <a:lnTo>
                    <a:pt x="26" y="28"/>
                  </a:lnTo>
                  <a:lnTo>
                    <a:pt x="30" y="22"/>
                  </a:lnTo>
                  <a:lnTo>
                    <a:pt x="32" y="16"/>
                  </a:lnTo>
                  <a:lnTo>
                    <a:pt x="38" y="16"/>
                  </a:lnTo>
                  <a:lnTo>
                    <a:pt x="40" y="16"/>
                  </a:lnTo>
                  <a:lnTo>
                    <a:pt x="44" y="20"/>
                  </a:lnTo>
                  <a:lnTo>
                    <a:pt x="46" y="26"/>
                  </a:lnTo>
                  <a:lnTo>
                    <a:pt x="54" y="28"/>
                  </a:lnTo>
                  <a:lnTo>
                    <a:pt x="58" y="24"/>
                  </a:lnTo>
                  <a:lnTo>
                    <a:pt x="60" y="18"/>
                  </a:lnTo>
                  <a:lnTo>
                    <a:pt x="62" y="18"/>
                  </a:lnTo>
                  <a:lnTo>
                    <a:pt x="62" y="12"/>
                  </a:lnTo>
                  <a:lnTo>
                    <a:pt x="62" y="6"/>
                  </a:lnTo>
                  <a:lnTo>
                    <a:pt x="68" y="6"/>
                  </a:lnTo>
                  <a:lnTo>
                    <a:pt x="72" y="0"/>
                  </a:lnTo>
                  <a:lnTo>
                    <a:pt x="80" y="2"/>
                  </a:lnTo>
                  <a:lnTo>
                    <a:pt x="86" y="4"/>
                  </a:lnTo>
                  <a:lnTo>
                    <a:pt x="92" y="4"/>
                  </a:lnTo>
                  <a:lnTo>
                    <a:pt x="98" y="6"/>
                  </a:lnTo>
                  <a:lnTo>
                    <a:pt x="104" y="14"/>
                  </a:lnTo>
                  <a:lnTo>
                    <a:pt x="108" y="20"/>
                  </a:lnTo>
                  <a:lnTo>
                    <a:pt x="114" y="24"/>
                  </a:lnTo>
                  <a:lnTo>
                    <a:pt x="120" y="26"/>
                  </a:lnTo>
                  <a:lnTo>
                    <a:pt x="126" y="30"/>
                  </a:lnTo>
                  <a:lnTo>
                    <a:pt x="132" y="34"/>
                  </a:lnTo>
                  <a:lnTo>
                    <a:pt x="140" y="38"/>
                  </a:lnTo>
                  <a:lnTo>
                    <a:pt x="146" y="44"/>
                  </a:lnTo>
                  <a:lnTo>
                    <a:pt x="152" y="50"/>
                  </a:lnTo>
                  <a:lnTo>
                    <a:pt x="158" y="50"/>
                  </a:lnTo>
                  <a:lnTo>
                    <a:pt x="164" y="52"/>
                  </a:lnTo>
                  <a:lnTo>
                    <a:pt x="170" y="58"/>
                  </a:lnTo>
                  <a:lnTo>
                    <a:pt x="176" y="56"/>
                  </a:lnTo>
                  <a:lnTo>
                    <a:pt x="182" y="62"/>
                  </a:lnTo>
                  <a:lnTo>
                    <a:pt x="188" y="66"/>
                  </a:lnTo>
                  <a:lnTo>
                    <a:pt x="192" y="72"/>
                  </a:lnTo>
                  <a:lnTo>
                    <a:pt x="194" y="76"/>
                  </a:lnTo>
                  <a:lnTo>
                    <a:pt x="200" y="82"/>
                  </a:lnTo>
                  <a:lnTo>
                    <a:pt x="208" y="88"/>
                  </a:lnTo>
                  <a:lnTo>
                    <a:pt x="214" y="82"/>
                  </a:lnTo>
                  <a:lnTo>
                    <a:pt x="220" y="80"/>
                  </a:lnTo>
                  <a:lnTo>
                    <a:pt x="228" y="78"/>
                  </a:lnTo>
                  <a:lnTo>
                    <a:pt x="230" y="80"/>
                  </a:lnTo>
                  <a:lnTo>
                    <a:pt x="236" y="84"/>
                  </a:lnTo>
                  <a:lnTo>
                    <a:pt x="240" y="90"/>
                  </a:lnTo>
                  <a:lnTo>
                    <a:pt x="246" y="96"/>
                  </a:lnTo>
                  <a:lnTo>
                    <a:pt x="246" y="102"/>
                  </a:lnTo>
                  <a:lnTo>
                    <a:pt x="246" y="104"/>
                  </a:lnTo>
                  <a:lnTo>
                    <a:pt x="252" y="108"/>
                  </a:lnTo>
                  <a:lnTo>
                    <a:pt x="258" y="110"/>
                  </a:lnTo>
                  <a:lnTo>
                    <a:pt x="264" y="118"/>
                  </a:lnTo>
                  <a:lnTo>
                    <a:pt x="270" y="118"/>
                  </a:lnTo>
                  <a:lnTo>
                    <a:pt x="276" y="122"/>
                  </a:lnTo>
                  <a:lnTo>
                    <a:pt x="282" y="126"/>
                  </a:lnTo>
                  <a:lnTo>
                    <a:pt x="288" y="130"/>
                  </a:lnTo>
                  <a:lnTo>
                    <a:pt x="294" y="126"/>
                  </a:lnTo>
                  <a:lnTo>
                    <a:pt x="296" y="126"/>
                  </a:lnTo>
                  <a:lnTo>
                    <a:pt x="302" y="124"/>
                  </a:lnTo>
                  <a:lnTo>
                    <a:pt x="306" y="130"/>
                  </a:lnTo>
                  <a:lnTo>
                    <a:pt x="302" y="136"/>
                  </a:lnTo>
                  <a:lnTo>
                    <a:pt x="304" y="144"/>
                  </a:lnTo>
                  <a:lnTo>
                    <a:pt x="310" y="146"/>
                  </a:lnTo>
                  <a:lnTo>
                    <a:pt x="318" y="148"/>
                  </a:lnTo>
                  <a:lnTo>
                    <a:pt x="324" y="148"/>
                  </a:lnTo>
                  <a:lnTo>
                    <a:pt x="330" y="148"/>
                  </a:lnTo>
                  <a:lnTo>
                    <a:pt x="336" y="150"/>
                  </a:lnTo>
                  <a:lnTo>
                    <a:pt x="340" y="144"/>
                  </a:lnTo>
                  <a:lnTo>
                    <a:pt x="344" y="150"/>
                  </a:lnTo>
                  <a:lnTo>
                    <a:pt x="350" y="156"/>
                  </a:lnTo>
                  <a:lnTo>
                    <a:pt x="356" y="162"/>
                  </a:lnTo>
                  <a:lnTo>
                    <a:pt x="358" y="166"/>
                  </a:lnTo>
                  <a:lnTo>
                    <a:pt x="360" y="168"/>
                  </a:lnTo>
                  <a:lnTo>
                    <a:pt x="360" y="174"/>
                  </a:lnTo>
                  <a:lnTo>
                    <a:pt x="366" y="174"/>
                  </a:lnTo>
                  <a:lnTo>
                    <a:pt x="368" y="168"/>
                  </a:lnTo>
                  <a:lnTo>
                    <a:pt x="366" y="162"/>
                  </a:lnTo>
                  <a:lnTo>
                    <a:pt x="370" y="156"/>
                  </a:lnTo>
                  <a:lnTo>
                    <a:pt x="372" y="162"/>
                  </a:lnTo>
                  <a:lnTo>
                    <a:pt x="380" y="168"/>
                  </a:lnTo>
                  <a:lnTo>
                    <a:pt x="386" y="172"/>
                  </a:lnTo>
                  <a:lnTo>
                    <a:pt x="392" y="172"/>
                  </a:lnTo>
                  <a:lnTo>
                    <a:pt x="394" y="170"/>
                  </a:lnTo>
                  <a:lnTo>
                    <a:pt x="394" y="164"/>
                  </a:lnTo>
                  <a:lnTo>
                    <a:pt x="400" y="160"/>
                  </a:lnTo>
                  <a:lnTo>
                    <a:pt x="406" y="166"/>
                  </a:lnTo>
                  <a:lnTo>
                    <a:pt x="412" y="166"/>
                  </a:lnTo>
                  <a:lnTo>
                    <a:pt x="420" y="172"/>
                  </a:lnTo>
                  <a:lnTo>
                    <a:pt x="426" y="172"/>
                  </a:lnTo>
                  <a:lnTo>
                    <a:pt x="432" y="178"/>
                  </a:lnTo>
                  <a:lnTo>
                    <a:pt x="438" y="178"/>
                  </a:lnTo>
                  <a:lnTo>
                    <a:pt x="444" y="178"/>
                  </a:lnTo>
                  <a:lnTo>
                    <a:pt x="448" y="180"/>
                  </a:lnTo>
                  <a:lnTo>
                    <a:pt x="454" y="178"/>
                  </a:lnTo>
                  <a:lnTo>
                    <a:pt x="462" y="180"/>
                  </a:lnTo>
                  <a:lnTo>
                    <a:pt x="470" y="178"/>
                  </a:lnTo>
                  <a:lnTo>
                    <a:pt x="476" y="174"/>
                  </a:lnTo>
                  <a:lnTo>
                    <a:pt x="482" y="176"/>
                  </a:lnTo>
                  <a:lnTo>
                    <a:pt x="490" y="178"/>
                  </a:lnTo>
                  <a:lnTo>
                    <a:pt x="494" y="182"/>
                  </a:lnTo>
                  <a:lnTo>
                    <a:pt x="492" y="188"/>
                  </a:lnTo>
                  <a:lnTo>
                    <a:pt x="492" y="194"/>
                  </a:lnTo>
                  <a:lnTo>
                    <a:pt x="488" y="200"/>
                  </a:lnTo>
                  <a:lnTo>
                    <a:pt x="490" y="206"/>
                  </a:lnTo>
                  <a:lnTo>
                    <a:pt x="490" y="212"/>
                  </a:lnTo>
                  <a:lnTo>
                    <a:pt x="490" y="218"/>
                  </a:lnTo>
                  <a:lnTo>
                    <a:pt x="490" y="220"/>
                  </a:lnTo>
                  <a:lnTo>
                    <a:pt x="490" y="222"/>
                  </a:lnTo>
                  <a:lnTo>
                    <a:pt x="490" y="228"/>
                  </a:lnTo>
                  <a:lnTo>
                    <a:pt x="494" y="234"/>
                  </a:lnTo>
                  <a:lnTo>
                    <a:pt x="500" y="240"/>
                  </a:lnTo>
                  <a:lnTo>
                    <a:pt x="504" y="246"/>
                  </a:lnTo>
                  <a:lnTo>
                    <a:pt x="506" y="252"/>
                  </a:lnTo>
                  <a:lnTo>
                    <a:pt x="506" y="258"/>
                  </a:lnTo>
                  <a:lnTo>
                    <a:pt x="506" y="262"/>
                  </a:lnTo>
                  <a:lnTo>
                    <a:pt x="504" y="268"/>
                  </a:lnTo>
                  <a:lnTo>
                    <a:pt x="504" y="274"/>
                  </a:lnTo>
                  <a:lnTo>
                    <a:pt x="502" y="280"/>
                  </a:lnTo>
                  <a:lnTo>
                    <a:pt x="496" y="278"/>
                  </a:lnTo>
                  <a:lnTo>
                    <a:pt x="490" y="276"/>
                  </a:lnTo>
                  <a:lnTo>
                    <a:pt x="484" y="278"/>
                  </a:lnTo>
                  <a:lnTo>
                    <a:pt x="478" y="278"/>
                  </a:lnTo>
                  <a:lnTo>
                    <a:pt x="472" y="278"/>
                  </a:lnTo>
                  <a:lnTo>
                    <a:pt x="466" y="276"/>
                  </a:lnTo>
                  <a:lnTo>
                    <a:pt x="460" y="282"/>
                  </a:lnTo>
                  <a:lnTo>
                    <a:pt x="454" y="278"/>
                  </a:lnTo>
                  <a:lnTo>
                    <a:pt x="448" y="278"/>
                  </a:lnTo>
                  <a:lnTo>
                    <a:pt x="444" y="272"/>
                  </a:lnTo>
                  <a:lnTo>
                    <a:pt x="442" y="266"/>
                  </a:lnTo>
                  <a:lnTo>
                    <a:pt x="436" y="270"/>
                  </a:lnTo>
                  <a:lnTo>
                    <a:pt x="434" y="270"/>
                  </a:lnTo>
                  <a:lnTo>
                    <a:pt x="432" y="274"/>
                  </a:lnTo>
                  <a:lnTo>
                    <a:pt x="428" y="276"/>
                  </a:lnTo>
                  <a:lnTo>
                    <a:pt x="424" y="276"/>
                  </a:lnTo>
                  <a:lnTo>
                    <a:pt x="418" y="274"/>
                  </a:lnTo>
                  <a:lnTo>
                    <a:pt x="412" y="270"/>
                  </a:lnTo>
                  <a:lnTo>
                    <a:pt x="406" y="268"/>
                  </a:lnTo>
                  <a:lnTo>
                    <a:pt x="400" y="266"/>
                  </a:lnTo>
                  <a:lnTo>
                    <a:pt x="394" y="264"/>
                  </a:lnTo>
                  <a:lnTo>
                    <a:pt x="388" y="264"/>
                  </a:lnTo>
                  <a:lnTo>
                    <a:pt x="386" y="264"/>
                  </a:lnTo>
                  <a:lnTo>
                    <a:pt x="380" y="260"/>
                  </a:lnTo>
                  <a:lnTo>
                    <a:pt x="374" y="264"/>
                  </a:lnTo>
                  <a:lnTo>
                    <a:pt x="368" y="264"/>
                  </a:lnTo>
                  <a:lnTo>
                    <a:pt x="362" y="260"/>
                  </a:lnTo>
                  <a:lnTo>
                    <a:pt x="360" y="254"/>
                  </a:lnTo>
                  <a:lnTo>
                    <a:pt x="356" y="248"/>
                  </a:lnTo>
                  <a:lnTo>
                    <a:pt x="348" y="248"/>
                  </a:lnTo>
                  <a:lnTo>
                    <a:pt x="344" y="252"/>
                  </a:lnTo>
                  <a:lnTo>
                    <a:pt x="338" y="254"/>
                  </a:lnTo>
                  <a:lnTo>
                    <a:pt x="332" y="254"/>
                  </a:lnTo>
                  <a:lnTo>
                    <a:pt x="328" y="248"/>
                  </a:lnTo>
                  <a:lnTo>
                    <a:pt x="322" y="246"/>
                  </a:lnTo>
                  <a:lnTo>
                    <a:pt x="316" y="244"/>
                  </a:lnTo>
                  <a:lnTo>
                    <a:pt x="310" y="238"/>
                  </a:lnTo>
                  <a:lnTo>
                    <a:pt x="308" y="238"/>
                  </a:lnTo>
                  <a:lnTo>
                    <a:pt x="302" y="236"/>
                  </a:lnTo>
                  <a:lnTo>
                    <a:pt x="296" y="234"/>
                  </a:lnTo>
                  <a:lnTo>
                    <a:pt x="294" y="228"/>
                  </a:lnTo>
                  <a:lnTo>
                    <a:pt x="294" y="222"/>
                  </a:lnTo>
                  <a:lnTo>
                    <a:pt x="290" y="216"/>
                  </a:lnTo>
                  <a:lnTo>
                    <a:pt x="284" y="214"/>
                  </a:lnTo>
                  <a:lnTo>
                    <a:pt x="278" y="212"/>
                  </a:lnTo>
                  <a:lnTo>
                    <a:pt x="272" y="212"/>
                  </a:lnTo>
                  <a:lnTo>
                    <a:pt x="266" y="208"/>
                  </a:lnTo>
                  <a:lnTo>
                    <a:pt x="262" y="204"/>
                  </a:lnTo>
                  <a:lnTo>
                    <a:pt x="254" y="202"/>
                  </a:lnTo>
                  <a:lnTo>
                    <a:pt x="250" y="206"/>
                  </a:lnTo>
                  <a:lnTo>
                    <a:pt x="246" y="206"/>
                  </a:lnTo>
                  <a:lnTo>
                    <a:pt x="242" y="206"/>
                  </a:lnTo>
                  <a:lnTo>
                    <a:pt x="242" y="210"/>
                  </a:lnTo>
                  <a:lnTo>
                    <a:pt x="242" y="212"/>
                  </a:lnTo>
                  <a:lnTo>
                    <a:pt x="236" y="210"/>
                  </a:lnTo>
                  <a:lnTo>
                    <a:pt x="230" y="206"/>
                  </a:lnTo>
                  <a:lnTo>
                    <a:pt x="224" y="204"/>
                  </a:lnTo>
                  <a:lnTo>
                    <a:pt x="218" y="204"/>
                  </a:lnTo>
                  <a:lnTo>
                    <a:pt x="214" y="210"/>
                  </a:lnTo>
                  <a:lnTo>
                    <a:pt x="208" y="214"/>
                  </a:lnTo>
                  <a:lnTo>
                    <a:pt x="204" y="208"/>
                  </a:lnTo>
                  <a:lnTo>
                    <a:pt x="198" y="206"/>
                  </a:lnTo>
                  <a:lnTo>
                    <a:pt x="190" y="206"/>
                  </a:lnTo>
                  <a:lnTo>
                    <a:pt x="184" y="202"/>
                  </a:lnTo>
                  <a:lnTo>
                    <a:pt x="178" y="202"/>
                  </a:lnTo>
                  <a:lnTo>
                    <a:pt x="174" y="196"/>
                  </a:lnTo>
                  <a:lnTo>
                    <a:pt x="172" y="190"/>
                  </a:lnTo>
                  <a:lnTo>
                    <a:pt x="168" y="188"/>
                  </a:lnTo>
                  <a:lnTo>
                    <a:pt x="162" y="190"/>
                  </a:lnTo>
                  <a:lnTo>
                    <a:pt x="156" y="190"/>
                  </a:lnTo>
                  <a:lnTo>
                    <a:pt x="150" y="186"/>
                  </a:lnTo>
                  <a:lnTo>
                    <a:pt x="144" y="184"/>
                  </a:lnTo>
                  <a:lnTo>
                    <a:pt x="140" y="178"/>
                  </a:lnTo>
                  <a:lnTo>
                    <a:pt x="134" y="176"/>
                  </a:lnTo>
                  <a:lnTo>
                    <a:pt x="130" y="174"/>
                  </a:lnTo>
                  <a:lnTo>
                    <a:pt x="124" y="174"/>
                  </a:lnTo>
                  <a:lnTo>
                    <a:pt x="118" y="176"/>
                  </a:lnTo>
                  <a:lnTo>
                    <a:pt x="112" y="172"/>
                  </a:lnTo>
                  <a:lnTo>
                    <a:pt x="106" y="168"/>
                  </a:lnTo>
                  <a:lnTo>
                    <a:pt x="102" y="166"/>
                  </a:lnTo>
                  <a:lnTo>
                    <a:pt x="96" y="164"/>
                  </a:lnTo>
                  <a:lnTo>
                    <a:pt x="90" y="158"/>
                  </a:lnTo>
                  <a:lnTo>
                    <a:pt x="84" y="158"/>
                  </a:lnTo>
                  <a:lnTo>
                    <a:pt x="80" y="152"/>
                  </a:lnTo>
                  <a:lnTo>
                    <a:pt x="76" y="146"/>
                  </a:lnTo>
                  <a:lnTo>
                    <a:pt x="74" y="142"/>
                  </a:lnTo>
                  <a:lnTo>
                    <a:pt x="68" y="140"/>
                  </a:lnTo>
                  <a:lnTo>
                    <a:pt x="64" y="140"/>
                  </a:lnTo>
                  <a:lnTo>
                    <a:pt x="58" y="138"/>
                  </a:lnTo>
                  <a:lnTo>
                    <a:pt x="52" y="132"/>
                  </a:lnTo>
                  <a:lnTo>
                    <a:pt x="46" y="130"/>
                  </a:lnTo>
                  <a:lnTo>
                    <a:pt x="40" y="126"/>
                  </a:lnTo>
                  <a:lnTo>
                    <a:pt x="34" y="122"/>
                  </a:lnTo>
                  <a:lnTo>
                    <a:pt x="30" y="120"/>
                  </a:lnTo>
                  <a:lnTo>
                    <a:pt x="30" y="126"/>
                  </a:lnTo>
                  <a:lnTo>
                    <a:pt x="26" y="124"/>
                  </a:lnTo>
                  <a:lnTo>
                    <a:pt x="20" y="122"/>
                  </a:lnTo>
                  <a:lnTo>
                    <a:pt x="12" y="116"/>
                  </a:lnTo>
                  <a:lnTo>
                    <a:pt x="8" y="114"/>
                  </a:lnTo>
                  <a:lnTo>
                    <a:pt x="4" y="110"/>
                  </a:lnTo>
                  <a:lnTo>
                    <a:pt x="0" y="106"/>
                  </a:lnTo>
                  <a:lnTo>
                    <a:pt x="2" y="10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0" name="Freeform 117"/>
            <p:cNvSpPr>
              <a:spLocks/>
            </p:cNvSpPr>
            <p:nvPr/>
          </p:nvSpPr>
          <p:spPr bwMode="auto">
            <a:xfrm>
              <a:off x="6597650" y="4084638"/>
              <a:ext cx="271463" cy="330200"/>
            </a:xfrm>
            <a:custGeom>
              <a:avLst/>
              <a:gdLst>
                <a:gd name="T0" fmla="*/ 2147483647 w 668"/>
                <a:gd name="T1" fmla="*/ 2147483647 h 802"/>
                <a:gd name="T2" fmla="*/ 2147483647 w 668"/>
                <a:gd name="T3" fmla="*/ 2147483647 h 802"/>
                <a:gd name="T4" fmla="*/ 2147483647 w 668"/>
                <a:gd name="T5" fmla="*/ 2147483647 h 802"/>
                <a:gd name="T6" fmla="*/ 2147483647 w 668"/>
                <a:gd name="T7" fmla="*/ 2147483647 h 802"/>
                <a:gd name="T8" fmla="*/ 2147483647 w 668"/>
                <a:gd name="T9" fmla="*/ 2147483647 h 802"/>
                <a:gd name="T10" fmla="*/ 2147483647 w 668"/>
                <a:gd name="T11" fmla="*/ 2147483647 h 802"/>
                <a:gd name="T12" fmla="*/ 2147483647 w 668"/>
                <a:gd name="T13" fmla="*/ 2147483647 h 802"/>
                <a:gd name="T14" fmla="*/ 2147483647 w 668"/>
                <a:gd name="T15" fmla="*/ 2147483647 h 802"/>
                <a:gd name="T16" fmla="*/ 2147483647 w 668"/>
                <a:gd name="T17" fmla="*/ 2147483647 h 802"/>
                <a:gd name="T18" fmla="*/ 2147483647 w 668"/>
                <a:gd name="T19" fmla="*/ 2147483647 h 802"/>
                <a:gd name="T20" fmla="*/ 2147483647 w 668"/>
                <a:gd name="T21" fmla="*/ 2147483647 h 802"/>
                <a:gd name="T22" fmla="*/ 2147483647 w 668"/>
                <a:gd name="T23" fmla="*/ 2147483647 h 802"/>
                <a:gd name="T24" fmla="*/ 2147483647 w 668"/>
                <a:gd name="T25" fmla="*/ 2147483647 h 802"/>
                <a:gd name="T26" fmla="*/ 2147483647 w 668"/>
                <a:gd name="T27" fmla="*/ 2147483647 h 802"/>
                <a:gd name="T28" fmla="*/ 2147483647 w 668"/>
                <a:gd name="T29" fmla="*/ 2147483647 h 802"/>
                <a:gd name="T30" fmla="*/ 2147483647 w 668"/>
                <a:gd name="T31" fmla="*/ 2147483647 h 802"/>
                <a:gd name="T32" fmla="*/ 2147483647 w 668"/>
                <a:gd name="T33" fmla="*/ 2147483647 h 802"/>
                <a:gd name="T34" fmla="*/ 2147483647 w 668"/>
                <a:gd name="T35" fmla="*/ 2147483647 h 802"/>
                <a:gd name="T36" fmla="*/ 2147483647 w 668"/>
                <a:gd name="T37" fmla="*/ 2147483647 h 802"/>
                <a:gd name="T38" fmla="*/ 2147483647 w 668"/>
                <a:gd name="T39" fmla="*/ 2147483647 h 802"/>
                <a:gd name="T40" fmla="*/ 2147483647 w 668"/>
                <a:gd name="T41" fmla="*/ 2147483647 h 802"/>
                <a:gd name="T42" fmla="*/ 2147483647 w 668"/>
                <a:gd name="T43" fmla="*/ 2147483647 h 802"/>
                <a:gd name="T44" fmla="*/ 2147483647 w 668"/>
                <a:gd name="T45" fmla="*/ 2147483647 h 802"/>
                <a:gd name="T46" fmla="*/ 2147483647 w 668"/>
                <a:gd name="T47" fmla="*/ 2147483647 h 802"/>
                <a:gd name="T48" fmla="*/ 2147483647 w 668"/>
                <a:gd name="T49" fmla="*/ 2147483647 h 802"/>
                <a:gd name="T50" fmla="*/ 2147483647 w 668"/>
                <a:gd name="T51" fmla="*/ 2147483647 h 802"/>
                <a:gd name="T52" fmla="*/ 2147483647 w 668"/>
                <a:gd name="T53" fmla="*/ 2147483647 h 802"/>
                <a:gd name="T54" fmla="*/ 2147483647 w 668"/>
                <a:gd name="T55" fmla="*/ 2147483647 h 802"/>
                <a:gd name="T56" fmla="*/ 2147483647 w 668"/>
                <a:gd name="T57" fmla="*/ 2147483647 h 802"/>
                <a:gd name="T58" fmla="*/ 2147483647 w 668"/>
                <a:gd name="T59" fmla="*/ 2147483647 h 802"/>
                <a:gd name="T60" fmla="*/ 2147483647 w 668"/>
                <a:gd name="T61" fmla="*/ 2147483647 h 802"/>
                <a:gd name="T62" fmla="*/ 2147483647 w 668"/>
                <a:gd name="T63" fmla="*/ 2147483647 h 802"/>
                <a:gd name="T64" fmla="*/ 2147483647 w 668"/>
                <a:gd name="T65" fmla="*/ 2147483647 h 802"/>
                <a:gd name="T66" fmla="*/ 2147483647 w 668"/>
                <a:gd name="T67" fmla="*/ 2147483647 h 802"/>
                <a:gd name="T68" fmla="*/ 2147483647 w 668"/>
                <a:gd name="T69" fmla="*/ 2147483647 h 802"/>
                <a:gd name="T70" fmla="*/ 2147483647 w 668"/>
                <a:gd name="T71" fmla="*/ 2147483647 h 802"/>
                <a:gd name="T72" fmla="*/ 2147483647 w 668"/>
                <a:gd name="T73" fmla="*/ 2147483647 h 802"/>
                <a:gd name="T74" fmla="*/ 2147483647 w 668"/>
                <a:gd name="T75" fmla="*/ 2147483647 h 802"/>
                <a:gd name="T76" fmla="*/ 2147483647 w 668"/>
                <a:gd name="T77" fmla="*/ 2147483647 h 802"/>
                <a:gd name="T78" fmla="*/ 2147483647 w 668"/>
                <a:gd name="T79" fmla="*/ 2147483647 h 802"/>
                <a:gd name="T80" fmla="*/ 2147483647 w 668"/>
                <a:gd name="T81" fmla="*/ 2147483647 h 802"/>
                <a:gd name="T82" fmla="*/ 2147483647 w 668"/>
                <a:gd name="T83" fmla="*/ 2147483647 h 802"/>
                <a:gd name="T84" fmla="*/ 2147483647 w 668"/>
                <a:gd name="T85" fmla="*/ 2147483647 h 802"/>
                <a:gd name="T86" fmla="*/ 2147483647 w 668"/>
                <a:gd name="T87" fmla="*/ 2147483647 h 802"/>
                <a:gd name="T88" fmla="*/ 2147483647 w 668"/>
                <a:gd name="T89" fmla="*/ 2147483647 h 802"/>
                <a:gd name="T90" fmla="*/ 2147483647 w 668"/>
                <a:gd name="T91" fmla="*/ 2147483647 h 802"/>
                <a:gd name="T92" fmla="*/ 2147483647 w 668"/>
                <a:gd name="T93" fmla="*/ 2147483647 h 802"/>
                <a:gd name="T94" fmla="*/ 2147483647 w 668"/>
                <a:gd name="T95" fmla="*/ 2147483647 h 802"/>
                <a:gd name="T96" fmla="*/ 2147483647 w 668"/>
                <a:gd name="T97" fmla="*/ 2147483647 h 802"/>
                <a:gd name="T98" fmla="*/ 2147483647 w 668"/>
                <a:gd name="T99" fmla="*/ 2147483647 h 802"/>
                <a:gd name="T100" fmla="*/ 2147483647 w 668"/>
                <a:gd name="T101" fmla="*/ 2147483647 h 802"/>
                <a:gd name="T102" fmla="*/ 2147483647 w 668"/>
                <a:gd name="T103" fmla="*/ 2147483647 h 802"/>
                <a:gd name="T104" fmla="*/ 2147483647 w 668"/>
                <a:gd name="T105" fmla="*/ 2147483647 h 802"/>
                <a:gd name="T106" fmla="*/ 2147483647 w 668"/>
                <a:gd name="T107" fmla="*/ 2147483647 h 802"/>
                <a:gd name="T108" fmla="*/ 2147483647 w 668"/>
                <a:gd name="T109" fmla="*/ 2147483647 h 802"/>
                <a:gd name="T110" fmla="*/ 2147483647 w 668"/>
                <a:gd name="T111" fmla="*/ 2147483647 h 802"/>
                <a:gd name="T112" fmla="*/ 2147483647 w 668"/>
                <a:gd name="T113" fmla="*/ 2147483647 h 802"/>
                <a:gd name="T114" fmla="*/ 2147483647 w 668"/>
                <a:gd name="T115" fmla="*/ 2147483647 h 802"/>
                <a:gd name="T116" fmla="*/ 2147483647 w 668"/>
                <a:gd name="T117" fmla="*/ 2147483647 h 802"/>
                <a:gd name="T118" fmla="*/ 2147483647 w 668"/>
                <a:gd name="T119" fmla="*/ 2147483647 h 802"/>
                <a:gd name="T120" fmla="*/ 2147483647 w 668"/>
                <a:gd name="T121" fmla="*/ 2147483647 h 802"/>
                <a:gd name="T122" fmla="*/ 2147483647 w 668"/>
                <a:gd name="T123" fmla="*/ 2147483647 h 8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8"/>
                <a:gd name="T187" fmla="*/ 0 h 802"/>
                <a:gd name="T188" fmla="*/ 668 w 668"/>
                <a:gd name="T189" fmla="*/ 802 h 80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8" h="802">
                  <a:moveTo>
                    <a:pt x="140" y="28"/>
                  </a:moveTo>
                  <a:lnTo>
                    <a:pt x="138" y="30"/>
                  </a:lnTo>
                  <a:lnTo>
                    <a:pt x="132" y="32"/>
                  </a:lnTo>
                  <a:lnTo>
                    <a:pt x="126" y="34"/>
                  </a:lnTo>
                  <a:lnTo>
                    <a:pt x="120" y="34"/>
                  </a:lnTo>
                  <a:lnTo>
                    <a:pt x="114" y="28"/>
                  </a:lnTo>
                  <a:lnTo>
                    <a:pt x="108" y="26"/>
                  </a:lnTo>
                  <a:lnTo>
                    <a:pt x="102" y="28"/>
                  </a:lnTo>
                  <a:lnTo>
                    <a:pt x="98" y="26"/>
                  </a:lnTo>
                  <a:lnTo>
                    <a:pt x="92" y="30"/>
                  </a:lnTo>
                  <a:lnTo>
                    <a:pt x="84" y="30"/>
                  </a:lnTo>
                  <a:lnTo>
                    <a:pt x="80" y="30"/>
                  </a:lnTo>
                  <a:lnTo>
                    <a:pt x="74" y="30"/>
                  </a:lnTo>
                  <a:lnTo>
                    <a:pt x="68" y="28"/>
                  </a:lnTo>
                  <a:lnTo>
                    <a:pt x="62" y="28"/>
                  </a:lnTo>
                  <a:lnTo>
                    <a:pt x="56" y="26"/>
                  </a:lnTo>
                  <a:lnTo>
                    <a:pt x="50" y="22"/>
                  </a:lnTo>
                  <a:lnTo>
                    <a:pt x="44" y="16"/>
                  </a:lnTo>
                  <a:lnTo>
                    <a:pt x="42" y="10"/>
                  </a:lnTo>
                  <a:lnTo>
                    <a:pt x="34" y="8"/>
                  </a:lnTo>
                  <a:lnTo>
                    <a:pt x="30" y="6"/>
                  </a:lnTo>
                  <a:lnTo>
                    <a:pt x="24" y="2"/>
                  </a:lnTo>
                  <a:lnTo>
                    <a:pt x="18" y="4"/>
                  </a:lnTo>
                  <a:lnTo>
                    <a:pt x="12" y="0"/>
                  </a:lnTo>
                  <a:lnTo>
                    <a:pt x="6" y="4"/>
                  </a:lnTo>
                  <a:lnTo>
                    <a:pt x="0" y="6"/>
                  </a:lnTo>
                  <a:lnTo>
                    <a:pt x="0" y="12"/>
                  </a:lnTo>
                  <a:lnTo>
                    <a:pt x="2" y="18"/>
                  </a:lnTo>
                  <a:lnTo>
                    <a:pt x="0" y="24"/>
                  </a:lnTo>
                  <a:lnTo>
                    <a:pt x="4" y="30"/>
                  </a:lnTo>
                  <a:lnTo>
                    <a:pt x="6" y="36"/>
                  </a:lnTo>
                  <a:lnTo>
                    <a:pt x="8" y="42"/>
                  </a:lnTo>
                  <a:lnTo>
                    <a:pt x="10" y="48"/>
                  </a:lnTo>
                  <a:lnTo>
                    <a:pt x="14" y="54"/>
                  </a:lnTo>
                  <a:lnTo>
                    <a:pt x="16" y="60"/>
                  </a:lnTo>
                  <a:lnTo>
                    <a:pt x="20" y="66"/>
                  </a:lnTo>
                  <a:lnTo>
                    <a:pt x="26" y="72"/>
                  </a:lnTo>
                  <a:lnTo>
                    <a:pt x="32" y="76"/>
                  </a:lnTo>
                  <a:lnTo>
                    <a:pt x="38" y="82"/>
                  </a:lnTo>
                  <a:lnTo>
                    <a:pt x="42" y="88"/>
                  </a:lnTo>
                  <a:lnTo>
                    <a:pt x="46" y="94"/>
                  </a:lnTo>
                  <a:lnTo>
                    <a:pt x="52" y="100"/>
                  </a:lnTo>
                  <a:lnTo>
                    <a:pt x="58" y="106"/>
                  </a:lnTo>
                  <a:lnTo>
                    <a:pt x="64" y="108"/>
                  </a:lnTo>
                  <a:lnTo>
                    <a:pt x="70" y="114"/>
                  </a:lnTo>
                  <a:lnTo>
                    <a:pt x="72" y="120"/>
                  </a:lnTo>
                  <a:lnTo>
                    <a:pt x="76" y="126"/>
                  </a:lnTo>
                  <a:lnTo>
                    <a:pt x="84" y="132"/>
                  </a:lnTo>
                  <a:lnTo>
                    <a:pt x="88" y="132"/>
                  </a:lnTo>
                  <a:lnTo>
                    <a:pt x="94" y="132"/>
                  </a:lnTo>
                  <a:lnTo>
                    <a:pt x="102" y="132"/>
                  </a:lnTo>
                  <a:lnTo>
                    <a:pt x="106" y="138"/>
                  </a:lnTo>
                  <a:lnTo>
                    <a:pt x="110" y="144"/>
                  </a:lnTo>
                  <a:lnTo>
                    <a:pt x="116" y="150"/>
                  </a:lnTo>
                  <a:lnTo>
                    <a:pt x="118" y="156"/>
                  </a:lnTo>
                  <a:lnTo>
                    <a:pt x="122" y="162"/>
                  </a:lnTo>
                  <a:lnTo>
                    <a:pt x="126" y="168"/>
                  </a:lnTo>
                  <a:lnTo>
                    <a:pt x="132" y="172"/>
                  </a:lnTo>
                  <a:lnTo>
                    <a:pt x="134" y="178"/>
                  </a:lnTo>
                  <a:lnTo>
                    <a:pt x="136" y="184"/>
                  </a:lnTo>
                  <a:lnTo>
                    <a:pt x="140" y="190"/>
                  </a:lnTo>
                  <a:lnTo>
                    <a:pt x="148" y="192"/>
                  </a:lnTo>
                  <a:lnTo>
                    <a:pt x="152" y="196"/>
                  </a:lnTo>
                  <a:lnTo>
                    <a:pt x="154" y="204"/>
                  </a:lnTo>
                  <a:lnTo>
                    <a:pt x="156" y="208"/>
                  </a:lnTo>
                  <a:lnTo>
                    <a:pt x="156" y="214"/>
                  </a:lnTo>
                  <a:lnTo>
                    <a:pt x="156" y="220"/>
                  </a:lnTo>
                  <a:lnTo>
                    <a:pt x="156" y="226"/>
                  </a:lnTo>
                  <a:lnTo>
                    <a:pt x="160" y="232"/>
                  </a:lnTo>
                  <a:lnTo>
                    <a:pt x="166" y="236"/>
                  </a:lnTo>
                  <a:lnTo>
                    <a:pt x="172" y="234"/>
                  </a:lnTo>
                  <a:lnTo>
                    <a:pt x="178" y="238"/>
                  </a:lnTo>
                  <a:lnTo>
                    <a:pt x="184" y="240"/>
                  </a:lnTo>
                  <a:lnTo>
                    <a:pt x="190" y="246"/>
                  </a:lnTo>
                  <a:lnTo>
                    <a:pt x="194" y="250"/>
                  </a:lnTo>
                  <a:lnTo>
                    <a:pt x="200" y="254"/>
                  </a:lnTo>
                  <a:lnTo>
                    <a:pt x="206" y="254"/>
                  </a:lnTo>
                  <a:lnTo>
                    <a:pt x="212" y="260"/>
                  </a:lnTo>
                  <a:lnTo>
                    <a:pt x="216" y="266"/>
                  </a:lnTo>
                  <a:lnTo>
                    <a:pt x="220" y="272"/>
                  </a:lnTo>
                  <a:lnTo>
                    <a:pt x="226" y="274"/>
                  </a:lnTo>
                  <a:lnTo>
                    <a:pt x="228" y="280"/>
                  </a:lnTo>
                  <a:lnTo>
                    <a:pt x="222" y="286"/>
                  </a:lnTo>
                  <a:lnTo>
                    <a:pt x="226" y="292"/>
                  </a:lnTo>
                  <a:lnTo>
                    <a:pt x="228" y="298"/>
                  </a:lnTo>
                  <a:lnTo>
                    <a:pt x="230" y="302"/>
                  </a:lnTo>
                  <a:lnTo>
                    <a:pt x="232" y="310"/>
                  </a:lnTo>
                  <a:lnTo>
                    <a:pt x="234" y="314"/>
                  </a:lnTo>
                  <a:lnTo>
                    <a:pt x="236" y="320"/>
                  </a:lnTo>
                  <a:lnTo>
                    <a:pt x="238" y="326"/>
                  </a:lnTo>
                  <a:lnTo>
                    <a:pt x="238" y="332"/>
                  </a:lnTo>
                  <a:lnTo>
                    <a:pt x="242" y="338"/>
                  </a:lnTo>
                  <a:lnTo>
                    <a:pt x="242" y="344"/>
                  </a:lnTo>
                  <a:lnTo>
                    <a:pt x="246" y="350"/>
                  </a:lnTo>
                  <a:lnTo>
                    <a:pt x="248" y="356"/>
                  </a:lnTo>
                  <a:lnTo>
                    <a:pt x="248" y="362"/>
                  </a:lnTo>
                  <a:lnTo>
                    <a:pt x="248" y="368"/>
                  </a:lnTo>
                  <a:lnTo>
                    <a:pt x="250" y="374"/>
                  </a:lnTo>
                  <a:lnTo>
                    <a:pt x="254" y="378"/>
                  </a:lnTo>
                  <a:lnTo>
                    <a:pt x="260" y="376"/>
                  </a:lnTo>
                  <a:lnTo>
                    <a:pt x="266" y="380"/>
                  </a:lnTo>
                  <a:lnTo>
                    <a:pt x="272" y="382"/>
                  </a:lnTo>
                  <a:lnTo>
                    <a:pt x="278" y="386"/>
                  </a:lnTo>
                  <a:lnTo>
                    <a:pt x="284" y="392"/>
                  </a:lnTo>
                  <a:lnTo>
                    <a:pt x="288" y="398"/>
                  </a:lnTo>
                  <a:lnTo>
                    <a:pt x="286" y="404"/>
                  </a:lnTo>
                  <a:lnTo>
                    <a:pt x="290" y="410"/>
                  </a:lnTo>
                  <a:lnTo>
                    <a:pt x="292" y="416"/>
                  </a:lnTo>
                  <a:lnTo>
                    <a:pt x="298" y="420"/>
                  </a:lnTo>
                  <a:lnTo>
                    <a:pt x="300" y="424"/>
                  </a:lnTo>
                  <a:lnTo>
                    <a:pt x="306" y="430"/>
                  </a:lnTo>
                  <a:lnTo>
                    <a:pt x="308" y="436"/>
                  </a:lnTo>
                  <a:lnTo>
                    <a:pt x="314" y="442"/>
                  </a:lnTo>
                  <a:lnTo>
                    <a:pt x="318" y="446"/>
                  </a:lnTo>
                  <a:lnTo>
                    <a:pt x="322" y="452"/>
                  </a:lnTo>
                  <a:lnTo>
                    <a:pt x="322" y="458"/>
                  </a:lnTo>
                  <a:lnTo>
                    <a:pt x="326" y="464"/>
                  </a:lnTo>
                  <a:lnTo>
                    <a:pt x="322" y="470"/>
                  </a:lnTo>
                  <a:lnTo>
                    <a:pt x="328" y="476"/>
                  </a:lnTo>
                  <a:lnTo>
                    <a:pt x="332" y="482"/>
                  </a:lnTo>
                  <a:lnTo>
                    <a:pt x="336" y="488"/>
                  </a:lnTo>
                  <a:lnTo>
                    <a:pt x="336" y="494"/>
                  </a:lnTo>
                  <a:lnTo>
                    <a:pt x="340" y="500"/>
                  </a:lnTo>
                  <a:lnTo>
                    <a:pt x="342" y="506"/>
                  </a:lnTo>
                  <a:lnTo>
                    <a:pt x="346" y="512"/>
                  </a:lnTo>
                  <a:lnTo>
                    <a:pt x="348" y="518"/>
                  </a:lnTo>
                  <a:lnTo>
                    <a:pt x="352" y="524"/>
                  </a:lnTo>
                  <a:lnTo>
                    <a:pt x="354" y="530"/>
                  </a:lnTo>
                  <a:lnTo>
                    <a:pt x="354" y="536"/>
                  </a:lnTo>
                  <a:lnTo>
                    <a:pt x="350" y="542"/>
                  </a:lnTo>
                  <a:lnTo>
                    <a:pt x="354" y="548"/>
                  </a:lnTo>
                  <a:lnTo>
                    <a:pt x="356" y="554"/>
                  </a:lnTo>
                  <a:lnTo>
                    <a:pt x="360" y="560"/>
                  </a:lnTo>
                  <a:lnTo>
                    <a:pt x="362" y="564"/>
                  </a:lnTo>
                  <a:lnTo>
                    <a:pt x="366" y="570"/>
                  </a:lnTo>
                  <a:lnTo>
                    <a:pt x="372" y="576"/>
                  </a:lnTo>
                  <a:lnTo>
                    <a:pt x="378" y="578"/>
                  </a:lnTo>
                  <a:lnTo>
                    <a:pt x="382" y="584"/>
                  </a:lnTo>
                  <a:lnTo>
                    <a:pt x="384" y="590"/>
                  </a:lnTo>
                  <a:lnTo>
                    <a:pt x="386" y="596"/>
                  </a:lnTo>
                  <a:lnTo>
                    <a:pt x="388" y="602"/>
                  </a:lnTo>
                  <a:lnTo>
                    <a:pt x="392" y="608"/>
                  </a:lnTo>
                  <a:lnTo>
                    <a:pt x="396" y="614"/>
                  </a:lnTo>
                  <a:lnTo>
                    <a:pt x="402" y="620"/>
                  </a:lnTo>
                  <a:lnTo>
                    <a:pt x="406" y="624"/>
                  </a:lnTo>
                  <a:lnTo>
                    <a:pt x="412" y="630"/>
                  </a:lnTo>
                  <a:lnTo>
                    <a:pt x="420" y="634"/>
                  </a:lnTo>
                  <a:lnTo>
                    <a:pt x="424" y="638"/>
                  </a:lnTo>
                  <a:lnTo>
                    <a:pt x="430" y="642"/>
                  </a:lnTo>
                  <a:lnTo>
                    <a:pt x="434" y="648"/>
                  </a:lnTo>
                  <a:lnTo>
                    <a:pt x="434" y="654"/>
                  </a:lnTo>
                  <a:lnTo>
                    <a:pt x="438" y="660"/>
                  </a:lnTo>
                  <a:lnTo>
                    <a:pt x="436" y="666"/>
                  </a:lnTo>
                  <a:lnTo>
                    <a:pt x="442" y="672"/>
                  </a:lnTo>
                  <a:lnTo>
                    <a:pt x="448" y="678"/>
                  </a:lnTo>
                  <a:lnTo>
                    <a:pt x="454" y="682"/>
                  </a:lnTo>
                  <a:lnTo>
                    <a:pt x="460" y="686"/>
                  </a:lnTo>
                  <a:lnTo>
                    <a:pt x="466" y="692"/>
                  </a:lnTo>
                  <a:lnTo>
                    <a:pt x="472" y="700"/>
                  </a:lnTo>
                  <a:lnTo>
                    <a:pt x="478" y="704"/>
                  </a:lnTo>
                  <a:lnTo>
                    <a:pt x="482" y="708"/>
                  </a:lnTo>
                  <a:lnTo>
                    <a:pt x="490" y="712"/>
                  </a:lnTo>
                  <a:lnTo>
                    <a:pt x="496" y="718"/>
                  </a:lnTo>
                  <a:lnTo>
                    <a:pt x="500" y="724"/>
                  </a:lnTo>
                  <a:lnTo>
                    <a:pt x="506" y="728"/>
                  </a:lnTo>
                  <a:lnTo>
                    <a:pt x="512" y="732"/>
                  </a:lnTo>
                  <a:lnTo>
                    <a:pt x="514" y="732"/>
                  </a:lnTo>
                  <a:lnTo>
                    <a:pt x="520" y="734"/>
                  </a:lnTo>
                  <a:lnTo>
                    <a:pt x="526" y="740"/>
                  </a:lnTo>
                  <a:lnTo>
                    <a:pt x="530" y="746"/>
                  </a:lnTo>
                  <a:lnTo>
                    <a:pt x="530" y="752"/>
                  </a:lnTo>
                  <a:lnTo>
                    <a:pt x="536" y="756"/>
                  </a:lnTo>
                  <a:lnTo>
                    <a:pt x="538" y="762"/>
                  </a:lnTo>
                  <a:lnTo>
                    <a:pt x="542" y="768"/>
                  </a:lnTo>
                  <a:lnTo>
                    <a:pt x="548" y="772"/>
                  </a:lnTo>
                  <a:lnTo>
                    <a:pt x="554" y="778"/>
                  </a:lnTo>
                  <a:lnTo>
                    <a:pt x="554" y="782"/>
                  </a:lnTo>
                  <a:lnTo>
                    <a:pt x="560" y="788"/>
                  </a:lnTo>
                  <a:lnTo>
                    <a:pt x="564" y="792"/>
                  </a:lnTo>
                  <a:lnTo>
                    <a:pt x="570" y="798"/>
                  </a:lnTo>
                  <a:lnTo>
                    <a:pt x="568" y="800"/>
                  </a:lnTo>
                  <a:lnTo>
                    <a:pt x="570" y="802"/>
                  </a:lnTo>
                  <a:lnTo>
                    <a:pt x="576" y="802"/>
                  </a:lnTo>
                  <a:lnTo>
                    <a:pt x="578" y="796"/>
                  </a:lnTo>
                  <a:lnTo>
                    <a:pt x="576" y="790"/>
                  </a:lnTo>
                  <a:lnTo>
                    <a:pt x="572" y="784"/>
                  </a:lnTo>
                  <a:lnTo>
                    <a:pt x="570" y="778"/>
                  </a:lnTo>
                  <a:lnTo>
                    <a:pt x="570" y="772"/>
                  </a:lnTo>
                  <a:lnTo>
                    <a:pt x="576" y="772"/>
                  </a:lnTo>
                  <a:lnTo>
                    <a:pt x="582" y="778"/>
                  </a:lnTo>
                  <a:lnTo>
                    <a:pt x="588" y="782"/>
                  </a:lnTo>
                  <a:lnTo>
                    <a:pt x="592" y="786"/>
                  </a:lnTo>
                  <a:lnTo>
                    <a:pt x="598" y="788"/>
                  </a:lnTo>
                  <a:lnTo>
                    <a:pt x="604" y="792"/>
                  </a:lnTo>
                  <a:lnTo>
                    <a:pt x="610" y="788"/>
                  </a:lnTo>
                  <a:lnTo>
                    <a:pt x="608" y="780"/>
                  </a:lnTo>
                  <a:lnTo>
                    <a:pt x="612" y="776"/>
                  </a:lnTo>
                  <a:lnTo>
                    <a:pt x="614" y="770"/>
                  </a:lnTo>
                  <a:lnTo>
                    <a:pt x="618" y="776"/>
                  </a:lnTo>
                  <a:lnTo>
                    <a:pt x="622" y="780"/>
                  </a:lnTo>
                  <a:lnTo>
                    <a:pt x="630" y="784"/>
                  </a:lnTo>
                  <a:lnTo>
                    <a:pt x="632" y="790"/>
                  </a:lnTo>
                  <a:lnTo>
                    <a:pt x="638" y="794"/>
                  </a:lnTo>
                  <a:lnTo>
                    <a:pt x="644" y="796"/>
                  </a:lnTo>
                  <a:lnTo>
                    <a:pt x="646" y="790"/>
                  </a:lnTo>
                  <a:lnTo>
                    <a:pt x="646" y="784"/>
                  </a:lnTo>
                  <a:lnTo>
                    <a:pt x="648" y="778"/>
                  </a:lnTo>
                  <a:lnTo>
                    <a:pt x="648" y="772"/>
                  </a:lnTo>
                  <a:lnTo>
                    <a:pt x="648" y="766"/>
                  </a:lnTo>
                  <a:lnTo>
                    <a:pt x="648" y="760"/>
                  </a:lnTo>
                  <a:lnTo>
                    <a:pt x="652" y="754"/>
                  </a:lnTo>
                  <a:lnTo>
                    <a:pt x="650" y="748"/>
                  </a:lnTo>
                  <a:lnTo>
                    <a:pt x="652" y="742"/>
                  </a:lnTo>
                  <a:lnTo>
                    <a:pt x="652" y="738"/>
                  </a:lnTo>
                  <a:lnTo>
                    <a:pt x="654" y="732"/>
                  </a:lnTo>
                  <a:lnTo>
                    <a:pt x="652" y="726"/>
                  </a:lnTo>
                  <a:lnTo>
                    <a:pt x="654" y="720"/>
                  </a:lnTo>
                  <a:lnTo>
                    <a:pt x="654" y="714"/>
                  </a:lnTo>
                  <a:lnTo>
                    <a:pt x="656" y="708"/>
                  </a:lnTo>
                  <a:lnTo>
                    <a:pt x="656" y="702"/>
                  </a:lnTo>
                  <a:lnTo>
                    <a:pt x="652" y="696"/>
                  </a:lnTo>
                  <a:lnTo>
                    <a:pt x="650" y="690"/>
                  </a:lnTo>
                  <a:lnTo>
                    <a:pt x="650" y="684"/>
                  </a:lnTo>
                  <a:lnTo>
                    <a:pt x="652" y="680"/>
                  </a:lnTo>
                  <a:lnTo>
                    <a:pt x="654" y="674"/>
                  </a:lnTo>
                  <a:lnTo>
                    <a:pt x="656" y="668"/>
                  </a:lnTo>
                  <a:lnTo>
                    <a:pt x="660" y="662"/>
                  </a:lnTo>
                  <a:lnTo>
                    <a:pt x="660" y="656"/>
                  </a:lnTo>
                  <a:lnTo>
                    <a:pt x="654" y="652"/>
                  </a:lnTo>
                  <a:lnTo>
                    <a:pt x="652" y="646"/>
                  </a:lnTo>
                  <a:lnTo>
                    <a:pt x="654" y="640"/>
                  </a:lnTo>
                  <a:lnTo>
                    <a:pt x="656" y="634"/>
                  </a:lnTo>
                  <a:lnTo>
                    <a:pt x="658" y="628"/>
                  </a:lnTo>
                  <a:lnTo>
                    <a:pt x="662" y="622"/>
                  </a:lnTo>
                  <a:lnTo>
                    <a:pt x="668" y="618"/>
                  </a:lnTo>
                  <a:lnTo>
                    <a:pt x="668" y="612"/>
                  </a:lnTo>
                  <a:lnTo>
                    <a:pt x="668" y="606"/>
                  </a:lnTo>
                  <a:lnTo>
                    <a:pt x="668" y="600"/>
                  </a:lnTo>
                  <a:lnTo>
                    <a:pt x="662" y="596"/>
                  </a:lnTo>
                  <a:lnTo>
                    <a:pt x="656" y="594"/>
                  </a:lnTo>
                  <a:lnTo>
                    <a:pt x="652" y="590"/>
                  </a:lnTo>
                  <a:lnTo>
                    <a:pt x="652" y="584"/>
                  </a:lnTo>
                  <a:lnTo>
                    <a:pt x="648" y="576"/>
                  </a:lnTo>
                  <a:lnTo>
                    <a:pt x="642" y="572"/>
                  </a:lnTo>
                  <a:lnTo>
                    <a:pt x="642" y="564"/>
                  </a:lnTo>
                  <a:lnTo>
                    <a:pt x="644" y="560"/>
                  </a:lnTo>
                  <a:lnTo>
                    <a:pt x="638" y="558"/>
                  </a:lnTo>
                  <a:lnTo>
                    <a:pt x="632" y="556"/>
                  </a:lnTo>
                  <a:lnTo>
                    <a:pt x="626" y="556"/>
                  </a:lnTo>
                  <a:lnTo>
                    <a:pt x="620" y="554"/>
                  </a:lnTo>
                  <a:lnTo>
                    <a:pt x="614" y="556"/>
                  </a:lnTo>
                  <a:lnTo>
                    <a:pt x="608" y="556"/>
                  </a:lnTo>
                  <a:lnTo>
                    <a:pt x="602" y="554"/>
                  </a:lnTo>
                  <a:lnTo>
                    <a:pt x="600" y="556"/>
                  </a:lnTo>
                  <a:lnTo>
                    <a:pt x="598" y="550"/>
                  </a:lnTo>
                  <a:lnTo>
                    <a:pt x="594" y="556"/>
                  </a:lnTo>
                  <a:lnTo>
                    <a:pt x="590" y="562"/>
                  </a:lnTo>
                  <a:lnTo>
                    <a:pt x="590" y="568"/>
                  </a:lnTo>
                  <a:lnTo>
                    <a:pt x="584" y="574"/>
                  </a:lnTo>
                  <a:lnTo>
                    <a:pt x="578" y="578"/>
                  </a:lnTo>
                  <a:lnTo>
                    <a:pt x="582" y="572"/>
                  </a:lnTo>
                  <a:lnTo>
                    <a:pt x="586" y="570"/>
                  </a:lnTo>
                  <a:lnTo>
                    <a:pt x="588" y="564"/>
                  </a:lnTo>
                  <a:lnTo>
                    <a:pt x="588" y="560"/>
                  </a:lnTo>
                  <a:lnTo>
                    <a:pt x="582" y="558"/>
                  </a:lnTo>
                  <a:lnTo>
                    <a:pt x="584" y="556"/>
                  </a:lnTo>
                  <a:lnTo>
                    <a:pt x="590" y="554"/>
                  </a:lnTo>
                  <a:lnTo>
                    <a:pt x="594" y="548"/>
                  </a:lnTo>
                  <a:lnTo>
                    <a:pt x="598" y="542"/>
                  </a:lnTo>
                  <a:lnTo>
                    <a:pt x="598" y="536"/>
                  </a:lnTo>
                  <a:lnTo>
                    <a:pt x="594" y="530"/>
                  </a:lnTo>
                  <a:lnTo>
                    <a:pt x="588" y="532"/>
                  </a:lnTo>
                  <a:lnTo>
                    <a:pt x="582" y="530"/>
                  </a:lnTo>
                  <a:lnTo>
                    <a:pt x="584" y="524"/>
                  </a:lnTo>
                  <a:lnTo>
                    <a:pt x="578" y="520"/>
                  </a:lnTo>
                  <a:lnTo>
                    <a:pt x="578" y="514"/>
                  </a:lnTo>
                  <a:lnTo>
                    <a:pt x="578" y="512"/>
                  </a:lnTo>
                  <a:lnTo>
                    <a:pt x="576" y="506"/>
                  </a:lnTo>
                  <a:lnTo>
                    <a:pt x="572" y="500"/>
                  </a:lnTo>
                  <a:lnTo>
                    <a:pt x="572" y="494"/>
                  </a:lnTo>
                  <a:lnTo>
                    <a:pt x="572" y="488"/>
                  </a:lnTo>
                  <a:lnTo>
                    <a:pt x="572" y="482"/>
                  </a:lnTo>
                  <a:lnTo>
                    <a:pt x="570" y="476"/>
                  </a:lnTo>
                  <a:lnTo>
                    <a:pt x="570" y="470"/>
                  </a:lnTo>
                  <a:lnTo>
                    <a:pt x="568" y="464"/>
                  </a:lnTo>
                  <a:lnTo>
                    <a:pt x="564" y="464"/>
                  </a:lnTo>
                  <a:lnTo>
                    <a:pt x="558" y="466"/>
                  </a:lnTo>
                  <a:lnTo>
                    <a:pt x="550" y="462"/>
                  </a:lnTo>
                  <a:lnTo>
                    <a:pt x="546" y="462"/>
                  </a:lnTo>
                  <a:lnTo>
                    <a:pt x="540" y="460"/>
                  </a:lnTo>
                  <a:lnTo>
                    <a:pt x="534" y="464"/>
                  </a:lnTo>
                  <a:lnTo>
                    <a:pt x="528" y="460"/>
                  </a:lnTo>
                  <a:lnTo>
                    <a:pt x="522" y="456"/>
                  </a:lnTo>
                  <a:lnTo>
                    <a:pt x="516" y="450"/>
                  </a:lnTo>
                  <a:lnTo>
                    <a:pt x="512" y="448"/>
                  </a:lnTo>
                  <a:lnTo>
                    <a:pt x="510" y="444"/>
                  </a:lnTo>
                  <a:lnTo>
                    <a:pt x="508" y="438"/>
                  </a:lnTo>
                  <a:lnTo>
                    <a:pt x="510" y="432"/>
                  </a:lnTo>
                  <a:lnTo>
                    <a:pt x="508" y="426"/>
                  </a:lnTo>
                  <a:lnTo>
                    <a:pt x="508" y="424"/>
                  </a:lnTo>
                  <a:lnTo>
                    <a:pt x="512" y="428"/>
                  </a:lnTo>
                  <a:lnTo>
                    <a:pt x="520" y="424"/>
                  </a:lnTo>
                  <a:lnTo>
                    <a:pt x="516" y="418"/>
                  </a:lnTo>
                  <a:lnTo>
                    <a:pt x="510" y="418"/>
                  </a:lnTo>
                  <a:lnTo>
                    <a:pt x="506" y="416"/>
                  </a:lnTo>
                  <a:lnTo>
                    <a:pt x="512" y="416"/>
                  </a:lnTo>
                  <a:lnTo>
                    <a:pt x="514" y="408"/>
                  </a:lnTo>
                  <a:lnTo>
                    <a:pt x="508" y="408"/>
                  </a:lnTo>
                  <a:lnTo>
                    <a:pt x="504" y="410"/>
                  </a:lnTo>
                  <a:lnTo>
                    <a:pt x="510" y="408"/>
                  </a:lnTo>
                  <a:lnTo>
                    <a:pt x="514" y="402"/>
                  </a:lnTo>
                  <a:lnTo>
                    <a:pt x="520" y="396"/>
                  </a:lnTo>
                  <a:lnTo>
                    <a:pt x="526" y="394"/>
                  </a:lnTo>
                  <a:lnTo>
                    <a:pt x="532" y="392"/>
                  </a:lnTo>
                  <a:lnTo>
                    <a:pt x="534" y="392"/>
                  </a:lnTo>
                  <a:lnTo>
                    <a:pt x="534" y="388"/>
                  </a:lnTo>
                  <a:lnTo>
                    <a:pt x="532" y="382"/>
                  </a:lnTo>
                  <a:lnTo>
                    <a:pt x="530" y="374"/>
                  </a:lnTo>
                  <a:lnTo>
                    <a:pt x="526" y="370"/>
                  </a:lnTo>
                  <a:lnTo>
                    <a:pt x="520" y="366"/>
                  </a:lnTo>
                  <a:lnTo>
                    <a:pt x="514" y="360"/>
                  </a:lnTo>
                  <a:lnTo>
                    <a:pt x="508" y="356"/>
                  </a:lnTo>
                  <a:lnTo>
                    <a:pt x="502" y="356"/>
                  </a:lnTo>
                  <a:lnTo>
                    <a:pt x="496" y="360"/>
                  </a:lnTo>
                  <a:lnTo>
                    <a:pt x="492" y="366"/>
                  </a:lnTo>
                  <a:lnTo>
                    <a:pt x="484" y="370"/>
                  </a:lnTo>
                  <a:lnTo>
                    <a:pt x="478" y="374"/>
                  </a:lnTo>
                  <a:lnTo>
                    <a:pt x="474" y="374"/>
                  </a:lnTo>
                  <a:lnTo>
                    <a:pt x="468" y="376"/>
                  </a:lnTo>
                  <a:lnTo>
                    <a:pt x="462" y="378"/>
                  </a:lnTo>
                  <a:lnTo>
                    <a:pt x="456" y="380"/>
                  </a:lnTo>
                  <a:lnTo>
                    <a:pt x="450" y="374"/>
                  </a:lnTo>
                  <a:lnTo>
                    <a:pt x="454" y="376"/>
                  </a:lnTo>
                  <a:lnTo>
                    <a:pt x="460" y="378"/>
                  </a:lnTo>
                  <a:lnTo>
                    <a:pt x="466" y="374"/>
                  </a:lnTo>
                  <a:lnTo>
                    <a:pt x="472" y="370"/>
                  </a:lnTo>
                  <a:lnTo>
                    <a:pt x="478" y="368"/>
                  </a:lnTo>
                  <a:lnTo>
                    <a:pt x="484" y="364"/>
                  </a:lnTo>
                  <a:lnTo>
                    <a:pt x="490" y="360"/>
                  </a:lnTo>
                  <a:lnTo>
                    <a:pt x="488" y="354"/>
                  </a:lnTo>
                  <a:lnTo>
                    <a:pt x="484" y="348"/>
                  </a:lnTo>
                  <a:lnTo>
                    <a:pt x="478" y="342"/>
                  </a:lnTo>
                  <a:lnTo>
                    <a:pt x="472" y="342"/>
                  </a:lnTo>
                  <a:lnTo>
                    <a:pt x="466" y="340"/>
                  </a:lnTo>
                  <a:lnTo>
                    <a:pt x="460" y="342"/>
                  </a:lnTo>
                  <a:lnTo>
                    <a:pt x="454" y="340"/>
                  </a:lnTo>
                  <a:lnTo>
                    <a:pt x="448" y="336"/>
                  </a:lnTo>
                  <a:lnTo>
                    <a:pt x="444" y="330"/>
                  </a:lnTo>
                  <a:lnTo>
                    <a:pt x="438" y="324"/>
                  </a:lnTo>
                  <a:lnTo>
                    <a:pt x="436" y="318"/>
                  </a:lnTo>
                  <a:lnTo>
                    <a:pt x="436" y="314"/>
                  </a:lnTo>
                  <a:lnTo>
                    <a:pt x="432" y="306"/>
                  </a:lnTo>
                  <a:lnTo>
                    <a:pt x="432" y="300"/>
                  </a:lnTo>
                  <a:lnTo>
                    <a:pt x="428" y="294"/>
                  </a:lnTo>
                  <a:lnTo>
                    <a:pt x="420" y="290"/>
                  </a:lnTo>
                  <a:lnTo>
                    <a:pt x="414" y="284"/>
                  </a:lnTo>
                  <a:lnTo>
                    <a:pt x="410" y="278"/>
                  </a:lnTo>
                  <a:lnTo>
                    <a:pt x="404" y="276"/>
                  </a:lnTo>
                  <a:lnTo>
                    <a:pt x="398" y="278"/>
                  </a:lnTo>
                  <a:lnTo>
                    <a:pt x="392" y="276"/>
                  </a:lnTo>
                  <a:lnTo>
                    <a:pt x="386" y="272"/>
                  </a:lnTo>
                  <a:lnTo>
                    <a:pt x="384" y="266"/>
                  </a:lnTo>
                  <a:lnTo>
                    <a:pt x="382" y="260"/>
                  </a:lnTo>
                  <a:lnTo>
                    <a:pt x="382" y="254"/>
                  </a:lnTo>
                  <a:lnTo>
                    <a:pt x="378" y="248"/>
                  </a:lnTo>
                  <a:lnTo>
                    <a:pt x="372" y="244"/>
                  </a:lnTo>
                  <a:lnTo>
                    <a:pt x="366" y="240"/>
                  </a:lnTo>
                  <a:lnTo>
                    <a:pt x="360" y="234"/>
                  </a:lnTo>
                  <a:lnTo>
                    <a:pt x="356" y="234"/>
                  </a:lnTo>
                  <a:lnTo>
                    <a:pt x="350" y="236"/>
                  </a:lnTo>
                  <a:lnTo>
                    <a:pt x="348" y="242"/>
                  </a:lnTo>
                  <a:lnTo>
                    <a:pt x="352" y="248"/>
                  </a:lnTo>
                  <a:lnTo>
                    <a:pt x="356" y="254"/>
                  </a:lnTo>
                  <a:lnTo>
                    <a:pt x="356" y="260"/>
                  </a:lnTo>
                  <a:lnTo>
                    <a:pt x="358" y="266"/>
                  </a:lnTo>
                  <a:lnTo>
                    <a:pt x="354" y="262"/>
                  </a:lnTo>
                  <a:lnTo>
                    <a:pt x="354" y="256"/>
                  </a:lnTo>
                  <a:lnTo>
                    <a:pt x="348" y="250"/>
                  </a:lnTo>
                  <a:lnTo>
                    <a:pt x="342" y="246"/>
                  </a:lnTo>
                  <a:lnTo>
                    <a:pt x="336" y="244"/>
                  </a:lnTo>
                  <a:lnTo>
                    <a:pt x="330" y="238"/>
                  </a:lnTo>
                  <a:lnTo>
                    <a:pt x="324" y="232"/>
                  </a:lnTo>
                  <a:lnTo>
                    <a:pt x="322" y="226"/>
                  </a:lnTo>
                  <a:lnTo>
                    <a:pt x="320" y="222"/>
                  </a:lnTo>
                  <a:lnTo>
                    <a:pt x="318" y="216"/>
                  </a:lnTo>
                  <a:lnTo>
                    <a:pt x="314" y="210"/>
                  </a:lnTo>
                  <a:lnTo>
                    <a:pt x="310" y="204"/>
                  </a:lnTo>
                  <a:lnTo>
                    <a:pt x="306" y="210"/>
                  </a:lnTo>
                  <a:lnTo>
                    <a:pt x="308" y="216"/>
                  </a:lnTo>
                  <a:lnTo>
                    <a:pt x="306" y="216"/>
                  </a:lnTo>
                  <a:lnTo>
                    <a:pt x="304" y="210"/>
                  </a:lnTo>
                  <a:lnTo>
                    <a:pt x="298" y="204"/>
                  </a:lnTo>
                  <a:lnTo>
                    <a:pt x="298" y="206"/>
                  </a:lnTo>
                  <a:lnTo>
                    <a:pt x="300" y="210"/>
                  </a:lnTo>
                  <a:lnTo>
                    <a:pt x="296" y="204"/>
                  </a:lnTo>
                  <a:lnTo>
                    <a:pt x="298" y="198"/>
                  </a:lnTo>
                  <a:lnTo>
                    <a:pt x="298" y="192"/>
                  </a:lnTo>
                  <a:lnTo>
                    <a:pt x="296" y="186"/>
                  </a:lnTo>
                  <a:lnTo>
                    <a:pt x="290" y="184"/>
                  </a:lnTo>
                  <a:lnTo>
                    <a:pt x="290" y="182"/>
                  </a:lnTo>
                  <a:lnTo>
                    <a:pt x="284" y="176"/>
                  </a:lnTo>
                  <a:lnTo>
                    <a:pt x="280" y="170"/>
                  </a:lnTo>
                  <a:lnTo>
                    <a:pt x="274" y="168"/>
                  </a:lnTo>
                  <a:lnTo>
                    <a:pt x="268" y="164"/>
                  </a:lnTo>
                  <a:lnTo>
                    <a:pt x="264" y="158"/>
                  </a:lnTo>
                  <a:lnTo>
                    <a:pt x="258" y="154"/>
                  </a:lnTo>
                  <a:lnTo>
                    <a:pt x="252" y="150"/>
                  </a:lnTo>
                  <a:lnTo>
                    <a:pt x="246" y="144"/>
                  </a:lnTo>
                  <a:lnTo>
                    <a:pt x="240" y="140"/>
                  </a:lnTo>
                  <a:lnTo>
                    <a:pt x="234" y="138"/>
                  </a:lnTo>
                  <a:lnTo>
                    <a:pt x="228" y="136"/>
                  </a:lnTo>
                  <a:lnTo>
                    <a:pt x="222" y="132"/>
                  </a:lnTo>
                  <a:lnTo>
                    <a:pt x="218" y="128"/>
                  </a:lnTo>
                  <a:lnTo>
                    <a:pt x="216" y="120"/>
                  </a:lnTo>
                  <a:lnTo>
                    <a:pt x="210" y="118"/>
                  </a:lnTo>
                  <a:lnTo>
                    <a:pt x="204" y="114"/>
                  </a:lnTo>
                  <a:lnTo>
                    <a:pt x="198" y="110"/>
                  </a:lnTo>
                  <a:lnTo>
                    <a:pt x="192" y="108"/>
                  </a:lnTo>
                  <a:lnTo>
                    <a:pt x="188" y="102"/>
                  </a:lnTo>
                  <a:lnTo>
                    <a:pt x="190" y="96"/>
                  </a:lnTo>
                  <a:lnTo>
                    <a:pt x="190" y="90"/>
                  </a:lnTo>
                  <a:lnTo>
                    <a:pt x="190" y="86"/>
                  </a:lnTo>
                  <a:lnTo>
                    <a:pt x="184" y="80"/>
                  </a:lnTo>
                  <a:lnTo>
                    <a:pt x="178" y="78"/>
                  </a:lnTo>
                  <a:lnTo>
                    <a:pt x="174" y="72"/>
                  </a:lnTo>
                  <a:lnTo>
                    <a:pt x="170" y="66"/>
                  </a:lnTo>
                  <a:lnTo>
                    <a:pt x="170" y="60"/>
                  </a:lnTo>
                  <a:lnTo>
                    <a:pt x="166" y="54"/>
                  </a:lnTo>
                  <a:lnTo>
                    <a:pt x="160" y="50"/>
                  </a:lnTo>
                  <a:lnTo>
                    <a:pt x="156" y="44"/>
                  </a:lnTo>
                  <a:lnTo>
                    <a:pt x="150" y="40"/>
                  </a:lnTo>
                  <a:lnTo>
                    <a:pt x="146" y="34"/>
                  </a:lnTo>
                  <a:lnTo>
                    <a:pt x="140" y="2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1" name="Freeform 118"/>
            <p:cNvSpPr>
              <a:spLocks/>
            </p:cNvSpPr>
            <p:nvPr/>
          </p:nvSpPr>
          <p:spPr bwMode="auto">
            <a:xfrm>
              <a:off x="6940550" y="4119563"/>
              <a:ext cx="252413" cy="244475"/>
            </a:xfrm>
            <a:custGeom>
              <a:avLst/>
              <a:gdLst>
                <a:gd name="T0" fmla="*/ 2147483647 w 620"/>
                <a:gd name="T1" fmla="*/ 2147483647 h 594"/>
                <a:gd name="T2" fmla="*/ 2147483647 w 620"/>
                <a:gd name="T3" fmla="*/ 2147483647 h 594"/>
                <a:gd name="T4" fmla="*/ 2147483647 w 620"/>
                <a:gd name="T5" fmla="*/ 2147483647 h 594"/>
                <a:gd name="T6" fmla="*/ 2147483647 w 620"/>
                <a:gd name="T7" fmla="*/ 2147483647 h 594"/>
                <a:gd name="T8" fmla="*/ 2147483647 w 620"/>
                <a:gd name="T9" fmla="*/ 2147483647 h 594"/>
                <a:gd name="T10" fmla="*/ 2147483647 w 620"/>
                <a:gd name="T11" fmla="*/ 2147483647 h 594"/>
                <a:gd name="T12" fmla="*/ 2147483647 w 620"/>
                <a:gd name="T13" fmla="*/ 2147483647 h 594"/>
                <a:gd name="T14" fmla="*/ 2147483647 w 620"/>
                <a:gd name="T15" fmla="*/ 2147483647 h 594"/>
                <a:gd name="T16" fmla="*/ 2147483647 w 620"/>
                <a:gd name="T17" fmla="*/ 2147483647 h 594"/>
                <a:gd name="T18" fmla="*/ 2147483647 w 620"/>
                <a:gd name="T19" fmla="*/ 2147483647 h 594"/>
                <a:gd name="T20" fmla="*/ 2147483647 w 620"/>
                <a:gd name="T21" fmla="*/ 2147483647 h 594"/>
                <a:gd name="T22" fmla="*/ 2147483647 w 620"/>
                <a:gd name="T23" fmla="*/ 2147483647 h 594"/>
                <a:gd name="T24" fmla="*/ 2147483647 w 620"/>
                <a:gd name="T25" fmla="*/ 2147483647 h 594"/>
                <a:gd name="T26" fmla="*/ 2147483647 w 620"/>
                <a:gd name="T27" fmla="*/ 2147483647 h 594"/>
                <a:gd name="T28" fmla="*/ 2147483647 w 620"/>
                <a:gd name="T29" fmla="*/ 2147483647 h 594"/>
                <a:gd name="T30" fmla="*/ 2147483647 w 620"/>
                <a:gd name="T31" fmla="*/ 2147483647 h 594"/>
                <a:gd name="T32" fmla="*/ 2147483647 w 620"/>
                <a:gd name="T33" fmla="*/ 2147483647 h 594"/>
                <a:gd name="T34" fmla="*/ 2147483647 w 620"/>
                <a:gd name="T35" fmla="*/ 2147483647 h 594"/>
                <a:gd name="T36" fmla="*/ 2147483647 w 620"/>
                <a:gd name="T37" fmla="*/ 2147483647 h 594"/>
                <a:gd name="T38" fmla="*/ 2147483647 w 620"/>
                <a:gd name="T39" fmla="*/ 2147483647 h 594"/>
                <a:gd name="T40" fmla="*/ 2147483647 w 620"/>
                <a:gd name="T41" fmla="*/ 2147483647 h 594"/>
                <a:gd name="T42" fmla="*/ 2147483647 w 620"/>
                <a:gd name="T43" fmla="*/ 2147483647 h 594"/>
                <a:gd name="T44" fmla="*/ 2147483647 w 620"/>
                <a:gd name="T45" fmla="*/ 2147483647 h 594"/>
                <a:gd name="T46" fmla="*/ 2147483647 w 620"/>
                <a:gd name="T47" fmla="*/ 2147483647 h 594"/>
                <a:gd name="T48" fmla="*/ 2147483647 w 620"/>
                <a:gd name="T49" fmla="*/ 2147483647 h 594"/>
                <a:gd name="T50" fmla="*/ 2147483647 w 620"/>
                <a:gd name="T51" fmla="*/ 2147483647 h 594"/>
                <a:gd name="T52" fmla="*/ 2147483647 w 620"/>
                <a:gd name="T53" fmla="*/ 2147483647 h 594"/>
                <a:gd name="T54" fmla="*/ 2147483647 w 620"/>
                <a:gd name="T55" fmla="*/ 2147483647 h 594"/>
                <a:gd name="T56" fmla="*/ 2147483647 w 620"/>
                <a:gd name="T57" fmla="*/ 2147483647 h 594"/>
                <a:gd name="T58" fmla="*/ 2147483647 w 620"/>
                <a:gd name="T59" fmla="*/ 2147483647 h 594"/>
                <a:gd name="T60" fmla="*/ 2147483647 w 620"/>
                <a:gd name="T61" fmla="*/ 2147483647 h 594"/>
                <a:gd name="T62" fmla="*/ 2147483647 w 620"/>
                <a:gd name="T63" fmla="*/ 2147483647 h 594"/>
                <a:gd name="T64" fmla="*/ 2147483647 w 620"/>
                <a:gd name="T65" fmla="*/ 2147483647 h 594"/>
                <a:gd name="T66" fmla="*/ 2147483647 w 620"/>
                <a:gd name="T67" fmla="*/ 2147483647 h 594"/>
                <a:gd name="T68" fmla="*/ 2147483647 w 620"/>
                <a:gd name="T69" fmla="*/ 2147483647 h 594"/>
                <a:gd name="T70" fmla="*/ 2147483647 w 620"/>
                <a:gd name="T71" fmla="*/ 2147483647 h 594"/>
                <a:gd name="T72" fmla="*/ 2147483647 w 620"/>
                <a:gd name="T73" fmla="*/ 2147483647 h 594"/>
                <a:gd name="T74" fmla="*/ 2147483647 w 620"/>
                <a:gd name="T75" fmla="*/ 2147483647 h 594"/>
                <a:gd name="T76" fmla="*/ 2147483647 w 620"/>
                <a:gd name="T77" fmla="*/ 2147483647 h 594"/>
                <a:gd name="T78" fmla="*/ 2147483647 w 620"/>
                <a:gd name="T79" fmla="*/ 2147483647 h 594"/>
                <a:gd name="T80" fmla="*/ 2147483647 w 620"/>
                <a:gd name="T81" fmla="*/ 2147483647 h 594"/>
                <a:gd name="T82" fmla="*/ 2147483647 w 620"/>
                <a:gd name="T83" fmla="*/ 2147483647 h 594"/>
                <a:gd name="T84" fmla="*/ 2147483647 w 620"/>
                <a:gd name="T85" fmla="*/ 2147483647 h 594"/>
                <a:gd name="T86" fmla="*/ 2147483647 w 620"/>
                <a:gd name="T87" fmla="*/ 2147483647 h 594"/>
                <a:gd name="T88" fmla="*/ 2147483647 w 620"/>
                <a:gd name="T89" fmla="*/ 2147483647 h 594"/>
                <a:gd name="T90" fmla="*/ 2147483647 w 620"/>
                <a:gd name="T91" fmla="*/ 2147483647 h 594"/>
                <a:gd name="T92" fmla="*/ 2147483647 w 620"/>
                <a:gd name="T93" fmla="*/ 2147483647 h 594"/>
                <a:gd name="T94" fmla="*/ 2147483647 w 620"/>
                <a:gd name="T95" fmla="*/ 2147483647 h 594"/>
                <a:gd name="T96" fmla="*/ 2147483647 w 620"/>
                <a:gd name="T97" fmla="*/ 2147483647 h 594"/>
                <a:gd name="T98" fmla="*/ 2147483647 w 620"/>
                <a:gd name="T99" fmla="*/ 2147483647 h 594"/>
                <a:gd name="T100" fmla="*/ 2147483647 w 620"/>
                <a:gd name="T101" fmla="*/ 2147483647 h 594"/>
                <a:gd name="T102" fmla="*/ 2147483647 w 620"/>
                <a:gd name="T103" fmla="*/ 2147483647 h 594"/>
                <a:gd name="T104" fmla="*/ 2147483647 w 620"/>
                <a:gd name="T105" fmla="*/ 2147483647 h 594"/>
                <a:gd name="T106" fmla="*/ 2147483647 w 620"/>
                <a:gd name="T107" fmla="*/ 2147483647 h 594"/>
                <a:gd name="T108" fmla="*/ 2147483647 w 620"/>
                <a:gd name="T109" fmla="*/ 2147483647 h 594"/>
                <a:gd name="T110" fmla="*/ 2147483647 w 620"/>
                <a:gd name="T111" fmla="*/ 2147483647 h 594"/>
                <a:gd name="T112" fmla="*/ 2147483647 w 620"/>
                <a:gd name="T113" fmla="*/ 2147483647 h 594"/>
                <a:gd name="T114" fmla="*/ 2147483647 w 620"/>
                <a:gd name="T115" fmla="*/ 2147483647 h 594"/>
                <a:gd name="T116" fmla="*/ 2147483647 w 620"/>
                <a:gd name="T117" fmla="*/ 2147483647 h 59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0"/>
                <a:gd name="T178" fmla="*/ 0 h 594"/>
                <a:gd name="T179" fmla="*/ 620 w 620"/>
                <a:gd name="T180" fmla="*/ 594 h 59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0" h="594">
                  <a:moveTo>
                    <a:pt x="2" y="246"/>
                  </a:moveTo>
                  <a:lnTo>
                    <a:pt x="8" y="240"/>
                  </a:lnTo>
                  <a:lnTo>
                    <a:pt x="8" y="234"/>
                  </a:lnTo>
                  <a:lnTo>
                    <a:pt x="4" y="228"/>
                  </a:lnTo>
                  <a:lnTo>
                    <a:pt x="10" y="224"/>
                  </a:lnTo>
                  <a:lnTo>
                    <a:pt x="16" y="220"/>
                  </a:lnTo>
                  <a:lnTo>
                    <a:pt x="22" y="214"/>
                  </a:lnTo>
                  <a:lnTo>
                    <a:pt x="24" y="210"/>
                  </a:lnTo>
                  <a:lnTo>
                    <a:pt x="22" y="210"/>
                  </a:lnTo>
                  <a:lnTo>
                    <a:pt x="18" y="216"/>
                  </a:lnTo>
                  <a:lnTo>
                    <a:pt x="14" y="220"/>
                  </a:lnTo>
                  <a:lnTo>
                    <a:pt x="10" y="216"/>
                  </a:lnTo>
                  <a:lnTo>
                    <a:pt x="12" y="208"/>
                  </a:lnTo>
                  <a:lnTo>
                    <a:pt x="12" y="202"/>
                  </a:lnTo>
                  <a:lnTo>
                    <a:pt x="16" y="198"/>
                  </a:lnTo>
                  <a:lnTo>
                    <a:pt x="22" y="194"/>
                  </a:lnTo>
                  <a:lnTo>
                    <a:pt x="26" y="188"/>
                  </a:lnTo>
                  <a:lnTo>
                    <a:pt x="30" y="182"/>
                  </a:lnTo>
                  <a:lnTo>
                    <a:pt x="28" y="176"/>
                  </a:lnTo>
                  <a:lnTo>
                    <a:pt x="34" y="170"/>
                  </a:lnTo>
                  <a:lnTo>
                    <a:pt x="40" y="168"/>
                  </a:lnTo>
                  <a:lnTo>
                    <a:pt x="46" y="162"/>
                  </a:lnTo>
                  <a:lnTo>
                    <a:pt x="48" y="162"/>
                  </a:lnTo>
                  <a:lnTo>
                    <a:pt x="46" y="168"/>
                  </a:lnTo>
                  <a:lnTo>
                    <a:pt x="42" y="174"/>
                  </a:lnTo>
                  <a:lnTo>
                    <a:pt x="44" y="180"/>
                  </a:lnTo>
                  <a:lnTo>
                    <a:pt x="50" y="182"/>
                  </a:lnTo>
                  <a:lnTo>
                    <a:pt x="50" y="188"/>
                  </a:lnTo>
                  <a:lnTo>
                    <a:pt x="50" y="194"/>
                  </a:lnTo>
                  <a:lnTo>
                    <a:pt x="56" y="200"/>
                  </a:lnTo>
                  <a:lnTo>
                    <a:pt x="60" y="206"/>
                  </a:lnTo>
                  <a:lnTo>
                    <a:pt x="66" y="208"/>
                  </a:lnTo>
                  <a:lnTo>
                    <a:pt x="68" y="210"/>
                  </a:lnTo>
                  <a:lnTo>
                    <a:pt x="68" y="214"/>
                  </a:lnTo>
                  <a:lnTo>
                    <a:pt x="70" y="216"/>
                  </a:lnTo>
                  <a:lnTo>
                    <a:pt x="76" y="222"/>
                  </a:lnTo>
                  <a:lnTo>
                    <a:pt x="82" y="224"/>
                  </a:lnTo>
                  <a:lnTo>
                    <a:pt x="86" y="230"/>
                  </a:lnTo>
                  <a:lnTo>
                    <a:pt x="88" y="236"/>
                  </a:lnTo>
                  <a:lnTo>
                    <a:pt x="94" y="238"/>
                  </a:lnTo>
                  <a:lnTo>
                    <a:pt x="98" y="244"/>
                  </a:lnTo>
                  <a:lnTo>
                    <a:pt x="104" y="246"/>
                  </a:lnTo>
                  <a:lnTo>
                    <a:pt x="110" y="244"/>
                  </a:lnTo>
                  <a:lnTo>
                    <a:pt x="116" y="244"/>
                  </a:lnTo>
                  <a:lnTo>
                    <a:pt x="122" y="238"/>
                  </a:lnTo>
                  <a:lnTo>
                    <a:pt x="128" y="236"/>
                  </a:lnTo>
                  <a:lnTo>
                    <a:pt x="134" y="234"/>
                  </a:lnTo>
                  <a:lnTo>
                    <a:pt x="140" y="232"/>
                  </a:lnTo>
                  <a:lnTo>
                    <a:pt x="146" y="230"/>
                  </a:lnTo>
                  <a:lnTo>
                    <a:pt x="152" y="234"/>
                  </a:lnTo>
                  <a:lnTo>
                    <a:pt x="158" y="236"/>
                  </a:lnTo>
                  <a:lnTo>
                    <a:pt x="164" y="238"/>
                  </a:lnTo>
                  <a:lnTo>
                    <a:pt x="170" y="236"/>
                  </a:lnTo>
                  <a:lnTo>
                    <a:pt x="176" y="236"/>
                  </a:lnTo>
                  <a:lnTo>
                    <a:pt x="182" y="236"/>
                  </a:lnTo>
                  <a:lnTo>
                    <a:pt x="186" y="232"/>
                  </a:lnTo>
                  <a:lnTo>
                    <a:pt x="192" y="228"/>
                  </a:lnTo>
                  <a:lnTo>
                    <a:pt x="198" y="228"/>
                  </a:lnTo>
                  <a:lnTo>
                    <a:pt x="200" y="226"/>
                  </a:lnTo>
                  <a:lnTo>
                    <a:pt x="202" y="220"/>
                  </a:lnTo>
                  <a:lnTo>
                    <a:pt x="204" y="214"/>
                  </a:lnTo>
                  <a:lnTo>
                    <a:pt x="206" y="210"/>
                  </a:lnTo>
                  <a:lnTo>
                    <a:pt x="206" y="204"/>
                  </a:lnTo>
                  <a:lnTo>
                    <a:pt x="212" y="202"/>
                  </a:lnTo>
                  <a:lnTo>
                    <a:pt x="218" y="200"/>
                  </a:lnTo>
                  <a:lnTo>
                    <a:pt x="224" y="198"/>
                  </a:lnTo>
                  <a:lnTo>
                    <a:pt x="230" y="198"/>
                  </a:lnTo>
                  <a:lnTo>
                    <a:pt x="236" y="198"/>
                  </a:lnTo>
                  <a:lnTo>
                    <a:pt x="242" y="198"/>
                  </a:lnTo>
                  <a:lnTo>
                    <a:pt x="248" y="196"/>
                  </a:lnTo>
                  <a:lnTo>
                    <a:pt x="254" y="198"/>
                  </a:lnTo>
                  <a:lnTo>
                    <a:pt x="256" y="204"/>
                  </a:lnTo>
                  <a:lnTo>
                    <a:pt x="262" y="208"/>
                  </a:lnTo>
                  <a:lnTo>
                    <a:pt x="268" y="210"/>
                  </a:lnTo>
                  <a:lnTo>
                    <a:pt x="274" y="212"/>
                  </a:lnTo>
                  <a:lnTo>
                    <a:pt x="280" y="216"/>
                  </a:lnTo>
                  <a:lnTo>
                    <a:pt x="284" y="216"/>
                  </a:lnTo>
                  <a:lnTo>
                    <a:pt x="290" y="220"/>
                  </a:lnTo>
                  <a:lnTo>
                    <a:pt x="298" y="218"/>
                  </a:lnTo>
                  <a:lnTo>
                    <a:pt x="302" y="214"/>
                  </a:lnTo>
                  <a:lnTo>
                    <a:pt x="308" y="208"/>
                  </a:lnTo>
                  <a:lnTo>
                    <a:pt x="314" y="206"/>
                  </a:lnTo>
                  <a:lnTo>
                    <a:pt x="320" y="204"/>
                  </a:lnTo>
                  <a:lnTo>
                    <a:pt x="326" y="208"/>
                  </a:lnTo>
                  <a:lnTo>
                    <a:pt x="334" y="204"/>
                  </a:lnTo>
                  <a:lnTo>
                    <a:pt x="340" y="202"/>
                  </a:lnTo>
                  <a:lnTo>
                    <a:pt x="344" y="204"/>
                  </a:lnTo>
                  <a:lnTo>
                    <a:pt x="350" y="206"/>
                  </a:lnTo>
                  <a:lnTo>
                    <a:pt x="350" y="198"/>
                  </a:lnTo>
                  <a:lnTo>
                    <a:pt x="354" y="194"/>
                  </a:lnTo>
                  <a:lnTo>
                    <a:pt x="356" y="188"/>
                  </a:lnTo>
                  <a:lnTo>
                    <a:pt x="356" y="182"/>
                  </a:lnTo>
                  <a:lnTo>
                    <a:pt x="364" y="176"/>
                  </a:lnTo>
                  <a:lnTo>
                    <a:pt x="366" y="170"/>
                  </a:lnTo>
                  <a:lnTo>
                    <a:pt x="366" y="164"/>
                  </a:lnTo>
                  <a:lnTo>
                    <a:pt x="362" y="158"/>
                  </a:lnTo>
                  <a:lnTo>
                    <a:pt x="362" y="152"/>
                  </a:lnTo>
                  <a:lnTo>
                    <a:pt x="368" y="148"/>
                  </a:lnTo>
                  <a:lnTo>
                    <a:pt x="372" y="142"/>
                  </a:lnTo>
                  <a:lnTo>
                    <a:pt x="378" y="140"/>
                  </a:lnTo>
                  <a:lnTo>
                    <a:pt x="382" y="134"/>
                  </a:lnTo>
                  <a:lnTo>
                    <a:pt x="388" y="132"/>
                  </a:lnTo>
                  <a:lnTo>
                    <a:pt x="384" y="126"/>
                  </a:lnTo>
                  <a:lnTo>
                    <a:pt x="382" y="126"/>
                  </a:lnTo>
                  <a:lnTo>
                    <a:pt x="380" y="120"/>
                  </a:lnTo>
                  <a:lnTo>
                    <a:pt x="382" y="114"/>
                  </a:lnTo>
                  <a:lnTo>
                    <a:pt x="382" y="108"/>
                  </a:lnTo>
                  <a:lnTo>
                    <a:pt x="384" y="102"/>
                  </a:lnTo>
                  <a:lnTo>
                    <a:pt x="390" y="96"/>
                  </a:lnTo>
                  <a:lnTo>
                    <a:pt x="394" y="98"/>
                  </a:lnTo>
                  <a:lnTo>
                    <a:pt x="402" y="96"/>
                  </a:lnTo>
                  <a:lnTo>
                    <a:pt x="404" y="90"/>
                  </a:lnTo>
                  <a:lnTo>
                    <a:pt x="404" y="84"/>
                  </a:lnTo>
                  <a:lnTo>
                    <a:pt x="404" y="80"/>
                  </a:lnTo>
                  <a:lnTo>
                    <a:pt x="406" y="72"/>
                  </a:lnTo>
                  <a:lnTo>
                    <a:pt x="410" y="68"/>
                  </a:lnTo>
                  <a:lnTo>
                    <a:pt x="408" y="60"/>
                  </a:lnTo>
                  <a:lnTo>
                    <a:pt x="406" y="56"/>
                  </a:lnTo>
                  <a:lnTo>
                    <a:pt x="406" y="50"/>
                  </a:lnTo>
                  <a:lnTo>
                    <a:pt x="408" y="44"/>
                  </a:lnTo>
                  <a:lnTo>
                    <a:pt x="408" y="38"/>
                  </a:lnTo>
                  <a:lnTo>
                    <a:pt x="408" y="32"/>
                  </a:lnTo>
                  <a:lnTo>
                    <a:pt x="410" y="26"/>
                  </a:lnTo>
                  <a:lnTo>
                    <a:pt x="410" y="20"/>
                  </a:lnTo>
                  <a:lnTo>
                    <a:pt x="414" y="16"/>
                  </a:lnTo>
                  <a:lnTo>
                    <a:pt x="420" y="10"/>
                  </a:lnTo>
                  <a:lnTo>
                    <a:pt x="422" y="4"/>
                  </a:lnTo>
                  <a:lnTo>
                    <a:pt x="422" y="2"/>
                  </a:lnTo>
                  <a:lnTo>
                    <a:pt x="428" y="4"/>
                  </a:lnTo>
                  <a:lnTo>
                    <a:pt x="434" y="8"/>
                  </a:lnTo>
                  <a:lnTo>
                    <a:pt x="440" y="4"/>
                  </a:lnTo>
                  <a:lnTo>
                    <a:pt x="446" y="4"/>
                  </a:lnTo>
                  <a:lnTo>
                    <a:pt x="452" y="2"/>
                  </a:lnTo>
                  <a:lnTo>
                    <a:pt x="456" y="8"/>
                  </a:lnTo>
                  <a:lnTo>
                    <a:pt x="462" y="6"/>
                  </a:lnTo>
                  <a:lnTo>
                    <a:pt x="464" y="0"/>
                  </a:lnTo>
                  <a:lnTo>
                    <a:pt x="470" y="4"/>
                  </a:lnTo>
                  <a:lnTo>
                    <a:pt x="474" y="4"/>
                  </a:lnTo>
                  <a:lnTo>
                    <a:pt x="480" y="6"/>
                  </a:lnTo>
                  <a:lnTo>
                    <a:pt x="486" y="4"/>
                  </a:lnTo>
                  <a:lnTo>
                    <a:pt x="492" y="6"/>
                  </a:lnTo>
                  <a:lnTo>
                    <a:pt x="498" y="6"/>
                  </a:lnTo>
                  <a:lnTo>
                    <a:pt x="504" y="4"/>
                  </a:lnTo>
                  <a:lnTo>
                    <a:pt x="510" y="8"/>
                  </a:lnTo>
                  <a:lnTo>
                    <a:pt x="516" y="10"/>
                  </a:lnTo>
                  <a:lnTo>
                    <a:pt x="522" y="16"/>
                  </a:lnTo>
                  <a:lnTo>
                    <a:pt x="528" y="16"/>
                  </a:lnTo>
                  <a:lnTo>
                    <a:pt x="522" y="20"/>
                  </a:lnTo>
                  <a:lnTo>
                    <a:pt x="516" y="22"/>
                  </a:lnTo>
                  <a:lnTo>
                    <a:pt x="522" y="26"/>
                  </a:lnTo>
                  <a:lnTo>
                    <a:pt x="528" y="30"/>
                  </a:lnTo>
                  <a:lnTo>
                    <a:pt x="532" y="36"/>
                  </a:lnTo>
                  <a:lnTo>
                    <a:pt x="526" y="34"/>
                  </a:lnTo>
                  <a:lnTo>
                    <a:pt x="532" y="38"/>
                  </a:lnTo>
                  <a:lnTo>
                    <a:pt x="538" y="40"/>
                  </a:lnTo>
                  <a:lnTo>
                    <a:pt x="538" y="46"/>
                  </a:lnTo>
                  <a:lnTo>
                    <a:pt x="544" y="50"/>
                  </a:lnTo>
                  <a:lnTo>
                    <a:pt x="538" y="54"/>
                  </a:lnTo>
                  <a:lnTo>
                    <a:pt x="532" y="54"/>
                  </a:lnTo>
                  <a:lnTo>
                    <a:pt x="526" y="50"/>
                  </a:lnTo>
                  <a:lnTo>
                    <a:pt x="522" y="44"/>
                  </a:lnTo>
                  <a:lnTo>
                    <a:pt x="524" y="50"/>
                  </a:lnTo>
                  <a:lnTo>
                    <a:pt x="524" y="56"/>
                  </a:lnTo>
                  <a:lnTo>
                    <a:pt x="518" y="54"/>
                  </a:lnTo>
                  <a:lnTo>
                    <a:pt x="512" y="54"/>
                  </a:lnTo>
                  <a:lnTo>
                    <a:pt x="506" y="54"/>
                  </a:lnTo>
                  <a:lnTo>
                    <a:pt x="500" y="56"/>
                  </a:lnTo>
                  <a:lnTo>
                    <a:pt x="506" y="58"/>
                  </a:lnTo>
                  <a:lnTo>
                    <a:pt x="508" y="62"/>
                  </a:lnTo>
                  <a:lnTo>
                    <a:pt x="510" y="64"/>
                  </a:lnTo>
                  <a:lnTo>
                    <a:pt x="516" y="68"/>
                  </a:lnTo>
                  <a:lnTo>
                    <a:pt x="522" y="70"/>
                  </a:lnTo>
                  <a:lnTo>
                    <a:pt x="518" y="76"/>
                  </a:lnTo>
                  <a:lnTo>
                    <a:pt x="516" y="82"/>
                  </a:lnTo>
                  <a:lnTo>
                    <a:pt x="510" y="80"/>
                  </a:lnTo>
                  <a:lnTo>
                    <a:pt x="516" y="86"/>
                  </a:lnTo>
                  <a:lnTo>
                    <a:pt x="522" y="88"/>
                  </a:lnTo>
                  <a:lnTo>
                    <a:pt x="524" y="92"/>
                  </a:lnTo>
                  <a:lnTo>
                    <a:pt x="528" y="92"/>
                  </a:lnTo>
                  <a:lnTo>
                    <a:pt x="534" y="94"/>
                  </a:lnTo>
                  <a:lnTo>
                    <a:pt x="532" y="98"/>
                  </a:lnTo>
                  <a:lnTo>
                    <a:pt x="530" y="100"/>
                  </a:lnTo>
                  <a:lnTo>
                    <a:pt x="534" y="102"/>
                  </a:lnTo>
                  <a:lnTo>
                    <a:pt x="528" y="104"/>
                  </a:lnTo>
                  <a:lnTo>
                    <a:pt x="534" y="104"/>
                  </a:lnTo>
                  <a:lnTo>
                    <a:pt x="540" y="106"/>
                  </a:lnTo>
                  <a:lnTo>
                    <a:pt x="534" y="110"/>
                  </a:lnTo>
                  <a:lnTo>
                    <a:pt x="538" y="112"/>
                  </a:lnTo>
                  <a:lnTo>
                    <a:pt x="544" y="118"/>
                  </a:lnTo>
                  <a:lnTo>
                    <a:pt x="546" y="124"/>
                  </a:lnTo>
                  <a:lnTo>
                    <a:pt x="550" y="130"/>
                  </a:lnTo>
                  <a:lnTo>
                    <a:pt x="556" y="136"/>
                  </a:lnTo>
                  <a:lnTo>
                    <a:pt x="560" y="142"/>
                  </a:lnTo>
                  <a:lnTo>
                    <a:pt x="564" y="148"/>
                  </a:lnTo>
                  <a:lnTo>
                    <a:pt x="560" y="152"/>
                  </a:lnTo>
                  <a:lnTo>
                    <a:pt x="554" y="158"/>
                  </a:lnTo>
                  <a:lnTo>
                    <a:pt x="550" y="164"/>
                  </a:lnTo>
                  <a:lnTo>
                    <a:pt x="544" y="166"/>
                  </a:lnTo>
                  <a:lnTo>
                    <a:pt x="550" y="170"/>
                  </a:lnTo>
                  <a:lnTo>
                    <a:pt x="550" y="176"/>
                  </a:lnTo>
                  <a:lnTo>
                    <a:pt x="556" y="180"/>
                  </a:lnTo>
                  <a:lnTo>
                    <a:pt x="562" y="186"/>
                  </a:lnTo>
                  <a:lnTo>
                    <a:pt x="568" y="192"/>
                  </a:lnTo>
                  <a:lnTo>
                    <a:pt x="572" y="196"/>
                  </a:lnTo>
                  <a:lnTo>
                    <a:pt x="578" y="200"/>
                  </a:lnTo>
                  <a:lnTo>
                    <a:pt x="584" y="204"/>
                  </a:lnTo>
                  <a:lnTo>
                    <a:pt x="586" y="210"/>
                  </a:lnTo>
                  <a:lnTo>
                    <a:pt x="594" y="212"/>
                  </a:lnTo>
                  <a:lnTo>
                    <a:pt x="598" y="216"/>
                  </a:lnTo>
                  <a:lnTo>
                    <a:pt x="604" y="220"/>
                  </a:lnTo>
                  <a:lnTo>
                    <a:pt x="608" y="226"/>
                  </a:lnTo>
                  <a:lnTo>
                    <a:pt x="614" y="232"/>
                  </a:lnTo>
                  <a:lnTo>
                    <a:pt x="620" y="232"/>
                  </a:lnTo>
                  <a:lnTo>
                    <a:pt x="620" y="236"/>
                  </a:lnTo>
                  <a:lnTo>
                    <a:pt x="618" y="244"/>
                  </a:lnTo>
                  <a:lnTo>
                    <a:pt x="612" y="248"/>
                  </a:lnTo>
                  <a:lnTo>
                    <a:pt x="606" y="250"/>
                  </a:lnTo>
                  <a:lnTo>
                    <a:pt x="600" y="248"/>
                  </a:lnTo>
                  <a:lnTo>
                    <a:pt x="594" y="250"/>
                  </a:lnTo>
                  <a:lnTo>
                    <a:pt x="588" y="248"/>
                  </a:lnTo>
                  <a:lnTo>
                    <a:pt x="582" y="250"/>
                  </a:lnTo>
                  <a:lnTo>
                    <a:pt x="576" y="246"/>
                  </a:lnTo>
                  <a:lnTo>
                    <a:pt x="570" y="246"/>
                  </a:lnTo>
                  <a:lnTo>
                    <a:pt x="564" y="242"/>
                  </a:lnTo>
                  <a:lnTo>
                    <a:pt x="560" y="236"/>
                  </a:lnTo>
                  <a:lnTo>
                    <a:pt x="554" y="232"/>
                  </a:lnTo>
                  <a:lnTo>
                    <a:pt x="558" y="238"/>
                  </a:lnTo>
                  <a:lnTo>
                    <a:pt x="560" y="244"/>
                  </a:lnTo>
                  <a:lnTo>
                    <a:pt x="558" y="250"/>
                  </a:lnTo>
                  <a:lnTo>
                    <a:pt x="552" y="250"/>
                  </a:lnTo>
                  <a:lnTo>
                    <a:pt x="546" y="252"/>
                  </a:lnTo>
                  <a:lnTo>
                    <a:pt x="542" y="258"/>
                  </a:lnTo>
                  <a:lnTo>
                    <a:pt x="540" y="264"/>
                  </a:lnTo>
                  <a:lnTo>
                    <a:pt x="538" y="270"/>
                  </a:lnTo>
                  <a:lnTo>
                    <a:pt x="536" y="276"/>
                  </a:lnTo>
                  <a:lnTo>
                    <a:pt x="532" y="282"/>
                  </a:lnTo>
                  <a:lnTo>
                    <a:pt x="530" y="288"/>
                  </a:lnTo>
                  <a:lnTo>
                    <a:pt x="528" y="294"/>
                  </a:lnTo>
                  <a:lnTo>
                    <a:pt x="528" y="300"/>
                  </a:lnTo>
                  <a:lnTo>
                    <a:pt x="530" y="306"/>
                  </a:lnTo>
                  <a:lnTo>
                    <a:pt x="528" y="312"/>
                  </a:lnTo>
                  <a:lnTo>
                    <a:pt x="526" y="318"/>
                  </a:lnTo>
                  <a:lnTo>
                    <a:pt x="526" y="324"/>
                  </a:lnTo>
                  <a:lnTo>
                    <a:pt x="530" y="330"/>
                  </a:lnTo>
                  <a:lnTo>
                    <a:pt x="526" y="336"/>
                  </a:lnTo>
                  <a:lnTo>
                    <a:pt x="526" y="342"/>
                  </a:lnTo>
                  <a:lnTo>
                    <a:pt x="532" y="338"/>
                  </a:lnTo>
                  <a:lnTo>
                    <a:pt x="538" y="336"/>
                  </a:lnTo>
                  <a:lnTo>
                    <a:pt x="534" y="342"/>
                  </a:lnTo>
                  <a:lnTo>
                    <a:pt x="530" y="348"/>
                  </a:lnTo>
                  <a:lnTo>
                    <a:pt x="534" y="350"/>
                  </a:lnTo>
                  <a:lnTo>
                    <a:pt x="528" y="356"/>
                  </a:lnTo>
                  <a:lnTo>
                    <a:pt x="534" y="360"/>
                  </a:lnTo>
                  <a:lnTo>
                    <a:pt x="528" y="362"/>
                  </a:lnTo>
                  <a:lnTo>
                    <a:pt x="528" y="364"/>
                  </a:lnTo>
                  <a:lnTo>
                    <a:pt x="522" y="364"/>
                  </a:lnTo>
                  <a:lnTo>
                    <a:pt x="518" y="368"/>
                  </a:lnTo>
                  <a:lnTo>
                    <a:pt x="516" y="362"/>
                  </a:lnTo>
                  <a:lnTo>
                    <a:pt x="514" y="368"/>
                  </a:lnTo>
                  <a:lnTo>
                    <a:pt x="508" y="372"/>
                  </a:lnTo>
                  <a:lnTo>
                    <a:pt x="504" y="380"/>
                  </a:lnTo>
                  <a:lnTo>
                    <a:pt x="500" y="384"/>
                  </a:lnTo>
                  <a:lnTo>
                    <a:pt x="496" y="390"/>
                  </a:lnTo>
                  <a:lnTo>
                    <a:pt x="492" y="394"/>
                  </a:lnTo>
                  <a:lnTo>
                    <a:pt x="486" y="390"/>
                  </a:lnTo>
                  <a:lnTo>
                    <a:pt x="484" y="384"/>
                  </a:lnTo>
                  <a:lnTo>
                    <a:pt x="482" y="378"/>
                  </a:lnTo>
                  <a:lnTo>
                    <a:pt x="480" y="384"/>
                  </a:lnTo>
                  <a:lnTo>
                    <a:pt x="482" y="390"/>
                  </a:lnTo>
                  <a:lnTo>
                    <a:pt x="484" y="396"/>
                  </a:lnTo>
                  <a:lnTo>
                    <a:pt x="482" y="402"/>
                  </a:lnTo>
                  <a:lnTo>
                    <a:pt x="476" y="404"/>
                  </a:lnTo>
                  <a:lnTo>
                    <a:pt x="470" y="408"/>
                  </a:lnTo>
                  <a:lnTo>
                    <a:pt x="470" y="414"/>
                  </a:lnTo>
                  <a:lnTo>
                    <a:pt x="468" y="418"/>
                  </a:lnTo>
                  <a:lnTo>
                    <a:pt x="462" y="422"/>
                  </a:lnTo>
                  <a:lnTo>
                    <a:pt x="456" y="424"/>
                  </a:lnTo>
                  <a:lnTo>
                    <a:pt x="450" y="430"/>
                  </a:lnTo>
                  <a:lnTo>
                    <a:pt x="456" y="430"/>
                  </a:lnTo>
                  <a:lnTo>
                    <a:pt x="462" y="432"/>
                  </a:lnTo>
                  <a:lnTo>
                    <a:pt x="464" y="438"/>
                  </a:lnTo>
                  <a:lnTo>
                    <a:pt x="464" y="444"/>
                  </a:lnTo>
                  <a:lnTo>
                    <a:pt x="460" y="450"/>
                  </a:lnTo>
                  <a:lnTo>
                    <a:pt x="454" y="456"/>
                  </a:lnTo>
                  <a:lnTo>
                    <a:pt x="460" y="458"/>
                  </a:lnTo>
                  <a:lnTo>
                    <a:pt x="466" y="456"/>
                  </a:lnTo>
                  <a:lnTo>
                    <a:pt x="472" y="458"/>
                  </a:lnTo>
                  <a:lnTo>
                    <a:pt x="472" y="464"/>
                  </a:lnTo>
                  <a:lnTo>
                    <a:pt x="472" y="466"/>
                  </a:lnTo>
                  <a:lnTo>
                    <a:pt x="470" y="470"/>
                  </a:lnTo>
                  <a:lnTo>
                    <a:pt x="468" y="478"/>
                  </a:lnTo>
                  <a:lnTo>
                    <a:pt x="466" y="484"/>
                  </a:lnTo>
                  <a:lnTo>
                    <a:pt x="460" y="480"/>
                  </a:lnTo>
                  <a:lnTo>
                    <a:pt x="454" y="480"/>
                  </a:lnTo>
                  <a:lnTo>
                    <a:pt x="458" y="486"/>
                  </a:lnTo>
                  <a:lnTo>
                    <a:pt x="456" y="492"/>
                  </a:lnTo>
                  <a:lnTo>
                    <a:pt x="458" y="498"/>
                  </a:lnTo>
                  <a:lnTo>
                    <a:pt x="456" y="504"/>
                  </a:lnTo>
                  <a:lnTo>
                    <a:pt x="454" y="510"/>
                  </a:lnTo>
                  <a:lnTo>
                    <a:pt x="448" y="512"/>
                  </a:lnTo>
                  <a:lnTo>
                    <a:pt x="442" y="506"/>
                  </a:lnTo>
                  <a:lnTo>
                    <a:pt x="442" y="512"/>
                  </a:lnTo>
                  <a:lnTo>
                    <a:pt x="446" y="518"/>
                  </a:lnTo>
                  <a:lnTo>
                    <a:pt x="450" y="524"/>
                  </a:lnTo>
                  <a:lnTo>
                    <a:pt x="444" y="526"/>
                  </a:lnTo>
                  <a:lnTo>
                    <a:pt x="440" y="532"/>
                  </a:lnTo>
                  <a:lnTo>
                    <a:pt x="436" y="538"/>
                  </a:lnTo>
                  <a:lnTo>
                    <a:pt x="434" y="544"/>
                  </a:lnTo>
                  <a:lnTo>
                    <a:pt x="432" y="550"/>
                  </a:lnTo>
                  <a:lnTo>
                    <a:pt x="428" y="556"/>
                  </a:lnTo>
                  <a:lnTo>
                    <a:pt x="424" y="558"/>
                  </a:lnTo>
                  <a:lnTo>
                    <a:pt x="418" y="562"/>
                  </a:lnTo>
                  <a:lnTo>
                    <a:pt x="412" y="564"/>
                  </a:lnTo>
                  <a:lnTo>
                    <a:pt x="406" y="568"/>
                  </a:lnTo>
                  <a:lnTo>
                    <a:pt x="400" y="570"/>
                  </a:lnTo>
                  <a:lnTo>
                    <a:pt x="394" y="574"/>
                  </a:lnTo>
                  <a:lnTo>
                    <a:pt x="388" y="576"/>
                  </a:lnTo>
                  <a:lnTo>
                    <a:pt x="382" y="578"/>
                  </a:lnTo>
                  <a:lnTo>
                    <a:pt x="376" y="582"/>
                  </a:lnTo>
                  <a:lnTo>
                    <a:pt x="370" y="584"/>
                  </a:lnTo>
                  <a:lnTo>
                    <a:pt x="364" y="588"/>
                  </a:lnTo>
                  <a:lnTo>
                    <a:pt x="358" y="592"/>
                  </a:lnTo>
                  <a:lnTo>
                    <a:pt x="352" y="594"/>
                  </a:lnTo>
                  <a:lnTo>
                    <a:pt x="346" y="592"/>
                  </a:lnTo>
                  <a:lnTo>
                    <a:pt x="348" y="586"/>
                  </a:lnTo>
                  <a:lnTo>
                    <a:pt x="348" y="580"/>
                  </a:lnTo>
                  <a:lnTo>
                    <a:pt x="346" y="574"/>
                  </a:lnTo>
                  <a:lnTo>
                    <a:pt x="346" y="568"/>
                  </a:lnTo>
                  <a:lnTo>
                    <a:pt x="348" y="562"/>
                  </a:lnTo>
                  <a:lnTo>
                    <a:pt x="346" y="556"/>
                  </a:lnTo>
                  <a:lnTo>
                    <a:pt x="342" y="550"/>
                  </a:lnTo>
                  <a:lnTo>
                    <a:pt x="344" y="544"/>
                  </a:lnTo>
                  <a:lnTo>
                    <a:pt x="344" y="538"/>
                  </a:lnTo>
                  <a:lnTo>
                    <a:pt x="340" y="542"/>
                  </a:lnTo>
                  <a:lnTo>
                    <a:pt x="336" y="546"/>
                  </a:lnTo>
                  <a:lnTo>
                    <a:pt x="330" y="544"/>
                  </a:lnTo>
                  <a:lnTo>
                    <a:pt x="326" y="542"/>
                  </a:lnTo>
                  <a:lnTo>
                    <a:pt x="330" y="534"/>
                  </a:lnTo>
                  <a:lnTo>
                    <a:pt x="332" y="528"/>
                  </a:lnTo>
                  <a:lnTo>
                    <a:pt x="330" y="534"/>
                  </a:lnTo>
                  <a:lnTo>
                    <a:pt x="324" y="540"/>
                  </a:lnTo>
                  <a:lnTo>
                    <a:pt x="318" y="538"/>
                  </a:lnTo>
                  <a:lnTo>
                    <a:pt x="318" y="534"/>
                  </a:lnTo>
                  <a:lnTo>
                    <a:pt x="318" y="528"/>
                  </a:lnTo>
                  <a:lnTo>
                    <a:pt x="316" y="534"/>
                  </a:lnTo>
                  <a:lnTo>
                    <a:pt x="310" y="540"/>
                  </a:lnTo>
                  <a:lnTo>
                    <a:pt x="306" y="542"/>
                  </a:lnTo>
                  <a:lnTo>
                    <a:pt x="298" y="546"/>
                  </a:lnTo>
                  <a:lnTo>
                    <a:pt x="292" y="546"/>
                  </a:lnTo>
                  <a:lnTo>
                    <a:pt x="288" y="544"/>
                  </a:lnTo>
                  <a:lnTo>
                    <a:pt x="288" y="538"/>
                  </a:lnTo>
                  <a:lnTo>
                    <a:pt x="290" y="532"/>
                  </a:lnTo>
                  <a:lnTo>
                    <a:pt x="284" y="526"/>
                  </a:lnTo>
                  <a:lnTo>
                    <a:pt x="278" y="528"/>
                  </a:lnTo>
                  <a:lnTo>
                    <a:pt x="272" y="532"/>
                  </a:lnTo>
                  <a:lnTo>
                    <a:pt x="270" y="526"/>
                  </a:lnTo>
                  <a:lnTo>
                    <a:pt x="270" y="532"/>
                  </a:lnTo>
                  <a:lnTo>
                    <a:pt x="264" y="526"/>
                  </a:lnTo>
                  <a:lnTo>
                    <a:pt x="262" y="520"/>
                  </a:lnTo>
                  <a:lnTo>
                    <a:pt x="256" y="516"/>
                  </a:lnTo>
                  <a:lnTo>
                    <a:pt x="254" y="510"/>
                  </a:lnTo>
                  <a:lnTo>
                    <a:pt x="252" y="516"/>
                  </a:lnTo>
                  <a:lnTo>
                    <a:pt x="246" y="522"/>
                  </a:lnTo>
                  <a:lnTo>
                    <a:pt x="248" y="528"/>
                  </a:lnTo>
                  <a:lnTo>
                    <a:pt x="242" y="532"/>
                  </a:lnTo>
                  <a:lnTo>
                    <a:pt x="236" y="536"/>
                  </a:lnTo>
                  <a:lnTo>
                    <a:pt x="230" y="542"/>
                  </a:lnTo>
                  <a:lnTo>
                    <a:pt x="224" y="542"/>
                  </a:lnTo>
                  <a:lnTo>
                    <a:pt x="218" y="542"/>
                  </a:lnTo>
                  <a:lnTo>
                    <a:pt x="212" y="538"/>
                  </a:lnTo>
                  <a:lnTo>
                    <a:pt x="208" y="536"/>
                  </a:lnTo>
                  <a:lnTo>
                    <a:pt x="202" y="536"/>
                  </a:lnTo>
                  <a:lnTo>
                    <a:pt x="196" y="542"/>
                  </a:lnTo>
                  <a:lnTo>
                    <a:pt x="190" y="546"/>
                  </a:lnTo>
                  <a:lnTo>
                    <a:pt x="184" y="552"/>
                  </a:lnTo>
                  <a:lnTo>
                    <a:pt x="178" y="548"/>
                  </a:lnTo>
                  <a:lnTo>
                    <a:pt x="180" y="542"/>
                  </a:lnTo>
                  <a:lnTo>
                    <a:pt x="178" y="536"/>
                  </a:lnTo>
                  <a:lnTo>
                    <a:pt x="178" y="530"/>
                  </a:lnTo>
                  <a:lnTo>
                    <a:pt x="178" y="524"/>
                  </a:lnTo>
                  <a:lnTo>
                    <a:pt x="180" y="518"/>
                  </a:lnTo>
                  <a:lnTo>
                    <a:pt x="178" y="512"/>
                  </a:lnTo>
                  <a:lnTo>
                    <a:pt x="174" y="506"/>
                  </a:lnTo>
                  <a:lnTo>
                    <a:pt x="172" y="500"/>
                  </a:lnTo>
                  <a:lnTo>
                    <a:pt x="170" y="506"/>
                  </a:lnTo>
                  <a:lnTo>
                    <a:pt x="166" y="512"/>
                  </a:lnTo>
                  <a:lnTo>
                    <a:pt x="162" y="514"/>
                  </a:lnTo>
                  <a:lnTo>
                    <a:pt x="156" y="508"/>
                  </a:lnTo>
                  <a:lnTo>
                    <a:pt x="150" y="508"/>
                  </a:lnTo>
                  <a:lnTo>
                    <a:pt x="144" y="512"/>
                  </a:lnTo>
                  <a:lnTo>
                    <a:pt x="138" y="514"/>
                  </a:lnTo>
                  <a:lnTo>
                    <a:pt x="132" y="518"/>
                  </a:lnTo>
                  <a:lnTo>
                    <a:pt x="126" y="520"/>
                  </a:lnTo>
                  <a:lnTo>
                    <a:pt x="120" y="518"/>
                  </a:lnTo>
                  <a:lnTo>
                    <a:pt x="114" y="516"/>
                  </a:lnTo>
                  <a:lnTo>
                    <a:pt x="120" y="510"/>
                  </a:lnTo>
                  <a:lnTo>
                    <a:pt x="122" y="508"/>
                  </a:lnTo>
                  <a:lnTo>
                    <a:pt x="116" y="510"/>
                  </a:lnTo>
                  <a:lnTo>
                    <a:pt x="112" y="516"/>
                  </a:lnTo>
                  <a:lnTo>
                    <a:pt x="106" y="516"/>
                  </a:lnTo>
                  <a:lnTo>
                    <a:pt x="106" y="510"/>
                  </a:lnTo>
                  <a:lnTo>
                    <a:pt x="102" y="504"/>
                  </a:lnTo>
                  <a:lnTo>
                    <a:pt x="96" y="506"/>
                  </a:lnTo>
                  <a:lnTo>
                    <a:pt x="90" y="510"/>
                  </a:lnTo>
                  <a:lnTo>
                    <a:pt x="84" y="514"/>
                  </a:lnTo>
                  <a:lnTo>
                    <a:pt x="82" y="508"/>
                  </a:lnTo>
                  <a:lnTo>
                    <a:pt x="82" y="502"/>
                  </a:lnTo>
                  <a:lnTo>
                    <a:pt x="82" y="496"/>
                  </a:lnTo>
                  <a:lnTo>
                    <a:pt x="82" y="490"/>
                  </a:lnTo>
                  <a:lnTo>
                    <a:pt x="80" y="484"/>
                  </a:lnTo>
                  <a:lnTo>
                    <a:pt x="80" y="478"/>
                  </a:lnTo>
                  <a:lnTo>
                    <a:pt x="78" y="472"/>
                  </a:lnTo>
                  <a:lnTo>
                    <a:pt x="78" y="466"/>
                  </a:lnTo>
                  <a:lnTo>
                    <a:pt x="74" y="460"/>
                  </a:lnTo>
                  <a:lnTo>
                    <a:pt x="76" y="454"/>
                  </a:lnTo>
                  <a:lnTo>
                    <a:pt x="76" y="448"/>
                  </a:lnTo>
                  <a:lnTo>
                    <a:pt x="76" y="442"/>
                  </a:lnTo>
                  <a:lnTo>
                    <a:pt x="70" y="436"/>
                  </a:lnTo>
                  <a:lnTo>
                    <a:pt x="66" y="436"/>
                  </a:lnTo>
                  <a:lnTo>
                    <a:pt x="64" y="430"/>
                  </a:lnTo>
                  <a:lnTo>
                    <a:pt x="70" y="424"/>
                  </a:lnTo>
                  <a:lnTo>
                    <a:pt x="72" y="418"/>
                  </a:lnTo>
                  <a:lnTo>
                    <a:pt x="72" y="412"/>
                  </a:lnTo>
                  <a:lnTo>
                    <a:pt x="74" y="406"/>
                  </a:lnTo>
                  <a:lnTo>
                    <a:pt x="74" y="400"/>
                  </a:lnTo>
                  <a:lnTo>
                    <a:pt x="70" y="394"/>
                  </a:lnTo>
                  <a:lnTo>
                    <a:pt x="64" y="388"/>
                  </a:lnTo>
                  <a:lnTo>
                    <a:pt x="64" y="382"/>
                  </a:lnTo>
                  <a:lnTo>
                    <a:pt x="58" y="380"/>
                  </a:lnTo>
                  <a:lnTo>
                    <a:pt x="54" y="372"/>
                  </a:lnTo>
                  <a:lnTo>
                    <a:pt x="54" y="368"/>
                  </a:lnTo>
                  <a:lnTo>
                    <a:pt x="48" y="372"/>
                  </a:lnTo>
                  <a:lnTo>
                    <a:pt x="44" y="368"/>
                  </a:lnTo>
                  <a:lnTo>
                    <a:pt x="38" y="364"/>
                  </a:lnTo>
                  <a:lnTo>
                    <a:pt x="32" y="370"/>
                  </a:lnTo>
                  <a:lnTo>
                    <a:pt x="26" y="366"/>
                  </a:lnTo>
                  <a:lnTo>
                    <a:pt x="26" y="360"/>
                  </a:lnTo>
                  <a:lnTo>
                    <a:pt x="30" y="354"/>
                  </a:lnTo>
                  <a:lnTo>
                    <a:pt x="34" y="356"/>
                  </a:lnTo>
                  <a:lnTo>
                    <a:pt x="40" y="356"/>
                  </a:lnTo>
                  <a:lnTo>
                    <a:pt x="34" y="352"/>
                  </a:lnTo>
                  <a:lnTo>
                    <a:pt x="30" y="346"/>
                  </a:lnTo>
                  <a:lnTo>
                    <a:pt x="24" y="346"/>
                  </a:lnTo>
                  <a:lnTo>
                    <a:pt x="18" y="344"/>
                  </a:lnTo>
                  <a:lnTo>
                    <a:pt x="16" y="338"/>
                  </a:lnTo>
                  <a:lnTo>
                    <a:pt x="16" y="332"/>
                  </a:lnTo>
                  <a:lnTo>
                    <a:pt x="16" y="326"/>
                  </a:lnTo>
                  <a:lnTo>
                    <a:pt x="18" y="320"/>
                  </a:lnTo>
                  <a:lnTo>
                    <a:pt x="22" y="322"/>
                  </a:lnTo>
                  <a:lnTo>
                    <a:pt x="22" y="318"/>
                  </a:lnTo>
                  <a:lnTo>
                    <a:pt x="20" y="312"/>
                  </a:lnTo>
                  <a:lnTo>
                    <a:pt x="18" y="306"/>
                  </a:lnTo>
                  <a:lnTo>
                    <a:pt x="24" y="304"/>
                  </a:lnTo>
                  <a:lnTo>
                    <a:pt x="20" y="300"/>
                  </a:lnTo>
                  <a:lnTo>
                    <a:pt x="18" y="292"/>
                  </a:lnTo>
                  <a:lnTo>
                    <a:pt x="14" y="288"/>
                  </a:lnTo>
                  <a:lnTo>
                    <a:pt x="8" y="286"/>
                  </a:lnTo>
                  <a:lnTo>
                    <a:pt x="6" y="280"/>
                  </a:lnTo>
                  <a:lnTo>
                    <a:pt x="4" y="274"/>
                  </a:lnTo>
                  <a:lnTo>
                    <a:pt x="4" y="268"/>
                  </a:lnTo>
                  <a:lnTo>
                    <a:pt x="4" y="262"/>
                  </a:lnTo>
                  <a:lnTo>
                    <a:pt x="2" y="256"/>
                  </a:lnTo>
                  <a:lnTo>
                    <a:pt x="0" y="250"/>
                  </a:lnTo>
                  <a:lnTo>
                    <a:pt x="2" y="2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2" name="Freeform 119"/>
            <p:cNvSpPr>
              <a:spLocks/>
            </p:cNvSpPr>
            <p:nvPr/>
          </p:nvSpPr>
          <p:spPr bwMode="auto">
            <a:xfrm>
              <a:off x="6894513" y="3673475"/>
              <a:ext cx="57150" cy="53975"/>
            </a:xfrm>
            <a:custGeom>
              <a:avLst/>
              <a:gdLst>
                <a:gd name="T0" fmla="*/ 2147483647 w 140"/>
                <a:gd name="T1" fmla="*/ 2147483647 h 130"/>
                <a:gd name="T2" fmla="*/ 2147483647 w 140"/>
                <a:gd name="T3" fmla="*/ 2147483647 h 130"/>
                <a:gd name="T4" fmla="*/ 2147483647 w 140"/>
                <a:gd name="T5" fmla="*/ 2147483647 h 130"/>
                <a:gd name="T6" fmla="*/ 2147483647 w 140"/>
                <a:gd name="T7" fmla="*/ 2147483647 h 130"/>
                <a:gd name="T8" fmla="*/ 2147483647 w 140"/>
                <a:gd name="T9" fmla="*/ 2147483647 h 130"/>
                <a:gd name="T10" fmla="*/ 2147483647 w 140"/>
                <a:gd name="T11" fmla="*/ 2147483647 h 130"/>
                <a:gd name="T12" fmla="*/ 2147483647 w 140"/>
                <a:gd name="T13" fmla="*/ 2147483647 h 130"/>
                <a:gd name="T14" fmla="*/ 2147483647 w 140"/>
                <a:gd name="T15" fmla="*/ 2147483647 h 130"/>
                <a:gd name="T16" fmla="*/ 2147483647 w 140"/>
                <a:gd name="T17" fmla="*/ 2147483647 h 130"/>
                <a:gd name="T18" fmla="*/ 2147483647 w 140"/>
                <a:gd name="T19" fmla="*/ 2147483647 h 130"/>
                <a:gd name="T20" fmla="*/ 2147483647 w 140"/>
                <a:gd name="T21" fmla="*/ 2147483647 h 130"/>
                <a:gd name="T22" fmla="*/ 2147483647 w 140"/>
                <a:gd name="T23" fmla="*/ 2147483647 h 130"/>
                <a:gd name="T24" fmla="*/ 2147483647 w 140"/>
                <a:gd name="T25" fmla="*/ 2147483647 h 130"/>
                <a:gd name="T26" fmla="*/ 2147483647 w 140"/>
                <a:gd name="T27" fmla="*/ 2147483647 h 130"/>
                <a:gd name="T28" fmla="*/ 2147483647 w 140"/>
                <a:gd name="T29" fmla="*/ 2147483647 h 130"/>
                <a:gd name="T30" fmla="*/ 2147483647 w 140"/>
                <a:gd name="T31" fmla="*/ 2147483647 h 130"/>
                <a:gd name="T32" fmla="*/ 2147483647 w 140"/>
                <a:gd name="T33" fmla="*/ 2147483647 h 130"/>
                <a:gd name="T34" fmla="*/ 2147483647 w 140"/>
                <a:gd name="T35" fmla="*/ 2147483647 h 130"/>
                <a:gd name="T36" fmla="*/ 2147483647 w 140"/>
                <a:gd name="T37" fmla="*/ 2147483647 h 130"/>
                <a:gd name="T38" fmla="*/ 2147483647 w 140"/>
                <a:gd name="T39" fmla="*/ 2147483647 h 130"/>
                <a:gd name="T40" fmla="*/ 2147483647 w 140"/>
                <a:gd name="T41" fmla="*/ 2147483647 h 130"/>
                <a:gd name="T42" fmla="*/ 2147483647 w 140"/>
                <a:gd name="T43" fmla="*/ 2147483647 h 130"/>
                <a:gd name="T44" fmla="*/ 2147483647 w 140"/>
                <a:gd name="T45" fmla="*/ 2147483647 h 130"/>
                <a:gd name="T46" fmla="*/ 2147483647 w 140"/>
                <a:gd name="T47" fmla="*/ 2147483647 h 130"/>
                <a:gd name="T48" fmla="*/ 2147483647 w 140"/>
                <a:gd name="T49" fmla="*/ 2147483647 h 130"/>
                <a:gd name="T50" fmla="*/ 2147483647 w 140"/>
                <a:gd name="T51" fmla="*/ 2147483647 h 130"/>
                <a:gd name="T52" fmla="*/ 2147483647 w 140"/>
                <a:gd name="T53" fmla="*/ 2147483647 h 130"/>
                <a:gd name="T54" fmla="*/ 2147483647 w 140"/>
                <a:gd name="T55" fmla="*/ 2147483647 h 130"/>
                <a:gd name="T56" fmla="*/ 2147483647 w 140"/>
                <a:gd name="T57" fmla="*/ 2147483647 h 130"/>
                <a:gd name="T58" fmla="*/ 2147483647 w 140"/>
                <a:gd name="T59" fmla="*/ 0 h 130"/>
                <a:gd name="T60" fmla="*/ 2147483647 w 140"/>
                <a:gd name="T61" fmla="*/ 2147483647 h 130"/>
                <a:gd name="T62" fmla="*/ 2147483647 w 140"/>
                <a:gd name="T63" fmla="*/ 2147483647 h 130"/>
                <a:gd name="T64" fmla="*/ 2147483647 w 140"/>
                <a:gd name="T65" fmla="*/ 2147483647 h 130"/>
                <a:gd name="T66" fmla="*/ 2147483647 w 140"/>
                <a:gd name="T67" fmla="*/ 2147483647 h 130"/>
                <a:gd name="T68" fmla="*/ 2147483647 w 140"/>
                <a:gd name="T69" fmla="*/ 2147483647 h 130"/>
                <a:gd name="T70" fmla="*/ 2147483647 w 140"/>
                <a:gd name="T71" fmla="*/ 2147483647 h 130"/>
                <a:gd name="T72" fmla="*/ 2147483647 w 140"/>
                <a:gd name="T73" fmla="*/ 2147483647 h 130"/>
                <a:gd name="T74" fmla="*/ 2147483647 w 140"/>
                <a:gd name="T75" fmla="*/ 2147483647 h 130"/>
                <a:gd name="T76" fmla="*/ 2147483647 w 140"/>
                <a:gd name="T77" fmla="*/ 2147483647 h 130"/>
                <a:gd name="T78" fmla="*/ 2147483647 w 140"/>
                <a:gd name="T79" fmla="*/ 2147483647 h 130"/>
                <a:gd name="T80" fmla="*/ 2147483647 w 140"/>
                <a:gd name="T81" fmla="*/ 2147483647 h 130"/>
                <a:gd name="T82" fmla="*/ 2147483647 w 140"/>
                <a:gd name="T83" fmla="*/ 2147483647 h 130"/>
                <a:gd name="T84" fmla="*/ 2147483647 w 140"/>
                <a:gd name="T85" fmla="*/ 2147483647 h 130"/>
                <a:gd name="T86" fmla="*/ 2147483647 w 140"/>
                <a:gd name="T87" fmla="*/ 2147483647 h 130"/>
                <a:gd name="T88" fmla="*/ 2147483647 w 140"/>
                <a:gd name="T89" fmla="*/ 2147483647 h 130"/>
                <a:gd name="T90" fmla="*/ 2147483647 w 140"/>
                <a:gd name="T91" fmla="*/ 2147483647 h 130"/>
                <a:gd name="T92" fmla="*/ 2147483647 w 140"/>
                <a:gd name="T93" fmla="*/ 2147483647 h 130"/>
                <a:gd name="T94" fmla="*/ 2147483647 w 140"/>
                <a:gd name="T95" fmla="*/ 2147483647 h 130"/>
                <a:gd name="T96" fmla="*/ 2147483647 w 140"/>
                <a:gd name="T97" fmla="*/ 2147483647 h 130"/>
                <a:gd name="T98" fmla="*/ 2147483647 w 140"/>
                <a:gd name="T99" fmla="*/ 2147483647 h 130"/>
                <a:gd name="T100" fmla="*/ 2147483647 w 140"/>
                <a:gd name="T101" fmla="*/ 2147483647 h 13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
                <a:gd name="T154" fmla="*/ 0 h 130"/>
                <a:gd name="T155" fmla="*/ 140 w 140"/>
                <a:gd name="T156" fmla="*/ 130 h 13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 h="130">
                  <a:moveTo>
                    <a:pt x="2" y="54"/>
                  </a:moveTo>
                  <a:lnTo>
                    <a:pt x="4" y="56"/>
                  </a:lnTo>
                  <a:lnTo>
                    <a:pt x="0" y="58"/>
                  </a:lnTo>
                  <a:lnTo>
                    <a:pt x="4" y="64"/>
                  </a:lnTo>
                  <a:lnTo>
                    <a:pt x="2" y="70"/>
                  </a:lnTo>
                  <a:lnTo>
                    <a:pt x="4" y="76"/>
                  </a:lnTo>
                  <a:lnTo>
                    <a:pt x="6" y="82"/>
                  </a:lnTo>
                  <a:lnTo>
                    <a:pt x="4" y="86"/>
                  </a:lnTo>
                  <a:lnTo>
                    <a:pt x="10" y="92"/>
                  </a:lnTo>
                  <a:lnTo>
                    <a:pt x="10" y="98"/>
                  </a:lnTo>
                  <a:lnTo>
                    <a:pt x="12" y="104"/>
                  </a:lnTo>
                  <a:lnTo>
                    <a:pt x="12" y="110"/>
                  </a:lnTo>
                  <a:lnTo>
                    <a:pt x="14" y="112"/>
                  </a:lnTo>
                  <a:lnTo>
                    <a:pt x="20" y="112"/>
                  </a:lnTo>
                  <a:lnTo>
                    <a:pt x="26" y="116"/>
                  </a:lnTo>
                  <a:lnTo>
                    <a:pt x="32" y="120"/>
                  </a:lnTo>
                  <a:lnTo>
                    <a:pt x="34" y="120"/>
                  </a:lnTo>
                  <a:lnTo>
                    <a:pt x="40" y="122"/>
                  </a:lnTo>
                  <a:lnTo>
                    <a:pt x="46" y="124"/>
                  </a:lnTo>
                  <a:lnTo>
                    <a:pt x="52" y="124"/>
                  </a:lnTo>
                  <a:lnTo>
                    <a:pt x="58" y="126"/>
                  </a:lnTo>
                  <a:lnTo>
                    <a:pt x="64" y="128"/>
                  </a:lnTo>
                  <a:lnTo>
                    <a:pt x="66" y="130"/>
                  </a:lnTo>
                  <a:lnTo>
                    <a:pt x="72" y="130"/>
                  </a:lnTo>
                  <a:lnTo>
                    <a:pt x="78" y="130"/>
                  </a:lnTo>
                  <a:lnTo>
                    <a:pt x="76" y="124"/>
                  </a:lnTo>
                  <a:lnTo>
                    <a:pt x="78" y="118"/>
                  </a:lnTo>
                  <a:lnTo>
                    <a:pt x="80" y="118"/>
                  </a:lnTo>
                  <a:lnTo>
                    <a:pt x="86" y="118"/>
                  </a:lnTo>
                  <a:lnTo>
                    <a:pt x="92" y="116"/>
                  </a:lnTo>
                  <a:lnTo>
                    <a:pt x="92" y="118"/>
                  </a:lnTo>
                  <a:lnTo>
                    <a:pt x="94" y="120"/>
                  </a:lnTo>
                  <a:lnTo>
                    <a:pt x="96" y="120"/>
                  </a:lnTo>
                  <a:lnTo>
                    <a:pt x="96" y="114"/>
                  </a:lnTo>
                  <a:lnTo>
                    <a:pt x="98" y="108"/>
                  </a:lnTo>
                  <a:lnTo>
                    <a:pt x="104" y="102"/>
                  </a:lnTo>
                  <a:lnTo>
                    <a:pt x="110" y="98"/>
                  </a:lnTo>
                  <a:lnTo>
                    <a:pt x="114" y="96"/>
                  </a:lnTo>
                  <a:lnTo>
                    <a:pt x="118" y="90"/>
                  </a:lnTo>
                  <a:lnTo>
                    <a:pt x="116" y="84"/>
                  </a:lnTo>
                  <a:lnTo>
                    <a:pt x="118" y="78"/>
                  </a:lnTo>
                  <a:lnTo>
                    <a:pt x="120" y="74"/>
                  </a:lnTo>
                  <a:lnTo>
                    <a:pt x="120" y="68"/>
                  </a:lnTo>
                  <a:lnTo>
                    <a:pt x="116" y="66"/>
                  </a:lnTo>
                  <a:lnTo>
                    <a:pt x="122" y="60"/>
                  </a:lnTo>
                  <a:lnTo>
                    <a:pt x="122" y="56"/>
                  </a:lnTo>
                  <a:lnTo>
                    <a:pt x="124" y="50"/>
                  </a:lnTo>
                  <a:lnTo>
                    <a:pt x="130" y="44"/>
                  </a:lnTo>
                  <a:lnTo>
                    <a:pt x="130" y="38"/>
                  </a:lnTo>
                  <a:lnTo>
                    <a:pt x="130" y="34"/>
                  </a:lnTo>
                  <a:lnTo>
                    <a:pt x="136" y="36"/>
                  </a:lnTo>
                  <a:lnTo>
                    <a:pt x="140" y="30"/>
                  </a:lnTo>
                  <a:lnTo>
                    <a:pt x="138" y="26"/>
                  </a:lnTo>
                  <a:lnTo>
                    <a:pt x="136" y="20"/>
                  </a:lnTo>
                  <a:lnTo>
                    <a:pt x="134" y="14"/>
                  </a:lnTo>
                  <a:lnTo>
                    <a:pt x="132" y="8"/>
                  </a:lnTo>
                  <a:lnTo>
                    <a:pt x="130" y="8"/>
                  </a:lnTo>
                  <a:lnTo>
                    <a:pt x="124" y="8"/>
                  </a:lnTo>
                  <a:lnTo>
                    <a:pt x="122" y="6"/>
                  </a:lnTo>
                  <a:lnTo>
                    <a:pt x="116" y="0"/>
                  </a:lnTo>
                  <a:lnTo>
                    <a:pt x="110" y="0"/>
                  </a:lnTo>
                  <a:lnTo>
                    <a:pt x="110" y="6"/>
                  </a:lnTo>
                  <a:lnTo>
                    <a:pt x="112" y="8"/>
                  </a:lnTo>
                  <a:lnTo>
                    <a:pt x="114" y="12"/>
                  </a:lnTo>
                  <a:lnTo>
                    <a:pt x="108" y="8"/>
                  </a:lnTo>
                  <a:lnTo>
                    <a:pt x="104" y="6"/>
                  </a:lnTo>
                  <a:lnTo>
                    <a:pt x="98" y="8"/>
                  </a:lnTo>
                  <a:lnTo>
                    <a:pt x="100" y="8"/>
                  </a:lnTo>
                  <a:lnTo>
                    <a:pt x="102" y="14"/>
                  </a:lnTo>
                  <a:lnTo>
                    <a:pt x="100" y="10"/>
                  </a:lnTo>
                  <a:lnTo>
                    <a:pt x="98" y="8"/>
                  </a:lnTo>
                  <a:lnTo>
                    <a:pt x="98" y="6"/>
                  </a:lnTo>
                  <a:lnTo>
                    <a:pt x="92" y="6"/>
                  </a:lnTo>
                  <a:lnTo>
                    <a:pt x="90" y="4"/>
                  </a:lnTo>
                  <a:lnTo>
                    <a:pt x="82" y="8"/>
                  </a:lnTo>
                  <a:lnTo>
                    <a:pt x="84" y="8"/>
                  </a:lnTo>
                  <a:lnTo>
                    <a:pt x="82" y="10"/>
                  </a:lnTo>
                  <a:lnTo>
                    <a:pt x="76" y="12"/>
                  </a:lnTo>
                  <a:lnTo>
                    <a:pt x="76" y="14"/>
                  </a:lnTo>
                  <a:lnTo>
                    <a:pt x="72" y="8"/>
                  </a:lnTo>
                  <a:lnTo>
                    <a:pt x="66" y="8"/>
                  </a:lnTo>
                  <a:lnTo>
                    <a:pt x="60" y="8"/>
                  </a:lnTo>
                  <a:lnTo>
                    <a:pt x="56" y="8"/>
                  </a:lnTo>
                  <a:lnTo>
                    <a:pt x="54" y="8"/>
                  </a:lnTo>
                  <a:lnTo>
                    <a:pt x="48" y="12"/>
                  </a:lnTo>
                  <a:lnTo>
                    <a:pt x="52" y="18"/>
                  </a:lnTo>
                  <a:lnTo>
                    <a:pt x="46" y="18"/>
                  </a:lnTo>
                  <a:lnTo>
                    <a:pt x="40" y="16"/>
                  </a:lnTo>
                  <a:lnTo>
                    <a:pt x="34" y="14"/>
                  </a:lnTo>
                  <a:lnTo>
                    <a:pt x="30" y="18"/>
                  </a:lnTo>
                  <a:lnTo>
                    <a:pt x="30" y="24"/>
                  </a:lnTo>
                  <a:lnTo>
                    <a:pt x="36" y="28"/>
                  </a:lnTo>
                  <a:lnTo>
                    <a:pt x="30" y="30"/>
                  </a:lnTo>
                  <a:lnTo>
                    <a:pt x="26" y="34"/>
                  </a:lnTo>
                  <a:lnTo>
                    <a:pt x="20" y="38"/>
                  </a:lnTo>
                  <a:lnTo>
                    <a:pt x="14" y="44"/>
                  </a:lnTo>
                  <a:lnTo>
                    <a:pt x="8" y="50"/>
                  </a:lnTo>
                  <a:lnTo>
                    <a:pt x="2"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3" name="Freeform 120"/>
            <p:cNvSpPr>
              <a:spLocks/>
            </p:cNvSpPr>
            <p:nvPr/>
          </p:nvSpPr>
          <p:spPr bwMode="auto">
            <a:xfrm>
              <a:off x="7154863" y="3525838"/>
              <a:ext cx="36512" cy="95250"/>
            </a:xfrm>
            <a:custGeom>
              <a:avLst/>
              <a:gdLst>
                <a:gd name="T0" fmla="*/ 2147483647 w 90"/>
                <a:gd name="T1" fmla="*/ 2147483647 h 230"/>
                <a:gd name="T2" fmla="*/ 2147483647 w 90"/>
                <a:gd name="T3" fmla="*/ 2147483647 h 230"/>
                <a:gd name="T4" fmla="*/ 2147483647 w 90"/>
                <a:gd name="T5" fmla="*/ 2147483647 h 230"/>
                <a:gd name="T6" fmla="*/ 2147483647 w 90"/>
                <a:gd name="T7" fmla="*/ 2147483647 h 230"/>
                <a:gd name="T8" fmla="*/ 2147483647 w 90"/>
                <a:gd name="T9" fmla="*/ 2147483647 h 230"/>
                <a:gd name="T10" fmla="*/ 2147483647 w 90"/>
                <a:gd name="T11" fmla="*/ 2147483647 h 230"/>
                <a:gd name="T12" fmla="*/ 2147483647 w 90"/>
                <a:gd name="T13" fmla="*/ 2147483647 h 230"/>
                <a:gd name="T14" fmla="*/ 2147483647 w 90"/>
                <a:gd name="T15" fmla="*/ 2147483647 h 230"/>
                <a:gd name="T16" fmla="*/ 2147483647 w 90"/>
                <a:gd name="T17" fmla="*/ 2147483647 h 230"/>
                <a:gd name="T18" fmla="*/ 2147483647 w 90"/>
                <a:gd name="T19" fmla="*/ 2147483647 h 230"/>
                <a:gd name="T20" fmla="*/ 2147483647 w 90"/>
                <a:gd name="T21" fmla="*/ 2147483647 h 230"/>
                <a:gd name="T22" fmla="*/ 2147483647 w 90"/>
                <a:gd name="T23" fmla="*/ 2147483647 h 230"/>
                <a:gd name="T24" fmla="*/ 2147483647 w 90"/>
                <a:gd name="T25" fmla="*/ 2147483647 h 230"/>
                <a:gd name="T26" fmla="*/ 2147483647 w 90"/>
                <a:gd name="T27" fmla="*/ 2147483647 h 230"/>
                <a:gd name="T28" fmla="*/ 2147483647 w 90"/>
                <a:gd name="T29" fmla="*/ 2147483647 h 230"/>
                <a:gd name="T30" fmla="*/ 2147483647 w 90"/>
                <a:gd name="T31" fmla="*/ 2147483647 h 230"/>
                <a:gd name="T32" fmla="*/ 2147483647 w 90"/>
                <a:gd name="T33" fmla="*/ 2147483647 h 230"/>
                <a:gd name="T34" fmla="*/ 2147483647 w 90"/>
                <a:gd name="T35" fmla="*/ 2147483647 h 230"/>
                <a:gd name="T36" fmla="*/ 2147483647 w 90"/>
                <a:gd name="T37" fmla="*/ 2147483647 h 230"/>
                <a:gd name="T38" fmla="*/ 2147483647 w 90"/>
                <a:gd name="T39" fmla="*/ 2147483647 h 230"/>
                <a:gd name="T40" fmla="*/ 2147483647 w 90"/>
                <a:gd name="T41" fmla="*/ 2147483647 h 230"/>
                <a:gd name="T42" fmla="*/ 2147483647 w 90"/>
                <a:gd name="T43" fmla="*/ 2147483647 h 230"/>
                <a:gd name="T44" fmla="*/ 2147483647 w 90"/>
                <a:gd name="T45" fmla="*/ 2147483647 h 230"/>
                <a:gd name="T46" fmla="*/ 2147483647 w 90"/>
                <a:gd name="T47" fmla="*/ 2147483647 h 230"/>
                <a:gd name="T48" fmla="*/ 2147483647 w 90"/>
                <a:gd name="T49" fmla="*/ 2147483647 h 230"/>
                <a:gd name="T50" fmla="*/ 2147483647 w 90"/>
                <a:gd name="T51" fmla="*/ 2147483647 h 230"/>
                <a:gd name="T52" fmla="*/ 2147483647 w 90"/>
                <a:gd name="T53" fmla="*/ 2147483647 h 230"/>
                <a:gd name="T54" fmla="*/ 2147483647 w 90"/>
                <a:gd name="T55" fmla="*/ 2147483647 h 230"/>
                <a:gd name="T56" fmla="*/ 2147483647 w 90"/>
                <a:gd name="T57" fmla="*/ 2147483647 h 230"/>
                <a:gd name="T58" fmla="*/ 2147483647 w 90"/>
                <a:gd name="T59" fmla="*/ 2147483647 h 230"/>
                <a:gd name="T60" fmla="*/ 2147483647 w 90"/>
                <a:gd name="T61" fmla="*/ 2147483647 h 230"/>
                <a:gd name="T62" fmla="*/ 2147483647 w 90"/>
                <a:gd name="T63" fmla="*/ 2147483647 h 230"/>
                <a:gd name="T64" fmla="*/ 2147483647 w 90"/>
                <a:gd name="T65" fmla="*/ 2147483647 h 230"/>
                <a:gd name="T66" fmla="*/ 2147483647 w 90"/>
                <a:gd name="T67" fmla="*/ 2147483647 h 230"/>
                <a:gd name="T68" fmla="*/ 2147483647 w 90"/>
                <a:gd name="T69" fmla="*/ 0 h 230"/>
                <a:gd name="T70" fmla="*/ 2147483647 w 90"/>
                <a:gd name="T71" fmla="*/ 2147483647 h 230"/>
                <a:gd name="T72" fmla="*/ 2147483647 w 90"/>
                <a:gd name="T73" fmla="*/ 2147483647 h 230"/>
                <a:gd name="T74" fmla="*/ 2147483647 w 90"/>
                <a:gd name="T75" fmla="*/ 2147483647 h 230"/>
                <a:gd name="T76" fmla="*/ 2147483647 w 90"/>
                <a:gd name="T77" fmla="*/ 2147483647 h 230"/>
                <a:gd name="T78" fmla="*/ 2147483647 w 90"/>
                <a:gd name="T79" fmla="*/ 2147483647 h 230"/>
                <a:gd name="T80" fmla="*/ 2147483647 w 90"/>
                <a:gd name="T81" fmla="*/ 2147483647 h 230"/>
                <a:gd name="T82" fmla="*/ 2147483647 w 90"/>
                <a:gd name="T83" fmla="*/ 2147483647 h 230"/>
                <a:gd name="T84" fmla="*/ 2147483647 w 90"/>
                <a:gd name="T85" fmla="*/ 2147483647 h 230"/>
                <a:gd name="T86" fmla="*/ 2147483647 w 90"/>
                <a:gd name="T87" fmla="*/ 2147483647 h 230"/>
                <a:gd name="T88" fmla="*/ 2147483647 w 90"/>
                <a:gd name="T89" fmla="*/ 2147483647 h 230"/>
                <a:gd name="T90" fmla="*/ 2147483647 w 90"/>
                <a:gd name="T91" fmla="*/ 2147483647 h 230"/>
                <a:gd name="T92" fmla="*/ 2147483647 w 90"/>
                <a:gd name="T93" fmla="*/ 2147483647 h 230"/>
                <a:gd name="T94" fmla="*/ 0 w 90"/>
                <a:gd name="T95" fmla="*/ 2147483647 h 230"/>
                <a:gd name="T96" fmla="*/ 0 w 90"/>
                <a:gd name="T97" fmla="*/ 2147483647 h 2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0"/>
                <a:gd name="T148" fmla="*/ 0 h 230"/>
                <a:gd name="T149" fmla="*/ 90 w 90"/>
                <a:gd name="T150" fmla="*/ 230 h 2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0" h="230">
                  <a:moveTo>
                    <a:pt x="0" y="122"/>
                  </a:moveTo>
                  <a:lnTo>
                    <a:pt x="2" y="128"/>
                  </a:lnTo>
                  <a:lnTo>
                    <a:pt x="4" y="134"/>
                  </a:lnTo>
                  <a:lnTo>
                    <a:pt x="4" y="136"/>
                  </a:lnTo>
                  <a:lnTo>
                    <a:pt x="2" y="142"/>
                  </a:lnTo>
                  <a:lnTo>
                    <a:pt x="2" y="148"/>
                  </a:lnTo>
                  <a:lnTo>
                    <a:pt x="4" y="152"/>
                  </a:lnTo>
                  <a:lnTo>
                    <a:pt x="10" y="156"/>
                  </a:lnTo>
                  <a:lnTo>
                    <a:pt x="12" y="162"/>
                  </a:lnTo>
                  <a:lnTo>
                    <a:pt x="12" y="164"/>
                  </a:lnTo>
                  <a:lnTo>
                    <a:pt x="14" y="170"/>
                  </a:lnTo>
                  <a:lnTo>
                    <a:pt x="18" y="176"/>
                  </a:lnTo>
                  <a:lnTo>
                    <a:pt x="18" y="178"/>
                  </a:lnTo>
                  <a:lnTo>
                    <a:pt x="20" y="184"/>
                  </a:lnTo>
                  <a:lnTo>
                    <a:pt x="26" y="190"/>
                  </a:lnTo>
                  <a:lnTo>
                    <a:pt x="28" y="192"/>
                  </a:lnTo>
                  <a:lnTo>
                    <a:pt x="32" y="194"/>
                  </a:lnTo>
                  <a:lnTo>
                    <a:pt x="38" y="198"/>
                  </a:lnTo>
                  <a:lnTo>
                    <a:pt x="44" y="204"/>
                  </a:lnTo>
                  <a:lnTo>
                    <a:pt x="48" y="210"/>
                  </a:lnTo>
                  <a:lnTo>
                    <a:pt x="50" y="216"/>
                  </a:lnTo>
                  <a:lnTo>
                    <a:pt x="52" y="222"/>
                  </a:lnTo>
                  <a:lnTo>
                    <a:pt x="54" y="228"/>
                  </a:lnTo>
                  <a:lnTo>
                    <a:pt x="60" y="230"/>
                  </a:lnTo>
                  <a:lnTo>
                    <a:pt x="64" y="224"/>
                  </a:lnTo>
                  <a:lnTo>
                    <a:pt x="64" y="220"/>
                  </a:lnTo>
                  <a:lnTo>
                    <a:pt x="62" y="212"/>
                  </a:lnTo>
                  <a:lnTo>
                    <a:pt x="62" y="206"/>
                  </a:lnTo>
                  <a:lnTo>
                    <a:pt x="62" y="200"/>
                  </a:lnTo>
                  <a:lnTo>
                    <a:pt x="62" y="194"/>
                  </a:lnTo>
                  <a:lnTo>
                    <a:pt x="64" y="188"/>
                  </a:lnTo>
                  <a:lnTo>
                    <a:pt x="66" y="182"/>
                  </a:lnTo>
                  <a:lnTo>
                    <a:pt x="72" y="176"/>
                  </a:lnTo>
                  <a:lnTo>
                    <a:pt x="74" y="174"/>
                  </a:lnTo>
                  <a:lnTo>
                    <a:pt x="74" y="168"/>
                  </a:lnTo>
                  <a:lnTo>
                    <a:pt x="78" y="162"/>
                  </a:lnTo>
                  <a:lnTo>
                    <a:pt x="80" y="156"/>
                  </a:lnTo>
                  <a:lnTo>
                    <a:pt x="82" y="150"/>
                  </a:lnTo>
                  <a:lnTo>
                    <a:pt x="80" y="144"/>
                  </a:lnTo>
                  <a:lnTo>
                    <a:pt x="82" y="138"/>
                  </a:lnTo>
                  <a:lnTo>
                    <a:pt x="84" y="132"/>
                  </a:lnTo>
                  <a:lnTo>
                    <a:pt x="84" y="128"/>
                  </a:lnTo>
                  <a:lnTo>
                    <a:pt x="84" y="122"/>
                  </a:lnTo>
                  <a:lnTo>
                    <a:pt x="84" y="116"/>
                  </a:lnTo>
                  <a:lnTo>
                    <a:pt x="84" y="110"/>
                  </a:lnTo>
                  <a:lnTo>
                    <a:pt x="84" y="104"/>
                  </a:lnTo>
                  <a:lnTo>
                    <a:pt x="84" y="98"/>
                  </a:lnTo>
                  <a:lnTo>
                    <a:pt x="84" y="94"/>
                  </a:lnTo>
                  <a:lnTo>
                    <a:pt x="84" y="88"/>
                  </a:lnTo>
                  <a:lnTo>
                    <a:pt x="82" y="82"/>
                  </a:lnTo>
                  <a:lnTo>
                    <a:pt x="84" y="76"/>
                  </a:lnTo>
                  <a:lnTo>
                    <a:pt x="88" y="70"/>
                  </a:lnTo>
                  <a:lnTo>
                    <a:pt x="88" y="68"/>
                  </a:lnTo>
                  <a:lnTo>
                    <a:pt x="88" y="62"/>
                  </a:lnTo>
                  <a:lnTo>
                    <a:pt x="90" y="56"/>
                  </a:lnTo>
                  <a:lnTo>
                    <a:pt x="90" y="50"/>
                  </a:lnTo>
                  <a:lnTo>
                    <a:pt x="88" y="44"/>
                  </a:lnTo>
                  <a:lnTo>
                    <a:pt x="86" y="40"/>
                  </a:lnTo>
                  <a:lnTo>
                    <a:pt x="84" y="34"/>
                  </a:lnTo>
                  <a:lnTo>
                    <a:pt x="84" y="28"/>
                  </a:lnTo>
                  <a:lnTo>
                    <a:pt x="88" y="22"/>
                  </a:lnTo>
                  <a:lnTo>
                    <a:pt x="90" y="20"/>
                  </a:lnTo>
                  <a:lnTo>
                    <a:pt x="86" y="16"/>
                  </a:lnTo>
                  <a:lnTo>
                    <a:pt x="80" y="12"/>
                  </a:lnTo>
                  <a:lnTo>
                    <a:pt x="80" y="10"/>
                  </a:lnTo>
                  <a:lnTo>
                    <a:pt x="72" y="8"/>
                  </a:lnTo>
                  <a:lnTo>
                    <a:pt x="66" y="2"/>
                  </a:lnTo>
                  <a:lnTo>
                    <a:pt x="60" y="0"/>
                  </a:lnTo>
                  <a:lnTo>
                    <a:pt x="54" y="6"/>
                  </a:lnTo>
                  <a:lnTo>
                    <a:pt x="50" y="12"/>
                  </a:lnTo>
                  <a:lnTo>
                    <a:pt x="48" y="12"/>
                  </a:lnTo>
                  <a:lnTo>
                    <a:pt x="42" y="14"/>
                  </a:lnTo>
                  <a:lnTo>
                    <a:pt x="36" y="16"/>
                  </a:lnTo>
                  <a:lnTo>
                    <a:pt x="34" y="22"/>
                  </a:lnTo>
                  <a:lnTo>
                    <a:pt x="32" y="24"/>
                  </a:lnTo>
                  <a:lnTo>
                    <a:pt x="32" y="28"/>
                  </a:lnTo>
                  <a:lnTo>
                    <a:pt x="30" y="30"/>
                  </a:lnTo>
                  <a:lnTo>
                    <a:pt x="30" y="36"/>
                  </a:lnTo>
                  <a:lnTo>
                    <a:pt x="30" y="38"/>
                  </a:lnTo>
                  <a:lnTo>
                    <a:pt x="28" y="42"/>
                  </a:lnTo>
                  <a:lnTo>
                    <a:pt x="22" y="46"/>
                  </a:lnTo>
                  <a:lnTo>
                    <a:pt x="20" y="52"/>
                  </a:lnTo>
                  <a:lnTo>
                    <a:pt x="18" y="58"/>
                  </a:lnTo>
                  <a:lnTo>
                    <a:pt x="16" y="64"/>
                  </a:lnTo>
                  <a:lnTo>
                    <a:pt x="16" y="66"/>
                  </a:lnTo>
                  <a:lnTo>
                    <a:pt x="14" y="72"/>
                  </a:lnTo>
                  <a:lnTo>
                    <a:pt x="14" y="74"/>
                  </a:lnTo>
                  <a:lnTo>
                    <a:pt x="10" y="80"/>
                  </a:lnTo>
                  <a:lnTo>
                    <a:pt x="8" y="86"/>
                  </a:lnTo>
                  <a:lnTo>
                    <a:pt x="6" y="92"/>
                  </a:lnTo>
                  <a:lnTo>
                    <a:pt x="4" y="98"/>
                  </a:lnTo>
                  <a:lnTo>
                    <a:pt x="4" y="100"/>
                  </a:lnTo>
                  <a:lnTo>
                    <a:pt x="2" y="106"/>
                  </a:lnTo>
                  <a:lnTo>
                    <a:pt x="0" y="112"/>
                  </a:lnTo>
                  <a:lnTo>
                    <a:pt x="0" y="118"/>
                  </a:lnTo>
                  <a:lnTo>
                    <a:pt x="0" y="1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4" name="Freeform 121"/>
            <p:cNvSpPr>
              <a:spLocks/>
            </p:cNvSpPr>
            <p:nvPr/>
          </p:nvSpPr>
          <p:spPr bwMode="auto">
            <a:xfrm>
              <a:off x="6367463" y="3487738"/>
              <a:ext cx="128587" cy="166687"/>
            </a:xfrm>
            <a:custGeom>
              <a:avLst/>
              <a:gdLst>
                <a:gd name="T0" fmla="*/ 2147483647 w 318"/>
                <a:gd name="T1" fmla="*/ 2147483647 h 402"/>
                <a:gd name="T2" fmla="*/ 2147483647 w 318"/>
                <a:gd name="T3" fmla="*/ 2147483647 h 402"/>
                <a:gd name="T4" fmla="*/ 2147483647 w 318"/>
                <a:gd name="T5" fmla="*/ 2147483647 h 402"/>
                <a:gd name="T6" fmla="*/ 2147483647 w 318"/>
                <a:gd name="T7" fmla="*/ 2147483647 h 402"/>
                <a:gd name="T8" fmla="*/ 2147483647 w 318"/>
                <a:gd name="T9" fmla="*/ 2147483647 h 402"/>
                <a:gd name="T10" fmla="*/ 2147483647 w 318"/>
                <a:gd name="T11" fmla="*/ 2147483647 h 402"/>
                <a:gd name="T12" fmla="*/ 2147483647 w 318"/>
                <a:gd name="T13" fmla="*/ 2147483647 h 402"/>
                <a:gd name="T14" fmla="*/ 2147483647 w 318"/>
                <a:gd name="T15" fmla="*/ 2147483647 h 402"/>
                <a:gd name="T16" fmla="*/ 2147483647 w 318"/>
                <a:gd name="T17" fmla="*/ 2147483647 h 402"/>
                <a:gd name="T18" fmla="*/ 2147483647 w 318"/>
                <a:gd name="T19" fmla="*/ 2147483647 h 402"/>
                <a:gd name="T20" fmla="*/ 2147483647 w 318"/>
                <a:gd name="T21" fmla="*/ 2147483647 h 402"/>
                <a:gd name="T22" fmla="*/ 2147483647 w 318"/>
                <a:gd name="T23" fmla="*/ 2147483647 h 402"/>
                <a:gd name="T24" fmla="*/ 2147483647 w 318"/>
                <a:gd name="T25" fmla="*/ 2147483647 h 402"/>
                <a:gd name="T26" fmla="*/ 2147483647 w 318"/>
                <a:gd name="T27" fmla="*/ 2147483647 h 402"/>
                <a:gd name="T28" fmla="*/ 2147483647 w 318"/>
                <a:gd name="T29" fmla="*/ 2147483647 h 402"/>
                <a:gd name="T30" fmla="*/ 2147483647 w 318"/>
                <a:gd name="T31" fmla="*/ 2147483647 h 402"/>
                <a:gd name="T32" fmla="*/ 2147483647 w 318"/>
                <a:gd name="T33" fmla="*/ 2147483647 h 402"/>
                <a:gd name="T34" fmla="*/ 2147483647 w 318"/>
                <a:gd name="T35" fmla="*/ 2147483647 h 402"/>
                <a:gd name="T36" fmla="*/ 2147483647 w 318"/>
                <a:gd name="T37" fmla="*/ 2147483647 h 402"/>
                <a:gd name="T38" fmla="*/ 2147483647 w 318"/>
                <a:gd name="T39" fmla="*/ 2147483647 h 402"/>
                <a:gd name="T40" fmla="*/ 2147483647 w 318"/>
                <a:gd name="T41" fmla="*/ 2147483647 h 402"/>
                <a:gd name="T42" fmla="*/ 2147483647 w 318"/>
                <a:gd name="T43" fmla="*/ 2147483647 h 402"/>
                <a:gd name="T44" fmla="*/ 2147483647 w 318"/>
                <a:gd name="T45" fmla="*/ 2147483647 h 402"/>
                <a:gd name="T46" fmla="*/ 2147483647 w 318"/>
                <a:gd name="T47" fmla="*/ 2147483647 h 402"/>
                <a:gd name="T48" fmla="*/ 2147483647 w 318"/>
                <a:gd name="T49" fmla="*/ 2147483647 h 402"/>
                <a:gd name="T50" fmla="*/ 2147483647 w 318"/>
                <a:gd name="T51" fmla="*/ 2147483647 h 402"/>
                <a:gd name="T52" fmla="*/ 2147483647 w 318"/>
                <a:gd name="T53" fmla="*/ 2147483647 h 402"/>
                <a:gd name="T54" fmla="*/ 2147483647 w 318"/>
                <a:gd name="T55" fmla="*/ 2147483647 h 402"/>
                <a:gd name="T56" fmla="*/ 2147483647 w 318"/>
                <a:gd name="T57" fmla="*/ 2147483647 h 402"/>
                <a:gd name="T58" fmla="*/ 2147483647 w 318"/>
                <a:gd name="T59" fmla="*/ 2147483647 h 402"/>
                <a:gd name="T60" fmla="*/ 2147483647 w 318"/>
                <a:gd name="T61" fmla="*/ 2147483647 h 402"/>
                <a:gd name="T62" fmla="*/ 2147483647 w 318"/>
                <a:gd name="T63" fmla="*/ 2147483647 h 402"/>
                <a:gd name="T64" fmla="*/ 2147483647 w 318"/>
                <a:gd name="T65" fmla="*/ 2147483647 h 402"/>
                <a:gd name="T66" fmla="*/ 2147483647 w 318"/>
                <a:gd name="T67" fmla="*/ 2147483647 h 402"/>
                <a:gd name="T68" fmla="*/ 2147483647 w 318"/>
                <a:gd name="T69" fmla="*/ 2147483647 h 402"/>
                <a:gd name="T70" fmla="*/ 2147483647 w 318"/>
                <a:gd name="T71" fmla="*/ 2147483647 h 402"/>
                <a:gd name="T72" fmla="*/ 2147483647 w 318"/>
                <a:gd name="T73" fmla="*/ 2147483647 h 402"/>
                <a:gd name="T74" fmla="*/ 2147483647 w 318"/>
                <a:gd name="T75" fmla="*/ 2147483647 h 402"/>
                <a:gd name="T76" fmla="*/ 2147483647 w 318"/>
                <a:gd name="T77" fmla="*/ 2147483647 h 402"/>
                <a:gd name="T78" fmla="*/ 2147483647 w 318"/>
                <a:gd name="T79" fmla="*/ 2147483647 h 402"/>
                <a:gd name="T80" fmla="*/ 2147483647 w 318"/>
                <a:gd name="T81" fmla="*/ 2147483647 h 402"/>
                <a:gd name="T82" fmla="*/ 2147483647 w 318"/>
                <a:gd name="T83" fmla="*/ 2147483647 h 402"/>
                <a:gd name="T84" fmla="*/ 2147483647 w 318"/>
                <a:gd name="T85" fmla="*/ 2147483647 h 402"/>
                <a:gd name="T86" fmla="*/ 2147483647 w 318"/>
                <a:gd name="T87" fmla="*/ 2147483647 h 402"/>
                <a:gd name="T88" fmla="*/ 2147483647 w 318"/>
                <a:gd name="T89" fmla="*/ 2147483647 h 402"/>
                <a:gd name="T90" fmla="*/ 2147483647 w 318"/>
                <a:gd name="T91" fmla="*/ 2147483647 h 402"/>
                <a:gd name="T92" fmla="*/ 2147483647 w 318"/>
                <a:gd name="T93" fmla="*/ 2147483647 h 402"/>
                <a:gd name="T94" fmla="*/ 2147483647 w 318"/>
                <a:gd name="T95" fmla="*/ 2147483647 h 402"/>
                <a:gd name="T96" fmla="*/ 2147483647 w 318"/>
                <a:gd name="T97" fmla="*/ 2147483647 h 402"/>
                <a:gd name="T98" fmla="*/ 2147483647 w 318"/>
                <a:gd name="T99" fmla="*/ 2147483647 h 402"/>
                <a:gd name="T100" fmla="*/ 2147483647 w 318"/>
                <a:gd name="T101" fmla="*/ 2147483647 h 402"/>
                <a:gd name="T102" fmla="*/ 2147483647 w 318"/>
                <a:gd name="T103" fmla="*/ 2147483647 h 402"/>
                <a:gd name="T104" fmla="*/ 2147483647 w 318"/>
                <a:gd name="T105" fmla="*/ 2147483647 h 402"/>
                <a:gd name="T106" fmla="*/ 2147483647 w 318"/>
                <a:gd name="T107" fmla="*/ 2147483647 h 402"/>
                <a:gd name="T108" fmla="*/ 2147483647 w 318"/>
                <a:gd name="T109" fmla="*/ 2147483647 h 402"/>
                <a:gd name="T110" fmla="*/ 2147483647 w 318"/>
                <a:gd name="T111" fmla="*/ 2147483647 h 402"/>
                <a:gd name="T112" fmla="*/ 2147483647 w 318"/>
                <a:gd name="T113" fmla="*/ 2147483647 h 402"/>
                <a:gd name="T114" fmla="*/ 2147483647 w 318"/>
                <a:gd name="T115" fmla="*/ 2147483647 h 402"/>
                <a:gd name="T116" fmla="*/ 2147483647 w 318"/>
                <a:gd name="T117" fmla="*/ 2147483647 h 402"/>
                <a:gd name="T118" fmla="*/ 2147483647 w 318"/>
                <a:gd name="T119" fmla="*/ 2147483647 h 4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18"/>
                <a:gd name="T181" fmla="*/ 0 h 402"/>
                <a:gd name="T182" fmla="*/ 318 w 318"/>
                <a:gd name="T183" fmla="*/ 402 h 4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18" h="402">
                  <a:moveTo>
                    <a:pt x="8" y="8"/>
                  </a:moveTo>
                  <a:lnTo>
                    <a:pt x="10" y="2"/>
                  </a:lnTo>
                  <a:lnTo>
                    <a:pt x="10" y="0"/>
                  </a:lnTo>
                  <a:lnTo>
                    <a:pt x="16" y="4"/>
                  </a:lnTo>
                  <a:lnTo>
                    <a:pt x="16" y="6"/>
                  </a:lnTo>
                  <a:lnTo>
                    <a:pt x="18" y="6"/>
                  </a:lnTo>
                  <a:lnTo>
                    <a:pt x="24" y="10"/>
                  </a:lnTo>
                  <a:lnTo>
                    <a:pt x="30" y="16"/>
                  </a:lnTo>
                  <a:lnTo>
                    <a:pt x="32" y="20"/>
                  </a:lnTo>
                  <a:lnTo>
                    <a:pt x="36" y="22"/>
                  </a:lnTo>
                  <a:lnTo>
                    <a:pt x="38" y="22"/>
                  </a:lnTo>
                  <a:lnTo>
                    <a:pt x="44" y="22"/>
                  </a:lnTo>
                  <a:lnTo>
                    <a:pt x="46" y="22"/>
                  </a:lnTo>
                  <a:lnTo>
                    <a:pt x="48" y="26"/>
                  </a:lnTo>
                  <a:lnTo>
                    <a:pt x="52" y="26"/>
                  </a:lnTo>
                  <a:lnTo>
                    <a:pt x="50" y="20"/>
                  </a:lnTo>
                  <a:lnTo>
                    <a:pt x="44" y="14"/>
                  </a:lnTo>
                  <a:lnTo>
                    <a:pt x="50" y="14"/>
                  </a:lnTo>
                  <a:lnTo>
                    <a:pt x="56" y="18"/>
                  </a:lnTo>
                  <a:lnTo>
                    <a:pt x="56" y="24"/>
                  </a:lnTo>
                  <a:lnTo>
                    <a:pt x="60" y="30"/>
                  </a:lnTo>
                  <a:lnTo>
                    <a:pt x="66" y="34"/>
                  </a:lnTo>
                  <a:lnTo>
                    <a:pt x="70" y="40"/>
                  </a:lnTo>
                  <a:lnTo>
                    <a:pt x="78" y="40"/>
                  </a:lnTo>
                  <a:lnTo>
                    <a:pt x="80" y="42"/>
                  </a:lnTo>
                  <a:lnTo>
                    <a:pt x="86" y="44"/>
                  </a:lnTo>
                  <a:lnTo>
                    <a:pt x="88" y="38"/>
                  </a:lnTo>
                  <a:lnTo>
                    <a:pt x="90" y="36"/>
                  </a:lnTo>
                  <a:lnTo>
                    <a:pt x="88" y="30"/>
                  </a:lnTo>
                  <a:lnTo>
                    <a:pt x="92" y="32"/>
                  </a:lnTo>
                  <a:lnTo>
                    <a:pt x="96" y="34"/>
                  </a:lnTo>
                  <a:lnTo>
                    <a:pt x="100" y="40"/>
                  </a:lnTo>
                  <a:lnTo>
                    <a:pt x="102" y="42"/>
                  </a:lnTo>
                  <a:lnTo>
                    <a:pt x="102" y="46"/>
                  </a:lnTo>
                  <a:lnTo>
                    <a:pt x="104" y="46"/>
                  </a:lnTo>
                  <a:lnTo>
                    <a:pt x="104" y="48"/>
                  </a:lnTo>
                  <a:lnTo>
                    <a:pt x="104" y="54"/>
                  </a:lnTo>
                  <a:lnTo>
                    <a:pt x="104" y="56"/>
                  </a:lnTo>
                  <a:lnTo>
                    <a:pt x="104" y="58"/>
                  </a:lnTo>
                  <a:lnTo>
                    <a:pt x="104" y="60"/>
                  </a:lnTo>
                  <a:lnTo>
                    <a:pt x="106" y="62"/>
                  </a:lnTo>
                  <a:lnTo>
                    <a:pt x="106" y="64"/>
                  </a:lnTo>
                  <a:lnTo>
                    <a:pt x="108" y="70"/>
                  </a:lnTo>
                  <a:lnTo>
                    <a:pt x="108" y="72"/>
                  </a:lnTo>
                  <a:lnTo>
                    <a:pt x="108" y="74"/>
                  </a:lnTo>
                  <a:lnTo>
                    <a:pt x="108" y="78"/>
                  </a:lnTo>
                  <a:lnTo>
                    <a:pt x="108" y="80"/>
                  </a:lnTo>
                  <a:lnTo>
                    <a:pt x="108" y="82"/>
                  </a:lnTo>
                  <a:lnTo>
                    <a:pt x="108" y="86"/>
                  </a:lnTo>
                  <a:lnTo>
                    <a:pt x="112" y="92"/>
                  </a:lnTo>
                  <a:lnTo>
                    <a:pt x="116" y="90"/>
                  </a:lnTo>
                  <a:lnTo>
                    <a:pt x="120" y="92"/>
                  </a:lnTo>
                  <a:lnTo>
                    <a:pt x="122" y="92"/>
                  </a:lnTo>
                  <a:lnTo>
                    <a:pt x="128" y="96"/>
                  </a:lnTo>
                  <a:lnTo>
                    <a:pt x="134" y="96"/>
                  </a:lnTo>
                  <a:lnTo>
                    <a:pt x="136" y="98"/>
                  </a:lnTo>
                  <a:lnTo>
                    <a:pt x="142" y="100"/>
                  </a:lnTo>
                  <a:lnTo>
                    <a:pt x="148" y="100"/>
                  </a:lnTo>
                  <a:lnTo>
                    <a:pt x="154" y="100"/>
                  </a:lnTo>
                  <a:lnTo>
                    <a:pt x="160" y="100"/>
                  </a:lnTo>
                  <a:lnTo>
                    <a:pt x="166" y="100"/>
                  </a:lnTo>
                  <a:lnTo>
                    <a:pt x="172" y="100"/>
                  </a:lnTo>
                  <a:lnTo>
                    <a:pt x="178" y="100"/>
                  </a:lnTo>
                  <a:lnTo>
                    <a:pt x="184" y="98"/>
                  </a:lnTo>
                  <a:lnTo>
                    <a:pt x="190" y="98"/>
                  </a:lnTo>
                  <a:lnTo>
                    <a:pt x="196" y="98"/>
                  </a:lnTo>
                  <a:lnTo>
                    <a:pt x="200" y="98"/>
                  </a:lnTo>
                  <a:lnTo>
                    <a:pt x="206" y="100"/>
                  </a:lnTo>
                  <a:lnTo>
                    <a:pt x="212" y="102"/>
                  </a:lnTo>
                  <a:lnTo>
                    <a:pt x="218" y="102"/>
                  </a:lnTo>
                  <a:lnTo>
                    <a:pt x="222" y="102"/>
                  </a:lnTo>
                  <a:lnTo>
                    <a:pt x="224" y="100"/>
                  </a:lnTo>
                  <a:lnTo>
                    <a:pt x="230" y="100"/>
                  </a:lnTo>
                  <a:lnTo>
                    <a:pt x="236" y="100"/>
                  </a:lnTo>
                  <a:lnTo>
                    <a:pt x="242" y="98"/>
                  </a:lnTo>
                  <a:lnTo>
                    <a:pt x="244" y="98"/>
                  </a:lnTo>
                  <a:lnTo>
                    <a:pt x="248" y="100"/>
                  </a:lnTo>
                  <a:lnTo>
                    <a:pt x="254" y="104"/>
                  </a:lnTo>
                  <a:lnTo>
                    <a:pt x="260" y="106"/>
                  </a:lnTo>
                  <a:lnTo>
                    <a:pt x="266" y="110"/>
                  </a:lnTo>
                  <a:lnTo>
                    <a:pt x="268" y="112"/>
                  </a:lnTo>
                  <a:lnTo>
                    <a:pt x="274" y="118"/>
                  </a:lnTo>
                  <a:lnTo>
                    <a:pt x="272" y="120"/>
                  </a:lnTo>
                  <a:lnTo>
                    <a:pt x="266" y="122"/>
                  </a:lnTo>
                  <a:lnTo>
                    <a:pt x="264" y="120"/>
                  </a:lnTo>
                  <a:lnTo>
                    <a:pt x="258" y="120"/>
                  </a:lnTo>
                  <a:lnTo>
                    <a:pt x="260" y="124"/>
                  </a:lnTo>
                  <a:lnTo>
                    <a:pt x="260" y="126"/>
                  </a:lnTo>
                  <a:lnTo>
                    <a:pt x="260" y="132"/>
                  </a:lnTo>
                  <a:lnTo>
                    <a:pt x="258" y="138"/>
                  </a:lnTo>
                  <a:lnTo>
                    <a:pt x="256" y="144"/>
                  </a:lnTo>
                  <a:lnTo>
                    <a:pt x="256" y="148"/>
                  </a:lnTo>
                  <a:lnTo>
                    <a:pt x="252" y="154"/>
                  </a:lnTo>
                  <a:lnTo>
                    <a:pt x="246" y="156"/>
                  </a:lnTo>
                  <a:lnTo>
                    <a:pt x="246" y="162"/>
                  </a:lnTo>
                  <a:lnTo>
                    <a:pt x="244" y="168"/>
                  </a:lnTo>
                  <a:lnTo>
                    <a:pt x="240" y="166"/>
                  </a:lnTo>
                  <a:lnTo>
                    <a:pt x="232" y="170"/>
                  </a:lnTo>
                  <a:lnTo>
                    <a:pt x="230" y="166"/>
                  </a:lnTo>
                  <a:lnTo>
                    <a:pt x="230" y="172"/>
                  </a:lnTo>
                  <a:lnTo>
                    <a:pt x="226" y="174"/>
                  </a:lnTo>
                  <a:lnTo>
                    <a:pt x="220" y="174"/>
                  </a:lnTo>
                  <a:lnTo>
                    <a:pt x="214" y="174"/>
                  </a:lnTo>
                  <a:lnTo>
                    <a:pt x="214" y="180"/>
                  </a:lnTo>
                  <a:lnTo>
                    <a:pt x="212" y="180"/>
                  </a:lnTo>
                  <a:lnTo>
                    <a:pt x="208" y="186"/>
                  </a:lnTo>
                  <a:lnTo>
                    <a:pt x="210" y="192"/>
                  </a:lnTo>
                  <a:lnTo>
                    <a:pt x="208" y="198"/>
                  </a:lnTo>
                  <a:lnTo>
                    <a:pt x="208" y="204"/>
                  </a:lnTo>
                  <a:lnTo>
                    <a:pt x="206" y="204"/>
                  </a:lnTo>
                  <a:lnTo>
                    <a:pt x="208" y="210"/>
                  </a:lnTo>
                  <a:lnTo>
                    <a:pt x="212" y="216"/>
                  </a:lnTo>
                  <a:lnTo>
                    <a:pt x="214" y="218"/>
                  </a:lnTo>
                  <a:lnTo>
                    <a:pt x="216" y="224"/>
                  </a:lnTo>
                  <a:lnTo>
                    <a:pt x="218" y="230"/>
                  </a:lnTo>
                  <a:lnTo>
                    <a:pt x="220" y="236"/>
                  </a:lnTo>
                  <a:lnTo>
                    <a:pt x="222" y="242"/>
                  </a:lnTo>
                  <a:lnTo>
                    <a:pt x="222" y="244"/>
                  </a:lnTo>
                  <a:lnTo>
                    <a:pt x="224" y="238"/>
                  </a:lnTo>
                  <a:lnTo>
                    <a:pt x="222" y="232"/>
                  </a:lnTo>
                  <a:lnTo>
                    <a:pt x="230" y="236"/>
                  </a:lnTo>
                  <a:lnTo>
                    <a:pt x="230" y="238"/>
                  </a:lnTo>
                  <a:lnTo>
                    <a:pt x="232" y="244"/>
                  </a:lnTo>
                  <a:lnTo>
                    <a:pt x="234" y="250"/>
                  </a:lnTo>
                  <a:lnTo>
                    <a:pt x="236" y="252"/>
                  </a:lnTo>
                  <a:lnTo>
                    <a:pt x="242" y="252"/>
                  </a:lnTo>
                  <a:lnTo>
                    <a:pt x="244" y="250"/>
                  </a:lnTo>
                  <a:lnTo>
                    <a:pt x="250" y="244"/>
                  </a:lnTo>
                  <a:lnTo>
                    <a:pt x="248" y="238"/>
                  </a:lnTo>
                  <a:lnTo>
                    <a:pt x="246" y="232"/>
                  </a:lnTo>
                  <a:lnTo>
                    <a:pt x="246" y="226"/>
                  </a:lnTo>
                  <a:lnTo>
                    <a:pt x="248" y="222"/>
                  </a:lnTo>
                  <a:lnTo>
                    <a:pt x="254" y="216"/>
                  </a:lnTo>
                  <a:lnTo>
                    <a:pt x="256" y="214"/>
                  </a:lnTo>
                  <a:lnTo>
                    <a:pt x="254" y="208"/>
                  </a:lnTo>
                  <a:lnTo>
                    <a:pt x="252" y="202"/>
                  </a:lnTo>
                  <a:lnTo>
                    <a:pt x="258" y="206"/>
                  </a:lnTo>
                  <a:lnTo>
                    <a:pt x="260" y="206"/>
                  </a:lnTo>
                  <a:lnTo>
                    <a:pt x="264" y="200"/>
                  </a:lnTo>
                  <a:lnTo>
                    <a:pt x="266" y="198"/>
                  </a:lnTo>
                  <a:lnTo>
                    <a:pt x="272" y="200"/>
                  </a:lnTo>
                  <a:lnTo>
                    <a:pt x="272" y="202"/>
                  </a:lnTo>
                  <a:lnTo>
                    <a:pt x="274" y="208"/>
                  </a:lnTo>
                  <a:lnTo>
                    <a:pt x="276" y="214"/>
                  </a:lnTo>
                  <a:lnTo>
                    <a:pt x="278" y="220"/>
                  </a:lnTo>
                  <a:lnTo>
                    <a:pt x="282" y="226"/>
                  </a:lnTo>
                  <a:lnTo>
                    <a:pt x="282" y="230"/>
                  </a:lnTo>
                  <a:lnTo>
                    <a:pt x="280" y="234"/>
                  </a:lnTo>
                  <a:lnTo>
                    <a:pt x="282" y="240"/>
                  </a:lnTo>
                  <a:lnTo>
                    <a:pt x="284" y="246"/>
                  </a:lnTo>
                  <a:lnTo>
                    <a:pt x="284" y="252"/>
                  </a:lnTo>
                  <a:lnTo>
                    <a:pt x="290" y="258"/>
                  </a:lnTo>
                  <a:lnTo>
                    <a:pt x="290" y="260"/>
                  </a:lnTo>
                  <a:lnTo>
                    <a:pt x="292" y="266"/>
                  </a:lnTo>
                  <a:lnTo>
                    <a:pt x="296" y="272"/>
                  </a:lnTo>
                  <a:lnTo>
                    <a:pt x="298" y="278"/>
                  </a:lnTo>
                  <a:lnTo>
                    <a:pt x="300" y="284"/>
                  </a:lnTo>
                  <a:lnTo>
                    <a:pt x="300" y="290"/>
                  </a:lnTo>
                  <a:lnTo>
                    <a:pt x="304" y="296"/>
                  </a:lnTo>
                  <a:lnTo>
                    <a:pt x="304" y="302"/>
                  </a:lnTo>
                  <a:lnTo>
                    <a:pt x="306" y="308"/>
                  </a:lnTo>
                  <a:lnTo>
                    <a:pt x="306" y="314"/>
                  </a:lnTo>
                  <a:lnTo>
                    <a:pt x="308" y="320"/>
                  </a:lnTo>
                  <a:lnTo>
                    <a:pt x="310" y="326"/>
                  </a:lnTo>
                  <a:lnTo>
                    <a:pt x="308" y="332"/>
                  </a:lnTo>
                  <a:lnTo>
                    <a:pt x="310" y="338"/>
                  </a:lnTo>
                  <a:lnTo>
                    <a:pt x="310" y="344"/>
                  </a:lnTo>
                  <a:lnTo>
                    <a:pt x="312" y="350"/>
                  </a:lnTo>
                  <a:lnTo>
                    <a:pt x="312" y="356"/>
                  </a:lnTo>
                  <a:lnTo>
                    <a:pt x="316" y="362"/>
                  </a:lnTo>
                  <a:lnTo>
                    <a:pt x="318" y="368"/>
                  </a:lnTo>
                  <a:lnTo>
                    <a:pt x="312" y="368"/>
                  </a:lnTo>
                  <a:lnTo>
                    <a:pt x="308" y="362"/>
                  </a:lnTo>
                  <a:lnTo>
                    <a:pt x="304" y="362"/>
                  </a:lnTo>
                  <a:lnTo>
                    <a:pt x="302" y="360"/>
                  </a:lnTo>
                  <a:lnTo>
                    <a:pt x="296" y="358"/>
                  </a:lnTo>
                  <a:lnTo>
                    <a:pt x="290" y="364"/>
                  </a:lnTo>
                  <a:lnTo>
                    <a:pt x="290" y="370"/>
                  </a:lnTo>
                  <a:lnTo>
                    <a:pt x="290" y="376"/>
                  </a:lnTo>
                  <a:lnTo>
                    <a:pt x="292" y="378"/>
                  </a:lnTo>
                  <a:lnTo>
                    <a:pt x="296" y="384"/>
                  </a:lnTo>
                  <a:lnTo>
                    <a:pt x="296" y="392"/>
                  </a:lnTo>
                  <a:lnTo>
                    <a:pt x="298" y="396"/>
                  </a:lnTo>
                  <a:lnTo>
                    <a:pt x="300" y="402"/>
                  </a:lnTo>
                  <a:lnTo>
                    <a:pt x="296" y="396"/>
                  </a:lnTo>
                  <a:lnTo>
                    <a:pt x="294" y="394"/>
                  </a:lnTo>
                  <a:lnTo>
                    <a:pt x="292" y="388"/>
                  </a:lnTo>
                  <a:lnTo>
                    <a:pt x="286" y="382"/>
                  </a:lnTo>
                  <a:lnTo>
                    <a:pt x="282" y="376"/>
                  </a:lnTo>
                  <a:lnTo>
                    <a:pt x="282" y="370"/>
                  </a:lnTo>
                  <a:lnTo>
                    <a:pt x="278" y="366"/>
                  </a:lnTo>
                  <a:lnTo>
                    <a:pt x="274" y="358"/>
                  </a:lnTo>
                  <a:lnTo>
                    <a:pt x="276" y="354"/>
                  </a:lnTo>
                  <a:lnTo>
                    <a:pt x="276" y="348"/>
                  </a:lnTo>
                  <a:lnTo>
                    <a:pt x="272" y="342"/>
                  </a:lnTo>
                  <a:lnTo>
                    <a:pt x="270" y="336"/>
                  </a:lnTo>
                  <a:lnTo>
                    <a:pt x="268" y="330"/>
                  </a:lnTo>
                  <a:lnTo>
                    <a:pt x="266" y="324"/>
                  </a:lnTo>
                  <a:lnTo>
                    <a:pt x="264" y="320"/>
                  </a:lnTo>
                  <a:lnTo>
                    <a:pt x="262" y="314"/>
                  </a:lnTo>
                  <a:lnTo>
                    <a:pt x="258" y="308"/>
                  </a:lnTo>
                  <a:lnTo>
                    <a:pt x="258" y="302"/>
                  </a:lnTo>
                  <a:lnTo>
                    <a:pt x="258" y="296"/>
                  </a:lnTo>
                  <a:lnTo>
                    <a:pt x="260" y="292"/>
                  </a:lnTo>
                  <a:lnTo>
                    <a:pt x="262" y="290"/>
                  </a:lnTo>
                  <a:lnTo>
                    <a:pt x="260" y="290"/>
                  </a:lnTo>
                  <a:lnTo>
                    <a:pt x="260" y="292"/>
                  </a:lnTo>
                  <a:lnTo>
                    <a:pt x="258" y="296"/>
                  </a:lnTo>
                  <a:lnTo>
                    <a:pt x="256" y="296"/>
                  </a:lnTo>
                  <a:lnTo>
                    <a:pt x="256" y="304"/>
                  </a:lnTo>
                  <a:lnTo>
                    <a:pt x="254" y="296"/>
                  </a:lnTo>
                  <a:lnTo>
                    <a:pt x="252" y="290"/>
                  </a:lnTo>
                  <a:lnTo>
                    <a:pt x="248" y="286"/>
                  </a:lnTo>
                  <a:lnTo>
                    <a:pt x="244" y="280"/>
                  </a:lnTo>
                  <a:lnTo>
                    <a:pt x="240" y="274"/>
                  </a:lnTo>
                  <a:lnTo>
                    <a:pt x="234" y="268"/>
                  </a:lnTo>
                  <a:lnTo>
                    <a:pt x="232" y="262"/>
                  </a:lnTo>
                  <a:lnTo>
                    <a:pt x="232" y="256"/>
                  </a:lnTo>
                  <a:lnTo>
                    <a:pt x="232" y="260"/>
                  </a:lnTo>
                  <a:lnTo>
                    <a:pt x="226" y="266"/>
                  </a:lnTo>
                  <a:lnTo>
                    <a:pt x="224" y="266"/>
                  </a:lnTo>
                  <a:lnTo>
                    <a:pt x="222" y="270"/>
                  </a:lnTo>
                  <a:lnTo>
                    <a:pt x="218" y="272"/>
                  </a:lnTo>
                  <a:lnTo>
                    <a:pt x="218" y="278"/>
                  </a:lnTo>
                  <a:lnTo>
                    <a:pt x="212" y="278"/>
                  </a:lnTo>
                  <a:lnTo>
                    <a:pt x="206" y="272"/>
                  </a:lnTo>
                  <a:lnTo>
                    <a:pt x="206" y="278"/>
                  </a:lnTo>
                  <a:lnTo>
                    <a:pt x="206" y="280"/>
                  </a:lnTo>
                  <a:lnTo>
                    <a:pt x="200" y="276"/>
                  </a:lnTo>
                  <a:lnTo>
                    <a:pt x="194" y="270"/>
                  </a:lnTo>
                  <a:lnTo>
                    <a:pt x="190" y="264"/>
                  </a:lnTo>
                  <a:lnTo>
                    <a:pt x="188" y="258"/>
                  </a:lnTo>
                  <a:lnTo>
                    <a:pt x="184" y="252"/>
                  </a:lnTo>
                  <a:lnTo>
                    <a:pt x="180" y="248"/>
                  </a:lnTo>
                  <a:lnTo>
                    <a:pt x="180" y="244"/>
                  </a:lnTo>
                  <a:lnTo>
                    <a:pt x="180" y="240"/>
                  </a:lnTo>
                  <a:lnTo>
                    <a:pt x="180" y="234"/>
                  </a:lnTo>
                  <a:lnTo>
                    <a:pt x="178" y="228"/>
                  </a:lnTo>
                  <a:lnTo>
                    <a:pt x="174" y="222"/>
                  </a:lnTo>
                  <a:lnTo>
                    <a:pt x="174" y="216"/>
                  </a:lnTo>
                  <a:lnTo>
                    <a:pt x="180" y="216"/>
                  </a:lnTo>
                  <a:lnTo>
                    <a:pt x="180" y="212"/>
                  </a:lnTo>
                  <a:lnTo>
                    <a:pt x="178" y="212"/>
                  </a:lnTo>
                  <a:lnTo>
                    <a:pt x="178" y="214"/>
                  </a:lnTo>
                  <a:lnTo>
                    <a:pt x="180" y="214"/>
                  </a:lnTo>
                  <a:lnTo>
                    <a:pt x="174" y="214"/>
                  </a:lnTo>
                  <a:lnTo>
                    <a:pt x="174" y="210"/>
                  </a:lnTo>
                  <a:lnTo>
                    <a:pt x="174" y="208"/>
                  </a:lnTo>
                  <a:lnTo>
                    <a:pt x="168" y="212"/>
                  </a:lnTo>
                  <a:lnTo>
                    <a:pt x="166" y="210"/>
                  </a:lnTo>
                  <a:lnTo>
                    <a:pt x="168" y="212"/>
                  </a:lnTo>
                  <a:lnTo>
                    <a:pt x="172" y="218"/>
                  </a:lnTo>
                  <a:lnTo>
                    <a:pt x="172" y="222"/>
                  </a:lnTo>
                  <a:lnTo>
                    <a:pt x="164" y="222"/>
                  </a:lnTo>
                  <a:lnTo>
                    <a:pt x="160" y="220"/>
                  </a:lnTo>
                  <a:lnTo>
                    <a:pt x="154" y="218"/>
                  </a:lnTo>
                  <a:lnTo>
                    <a:pt x="152" y="218"/>
                  </a:lnTo>
                  <a:lnTo>
                    <a:pt x="154" y="220"/>
                  </a:lnTo>
                  <a:lnTo>
                    <a:pt x="160" y="222"/>
                  </a:lnTo>
                  <a:lnTo>
                    <a:pt x="166" y="228"/>
                  </a:lnTo>
                  <a:lnTo>
                    <a:pt x="172" y="230"/>
                  </a:lnTo>
                  <a:lnTo>
                    <a:pt x="176" y="232"/>
                  </a:lnTo>
                  <a:lnTo>
                    <a:pt x="176" y="240"/>
                  </a:lnTo>
                  <a:lnTo>
                    <a:pt x="172" y="244"/>
                  </a:lnTo>
                  <a:lnTo>
                    <a:pt x="168" y="246"/>
                  </a:lnTo>
                  <a:lnTo>
                    <a:pt x="170" y="248"/>
                  </a:lnTo>
                  <a:lnTo>
                    <a:pt x="174" y="256"/>
                  </a:lnTo>
                  <a:lnTo>
                    <a:pt x="172" y="260"/>
                  </a:lnTo>
                  <a:lnTo>
                    <a:pt x="168" y="266"/>
                  </a:lnTo>
                  <a:lnTo>
                    <a:pt x="166" y="266"/>
                  </a:lnTo>
                  <a:lnTo>
                    <a:pt x="170" y="268"/>
                  </a:lnTo>
                  <a:lnTo>
                    <a:pt x="172" y="268"/>
                  </a:lnTo>
                  <a:lnTo>
                    <a:pt x="176" y="274"/>
                  </a:lnTo>
                  <a:lnTo>
                    <a:pt x="174" y="278"/>
                  </a:lnTo>
                  <a:lnTo>
                    <a:pt x="174" y="286"/>
                  </a:lnTo>
                  <a:lnTo>
                    <a:pt x="178" y="280"/>
                  </a:lnTo>
                  <a:lnTo>
                    <a:pt x="182" y="286"/>
                  </a:lnTo>
                  <a:lnTo>
                    <a:pt x="184" y="290"/>
                  </a:lnTo>
                  <a:lnTo>
                    <a:pt x="186" y="296"/>
                  </a:lnTo>
                  <a:lnTo>
                    <a:pt x="184" y="304"/>
                  </a:lnTo>
                  <a:lnTo>
                    <a:pt x="180" y="308"/>
                  </a:lnTo>
                  <a:lnTo>
                    <a:pt x="174" y="312"/>
                  </a:lnTo>
                  <a:lnTo>
                    <a:pt x="174" y="306"/>
                  </a:lnTo>
                  <a:lnTo>
                    <a:pt x="172" y="300"/>
                  </a:lnTo>
                  <a:lnTo>
                    <a:pt x="172" y="304"/>
                  </a:lnTo>
                  <a:lnTo>
                    <a:pt x="172" y="310"/>
                  </a:lnTo>
                  <a:lnTo>
                    <a:pt x="172" y="312"/>
                  </a:lnTo>
                  <a:lnTo>
                    <a:pt x="170" y="318"/>
                  </a:lnTo>
                  <a:lnTo>
                    <a:pt x="170" y="320"/>
                  </a:lnTo>
                  <a:lnTo>
                    <a:pt x="170" y="322"/>
                  </a:lnTo>
                  <a:lnTo>
                    <a:pt x="170" y="328"/>
                  </a:lnTo>
                  <a:lnTo>
                    <a:pt x="164" y="332"/>
                  </a:lnTo>
                  <a:lnTo>
                    <a:pt x="158" y="330"/>
                  </a:lnTo>
                  <a:lnTo>
                    <a:pt x="160" y="324"/>
                  </a:lnTo>
                  <a:lnTo>
                    <a:pt x="154" y="328"/>
                  </a:lnTo>
                  <a:lnTo>
                    <a:pt x="154" y="322"/>
                  </a:lnTo>
                  <a:lnTo>
                    <a:pt x="156" y="316"/>
                  </a:lnTo>
                  <a:lnTo>
                    <a:pt x="162" y="312"/>
                  </a:lnTo>
                  <a:lnTo>
                    <a:pt x="164" y="306"/>
                  </a:lnTo>
                  <a:lnTo>
                    <a:pt x="164" y="308"/>
                  </a:lnTo>
                  <a:lnTo>
                    <a:pt x="158" y="314"/>
                  </a:lnTo>
                  <a:lnTo>
                    <a:pt x="152" y="320"/>
                  </a:lnTo>
                  <a:lnTo>
                    <a:pt x="152" y="318"/>
                  </a:lnTo>
                  <a:lnTo>
                    <a:pt x="150" y="316"/>
                  </a:lnTo>
                  <a:lnTo>
                    <a:pt x="152" y="314"/>
                  </a:lnTo>
                  <a:lnTo>
                    <a:pt x="156" y="308"/>
                  </a:lnTo>
                  <a:lnTo>
                    <a:pt x="152" y="310"/>
                  </a:lnTo>
                  <a:lnTo>
                    <a:pt x="150" y="316"/>
                  </a:lnTo>
                  <a:lnTo>
                    <a:pt x="148" y="320"/>
                  </a:lnTo>
                  <a:lnTo>
                    <a:pt x="146" y="314"/>
                  </a:lnTo>
                  <a:lnTo>
                    <a:pt x="144" y="308"/>
                  </a:lnTo>
                  <a:lnTo>
                    <a:pt x="142" y="304"/>
                  </a:lnTo>
                  <a:lnTo>
                    <a:pt x="142" y="298"/>
                  </a:lnTo>
                  <a:lnTo>
                    <a:pt x="144" y="292"/>
                  </a:lnTo>
                  <a:lnTo>
                    <a:pt x="146" y="286"/>
                  </a:lnTo>
                  <a:lnTo>
                    <a:pt x="140" y="290"/>
                  </a:lnTo>
                  <a:lnTo>
                    <a:pt x="140" y="296"/>
                  </a:lnTo>
                  <a:lnTo>
                    <a:pt x="140" y="302"/>
                  </a:lnTo>
                  <a:lnTo>
                    <a:pt x="142" y="308"/>
                  </a:lnTo>
                  <a:lnTo>
                    <a:pt x="140" y="314"/>
                  </a:lnTo>
                  <a:lnTo>
                    <a:pt x="138" y="314"/>
                  </a:lnTo>
                  <a:lnTo>
                    <a:pt x="142" y="316"/>
                  </a:lnTo>
                  <a:lnTo>
                    <a:pt x="142" y="322"/>
                  </a:lnTo>
                  <a:lnTo>
                    <a:pt x="144" y="328"/>
                  </a:lnTo>
                  <a:lnTo>
                    <a:pt x="138" y="330"/>
                  </a:lnTo>
                  <a:lnTo>
                    <a:pt x="132" y="326"/>
                  </a:lnTo>
                  <a:lnTo>
                    <a:pt x="130" y="324"/>
                  </a:lnTo>
                  <a:lnTo>
                    <a:pt x="130" y="330"/>
                  </a:lnTo>
                  <a:lnTo>
                    <a:pt x="130" y="336"/>
                  </a:lnTo>
                  <a:lnTo>
                    <a:pt x="126" y="334"/>
                  </a:lnTo>
                  <a:lnTo>
                    <a:pt x="126" y="328"/>
                  </a:lnTo>
                  <a:lnTo>
                    <a:pt x="126" y="322"/>
                  </a:lnTo>
                  <a:lnTo>
                    <a:pt x="126" y="320"/>
                  </a:lnTo>
                  <a:lnTo>
                    <a:pt x="126" y="314"/>
                  </a:lnTo>
                  <a:lnTo>
                    <a:pt x="126" y="308"/>
                  </a:lnTo>
                  <a:lnTo>
                    <a:pt x="126" y="302"/>
                  </a:lnTo>
                  <a:lnTo>
                    <a:pt x="126" y="296"/>
                  </a:lnTo>
                  <a:lnTo>
                    <a:pt x="124" y="302"/>
                  </a:lnTo>
                  <a:lnTo>
                    <a:pt x="124" y="308"/>
                  </a:lnTo>
                  <a:lnTo>
                    <a:pt x="126" y="312"/>
                  </a:lnTo>
                  <a:lnTo>
                    <a:pt x="124" y="320"/>
                  </a:lnTo>
                  <a:lnTo>
                    <a:pt x="122" y="316"/>
                  </a:lnTo>
                  <a:lnTo>
                    <a:pt x="122" y="312"/>
                  </a:lnTo>
                  <a:lnTo>
                    <a:pt x="118" y="304"/>
                  </a:lnTo>
                  <a:lnTo>
                    <a:pt x="118" y="298"/>
                  </a:lnTo>
                  <a:lnTo>
                    <a:pt x="118" y="302"/>
                  </a:lnTo>
                  <a:lnTo>
                    <a:pt x="118" y="306"/>
                  </a:lnTo>
                  <a:lnTo>
                    <a:pt x="120" y="312"/>
                  </a:lnTo>
                  <a:lnTo>
                    <a:pt x="120" y="316"/>
                  </a:lnTo>
                  <a:lnTo>
                    <a:pt x="122" y="320"/>
                  </a:lnTo>
                  <a:lnTo>
                    <a:pt x="122" y="326"/>
                  </a:lnTo>
                  <a:lnTo>
                    <a:pt x="122" y="332"/>
                  </a:lnTo>
                  <a:lnTo>
                    <a:pt x="118" y="340"/>
                  </a:lnTo>
                  <a:lnTo>
                    <a:pt x="116" y="334"/>
                  </a:lnTo>
                  <a:lnTo>
                    <a:pt x="116" y="328"/>
                  </a:lnTo>
                  <a:lnTo>
                    <a:pt x="112" y="322"/>
                  </a:lnTo>
                  <a:lnTo>
                    <a:pt x="114" y="326"/>
                  </a:lnTo>
                  <a:lnTo>
                    <a:pt x="110" y="332"/>
                  </a:lnTo>
                  <a:lnTo>
                    <a:pt x="112" y="338"/>
                  </a:lnTo>
                  <a:lnTo>
                    <a:pt x="108" y="344"/>
                  </a:lnTo>
                  <a:lnTo>
                    <a:pt x="106" y="338"/>
                  </a:lnTo>
                  <a:lnTo>
                    <a:pt x="104" y="332"/>
                  </a:lnTo>
                  <a:lnTo>
                    <a:pt x="98" y="328"/>
                  </a:lnTo>
                  <a:lnTo>
                    <a:pt x="98" y="322"/>
                  </a:lnTo>
                  <a:lnTo>
                    <a:pt x="96" y="316"/>
                  </a:lnTo>
                  <a:lnTo>
                    <a:pt x="94" y="312"/>
                  </a:lnTo>
                  <a:lnTo>
                    <a:pt x="94" y="306"/>
                  </a:lnTo>
                  <a:lnTo>
                    <a:pt x="92" y="304"/>
                  </a:lnTo>
                  <a:lnTo>
                    <a:pt x="90" y="298"/>
                  </a:lnTo>
                  <a:lnTo>
                    <a:pt x="88" y="292"/>
                  </a:lnTo>
                  <a:lnTo>
                    <a:pt x="88" y="288"/>
                  </a:lnTo>
                  <a:lnTo>
                    <a:pt x="82" y="282"/>
                  </a:lnTo>
                  <a:lnTo>
                    <a:pt x="84" y="276"/>
                  </a:lnTo>
                  <a:lnTo>
                    <a:pt x="82" y="274"/>
                  </a:lnTo>
                  <a:lnTo>
                    <a:pt x="82" y="270"/>
                  </a:lnTo>
                  <a:lnTo>
                    <a:pt x="82" y="264"/>
                  </a:lnTo>
                  <a:lnTo>
                    <a:pt x="78" y="258"/>
                  </a:lnTo>
                  <a:lnTo>
                    <a:pt x="76" y="254"/>
                  </a:lnTo>
                  <a:lnTo>
                    <a:pt x="74" y="248"/>
                  </a:lnTo>
                  <a:lnTo>
                    <a:pt x="74" y="246"/>
                  </a:lnTo>
                  <a:lnTo>
                    <a:pt x="78" y="240"/>
                  </a:lnTo>
                  <a:lnTo>
                    <a:pt x="76" y="234"/>
                  </a:lnTo>
                  <a:lnTo>
                    <a:pt x="70" y="232"/>
                  </a:lnTo>
                  <a:lnTo>
                    <a:pt x="64" y="232"/>
                  </a:lnTo>
                  <a:lnTo>
                    <a:pt x="64" y="226"/>
                  </a:lnTo>
                  <a:lnTo>
                    <a:pt x="66" y="224"/>
                  </a:lnTo>
                  <a:lnTo>
                    <a:pt x="66" y="218"/>
                  </a:lnTo>
                  <a:lnTo>
                    <a:pt x="66" y="216"/>
                  </a:lnTo>
                  <a:lnTo>
                    <a:pt x="66" y="214"/>
                  </a:lnTo>
                  <a:lnTo>
                    <a:pt x="60" y="214"/>
                  </a:lnTo>
                  <a:lnTo>
                    <a:pt x="56" y="208"/>
                  </a:lnTo>
                  <a:lnTo>
                    <a:pt x="50" y="202"/>
                  </a:lnTo>
                  <a:lnTo>
                    <a:pt x="50" y="196"/>
                  </a:lnTo>
                  <a:lnTo>
                    <a:pt x="50" y="190"/>
                  </a:lnTo>
                  <a:lnTo>
                    <a:pt x="54" y="190"/>
                  </a:lnTo>
                  <a:lnTo>
                    <a:pt x="58" y="184"/>
                  </a:lnTo>
                  <a:lnTo>
                    <a:pt x="58" y="182"/>
                  </a:lnTo>
                  <a:lnTo>
                    <a:pt x="58" y="180"/>
                  </a:lnTo>
                  <a:lnTo>
                    <a:pt x="58" y="176"/>
                  </a:lnTo>
                  <a:lnTo>
                    <a:pt x="54" y="172"/>
                  </a:lnTo>
                  <a:lnTo>
                    <a:pt x="56" y="168"/>
                  </a:lnTo>
                  <a:lnTo>
                    <a:pt x="56" y="164"/>
                  </a:lnTo>
                  <a:lnTo>
                    <a:pt x="52" y="160"/>
                  </a:lnTo>
                  <a:lnTo>
                    <a:pt x="52" y="158"/>
                  </a:lnTo>
                  <a:lnTo>
                    <a:pt x="52" y="160"/>
                  </a:lnTo>
                  <a:lnTo>
                    <a:pt x="44" y="160"/>
                  </a:lnTo>
                  <a:lnTo>
                    <a:pt x="40" y="158"/>
                  </a:lnTo>
                  <a:lnTo>
                    <a:pt x="38" y="156"/>
                  </a:lnTo>
                  <a:lnTo>
                    <a:pt x="32" y="152"/>
                  </a:lnTo>
                  <a:lnTo>
                    <a:pt x="30" y="152"/>
                  </a:lnTo>
                  <a:lnTo>
                    <a:pt x="30" y="150"/>
                  </a:lnTo>
                  <a:lnTo>
                    <a:pt x="24" y="148"/>
                  </a:lnTo>
                  <a:lnTo>
                    <a:pt x="18" y="146"/>
                  </a:lnTo>
                  <a:lnTo>
                    <a:pt x="14" y="140"/>
                  </a:lnTo>
                  <a:lnTo>
                    <a:pt x="10" y="134"/>
                  </a:lnTo>
                  <a:lnTo>
                    <a:pt x="12" y="128"/>
                  </a:lnTo>
                  <a:lnTo>
                    <a:pt x="16" y="122"/>
                  </a:lnTo>
                  <a:lnTo>
                    <a:pt x="16" y="116"/>
                  </a:lnTo>
                  <a:lnTo>
                    <a:pt x="16" y="114"/>
                  </a:lnTo>
                  <a:lnTo>
                    <a:pt x="22" y="120"/>
                  </a:lnTo>
                  <a:lnTo>
                    <a:pt x="28" y="116"/>
                  </a:lnTo>
                  <a:lnTo>
                    <a:pt x="30" y="114"/>
                  </a:lnTo>
                  <a:lnTo>
                    <a:pt x="30" y="112"/>
                  </a:lnTo>
                  <a:lnTo>
                    <a:pt x="32" y="106"/>
                  </a:lnTo>
                  <a:lnTo>
                    <a:pt x="30" y="100"/>
                  </a:lnTo>
                  <a:lnTo>
                    <a:pt x="36" y="98"/>
                  </a:lnTo>
                  <a:lnTo>
                    <a:pt x="42" y="98"/>
                  </a:lnTo>
                  <a:lnTo>
                    <a:pt x="48" y="100"/>
                  </a:lnTo>
                  <a:lnTo>
                    <a:pt x="54" y="98"/>
                  </a:lnTo>
                  <a:lnTo>
                    <a:pt x="58" y="100"/>
                  </a:lnTo>
                  <a:lnTo>
                    <a:pt x="60" y="94"/>
                  </a:lnTo>
                  <a:lnTo>
                    <a:pt x="62" y="92"/>
                  </a:lnTo>
                  <a:lnTo>
                    <a:pt x="56" y="90"/>
                  </a:lnTo>
                  <a:lnTo>
                    <a:pt x="50" y="84"/>
                  </a:lnTo>
                  <a:lnTo>
                    <a:pt x="50" y="78"/>
                  </a:lnTo>
                  <a:lnTo>
                    <a:pt x="44" y="76"/>
                  </a:lnTo>
                  <a:lnTo>
                    <a:pt x="40" y="78"/>
                  </a:lnTo>
                  <a:lnTo>
                    <a:pt x="32" y="76"/>
                  </a:lnTo>
                  <a:lnTo>
                    <a:pt x="28" y="72"/>
                  </a:lnTo>
                  <a:lnTo>
                    <a:pt x="24" y="66"/>
                  </a:lnTo>
                  <a:lnTo>
                    <a:pt x="18" y="62"/>
                  </a:lnTo>
                  <a:lnTo>
                    <a:pt x="14" y="58"/>
                  </a:lnTo>
                  <a:lnTo>
                    <a:pt x="8" y="56"/>
                  </a:lnTo>
                  <a:lnTo>
                    <a:pt x="2" y="54"/>
                  </a:lnTo>
                  <a:lnTo>
                    <a:pt x="0" y="48"/>
                  </a:lnTo>
                  <a:lnTo>
                    <a:pt x="2" y="42"/>
                  </a:lnTo>
                  <a:lnTo>
                    <a:pt x="2" y="36"/>
                  </a:lnTo>
                  <a:lnTo>
                    <a:pt x="6" y="30"/>
                  </a:lnTo>
                  <a:lnTo>
                    <a:pt x="8" y="28"/>
                  </a:lnTo>
                  <a:lnTo>
                    <a:pt x="12" y="22"/>
                  </a:lnTo>
                  <a:lnTo>
                    <a:pt x="12" y="20"/>
                  </a:lnTo>
                  <a:lnTo>
                    <a:pt x="18" y="18"/>
                  </a:lnTo>
                  <a:lnTo>
                    <a:pt x="20" y="16"/>
                  </a:lnTo>
                  <a:lnTo>
                    <a:pt x="18" y="10"/>
                  </a:lnTo>
                  <a:lnTo>
                    <a:pt x="12" y="8"/>
                  </a:lnTo>
                  <a:lnTo>
                    <a:pt x="8" y="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5" name="Freeform 122"/>
            <p:cNvSpPr>
              <a:spLocks/>
            </p:cNvSpPr>
            <p:nvPr/>
          </p:nvSpPr>
          <p:spPr bwMode="auto">
            <a:xfrm>
              <a:off x="6723063" y="3579813"/>
              <a:ext cx="214312" cy="422275"/>
            </a:xfrm>
            <a:custGeom>
              <a:avLst/>
              <a:gdLst>
                <a:gd name="T0" fmla="*/ 2147483647 w 526"/>
                <a:gd name="T1" fmla="*/ 2147483647 h 1026"/>
                <a:gd name="T2" fmla="*/ 2147483647 w 526"/>
                <a:gd name="T3" fmla="*/ 2147483647 h 1026"/>
                <a:gd name="T4" fmla="*/ 2147483647 w 526"/>
                <a:gd name="T5" fmla="*/ 2147483647 h 1026"/>
                <a:gd name="T6" fmla="*/ 2147483647 w 526"/>
                <a:gd name="T7" fmla="*/ 2147483647 h 1026"/>
                <a:gd name="T8" fmla="*/ 2147483647 w 526"/>
                <a:gd name="T9" fmla="*/ 2147483647 h 1026"/>
                <a:gd name="T10" fmla="*/ 2147483647 w 526"/>
                <a:gd name="T11" fmla="*/ 2147483647 h 1026"/>
                <a:gd name="T12" fmla="*/ 2147483647 w 526"/>
                <a:gd name="T13" fmla="*/ 2147483647 h 1026"/>
                <a:gd name="T14" fmla="*/ 2147483647 w 526"/>
                <a:gd name="T15" fmla="*/ 2147483647 h 1026"/>
                <a:gd name="T16" fmla="*/ 2147483647 w 526"/>
                <a:gd name="T17" fmla="*/ 2147483647 h 1026"/>
                <a:gd name="T18" fmla="*/ 2147483647 w 526"/>
                <a:gd name="T19" fmla="*/ 2147483647 h 1026"/>
                <a:gd name="T20" fmla="*/ 2147483647 w 526"/>
                <a:gd name="T21" fmla="*/ 2147483647 h 1026"/>
                <a:gd name="T22" fmla="*/ 2147483647 w 526"/>
                <a:gd name="T23" fmla="*/ 2147483647 h 1026"/>
                <a:gd name="T24" fmla="*/ 2147483647 w 526"/>
                <a:gd name="T25" fmla="*/ 2147483647 h 1026"/>
                <a:gd name="T26" fmla="*/ 2147483647 w 526"/>
                <a:gd name="T27" fmla="*/ 2147483647 h 1026"/>
                <a:gd name="T28" fmla="*/ 2147483647 w 526"/>
                <a:gd name="T29" fmla="*/ 2147483647 h 1026"/>
                <a:gd name="T30" fmla="*/ 2147483647 w 526"/>
                <a:gd name="T31" fmla="*/ 2147483647 h 1026"/>
                <a:gd name="T32" fmla="*/ 2147483647 w 526"/>
                <a:gd name="T33" fmla="*/ 2147483647 h 1026"/>
                <a:gd name="T34" fmla="*/ 2147483647 w 526"/>
                <a:gd name="T35" fmla="*/ 2147483647 h 1026"/>
                <a:gd name="T36" fmla="*/ 2147483647 w 526"/>
                <a:gd name="T37" fmla="*/ 2147483647 h 1026"/>
                <a:gd name="T38" fmla="*/ 2147483647 w 526"/>
                <a:gd name="T39" fmla="*/ 2147483647 h 1026"/>
                <a:gd name="T40" fmla="*/ 2147483647 w 526"/>
                <a:gd name="T41" fmla="*/ 2147483647 h 1026"/>
                <a:gd name="T42" fmla="*/ 2147483647 w 526"/>
                <a:gd name="T43" fmla="*/ 2147483647 h 1026"/>
                <a:gd name="T44" fmla="*/ 2147483647 w 526"/>
                <a:gd name="T45" fmla="*/ 2147483647 h 1026"/>
                <a:gd name="T46" fmla="*/ 2147483647 w 526"/>
                <a:gd name="T47" fmla="*/ 2147483647 h 1026"/>
                <a:gd name="T48" fmla="*/ 2147483647 w 526"/>
                <a:gd name="T49" fmla="*/ 2147483647 h 1026"/>
                <a:gd name="T50" fmla="*/ 2147483647 w 526"/>
                <a:gd name="T51" fmla="*/ 2147483647 h 1026"/>
                <a:gd name="T52" fmla="*/ 2147483647 w 526"/>
                <a:gd name="T53" fmla="*/ 2147483647 h 1026"/>
                <a:gd name="T54" fmla="*/ 2147483647 w 526"/>
                <a:gd name="T55" fmla="*/ 2147483647 h 1026"/>
                <a:gd name="T56" fmla="*/ 2147483647 w 526"/>
                <a:gd name="T57" fmla="*/ 2147483647 h 1026"/>
                <a:gd name="T58" fmla="*/ 2147483647 w 526"/>
                <a:gd name="T59" fmla="*/ 2147483647 h 1026"/>
                <a:gd name="T60" fmla="*/ 2147483647 w 526"/>
                <a:gd name="T61" fmla="*/ 2147483647 h 1026"/>
                <a:gd name="T62" fmla="*/ 2147483647 w 526"/>
                <a:gd name="T63" fmla="*/ 2147483647 h 1026"/>
                <a:gd name="T64" fmla="*/ 2147483647 w 526"/>
                <a:gd name="T65" fmla="*/ 2147483647 h 1026"/>
                <a:gd name="T66" fmla="*/ 2147483647 w 526"/>
                <a:gd name="T67" fmla="*/ 2147483647 h 1026"/>
                <a:gd name="T68" fmla="*/ 2147483647 w 526"/>
                <a:gd name="T69" fmla="*/ 2147483647 h 1026"/>
                <a:gd name="T70" fmla="*/ 2147483647 w 526"/>
                <a:gd name="T71" fmla="*/ 2147483647 h 1026"/>
                <a:gd name="T72" fmla="*/ 2147483647 w 526"/>
                <a:gd name="T73" fmla="*/ 2147483647 h 1026"/>
                <a:gd name="T74" fmla="*/ 2147483647 w 526"/>
                <a:gd name="T75" fmla="*/ 2147483647 h 1026"/>
                <a:gd name="T76" fmla="*/ 2147483647 w 526"/>
                <a:gd name="T77" fmla="*/ 2147483647 h 1026"/>
                <a:gd name="T78" fmla="*/ 2147483647 w 526"/>
                <a:gd name="T79" fmla="*/ 2147483647 h 1026"/>
                <a:gd name="T80" fmla="*/ 2147483647 w 526"/>
                <a:gd name="T81" fmla="*/ 2147483647 h 1026"/>
                <a:gd name="T82" fmla="*/ 2147483647 w 526"/>
                <a:gd name="T83" fmla="*/ 2147483647 h 1026"/>
                <a:gd name="T84" fmla="*/ 2147483647 w 526"/>
                <a:gd name="T85" fmla="*/ 2147483647 h 1026"/>
                <a:gd name="T86" fmla="*/ 2147483647 w 526"/>
                <a:gd name="T87" fmla="*/ 2147483647 h 1026"/>
                <a:gd name="T88" fmla="*/ 2147483647 w 526"/>
                <a:gd name="T89" fmla="*/ 2147483647 h 1026"/>
                <a:gd name="T90" fmla="*/ 2147483647 w 526"/>
                <a:gd name="T91" fmla="*/ 2147483647 h 1026"/>
                <a:gd name="T92" fmla="*/ 2147483647 w 526"/>
                <a:gd name="T93" fmla="*/ 2147483647 h 1026"/>
                <a:gd name="T94" fmla="*/ 2147483647 w 526"/>
                <a:gd name="T95" fmla="*/ 2147483647 h 1026"/>
                <a:gd name="T96" fmla="*/ 2147483647 w 526"/>
                <a:gd name="T97" fmla="*/ 2147483647 h 1026"/>
                <a:gd name="T98" fmla="*/ 2147483647 w 526"/>
                <a:gd name="T99" fmla="*/ 2147483647 h 1026"/>
                <a:gd name="T100" fmla="*/ 2147483647 w 526"/>
                <a:gd name="T101" fmla="*/ 2147483647 h 1026"/>
                <a:gd name="T102" fmla="*/ 2147483647 w 526"/>
                <a:gd name="T103" fmla="*/ 2147483647 h 1026"/>
                <a:gd name="T104" fmla="*/ 2147483647 w 526"/>
                <a:gd name="T105" fmla="*/ 2147483647 h 1026"/>
                <a:gd name="T106" fmla="*/ 2147483647 w 526"/>
                <a:gd name="T107" fmla="*/ 2147483647 h 1026"/>
                <a:gd name="T108" fmla="*/ 2147483647 w 526"/>
                <a:gd name="T109" fmla="*/ 2147483647 h 1026"/>
                <a:gd name="T110" fmla="*/ 2147483647 w 526"/>
                <a:gd name="T111" fmla="*/ 2147483647 h 1026"/>
                <a:gd name="T112" fmla="*/ 2147483647 w 526"/>
                <a:gd name="T113" fmla="*/ 2147483647 h 1026"/>
                <a:gd name="T114" fmla="*/ 2147483647 w 526"/>
                <a:gd name="T115" fmla="*/ 2147483647 h 1026"/>
                <a:gd name="T116" fmla="*/ 2147483647 w 526"/>
                <a:gd name="T117" fmla="*/ 2147483647 h 1026"/>
                <a:gd name="T118" fmla="*/ 2147483647 w 526"/>
                <a:gd name="T119" fmla="*/ 2147483647 h 10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26"/>
                <a:gd name="T181" fmla="*/ 0 h 1026"/>
                <a:gd name="T182" fmla="*/ 526 w 526"/>
                <a:gd name="T183" fmla="*/ 1026 h 102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26" h="1026">
                  <a:moveTo>
                    <a:pt x="0" y="68"/>
                  </a:moveTo>
                  <a:lnTo>
                    <a:pt x="6" y="66"/>
                  </a:lnTo>
                  <a:lnTo>
                    <a:pt x="6" y="60"/>
                  </a:lnTo>
                  <a:lnTo>
                    <a:pt x="10" y="56"/>
                  </a:lnTo>
                  <a:lnTo>
                    <a:pt x="12" y="50"/>
                  </a:lnTo>
                  <a:lnTo>
                    <a:pt x="14" y="44"/>
                  </a:lnTo>
                  <a:lnTo>
                    <a:pt x="20" y="44"/>
                  </a:lnTo>
                  <a:lnTo>
                    <a:pt x="26" y="46"/>
                  </a:lnTo>
                  <a:lnTo>
                    <a:pt x="32" y="48"/>
                  </a:lnTo>
                  <a:lnTo>
                    <a:pt x="38" y="52"/>
                  </a:lnTo>
                  <a:lnTo>
                    <a:pt x="44" y="58"/>
                  </a:lnTo>
                  <a:lnTo>
                    <a:pt x="46" y="60"/>
                  </a:lnTo>
                  <a:lnTo>
                    <a:pt x="52" y="64"/>
                  </a:lnTo>
                  <a:lnTo>
                    <a:pt x="56" y="60"/>
                  </a:lnTo>
                  <a:lnTo>
                    <a:pt x="58" y="54"/>
                  </a:lnTo>
                  <a:lnTo>
                    <a:pt x="60" y="54"/>
                  </a:lnTo>
                  <a:lnTo>
                    <a:pt x="64" y="48"/>
                  </a:lnTo>
                  <a:lnTo>
                    <a:pt x="66" y="42"/>
                  </a:lnTo>
                  <a:lnTo>
                    <a:pt x="72" y="42"/>
                  </a:lnTo>
                  <a:lnTo>
                    <a:pt x="76" y="48"/>
                  </a:lnTo>
                  <a:lnTo>
                    <a:pt x="80" y="54"/>
                  </a:lnTo>
                  <a:lnTo>
                    <a:pt x="82" y="48"/>
                  </a:lnTo>
                  <a:lnTo>
                    <a:pt x="84" y="42"/>
                  </a:lnTo>
                  <a:lnTo>
                    <a:pt x="86" y="40"/>
                  </a:lnTo>
                  <a:lnTo>
                    <a:pt x="92" y="46"/>
                  </a:lnTo>
                  <a:lnTo>
                    <a:pt x="98" y="52"/>
                  </a:lnTo>
                  <a:lnTo>
                    <a:pt x="104" y="58"/>
                  </a:lnTo>
                  <a:lnTo>
                    <a:pt x="108" y="60"/>
                  </a:lnTo>
                  <a:lnTo>
                    <a:pt x="110" y="58"/>
                  </a:lnTo>
                  <a:lnTo>
                    <a:pt x="110" y="54"/>
                  </a:lnTo>
                  <a:lnTo>
                    <a:pt x="110" y="48"/>
                  </a:lnTo>
                  <a:lnTo>
                    <a:pt x="112" y="40"/>
                  </a:lnTo>
                  <a:lnTo>
                    <a:pt x="114" y="40"/>
                  </a:lnTo>
                  <a:lnTo>
                    <a:pt x="120" y="38"/>
                  </a:lnTo>
                  <a:lnTo>
                    <a:pt x="122" y="38"/>
                  </a:lnTo>
                  <a:lnTo>
                    <a:pt x="124" y="44"/>
                  </a:lnTo>
                  <a:lnTo>
                    <a:pt x="128" y="48"/>
                  </a:lnTo>
                  <a:lnTo>
                    <a:pt x="130" y="48"/>
                  </a:lnTo>
                  <a:lnTo>
                    <a:pt x="136" y="44"/>
                  </a:lnTo>
                  <a:lnTo>
                    <a:pt x="140" y="38"/>
                  </a:lnTo>
                  <a:lnTo>
                    <a:pt x="146" y="38"/>
                  </a:lnTo>
                  <a:lnTo>
                    <a:pt x="152" y="36"/>
                  </a:lnTo>
                  <a:lnTo>
                    <a:pt x="156" y="32"/>
                  </a:lnTo>
                  <a:lnTo>
                    <a:pt x="156" y="30"/>
                  </a:lnTo>
                  <a:lnTo>
                    <a:pt x="154" y="24"/>
                  </a:lnTo>
                  <a:lnTo>
                    <a:pt x="152" y="18"/>
                  </a:lnTo>
                  <a:lnTo>
                    <a:pt x="156" y="14"/>
                  </a:lnTo>
                  <a:lnTo>
                    <a:pt x="162" y="14"/>
                  </a:lnTo>
                  <a:lnTo>
                    <a:pt x="162" y="12"/>
                  </a:lnTo>
                  <a:lnTo>
                    <a:pt x="168" y="10"/>
                  </a:lnTo>
                  <a:lnTo>
                    <a:pt x="174" y="8"/>
                  </a:lnTo>
                  <a:lnTo>
                    <a:pt x="178" y="2"/>
                  </a:lnTo>
                  <a:lnTo>
                    <a:pt x="180" y="0"/>
                  </a:lnTo>
                  <a:lnTo>
                    <a:pt x="184" y="6"/>
                  </a:lnTo>
                  <a:lnTo>
                    <a:pt x="190" y="10"/>
                  </a:lnTo>
                  <a:lnTo>
                    <a:pt x="194" y="14"/>
                  </a:lnTo>
                  <a:lnTo>
                    <a:pt x="196" y="20"/>
                  </a:lnTo>
                  <a:lnTo>
                    <a:pt x="202" y="22"/>
                  </a:lnTo>
                  <a:lnTo>
                    <a:pt x="208" y="22"/>
                  </a:lnTo>
                  <a:lnTo>
                    <a:pt x="212" y="28"/>
                  </a:lnTo>
                  <a:lnTo>
                    <a:pt x="218" y="30"/>
                  </a:lnTo>
                  <a:lnTo>
                    <a:pt x="224" y="30"/>
                  </a:lnTo>
                  <a:lnTo>
                    <a:pt x="228" y="26"/>
                  </a:lnTo>
                  <a:lnTo>
                    <a:pt x="232" y="26"/>
                  </a:lnTo>
                  <a:lnTo>
                    <a:pt x="238" y="30"/>
                  </a:lnTo>
                  <a:lnTo>
                    <a:pt x="242" y="36"/>
                  </a:lnTo>
                  <a:lnTo>
                    <a:pt x="248" y="34"/>
                  </a:lnTo>
                  <a:lnTo>
                    <a:pt x="254" y="34"/>
                  </a:lnTo>
                  <a:lnTo>
                    <a:pt x="256" y="30"/>
                  </a:lnTo>
                  <a:lnTo>
                    <a:pt x="260" y="32"/>
                  </a:lnTo>
                  <a:lnTo>
                    <a:pt x="266" y="34"/>
                  </a:lnTo>
                  <a:lnTo>
                    <a:pt x="268" y="36"/>
                  </a:lnTo>
                  <a:lnTo>
                    <a:pt x="274" y="42"/>
                  </a:lnTo>
                  <a:lnTo>
                    <a:pt x="272" y="48"/>
                  </a:lnTo>
                  <a:lnTo>
                    <a:pt x="272" y="54"/>
                  </a:lnTo>
                  <a:lnTo>
                    <a:pt x="270" y="54"/>
                  </a:lnTo>
                  <a:lnTo>
                    <a:pt x="264" y="54"/>
                  </a:lnTo>
                  <a:lnTo>
                    <a:pt x="264" y="60"/>
                  </a:lnTo>
                  <a:lnTo>
                    <a:pt x="264" y="62"/>
                  </a:lnTo>
                  <a:lnTo>
                    <a:pt x="264" y="66"/>
                  </a:lnTo>
                  <a:lnTo>
                    <a:pt x="264" y="68"/>
                  </a:lnTo>
                  <a:lnTo>
                    <a:pt x="266" y="72"/>
                  </a:lnTo>
                  <a:lnTo>
                    <a:pt x="272" y="76"/>
                  </a:lnTo>
                  <a:lnTo>
                    <a:pt x="272" y="82"/>
                  </a:lnTo>
                  <a:lnTo>
                    <a:pt x="274" y="86"/>
                  </a:lnTo>
                  <a:lnTo>
                    <a:pt x="276" y="92"/>
                  </a:lnTo>
                  <a:lnTo>
                    <a:pt x="278" y="96"/>
                  </a:lnTo>
                  <a:lnTo>
                    <a:pt x="280" y="94"/>
                  </a:lnTo>
                  <a:lnTo>
                    <a:pt x="288" y="96"/>
                  </a:lnTo>
                  <a:lnTo>
                    <a:pt x="294" y="100"/>
                  </a:lnTo>
                  <a:lnTo>
                    <a:pt x="298" y="102"/>
                  </a:lnTo>
                  <a:lnTo>
                    <a:pt x="298" y="108"/>
                  </a:lnTo>
                  <a:lnTo>
                    <a:pt x="304" y="110"/>
                  </a:lnTo>
                  <a:lnTo>
                    <a:pt x="310" y="114"/>
                  </a:lnTo>
                  <a:lnTo>
                    <a:pt x="314" y="114"/>
                  </a:lnTo>
                  <a:lnTo>
                    <a:pt x="320" y="118"/>
                  </a:lnTo>
                  <a:lnTo>
                    <a:pt x="320" y="122"/>
                  </a:lnTo>
                  <a:lnTo>
                    <a:pt x="326" y="118"/>
                  </a:lnTo>
                  <a:lnTo>
                    <a:pt x="328" y="124"/>
                  </a:lnTo>
                  <a:lnTo>
                    <a:pt x="330" y="122"/>
                  </a:lnTo>
                  <a:lnTo>
                    <a:pt x="336" y="122"/>
                  </a:lnTo>
                  <a:lnTo>
                    <a:pt x="342" y="120"/>
                  </a:lnTo>
                  <a:lnTo>
                    <a:pt x="346" y="118"/>
                  </a:lnTo>
                  <a:lnTo>
                    <a:pt x="348" y="118"/>
                  </a:lnTo>
                  <a:lnTo>
                    <a:pt x="352" y="122"/>
                  </a:lnTo>
                  <a:lnTo>
                    <a:pt x="358" y="126"/>
                  </a:lnTo>
                  <a:lnTo>
                    <a:pt x="364" y="130"/>
                  </a:lnTo>
                  <a:lnTo>
                    <a:pt x="362" y="132"/>
                  </a:lnTo>
                  <a:lnTo>
                    <a:pt x="356" y="134"/>
                  </a:lnTo>
                  <a:lnTo>
                    <a:pt x="352" y="128"/>
                  </a:lnTo>
                  <a:lnTo>
                    <a:pt x="348" y="130"/>
                  </a:lnTo>
                  <a:lnTo>
                    <a:pt x="346" y="136"/>
                  </a:lnTo>
                  <a:lnTo>
                    <a:pt x="340" y="138"/>
                  </a:lnTo>
                  <a:lnTo>
                    <a:pt x="336" y="144"/>
                  </a:lnTo>
                  <a:lnTo>
                    <a:pt x="332" y="144"/>
                  </a:lnTo>
                  <a:lnTo>
                    <a:pt x="326" y="146"/>
                  </a:lnTo>
                  <a:lnTo>
                    <a:pt x="326" y="152"/>
                  </a:lnTo>
                  <a:lnTo>
                    <a:pt x="326" y="158"/>
                  </a:lnTo>
                  <a:lnTo>
                    <a:pt x="322" y="164"/>
                  </a:lnTo>
                  <a:lnTo>
                    <a:pt x="316" y="168"/>
                  </a:lnTo>
                  <a:lnTo>
                    <a:pt x="310" y="168"/>
                  </a:lnTo>
                  <a:lnTo>
                    <a:pt x="312" y="162"/>
                  </a:lnTo>
                  <a:lnTo>
                    <a:pt x="306" y="162"/>
                  </a:lnTo>
                  <a:lnTo>
                    <a:pt x="304" y="168"/>
                  </a:lnTo>
                  <a:lnTo>
                    <a:pt x="298" y="168"/>
                  </a:lnTo>
                  <a:lnTo>
                    <a:pt x="298" y="172"/>
                  </a:lnTo>
                  <a:lnTo>
                    <a:pt x="292" y="168"/>
                  </a:lnTo>
                  <a:lnTo>
                    <a:pt x="290" y="162"/>
                  </a:lnTo>
                  <a:lnTo>
                    <a:pt x="284" y="164"/>
                  </a:lnTo>
                  <a:lnTo>
                    <a:pt x="286" y="166"/>
                  </a:lnTo>
                  <a:lnTo>
                    <a:pt x="292" y="168"/>
                  </a:lnTo>
                  <a:lnTo>
                    <a:pt x="288" y="172"/>
                  </a:lnTo>
                  <a:lnTo>
                    <a:pt x="290" y="174"/>
                  </a:lnTo>
                  <a:lnTo>
                    <a:pt x="292" y="180"/>
                  </a:lnTo>
                  <a:lnTo>
                    <a:pt x="296" y="186"/>
                  </a:lnTo>
                  <a:lnTo>
                    <a:pt x="290" y="190"/>
                  </a:lnTo>
                  <a:lnTo>
                    <a:pt x="284" y="188"/>
                  </a:lnTo>
                  <a:lnTo>
                    <a:pt x="284" y="190"/>
                  </a:lnTo>
                  <a:lnTo>
                    <a:pt x="286" y="190"/>
                  </a:lnTo>
                  <a:lnTo>
                    <a:pt x="284" y="196"/>
                  </a:lnTo>
                  <a:lnTo>
                    <a:pt x="284" y="202"/>
                  </a:lnTo>
                  <a:lnTo>
                    <a:pt x="286" y="206"/>
                  </a:lnTo>
                  <a:lnTo>
                    <a:pt x="282" y="212"/>
                  </a:lnTo>
                  <a:lnTo>
                    <a:pt x="282" y="214"/>
                  </a:lnTo>
                  <a:lnTo>
                    <a:pt x="284" y="212"/>
                  </a:lnTo>
                  <a:lnTo>
                    <a:pt x="282" y="218"/>
                  </a:lnTo>
                  <a:lnTo>
                    <a:pt x="276" y="220"/>
                  </a:lnTo>
                  <a:lnTo>
                    <a:pt x="274" y="226"/>
                  </a:lnTo>
                  <a:lnTo>
                    <a:pt x="268" y="230"/>
                  </a:lnTo>
                  <a:lnTo>
                    <a:pt x="266" y="234"/>
                  </a:lnTo>
                  <a:lnTo>
                    <a:pt x="262" y="234"/>
                  </a:lnTo>
                  <a:lnTo>
                    <a:pt x="262" y="232"/>
                  </a:lnTo>
                  <a:lnTo>
                    <a:pt x="262" y="234"/>
                  </a:lnTo>
                  <a:lnTo>
                    <a:pt x="258" y="234"/>
                  </a:lnTo>
                  <a:lnTo>
                    <a:pt x="254" y="238"/>
                  </a:lnTo>
                  <a:lnTo>
                    <a:pt x="254" y="244"/>
                  </a:lnTo>
                  <a:lnTo>
                    <a:pt x="250" y="250"/>
                  </a:lnTo>
                  <a:lnTo>
                    <a:pt x="250" y="254"/>
                  </a:lnTo>
                  <a:lnTo>
                    <a:pt x="248" y="260"/>
                  </a:lnTo>
                  <a:lnTo>
                    <a:pt x="248" y="262"/>
                  </a:lnTo>
                  <a:lnTo>
                    <a:pt x="250" y="266"/>
                  </a:lnTo>
                  <a:lnTo>
                    <a:pt x="250" y="272"/>
                  </a:lnTo>
                  <a:lnTo>
                    <a:pt x="250" y="278"/>
                  </a:lnTo>
                  <a:lnTo>
                    <a:pt x="252" y="284"/>
                  </a:lnTo>
                  <a:lnTo>
                    <a:pt x="250" y="286"/>
                  </a:lnTo>
                  <a:lnTo>
                    <a:pt x="248" y="290"/>
                  </a:lnTo>
                  <a:lnTo>
                    <a:pt x="244" y="296"/>
                  </a:lnTo>
                  <a:lnTo>
                    <a:pt x="242" y="302"/>
                  </a:lnTo>
                  <a:lnTo>
                    <a:pt x="244" y="308"/>
                  </a:lnTo>
                  <a:lnTo>
                    <a:pt x="248" y="314"/>
                  </a:lnTo>
                  <a:lnTo>
                    <a:pt x="252" y="320"/>
                  </a:lnTo>
                  <a:lnTo>
                    <a:pt x="254" y="326"/>
                  </a:lnTo>
                  <a:lnTo>
                    <a:pt x="256" y="322"/>
                  </a:lnTo>
                  <a:lnTo>
                    <a:pt x="258" y="328"/>
                  </a:lnTo>
                  <a:lnTo>
                    <a:pt x="260" y="334"/>
                  </a:lnTo>
                  <a:lnTo>
                    <a:pt x="266" y="340"/>
                  </a:lnTo>
                  <a:lnTo>
                    <a:pt x="270" y="342"/>
                  </a:lnTo>
                  <a:lnTo>
                    <a:pt x="274" y="348"/>
                  </a:lnTo>
                  <a:lnTo>
                    <a:pt x="280" y="354"/>
                  </a:lnTo>
                  <a:lnTo>
                    <a:pt x="286" y="356"/>
                  </a:lnTo>
                  <a:lnTo>
                    <a:pt x="292" y="360"/>
                  </a:lnTo>
                  <a:lnTo>
                    <a:pt x="296" y="366"/>
                  </a:lnTo>
                  <a:lnTo>
                    <a:pt x="302" y="368"/>
                  </a:lnTo>
                  <a:lnTo>
                    <a:pt x="306" y="376"/>
                  </a:lnTo>
                  <a:lnTo>
                    <a:pt x="304" y="380"/>
                  </a:lnTo>
                  <a:lnTo>
                    <a:pt x="306" y="386"/>
                  </a:lnTo>
                  <a:lnTo>
                    <a:pt x="306" y="392"/>
                  </a:lnTo>
                  <a:lnTo>
                    <a:pt x="304" y="390"/>
                  </a:lnTo>
                  <a:lnTo>
                    <a:pt x="302" y="390"/>
                  </a:lnTo>
                  <a:lnTo>
                    <a:pt x="300" y="388"/>
                  </a:lnTo>
                  <a:lnTo>
                    <a:pt x="294" y="388"/>
                  </a:lnTo>
                  <a:lnTo>
                    <a:pt x="296" y="388"/>
                  </a:lnTo>
                  <a:lnTo>
                    <a:pt x="302" y="390"/>
                  </a:lnTo>
                  <a:lnTo>
                    <a:pt x="300" y="392"/>
                  </a:lnTo>
                  <a:lnTo>
                    <a:pt x="302" y="392"/>
                  </a:lnTo>
                  <a:lnTo>
                    <a:pt x="302" y="394"/>
                  </a:lnTo>
                  <a:lnTo>
                    <a:pt x="308" y="392"/>
                  </a:lnTo>
                  <a:lnTo>
                    <a:pt x="310" y="396"/>
                  </a:lnTo>
                  <a:lnTo>
                    <a:pt x="314" y="402"/>
                  </a:lnTo>
                  <a:lnTo>
                    <a:pt x="318" y="408"/>
                  </a:lnTo>
                  <a:lnTo>
                    <a:pt x="320" y="410"/>
                  </a:lnTo>
                  <a:lnTo>
                    <a:pt x="326" y="416"/>
                  </a:lnTo>
                  <a:lnTo>
                    <a:pt x="332" y="422"/>
                  </a:lnTo>
                  <a:lnTo>
                    <a:pt x="338" y="426"/>
                  </a:lnTo>
                  <a:lnTo>
                    <a:pt x="344" y="430"/>
                  </a:lnTo>
                  <a:lnTo>
                    <a:pt x="346" y="432"/>
                  </a:lnTo>
                  <a:lnTo>
                    <a:pt x="352" y="436"/>
                  </a:lnTo>
                  <a:lnTo>
                    <a:pt x="352" y="438"/>
                  </a:lnTo>
                  <a:lnTo>
                    <a:pt x="352" y="440"/>
                  </a:lnTo>
                  <a:lnTo>
                    <a:pt x="354" y="442"/>
                  </a:lnTo>
                  <a:lnTo>
                    <a:pt x="356" y="444"/>
                  </a:lnTo>
                  <a:lnTo>
                    <a:pt x="354" y="450"/>
                  </a:lnTo>
                  <a:lnTo>
                    <a:pt x="356" y="450"/>
                  </a:lnTo>
                  <a:lnTo>
                    <a:pt x="360" y="448"/>
                  </a:lnTo>
                  <a:lnTo>
                    <a:pt x="366" y="454"/>
                  </a:lnTo>
                  <a:lnTo>
                    <a:pt x="372" y="458"/>
                  </a:lnTo>
                  <a:lnTo>
                    <a:pt x="378" y="464"/>
                  </a:lnTo>
                  <a:lnTo>
                    <a:pt x="382" y="468"/>
                  </a:lnTo>
                  <a:lnTo>
                    <a:pt x="376" y="464"/>
                  </a:lnTo>
                  <a:lnTo>
                    <a:pt x="374" y="466"/>
                  </a:lnTo>
                  <a:lnTo>
                    <a:pt x="376" y="466"/>
                  </a:lnTo>
                  <a:lnTo>
                    <a:pt x="380" y="468"/>
                  </a:lnTo>
                  <a:lnTo>
                    <a:pt x="386" y="472"/>
                  </a:lnTo>
                  <a:lnTo>
                    <a:pt x="390" y="476"/>
                  </a:lnTo>
                  <a:lnTo>
                    <a:pt x="394" y="478"/>
                  </a:lnTo>
                  <a:lnTo>
                    <a:pt x="398" y="484"/>
                  </a:lnTo>
                  <a:lnTo>
                    <a:pt x="402" y="490"/>
                  </a:lnTo>
                  <a:lnTo>
                    <a:pt x="408" y="486"/>
                  </a:lnTo>
                  <a:lnTo>
                    <a:pt x="414" y="488"/>
                  </a:lnTo>
                  <a:lnTo>
                    <a:pt x="418" y="494"/>
                  </a:lnTo>
                  <a:lnTo>
                    <a:pt x="422" y="498"/>
                  </a:lnTo>
                  <a:lnTo>
                    <a:pt x="422" y="502"/>
                  </a:lnTo>
                  <a:lnTo>
                    <a:pt x="428" y="506"/>
                  </a:lnTo>
                  <a:lnTo>
                    <a:pt x="428" y="508"/>
                  </a:lnTo>
                  <a:lnTo>
                    <a:pt x="426" y="510"/>
                  </a:lnTo>
                  <a:lnTo>
                    <a:pt x="428" y="508"/>
                  </a:lnTo>
                  <a:lnTo>
                    <a:pt x="428" y="506"/>
                  </a:lnTo>
                  <a:lnTo>
                    <a:pt x="426" y="502"/>
                  </a:lnTo>
                  <a:lnTo>
                    <a:pt x="428" y="500"/>
                  </a:lnTo>
                  <a:lnTo>
                    <a:pt x="434" y="502"/>
                  </a:lnTo>
                  <a:lnTo>
                    <a:pt x="430" y="508"/>
                  </a:lnTo>
                  <a:lnTo>
                    <a:pt x="432" y="514"/>
                  </a:lnTo>
                  <a:lnTo>
                    <a:pt x="438" y="520"/>
                  </a:lnTo>
                  <a:lnTo>
                    <a:pt x="442" y="524"/>
                  </a:lnTo>
                  <a:lnTo>
                    <a:pt x="446" y="530"/>
                  </a:lnTo>
                  <a:lnTo>
                    <a:pt x="450" y="536"/>
                  </a:lnTo>
                  <a:lnTo>
                    <a:pt x="454" y="542"/>
                  </a:lnTo>
                  <a:lnTo>
                    <a:pt x="456" y="548"/>
                  </a:lnTo>
                  <a:lnTo>
                    <a:pt x="460" y="546"/>
                  </a:lnTo>
                  <a:lnTo>
                    <a:pt x="466" y="552"/>
                  </a:lnTo>
                  <a:lnTo>
                    <a:pt x="466" y="558"/>
                  </a:lnTo>
                  <a:lnTo>
                    <a:pt x="470" y="552"/>
                  </a:lnTo>
                  <a:lnTo>
                    <a:pt x="472" y="558"/>
                  </a:lnTo>
                  <a:lnTo>
                    <a:pt x="478" y="564"/>
                  </a:lnTo>
                  <a:lnTo>
                    <a:pt x="474" y="570"/>
                  </a:lnTo>
                  <a:lnTo>
                    <a:pt x="476" y="574"/>
                  </a:lnTo>
                  <a:lnTo>
                    <a:pt x="478" y="580"/>
                  </a:lnTo>
                  <a:lnTo>
                    <a:pt x="482" y="586"/>
                  </a:lnTo>
                  <a:lnTo>
                    <a:pt x="484" y="592"/>
                  </a:lnTo>
                  <a:lnTo>
                    <a:pt x="488" y="596"/>
                  </a:lnTo>
                  <a:lnTo>
                    <a:pt x="490" y="602"/>
                  </a:lnTo>
                  <a:lnTo>
                    <a:pt x="490" y="606"/>
                  </a:lnTo>
                  <a:lnTo>
                    <a:pt x="492" y="612"/>
                  </a:lnTo>
                  <a:lnTo>
                    <a:pt x="494" y="616"/>
                  </a:lnTo>
                  <a:lnTo>
                    <a:pt x="496" y="622"/>
                  </a:lnTo>
                  <a:lnTo>
                    <a:pt x="500" y="628"/>
                  </a:lnTo>
                  <a:lnTo>
                    <a:pt x="500" y="634"/>
                  </a:lnTo>
                  <a:lnTo>
                    <a:pt x="502" y="640"/>
                  </a:lnTo>
                  <a:lnTo>
                    <a:pt x="506" y="646"/>
                  </a:lnTo>
                  <a:lnTo>
                    <a:pt x="506" y="652"/>
                  </a:lnTo>
                  <a:lnTo>
                    <a:pt x="510" y="658"/>
                  </a:lnTo>
                  <a:lnTo>
                    <a:pt x="508" y="664"/>
                  </a:lnTo>
                  <a:lnTo>
                    <a:pt x="506" y="658"/>
                  </a:lnTo>
                  <a:lnTo>
                    <a:pt x="506" y="664"/>
                  </a:lnTo>
                  <a:lnTo>
                    <a:pt x="506" y="670"/>
                  </a:lnTo>
                  <a:lnTo>
                    <a:pt x="508" y="674"/>
                  </a:lnTo>
                  <a:lnTo>
                    <a:pt x="510" y="680"/>
                  </a:lnTo>
                  <a:lnTo>
                    <a:pt x="506" y="674"/>
                  </a:lnTo>
                  <a:lnTo>
                    <a:pt x="510" y="680"/>
                  </a:lnTo>
                  <a:lnTo>
                    <a:pt x="514" y="686"/>
                  </a:lnTo>
                  <a:lnTo>
                    <a:pt x="510" y="688"/>
                  </a:lnTo>
                  <a:lnTo>
                    <a:pt x="514" y="694"/>
                  </a:lnTo>
                  <a:lnTo>
                    <a:pt x="514" y="702"/>
                  </a:lnTo>
                  <a:lnTo>
                    <a:pt x="514" y="706"/>
                  </a:lnTo>
                  <a:lnTo>
                    <a:pt x="518" y="712"/>
                  </a:lnTo>
                  <a:lnTo>
                    <a:pt x="520" y="714"/>
                  </a:lnTo>
                  <a:lnTo>
                    <a:pt x="524" y="720"/>
                  </a:lnTo>
                  <a:lnTo>
                    <a:pt x="526" y="726"/>
                  </a:lnTo>
                  <a:lnTo>
                    <a:pt x="524" y="728"/>
                  </a:lnTo>
                  <a:lnTo>
                    <a:pt x="522" y="734"/>
                  </a:lnTo>
                  <a:lnTo>
                    <a:pt x="526" y="740"/>
                  </a:lnTo>
                  <a:lnTo>
                    <a:pt x="526" y="746"/>
                  </a:lnTo>
                  <a:lnTo>
                    <a:pt x="522" y="740"/>
                  </a:lnTo>
                  <a:lnTo>
                    <a:pt x="518" y="734"/>
                  </a:lnTo>
                  <a:lnTo>
                    <a:pt x="514" y="740"/>
                  </a:lnTo>
                  <a:lnTo>
                    <a:pt x="516" y="746"/>
                  </a:lnTo>
                  <a:lnTo>
                    <a:pt x="516" y="752"/>
                  </a:lnTo>
                  <a:lnTo>
                    <a:pt x="520" y="756"/>
                  </a:lnTo>
                  <a:lnTo>
                    <a:pt x="522" y="762"/>
                  </a:lnTo>
                  <a:lnTo>
                    <a:pt x="516" y="758"/>
                  </a:lnTo>
                  <a:lnTo>
                    <a:pt x="510" y="756"/>
                  </a:lnTo>
                  <a:lnTo>
                    <a:pt x="514" y="762"/>
                  </a:lnTo>
                  <a:lnTo>
                    <a:pt x="514" y="770"/>
                  </a:lnTo>
                  <a:lnTo>
                    <a:pt x="514" y="768"/>
                  </a:lnTo>
                  <a:lnTo>
                    <a:pt x="514" y="770"/>
                  </a:lnTo>
                  <a:lnTo>
                    <a:pt x="516" y="776"/>
                  </a:lnTo>
                  <a:lnTo>
                    <a:pt x="516" y="782"/>
                  </a:lnTo>
                  <a:lnTo>
                    <a:pt x="518" y="788"/>
                  </a:lnTo>
                  <a:lnTo>
                    <a:pt x="518" y="794"/>
                  </a:lnTo>
                  <a:lnTo>
                    <a:pt x="518" y="788"/>
                  </a:lnTo>
                  <a:lnTo>
                    <a:pt x="514" y="782"/>
                  </a:lnTo>
                  <a:lnTo>
                    <a:pt x="516" y="788"/>
                  </a:lnTo>
                  <a:lnTo>
                    <a:pt x="514" y="794"/>
                  </a:lnTo>
                  <a:lnTo>
                    <a:pt x="514" y="800"/>
                  </a:lnTo>
                  <a:lnTo>
                    <a:pt x="518" y="800"/>
                  </a:lnTo>
                  <a:lnTo>
                    <a:pt x="520" y="804"/>
                  </a:lnTo>
                  <a:lnTo>
                    <a:pt x="518" y="812"/>
                  </a:lnTo>
                  <a:lnTo>
                    <a:pt x="514" y="816"/>
                  </a:lnTo>
                  <a:lnTo>
                    <a:pt x="508" y="816"/>
                  </a:lnTo>
                  <a:lnTo>
                    <a:pt x="508" y="820"/>
                  </a:lnTo>
                  <a:lnTo>
                    <a:pt x="508" y="822"/>
                  </a:lnTo>
                  <a:lnTo>
                    <a:pt x="510" y="828"/>
                  </a:lnTo>
                  <a:lnTo>
                    <a:pt x="508" y="832"/>
                  </a:lnTo>
                  <a:lnTo>
                    <a:pt x="502" y="834"/>
                  </a:lnTo>
                  <a:lnTo>
                    <a:pt x="500" y="832"/>
                  </a:lnTo>
                  <a:lnTo>
                    <a:pt x="494" y="838"/>
                  </a:lnTo>
                  <a:lnTo>
                    <a:pt x="488" y="844"/>
                  </a:lnTo>
                  <a:lnTo>
                    <a:pt x="484" y="844"/>
                  </a:lnTo>
                  <a:lnTo>
                    <a:pt x="480" y="848"/>
                  </a:lnTo>
                  <a:lnTo>
                    <a:pt x="478" y="854"/>
                  </a:lnTo>
                  <a:lnTo>
                    <a:pt x="472" y="854"/>
                  </a:lnTo>
                  <a:lnTo>
                    <a:pt x="466" y="860"/>
                  </a:lnTo>
                  <a:lnTo>
                    <a:pt x="460" y="862"/>
                  </a:lnTo>
                  <a:lnTo>
                    <a:pt x="454" y="864"/>
                  </a:lnTo>
                  <a:lnTo>
                    <a:pt x="454" y="866"/>
                  </a:lnTo>
                  <a:lnTo>
                    <a:pt x="452" y="872"/>
                  </a:lnTo>
                  <a:lnTo>
                    <a:pt x="450" y="876"/>
                  </a:lnTo>
                  <a:lnTo>
                    <a:pt x="444" y="876"/>
                  </a:lnTo>
                  <a:lnTo>
                    <a:pt x="438" y="880"/>
                  </a:lnTo>
                  <a:lnTo>
                    <a:pt x="432" y="882"/>
                  </a:lnTo>
                  <a:lnTo>
                    <a:pt x="426" y="886"/>
                  </a:lnTo>
                  <a:lnTo>
                    <a:pt x="424" y="890"/>
                  </a:lnTo>
                  <a:lnTo>
                    <a:pt x="418" y="894"/>
                  </a:lnTo>
                  <a:lnTo>
                    <a:pt x="412" y="894"/>
                  </a:lnTo>
                  <a:lnTo>
                    <a:pt x="406" y="898"/>
                  </a:lnTo>
                  <a:lnTo>
                    <a:pt x="402" y="892"/>
                  </a:lnTo>
                  <a:lnTo>
                    <a:pt x="400" y="892"/>
                  </a:lnTo>
                  <a:lnTo>
                    <a:pt x="394" y="890"/>
                  </a:lnTo>
                  <a:lnTo>
                    <a:pt x="392" y="884"/>
                  </a:lnTo>
                  <a:lnTo>
                    <a:pt x="390" y="880"/>
                  </a:lnTo>
                  <a:lnTo>
                    <a:pt x="390" y="888"/>
                  </a:lnTo>
                  <a:lnTo>
                    <a:pt x="388" y="892"/>
                  </a:lnTo>
                  <a:lnTo>
                    <a:pt x="388" y="888"/>
                  </a:lnTo>
                  <a:lnTo>
                    <a:pt x="384" y="884"/>
                  </a:lnTo>
                  <a:lnTo>
                    <a:pt x="386" y="888"/>
                  </a:lnTo>
                  <a:lnTo>
                    <a:pt x="382" y="882"/>
                  </a:lnTo>
                  <a:lnTo>
                    <a:pt x="384" y="882"/>
                  </a:lnTo>
                  <a:lnTo>
                    <a:pt x="382" y="882"/>
                  </a:lnTo>
                  <a:lnTo>
                    <a:pt x="376" y="878"/>
                  </a:lnTo>
                  <a:lnTo>
                    <a:pt x="376" y="882"/>
                  </a:lnTo>
                  <a:lnTo>
                    <a:pt x="376" y="884"/>
                  </a:lnTo>
                  <a:lnTo>
                    <a:pt x="374" y="890"/>
                  </a:lnTo>
                  <a:lnTo>
                    <a:pt x="370" y="892"/>
                  </a:lnTo>
                  <a:lnTo>
                    <a:pt x="366" y="892"/>
                  </a:lnTo>
                  <a:lnTo>
                    <a:pt x="366" y="896"/>
                  </a:lnTo>
                  <a:lnTo>
                    <a:pt x="370" y="894"/>
                  </a:lnTo>
                  <a:lnTo>
                    <a:pt x="370" y="892"/>
                  </a:lnTo>
                  <a:lnTo>
                    <a:pt x="376" y="894"/>
                  </a:lnTo>
                  <a:lnTo>
                    <a:pt x="380" y="900"/>
                  </a:lnTo>
                  <a:lnTo>
                    <a:pt x="376" y="906"/>
                  </a:lnTo>
                  <a:lnTo>
                    <a:pt x="370" y="906"/>
                  </a:lnTo>
                  <a:lnTo>
                    <a:pt x="364" y="904"/>
                  </a:lnTo>
                  <a:lnTo>
                    <a:pt x="358" y="904"/>
                  </a:lnTo>
                  <a:lnTo>
                    <a:pt x="356" y="904"/>
                  </a:lnTo>
                  <a:lnTo>
                    <a:pt x="358" y="904"/>
                  </a:lnTo>
                  <a:lnTo>
                    <a:pt x="364" y="908"/>
                  </a:lnTo>
                  <a:lnTo>
                    <a:pt x="370" y="910"/>
                  </a:lnTo>
                  <a:lnTo>
                    <a:pt x="376" y="912"/>
                  </a:lnTo>
                  <a:lnTo>
                    <a:pt x="380" y="918"/>
                  </a:lnTo>
                  <a:lnTo>
                    <a:pt x="374" y="920"/>
                  </a:lnTo>
                  <a:lnTo>
                    <a:pt x="374" y="926"/>
                  </a:lnTo>
                  <a:lnTo>
                    <a:pt x="368" y="926"/>
                  </a:lnTo>
                  <a:lnTo>
                    <a:pt x="366" y="926"/>
                  </a:lnTo>
                  <a:lnTo>
                    <a:pt x="362" y="922"/>
                  </a:lnTo>
                  <a:lnTo>
                    <a:pt x="356" y="916"/>
                  </a:lnTo>
                  <a:lnTo>
                    <a:pt x="352" y="910"/>
                  </a:lnTo>
                  <a:lnTo>
                    <a:pt x="350" y="908"/>
                  </a:lnTo>
                  <a:lnTo>
                    <a:pt x="354" y="914"/>
                  </a:lnTo>
                  <a:lnTo>
                    <a:pt x="358" y="920"/>
                  </a:lnTo>
                  <a:lnTo>
                    <a:pt x="364" y="926"/>
                  </a:lnTo>
                  <a:lnTo>
                    <a:pt x="368" y="928"/>
                  </a:lnTo>
                  <a:lnTo>
                    <a:pt x="374" y="932"/>
                  </a:lnTo>
                  <a:lnTo>
                    <a:pt x="372" y="938"/>
                  </a:lnTo>
                  <a:lnTo>
                    <a:pt x="366" y="934"/>
                  </a:lnTo>
                  <a:lnTo>
                    <a:pt x="362" y="930"/>
                  </a:lnTo>
                  <a:lnTo>
                    <a:pt x="356" y="926"/>
                  </a:lnTo>
                  <a:lnTo>
                    <a:pt x="350" y="920"/>
                  </a:lnTo>
                  <a:lnTo>
                    <a:pt x="344" y="914"/>
                  </a:lnTo>
                  <a:lnTo>
                    <a:pt x="340" y="910"/>
                  </a:lnTo>
                  <a:lnTo>
                    <a:pt x="338" y="910"/>
                  </a:lnTo>
                  <a:lnTo>
                    <a:pt x="342" y="914"/>
                  </a:lnTo>
                  <a:lnTo>
                    <a:pt x="348" y="920"/>
                  </a:lnTo>
                  <a:lnTo>
                    <a:pt x="352" y="926"/>
                  </a:lnTo>
                  <a:lnTo>
                    <a:pt x="354" y="928"/>
                  </a:lnTo>
                  <a:lnTo>
                    <a:pt x="360" y="934"/>
                  </a:lnTo>
                  <a:lnTo>
                    <a:pt x="366" y="938"/>
                  </a:lnTo>
                  <a:lnTo>
                    <a:pt x="370" y="944"/>
                  </a:lnTo>
                  <a:lnTo>
                    <a:pt x="370" y="952"/>
                  </a:lnTo>
                  <a:lnTo>
                    <a:pt x="366" y="956"/>
                  </a:lnTo>
                  <a:lnTo>
                    <a:pt x="360" y="958"/>
                  </a:lnTo>
                  <a:lnTo>
                    <a:pt x="354" y="954"/>
                  </a:lnTo>
                  <a:lnTo>
                    <a:pt x="348" y="950"/>
                  </a:lnTo>
                  <a:lnTo>
                    <a:pt x="342" y="944"/>
                  </a:lnTo>
                  <a:lnTo>
                    <a:pt x="336" y="938"/>
                  </a:lnTo>
                  <a:lnTo>
                    <a:pt x="332" y="932"/>
                  </a:lnTo>
                  <a:lnTo>
                    <a:pt x="332" y="930"/>
                  </a:lnTo>
                  <a:lnTo>
                    <a:pt x="326" y="926"/>
                  </a:lnTo>
                  <a:lnTo>
                    <a:pt x="322" y="926"/>
                  </a:lnTo>
                  <a:lnTo>
                    <a:pt x="328" y="930"/>
                  </a:lnTo>
                  <a:lnTo>
                    <a:pt x="334" y="938"/>
                  </a:lnTo>
                  <a:lnTo>
                    <a:pt x="338" y="944"/>
                  </a:lnTo>
                  <a:lnTo>
                    <a:pt x="342" y="948"/>
                  </a:lnTo>
                  <a:lnTo>
                    <a:pt x="346" y="954"/>
                  </a:lnTo>
                  <a:lnTo>
                    <a:pt x="348" y="960"/>
                  </a:lnTo>
                  <a:lnTo>
                    <a:pt x="346" y="966"/>
                  </a:lnTo>
                  <a:lnTo>
                    <a:pt x="344" y="970"/>
                  </a:lnTo>
                  <a:lnTo>
                    <a:pt x="338" y="972"/>
                  </a:lnTo>
                  <a:lnTo>
                    <a:pt x="332" y="976"/>
                  </a:lnTo>
                  <a:lnTo>
                    <a:pt x="328" y="978"/>
                  </a:lnTo>
                  <a:lnTo>
                    <a:pt x="324" y="980"/>
                  </a:lnTo>
                  <a:lnTo>
                    <a:pt x="318" y="982"/>
                  </a:lnTo>
                  <a:lnTo>
                    <a:pt x="312" y="984"/>
                  </a:lnTo>
                  <a:lnTo>
                    <a:pt x="306" y="988"/>
                  </a:lnTo>
                  <a:lnTo>
                    <a:pt x="302" y="994"/>
                  </a:lnTo>
                  <a:lnTo>
                    <a:pt x="302" y="996"/>
                  </a:lnTo>
                  <a:lnTo>
                    <a:pt x="300" y="1002"/>
                  </a:lnTo>
                  <a:lnTo>
                    <a:pt x="298" y="1008"/>
                  </a:lnTo>
                  <a:lnTo>
                    <a:pt x="292" y="1012"/>
                  </a:lnTo>
                  <a:lnTo>
                    <a:pt x="288" y="1018"/>
                  </a:lnTo>
                  <a:lnTo>
                    <a:pt x="282" y="1022"/>
                  </a:lnTo>
                  <a:lnTo>
                    <a:pt x="276" y="1024"/>
                  </a:lnTo>
                  <a:lnTo>
                    <a:pt x="270" y="1026"/>
                  </a:lnTo>
                  <a:lnTo>
                    <a:pt x="264" y="1022"/>
                  </a:lnTo>
                  <a:lnTo>
                    <a:pt x="270" y="1016"/>
                  </a:lnTo>
                  <a:lnTo>
                    <a:pt x="276" y="1016"/>
                  </a:lnTo>
                  <a:lnTo>
                    <a:pt x="272" y="1014"/>
                  </a:lnTo>
                  <a:lnTo>
                    <a:pt x="274" y="1008"/>
                  </a:lnTo>
                  <a:lnTo>
                    <a:pt x="272" y="1008"/>
                  </a:lnTo>
                  <a:lnTo>
                    <a:pt x="266" y="1010"/>
                  </a:lnTo>
                  <a:lnTo>
                    <a:pt x="266" y="1004"/>
                  </a:lnTo>
                  <a:lnTo>
                    <a:pt x="266" y="998"/>
                  </a:lnTo>
                  <a:lnTo>
                    <a:pt x="266" y="992"/>
                  </a:lnTo>
                  <a:lnTo>
                    <a:pt x="264" y="988"/>
                  </a:lnTo>
                  <a:lnTo>
                    <a:pt x="264" y="982"/>
                  </a:lnTo>
                  <a:lnTo>
                    <a:pt x="264" y="976"/>
                  </a:lnTo>
                  <a:lnTo>
                    <a:pt x="264" y="970"/>
                  </a:lnTo>
                  <a:lnTo>
                    <a:pt x="264" y="964"/>
                  </a:lnTo>
                  <a:lnTo>
                    <a:pt x="264" y="958"/>
                  </a:lnTo>
                  <a:lnTo>
                    <a:pt x="264" y="952"/>
                  </a:lnTo>
                  <a:lnTo>
                    <a:pt x="266" y="946"/>
                  </a:lnTo>
                  <a:lnTo>
                    <a:pt x="266" y="940"/>
                  </a:lnTo>
                  <a:lnTo>
                    <a:pt x="272" y="934"/>
                  </a:lnTo>
                  <a:lnTo>
                    <a:pt x="278" y="930"/>
                  </a:lnTo>
                  <a:lnTo>
                    <a:pt x="280" y="936"/>
                  </a:lnTo>
                  <a:lnTo>
                    <a:pt x="280" y="930"/>
                  </a:lnTo>
                  <a:lnTo>
                    <a:pt x="276" y="926"/>
                  </a:lnTo>
                  <a:lnTo>
                    <a:pt x="272" y="920"/>
                  </a:lnTo>
                  <a:lnTo>
                    <a:pt x="268" y="918"/>
                  </a:lnTo>
                  <a:lnTo>
                    <a:pt x="264" y="916"/>
                  </a:lnTo>
                  <a:lnTo>
                    <a:pt x="258" y="910"/>
                  </a:lnTo>
                  <a:lnTo>
                    <a:pt x="252" y="912"/>
                  </a:lnTo>
                  <a:lnTo>
                    <a:pt x="246" y="912"/>
                  </a:lnTo>
                  <a:lnTo>
                    <a:pt x="242" y="906"/>
                  </a:lnTo>
                  <a:lnTo>
                    <a:pt x="240" y="900"/>
                  </a:lnTo>
                  <a:lnTo>
                    <a:pt x="240" y="896"/>
                  </a:lnTo>
                  <a:lnTo>
                    <a:pt x="240" y="900"/>
                  </a:lnTo>
                  <a:lnTo>
                    <a:pt x="236" y="896"/>
                  </a:lnTo>
                  <a:lnTo>
                    <a:pt x="238" y="896"/>
                  </a:lnTo>
                  <a:lnTo>
                    <a:pt x="242" y="892"/>
                  </a:lnTo>
                  <a:lnTo>
                    <a:pt x="244" y="888"/>
                  </a:lnTo>
                  <a:lnTo>
                    <a:pt x="250" y="888"/>
                  </a:lnTo>
                  <a:lnTo>
                    <a:pt x="252" y="888"/>
                  </a:lnTo>
                  <a:lnTo>
                    <a:pt x="258" y="890"/>
                  </a:lnTo>
                  <a:lnTo>
                    <a:pt x="264" y="886"/>
                  </a:lnTo>
                  <a:lnTo>
                    <a:pt x="266" y="884"/>
                  </a:lnTo>
                  <a:lnTo>
                    <a:pt x="268" y="880"/>
                  </a:lnTo>
                  <a:lnTo>
                    <a:pt x="274" y="874"/>
                  </a:lnTo>
                  <a:lnTo>
                    <a:pt x="272" y="868"/>
                  </a:lnTo>
                  <a:lnTo>
                    <a:pt x="270" y="862"/>
                  </a:lnTo>
                  <a:lnTo>
                    <a:pt x="272" y="860"/>
                  </a:lnTo>
                  <a:lnTo>
                    <a:pt x="274" y="862"/>
                  </a:lnTo>
                  <a:lnTo>
                    <a:pt x="278" y="862"/>
                  </a:lnTo>
                  <a:lnTo>
                    <a:pt x="280" y="862"/>
                  </a:lnTo>
                  <a:lnTo>
                    <a:pt x="280" y="864"/>
                  </a:lnTo>
                  <a:lnTo>
                    <a:pt x="286" y="866"/>
                  </a:lnTo>
                  <a:lnTo>
                    <a:pt x="292" y="862"/>
                  </a:lnTo>
                  <a:lnTo>
                    <a:pt x="298" y="860"/>
                  </a:lnTo>
                  <a:lnTo>
                    <a:pt x="302" y="858"/>
                  </a:lnTo>
                  <a:lnTo>
                    <a:pt x="308" y="858"/>
                  </a:lnTo>
                  <a:lnTo>
                    <a:pt x="314" y="854"/>
                  </a:lnTo>
                  <a:lnTo>
                    <a:pt x="318" y="860"/>
                  </a:lnTo>
                  <a:lnTo>
                    <a:pt x="320" y="864"/>
                  </a:lnTo>
                  <a:lnTo>
                    <a:pt x="324" y="868"/>
                  </a:lnTo>
                  <a:lnTo>
                    <a:pt x="330" y="868"/>
                  </a:lnTo>
                  <a:lnTo>
                    <a:pt x="334" y="870"/>
                  </a:lnTo>
                  <a:lnTo>
                    <a:pt x="340" y="872"/>
                  </a:lnTo>
                  <a:lnTo>
                    <a:pt x="340" y="864"/>
                  </a:lnTo>
                  <a:lnTo>
                    <a:pt x="336" y="858"/>
                  </a:lnTo>
                  <a:lnTo>
                    <a:pt x="340" y="858"/>
                  </a:lnTo>
                  <a:lnTo>
                    <a:pt x="340" y="856"/>
                  </a:lnTo>
                  <a:lnTo>
                    <a:pt x="338" y="852"/>
                  </a:lnTo>
                  <a:lnTo>
                    <a:pt x="332" y="850"/>
                  </a:lnTo>
                  <a:lnTo>
                    <a:pt x="328" y="844"/>
                  </a:lnTo>
                  <a:lnTo>
                    <a:pt x="322" y="840"/>
                  </a:lnTo>
                  <a:lnTo>
                    <a:pt x="318" y="832"/>
                  </a:lnTo>
                  <a:lnTo>
                    <a:pt x="318" y="828"/>
                  </a:lnTo>
                  <a:lnTo>
                    <a:pt x="318" y="822"/>
                  </a:lnTo>
                  <a:lnTo>
                    <a:pt x="314" y="816"/>
                  </a:lnTo>
                  <a:lnTo>
                    <a:pt x="314" y="814"/>
                  </a:lnTo>
                  <a:lnTo>
                    <a:pt x="318" y="812"/>
                  </a:lnTo>
                  <a:lnTo>
                    <a:pt x="322" y="810"/>
                  </a:lnTo>
                  <a:lnTo>
                    <a:pt x="324" y="804"/>
                  </a:lnTo>
                  <a:lnTo>
                    <a:pt x="330" y="804"/>
                  </a:lnTo>
                  <a:lnTo>
                    <a:pt x="334" y="804"/>
                  </a:lnTo>
                  <a:lnTo>
                    <a:pt x="340" y="806"/>
                  </a:lnTo>
                  <a:lnTo>
                    <a:pt x="344" y="808"/>
                  </a:lnTo>
                  <a:lnTo>
                    <a:pt x="350" y="810"/>
                  </a:lnTo>
                  <a:lnTo>
                    <a:pt x="352" y="810"/>
                  </a:lnTo>
                  <a:lnTo>
                    <a:pt x="350" y="804"/>
                  </a:lnTo>
                  <a:lnTo>
                    <a:pt x="350" y="798"/>
                  </a:lnTo>
                  <a:lnTo>
                    <a:pt x="352" y="796"/>
                  </a:lnTo>
                  <a:lnTo>
                    <a:pt x="348" y="790"/>
                  </a:lnTo>
                  <a:lnTo>
                    <a:pt x="354" y="788"/>
                  </a:lnTo>
                  <a:lnTo>
                    <a:pt x="356" y="790"/>
                  </a:lnTo>
                  <a:lnTo>
                    <a:pt x="362" y="790"/>
                  </a:lnTo>
                  <a:lnTo>
                    <a:pt x="366" y="788"/>
                  </a:lnTo>
                  <a:lnTo>
                    <a:pt x="370" y="782"/>
                  </a:lnTo>
                  <a:lnTo>
                    <a:pt x="374" y="782"/>
                  </a:lnTo>
                  <a:lnTo>
                    <a:pt x="380" y="782"/>
                  </a:lnTo>
                  <a:lnTo>
                    <a:pt x="384" y="778"/>
                  </a:lnTo>
                  <a:lnTo>
                    <a:pt x="388" y="772"/>
                  </a:lnTo>
                  <a:lnTo>
                    <a:pt x="392" y="768"/>
                  </a:lnTo>
                  <a:lnTo>
                    <a:pt x="398" y="766"/>
                  </a:lnTo>
                  <a:lnTo>
                    <a:pt x="404" y="764"/>
                  </a:lnTo>
                  <a:lnTo>
                    <a:pt x="404" y="766"/>
                  </a:lnTo>
                  <a:lnTo>
                    <a:pt x="410" y="766"/>
                  </a:lnTo>
                  <a:lnTo>
                    <a:pt x="414" y="760"/>
                  </a:lnTo>
                  <a:lnTo>
                    <a:pt x="416" y="754"/>
                  </a:lnTo>
                  <a:lnTo>
                    <a:pt x="416" y="752"/>
                  </a:lnTo>
                  <a:lnTo>
                    <a:pt x="414" y="746"/>
                  </a:lnTo>
                  <a:lnTo>
                    <a:pt x="414" y="740"/>
                  </a:lnTo>
                  <a:lnTo>
                    <a:pt x="412" y="736"/>
                  </a:lnTo>
                  <a:lnTo>
                    <a:pt x="410" y="728"/>
                  </a:lnTo>
                  <a:lnTo>
                    <a:pt x="408" y="722"/>
                  </a:lnTo>
                  <a:lnTo>
                    <a:pt x="406" y="718"/>
                  </a:lnTo>
                  <a:lnTo>
                    <a:pt x="406" y="716"/>
                  </a:lnTo>
                  <a:lnTo>
                    <a:pt x="408" y="710"/>
                  </a:lnTo>
                  <a:lnTo>
                    <a:pt x="408" y="704"/>
                  </a:lnTo>
                  <a:lnTo>
                    <a:pt x="410" y="698"/>
                  </a:lnTo>
                  <a:lnTo>
                    <a:pt x="412" y="696"/>
                  </a:lnTo>
                  <a:lnTo>
                    <a:pt x="412" y="690"/>
                  </a:lnTo>
                  <a:lnTo>
                    <a:pt x="412" y="688"/>
                  </a:lnTo>
                  <a:lnTo>
                    <a:pt x="412" y="684"/>
                  </a:lnTo>
                  <a:lnTo>
                    <a:pt x="408" y="678"/>
                  </a:lnTo>
                  <a:lnTo>
                    <a:pt x="408" y="676"/>
                  </a:lnTo>
                  <a:lnTo>
                    <a:pt x="404" y="670"/>
                  </a:lnTo>
                  <a:lnTo>
                    <a:pt x="400" y="664"/>
                  </a:lnTo>
                  <a:lnTo>
                    <a:pt x="398" y="656"/>
                  </a:lnTo>
                  <a:lnTo>
                    <a:pt x="398" y="654"/>
                  </a:lnTo>
                  <a:lnTo>
                    <a:pt x="392" y="648"/>
                  </a:lnTo>
                  <a:lnTo>
                    <a:pt x="390" y="642"/>
                  </a:lnTo>
                  <a:lnTo>
                    <a:pt x="390" y="636"/>
                  </a:lnTo>
                  <a:lnTo>
                    <a:pt x="390" y="630"/>
                  </a:lnTo>
                  <a:lnTo>
                    <a:pt x="390" y="626"/>
                  </a:lnTo>
                  <a:lnTo>
                    <a:pt x="392" y="620"/>
                  </a:lnTo>
                  <a:lnTo>
                    <a:pt x="396" y="614"/>
                  </a:lnTo>
                  <a:lnTo>
                    <a:pt x="396" y="608"/>
                  </a:lnTo>
                  <a:lnTo>
                    <a:pt x="398" y="602"/>
                  </a:lnTo>
                  <a:lnTo>
                    <a:pt x="398" y="600"/>
                  </a:lnTo>
                  <a:lnTo>
                    <a:pt x="394" y="594"/>
                  </a:lnTo>
                  <a:lnTo>
                    <a:pt x="398" y="588"/>
                  </a:lnTo>
                  <a:lnTo>
                    <a:pt x="392" y="584"/>
                  </a:lnTo>
                  <a:lnTo>
                    <a:pt x="390" y="580"/>
                  </a:lnTo>
                  <a:lnTo>
                    <a:pt x="396" y="576"/>
                  </a:lnTo>
                  <a:lnTo>
                    <a:pt x="400" y="570"/>
                  </a:lnTo>
                  <a:lnTo>
                    <a:pt x="400" y="564"/>
                  </a:lnTo>
                  <a:lnTo>
                    <a:pt x="402" y="564"/>
                  </a:lnTo>
                  <a:lnTo>
                    <a:pt x="400" y="558"/>
                  </a:lnTo>
                  <a:lnTo>
                    <a:pt x="394" y="552"/>
                  </a:lnTo>
                  <a:lnTo>
                    <a:pt x="390" y="550"/>
                  </a:lnTo>
                  <a:lnTo>
                    <a:pt x="386" y="544"/>
                  </a:lnTo>
                  <a:lnTo>
                    <a:pt x="380" y="542"/>
                  </a:lnTo>
                  <a:lnTo>
                    <a:pt x="376" y="536"/>
                  </a:lnTo>
                  <a:lnTo>
                    <a:pt x="372" y="532"/>
                  </a:lnTo>
                  <a:lnTo>
                    <a:pt x="366" y="526"/>
                  </a:lnTo>
                  <a:lnTo>
                    <a:pt x="372" y="520"/>
                  </a:lnTo>
                  <a:lnTo>
                    <a:pt x="378" y="516"/>
                  </a:lnTo>
                  <a:lnTo>
                    <a:pt x="382" y="510"/>
                  </a:lnTo>
                  <a:lnTo>
                    <a:pt x="382" y="508"/>
                  </a:lnTo>
                  <a:lnTo>
                    <a:pt x="376" y="506"/>
                  </a:lnTo>
                  <a:lnTo>
                    <a:pt x="370" y="502"/>
                  </a:lnTo>
                  <a:lnTo>
                    <a:pt x="364" y="500"/>
                  </a:lnTo>
                  <a:lnTo>
                    <a:pt x="362" y="496"/>
                  </a:lnTo>
                  <a:lnTo>
                    <a:pt x="362" y="494"/>
                  </a:lnTo>
                  <a:lnTo>
                    <a:pt x="356" y="490"/>
                  </a:lnTo>
                  <a:lnTo>
                    <a:pt x="354" y="490"/>
                  </a:lnTo>
                  <a:lnTo>
                    <a:pt x="352" y="490"/>
                  </a:lnTo>
                  <a:lnTo>
                    <a:pt x="350" y="490"/>
                  </a:lnTo>
                  <a:lnTo>
                    <a:pt x="346" y="484"/>
                  </a:lnTo>
                  <a:lnTo>
                    <a:pt x="344" y="478"/>
                  </a:lnTo>
                  <a:lnTo>
                    <a:pt x="338" y="478"/>
                  </a:lnTo>
                  <a:lnTo>
                    <a:pt x="336" y="480"/>
                  </a:lnTo>
                  <a:lnTo>
                    <a:pt x="332" y="478"/>
                  </a:lnTo>
                  <a:lnTo>
                    <a:pt x="328" y="472"/>
                  </a:lnTo>
                  <a:lnTo>
                    <a:pt x="324" y="466"/>
                  </a:lnTo>
                  <a:lnTo>
                    <a:pt x="322" y="466"/>
                  </a:lnTo>
                  <a:lnTo>
                    <a:pt x="320" y="460"/>
                  </a:lnTo>
                  <a:lnTo>
                    <a:pt x="320" y="454"/>
                  </a:lnTo>
                  <a:lnTo>
                    <a:pt x="320" y="450"/>
                  </a:lnTo>
                  <a:lnTo>
                    <a:pt x="318" y="448"/>
                  </a:lnTo>
                  <a:lnTo>
                    <a:pt x="318" y="446"/>
                  </a:lnTo>
                  <a:lnTo>
                    <a:pt x="318" y="444"/>
                  </a:lnTo>
                  <a:lnTo>
                    <a:pt x="312" y="442"/>
                  </a:lnTo>
                  <a:lnTo>
                    <a:pt x="310" y="440"/>
                  </a:lnTo>
                  <a:lnTo>
                    <a:pt x="308" y="434"/>
                  </a:lnTo>
                  <a:lnTo>
                    <a:pt x="304" y="428"/>
                  </a:lnTo>
                  <a:lnTo>
                    <a:pt x="302" y="422"/>
                  </a:lnTo>
                  <a:lnTo>
                    <a:pt x="296" y="424"/>
                  </a:lnTo>
                  <a:lnTo>
                    <a:pt x="294" y="422"/>
                  </a:lnTo>
                  <a:lnTo>
                    <a:pt x="288" y="418"/>
                  </a:lnTo>
                  <a:lnTo>
                    <a:pt x="282" y="412"/>
                  </a:lnTo>
                  <a:lnTo>
                    <a:pt x="276" y="406"/>
                  </a:lnTo>
                  <a:lnTo>
                    <a:pt x="272" y="400"/>
                  </a:lnTo>
                  <a:lnTo>
                    <a:pt x="266" y="396"/>
                  </a:lnTo>
                  <a:lnTo>
                    <a:pt x="264" y="394"/>
                  </a:lnTo>
                  <a:lnTo>
                    <a:pt x="260" y="388"/>
                  </a:lnTo>
                  <a:lnTo>
                    <a:pt x="256" y="384"/>
                  </a:lnTo>
                  <a:lnTo>
                    <a:pt x="254" y="378"/>
                  </a:lnTo>
                  <a:lnTo>
                    <a:pt x="254" y="372"/>
                  </a:lnTo>
                  <a:lnTo>
                    <a:pt x="248" y="368"/>
                  </a:lnTo>
                  <a:lnTo>
                    <a:pt x="244" y="362"/>
                  </a:lnTo>
                  <a:lnTo>
                    <a:pt x="238" y="358"/>
                  </a:lnTo>
                  <a:lnTo>
                    <a:pt x="238" y="360"/>
                  </a:lnTo>
                  <a:lnTo>
                    <a:pt x="232" y="354"/>
                  </a:lnTo>
                  <a:lnTo>
                    <a:pt x="226" y="352"/>
                  </a:lnTo>
                  <a:lnTo>
                    <a:pt x="224" y="346"/>
                  </a:lnTo>
                  <a:lnTo>
                    <a:pt x="222" y="346"/>
                  </a:lnTo>
                  <a:lnTo>
                    <a:pt x="218" y="340"/>
                  </a:lnTo>
                  <a:lnTo>
                    <a:pt x="218" y="334"/>
                  </a:lnTo>
                  <a:lnTo>
                    <a:pt x="222" y="328"/>
                  </a:lnTo>
                  <a:lnTo>
                    <a:pt x="218" y="324"/>
                  </a:lnTo>
                  <a:lnTo>
                    <a:pt x="212" y="322"/>
                  </a:lnTo>
                  <a:lnTo>
                    <a:pt x="208" y="320"/>
                  </a:lnTo>
                  <a:lnTo>
                    <a:pt x="202" y="318"/>
                  </a:lnTo>
                  <a:lnTo>
                    <a:pt x="196" y="318"/>
                  </a:lnTo>
                  <a:lnTo>
                    <a:pt x="190" y="316"/>
                  </a:lnTo>
                  <a:lnTo>
                    <a:pt x="184" y="312"/>
                  </a:lnTo>
                  <a:lnTo>
                    <a:pt x="178" y="306"/>
                  </a:lnTo>
                  <a:lnTo>
                    <a:pt x="174" y="304"/>
                  </a:lnTo>
                  <a:lnTo>
                    <a:pt x="168" y="298"/>
                  </a:lnTo>
                  <a:lnTo>
                    <a:pt x="162" y="296"/>
                  </a:lnTo>
                  <a:lnTo>
                    <a:pt x="158" y="296"/>
                  </a:lnTo>
                  <a:lnTo>
                    <a:pt x="154" y="290"/>
                  </a:lnTo>
                  <a:lnTo>
                    <a:pt x="148" y="286"/>
                  </a:lnTo>
                  <a:lnTo>
                    <a:pt x="142" y="286"/>
                  </a:lnTo>
                  <a:lnTo>
                    <a:pt x="136" y="282"/>
                  </a:lnTo>
                  <a:lnTo>
                    <a:pt x="140" y="276"/>
                  </a:lnTo>
                  <a:lnTo>
                    <a:pt x="146" y="274"/>
                  </a:lnTo>
                  <a:lnTo>
                    <a:pt x="146" y="272"/>
                  </a:lnTo>
                  <a:lnTo>
                    <a:pt x="146" y="266"/>
                  </a:lnTo>
                  <a:lnTo>
                    <a:pt x="142" y="260"/>
                  </a:lnTo>
                  <a:lnTo>
                    <a:pt x="140" y="256"/>
                  </a:lnTo>
                  <a:lnTo>
                    <a:pt x="140" y="254"/>
                  </a:lnTo>
                  <a:lnTo>
                    <a:pt x="146" y="256"/>
                  </a:lnTo>
                  <a:lnTo>
                    <a:pt x="152" y="254"/>
                  </a:lnTo>
                  <a:lnTo>
                    <a:pt x="158" y="256"/>
                  </a:lnTo>
                  <a:lnTo>
                    <a:pt x="164" y="256"/>
                  </a:lnTo>
                  <a:lnTo>
                    <a:pt x="170" y="260"/>
                  </a:lnTo>
                  <a:lnTo>
                    <a:pt x="176" y="260"/>
                  </a:lnTo>
                  <a:lnTo>
                    <a:pt x="178" y="254"/>
                  </a:lnTo>
                  <a:lnTo>
                    <a:pt x="184" y="248"/>
                  </a:lnTo>
                  <a:lnTo>
                    <a:pt x="188" y="244"/>
                  </a:lnTo>
                  <a:lnTo>
                    <a:pt x="184" y="242"/>
                  </a:lnTo>
                  <a:lnTo>
                    <a:pt x="188" y="236"/>
                  </a:lnTo>
                  <a:lnTo>
                    <a:pt x="194" y="234"/>
                  </a:lnTo>
                  <a:lnTo>
                    <a:pt x="194" y="228"/>
                  </a:lnTo>
                  <a:lnTo>
                    <a:pt x="190" y="222"/>
                  </a:lnTo>
                  <a:lnTo>
                    <a:pt x="188" y="220"/>
                  </a:lnTo>
                  <a:lnTo>
                    <a:pt x="182" y="218"/>
                  </a:lnTo>
                  <a:lnTo>
                    <a:pt x="176" y="218"/>
                  </a:lnTo>
                  <a:lnTo>
                    <a:pt x="174" y="214"/>
                  </a:lnTo>
                  <a:lnTo>
                    <a:pt x="170" y="208"/>
                  </a:lnTo>
                  <a:lnTo>
                    <a:pt x="166" y="204"/>
                  </a:lnTo>
                  <a:lnTo>
                    <a:pt x="160" y="204"/>
                  </a:lnTo>
                  <a:lnTo>
                    <a:pt x="154" y="202"/>
                  </a:lnTo>
                  <a:lnTo>
                    <a:pt x="158" y="198"/>
                  </a:lnTo>
                  <a:lnTo>
                    <a:pt x="158" y="196"/>
                  </a:lnTo>
                  <a:lnTo>
                    <a:pt x="164" y="198"/>
                  </a:lnTo>
                  <a:lnTo>
                    <a:pt x="166" y="192"/>
                  </a:lnTo>
                  <a:lnTo>
                    <a:pt x="164" y="186"/>
                  </a:lnTo>
                  <a:lnTo>
                    <a:pt x="158" y="184"/>
                  </a:lnTo>
                  <a:lnTo>
                    <a:pt x="158" y="180"/>
                  </a:lnTo>
                  <a:lnTo>
                    <a:pt x="152" y="178"/>
                  </a:lnTo>
                  <a:lnTo>
                    <a:pt x="146" y="172"/>
                  </a:lnTo>
                  <a:lnTo>
                    <a:pt x="140" y="170"/>
                  </a:lnTo>
                  <a:lnTo>
                    <a:pt x="134" y="168"/>
                  </a:lnTo>
                  <a:lnTo>
                    <a:pt x="130" y="168"/>
                  </a:lnTo>
                  <a:lnTo>
                    <a:pt x="124" y="170"/>
                  </a:lnTo>
                  <a:lnTo>
                    <a:pt x="122" y="172"/>
                  </a:lnTo>
                  <a:lnTo>
                    <a:pt x="116" y="176"/>
                  </a:lnTo>
                  <a:lnTo>
                    <a:pt x="116" y="182"/>
                  </a:lnTo>
                  <a:lnTo>
                    <a:pt x="112" y="188"/>
                  </a:lnTo>
                  <a:lnTo>
                    <a:pt x="106" y="184"/>
                  </a:lnTo>
                  <a:lnTo>
                    <a:pt x="100" y="182"/>
                  </a:lnTo>
                  <a:lnTo>
                    <a:pt x="94" y="176"/>
                  </a:lnTo>
                  <a:lnTo>
                    <a:pt x="90" y="178"/>
                  </a:lnTo>
                  <a:lnTo>
                    <a:pt x="84" y="176"/>
                  </a:lnTo>
                  <a:lnTo>
                    <a:pt x="78" y="176"/>
                  </a:lnTo>
                  <a:lnTo>
                    <a:pt x="74" y="170"/>
                  </a:lnTo>
                  <a:lnTo>
                    <a:pt x="68" y="164"/>
                  </a:lnTo>
                  <a:lnTo>
                    <a:pt x="62" y="158"/>
                  </a:lnTo>
                  <a:lnTo>
                    <a:pt x="58" y="152"/>
                  </a:lnTo>
                  <a:lnTo>
                    <a:pt x="58" y="148"/>
                  </a:lnTo>
                  <a:lnTo>
                    <a:pt x="56" y="146"/>
                  </a:lnTo>
                  <a:lnTo>
                    <a:pt x="56" y="142"/>
                  </a:lnTo>
                  <a:lnTo>
                    <a:pt x="56" y="134"/>
                  </a:lnTo>
                  <a:lnTo>
                    <a:pt x="56" y="130"/>
                  </a:lnTo>
                  <a:lnTo>
                    <a:pt x="60" y="124"/>
                  </a:lnTo>
                  <a:lnTo>
                    <a:pt x="58" y="120"/>
                  </a:lnTo>
                  <a:lnTo>
                    <a:pt x="56" y="114"/>
                  </a:lnTo>
                  <a:lnTo>
                    <a:pt x="50" y="112"/>
                  </a:lnTo>
                  <a:lnTo>
                    <a:pt x="46" y="106"/>
                  </a:lnTo>
                  <a:lnTo>
                    <a:pt x="48" y="112"/>
                  </a:lnTo>
                  <a:lnTo>
                    <a:pt x="44" y="118"/>
                  </a:lnTo>
                  <a:lnTo>
                    <a:pt x="38" y="114"/>
                  </a:lnTo>
                  <a:lnTo>
                    <a:pt x="38" y="108"/>
                  </a:lnTo>
                  <a:lnTo>
                    <a:pt x="34" y="104"/>
                  </a:lnTo>
                  <a:lnTo>
                    <a:pt x="30" y="100"/>
                  </a:lnTo>
                  <a:lnTo>
                    <a:pt x="26" y="96"/>
                  </a:lnTo>
                  <a:lnTo>
                    <a:pt x="22" y="90"/>
                  </a:lnTo>
                  <a:lnTo>
                    <a:pt x="16" y="84"/>
                  </a:lnTo>
                  <a:lnTo>
                    <a:pt x="10" y="80"/>
                  </a:lnTo>
                  <a:lnTo>
                    <a:pt x="4" y="74"/>
                  </a:lnTo>
                  <a:lnTo>
                    <a:pt x="0"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6" name="Freeform 123"/>
            <p:cNvSpPr>
              <a:spLocks/>
            </p:cNvSpPr>
            <p:nvPr/>
          </p:nvSpPr>
          <p:spPr bwMode="auto">
            <a:xfrm>
              <a:off x="6621463" y="3663950"/>
              <a:ext cx="214312" cy="420688"/>
            </a:xfrm>
            <a:custGeom>
              <a:avLst/>
              <a:gdLst>
                <a:gd name="T0" fmla="*/ 2147483647 w 526"/>
                <a:gd name="T1" fmla="*/ 2147483647 h 1024"/>
                <a:gd name="T2" fmla="*/ 2147483647 w 526"/>
                <a:gd name="T3" fmla="*/ 2147483647 h 1024"/>
                <a:gd name="T4" fmla="*/ 2147483647 w 526"/>
                <a:gd name="T5" fmla="*/ 2147483647 h 1024"/>
                <a:gd name="T6" fmla="*/ 2147483647 w 526"/>
                <a:gd name="T7" fmla="*/ 2147483647 h 1024"/>
                <a:gd name="T8" fmla="*/ 2147483647 w 526"/>
                <a:gd name="T9" fmla="*/ 2147483647 h 1024"/>
                <a:gd name="T10" fmla="*/ 2147483647 w 526"/>
                <a:gd name="T11" fmla="*/ 2147483647 h 1024"/>
                <a:gd name="T12" fmla="*/ 2147483647 w 526"/>
                <a:gd name="T13" fmla="*/ 2147483647 h 1024"/>
                <a:gd name="T14" fmla="*/ 2147483647 w 526"/>
                <a:gd name="T15" fmla="*/ 2147483647 h 1024"/>
                <a:gd name="T16" fmla="*/ 2147483647 w 526"/>
                <a:gd name="T17" fmla="*/ 2147483647 h 1024"/>
                <a:gd name="T18" fmla="*/ 2147483647 w 526"/>
                <a:gd name="T19" fmla="*/ 2147483647 h 1024"/>
                <a:gd name="T20" fmla="*/ 2147483647 w 526"/>
                <a:gd name="T21" fmla="*/ 2147483647 h 1024"/>
                <a:gd name="T22" fmla="*/ 2147483647 w 526"/>
                <a:gd name="T23" fmla="*/ 2147483647 h 1024"/>
                <a:gd name="T24" fmla="*/ 2147483647 w 526"/>
                <a:gd name="T25" fmla="*/ 2147483647 h 1024"/>
                <a:gd name="T26" fmla="*/ 2147483647 w 526"/>
                <a:gd name="T27" fmla="*/ 2147483647 h 1024"/>
                <a:gd name="T28" fmla="*/ 2147483647 w 526"/>
                <a:gd name="T29" fmla="*/ 2147483647 h 1024"/>
                <a:gd name="T30" fmla="*/ 2147483647 w 526"/>
                <a:gd name="T31" fmla="*/ 2147483647 h 1024"/>
                <a:gd name="T32" fmla="*/ 2147483647 w 526"/>
                <a:gd name="T33" fmla="*/ 2147483647 h 1024"/>
                <a:gd name="T34" fmla="*/ 2147483647 w 526"/>
                <a:gd name="T35" fmla="*/ 2147483647 h 1024"/>
                <a:gd name="T36" fmla="*/ 2147483647 w 526"/>
                <a:gd name="T37" fmla="*/ 2147483647 h 1024"/>
                <a:gd name="T38" fmla="*/ 2147483647 w 526"/>
                <a:gd name="T39" fmla="*/ 2147483647 h 1024"/>
                <a:gd name="T40" fmla="*/ 2147483647 w 526"/>
                <a:gd name="T41" fmla="*/ 2147483647 h 1024"/>
                <a:gd name="T42" fmla="*/ 2147483647 w 526"/>
                <a:gd name="T43" fmla="*/ 2147483647 h 1024"/>
                <a:gd name="T44" fmla="*/ 2147483647 w 526"/>
                <a:gd name="T45" fmla="*/ 2147483647 h 1024"/>
                <a:gd name="T46" fmla="*/ 2147483647 w 526"/>
                <a:gd name="T47" fmla="*/ 2147483647 h 1024"/>
                <a:gd name="T48" fmla="*/ 2147483647 w 526"/>
                <a:gd name="T49" fmla="*/ 2147483647 h 1024"/>
                <a:gd name="T50" fmla="*/ 2147483647 w 526"/>
                <a:gd name="T51" fmla="*/ 2147483647 h 1024"/>
                <a:gd name="T52" fmla="*/ 2147483647 w 526"/>
                <a:gd name="T53" fmla="*/ 2147483647 h 1024"/>
                <a:gd name="T54" fmla="*/ 2147483647 w 526"/>
                <a:gd name="T55" fmla="*/ 2147483647 h 1024"/>
                <a:gd name="T56" fmla="*/ 2147483647 w 526"/>
                <a:gd name="T57" fmla="*/ 2147483647 h 1024"/>
                <a:gd name="T58" fmla="*/ 2147483647 w 526"/>
                <a:gd name="T59" fmla="*/ 2147483647 h 1024"/>
                <a:gd name="T60" fmla="*/ 2147483647 w 526"/>
                <a:gd name="T61" fmla="*/ 2147483647 h 1024"/>
                <a:gd name="T62" fmla="*/ 2147483647 w 526"/>
                <a:gd name="T63" fmla="*/ 2147483647 h 1024"/>
                <a:gd name="T64" fmla="*/ 2147483647 w 526"/>
                <a:gd name="T65" fmla="*/ 2147483647 h 1024"/>
                <a:gd name="T66" fmla="*/ 2147483647 w 526"/>
                <a:gd name="T67" fmla="*/ 2147483647 h 1024"/>
                <a:gd name="T68" fmla="*/ 2147483647 w 526"/>
                <a:gd name="T69" fmla="*/ 2147483647 h 1024"/>
                <a:gd name="T70" fmla="*/ 2147483647 w 526"/>
                <a:gd name="T71" fmla="*/ 2147483647 h 1024"/>
                <a:gd name="T72" fmla="*/ 2147483647 w 526"/>
                <a:gd name="T73" fmla="*/ 2147483647 h 1024"/>
                <a:gd name="T74" fmla="*/ 2147483647 w 526"/>
                <a:gd name="T75" fmla="*/ 2147483647 h 1024"/>
                <a:gd name="T76" fmla="*/ 2147483647 w 526"/>
                <a:gd name="T77" fmla="*/ 2147483647 h 1024"/>
                <a:gd name="T78" fmla="*/ 2147483647 w 526"/>
                <a:gd name="T79" fmla="*/ 2147483647 h 1024"/>
                <a:gd name="T80" fmla="*/ 2147483647 w 526"/>
                <a:gd name="T81" fmla="*/ 2147483647 h 1024"/>
                <a:gd name="T82" fmla="*/ 2147483647 w 526"/>
                <a:gd name="T83" fmla="*/ 2147483647 h 1024"/>
                <a:gd name="T84" fmla="*/ 2147483647 w 526"/>
                <a:gd name="T85" fmla="*/ 2147483647 h 1024"/>
                <a:gd name="T86" fmla="*/ 2147483647 w 526"/>
                <a:gd name="T87" fmla="*/ 2147483647 h 1024"/>
                <a:gd name="T88" fmla="*/ 2147483647 w 526"/>
                <a:gd name="T89" fmla="*/ 2147483647 h 1024"/>
                <a:gd name="T90" fmla="*/ 2147483647 w 526"/>
                <a:gd name="T91" fmla="*/ 2147483647 h 1024"/>
                <a:gd name="T92" fmla="*/ 2147483647 w 526"/>
                <a:gd name="T93" fmla="*/ 2147483647 h 1024"/>
                <a:gd name="T94" fmla="*/ 2147483647 w 526"/>
                <a:gd name="T95" fmla="*/ 2147483647 h 1024"/>
                <a:gd name="T96" fmla="*/ 2147483647 w 526"/>
                <a:gd name="T97" fmla="*/ 2147483647 h 1024"/>
                <a:gd name="T98" fmla="*/ 2147483647 w 526"/>
                <a:gd name="T99" fmla="*/ 2147483647 h 1024"/>
                <a:gd name="T100" fmla="*/ 2147483647 w 526"/>
                <a:gd name="T101" fmla="*/ 2147483647 h 1024"/>
                <a:gd name="T102" fmla="*/ 2147483647 w 526"/>
                <a:gd name="T103" fmla="*/ 2147483647 h 1024"/>
                <a:gd name="T104" fmla="*/ 2147483647 w 526"/>
                <a:gd name="T105" fmla="*/ 2147483647 h 1024"/>
                <a:gd name="T106" fmla="*/ 2147483647 w 526"/>
                <a:gd name="T107" fmla="*/ 2147483647 h 1024"/>
                <a:gd name="T108" fmla="*/ 2147483647 w 526"/>
                <a:gd name="T109" fmla="*/ 2147483647 h 1024"/>
                <a:gd name="T110" fmla="*/ 2147483647 w 526"/>
                <a:gd name="T111" fmla="*/ 2147483647 h 1024"/>
                <a:gd name="T112" fmla="*/ 2147483647 w 526"/>
                <a:gd name="T113" fmla="*/ 2147483647 h 1024"/>
                <a:gd name="T114" fmla="*/ 2147483647 w 526"/>
                <a:gd name="T115" fmla="*/ 2147483647 h 1024"/>
                <a:gd name="T116" fmla="*/ 2147483647 w 526"/>
                <a:gd name="T117" fmla="*/ 2147483647 h 1024"/>
                <a:gd name="T118" fmla="*/ 2147483647 w 526"/>
                <a:gd name="T119" fmla="*/ 2147483647 h 1024"/>
                <a:gd name="T120" fmla="*/ 2147483647 w 526"/>
                <a:gd name="T121" fmla="*/ 2147483647 h 1024"/>
                <a:gd name="T122" fmla="*/ 2147483647 w 526"/>
                <a:gd name="T123" fmla="*/ 2147483647 h 1024"/>
                <a:gd name="T124" fmla="*/ 2147483647 w 526"/>
                <a:gd name="T125" fmla="*/ 2147483647 h 10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26"/>
                <a:gd name="T190" fmla="*/ 0 h 1024"/>
                <a:gd name="T191" fmla="*/ 526 w 526"/>
                <a:gd name="T192" fmla="*/ 1024 h 10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26" h="1024">
                  <a:moveTo>
                    <a:pt x="0" y="130"/>
                  </a:moveTo>
                  <a:lnTo>
                    <a:pt x="0" y="130"/>
                  </a:lnTo>
                  <a:lnTo>
                    <a:pt x="6" y="136"/>
                  </a:lnTo>
                  <a:lnTo>
                    <a:pt x="12" y="136"/>
                  </a:lnTo>
                  <a:lnTo>
                    <a:pt x="18" y="132"/>
                  </a:lnTo>
                  <a:lnTo>
                    <a:pt x="24" y="130"/>
                  </a:lnTo>
                  <a:lnTo>
                    <a:pt x="24" y="124"/>
                  </a:lnTo>
                  <a:lnTo>
                    <a:pt x="22" y="118"/>
                  </a:lnTo>
                  <a:lnTo>
                    <a:pt x="20" y="112"/>
                  </a:lnTo>
                  <a:lnTo>
                    <a:pt x="16" y="106"/>
                  </a:lnTo>
                  <a:lnTo>
                    <a:pt x="18" y="100"/>
                  </a:lnTo>
                  <a:lnTo>
                    <a:pt x="22" y="94"/>
                  </a:lnTo>
                  <a:lnTo>
                    <a:pt x="24" y="88"/>
                  </a:lnTo>
                  <a:lnTo>
                    <a:pt x="22" y="86"/>
                  </a:lnTo>
                  <a:lnTo>
                    <a:pt x="22" y="80"/>
                  </a:lnTo>
                  <a:lnTo>
                    <a:pt x="20" y="74"/>
                  </a:lnTo>
                  <a:lnTo>
                    <a:pt x="22" y="68"/>
                  </a:lnTo>
                  <a:lnTo>
                    <a:pt x="22" y="62"/>
                  </a:lnTo>
                  <a:lnTo>
                    <a:pt x="28" y="58"/>
                  </a:lnTo>
                  <a:lnTo>
                    <a:pt x="30" y="52"/>
                  </a:lnTo>
                  <a:lnTo>
                    <a:pt x="30" y="46"/>
                  </a:lnTo>
                  <a:lnTo>
                    <a:pt x="36" y="46"/>
                  </a:lnTo>
                  <a:lnTo>
                    <a:pt x="42" y="50"/>
                  </a:lnTo>
                  <a:lnTo>
                    <a:pt x="48" y="54"/>
                  </a:lnTo>
                  <a:lnTo>
                    <a:pt x="52" y="52"/>
                  </a:lnTo>
                  <a:lnTo>
                    <a:pt x="56" y="52"/>
                  </a:lnTo>
                  <a:lnTo>
                    <a:pt x="62" y="54"/>
                  </a:lnTo>
                  <a:lnTo>
                    <a:pt x="66" y="52"/>
                  </a:lnTo>
                  <a:lnTo>
                    <a:pt x="72" y="48"/>
                  </a:lnTo>
                  <a:lnTo>
                    <a:pt x="78" y="44"/>
                  </a:lnTo>
                  <a:lnTo>
                    <a:pt x="82" y="48"/>
                  </a:lnTo>
                  <a:lnTo>
                    <a:pt x="84" y="46"/>
                  </a:lnTo>
                  <a:lnTo>
                    <a:pt x="88" y="42"/>
                  </a:lnTo>
                  <a:lnTo>
                    <a:pt x="88" y="36"/>
                  </a:lnTo>
                  <a:lnTo>
                    <a:pt x="88" y="32"/>
                  </a:lnTo>
                  <a:lnTo>
                    <a:pt x="88" y="26"/>
                  </a:lnTo>
                  <a:lnTo>
                    <a:pt x="94" y="22"/>
                  </a:lnTo>
                  <a:lnTo>
                    <a:pt x="98" y="24"/>
                  </a:lnTo>
                  <a:lnTo>
                    <a:pt x="104" y="26"/>
                  </a:lnTo>
                  <a:lnTo>
                    <a:pt x="110" y="26"/>
                  </a:lnTo>
                  <a:lnTo>
                    <a:pt x="114" y="22"/>
                  </a:lnTo>
                  <a:lnTo>
                    <a:pt x="116" y="16"/>
                  </a:lnTo>
                  <a:lnTo>
                    <a:pt x="112" y="10"/>
                  </a:lnTo>
                  <a:lnTo>
                    <a:pt x="118" y="8"/>
                  </a:lnTo>
                  <a:lnTo>
                    <a:pt x="122" y="10"/>
                  </a:lnTo>
                  <a:lnTo>
                    <a:pt x="128" y="8"/>
                  </a:lnTo>
                  <a:lnTo>
                    <a:pt x="132" y="2"/>
                  </a:lnTo>
                  <a:lnTo>
                    <a:pt x="134" y="2"/>
                  </a:lnTo>
                  <a:lnTo>
                    <a:pt x="140" y="0"/>
                  </a:lnTo>
                  <a:lnTo>
                    <a:pt x="142" y="4"/>
                  </a:lnTo>
                  <a:lnTo>
                    <a:pt x="146" y="8"/>
                  </a:lnTo>
                  <a:lnTo>
                    <a:pt x="148" y="8"/>
                  </a:lnTo>
                  <a:lnTo>
                    <a:pt x="148" y="12"/>
                  </a:lnTo>
                  <a:lnTo>
                    <a:pt x="154" y="10"/>
                  </a:lnTo>
                  <a:lnTo>
                    <a:pt x="158" y="4"/>
                  </a:lnTo>
                  <a:lnTo>
                    <a:pt x="164" y="6"/>
                  </a:lnTo>
                  <a:lnTo>
                    <a:pt x="166" y="12"/>
                  </a:lnTo>
                  <a:lnTo>
                    <a:pt x="170" y="18"/>
                  </a:lnTo>
                  <a:lnTo>
                    <a:pt x="176" y="20"/>
                  </a:lnTo>
                  <a:lnTo>
                    <a:pt x="178" y="20"/>
                  </a:lnTo>
                  <a:lnTo>
                    <a:pt x="178" y="26"/>
                  </a:lnTo>
                  <a:lnTo>
                    <a:pt x="178" y="32"/>
                  </a:lnTo>
                  <a:lnTo>
                    <a:pt x="178" y="38"/>
                  </a:lnTo>
                  <a:lnTo>
                    <a:pt x="174" y="42"/>
                  </a:lnTo>
                  <a:lnTo>
                    <a:pt x="172" y="48"/>
                  </a:lnTo>
                  <a:lnTo>
                    <a:pt x="172" y="50"/>
                  </a:lnTo>
                  <a:lnTo>
                    <a:pt x="174" y="56"/>
                  </a:lnTo>
                  <a:lnTo>
                    <a:pt x="178" y="62"/>
                  </a:lnTo>
                  <a:lnTo>
                    <a:pt x="184" y="66"/>
                  </a:lnTo>
                  <a:lnTo>
                    <a:pt x="186" y="66"/>
                  </a:lnTo>
                  <a:lnTo>
                    <a:pt x="192" y="64"/>
                  </a:lnTo>
                  <a:lnTo>
                    <a:pt x="196" y="68"/>
                  </a:lnTo>
                  <a:lnTo>
                    <a:pt x="200" y="62"/>
                  </a:lnTo>
                  <a:lnTo>
                    <a:pt x="208" y="58"/>
                  </a:lnTo>
                  <a:lnTo>
                    <a:pt x="212" y="58"/>
                  </a:lnTo>
                  <a:lnTo>
                    <a:pt x="216" y="60"/>
                  </a:lnTo>
                  <a:lnTo>
                    <a:pt x="222" y="60"/>
                  </a:lnTo>
                  <a:lnTo>
                    <a:pt x="226" y="66"/>
                  </a:lnTo>
                  <a:lnTo>
                    <a:pt x="224" y="72"/>
                  </a:lnTo>
                  <a:lnTo>
                    <a:pt x="226" y="78"/>
                  </a:lnTo>
                  <a:lnTo>
                    <a:pt x="228" y="84"/>
                  </a:lnTo>
                  <a:lnTo>
                    <a:pt x="228" y="88"/>
                  </a:lnTo>
                  <a:lnTo>
                    <a:pt x="232" y="94"/>
                  </a:lnTo>
                  <a:lnTo>
                    <a:pt x="234" y="100"/>
                  </a:lnTo>
                  <a:lnTo>
                    <a:pt x="232" y="106"/>
                  </a:lnTo>
                  <a:lnTo>
                    <a:pt x="232" y="112"/>
                  </a:lnTo>
                  <a:lnTo>
                    <a:pt x="232" y="118"/>
                  </a:lnTo>
                  <a:lnTo>
                    <a:pt x="234" y="124"/>
                  </a:lnTo>
                  <a:lnTo>
                    <a:pt x="230" y="130"/>
                  </a:lnTo>
                  <a:lnTo>
                    <a:pt x="226" y="136"/>
                  </a:lnTo>
                  <a:lnTo>
                    <a:pt x="224" y="142"/>
                  </a:lnTo>
                  <a:lnTo>
                    <a:pt x="226" y="144"/>
                  </a:lnTo>
                  <a:lnTo>
                    <a:pt x="232" y="146"/>
                  </a:lnTo>
                  <a:lnTo>
                    <a:pt x="230" y="152"/>
                  </a:lnTo>
                  <a:lnTo>
                    <a:pt x="234" y="158"/>
                  </a:lnTo>
                  <a:lnTo>
                    <a:pt x="234" y="164"/>
                  </a:lnTo>
                  <a:lnTo>
                    <a:pt x="232" y="170"/>
                  </a:lnTo>
                  <a:lnTo>
                    <a:pt x="230" y="176"/>
                  </a:lnTo>
                  <a:lnTo>
                    <a:pt x="228" y="182"/>
                  </a:lnTo>
                  <a:lnTo>
                    <a:pt x="226" y="186"/>
                  </a:lnTo>
                  <a:lnTo>
                    <a:pt x="226" y="194"/>
                  </a:lnTo>
                  <a:lnTo>
                    <a:pt x="222" y="198"/>
                  </a:lnTo>
                  <a:lnTo>
                    <a:pt x="224" y="200"/>
                  </a:lnTo>
                  <a:lnTo>
                    <a:pt x="230" y="202"/>
                  </a:lnTo>
                  <a:lnTo>
                    <a:pt x="234" y="204"/>
                  </a:lnTo>
                  <a:lnTo>
                    <a:pt x="238" y="208"/>
                  </a:lnTo>
                  <a:lnTo>
                    <a:pt x="238" y="206"/>
                  </a:lnTo>
                  <a:lnTo>
                    <a:pt x="240" y="204"/>
                  </a:lnTo>
                  <a:lnTo>
                    <a:pt x="242" y="202"/>
                  </a:lnTo>
                  <a:lnTo>
                    <a:pt x="246" y="196"/>
                  </a:lnTo>
                  <a:lnTo>
                    <a:pt x="252" y="192"/>
                  </a:lnTo>
                  <a:lnTo>
                    <a:pt x="252" y="190"/>
                  </a:lnTo>
                  <a:lnTo>
                    <a:pt x="258" y="186"/>
                  </a:lnTo>
                  <a:lnTo>
                    <a:pt x="260" y="182"/>
                  </a:lnTo>
                  <a:lnTo>
                    <a:pt x="266" y="178"/>
                  </a:lnTo>
                  <a:lnTo>
                    <a:pt x="270" y="172"/>
                  </a:lnTo>
                  <a:lnTo>
                    <a:pt x="270" y="166"/>
                  </a:lnTo>
                  <a:lnTo>
                    <a:pt x="276" y="168"/>
                  </a:lnTo>
                  <a:lnTo>
                    <a:pt x="282" y="162"/>
                  </a:lnTo>
                  <a:lnTo>
                    <a:pt x="286" y="156"/>
                  </a:lnTo>
                  <a:lnTo>
                    <a:pt x="290" y="156"/>
                  </a:lnTo>
                  <a:lnTo>
                    <a:pt x="296" y="160"/>
                  </a:lnTo>
                  <a:lnTo>
                    <a:pt x="302" y="166"/>
                  </a:lnTo>
                  <a:lnTo>
                    <a:pt x="306" y="168"/>
                  </a:lnTo>
                  <a:lnTo>
                    <a:pt x="314" y="172"/>
                  </a:lnTo>
                  <a:lnTo>
                    <a:pt x="318" y="172"/>
                  </a:lnTo>
                  <a:lnTo>
                    <a:pt x="322" y="178"/>
                  </a:lnTo>
                  <a:lnTo>
                    <a:pt x="328" y="178"/>
                  </a:lnTo>
                  <a:lnTo>
                    <a:pt x="330" y="178"/>
                  </a:lnTo>
                  <a:lnTo>
                    <a:pt x="336" y="172"/>
                  </a:lnTo>
                  <a:lnTo>
                    <a:pt x="342" y="170"/>
                  </a:lnTo>
                  <a:lnTo>
                    <a:pt x="348" y="170"/>
                  </a:lnTo>
                  <a:lnTo>
                    <a:pt x="348" y="168"/>
                  </a:lnTo>
                  <a:lnTo>
                    <a:pt x="348" y="162"/>
                  </a:lnTo>
                  <a:lnTo>
                    <a:pt x="348" y="160"/>
                  </a:lnTo>
                  <a:lnTo>
                    <a:pt x="352" y="158"/>
                  </a:lnTo>
                  <a:lnTo>
                    <a:pt x="352" y="152"/>
                  </a:lnTo>
                  <a:lnTo>
                    <a:pt x="358" y="150"/>
                  </a:lnTo>
                  <a:lnTo>
                    <a:pt x="356" y="144"/>
                  </a:lnTo>
                  <a:lnTo>
                    <a:pt x="362" y="140"/>
                  </a:lnTo>
                  <a:lnTo>
                    <a:pt x="368" y="140"/>
                  </a:lnTo>
                  <a:lnTo>
                    <a:pt x="374" y="142"/>
                  </a:lnTo>
                  <a:lnTo>
                    <a:pt x="380" y="144"/>
                  </a:lnTo>
                  <a:lnTo>
                    <a:pt x="386" y="148"/>
                  </a:lnTo>
                  <a:lnTo>
                    <a:pt x="390" y="148"/>
                  </a:lnTo>
                  <a:lnTo>
                    <a:pt x="396" y="148"/>
                  </a:lnTo>
                  <a:lnTo>
                    <a:pt x="402" y="150"/>
                  </a:lnTo>
                  <a:lnTo>
                    <a:pt x="408" y="156"/>
                  </a:lnTo>
                  <a:lnTo>
                    <a:pt x="410" y="160"/>
                  </a:lnTo>
                  <a:lnTo>
                    <a:pt x="414" y="166"/>
                  </a:lnTo>
                  <a:lnTo>
                    <a:pt x="416" y="170"/>
                  </a:lnTo>
                  <a:lnTo>
                    <a:pt x="420" y="174"/>
                  </a:lnTo>
                  <a:lnTo>
                    <a:pt x="424" y="180"/>
                  </a:lnTo>
                  <a:lnTo>
                    <a:pt x="430" y="184"/>
                  </a:lnTo>
                  <a:lnTo>
                    <a:pt x="434" y="190"/>
                  </a:lnTo>
                  <a:lnTo>
                    <a:pt x="438" y="196"/>
                  </a:lnTo>
                  <a:lnTo>
                    <a:pt x="440" y="196"/>
                  </a:lnTo>
                  <a:lnTo>
                    <a:pt x="446" y="200"/>
                  </a:lnTo>
                  <a:lnTo>
                    <a:pt x="452" y="204"/>
                  </a:lnTo>
                  <a:lnTo>
                    <a:pt x="458" y="210"/>
                  </a:lnTo>
                  <a:lnTo>
                    <a:pt x="460" y="218"/>
                  </a:lnTo>
                  <a:lnTo>
                    <a:pt x="462" y="226"/>
                  </a:lnTo>
                  <a:lnTo>
                    <a:pt x="462" y="228"/>
                  </a:lnTo>
                  <a:lnTo>
                    <a:pt x="458" y="236"/>
                  </a:lnTo>
                  <a:lnTo>
                    <a:pt x="460" y="242"/>
                  </a:lnTo>
                  <a:lnTo>
                    <a:pt x="462" y="250"/>
                  </a:lnTo>
                  <a:lnTo>
                    <a:pt x="462" y="256"/>
                  </a:lnTo>
                  <a:lnTo>
                    <a:pt x="462" y="262"/>
                  </a:lnTo>
                  <a:lnTo>
                    <a:pt x="462" y="268"/>
                  </a:lnTo>
                  <a:lnTo>
                    <a:pt x="466" y="274"/>
                  </a:lnTo>
                  <a:lnTo>
                    <a:pt x="472" y="280"/>
                  </a:lnTo>
                  <a:lnTo>
                    <a:pt x="478" y="288"/>
                  </a:lnTo>
                  <a:lnTo>
                    <a:pt x="480" y="288"/>
                  </a:lnTo>
                  <a:lnTo>
                    <a:pt x="480" y="290"/>
                  </a:lnTo>
                  <a:lnTo>
                    <a:pt x="484" y="296"/>
                  </a:lnTo>
                  <a:lnTo>
                    <a:pt x="486" y="302"/>
                  </a:lnTo>
                  <a:lnTo>
                    <a:pt x="492" y="304"/>
                  </a:lnTo>
                  <a:lnTo>
                    <a:pt x="498" y="304"/>
                  </a:lnTo>
                  <a:lnTo>
                    <a:pt x="504" y="306"/>
                  </a:lnTo>
                  <a:lnTo>
                    <a:pt x="510" y="308"/>
                  </a:lnTo>
                  <a:lnTo>
                    <a:pt x="504" y="314"/>
                  </a:lnTo>
                  <a:lnTo>
                    <a:pt x="508" y="320"/>
                  </a:lnTo>
                  <a:lnTo>
                    <a:pt x="514" y="326"/>
                  </a:lnTo>
                  <a:lnTo>
                    <a:pt x="516" y="326"/>
                  </a:lnTo>
                  <a:lnTo>
                    <a:pt x="522" y="330"/>
                  </a:lnTo>
                  <a:lnTo>
                    <a:pt x="524" y="336"/>
                  </a:lnTo>
                  <a:lnTo>
                    <a:pt x="522" y="342"/>
                  </a:lnTo>
                  <a:lnTo>
                    <a:pt x="524" y="348"/>
                  </a:lnTo>
                  <a:lnTo>
                    <a:pt x="518" y="350"/>
                  </a:lnTo>
                  <a:lnTo>
                    <a:pt x="518" y="356"/>
                  </a:lnTo>
                  <a:lnTo>
                    <a:pt x="524" y="354"/>
                  </a:lnTo>
                  <a:lnTo>
                    <a:pt x="522" y="360"/>
                  </a:lnTo>
                  <a:lnTo>
                    <a:pt x="518" y="366"/>
                  </a:lnTo>
                  <a:lnTo>
                    <a:pt x="518" y="368"/>
                  </a:lnTo>
                  <a:lnTo>
                    <a:pt x="524" y="374"/>
                  </a:lnTo>
                  <a:lnTo>
                    <a:pt x="526" y="378"/>
                  </a:lnTo>
                  <a:lnTo>
                    <a:pt x="526" y="384"/>
                  </a:lnTo>
                  <a:lnTo>
                    <a:pt x="524" y="390"/>
                  </a:lnTo>
                  <a:lnTo>
                    <a:pt x="524" y="394"/>
                  </a:lnTo>
                  <a:lnTo>
                    <a:pt x="524" y="400"/>
                  </a:lnTo>
                  <a:lnTo>
                    <a:pt x="526" y="406"/>
                  </a:lnTo>
                  <a:lnTo>
                    <a:pt x="524" y="412"/>
                  </a:lnTo>
                  <a:lnTo>
                    <a:pt x="518" y="418"/>
                  </a:lnTo>
                  <a:lnTo>
                    <a:pt x="512" y="422"/>
                  </a:lnTo>
                  <a:lnTo>
                    <a:pt x="508" y="422"/>
                  </a:lnTo>
                  <a:lnTo>
                    <a:pt x="506" y="428"/>
                  </a:lnTo>
                  <a:lnTo>
                    <a:pt x="500" y="432"/>
                  </a:lnTo>
                  <a:lnTo>
                    <a:pt x="496" y="426"/>
                  </a:lnTo>
                  <a:lnTo>
                    <a:pt x="496" y="424"/>
                  </a:lnTo>
                  <a:lnTo>
                    <a:pt x="496" y="420"/>
                  </a:lnTo>
                  <a:lnTo>
                    <a:pt x="494" y="420"/>
                  </a:lnTo>
                  <a:lnTo>
                    <a:pt x="490" y="420"/>
                  </a:lnTo>
                  <a:lnTo>
                    <a:pt x="486" y="418"/>
                  </a:lnTo>
                  <a:lnTo>
                    <a:pt x="484" y="416"/>
                  </a:lnTo>
                  <a:lnTo>
                    <a:pt x="480" y="418"/>
                  </a:lnTo>
                  <a:lnTo>
                    <a:pt x="474" y="418"/>
                  </a:lnTo>
                  <a:lnTo>
                    <a:pt x="468" y="422"/>
                  </a:lnTo>
                  <a:lnTo>
                    <a:pt x="462" y="422"/>
                  </a:lnTo>
                  <a:lnTo>
                    <a:pt x="458" y="420"/>
                  </a:lnTo>
                  <a:lnTo>
                    <a:pt x="452" y="418"/>
                  </a:lnTo>
                  <a:lnTo>
                    <a:pt x="446" y="420"/>
                  </a:lnTo>
                  <a:lnTo>
                    <a:pt x="444" y="422"/>
                  </a:lnTo>
                  <a:lnTo>
                    <a:pt x="438" y="422"/>
                  </a:lnTo>
                  <a:lnTo>
                    <a:pt x="434" y="422"/>
                  </a:lnTo>
                  <a:lnTo>
                    <a:pt x="428" y="422"/>
                  </a:lnTo>
                  <a:lnTo>
                    <a:pt x="422" y="420"/>
                  </a:lnTo>
                  <a:lnTo>
                    <a:pt x="416" y="416"/>
                  </a:lnTo>
                  <a:lnTo>
                    <a:pt x="410" y="418"/>
                  </a:lnTo>
                  <a:lnTo>
                    <a:pt x="404" y="420"/>
                  </a:lnTo>
                  <a:lnTo>
                    <a:pt x="398" y="422"/>
                  </a:lnTo>
                  <a:lnTo>
                    <a:pt x="392" y="422"/>
                  </a:lnTo>
                  <a:lnTo>
                    <a:pt x="390" y="424"/>
                  </a:lnTo>
                  <a:lnTo>
                    <a:pt x="386" y="424"/>
                  </a:lnTo>
                  <a:lnTo>
                    <a:pt x="384" y="424"/>
                  </a:lnTo>
                  <a:lnTo>
                    <a:pt x="378" y="430"/>
                  </a:lnTo>
                  <a:lnTo>
                    <a:pt x="372" y="436"/>
                  </a:lnTo>
                  <a:lnTo>
                    <a:pt x="372" y="438"/>
                  </a:lnTo>
                  <a:lnTo>
                    <a:pt x="370" y="444"/>
                  </a:lnTo>
                  <a:lnTo>
                    <a:pt x="370" y="446"/>
                  </a:lnTo>
                  <a:lnTo>
                    <a:pt x="364" y="452"/>
                  </a:lnTo>
                  <a:lnTo>
                    <a:pt x="364" y="458"/>
                  </a:lnTo>
                  <a:lnTo>
                    <a:pt x="362" y="460"/>
                  </a:lnTo>
                  <a:lnTo>
                    <a:pt x="358" y="466"/>
                  </a:lnTo>
                  <a:lnTo>
                    <a:pt x="352" y="470"/>
                  </a:lnTo>
                  <a:lnTo>
                    <a:pt x="352" y="476"/>
                  </a:lnTo>
                  <a:lnTo>
                    <a:pt x="346" y="478"/>
                  </a:lnTo>
                  <a:lnTo>
                    <a:pt x="340" y="478"/>
                  </a:lnTo>
                  <a:lnTo>
                    <a:pt x="342" y="482"/>
                  </a:lnTo>
                  <a:lnTo>
                    <a:pt x="342" y="490"/>
                  </a:lnTo>
                  <a:lnTo>
                    <a:pt x="342" y="496"/>
                  </a:lnTo>
                  <a:lnTo>
                    <a:pt x="344" y="498"/>
                  </a:lnTo>
                  <a:lnTo>
                    <a:pt x="346" y="504"/>
                  </a:lnTo>
                  <a:lnTo>
                    <a:pt x="348" y="510"/>
                  </a:lnTo>
                  <a:lnTo>
                    <a:pt x="354" y="516"/>
                  </a:lnTo>
                  <a:lnTo>
                    <a:pt x="354" y="522"/>
                  </a:lnTo>
                  <a:lnTo>
                    <a:pt x="354" y="528"/>
                  </a:lnTo>
                  <a:lnTo>
                    <a:pt x="356" y="534"/>
                  </a:lnTo>
                  <a:lnTo>
                    <a:pt x="358" y="540"/>
                  </a:lnTo>
                  <a:lnTo>
                    <a:pt x="364" y="544"/>
                  </a:lnTo>
                  <a:lnTo>
                    <a:pt x="370" y="550"/>
                  </a:lnTo>
                  <a:lnTo>
                    <a:pt x="374" y="556"/>
                  </a:lnTo>
                  <a:lnTo>
                    <a:pt x="372" y="560"/>
                  </a:lnTo>
                  <a:lnTo>
                    <a:pt x="372" y="566"/>
                  </a:lnTo>
                  <a:lnTo>
                    <a:pt x="372" y="572"/>
                  </a:lnTo>
                  <a:lnTo>
                    <a:pt x="374" y="576"/>
                  </a:lnTo>
                  <a:lnTo>
                    <a:pt x="376" y="584"/>
                  </a:lnTo>
                  <a:lnTo>
                    <a:pt x="378" y="588"/>
                  </a:lnTo>
                  <a:lnTo>
                    <a:pt x="380" y="594"/>
                  </a:lnTo>
                  <a:lnTo>
                    <a:pt x="384" y="600"/>
                  </a:lnTo>
                  <a:lnTo>
                    <a:pt x="386" y="604"/>
                  </a:lnTo>
                  <a:lnTo>
                    <a:pt x="386" y="610"/>
                  </a:lnTo>
                  <a:lnTo>
                    <a:pt x="386" y="608"/>
                  </a:lnTo>
                  <a:lnTo>
                    <a:pt x="386" y="602"/>
                  </a:lnTo>
                  <a:lnTo>
                    <a:pt x="382" y="598"/>
                  </a:lnTo>
                  <a:lnTo>
                    <a:pt x="376" y="592"/>
                  </a:lnTo>
                  <a:lnTo>
                    <a:pt x="376" y="584"/>
                  </a:lnTo>
                  <a:lnTo>
                    <a:pt x="372" y="580"/>
                  </a:lnTo>
                  <a:lnTo>
                    <a:pt x="368" y="574"/>
                  </a:lnTo>
                  <a:lnTo>
                    <a:pt x="362" y="572"/>
                  </a:lnTo>
                  <a:lnTo>
                    <a:pt x="362" y="576"/>
                  </a:lnTo>
                  <a:lnTo>
                    <a:pt x="362" y="582"/>
                  </a:lnTo>
                  <a:lnTo>
                    <a:pt x="358" y="576"/>
                  </a:lnTo>
                  <a:lnTo>
                    <a:pt x="352" y="574"/>
                  </a:lnTo>
                  <a:lnTo>
                    <a:pt x="346" y="572"/>
                  </a:lnTo>
                  <a:lnTo>
                    <a:pt x="344" y="566"/>
                  </a:lnTo>
                  <a:lnTo>
                    <a:pt x="348" y="560"/>
                  </a:lnTo>
                  <a:lnTo>
                    <a:pt x="344" y="562"/>
                  </a:lnTo>
                  <a:lnTo>
                    <a:pt x="340" y="556"/>
                  </a:lnTo>
                  <a:lnTo>
                    <a:pt x="340" y="562"/>
                  </a:lnTo>
                  <a:lnTo>
                    <a:pt x="334" y="556"/>
                  </a:lnTo>
                  <a:lnTo>
                    <a:pt x="330" y="550"/>
                  </a:lnTo>
                  <a:lnTo>
                    <a:pt x="328" y="550"/>
                  </a:lnTo>
                  <a:lnTo>
                    <a:pt x="322" y="544"/>
                  </a:lnTo>
                  <a:lnTo>
                    <a:pt x="322" y="548"/>
                  </a:lnTo>
                  <a:lnTo>
                    <a:pt x="318" y="542"/>
                  </a:lnTo>
                  <a:lnTo>
                    <a:pt x="312" y="538"/>
                  </a:lnTo>
                  <a:lnTo>
                    <a:pt x="308" y="536"/>
                  </a:lnTo>
                  <a:lnTo>
                    <a:pt x="302" y="540"/>
                  </a:lnTo>
                  <a:lnTo>
                    <a:pt x="296" y="542"/>
                  </a:lnTo>
                  <a:lnTo>
                    <a:pt x="290" y="542"/>
                  </a:lnTo>
                  <a:lnTo>
                    <a:pt x="284" y="542"/>
                  </a:lnTo>
                  <a:lnTo>
                    <a:pt x="280" y="540"/>
                  </a:lnTo>
                  <a:lnTo>
                    <a:pt x="274" y="540"/>
                  </a:lnTo>
                  <a:lnTo>
                    <a:pt x="268" y="538"/>
                  </a:lnTo>
                  <a:lnTo>
                    <a:pt x="264" y="540"/>
                  </a:lnTo>
                  <a:lnTo>
                    <a:pt x="260" y="540"/>
                  </a:lnTo>
                  <a:lnTo>
                    <a:pt x="254" y="536"/>
                  </a:lnTo>
                  <a:lnTo>
                    <a:pt x="258" y="530"/>
                  </a:lnTo>
                  <a:lnTo>
                    <a:pt x="256" y="524"/>
                  </a:lnTo>
                  <a:lnTo>
                    <a:pt x="258" y="518"/>
                  </a:lnTo>
                  <a:lnTo>
                    <a:pt x="256" y="512"/>
                  </a:lnTo>
                  <a:lnTo>
                    <a:pt x="256" y="506"/>
                  </a:lnTo>
                  <a:lnTo>
                    <a:pt x="258" y="502"/>
                  </a:lnTo>
                  <a:lnTo>
                    <a:pt x="256" y="496"/>
                  </a:lnTo>
                  <a:lnTo>
                    <a:pt x="260" y="490"/>
                  </a:lnTo>
                  <a:lnTo>
                    <a:pt x="258" y="484"/>
                  </a:lnTo>
                  <a:lnTo>
                    <a:pt x="258" y="482"/>
                  </a:lnTo>
                  <a:lnTo>
                    <a:pt x="256" y="484"/>
                  </a:lnTo>
                  <a:lnTo>
                    <a:pt x="250" y="482"/>
                  </a:lnTo>
                  <a:lnTo>
                    <a:pt x="244" y="482"/>
                  </a:lnTo>
                  <a:lnTo>
                    <a:pt x="238" y="480"/>
                  </a:lnTo>
                  <a:lnTo>
                    <a:pt x="234" y="474"/>
                  </a:lnTo>
                  <a:lnTo>
                    <a:pt x="232" y="480"/>
                  </a:lnTo>
                  <a:lnTo>
                    <a:pt x="226" y="482"/>
                  </a:lnTo>
                  <a:lnTo>
                    <a:pt x="222" y="482"/>
                  </a:lnTo>
                  <a:lnTo>
                    <a:pt x="220" y="482"/>
                  </a:lnTo>
                  <a:lnTo>
                    <a:pt x="214" y="480"/>
                  </a:lnTo>
                  <a:lnTo>
                    <a:pt x="210" y="484"/>
                  </a:lnTo>
                  <a:lnTo>
                    <a:pt x="204" y="486"/>
                  </a:lnTo>
                  <a:lnTo>
                    <a:pt x="200" y="490"/>
                  </a:lnTo>
                  <a:lnTo>
                    <a:pt x="200" y="494"/>
                  </a:lnTo>
                  <a:lnTo>
                    <a:pt x="196" y="496"/>
                  </a:lnTo>
                  <a:lnTo>
                    <a:pt x="200" y="502"/>
                  </a:lnTo>
                  <a:lnTo>
                    <a:pt x="204" y="504"/>
                  </a:lnTo>
                  <a:lnTo>
                    <a:pt x="206" y="510"/>
                  </a:lnTo>
                  <a:lnTo>
                    <a:pt x="206" y="516"/>
                  </a:lnTo>
                  <a:lnTo>
                    <a:pt x="204" y="522"/>
                  </a:lnTo>
                  <a:lnTo>
                    <a:pt x="202" y="528"/>
                  </a:lnTo>
                  <a:lnTo>
                    <a:pt x="202" y="530"/>
                  </a:lnTo>
                  <a:lnTo>
                    <a:pt x="200" y="534"/>
                  </a:lnTo>
                  <a:lnTo>
                    <a:pt x="202" y="542"/>
                  </a:lnTo>
                  <a:lnTo>
                    <a:pt x="202" y="546"/>
                  </a:lnTo>
                  <a:lnTo>
                    <a:pt x="204" y="552"/>
                  </a:lnTo>
                  <a:lnTo>
                    <a:pt x="204" y="558"/>
                  </a:lnTo>
                  <a:lnTo>
                    <a:pt x="206" y="562"/>
                  </a:lnTo>
                  <a:lnTo>
                    <a:pt x="206" y="568"/>
                  </a:lnTo>
                  <a:lnTo>
                    <a:pt x="206" y="574"/>
                  </a:lnTo>
                  <a:lnTo>
                    <a:pt x="206" y="578"/>
                  </a:lnTo>
                  <a:lnTo>
                    <a:pt x="202" y="584"/>
                  </a:lnTo>
                  <a:lnTo>
                    <a:pt x="198" y="588"/>
                  </a:lnTo>
                  <a:lnTo>
                    <a:pt x="198" y="596"/>
                  </a:lnTo>
                  <a:lnTo>
                    <a:pt x="196" y="602"/>
                  </a:lnTo>
                  <a:lnTo>
                    <a:pt x="192" y="606"/>
                  </a:lnTo>
                  <a:lnTo>
                    <a:pt x="192" y="612"/>
                  </a:lnTo>
                  <a:lnTo>
                    <a:pt x="188" y="618"/>
                  </a:lnTo>
                  <a:lnTo>
                    <a:pt x="188" y="624"/>
                  </a:lnTo>
                  <a:lnTo>
                    <a:pt x="186" y="630"/>
                  </a:lnTo>
                  <a:lnTo>
                    <a:pt x="184" y="636"/>
                  </a:lnTo>
                  <a:lnTo>
                    <a:pt x="182" y="642"/>
                  </a:lnTo>
                  <a:lnTo>
                    <a:pt x="182" y="648"/>
                  </a:lnTo>
                  <a:lnTo>
                    <a:pt x="184" y="654"/>
                  </a:lnTo>
                  <a:lnTo>
                    <a:pt x="182" y="658"/>
                  </a:lnTo>
                  <a:lnTo>
                    <a:pt x="180" y="664"/>
                  </a:lnTo>
                  <a:lnTo>
                    <a:pt x="180" y="670"/>
                  </a:lnTo>
                  <a:lnTo>
                    <a:pt x="176" y="676"/>
                  </a:lnTo>
                  <a:lnTo>
                    <a:pt x="172" y="682"/>
                  </a:lnTo>
                  <a:lnTo>
                    <a:pt x="170" y="688"/>
                  </a:lnTo>
                  <a:lnTo>
                    <a:pt x="170" y="694"/>
                  </a:lnTo>
                  <a:lnTo>
                    <a:pt x="170" y="698"/>
                  </a:lnTo>
                  <a:lnTo>
                    <a:pt x="164" y="700"/>
                  </a:lnTo>
                  <a:lnTo>
                    <a:pt x="168" y="706"/>
                  </a:lnTo>
                  <a:lnTo>
                    <a:pt x="168" y="712"/>
                  </a:lnTo>
                  <a:lnTo>
                    <a:pt x="166" y="718"/>
                  </a:lnTo>
                  <a:lnTo>
                    <a:pt x="166" y="724"/>
                  </a:lnTo>
                  <a:lnTo>
                    <a:pt x="166" y="726"/>
                  </a:lnTo>
                  <a:lnTo>
                    <a:pt x="168" y="732"/>
                  </a:lnTo>
                  <a:lnTo>
                    <a:pt x="166" y="738"/>
                  </a:lnTo>
                  <a:lnTo>
                    <a:pt x="168" y="742"/>
                  </a:lnTo>
                  <a:lnTo>
                    <a:pt x="170" y="748"/>
                  </a:lnTo>
                  <a:lnTo>
                    <a:pt x="172" y="754"/>
                  </a:lnTo>
                  <a:lnTo>
                    <a:pt x="174" y="760"/>
                  </a:lnTo>
                  <a:lnTo>
                    <a:pt x="178" y="766"/>
                  </a:lnTo>
                  <a:lnTo>
                    <a:pt x="174" y="772"/>
                  </a:lnTo>
                  <a:lnTo>
                    <a:pt x="178" y="778"/>
                  </a:lnTo>
                  <a:lnTo>
                    <a:pt x="184" y="780"/>
                  </a:lnTo>
                  <a:lnTo>
                    <a:pt x="188" y="780"/>
                  </a:lnTo>
                  <a:lnTo>
                    <a:pt x="196" y="774"/>
                  </a:lnTo>
                  <a:lnTo>
                    <a:pt x="200" y="772"/>
                  </a:lnTo>
                  <a:lnTo>
                    <a:pt x="208" y="770"/>
                  </a:lnTo>
                  <a:lnTo>
                    <a:pt x="212" y="776"/>
                  </a:lnTo>
                  <a:lnTo>
                    <a:pt x="214" y="782"/>
                  </a:lnTo>
                  <a:lnTo>
                    <a:pt x="218" y="788"/>
                  </a:lnTo>
                  <a:lnTo>
                    <a:pt x="218" y="794"/>
                  </a:lnTo>
                  <a:lnTo>
                    <a:pt x="218" y="800"/>
                  </a:lnTo>
                  <a:lnTo>
                    <a:pt x="218" y="806"/>
                  </a:lnTo>
                  <a:lnTo>
                    <a:pt x="220" y="812"/>
                  </a:lnTo>
                  <a:lnTo>
                    <a:pt x="220" y="818"/>
                  </a:lnTo>
                  <a:lnTo>
                    <a:pt x="224" y="822"/>
                  </a:lnTo>
                  <a:lnTo>
                    <a:pt x="226" y="824"/>
                  </a:lnTo>
                  <a:lnTo>
                    <a:pt x="230" y="830"/>
                  </a:lnTo>
                  <a:lnTo>
                    <a:pt x="234" y="836"/>
                  </a:lnTo>
                  <a:lnTo>
                    <a:pt x="238" y="830"/>
                  </a:lnTo>
                  <a:lnTo>
                    <a:pt x="240" y="836"/>
                  </a:lnTo>
                  <a:lnTo>
                    <a:pt x="242" y="842"/>
                  </a:lnTo>
                  <a:lnTo>
                    <a:pt x="242" y="848"/>
                  </a:lnTo>
                  <a:lnTo>
                    <a:pt x="244" y="854"/>
                  </a:lnTo>
                  <a:lnTo>
                    <a:pt x="246" y="860"/>
                  </a:lnTo>
                  <a:lnTo>
                    <a:pt x="246" y="866"/>
                  </a:lnTo>
                  <a:lnTo>
                    <a:pt x="248" y="868"/>
                  </a:lnTo>
                  <a:lnTo>
                    <a:pt x="250" y="874"/>
                  </a:lnTo>
                  <a:lnTo>
                    <a:pt x="250" y="880"/>
                  </a:lnTo>
                  <a:lnTo>
                    <a:pt x="252" y="886"/>
                  </a:lnTo>
                  <a:lnTo>
                    <a:pt x="252" y="892"/>
                  </a:lnTo>
                  <a:lnTo>
                    <a:pt x="254" y="898"/>
                  </a:lnTo>
                  <a:lnTo>
                    <a:pt x="256" y="904"/>
                  </a:lnTo>
                  <a:lnTo>
                    <a:pt x="260" y="910"/>
                  </a:lnTo>
                  <a:lnTo>
                    <a:pt x="260" y="916"/>
                  </a:lnTo>
                  <a:lnTo>
                    <a:pt x="254" y="912"/>
                  </a:lnTo>
                  <a:lnTo>
                    <a:pt x="254" y="906"/>
                  </a:lnTo>
                  <a:lnTo>
                    <a:pt x="254" y="900"/>
                  </a:lnTo>
                  <a:lnTo>
                    <a:pt x="252" y="894"/>
                  </a:lnTo>
                  <a:lnTo>
                    <a:pt x="246" y="890"/>
                  </a:lnTo>
                  <a:lnTo>
                    <a:pt x="246" y="884"/>
                  </a:lnTo>
                  <a:lnTo>
                    <a:pt x="246" y="878"/>
                  </a:lnTo>
                  <a:lnTo>
                    <a:pt x="240" y="878"/>
                  </a:lnTo>
                  <a:lnTo>
                    <a:pt x="236" y="882"/>
                  </a:lnTo>
                  <a:lnTo>
                    <a:pt x="236" y="888"/>
                  </a:lnTo>
                  <a:lnTo>
                    <a:pt x="238" y="894"/>
                  </a:lnTo>
                  <a:lnTo>
                    <a:pt x="242" y="900"/>
                  </a:lnTo>
                  <a:lnTo>
                    <a:pt x="246" y="906"/>
                  </a:lnTo>
                  <a:lnTo>
                    <a:pt x="252" y="910"/>
                  </a:lnTo>
                  <a:lnTo>
                    <a:pt x="254" y="914"/>
                  </a:lnTo>
                  <a:lnTo>
                    <a:pt x="258" y="920"/>
                  </a:lnTo>
                  <a:lnTo>
                    <a:pt x="264" y="920"/>
                  </a:lnTo>
                  <a:lnTo>
                    <a:pt x="268" y="922"/>
                  </a:lnTo>
                  <a:lnTo>
                    <a:pt x="272" y="928"/>
                  </a:lnTo>
                  <a:lnTo>
                    <a:pt x="278" y="934"/>
                  </a:lnTo>
                  <a:lnTo>
                    <a:pt x="284" y="936"/>
                  </a:lnTo>
                  <a:lnTo>
                    <a:pt x="290" y="940"/>
                  </a:lnTo>
                  <a:lnTo>
                    <a:pt x="296" y="940"/>
                  </a:lnTo>
                  <a:lnTo>
                    <a:pt x="302" y="940"/>
                  </a:lnTo>
                  <a:lnTo>
                    <a:pt x="308" y="938"/>
                  </a:lnTo>
                  <a:lnTo>
                    <a:pt x="312" y="936"/>
                  </a:lnTo>
                  <a:lnTo>
                    <a:pt x="318" y="940"/>
                  </a:lnTo>
                  <a:lnTo>
                    <a:pt x="324" y="942"/>
                  </a:lnTo>
                  <a:lnTo>
                    <a:pt x="328" y="948"/>
                  </a:lnTo>
                  <a:lnTo>
                    <a:pt x="332" y="956"/>
                  </a:lnTo>
                  <a:lnTo>
                    <a:pt x="336" y="962"/>
                  </a:lnTo>
                  <a:lnTo>
                    <a:pt x="338" y="964"/>
                  </a:lnTo>
                  <a:lnTo>
                    <a:pt x="342" y="970"/>
                  </a:lnTo>
                  <a:lnTo>
                    <a:pt x="348" y="974"/>
                  </a:lnTo>
                  <a:lnTo>
                    <a:pt x="354" y="980"/>
                  </a:lnTo>
                  <a:lnTo>
                    <a:pt x="360" y="984"/>
                  </a:lnTo>
                  <a:lnTo>
                    <a:pt x="360" y="986"/>
                  </a:lnTo>
                  <a:lnTo>
                    <a:pt x="360" y="988"/>
                  </a:lnTo>
                  <a:lnTo>
                    <a:pt x="360" y="994"/>
                  </a:lnTo>
                  <a:lnTo>
                    <a:pt x="354" y="1000"/>
                  </a:lnTo>
                  <a:lnTo>
                    <a:pt x="352" y="1006"/>
                  </a:lnTo>
                  <a:lnTo>
                    <a:pt x="350" y="1012"/>
                  </a:lnTo>
                  <a:lnTo>
                    <a:pt x="348" y="1012"/>
                  </a:lnTo>
                  <a:lnTo>
                    <a:pt x="344" y="1018"/>
                  </a:lnTo>
                  <a:lnTo>
                    <a:pt x="336" y="1016"/>
                  </a:lnTo>
                  <a:lnTo>
                    <a:pt x="334" y="1012"/>
                  </a:lnTo>
                  <a:lnTo>
                    <a:pt x="330" y="1008"/>
                  </a:lnTo>
                  <a:lnTo>
                    <a:pt x="324" y="1008"/>
                  </a:lnTo>
                  <a:lnTo>
                    <a:pt x="322" y="1010"/>
                  </a:lnTo>
                  <a:lnTo>
                    <a:pt x="316" y="1012"/>
                  </a:lnTo>
                  <a:lnTo>
                    <a:pt x="310" y="1018"/>
                  </a:lnTo>
                  <a:lnTo>
                    <a:pt x="308" y="1024"/>
                  </a:lnTo>
                  <a:lnTo>
                    <a:pt x="302" y="1022"/>
                  </a:lnTo>
                  <a:lnTo>
                    <a:pt x="296" y="1018"/>
                  </a:lnTo>
                  <a:lnTo>
                    <a:pt x="294" y="1016"/>
                  </a:lnTo>
                  <a:lnTo>
                    <a:pt x="294" y="1014"/>
                  </a:lnTo>
                  <a:lnTo>
                    <a:pt x="296" y="1008"/>
                  </a:lnTo>
                  <a:lnTo>
                    <a:pt x="302" y="1002"/>
                  </a:lnTo>
                  <a:lnTo>
                    <a:pt x="300" y="996"/>
                  </a:lnTo>
                  <a:lnTo>
                    <a:pt x="298" y="990"/>
                  </a:lnTo>
                  <a:lnTo>
                    <a:pt x="296" y="984"/>
                  </a:lnTo>
                  <a:lnTo>
                    <a:pt x="290" y="984"/>
                  </a:lnTo>
                  <a:lnTo>
                    <a:pt x="284" y="980"/>
                  </a:lnTo>
                  <a:lnTo>
                    <a:pt x="282" y="976"/>
                  </a:lnTo>
                  <a:lnTo>
                    <a:pt x="280" y="970"/>
                  </a:lnTo>
                  <a:lnTo>
                    <a:pt x="276" y="968"/>
                  </a:lnTo>
                  <a:lnTo>
                    <a:pt x="274" y="968"/>
                  </a:lnTo>
                  <a:lnTo>
                    <a:pt x="268" y="968"/>
                  </a:lnTo>
                  <a:lnTo>
                    <a:pt x="262" y="966"/>
                  </a:lnTo>
                  <a:lnTo>
                    <a:pt x="256" y="964"/>
                  </a:lnTo>
                  <a:lnTo>
                    <a:pt x="254" y="962"/>
                  </a:lnTo>
                  <a:lnTo>
                    <a:pt x="252" y="962"/>
                  </a:lnTo>
                  <a:lnTo>
                    <a:pt x="250" y="956"/>
                  </a:lnTo>
                  <a:lnTo>
                    <a:pt x="248" y="952"/>
                  </a:lnTo>
                  <a:lnTo>
                    <a:pt x="242" y="952"/>
                  </a:lnTo>
                  <a:lnTo>
                    <a:pt x="242" y="958"/>
                  </a:lnTo>
                  <a:lnTo>
                    <a:pt x="242" y="966"/>
                  </a:lnTo>
                  <a:lnTo>
                    <a:pt x="238" y="970"/>
                  </a:lnTo>
                  <a:lnTo>
                    <a:pt x="238" y="966"/>
                  </a:lnTo>
                  <a:lnTo>
                    <a:pt x="232" y="962"/>
                  </a:lnTo>
                  <a:lnTo>
                    <a:pt x="230" y="962"/>
                  </a:lnTo>
                  <a:lnTo>
                    <a:pt x="228" y="956"/>
                  </a:lnTo>
                  <a:lnTo>
                    <a:pt x="222" y="948"/>
                  </a:lnTo>
                  <a:lnTo>
                    <a:pt x="218" y="944"/>
                  </a:lnTo>
                  <a:lnTo>
                    <a:pt x="210" y="940"/>
                  </a:lnTo>
                  <a:lnTo>
                    <a:pt x="212" y="934"/>
                  </a:lnTo>
                  <a:lnTo>
                    <a:pt x="210" y="928"/>
                  </a:lnTo>
                  <a:lnTo>
                    <a:pt x="214" y="922"/>
                  </a:lnTo>
                  <a:lnTo>
                    <a:pt x="212" y="922"/>
                  </a:lnTo>
                  <a:lnTo>
                    <a:pt x="210" y="924"/>
                  </a:lnTo>
                  <a:lnTo>
                    <a:pt x="204" y="922"/>
                  </a:lnTo>
                  <a:lnTo>
                    <a:pt x="200" y="916"/>
                  </a:lnTo>
                  <a:lnTo>
                    <a:pt x="204" y="910"/>
                  </a:lnTo>
                  <a:lnTo>
                    <a:pt x="198" y="904"/>
                  </a:lnTo>
                  <a:lnTo>
                    <a:pt x="198" y="910"/>
                  </a:lnTo>
                  <a:lnTo>
                    <a:pt x="192" y="910"/>
                  </a:lnTo>
                  <a:lnTo>
                    <a:pt x="188" y="904"/>
                  </a:lnTo>
                  <a:lnTo>
                    <a:pt x="188" y="898"/>
                  </a:lnTo>
                  <a:lnTo>
                    <a:pt x="184" y="892"/>
                  </a:lnTo>
                  <a:lnTo>
                    <a:pt x="182" y="886"/>
                  </a:lnTo>
                  <a:lnTo>
                    <a:pt x="176" y="880"/>
                  </a:lnTo>
                  <a:lnTo>
                    <a:pt x="170" y="882"/>
                  </a:lnTo>
                  <a:lnTo>
                    <a:pt x="168" y="876"/>
                  </a:lnTo>
                  <a:lnTo>
                    <a:pt x="170" y="872"/>
                  </a:lnTo>
                  <a:lnTo>
                    <a:pt x="164" y="866"/>
                  </a:lnTo>
                  <a:lnTo>
                    <a:pt x="160" y="860"/>
                  </a:lnTo>
                  <a:lnTo>
                    <a:pt x="160" y="858"/>
                  </a:lnTo>
                  <a:lnTo>
                    <a:pt x="154" y="860"/>
                  </a:lnTo>
                  <a:lnTo>
                    <a:pt x="150" y="854"/>
                  </a:lnTo>
                  <a:lnTo>
                    <a:pt x="150" y="848"/>
                  </a:lnTo>
                  <a:lnTo>
                    <a:pt x="146" y="842"/>
                  </a:lnTo>
                  <a:lnTo>
                    <a:pt x="142" y="836"/>
                  </a:lnTo>
                  <a:lnTo>
                    <a:pt x="136" y="838"/>
                  </a:lnTo>
                  <a:lnTo>
                    <a:pt x="132" y="840"/>
                  </a:lnTo>
                  <a:lnTo>
                    <a:pt x="132" y="846"/>
                  </a:lnTo>
                  <a:lnTo>
                    <a:pt x="130" y="852"/>
                  </a:lnTo>
                  <a:lnTo>
                    <a:pt x="124" y="850"/>
                  </a:lnTo>
                  <a:lnTo>
                    <a:pt x="120" y="842"/>
                  </a:lnTo>
                  <a:lnTo>
                    <a:pt x="118" y="838"/>
                  </a:lnTo>
                  <a:lnTo>
                    <a:pt x="116" y="830"/>
                  </a:lnTo>
                  <a:lnTo>
                    <a:pt x="114" y="826"/>
                  </a:lnTo>
                  <a:lnTo>
                    <a:pt x="116" y="820"/>
                  </a:lnTo>
                  <a:lnTo>
                    <a:pt x="116" y="814"/>
                  </a:lnTo>
                  <a:lnTo>
                    <a:pt x="116" y="808"/>
                  </a:lnTo>
                  <a:lnTo>
                    <a:pt x="118" y="802"/>
                  </a:lnTo>
                  <a:lnTo>
                    <a:pt x="120" y="796"/>
                  </a:lnTo>
                  <a:lnTo>
                    <a:pt x="120" y="790"/>
                  </a:lnTo>
                  <a:lnTo>
                    <a:pt x="120" y="784"/>
                  </a:lnTo>
                  <a:lnTo>
                    <a:pt x="120" y="778"/>
                  </a:lnTo>
                  <a:lnTo>
                    <a:pt x="122" y="772"/>
                  </a:lnTo>
                  <a:lnTo>
                    <a:pt x="122" y="770"/>
                  </a:lnTo>
                  <a:lnTo>
                    <a:pt x="124" y="762"/>
                  </a:lnTo>
                  <a:lnTo>
                    <a:pt x="124" y="758"/>
                  </a:lnTo>
                  <a:lnTo>
                    <a:pt x="126" y="752"/>
                  </a:lnTo>
                  <a:lnTo>
                    <a:pt x="128" y="746"/>
                  </a:lnTo>
                  <a:lnTo>
                    <a:pt x="128" y="740"/>
                  </a:lnTo>
                  <a:lnTo>
                    <a:pt x="128" y="734"/>
                  </a:lnTo>
                  <a:lnTo>
                    <a:pt x="134" y="728"/>
                  </a:lnTo>
                  <a:lnTo>
                    <a:pt x="132" y="724"/>
                  </a:lnTo>
                  <a:lnTo>
                    <a:pt x="136" y="718"/>
                  </a:lnTo>
                  <a:lnTo>
                    <a:pt x="138" y="712"/>
                  </a:lnTo>
                  <a:lnTo>
                    <a:pt x="140" y="706"/>
                  </a:lnTo>
                  <a:lnTo>
                    <a:pt x="140" y="700"/>
                  </a:lnTo>
                  <a:lnTo>
                    <a:pt x="140" y="694"/>
                  </a:lnTo>
                  <a:lnTo>
                    <a:pt x="144" y="688"/>
                  </a:lnTo>
                  <a:lnTo>
                    <a:pt x="140" y="682"/>
                  </a:lnTo>
                  <a:lnTo>
                    <a:pt x="140" y="676"/>
                  </a:lnTo>
                  <a:lnTo>
                    <a:pt x="146" y="670"/>
                  </a:lnTo>
                  <a:lnTo>
                    <a:pt x="152" y="666"/>
                  </a:lnTo>
                  <a:lnTo>
                    <a:pt x="152" y="660"/>
                  </a:lnTo>
                  <a:lnTo>
                    <a:pt x="158" y="654"/>
                  </a:lnTo>
                  <a:lnTo>
                    <a:pt x="160" y="652"/>
                  </a:lnTo>
                  <a:lnTo>
                    <a:pt x="166" y="646"/>
                  </a:lnTo>
                  <a:lnTo>
                    <a:pt x="168" y="640"/>
                  </a:lnTo>
                  <a:lnTo>
                    <a:pt x="170" y="634"/>
                  </a:lnTo>
                  <a:lnTo>
                    <a:pt x="174" y="628"/>
                  </a:lnTo>
                  <a:lnTo>
                    <a:pt x="176" y="622"/>
                  </a:lnTo>
                  <a:lnTo>
                    <a:pt x="178" y="616"/>
                  </a:lnTo>
                  <a:lnTo>
                    <a:pt x="184" y="610"/>
                  </a:lnTo>
                  <a:lnTo>
                    <a:pt x="186" y="604"/>
                  </a:lnTo>
                  <a:lnTo>
                    <a:pt x="188" y="598"/>
                  </a:lnTo>
                  <a:lnTo>
                    <a:pt x="182" y="592"/>
                  </a:lnTo>
                  <a:lnTo>
                    <a:pt x="184" y="586"/>
                  </a:lnTo>
                  <a:lnTo>
                    <a:pt x="180" y="580"/>
                  </a:lnTo>
                  <a:lnTo>
                    <a:pt x="180" y="576"/>
                  </a:lnTo>
                  <a:lnTo>
                    <a:pt x="174" y="568"/>
                  </a:lnTo>
                  <a:lnTo>
                    <a:pt x="172" y="562"/>
                  </a:lnTo>
                  <a:lnTo>
                    <a:pt x="172" y="556"/>
                  </a:lnTo>
                  <a:lnTo>
                    <a:pt x="170" y="550"/>
                  </a:lnTo>
                  <a:lnTo>
                    <a:pt x="170" y="546"/>
                  </a:lnTo>
                  <a:lnTo>
                    <a:pt x="164" y="540"/>
                  </a:lnTo>
                  <a:lnTo>
                    <a:pt x="158" y="536"/>
                  </a:lnTo>
                  <a:lnTo>
                    <a:pt x="156" y="530"/>
                  </a:lnTo>
                  <a:lnTo>
                    <a:pt x="154" y="524"/>
                  </a:lnTo>
                  <a:lnTo>
                    <a:pt x="152" y="518"/>
                  </a:lnTo>
                  <a:lnTo>
                    <a:pt x="148" y="512"/>
                  </a:lnTo>
                  <a:lnTo>
                    <a:pt x="148" y="506"/>
                  </a:lnTo>
                  <a:lnTo>
                    <a:pt x="152" y="502"/>
                  </a:lnTo>
                  <a:lnTo>
                    <a:pt x="152" y="496"/>
                  </a:lnTo>
                  <a:lnTo>
                    <a:pt x="150" y="494"/>
                  </a:lnTo>
                  <a:lnTo>
                    <a:pt x="152" y="488"/>
                  </a:lnTo>
                  <a:lnTo>
                    <a:pt x="150" y="482"/>
                  </a:lnTo>
                  <a:lnTo>
                    <a:pt x="148" y="476"/>
                  </a:lnTo>
                  <a:lnTo>
                    <a:pt x="146" y="470"/>
                  </a:lnTo>
                  <a:lnTo>
                    <a:pt x="146" y="466"/>
                  </a:lnTo>
                  <a:lnTo>
                    <a:pt x="144" y="460"/>
                  </a:lnTo>
                  <a:lnTo>
                    <a:pt x="140" y="454"/>
                  </a:lnTo>
                  <a:lnTo>
                    <a:pt x="136" y="448"/>
                  </a:lnTo>
                  <a:lnTo>
                    <a:pt x="132" y="442"/>
                  </a:lnTo>
                  <a:lnTo>
                    <a:pt x="126" y="438"/>
                  </a:lnTo>
                  <a:lnTo>
                    <a:pt x="120" y="434"/>
                  </a:lnTo>
                  <a:lnTo>
                    <a:pt x="116" y="428"/>
                  </a:lnTo>
                  <a:lnTo>
                    <a:pt x="110" y="426"/>
                  </a:lnTo>
                  <a:lnTo>
                    <a:pt x="106" y="420"/>
                  </a:lnTo>
                  <a:lnTo>
                    <a:pt x="102" y="414"/>
                  </a:lnTo>
                  <a:lnTo>
                    <a:pt x="98" y="408"/>
                  </a:lnTo>
                  <a:lnTo>
                    <a:pt x="94" y="402"/>
                  </a:lnTo>
                  <a:lnTo>
                    <a:pt x="88" y="396"/>
                  </a:lnTo>
                  <a:lnTo>
                    <a:pt x="84" y="390"/>
                  </a:lnTo>
                  <a:lnTo>
                    <a:pt x="84" y="384"/>
                  </a:lnTo>
                  <a:lnTo>
                    <a:pt x="80" y="378"/>
                  </a:lnTo>
                  <a:lnTo>
                    <a:pt x="78" y="372"/>
                  </a:lnTo>
                  <a:lnTo>
                    <a:pt x="78" y="366"/>
                  </a:lnTo>
                  <a:lnTo>
                    <a:pt x="78" y="362"/>
                  </a:lnTo>
                  <a:lnTo>
                    <a:pt x="84" y="356"/>
                  </a:lnTo>
                  <a:lnTo>
                    <a:pt x="90" y="360"/>
                  </a:lnTo>
                  <a:lnTo>
                    <a:pt x="90" y="352"/>
                  </a:lnTo>
                  <a:lnTo>
                    <a:pt x="96" y="352"/>
                  </a:lnTo>
                  <a:lnTo>
                    <a:pt x="100" y="346"/>
                  </a:lnTo>
                  <a:lnTo>
                    <a:pt x="98" y="340"/>
                  </a:lnTo>
                  <a:lnTo>
                    <a:pt x="96" y="334"/>
                  </a:lnTo>
                  <a:lnTo>
                    <a:pt x="98" y="332"/>
                  </a:lnTo>
                  <a:lnTo>
                    <a:pt x="96" y="326"/>
                  </a:lnTo>
                  <a:lnTo>
                    <a:pt x="98" y="320"/>
                  </a:lnTo>
                  <a:lnTo>
                    <a:pt x="96" y="314"/>
                  </a:lnTo>
                  <a:lnTo>
                    <a:pt x="96" y="308"/>
                  </a:lnTo>
                  <a:lnTo>
                    <a:pt x="94" y="304"/>
                  </a:lnTo>
                  <a:lnTo>
                    <a:pt x="100" y="300"/>
                  </a:lnTo>
                  <a:lnTo>
                    <a:pt x="106" y="300"/>
                  </a:lnTo>
                  <a:lnTo>
                    <a:pt x="110" y="294"/>
                  </a:lnTo>
                  <a:lnTo>
                    <a:pt x="112" y="288"/>
                  </a:lnTo>
                  <a:lnTo>
                    <a:pt x="112" y="282"/>
                  </a:lnTo>
                  <a:lnTo>
                    <a:pt x="108" y="276"/>
                  </a:lnTo>
                  <a:lnTo>
                    <a:pt x="106" y="282"/>
                  </a:lnTo>
                  <a:lnTo>
                    <a:pt x="102" y="288"/>
                  </a:lnTo>
                  <a:lnTo>
                    <a:pt x="98" y="282"/>
                  </a:lnTo>
                  <a:lnTo>
                    <a:pt x="96" y="276"/>
                  </a:lnTo>
                  <a:lnTo>
                    <a:pt x="90" y="270"/>
                  </a:lnTo>
                  <a:lnTo>
                    <a:pt x="88" y="264"/>
                  </a:lnTo>
                  <a:lnTo>
                    <a:pt x="86" y="260"/>
                  </a:lnTo>
                  <a:lnTo>
                    <a:pt x="84" y="254"/>
                  </a:lnTo>
                  <a:lnTo>
                    <a:pt x="84" y="248"/>
                  </a:lnTo>
                  <a:lnTo>
                    <a:pt x="82" y="242"/>
                  </a:lnTo>
                  <a:lnTo>
                    <a:pt x="78" y="236"/>
                  </a:lnTo>
                  <a:lnTo>
                    <a:pt x="72" y="236"/>
                  </a:lnTo>
                  <a:lnTo>
                    <a:pt x="70" y="234"/>
                  </a:lnTo>
                  <a:lnTo>
                    <a:pt x="68" y="228"/>
                  </a:lnTo>
                  <a:lnTo>
                    <a:pt x="62" y="222"/>
                  </a:lnTo>
                  <a:lnTo>
                    <a:pt x="56" y="216"/>
                  </a:lnTo>
                  <a:lnTo>
                    <a:pt x="52" y="210"/>
                  </a:lnTo>
                  <a:lnTo>
                    <a:pt x="48" y="204"/>
                  </a:lnTo>
                  <a:lnTo>
                    <a:pt x="42" y="200"/>
                  </a:lnTo>
                  <a:lnTo>
                    <a:pt x="36" y="194"/>
                  </a:lnTo>
                  <a:lnTo>
                    <a:pt x="32" y="190"/>
                  </a:lnTo>
                  <a:lnTo>
                    <a:pt x="28" y="184"/>
                  </a:lnTo>
                  <a:lnTo>
                    <a:pt x="26" y="182"/>
                  </a:lnTo>
                  <a:lnTo>
                    <a:pt x="26" y="180"/>
                  </a:lnTo>
                  <a:lnTo>
                    <a:pt x="28" y="174"/>
                  </a:lnTo>
                  <a:lnTo>
                    <a:pt x="26" y="168"/>
                  </a:lnTo>
                  <a:lnTo>
                    <a:pt x="24" y="162"/>
                  </a:lnTo>
                  <a:lnTo>
                    <a:pt x="20" y="156"/>
                  </a:lnTo>
                  <a:lnTo>
                    <a:pt x="20" y="150"/>
                  </a:lnTo>
                  <a:lnTo>
                    <a:pt x="14" y="150"/>
                  </a:lnTo>
                  <a:lnTo>
                    <a:pt x="8" y="148"/>
                  </a:lnTo>
                  <a:lnTo>
                    <a:pt x="6" y="142"/>
                  </a:lnTo>
                  <a:lnTo>
                    <a:pt x="2" y="136"/>
                  </a:lnTo>
                  <a:lnTo>
                    <a:pt x="0" y="1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7" name="Freeform 124"/>
            <p:cNvSpPr>
              <a:spLocks/>
            </p:cNvSpPr>
            <p:nvPr/>
          </p:nvSpPr>
          <p:spPr bwMode="auto">
            <a:xfrm>
              <a:off x="6484938" y="3433763"/>
              <a:ext cx="217487" cy="527050"/>
            </a:xfrm>
            <a:custGeom>
              <a:avLst/>
              <a:gdLst>
                <a:gd name="T0" fmla="*/ 2147483647 w 534"/>
                <a:gd name="T1" fmla="*/ 2147483647 h 1284"/>
                <a:gd name="T2" fmla="*/ 2147483647 w 534"/>
                <a:gd name="T3" fmla="*/ 2147483647 h 1284"/>
                <a:gd name="T4" fmla="*/ 2147483647 w 534"/>
                <a:gd name="T5" fmla="*/ 2147483647 h 1284"/>
                <a:gd name="T6" fmla="*/ 2147483647 w 534"/>
                <a:gd name="T7" fmla="*/ 2147483647 h 1284"/>
                <a:gd name="T8" fmla="*/ 2147483647 w 534"/>
                <a:gd name="T9" fmla="*/ 2147483647 h 1284"/>
                <a:gd name="T10" fmla="*/ 2147483647 w 534"/>
                <a:gd name="T11" fmla="*/ 2147483647 h 1284"/>
                <a:gd name="T12" fmla="*/ 2147483647 w 534"/>
                <a:gd name="T13" fmla="*/ 2147483647 h 1284"/>
                <a:gd name="T14" fmla="*/ 2147483647 w 534"/>
                <a:gd name="T15" fmla="*/ 2147483647 h 1284"/>
                <a:gd name="T16" fmla="*/ 2147483647 w 534"/>
                <a:gd name="T17" fmla="*/ 2147483647 h 1284"/>
                <a:gd name="T18" fmla="*/ 2147483647 w 534"/>
                <a:gd name="T19" fmla="*/ 2147483647 h 1284"/>
                <a:gd name="T20" fmla="*/ 2147483647 w 534"/>
                <a:gd name="T21" fmla="*/ 2147483647 h 1284"/>
                <a:gd name="T22" fmla="*/ 2147483647 w 534"/>
                <a:gd name="T23" fmla="*/ 2147483647 h 1284"/>
                <a:gd name="T24" fmla="*/ 2147483647 w 534"/>
                <a:gd name="T25" fmla="*/ 2147483647 h 1284"/>
                <a:gd name="T26" fmla="*/ 2147483647 w 534"/>
                <a:gd name="T27" fmla="*/ 2147483647 h 1284"/>
                <a:gd name="T28" fmla="*/ 2147483647 w 534"/>
                <a:gd name="T29" fmla="*/ 2147483647 h 1284"/>
                <a:gd name="T30" fmla="*/ 2147483647 w 534"/>
                <a:gd name="T31" fmla="*/ 2147483647 h 1284"/>
                <a:gd name="T32" fmla="*/ 2147483647 w 534"/>
                <a:gd name="T33" fmla="*/ 2147483647 h 1284"/>
                <a:gd name="T34" fmla="*/ 2147483647 w 534"/>
                <a:gd name="T35" fmla="*/ 2147483647 h 1284"/>
                <a:gd name="T36" fmla="*/ 2147483647 w 534"/>
                <a:gd name="T37" fmla="*/ 2147483647 h 1284"/>
                <a:gd name="T38" fmla="*/ 2147483647 w 534"/>
                <a:gd name="T39" fmla="*/ 2147483647 h 1284"/>
                <a:gd name="T40" fmla="*/ 2147483647 w 534"/>
                <a:gd name="T41" fmla="*/ 2147483647 h 1284"/>
                <a:gd name="T42" fmla="*/ 2147483647 w 534"/>
                <a:gd name="T43" fmla="*/ 2147483647 h 1284"/>
                <a:gd name="T44" fmla="*/ 2147483647 w 534"/>
                <a:gd name="T45" fmla="*/ 2147483647 h 1284"/>
                <a:gd name="T46" fmla="*/ 2147483647 w 534"/>
                <a:gd name="T47" fmla="*/ 2147483647 h 1284"/>
                <a:gd name="T48" fmla="*/ 2147483647 w 534"/>
                <a:gd name="T49" fmla="*/ 2147483647 h 1284"/>
                <a:gd name="T50" fmla="*/ 2147483647 w 534"/>
                <a:gd name="T51" fmla="*/ 2147483647 h 1284"/>
                <a:gd name="T52" fmla="*/ 2147483647 w 534"/>
                <a:gd name="T53" fmla="*/ 2147483647 h 1284"/>
                <a:gd name="T54" fmla="*/ 2147483647 w 534"/>
                <a:gd name="T55" fmla="*/ 2147483647 h 1284"/>
                <a:gd name="T56" fmla="*/ 2147483647 w 534"/>
                <a:gd name="T57" fmla="*/ 2147483647 h 1284"/>
                <a:gd name="T58" fmla="*/ 2147483647 w 534"/>
                <a:gd name="T59" fmla="*/ 2147483647 h 1284"/>
                <a:gd name="T60" fmla="*/ 2147483647 w 534"/>
                <a:gd name="T61" fmla="*/ 2147483647 h 1284"/>
                <a:gd name="T62" fmla="*/ 2147483647 w 534"/>
                <a:gd name="T63" fmla="*/ 2147483647 h 1284"/>
                <a:gd name="T64" fmla="*/ 2147483647 w 534"/>
                <a:gd name="T65" fmla="*/ 2147483647 h 1284"/>
                <a:gd name="T66" fmla="*/ 2147483647 w 534"/>
                <a:gd name="T67" fmla="*/ 2147483647 h 1284"/>
                <a:gd name="T68" fmla="*/ 2147483647 w 534"/>
                <a:gd name="T69" fmla="*/ 2147483647 h 1284"/>
                <a:gd name="T70" fmla="*/ 2147483647 w 534"/>
                <a:gd name="T71" fmla="*/ 2147483647 h 1284"/>
                <a:gd name="T72" fmla="*/ 2147483647 w 534"/>
                <a:gd name="T73" fmla="*/ 2147483647 h 1284"/>
                <a:gd name="T74" fmla="*/ 2147483647 w 534"/>
                <a:gd name="T75" fmla="*/ 2147483647 h 1284"/>
                <a:gd name="T76" fmla="*/ 2147483647 w 534"/>
                <a:gd name="T77" fmla="*/ 2147483647 h 1284"/>
                <a:gd name="T78" fmla="*/ 2147483647 w 534"/>
                <a:gd name="T79" fmla="*/ 2147483647 h 1284"/>
                <a:gd name="T80" fmla="*/ 2147483647 w 534"/>
                <a:gd name="T81" fmla="*/ 2147483647 h 1284"/>
                <a:gd name="T82" fmla="*/ 2147483647 w 534"/>
                <a:gd name="T83" fmla="*/ 2147483647 h 1284"/>
                <a:gd name="T84" fmla="*/ 2147483647 w 534"/>
                <a:gd name="T85" fmla="*/ 2147483647 h 1284"/>
                <a:gd name="T86" fmla="*/ 2147483647 w 534"/>
                <a:gd name="T87" fmla="*/ 2147483647 h 1284"/>
                <a:gd name="T88" fmla="*/ 2147483647 w 534"/>
                <a:gd name="T89" fmla="*/ 2147483647 h 1284"/>
                <a:gd name="T90" fmla="*/ 2147483647 w 534"/>
                <a:gd name="T91" fmla="*/ 2147483647 h 1284"/>
                <a:gd name="T92" fmla="*/ 2147483647 w 534"/>
                <a:gd name="T93" fmla="*/ 2147483647 h 1284"/>
                <a:gd name="T94" fmla="*/ 2147483647 w 534"/>
                <a:gd name="T95" fmla="*/ 2147483647 h 1284"/>
                <a:gd name="T96" fmla="*/ 2147483647 w 534"/>
                <a:gd name="T97" fmla="*/ 2147483647 h 1284"/>
                <a:gd name="T98" fmla="*/ 2147483647 w 534"/>
                <a:gd name="T99" fmla="*/ 2147483647 h 1284"/>
                <a:gd name="T100" fmla="*/ 2147483647 w 534"/>
                <a:gd name="T101" fmla="*/ 2147483647 h 1284"/>
                <a:gd name="T102" fmla="*/ 2147483647 w 534"/>
                <a:gd name="T103" fmla="*/ 2147483647 h 1284"/>
                <a:gd name="T104" fmla="*/ 2147483647 w 534"/>
                <a:gd name="T105" fmla="*/ 2147483647 h 1284"/>
                <a:gd name="T106" fmla="*/ 2147483647 w 534"/>
                <a:gd name="T107" fmla="*/ 2147483647 h 1284"/>
                <a:gd name="T108" fmla="*/ 2147483647 w 534"/>
                <a:gd name="T109" fmla="*/ 2147483647 h 1284"/>
                <a:gd name="T110" fmla="*/ 2147483647 w 534"/>
                <a:gd name="T111" fmla="*/ 2147483647 h 1284"/>
                <a:gd name="T112" fmla="*/ 2147483647 w 534"/>
                <a:gd name="T113" fmla="*/ 2147483647 h 1284"/>
                <a:gd name="T114" fmla="*/ 2147483647 w 534"/>
                <a:gd name="T115" fmla="*/ 2147483647 h 1284"/>
                <a:gd name="T116" fmla="*/ 2147483647 w 534"/>
                <a:gd name="T117" fmla="*/ 2147483647 h 1284"/>
                <a:gd name="T118" fmla="*/ 2147483647 w 534"/>
                <a:gd name="T119" fmla="*/ 2147483647 h 1284"/>
                <a:gd name="T120" fmla="*/ 2147483647 w 534"/>
                <a:gd name="T121" fmla="*/ 2147483647 h 1284"/>
                <a:gd name="T122" fmla="*/ 2147483647 w 534"/>
                <a:gd name="T123" fmla="*/ 2147483647 h 1284"/>
                <a:gd name="T124" fmla="*/ 0 w 534"/>
                <a:gd name="T125" fmla="*/ 2147483647 h 128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4"/>
                <a:gd name="T190" fmla="*/ 0 h 1284"/>
                <a:gd name="T191" fmla="*/ 534 w 534"/>
                <a:gd name="T192" fmla="*/ 1284 h 128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4" h="1284">
                  <a:moveTo>
                    <a:pt x="0" y="510"/>
                  </a:moveTo>
                  <a:lnTo>
                    <a:pt x="0" y="504"/>
                  </a:lnTo>
                  <a:lnTo>
                    <a:pt x="0" y="498"/>
                  </a:lnTo>
                  <a:lnTo>
                    <a:pt x="6" y="492"/>
                  </a:lnTo>
                  <a:lnTo>
                    <a:pt x="12" y="494"/>
                  </a:lnTo>
                  <a:lnTo>
                    <a:pt x="14" y="496"/>
                  </a:lnTo>
                  <a:lnTo>
                    <a:pt x="18" y="496"/>
                  </a:lnTo>
                  <a:lnTo>
                    <a:pt x="22" y="502"/>
                  </a:lnTo>
                  <a:lnTo>
                    <a:pt x="28" y="502"/>
                  </a:lnTo>
                  <a:lnTo>
                    <a:pt x="26" y="496"/>
                  </a:lnTo>
                  <a:lnTo>
                    <a:pt x="22" y="490"/>
                  </a:lnTo>
                  <a:lnTo>
                    <a:pt x="22" y="484"/>
                  </a:lnTo>
                  <a:lnTo>
                    <a:pt x="20" y="478"/>
                  </a:lnTo>
                  <a:lnTo>
                    <a:pt x="20" y="472"/>
                  </a:lnTo>
                  <a:lnTo>
                    <a:pt x="18" y="466"/>
                  </a:lnTo>
                  <a:lnTo>
                    <a:pt x="20" y="460"/>
                  </a:lnTo>
                  <a:lnTo>
                    <a:pt x="18" y="454"/>
                  </a:lnTo>
                  <a:lnTo>
                    <a:pt x="22" y="448"/>
                  </a:lnTo>
                  <a:lnTo>
                    <a:pt x="22" y="442"/>
                  </a:lnTo>
                  <a:lnTo>
                    <a:pt x="28" y="446"/>
                  </a:lnTo>
                  <a:lnTo>
                    <a:pt x="30" y="448"/>
                  </a:lnTo>
                  <a:lnTo>
                    <a:pt x="34" y="454"/>
                  </a:lnTo>
                  <a:lnTo>
                    <a:pt x="40" y="454"/>
                  </a:lnTo>
                  <a:lnTo>
                    <a:pt x="40" y="450"/>
                  </a:lnTo>
                  <a:lnTo>
                    <a:pt x="40" y="446"/>
                  </a:lnTo>
                  <a:lnTo>
                    <a:pt x="42" y="438"/>
                  </a:lnTo>
                  <a:lnTo>
                    <a:pt x="48" y="440"/>
                  </a:lnTo>
                  <a:lnTo>
                    <a:pt x="50" y="440"/>
                  </a:lnTo>
                  <a:lnTo>
                    <a:pt x="50" y="434"/>
                  </a:lnTo>
                  <a:lnTo>
                    <a:pt x="50" y="428"/>
                  </a:lnTo>
                  <a:lnTo>
                    <a:pt x="48" y="422"/>
                  </a:lnTo>
                  <a:lnTo>
                    <a:pt x="42" y="416"/>
                  </a:lnTo>
                  <a:lnTo>
                    <a:pt x="42" y="410"/>
                  </a:lnTo>
                  <a:lnTo>
                    <a:pt x="40" y="404"/>
                  </a:lnTo>
                  <a:lnTo>
                    <a:pt x="40" y="398"/>
                  </a:lnTo>
                  <a:lnTo>
                    <a:pt x="40" y="392"/>
                  </a:lnTo>
                  <a:lnTo>
                    <a:pt x="40" y="386"/>
                  </a:lnTo>
                  <a:lnTo>
                    <a:pt x="40" y="380"/>
                  </a:lnTo>
                  <a:lnTo>
                    <a:pt x="46" y="382"/>
                  </a:lnTo>
                  <a:lnTo>
                    <a:pt x="52" y="380"/>
                  </a:lnTo>
                  <a:lnTo>
                    <a:pt x="52" y="378"/>
                  </a:lnTo>
                  <a:lnTo>
                    <a:pt x="52" y="372"/>
                  </a:lnTo>
                  <a:lnTo>
                    <a:pt x="52" y="366"/>
                  </a:lnTo>
                  <a:lnTo>
                    <a:pt x="50" y="360"/>
                  </a:lnTo>
                  <a:lnTo>
                    <a:pt x="52" y="354"/>
                  </a:lnTo>
                  <a:lnTo>
                    <a:pt x="52" y="348"/>
                  </a:lnTo>
                  <a:lnTo>
                    <a:pt x="52" y="342"/>
                  </a:lnTo>
                  <a:lnTo>
                    <a:pt x="52" y="336"/>
                  </a:lnTo>
                  <a:lnTo>
                    <a:pt x="50" y="336"/>
                  </a:lnTo>
                  <a:lnTo>
                    <a:pt x="48" y="332"/>
                  </a:lnTo>
                  <a:lnTo>
                    <a:pt x="48" y="330"/>
                  </a:lnTo>
                  <a:lnTo>
                    <a:pt x="46" y="324"/>
                  </a:lnTo>
                  <a:lnTo>
                    <a:pt x="44" y="318"/>
                  </a:lnTo>
                  <a:lnTo>
                    <a:pt x="42" y="312"/>
                  </a:lnTo>
                  <a:lnTo>
                    <a:pt x="48" y="312"/>
                  </a:lnTo>
                  <a:lnTo>
                    <a:pt x="52" y="318"/>
                  </a:lnTo>
                  <a:lnTo>
                    <a:pt x="58" y="314"/>
                  </a:lnTo>
                  <a:lnTo>
                    <a:pt x="64" y="314"/>
                  </a:lnTo>
                  <a:lnTo>
                    <a:pt x="70" y="318"/>
                  </a:lnTo>
                  <a:lnTo>
                    <a:pt x="76" y="318"/>
                  </a:lnTo>
                  <a:lnTo>
                    <a:pt x="84" y="320"/>
                  </a:lnTo>
                  <a:lnTo>
                    <a:pt x="90" y="324"/>
                  </a:lnTo>
                  <a:lnTo>
                    <a:pt x="92" y="326"/>
                  </a:lnTo>
                  <a:lnTo>
                    <a:pt x="92" y="320"/>
                  </a:lnTo>
                  <a:lnTo>
                    <a:pt x="94" y="314"/>
                  </a:lnTo>
                  <a:lnTo>
                    <a:pt x="94" y="308"/>
                  </a:lnTo>
                  <a:lnTo>
                    <a:pt x="96" y="302"/>
                  </a:lnTo>
                  <a:lnTo>
                    <a:pt x="96" y="298"/>
                  </a:lnTo>
                  <a:lnTo>
                    <a:pt x="98" y="292"/>
                  </a:lnTo>
                  <a:lnTo>
                    <a:pt x="100" y="286"/>
                  </a:lnTo>
                  <a:lnTo>
                    <a:pt x="102" y="280"/>
                  </a:lnTo>
                  <a:lnTo>
                    <a:pt x="104" y="274"/>
                  </a:lnTo>
                  <a:lnTo>
                    <a:pt x="106" y="268"/>
                  </a:lnTo>
                  <a:lnTo>
                    <a:pt x="110" y="266"/>
                  </a:lnTo>
                  <a:lnTo>
                    <a:pt x="110" y="260"/>
                  </a:lnTo>
                  <a:lnTo>
                    <a:pt x="110" y="258"/>
                  </a:lnTo>
                  <a:lnTo>
                    <a:pt x="114" y="252"/>
                  </a:lnTo>
                  <a:lnTo>
                    <a:pt x="114" y="246"/>
                  </a:lnTo>
                  <a:lnTo>
                    <a:pt x="114" y="240"/>
                  </a:lnTo>
                  <a:lnTo>
                    <a:pt x="108" y="234"/>
                  </a:lnTo>
                  <a:lnTo>
                    <a:pt x="102" y="228"/>
                  </a:lnTo>
                  <a:lnTo>
                    <a:pt x="104" y="222"/>
                  </a:lnTo>
                  <a:lnTo>
                    <a:pt x="106" y="216"/>
                  </a:lnTo>
                  <a:lnTo>
                    <a:pt x="106" y="214"/>
                  </a:lnTo>
                  <a:lnTo>
                    <a:pt x="112" y="212"/>
                  </a:lnTo>
                  <a:lnTo>
                    <a:pt x="118" y="206"/>
                  </a:lnTo>
                  <a:lnTo>
                    <a:pt x="118" y="204"/>
                  </a:lnTo>
                  <a:lnTo>
                    <a:pt x="120" y="198"/>
                  </a:lnTo>
                  <a:lnTo>
                    <a:pt x="122" y="194"/>
                  </a:lnTo>
                  <a:lnTo>
                    <a:pt x="124" y="188"/>
                  </a:lnTo>
                  <a:lnTo>
                    <a:pt x="122" y="182"/>
                  </a:lnTo>
                  <a:lnTo>
                    <a:pt x="128" y="176"/>
                  </a:lnTo>
                  <a:lnTo>
                    <a:pt x="128" y="170"/>
                  </a:lnTo>
                  <a:lnTo>
                    <a:pt x="124" y="164"/>
                  </a:lnTo>
                  <a:lnTo>
                    <a:pt x="120" y="158"/>
                  </a:lnTo>
                  <a:lnTo>
                    <a:pt x="120" y="154"/>
                  </a:lnTo>
                  <a:lnTo>
                    <a:pt x="120" y="146"/>
                  </a:lnTo>
                  <a:lnTo>
                    <a:pt x="118" y="140"/>
                  </a:lnTo>
                  <a:lnTo>
                    <a:pt x="120" y="136"/>
                  </a:lnTo>
                  <a:lnTo>
                    <a:pt x="126" y="128"/>
                  </a:lnTo>
                  <a:lnTo>
                    <a:pt x="132" y="130"/>
                  </a:lnTo>
                  <a:lnTo>
                    <a:pt x="136" y="126"/>
                  </a:lnTo>
                  <a:lnTo>
                    <a:pt x="138" y="126"/>
                  </a:lnTo>
                  <a:lnTo>
                    <a:pt x="140" y="120"/>
                  </a:lnTo>
                  <a:lnTo>
                    <a:pt x="144" y="120"/>
                  </a:lnTo>
                  <a:lnTo>
                    <a:pt x="150" y="114"/>
                  </a:lnTo>
                  <a:lnTo>
                    <a:pt x="154" y="108"/>
                  </a:lnTo>
                  <a:lnTo>
                    <a:pt x="160" y="106"/>
                  </a:lnTo>
                  <a:lnTo>
                    <a:pt x="162" y="100"/>
                  </a:lnTo>
                  <a:lnTo>
                    <a:pt x="166" y="94"/>
                  </a:lnTo>
                  <a:lnTo>
                    <a:pt x="170" y="90"/>
                  </a:lnTo>
                  <a:lnTo>
                    <a:pt x="176" y="88"/>
                  </a:lnTo>
                  <a:lnTo>
                    <a:pt x="182" y="86"/>
                  </a:lnTo>
                  <a:lnTo>
                    <a:pt x="188" y="86"/>
                  </a:lnTo>
                  <a:lnTo>
                    <a:pt x="196" y="86"/>
                  </a:lnTo>
                  <a:lnTo>
                    <a:pt x="200" y="84"/>
                  </a:lnTo>
                  <a:lnTo>
                    <a:pt x="208" y="82"/>
                  </a:lnTo>
                  <a:lnTo>
                    <a:pt x="212" y="88"/>
                  </a:lnTo>
                  <a:lnTo>
                    <a:pt x="216" y="94"/>
                  </a:lnTo>
                  <a:lnTo>
                    <a:pt x="222" y="98"/>
                  </a:lnTo>
                  <a:lnTo>
                    <a:pt x="228" y="100"/>
                  </a:lnTo>
                  <a:lnTo>
                    <a:pt x="232" y="100"/>
                  </a:lnTo>
                  <a:lnTo>
                    <a:pt x="230" y="94"/>
                  </a:lnTo>
                  <a:lnTo>
                    <a:pt x="224" y="88"/>
                  </a:lnTo>
                  <a:lnTo>
                    <a:pt x="218" y="82"/>
                  </a:lnTo>
                  <a:lnTo>
                    <a:pt x="214" y="76"/>
                  </a:lnTo>
                  <a:lnTo>
                    <a:pt x="212" y="74"/>
                  </a:lnTo>
                  <a:lnTo>
                    <a:pt x="212" y="68"/>
                  </a:lnTo>
                  <a:lnTo>
                    <a:pt x="212" y="62"/>
                  </a:lnTo>
                  <a:lnTo>
                    <a:pt x="216" y="56"/>
                  </a:lnTo>
                  <a:lnTo>
                    <a:pt x="218" y="56"/>
                  </a:lnTo>
                  <a:lnTo>
                    <a:pt x="224" y="50"/>
                  </a:lnTo>
                  <a:lnTo>
                    <a:pt x="228" y="44"/>
                  </a:lnTo>
                  <a:lnTo>
                    <a:pt x="234" y="38"/>
                  </a:lnTo>
                  <a:lnTo>
                    <a:pt x="228" y="32"/>
                  </a:lnTo>
                  <a:lnTo>
                    <a:pt x="228" y="28"/>
                  </a:lnTo>
                  <a:lnTo>
                    <a:pt x="228" y="22"/>
                  </a:lnTo>
                  <a:lnTo>
                    <a:pt x="234" y="18"/>
                  </a:lnTo>
                  <a:lnTo>
                    <a:pt x="234" y="12"/>
                  </a:lnTo>
                  <a:lnTo>
                    <a:pt x="236" y="6"/>
                  </a:lnTo>
                  <a:lnTo>
                    <a:pt x="236" y="0"/>
                  </a:lnTo>
                  <a:lnTo>
                    <a:pt x="242" y="4"/>
                  </a:lnTo>
                  <a:lnTo>
                    <a:pt x="248" y="6"/>
                  </a:lnTo>
                  <a:lnTo>
                    <a:pt x="252" y="12"/>
                  </a:lnTo>
                  <a:lnTo>
                    <a:pt x="258" y="12"/>
                  </a:lnTo>
                  <a:lnTo>
                    <a:pt x="264" y="16"/>
                  </a:lnTo>
                  <a:lnTo>
                    <a:pt x="268" y="22"/>
                  </a:lnTo>
                  <a:lnTo>
                    <a:pt x="272" y="26"/>
                  </a:lnTo>
                  <a:lnTo>
                    <a:pt x="276" y="26"/>
                  </a:lnTo>
                  <a:lnTo>
                    <a:pt x="278" y="30"/>
                  </a:lnTo>
                  <a:lnTo>
                    <a:pt x="278" y="34"/>
                  </a:lnTo>
                  <a:lnTo>
                    <a:pt x="280" y="42"/>
                  </a:lnTo>
                  <a:lnTo>
                    <a:pt x="282" y="48"/>
                  </a:lnTo>
                  <a:lnTo>
                    <a:pt x="286" y="52"/>
                  </a:lnTo>
                  <a:lnTo>
                    <a:pt x="290" y="58"/>
                  </a:lnTo>
                  <a:lnTo>
                    <a:pt x="292" y="64"/>
                  </a:lnTo>
                  <a:lnTo>
                    <a:pt x="296" y="68"/>
                  </a:lnTo>
                  <a:lnTo>
                    <a:pt x="302" y="64"/>
                  </a:lnTo>
                  <a:lnTo>
                    <a:pt x="300" y="60"/>
                  </a:lnTo>
                  <a:lnTo>
                    <a:pt x="306" y="62"/>
                  </a:lnTo>
                  <a:lnTo>
                    <a:pt x="312" y="66"/>
                  </a:lnTo>
                  <a:lnTo>
                    <a:pt x="318" y="68"/>
                  </a:lnTo>
                  <a:lnTo>
                    <a:pt x="318" y="74"/>
                  </a:lnTo>
                  <a:lnTo>
                    <a:pt x="320" y="80"/>
                  </a:lnTo>
                  <a:lnTo>
                    <a:pt x="322" y="86"/>
                  </a:lnTo>
                  <a:lnTo>
                    <a:pt x="322" y="90"/>
                  </a:lnTo>
                  <a:lnTo>
                    <a:pt x="324" y="96"/>
                  </a:lnTo>
                  <a:lnTo>
                    <a:pt x="328" y="102"/>
                  </a:lnTo>
                  <a:lnTo>
                    <a:pt x="328" y="110"/>
                  </a:lnTo>
                  <a:lnTo>
                    <a:pt x="330" y="116"/>
                  </a:lnTo>
                  <a:lnTo>
                    <a:pt x="332" y="120"/>
                  </a:lnTo>
                  <a:lnTo>
                    <a:pt x="334" y="128"/>
                  </a:lnTo>
                  <a:lnTo>
                    <a:pt x="336" y="132"/>
                  </a:lnTo>
                  <a:lnTo>
                    <a:pt x="334" y="138"/>
                  </a:lnTo>
                  <a:lnTo>
                    <a:pt x="336" y="144"/>
                  </a:lnTo>
                  <a:lnTo>
                    <a:pt x="336" y="150"/>
                  </a:lnTo>
                  <a:lnTo>
                    <a:pt x="334" y="158"/>
                  </a:lnTo>
                  <a:lnTo>
                    <a:pt x="338" y="162"/>
                  </a:lnTo>
                  <a:lnTo>
                    <a:pt x="336" y="170"/>
                  </a:lnTo>
                  <a:lnTo>
                    <a:pt x="330" y="168"/>
                  </a:lnTo>
                  <a:lnTo>
                    <a:pt x="332" y="174"/>
                  </a:lnTo>
                  <a:lnTo>
                    <a:pt x="338" y="180"/>
                  </a:lnTo>
                  <a:lnTo>
                    <a:pt x="340" y="186"/>
                  </a:lnTo>
                  <a:lnTo>
                    <a:pt x="336" y="190"/>
                  </a:lnTo>
                  <a:lnTo>
                    <a:pt x="330" y="188"/>
                  </a:lnTo>
                  <a:lnTo>
                    <a:pt x="328" y="194"/>
                  </a:lnTo>
                  <a:lnTo>
                    <a:pt x="324" y="200"/>
                  </a:lnTo>
                  <a:lnTo>
                    <a:pt x="324" y="206"/>
                  </a:lnTo>
                  <a:lnTo>
                    <a:pt x="318" y="204"/>
                  </a:lnTo>
                  <a:lnTo>
                    <a:pt x="312" y="204"/>
                  </a:lnTo>
                  <a:lnTo>
                    <a:pt x="312" y="206"/>
                  </a:lnTo>
                  <a:lnTo>
                    <a:pt x="310" y="212"/>
                  </a:lnTo>
                  <a:lnTo>
                    <a:pt x="314" y="218"/>
                  </a:lnTo>
                  <a:lnTo>
                    <a:pt x="312" y="218"/>
                  </a:lnTo>
                  <a:lnTo>
                    <a:pt x="310" y="224"/>
                  </a:lnTo>
                  <a:lnTo>
                    <a:pt x="306" y="226"/>
                  </a:lnTo>
                  <a:lnTo>
                    <a:pt x="302" y="230"/>
                  </a:lnTo>
                  <a:lnTo>
                    <a:pt x="296" y="228"/>
                  </a:lnTo>
                  <a:lnTo>
                    <a:pt x="296" y="234"/>
                  </a:lnTo>
                  <a:lnTo>
                    <a:pt x="292" y="240"/>
                  </a:lnTo>
                  <a:lnTo>
                    <a:pt x="292" y="246"/>
                  </a:lnTo>
                  <a:lnTo>
                    <a:pt x="294" y="250"/>
                  </a:lnTo>
                  <a:lnTo>
                    <a:pt x="298" y="256"/>
                  </a:lnTo>
                  <a:lnTo>
                    <a:pt x="292" y="258"/>
                  </a:lnTo>
                  <a:lnTo>
                    <a:pt x="286" y="264"/>
                  </a:lnTo>
                  <a:lnTo>
                    <a:pt x="286" y="266"/>
                  </a:lnTo>
                  <a:lnTo>
                    <a:pt x="288" y="272"/>
                  </a:lnTo>
                  <a:lnTo>
                    <a:pt x="288" y="278"/>
                  </a:lnTo>
                  <a:lnTo>
                    <a:pt x="290" y="284"/>
                  </a:lnTo>
                  <a:lnTo>
                    <a:pt x="298" y="288"/>
                  </a:lnTo>
                  <a:lnTo>
                    <a:pt x="298" y="294"/>
                  </a:lnTo>
                  <a:lnTo>
                    <a:pt x="302" y="298"/>
                  </a:lnTo>
                  <a:lnTo>
                    <a:pt x="302" y="302"/>
                  </a:lnTo>
                  <a:lnTo>
                    <a:pt x="304" y="302"/>
                  </a:lnTo>
                  <a:lnTo>
                    <a:pt x="302" y="308"/>
                  </a:lnTo>
                  <a:lnTo>
                    <a:pt x="298" y="314"/>
                  </a:lnTo>
                  <a:lnTo>
                    <a:pt x="294" y="320"/>
                  </a:lnTo>
                  <a:lnTo>
                    <a:pt x="300" y="324"/>
                  </a:lnTo>
                  <a:lnTo>
                    <a:pt x="306" y="320"/>
                  </a:lnTo>
                  <a:lnTo>
                    <a:pt x="312" y="318"/>
                  </a:lnTo>
                  <a:lnTo>
                    <a:pt x="312" y="316"/>
                  </a:lnTo>
                  <a:lnTo>
                    <a:pt x="318" y="312"/>
                  </a:lnTo>
                  <a:lnTo>
                    <a:pt x="322" y="310"/>
                  </a:lnTo>
                  <a:lnTo>
                    <a:pt x="326" y="308"/>
                  </a:lnTo>
                  <a:lnTo>
                    <a:pt x="330" y="306"/>
                  </a:lnTo>
                  <a:lnTo>
                    <a:pt x="338" y="306"/>
                  </a:lnTo>
                  <a:lnTo>
                    <a:pt x="344" y="306"/>
                  </a:lnTo>
                  <a:lnTo>
                    <a:pt x="348" y="306"/>
                  </a:lnTo>
                  <a:lnTo>
                    <a:pt x="354" y="310"/>
                  </a:lnTo>
                  <a:lnTo>
                    <a:pt x="360" y="306"/>
                  </a:lnTo>
                  <a:lnTo>
                    <a:pt x="364" y="306"/>
                  </a:lnTo>
                  <a:lnTo>
                    <a:pt x="370" y="306"/>
                  </a:lnTo>
                  <a:lnTo>
                    <a:pt x="372" y="304"/>
                  </a:lnTo>
                  <a:lnTo>
                    <a:pt x="372" y="308"/>
                  </a:lnTo>
                  <a:lnTo>
                    <a:pt x="366" y="314"/>
                  </a:lnTo>
                  <a:lnTo>
                    <a:pt x="362" y="318"/>
                  </a:lnTo>
                  <a:lnTo>
                    <a:pt x="364" y="324"/>
                  </a:lnTo>
                  <a:lnTo>
                    <a:pt x="368" y="330"/>
                  </a:lnTo>
                  <a:lnTo>
                    <a:pt x="372" y="336"/>
                  </a:lnTo>
                  <a:lnTo>
                    <a:pt x="378" y="342"/>
                  </a:lnTo>
                  <a:lnTo>
                    <a:pt x="374" y="348"/>
                  </a:lnTo>
                  <a:lnTo>
                    <a:pt x="378" y="352"/>
                  </a:lnTo>
                  <a:lnTo>
                    <a:pt x="380" y="352"/>
                  </a:lnTo>
                  <a:lnTo>
                    <a:pt x="382" y="358"/>
                  </a:lnTo>
                  <a:lnTo>
                    <a:pt x="382" y="366"/>
                  </a:lnTo>
                  <a:lnTo>
                    <a:pt x="384" y="370"/>
                  </a:lnTo>
                  <a:lnTo>
                    <a:pt x="390" y="372"/>
                  </a:lnTo>
                  <a:lnTo>
                    <a:pt x="396" y="376"/>
                  </a:lnTo>
                  <a:lnTo>
                    <a:pt x="402" y="376"/>
                  </a:lnTo>
                  <a:lnTo>
                    <a:pt x="408" y="378"/>
                  </a:lnTo>
                  <a:lnTo>
                    <a:pt x="414" y="378"/>
                  </a:lnTo>
                  <a:lnTo>
                    <a:pt x="420" y="378"/>
                  </a:lnTo>
                  <a:lnTo>
                    <a:pt x="422" y="384"/>
                  </a:lnTo>
                  <a:lnTo>
                    <a:pt x="424" y="390"/>
                  </a:lnTo>
                  <a:lnTo>
                    <a:pt x="418" y="390"/>
                  </a:lnTo>
                  <a:lnTo>
                    <a:pt x="416" y="396"/>
                  </a:lnTo>
                  <a:lnTo>
                    <a:pt x="412" y="400"/>
                  </a:lnTo>
                  <a:lnTo>
                    <a:pt x="414" y="406"/>
                  </a:lnTo>
                  <a:lnTo>
                    <a:pt x="418" y="412"/>
                  </a:lnTo>
                  <a:lnTo>
                    <a:pt x="418" y="418"/>
                  </a:lnTo>
                  <a:lnTo>
                    <a:pt x="414" y="424"/>
                  </a:lnTo>
                  <a:lnTo>
                    <a:pt x="412" y="430"/>
                  </a:lnTo>
                  <a:lnTo>
                    <a:pt x="410" y="436"/>
                  </a:lnTo>
                  <a:lnTo>
                    <a:pt x="408" y="442"/>
                  </a:lnTo>
                  <a:lnTo>
                    <a:pt x="410" y="444"/>
                  </a:lnTo>
                  <a:lnTo>
                    <a:pt x="416" y="446"/>
                  </a:lnTo>
                  <a:lnTo>
                    <a:pt x="422" y="446"/>
                  </a:lnTo>
                  <a:lnTo>
                    <a:pt x="428" y="444"/>
                  </a:lnTo>
                  <a:lnTo>
                    <a:pt x="434" y="446"/>
                  </a:lnTo>
                  <a:lnTo>
                    <a:pt x="440" y="448"/>
                  </a:lnTo>
                  <a:lnTo>
                    <a:pt x="446" y="450"/>
                  </a:lnTo>
                  <a:lnTo>
                    <a:pt x="452" y="450"/>
                  </a:lnTo>
                  <a:lnTo>
                    <a:pt x="458" y="450"/>
                  </a:lnTo>
                  <a:lnTo>
                    <a:pt x="460" y="456"/>
                  </a:lnTo>
                  <a:lnTo>
                    <a:pt x="458" y="462"/>
                  </a:lnTo>
                  <a:lnTo>
                    <a:pt x="460" y="468"/>
                  </a:lnTo>
                  <a:lnTo>
                    <a:pt x="462" y="474"/>
                  </a:lnTo>
                  <a:lnTo>
                    <a:pt x="466" y="474"/>
                  </a:lnTo>
                  <a:lnTo>
                    <a:pt x="472" y="476"/>
                  </a:lnTo>
                  <a:lnTo>
                    <a:pt x="470" y="482"/>
                  </a:lnTo>
                  <a:lnTo>
                    <a:pt x="472" y="488"/>
                  </a:lnTo>
                  <a:lnTo>
                    <a:pt x="478" y="492"/>
                  </a:lnTo>
                  <a:lnTo>
                    <a:pt x="480" y="490"/>
                  </a:lnTo>
                  <a:lnTo>
                    <a:pt x="486" y="484"/>
                  </a:lnTo>
                  <a:lnTo>
                    <a:pt x="492" y="488"/>
                  </a:lnTo>
                  <a:lnTo>
                    <a:pt x="498" y="490"/>
                  </a:lnTo>
                  <a:lnTo>
                    <a:pt x="504" y="488"/>
                  </a:lnTo>
                  <a:lnTo>
                    <a:pt x="510" y="484"/>
                  </a:lnTo>
                  <a:lnTo>
                    <a:pt x="512" y="482"/>
                  </a:lnTo>
                  <a:lnTo>
                    <a:pt x="516" y="476"/>
                  </a:lnTo>
                  <a:lnTo>
                    <a:pt x="522" y="474"/>
                  </a:lnTo>
                  <a:lnTo>
                    <a:pt x="528" y="468"/>
                  </a:lnTo>
                  <a:lnTo>
                    <a:pt x="530" y="468"/>
                  </a:lnTo>
                  <a:lnTo>
                    <a:pt x="530" y="474"/>
                  </a:lnTo>
                  <a:lnTo>
                    <a:pt x="534" y="480"/>
                  </a:lnTo>
                  <a:lnTo>
                    <a:pt x="532" y="482"/>
                  </a:lnTo>
                  <a:lnTo>
                    <a:pt x="534" y="486"/>
                  </a:lnTo>
                  <a:lnTo>
                    <a:pt x="528" y="492"/>
                  </a:lnTo>
                  <a:lnTo>
                    <a:pt x="522" y="496"/>
                  </a:lnTo>
                  <a:lnTo>
                    <a:pt x="516" y="502"/>
                  </a:lnTo>
                  <a:lnTo>
                    <a:pt x="510" y="500"/>
                  </a:lnTo>
                  <a:lnTo>
                    <a:pt x="510" y="506"/>
                  </a:lnTo>
                  <a:lnTo>
                    <a:pt x="508" y="512"/>
                  </a:lnTo>
                  <a:lnTo>
                    <a:pt x="506" y="518"/>
                  </a:lnTo>
                  <a:lnTo>
                    <a:pt x="502" y="524"/>
                  </a:lnTo>
                  <a:lnTo>
                    <a:pt x="502" y="526"/>
                  </a:lnTo>
                  <a:lnTo>
                    <a:pt x="504" y="532"/>
                  </a:lnTo>
                  <a:lnTo>
                    <a:pt x="508" y="530"/>
                  </a:lnTo>
                  <a:lnTo>
                    <a:pt x="508" y="534"/>
                  </a:lnTo>
                  <a:lnTo>
                    <a:pt x="502" y="536"/>
                  </a:lnTo>
                  <a:lnTo>
                    <a:pt x="496" y="534"/>
                  </a:lnTo>
                  <a:lnTo>
                    <a:pt x="490" y="538"/>
                  </a:lnTo>
                  <a:lnTo>
                    <a:pt x="484" y="544"/>
                  </a:lnTo>
                  <a:lnTo>
                    <a:pt x="484" y="550"/>
                  </a:lnTo>
                  <a:lnTo>
                    <a:pt x="484" y="556"/>
                  </a:lnTo>
                  <a:lnTo>
                    <a:pt x="482" y="562"/>
                  </a:lnTo>
                  <a:lnTo>
                    <a:pt x="482" y="568"/>
                  </a:lnTo>
                  <a:lnTo>
                    <a:pt x="480" y="568"/>
                  </a:lnTo>
                  <a:lnTo>
                    <a:pt x="476" y="564"/>
                  </a:lnTo>
                  <a:lnTo>
                    <a:pt x="474" y="560"/>
                  </a:lnTo>
                  <a:lnTo>
                    <a:pt x="468" y="562"/>
                  </a:lnTo>
                  <a:lnTo>
                    <a:pt x="466" y="562"/>
                  </a:lnTo>
                  <a:lnTo>
                    <a:pt x="462" y="568"/>
                  </a:lnTo>
                  <a:lnTo>
                    <a:pt x="456" y="570"/>
                  </a:lnTo>
                  <a:lnTo>
                    <a:pt x="452" y="568"/>
                  </a:lnTo>
                  <a:lnTo>
                    <a:pt x="446" y="570"/>
                  </a:lnTo>
                  <a:lnTo>
                    <a:pt x="450" y="576"/>
                  </a:lnTo>
                  <a:lnTo>
                    <a:pt x="448" y="582"/>
                  </a:lnTo>
                  <a:lnTo>
                    <a:pt x="444" y="586"/>
                  </a:lnTo>
                  <a:lnTo>
                    <a:pt x="438" y="586"/>
                  </a:lnTo>
                  <a:lnTo>
                    <a:pt x="432" y="584"/>
                  </a:lnTo>
                  <a:lnTo>
                    <a:pt x="428" y="582"/>
                  </a:lnTo>
                  <a:lnTo>
                    <a:pt x="422" y="586"/>
                  </a:lnTo>
                  <a:lnTo>
                    <a:pt x="422" y="592"/>
                  </a:lnTo>
                  <a:lnTo>
                    <a:pt x="422" y="596"/>
                  </a:lnTo>
                  <a:lnTo>
                    <a:pt x="422" y="602"/>
                  </a:lnTo>
                  <a:lnTo>
                    <a:pt x="418" y="606"/>
                  </a:lnTo>
                  <a:lnTo>
                    <a:pt x="416" y="608"/>
                  </a:lnTo>
                  <a:lnTo>
                    <a:pt x="412" y="604"/>
                  </a:lnTo>
                  <a:lnTo>
                    <a:pt x="406" y="608"/>
                  </a:lnTo>
                  <a:lnTo>
                    <a:pt x="400" y="612"/>
                  </a:lnTo>
                  <a:lnTo>
                    <a:pt x="396" y="614"/>
                  </a:lnTo>
                  <a:lnTo>
                    <a:pt x="390" y="612"/>
                  </a:lnTo>
                  <a:lnTo>
                    <a:pt x="386" y="612"/>
                  </a:lnTo>
                  <a:lnTo>
                    <a:pt x="382" y="614"/>
                  </a:lnTo>
                  <a:lnTo>
                    <a:pt x="376" y="610"/>
                  </a:lnTo>
                  <a:lnTo>
                    <a:pt x="370" y="606"/>
                  </a:lnTo>
                  <a:lnTo>
                    <a:pt x="364" y="606"/>
                  </a:lnTo>
                  <a:lnTo>
                    <a:pt x="364" y="612"/>
                  </a:lnTo>
                  <a:lnTo>
                    <a:pt x="362" y="618"/>
                  </a:lnTo>
                  <a:lnTo>
                    <a:pt x="356" y="622"/>
                  </a:lnTo>
                  <a:lnTo>
                    <a:pt x="356" y="628"/>
                  </a:lnTo>
                  <a:lnTo>
                    <a:pt x="354" y="634"/>
                  </a:lnTo>
                  <a:lnTo>
                    <a:pt x="356" y="640"/>
                  </a:lnTo>
                  <a:lnTo>
                    <a:pt x="356" y="646"/>
                  </a:lnTo>
                  <a:lnTo>
                    <a:pt x="358" y="648"/>
                  </a:lnTo>
                  <a:lnTo>
                    <a:pt x="356" y="654"/>
                  </a:lnTo>
                  <a:lnTo>
                    <a:pt x="352" y="660"/>
                  </a:lnTo>
                  <a:lnTo>
                    <a:pt x="350" y="666"/>
                  </a:lnTo>
                  <a:lnTo>
                    <a:pt x="354" y="672"/>
                  </a:lnTo>
                  <a:lnTo>
                    <a:pt x="356" y="678"/>
                  </a:lnTo>
                  <a:lnTo>
                    <a:pt x="358" y="684"/>
                  </a:lnTo>
                  <a:lnTo>
                    <a:pt x="358" y="690"/>
                  </a:lnTo>
                  <a:lnTo>
                    <a:pt x="352" y="692"/>
                  </a:lnTo>
                  <a:lnTo>
                    <a:pt x="346" y="696"/>
                  </a:lnTo>
                  <a:lnTo>
                    <a:pt x="340" y="696"/>
                  </a:lnTo>
                  <a:lnTo>
                    <a:pt x="334" y="690"/>
                  </a:lnTo>
                  <a:lnTo>
                    <a:pt x="336" y="696"/>
                  </a:lnTo>
                  <a:lnTo>
                    <a:pt x="340" y="702"/>
                  </a:lnTo>
                  <a:lnTo>
                    <a:pt x="342" y="708"/>
                  </a:lnTo>
                  <a:lnTo>
                    <a:pt x="348" y="710"/>
                  </a:lnTo>
                  <a:lnTo>
                    <a:pt x="354" y="710"/>
                  </a:lnTo>
                  <a:lnTo>
                    <a:pt x="354" y="716"/>
                  </a:lnTo>
                  <a:lnTo>
                    <a:pt x="358" y="722"/>
                  </a:lnTo>
                  <a:lnTo>
                    <a:pt x="360" y="728"/>
                  </a:lnTo>
                  <a:lnTo>
                    <a:pt x="362" y="734"/>
                  </a:lnTo>
                  <a:lnTo>
                    <a:pt x="360" y="740"/>
                  </a:lnTo>
                  <a:lnTo>
                    <a:pt x="360" y="742"/>
                  </a:lnTo>
                  <a:lnTo>
                    <a:pt x="362" y="744"/>
                  </a:lnTo>
                  <a:lnTo>
                    <a:pt x="366" y="750"/>
                  </a:lnTo>
                  <a:lnTo>
                    <a:pt x="370" y="754"/>
                  </a:lnTo>
                  <a:lnTo>
                    <a:pt x="376" y="760"/>
                  </a:lnTo>
                  <a:lnTo>
                    <a:pt x="382" y="764"/>
                  </a:lnTo>
                  <a:lnTo>
                    <a:pt x="386" y="770"/>
                  </a:lnTo>
                  <a:lnTo>
                    <a:pt x="390" y="776"/>
                  </a:lnTo>
                  <a:lnTo>
                    <a:pt x="396" y="782"/>
                  </a:lnTo>
                  <a:lnTo>
                    <a:pt x="402" y="788"/>
                  </a:lnTo>
                  <a:lnTo>
                    <a:pt x="404" y="794"/>
                  </a:lnTo>
                  <a:lnTo>
                    <a:pt x="406" y="796"/>
                  </a:lnTo>
                  <a:lnTo>
                    <a:pt x="412" y="796"/>
                  </a:lnTo>
                  <a:lnTo>
                    <a:pt x="416" y="802"/>
                  </a:lnTo>
                  <a:lnTo>
                    <a:pt x="418" y="808"/>
                  </a:lnTo>
                  <a:lnTo>
                    <a:pt x="418" y="814"/>
                  </a:lnTo>
                  <a:lnTo>
                    <a:pt x="420" y="820"/>
                  </a:lnTo>
                  <a:lnTo>
                    <a:pt x="422" y="824"/>
                  </a:lnTo>
                  <a:lnTo>
                    <a:pt x="424" y="830"/>
                  </a:lnTo>
                  <a:lnTo>
                    <a:pt x="430" y="836"/>
                  </a:lnTo>
                  <a:lnTo>
                    <a:pt x="432" y="842"/>
                  </a:lnTo>
                  <a:lnTo>
                    <a:pt x="436" y="848"/>
                  </a:lnTo>
                  <a:lnTo>
                    <a:pt x="440" y="842"/>
                  </a:lnTo>
                  <a:lnTo>
                    <a:pt x="442" y="836"/>
                  </a:lnTo>
                  <a:lnTo>
                    <a:pt x="446" y="842"/>
                  </a:lnTo>
                  <a:lnTo>
                    <a:pt x="446" y="848"/>
                  </a:lnTo>
                  <a:lnTo>
                    <a:pt x="444" y="854"/>
                  </a:lnTo>
                  <a:lnTo>
                    <a:pt x="440" y="860"/>
                  </a:lnTo>
                  <a:lnTo>
                    <a:pt x="434" y="860"/>
                  </a:lnTo>
                  <a:lnTo>
                    <a:pt x="428" y="864"/>
                  </a:lnTo>
                  <a:lnTo>
                    <a:pt x="430" y="868"/>
                  </a:lnTo>
                  <a:lnTo>
                    <a:pt x="430" y="874"/>
                  </a:lnTo>
                  <a:lnTo>
                    <a:pt x="432" y="880"/>
                  </a:lnTo>
                  <a:lnTo>
                    <a:pt x="430" y="886"/>
                  </a:lnTo>
                  <a:lnTo>
                    <a:pt x="432" y="892"/>
                  </a:lnTo>
                  <a:lnTo>
                    <a:pt x="430" y="894"/>
                  </a:lnTo>
                  <a:lnTo>
                    <a:pt x="432" y="900"/>
                  </a:lnTo>
                  <a:lnTo>
                    <a:pt x="434" y="906"/>
                  </a:lnTo>
                  <a:lnTo>
                    <a:pt x="430" y="912"/>
                  </a:lnTo>
                  <a:lnTo>
                    <a:pt x="424" y="912"/>
                  </a:lnTo>
                  <a:lnTo>
                    <a:pt x="424" y="920"/>
                  </a:lnTo>
                  <a:lnTo>
                    <a:pt x="418" y="916"/>
                  </a:lnTo>
                  <a:lnTo>
                    <a:pt x="412" y="922"/>
                  </a:lnTo>
                  <a:lnTo>
                    <a:pt x="412" y="926"/>
                  </a:lnTo>
                  <a:lnTo>
                    <a:pt x="412" y="932"/>
                  </a:lnTo>
                  <a:lnTo>
                    <a:pt x="414" y="938"/>
                  </a:lnTo>
                  <a:lnTo>
                    <a:pt x="418" y="944"/>
                  </a:lnTo>
                  <a:lnTo>
                    <a:pt x="418" y="950"/>
                  </a:lnTo>
                  <a:lnTo>
                    <a:pt x="422" y="956"/>
                  </a:lnTo>
                  <a:lnTo>
                    <a:pt x="428" y="962"/>
                  </a:lnTo>
                  <a:lnTo>
                    <a:pt x="432" y="968"/>
                  </a:lnTo>
                  <a:lnTo>
                    <a:pt x="436" y="974"/>
                  </a:lnTo>
                  <a:lnTo>
                    <a:pt x="440" y="980"/>
                  </a:lnTo>
                  <a:lnTo>
                    <a:pt x="444" y="986"/>
                  </a:lnTo>
                  <a:lnTo>
                    <a:pt x="450" y="988"/>
                  </a:lnTo>
                  <a:lnTo>
                    <a:pt x="454" y="994"/>
                  </a:lnTo>
                  <a:lnTo>
                    <a:pt x="460" y="998"/>
                  </a:lnTo>
                  <a:lnTo>
                    <a:pt x="466" y="1002"/>
                  </a:lnTo>
                  <a:lnTo>
                    <a:pt x="470" y="1008"/>
                  </a:lnTo>
                  <a:lnTo>
                    <a:pt x="474" y="1014"/>
                  </a:lnTo>
                  <a:lnTo>
                    <a:pt x="478" y="1020"/>
                  </a:lnTo>
                  <a:lnTo>
                    <a:pt x="480" y="1026"/>
                  </a:lnTo>
                  <a:lnTo>
                    <a:pt x="480" y="1030"/>
                  </a:lnTo>
                  <a:lnTo>
                    <a:pt x="482" y="1036"/>
                  </a:lnTo>
                  <a:lnTo>
                    <a:pt x="484" y="1042"/>
                  </a:lnTo>
                  <a:lnTo>
                    <a:pt x="486" y="1048"/>
                  </a:lnTo>
                  <a:lnTo>
                    <a:pt x="484" y="1054"/>
                  </a:lnTo>
                  <a:lnTo>
                    <a:pt x="486" y="1056"/>
                  </a:lnTo>
                  <a:lnTo>
                    <a:pt x="486" y="1062"/>
                  </a:lnTo>
                  <a:lnTo>
                    <a:pt x="482" y="1066"/>
                  </a:lnTo>
                  <a:lnTo>
                    <a:pt x="482" y="1072"/>
                  </a:lnTo>
                  <a:lnTo>
                    <a:pt x="486" y="1078"/>
                  </a:lnTo>
                  <a:lnTo>
                    <a:pt x="488" y="1084"/>
                  </a:lnTo>
                  <a:lnTo>
                    <a:pt x="490" y="1090"/>
                  </a:lnTo>
                  <a:lnTo>
                    <a:pt x="492" y="1096"/>
                  </a:lnTo>
                  <a:lnTo>
                    <a:pt x="498" y="1100"/>
                  </a:lnTo>
                  <a:lnTo>
                    <a:pt x="504" y="1106"/>
                  </a:lnTo>
                  <a:lnTo>
                    <a:pt x="504" y="1110"/>
                  </a:lnTo>
                  <a:lnTo>
                    <a:pt x="506" y="1116"/>
                  </a:lnTo>
                  <a:lnTo>
                    <a:pt x="506" y="1122"/>
                  </a:lnTo>
                  <a:lnTo>
                    <a:pt x="508" y="1128"/>
                  </a:lnTo>
                  <a:lnTo>
                    <a:pt x="514" y="1136"/>
                  </a:lnTo>
                  <a:lnTo>
                    <a:pt x="514" y="1140"/>
                  </a:lnTo>
                  <a:lnTo>
                    <a:pt x="518" y="1146"/>
                  </a:lnTo>
                  <a:lnTo>
                    <a:pt x="516" y="1152"/>
                  </a:lnTo>
                  <a:lnTo>
                    <a:pt x="522" y="1158"/>
                  </a:lnTo>
                  <a:lnTo>
                    <a:pt x="520" y="1164"/>
                  </a:lnTo>
                  <a:lnTo>
                    <a:pt x="518" y="1170"/>
                  </a:lnTo>
                  <a:lnTo>
                    <a:pt x="512" y="1176"/>
                  </a:lnTo>
                  <a:lnTo>
                    <a:pt x="510" y="1182"/>
                  </a:lnTo>
                  <a:lnTo>
                    <a:pt x="508" y="1188"/>
                  </a:lnTo>
                  <a:lnTo>
                    <a:pt x="504" y="1194"/>
                  </a:lnTo>
                  <a:lnTo>
                    <a:pt x="502" y="1200"/>
                  </a:lnTo>
                  <a:lnTo>
                    <a:pt x="500" y="1206"/>
                  </a:lnTo>
                  <a:lnTo>
                    <a:pt x="494" y="1212"/>
                  </a:lnTo>
                  <a:lnTo>
                    <a:pt x="492" y="1214"/>
                  </a:lnTo>
                  <a:lnTo>
                    <a:pt x="486" y="1220"/>
                  </a:lnTo>
                  <a:lnTo>
                    <a:pt x="486" y="1226"/>
                  </a:lnTo>
                  <a:lnTo>
                    <a:pt x="480" y="1230"/>
                  </a:lnTo>
                  <a:lnTo>
                    <a:pt x="474" y="1236"/>
                  </a:lnTo>
                  <a:lnTo>
                    <a:pt x="474" y="1242"/>
                  </a:lnTo>
                  <a:lnTo>
                    <a:pt x="478" y="1248"/>
                  </a:lnTo>
                  <a:lnTo>
                    <a:pt x="474" y="1254"/>
                  </a:lnTo>
                  <a:lnTo>
                    <a:pt x="474" y="1260"/>
                  </a:lnTo>
                  <a:lnTo>
                    <a:pt x="472" y="1266"/>
                  </a:lnTo>
                  <a:lnTo>
                    <a:pt x="470" y="1272"/>
                  </a:lnTo>
                  <a:lnTo>
                    <a:pt x="466" y="1278"/>
                  </a:lnTo>
                  <a:lnTo>
                    <a:pt x="464" y="1284"/>
                  </a:lnTo>
                  <a:lnTo>
                    <a:pt x="462" y="1284"/>
                  </a:lnTo>
                  <a:lnTo>
                    <a:pt x="460" y="1278"/>
                  </a:lnTo>
                  <a:lnTo>
                    <a:pt x="460" y="1272"/>
                  </a:lnTo>
                  <a:lnTo>
                    <a:pt x="460" y="1266"/>
                  </a:lnTo>
                  <a:lnTo>
                    <a:pt x="460" y="1260"/>
                  </a:lnTo>
                  <a:lnTo>
                    <a:pt x="458" y="1254"/>
                  </a:lnTo>
                  <a:lnTo>
                    <a:pt x="458" y="1248"/>
                  </a:lnTo>
                  <a:lnTo>
                    <a:pt x="458" y="1246"/>
                  </a:lnTo>
                  <a:lnTo>
                    <a:pt x="456" y="1242"/>
                  </a:lnTo>
                  <a:lnTo>
                    <a:pt x="454" y="1236"/>
                  </a:lnTo>
                  <a:lnTo>
                    <a:pt x="462" y="1234"/>
                  </a:lnTo>
                  <a:lnTo>
                    <a:pt x="462" y="1228"/>
                  </a:lnTo>
                  <a:lnTo>
                    <a:pt x="462" y="1224"/>
                  </a:lnTo>
                  <a:lnTo>
                    <a:pt x="466" y="1220"/>
                  </a:lnTo>
                  <a:lnTo>
                    <a:pt x="468" y="1214"/>
                  </a:lnTo>
                  <a:lnTo>
                    <a:pt x="468" y="1208"/>
                  </a:lnTo>
                  <a:lnTo>
                    <a:pt x="468" y="1204"/>
                  </a:lnTo>
                  <a:lnTo>
                    <a:pt x="470" y="1198"/>
                  </a:lnTo>
                  <a:lnTo>
                    <a:pt x="468" y="1190"/>
                  </a:lnTo>
                  <a:lnTo>
                    <a:pt x="466" y="1186"/>
                  </a:lnTo>
                  <a:lnTo>
                    <a:pt x="468" y="1180"/>
                  </a:lnTo>
                  <a:lnTo>
                    <a:pt x="466" y="1174"/>
                  </a:lnTo>
                  <a:lnTo>
                    <a:pt x="466" y="1168"/>
                  </a:lnTo>
                  <a:lnTo>
                    <a:pt x="474" y="1166"/>
                  </a:lnTo>
                  <a:lnTo>
                    <a:pt x="470" y="1160"/>
                  </a:lnTo>
                  <a:lnTo>
                    <a:pt x="470" y="1158"/>
                  </a:lnTo>
                  <a:lnTo>
                    <a:pt x="466" y="1162"/>
                  </a:lnTo>
                  <a:lnTo>
                    <a:pt x="460" y="1166"/>
                  </a:lnTo>
                  <a:lnTo>
                    <a:pt x="460" y="1160"/>
                  </a:lnTo>
                  <a:lnTo>
                    <a:pt x="464" y="1152"/>
                  </a:lnTo>
                  <a:lnTo>
                    <a:pt x="458" y="1154"/>
                  </a:lnTo>
                  <a:lnTo>
                    <a:pt x="464" y="1148"/>
                  </a:lnTo>
                  <a:lnTo>
                    <a:pt x="462" y="1142"/>
                  </a:lnTo>
                  <a:lnTo>
                    <a:pt x="458" y="1136"/>
                  </a:lnTo>
                  <a:lnTo>
                    <a:pt x="462" y="1132"/>
                  </a:lnTo>
                  <a:lnTo>
                    <a:pt x="456" y="1132"/>
                  </a:lnTo>
                  <a:lnTo>
                    <a:pt x="452" y="1126"/>
                  </a:lnTo>
                  <a:lnTo>
                    <a:pt x="458" y="1124"/>
                  </a:lnTo>
                  <a:lnTo>
                    <a:pt x="460" y="1122"/>
                  </a:lnTo>
                  <a:lnTo>
                    <a:pt x="454" y="1116"/>
                  </a:lnTo>
                  <a:lnTo>
                    <a:pt x="454" y="1114"/>
                  </a:lnTo>
                  <a:lnTo>
                    <a:pt x="460" y="1110"/>
                  </a:lnTo>
                  <a:lnTo>
                    <a:pt x="454" y="1106"/>
                  </a:lnTo>
                  <a:lnTo>
                    <a:pt x="458" y="1102"/>
                  </a:lnTo>
                  <a:lnTo>
                    <a:pt x="458" y="1096"/>
                  </a:lnTo>
                  <a:lnTo>
                    <a:pt x="454" y="1090"/>
                  </a:lnTo>
                  <a:lnTo>
                    <a:pt x="454" y="1086"/>
                  </a:lnTo>
                  <a:lnTo>
                    <a:pt x="452" y="1080"/>
                  </a:lnTo>
                  <a:lnTo>
                    <a:pt x="450" y="1074"/>
                  </a:lnTo>
                  <a:lnTo>
                    <a:pt x="448" y="1068"/>
                  </a:lnTo>
                  <a:lnTo>
                    <a:pt x="446" y="1062"/>
                  </a:lnTo>
                  <a:lnTo>
                    <a:pt x="442" y="1056"/>
                  </a:lnTo>
                  <a:lnTo>
                    <a:pt x="440" y="1052"/>
                  </a:lnTo>
                  <a:lnTo>
                    <a:pt x="436" y="1046"/>
                  </a:lnTo>
                  <a:lnTo>
                    <a:pt x="436" y="1040"/>
                  </a:lnTo>
                  <a:lnTo>
                    <a:pt x="432" y="1034"/>
                  </a:lnTo>
                  <a:lnTo>
                    <a:pt x="428" y="1028"/>
                  </a:lnTo>
                  <a:lnTo>
                    <a:pt x="424" y="1022"/>
                  </a:lnTo>
                  <a:lnTo>
                    <a:pt x="424" y="1016"/>
                  </a:lnTo>
                  <a:lnTo>
                    <a:pt x="422" y="1010"/>
                  </a:lnTo>
                  <a:lnTo>
                    <a:pt x="420" y="1004"/>
                  </a:lnTo>
                  <a:lnTo>
                    <a:pt x="418" y="1002"/>
                  </a:lnTo>
                  <a:lnTo>
                    <a:pt x="418" y="1004"/>
                  </a:lnTo>
                  <a:lnTo>
                    <a:pt x="420" y="1008"/>
                  </a:lnTo>
                  <a:lnTo>
                    <a:pt x="420" y="1014"/>
                  </a:lnTo>
                  <a:lnTo>
                    <a:pt x="420" y="1020"/>
                  </a:lnTo>
                  <a:lnTo>
                    <a:pt x="420" y="1026"/>
                  </a:lnTo>
                  <a:lnTo>
                    <a:pt x="422" y="1032"/>
                  </a:lnTo>
                  <a:lnTo>
                    <a:pt x="420" y="1038"/>
                  </a:lnTo>
                  <a:lnTo>
                    <a:pt x="420" y="1030"/>
                  </a:lnTo>
                  <a:lnTo>
                    <a:pt x="416" y="1026"/>
                  </a:lnTo>
                  <a:lnTo>
                    <a:pt x="416" y="1020"/>
                  </a:lnTo>
                  <a:lnTo>
                    <a:pt x="414" y="1014"/>
                  </a:lnTo>
                  <a:lnTo>
                    <a:pt x="412" y="1008"/>
                  </a:lnTo>
                  <a:lnTo>
                    <a:pt x="412" y="1002"/>
                  </a:lnTo>
                  <a:lnTo>
                    <a:pt x="412" y="996"/>
                  </a:lnTo>
                  <a:lnTo>
                    <a:pt x="408" y="990"/>
                  </a:lnTo>
                  <a:lnTo>
                    <a:pt x="408" y="988"/>
                  </a:lnTo>
                  <a:lnTo>
                    <a:pt x="404" y="982"/>
                  </a:lnTo>
                  <a:lnTo>
                    <a:pt x="402" y="976"/>
                  </a:lnTo>
                  <a:lnTo>
                    <a:pt x="400" y="970"/>
                  </a:lnTo>
                  <a:lnTo>
                    <a:pt x="398" y="964"/>
                  </a:lnTo>
                  <a:lnTo>
                    <a:pt x="398" y="958"/>
                  </a:lnTo>
                  <a:lnTo>
                    <a:pt x="402" y="960"/>
                  </a:lnTo>
                  <a:lnTo>
                    <a:pt x="400" y="954"/>
                  </a:lnTo>
                  <a:lnTo>
                    <a:pt x="394" y="958"/>
                  </a:lnTo>
                  <a:lnTo>
                    <a:pt x="392" y="952"/>
                  </a:lnTo>
                  <a:lnTo>
                    <a:pt x="390" y="946"/>
                  </a:lnTo>
                  <a:lnTo>
                    <a:pt x="390" y="944"/>
                  </a:lnTo>
                  <a:lnTo>
                    <a:pt x="390" y="938"/>
                  </a:lnTo>
                  <a:lnTo>
                    <a:pt x="390" y="936"/>
                  </a:lnTo>
                  <a:lnTo>
                    <a:pt x="388" y="930"/>
                  </a:lnTo>
                  <a:lnTo>
                    <a:pt x="386" y="924"/>
                  </a:lnTo>
                  <a:lnTo>
                    <a:pt x="382" y="918"/>
                  </a:lnTo>
                  <a:lnTo>
                    <a:pt x="384" y="912"/>
                  </a:lnTo>
                  <a:lnTo>
                    <a:pt x="384" y="906"/>
                  </a:lnTo>
                  <a:lnTo>
                    <a:pt x="382" y="900"/>
                  </a:lnTo>
                  <a:lnTo>
                    <a:pt x="382" y="894"/>
                  </a:lnTo>
                  <a:lnTo>
                    <a:pt x="380" y="890"/>
                  </a:lnTo>
                  <a:lnTo>
                    <a:pt x="378" y="886"/>
                  </a:lnTo>
                  <a:lnTo>
                    <a:pt x="378" y="880"/>
                  </a:lnTo>
                  <a:lnTo>
                    <a:pt x="374" y="874"/>
                  </a:lnTo>
                  <a:lnTo>
                    <a:pt x="368" y="868"/>
                  </a:lnTo>
                  <a:lnTo>
                    <a:pt x="370" y="862"/>
                  </a:lnTo>
                  <a:lnTo>
                    <a:pt x="370" y="858"/>
                  </a:lnTo>
                  <a:lnTo>
                    <a:pt x="370" y="852"/>
                  </a:lnTo>
                  <a:lnTo>
                    <a:pt x="370" y="846"/>
                  </a:lnTo>
                  <a:lnTo>
                    <a:pt x="368" y="840"/>
                  </a:lnTo>
                  <a:lnTo>
                    <a:pt x="368" y="836"/>
                  </a:lnTo>
                  <a:lnTo>
                    <a:pt x="370" y="830"/>
                  </a:lnTo>
                  <a:lnTo>
                    <a:pt x="374" y="830"/>
                  </a:lnTo>
                  <a:lnTo>
                    <a:pt x="372" y="828"/>
                  </a:lnTo>
                  <a:lnTo>
                    <a:pt x="370" y="830"/>
                  </a:lnTo>
                  <a:lnTo>
                    <a:pt x="368" y="832"/>
                  </a:lnTo>
                  <a:lnTo>
                    <a:pt x="362" y="830"/>
                  </a:lnTo>
                  <a:lnTo>
                    <a:pt x="356" y="832"/>
                  </a:lnTo>
                  <a:lnTo>
                    <a:pt x="350" y="830"/>
                  </a:lnTo>
                  <a:lnTo>
                    <a:pt x="348" y="826"/>
                  </a:lnTo>
                  <a:lnTo>
                    <a:pt x="344" y="820"/>
                  </a:lnTo>
                  <a:lnTo>
                    <a:pt x="342" y="814"/>
                  </a:lnTo>
                  <a:lnTo>
                    <a:pt x="340" y="808"/>
                  </a:lnTo>
                  <a:lnTo>
                    <a:pt x="338" y="802"/>
                  </a:lnTo>
                  <a:lnTo>
                    <a:pt x="336" y="796"/>
                  </a:lnTo>
                  <a:lnTo>
                    <a:pt x="336" y="790"/>
                  </a:lnTo>
                  <a:lnTo>
                    <a:pt x="332" y="792"/>
                  </a:lnTo>
                  <a:lnTo>
                    <a:pt x="330" y="786"/>
                  </a:lnTo>
                  <a:lnTo>
                    <a:pt x="326" y="780"/>
                  </a:lnTo>
                  <a:lnTo>
                    <a:pt x="322" y="778"/>
                  </a:lnTo>
                  <a:lnTo>
                    <a:pt x="318" y="774"/>
                  </a:lnTo>
                  <a:lnTo>
                    <a:pt x="314" y="768"/>
                  </a:lnTo>
                  <a:lnTo>
                    <a:pt x="312" y="772"/>
                  </a:lnTo>
                  <a:lnTo>
                    <a:pt x="318" y="778"/>
                  </a:lnTo>
                  <a:lnTo>
                    <a:pt x="314" y="784"/>
                  </a:lnTo>
                  <a:lnTo>
                    <a:pt x="316" y="790"/>
                  </a:lnTo>
                  <a:lnTo>
                    <a:pt x="320" y="794"/>
                  </a:lnTo>
                  <a:lnTo>
                    <a:pt x="318" y="800"/>
                  </a:lnTo>
                  <a:lnTo>
                    <a:pt x="314" y="806"/>
                  </a:lnTo>
                  <a:lnTo>
                    <a:pt x="316" y="808"/>
                  </a:lnTo>
                  <a:lnTo>
                    <a:pt x="316" y="814"/>
                  </a:lnTo>
                  <a:lnTo>
                    <a:pt x="314" y="816"/>
                  </a:lnTo>
                  <a:lnTo>
                    <a:pt x="312" y="822"/>
                  </a:lnTo>
                  <a:lnTo>
                    <a:pt x="308" y="828"/>
                  </a:lnTo>
                  <a:lnTo>
                    <a:pt x="304" y="832"/>
                  </a:lnTo>
                  <a:lnTo>
                    <a:pt x="298" y="834"/>
                  </a:lnTo>
                  <a:lnTo>
                    <a:pt x="292" y="834"/>
                  </a:lnTo>
                  <a:lnTo>
                    <a:pt x="286" y="828"/>
                  </a:lnTo>
                  <a:lnTo>
                    <a:pt x="284" y="822"/>
                  </a:lnTo>
                  <a:lnTo>
                    <a:pt x="280" y="818"/>
                  </a:lnTo>
                  <a:lnTo>
                    <a:pt x="284" y="812"/>
                  </a:lnTo>
                  <a:lnTo>
                    <a:pt x="282" y="812"/>
                  </a:lnTo>
                  <a:lnTo>
                    <a:pt x="280" y="814"/>
                  </a:lnTo>
                  <a:lnTo>
                    <a:pt x="278" y="816"/>
                  </a:lnTo>
                  <a:lnTo>
                    <a:pt x="280" y="818"/>
                  </a:lnTo>
                  <a:lnTo>
                    <a:pt x="280" y="820"/>
                  </a:lnTo>
                  <a:lnTo>
                    <a:pt x="282" y="826"/>
                  </a:lnTo>
                  <a:lnTo>
                    <a:pt x="282" y="828"/>
                  </a:lnTo>
                  <a:lnTo>
                    <a:pt x="286" y="834"/>
                  </a:lnTo>
                  <a:lnTo>
                    <a:pt x="288" y="840"/>
                  </a:lnTo>
                  <a:lnTo>
                    <a:pt x="282" y="844"/>
                  </a:lnTo>
                  <a:lnTo>
                    <a:pt x="276" y="846"/>
                  </a:lnTo>
                  <a:lnTo>
                    <a:pt x="270" y="842"/>
                  </a:lnTo>
                  <a:lnTo>
                    <a:pt x="274" y="844"/>
                  </a:lnTo>
                  <a:lnTo>
                    <a:pt x="272" y="850"/>
                  </a:lnTo>
                  <a:lnTo>
                    <a:pt x="266" y="852"/>
                  </a:lnTo>
                  <a:lnTo>
                    <a:pt x="260" y="856"/>
                  </a:lnTo>
                  <a:lnTo>
                    <a:pt x="254" y="854"/>
                  </a:lnTo>
                  <a:lnTo>
                    <a:pt x="254" y="856"/>
                  </a:lnTo>
                  <a:lnTo>
                    <a:pt x="256" y="862"/>
                  </a:lnTo>
                  <a:lnTo>
                    <a:pt x="254" y="868"/>
                  </a:lnTo>
                  <a:lnTo>
                    <a:pt x="252" y="874"/>
                  </a:lnTo>
                  <a:lnTo>
                    <a:pt x="248" y="878"/>
                  </a:lnTo>
                  <a:lnTo>
                    <a:pt x="242" y="884"/>
                  </a:lnTo>
                  <a:lnTo>
                    <a:pt x="242" y="886"/>
                  </a:lnTo>
                  <a:lnTo>
                    <a:pt x="236" y="888"/>
                  </a:lnTo>
                  <a:lnTo>
                    <a:pt x="230" y="882"/>
                  </a:lnTo>
                  <a:lnTo>
                    <a:pt x="232" y="876"/>
                  </a:lnTo>
                  <a:lnTo>
                    <a:pt x="234" y="870"/>
                  </a:lnTo>
                  <a:lnTo>
                    <a:pt x="234" y="864"/>
                  </a:lnTo>
                  <a:lnTo>
                    <a:pt x="234" y="858"/>
                  </a:lnTo>
                  <a:lnTo>
                    <a:pt x="232" y="860"/>
                  </a:lnTo>
                  <a:lnTo>
                    <a:pt x="232" y="862"/>
                  </a:lnTo>
                  <a:lnTo>
                    <a:pt x="234" y="868"/>
                  </a:lnTo>
                  <a:lnTo>
                    <a:pt x="228" y="874"/>
                  </a:lnTo>
                  <a:lnTo>
                    <a:pt x="230" y="868"/>
                  </a:lnTo>
                  <a:lnTo>
                    <a:pt x="228" y="872"/>
                  </a:lnTo>
                  <a:lnTo>
                    <a:pt x="226" y="878"/>
                  </a:lnTo>
                  <a:lnTo>
                    <a:pt x="226" y="884"/>
                  </a:lnTo>
                  <a:lnTo>
                    <a:pt x="220" y="878"/>
                  </a:lnTo>
                  <a:lnTo>
                    <a:pt x="220" y="872"/>
                  </a:lnTo>
                  <a:lnTo>
                    <a:pt x="220" y="866"/>
                  </a:lnTo>
                  <a:lnTo>
                    <a:pt x="218" y="866"/>
                  </a:lnTo>
                  <a:lnTo>
                    <a:pt x="222" y="860"/>
                  </a:lnTo>
                  <a:lnTo>
                    <a:pt x="220" y="858"/>
                  </a:lnTo>
                  <a:lnTo>
                    <a:pt x="216" y="864"/>
                  </a:lnTo>
                  <a:lnTo>
                    <a:pt x="216" y="870"/>
                  </a:lnTo>
                  <a:lnTo>
                    <a:pt x="216" y="876"/>
                  </a:lnTo>
                  <a:lnTo>
                    <a:pt x="214" y="882"/>
                  </a:lnTo>
                  <a:lnTo>
                    <a:pt x="210" y="886"/>
                  </a:lnTo>
                  <a:lnTo>
                    <a:pt x="204" y="884"/>
                  </a:lnTo>
                  <a:lnTo>
                    <a:pt x="204" y="878"/>
                  </a:lnTo>
                  <a:lnTo>
                    <a:pt x="202" y="872"/>
                  </a:lnTo>
                  <a:lnTo>
                    <a:pt x="208" y="866"/>
                  </a:lnTo>
                  <a:lnTo>
                    <a:pt x="204" y="862"/>
                  </a:lnTo>
                  <a:lnTo>
                    <a:pt x="204" y="856"/>
                  </a:lnTo>
                  <a:lnTo>
                    <a:pt x="208" y="852"/>
                  </a:lnTo>
                  <a:lnTo>
                    <a:pt x="210" y="852"/>
                  </a:lnTo>
                  <a:lnTo>
                    <a:pt x="208" y="852"/>
                  </a:lnTo>
                  <a:lnTo>
                    <a:pt x="204" y="856"/>
                  </a:lnTo>
                  <a:lnTo>
                    <a:pt x="202" y="860"/>
                  </a:lnTo>
                  <a:lnTo>
                    <a:pt x="204" y="868"/>
                  </a:lnTo>
                  <a:lnTo>
                    <a:pt x="198" y="874"/>
                  </a:lnTo>
                  <a:lnTo>
                    <a:pt x="196" y="880"/>
                  </a:lnTo>
                  <a:lnTo>
                    <a:pt x="188" y="874"/>
                  </a:lnTo>
                  <a:lnTo>
                    <a:pt x="196" y="870"/>
                  </a:lnTo>
                  <a:lnTo>
                    <a:pt x="196" y="864"/>
                  </a:lnTo>
                  <a:lnTo>
                    <a:pt x="198" y="856"/>
                  </a:lnTo>
                  <a:lnTo>
                    <a:pt x="198" y="858"/>
                  </a:lnTo>
                  <a:lnTo>
                    <a:pt x="196" y="864"/>
                  </a:lnTo>
                  <a:lnTo>
                    <a:pt x="192" y="870"/>
                  </a:lnTo>
                  <a:lnTo>
                    <a:pt x="186" y="872"/>
                  </a:lnTo>
                  <a:lnTo>
                    <a:pt x="190" y="866"/>
                  </a:lnTo>
                  <a:lnTo>
                    <a:pt x="192" y="860"/>
                  </a:lnTo>
                  <a:lnTo>
                    <a:pt x="192" y="854"/>
                  </a:lnTo>
                  <a:lnTo>
                    <a:pt x="190" y="850"/>
                  </a:lnTo>
                  <a:lnTo>
                    <a:pt x="192" y="844"/>
                  </a:lnTo>
                  <a:lnTo>
                    <a:pt x="192" y="838"/>
                  </a:lnTo>
                  <a:lnTo>
                    <a:pt x="192" y="832"/>
                  </a:lnTo>
                  <a:lnTo>
                    <a:pt x="190" y="834"/>
                  </a:lnTo>
                  <a:lnTo>
                    <a:pt x="188" y="832"/>
                  </a:lnTo>
                  <a:lnTo>
                    <a:pt x="190" y="836"/>
                  </a:lnTo>
                  <a:lnTo>
                    <a:pt x="190" y="840"/>
                  </a:lnTo>
                  <a:lnTo>
                    <a:pt x="186" y="846"/>
                  </a:lnTo>
                  <a:lnTo>
                    <a:pt x="182" y="852"/>
                  </a:lnTo>
                  <a:lnTo>
                    <a:pt x="180" y="858"/>
                  </a:lnTo>
                  <a:lnTo>
                    <a:pt x="176" y="864"/>
                  </a:lnTo>
                  <a:lnTo>
                    <a:pt x="170" y="870"/>
                  </a:lnTo>
                  <a:lnTo>
                    <a:pt x="164" y="868"/>
                  </a:lnTo>
                  <a:lnTo>
                    <a:pt x="164" y="862"/>
                  </a:lnTo>
                  <a:lnTo>
                    <a:pt x="164" y="856"/>
                  </a:lnTo>
                  <a:lnTo>
                    <a:pt x="164" y="850"/>
                  </a:lnTo>
                  <a:lnTo>
                    <a:pt x="164" y="844"/>
                  </a:lnTo>
                  <a:lnTo>
                    <a:pt x="164" y="838"/>
                  </a:lnTo>
                  <a:lnTo>
                    <a:pt x="168" y="832"/>
                  </a:lnTo>
                  <a:lnTo>
                    <a:pt x="168" y="826"/>
                  </a:lnTo>
                  <a:lnTo>
                    <a:pt x="168" y="820"/>
                  </a:lnTo>
                  <a:lnTo>
                    <a:pt x="170" y="814"/>
                  </a:lnTo>
                  <a:lnTo>
                    <a:pt x="170" y="810"/>
                  </a:lnTo>
                  <a:lnTo>
                    <a:pt x="172" y="804"/>
                  </a:lnTo>
                  <a:lnTo>
                    <a:pt x="172" y="798"/>
                  </a:lnTo>
                  <a:lnTo>
                    <a:pt x="174" y="792"/>
                  </a:lnTo>
                  <a:lnTo>
                    <a:pt x="170" y="786"/>
                  </a:lnTo>
                  <a:lnTo>
                    <a:pt x="174" y="784"/>
                  </a:lnTo>
                  <a:lnTo>
                    <a:pt x="178" y="778"/>
                  </a:lnTo>
                  <a:lnTo>
                    <a:pt x="176" y="772"/>
                  </a:lnTo>
                  <a:lnTo>
                    <a:pt x="174" y="768"/>
                  </a:lnTo>
                  <a:lnTo>
                    <a:pt x="174" y="764"/>
                  </a:lnTo>
                  <a:lnTo>
                    <a:pt x="176" y="758"/>
                  </a:lnTo>
                  <a:lnTo>
                    <a:pt x="172" y="752"/>
                  </a:lnTo>
                  <a:lnTo>
                    <a:pt x="170" y="746"/>
                  </a:lnTo>
                  <a:lnTo>
                    <a:pt x="168" y="742"/>
                  </a:lnTo>
                  <a:lnTo>
                    <a:pt x="166" y="736"/>
                  </a:lnTo>
                  <a:lnTo>
                    <a:pt x="166" y="730"/>
                  </a:lnTo>
                  <a:lnTo>
                    <a:pt x="164" y="724"/>
                  </a:lnTo>
                  <a:lnTo>
                    <a:pt x="162" y="716"/>
                  </a:lnTo>
                  <a:lnTo>
                    <a:pt x="160" y="712"/>
                  </a:lnTo>
                  <a:lnTo>
                    <a:pt x="158" y="708"/>
                  </a:lnTo>
                  <a:lnTo>
                    <a:pt x="154" y="702"/>
                  </a:lnTo>
                  <a:lnTo>
                    <a:pt x="148" y="696"/>
                  </a:lnTo>
                  <a:lnTo>
                    <a:pt x="146" y="690"/>
                  </a:lnTo>
                  <a:lnTo>
                    <a:pt x="144" y="684"/>
                  </a:lnTo>
                  <a:lnTo>
                    <a:pt x="140" y="680"/>
                  </a:lnTo>
                  <a:lnTo>
                    <a:pt x="146" y="678"/>
                  </a:lnTo>
                  <a:lnTo>
                    <a:pt x="140" y="674"/>
                  </a:lnTo>
                  <a:lnTo>
                    <a:pt x="134" y="672"/>
                  </a:lnTo>
                  <a:lnTo>
                    <a:pt x="130" y="666"/>
                  </a:lnTo>
                  <a:lnTo>
                    <a:pt x="130" y="660"/>
                  </a:lnTo>
                  <a:lnTo>
                    <a:pt x="128" y="654"/>
                  </a:lnTo>
                  <a:lnTo>
                    <a:pt x="128" y="648"/>
                  </a:lnTo>
                  <a:lnTo>
                    <a:pt x="128" y="642"/>
                  </a:lnTo>
                  <a:lnTo>
                    <a:pt x="128" y="636"/>
                  </a:lnTo>
                  <a:lnTo>
                    <a:pt x="128" y="638"/>
                  </a:lnTo>
                  <a:lnTo>
                    <a:pt x="128" y="644"/>
                  </a:lnTo>
                  <a:lnTo>
                    <a:pt x="126" y="650"/>
                  </a:lnTo>
                  <a:lnTo>
                    <a:pt x="120" y="648"/>
                  </a:lnTo>
                  <a:lnTo>
                    <a:pt x="124" y="654"/>
                  </a:lnTo>
                  <a:lnTo>
                    <a:pt x="124" y="658"/>
                  </a:lnTo>
                  <a:lnTo>
                    <a:pt x="128" y="664"/>
                  </a:lnTo>
                  <a:lnTo>
                    <a:pt x="126" y="670"/>
                  </a:lnTo>
                  <a:lnTo>
                    <a:pt x="120" y="668"/>
                  </a:lnTo>
                  <a:lnTo>
                    <a:pt x="114" y="662"/>
                  </a:lnTo>
                  <a:lnTo>
                    <a:pt x="108" y="660"/>
                  </a:lnTo>
                  <a:lnTo>
                    <a:pt x="106" y="654"/>
                  </a:lnTo>
                  <a:lnTo>
                    <a:pt x="102" y="648"/>
                  </a:lnTo>
                  <a:lnTo>
                    <a:pt x="98" y="642"/>
                  </a:lnTo>
                  <a:lnTo>
                    <a:pt x="94" y="636"/>
                  </a:lnTo>
                  <a:lnTo>
                    <a:pt x="100" y="632"/>
                  </a:lnTo>
                  <a:lnTo>
                    <a:pt x="104" y="638"/>
                  </a:lnTo>
                  <a:lnTo>
                    <a:pt x="110" y="644"/>
                  </a:lnTo>
                  <a:lnTo>
                    <a:pt x="114" y="644"/>
                  </a:lnTo>
                  <a:lnTo>
                    <a:pt x="118" y="644"/>
                  </a:lnTo>
                  <a:lnTo>
                    <a:pt x="120" y="640"/>
                  </a:lnTo>
                  <a:lnTo>
                    <a:pt x="124" y="634"/>
                  </a:lnTo>
                  <a:lnTo>
                    <a:pt x="124" y="632"/>
                  </a:lnTo>
                  <a:lnTo>
                    <a:pt x="118" y="626"/>
                  </a:lnTo>
                  <a:lnTo>
                    <a:pt x="112" y="622"/>
                  </a:lnTo>
                  <a:lnTo>
                    <a:pt x="106" y="618"/>
                  </a:lnTo>
                  <a:lnTo>
                    <a:pt x="110" y="612"/>
                  </a:lnTo>
                  <a:lnTo>
                    <a:pt x="108" y="612"/>
                  </a:lnTo>
                  <a:lnTo>
                    <a:pt x="102" y="610"/>
                  </a:lnTo>
                  <a:lnTo>
                    <a:pt x="98" y="610"/>
                  </a:lnTo>
                  <a:lnTo>
                    <a:pt x="98" y="604"/>
                  </a:lnTo>
                  <a:lnTo>
                    <a:pt x="98" y="598"/>
                  </a:lnTo>
                  <a:lnTo>
                    <a:pt x="94" y="598"/>
                  </a:lnTo>
                  <a:lnTo>
                    <a:pt x="88" y="594"/>
                  </a:lnTo>
                  <a:lnTo>
                    <a:pt x="82" y="592"/>
                  </a:lnTo>
                  <a:lnTo>
                    <a:pt x="82" y="586"/>
                  </a:lnTo>
                  <a:lnTo>
                    <a:pt x="78" y="584"/>
                  </a:lnTo>
                  <a:lnTo>
                    <a:pt x="76" y="588"/>
                  </a:lnTo>
                  <a:lnTo>
                    <a:pt x="70" y="586"/>
                  </a:lnTo>
                  <a:lnTo>
                    <a:pt x="66" y="586"/>
                  </a:lnTo>
                  <a:lnTo>
                    <a:pt x="68" y="592"/>
                  </a:lnTo>
                  <a:lnTo>
                    <a:pt x="72" y="598"/>
                  </a:lnTo>
                  <a:lnTo>
                    <a:pt x="74" y="604"/>
                  </a:lnTo>
                  <a:lnTo>
                    <a:pt x="70" y="598"/>
                  </a:lnTo>
                  <a:lnTo>
                    <a:pt x="68" y="592"/>
                  </a:lnTo>
                  <a:lnTo>
                    <a:pt x="66" y="592"/>
                  </a:lnTo>
                  <a:lnTo>
                    <a:pt x="66" y="598"/>
                  </a:lnTo>
                  <a:lnTo>
                    <a:pt x="68" y="602"/>
                  </a:lnTo>
                  <a:lnTo>
                    <a:pt x="64" y="598"/>
                  </a:lnTo>
                  <a:lnTo>
                    <a:pt x="62" y="592"/>
                  </a:lnTo>
                  <a:lnTo>
                    <a:pt x="58" y="588"/>
                  </a:lnTo>
                  <a:lnTo>
                    <a:pt x="62" y="582"/>
                  </a:lnTo>
                  <a:lnTo>
                    <a:pt x="64" y="576"/>
                  </a:lnTo>
                  <a:lnTo>
                    <a:pt x="62" y="578"/>
                  </a:lnTo>
                  <a:lnTo>
                    <a:pt x="56" y="576"/>
                  </a:lnTo>
                  <a:lnTo>
                    <a:pt x="58" y="572"/>
                  </a:lnTo>
                  <a:lnTo>
                    <a:pt x="62" y="564"/>
                  </a:lnTo>
                  <a:lnTo>
                    <a:pt x="60" y="564"/>
                  </a:lnTo>
                  <a:lnTo>
                    <a:pt x="58" y="566"/>
                  </a:lnTo>
                  <a:lnTo>
                    <a:pt x="58" y="564"/>
                  </a:lnTo>
                  <a:lnTo>
                    <a:pt x="58" y="558"/>
                  </a:lnTo>
                  <a:lnTo>
                    <a:pt x="58" y="554"/>
                  </a:lnTo>
                  <a:lnTo>
                    <a:pt x="58" y="558"/>
                  </a:lnTo>
                  <a:lnTo>
                    <a:pt x="56" y="562"/>
                  </a:lnTo>
                  <a:lnTo>
                    <a:pt x="56" y="568"/>
                  </a:lnTo>
                  <a:lnTo>
                    <a:pt x="54" y="574"/>
                  </a:lnTo>
                  <a:lnTo>
                    <a:pt x="52" y="580"/>
                  </a:lnTo>
                  <a:lnTo>
                    <a:pt x="50" y="584"/>
                  </a:lnTo>
                  <a:lnTo>
                    <a:pt x="44" y="578"/>
                  </a:lnTo>
                  <a:lnTo>
                    <a:pt x="46" y="572"/>
                  </a:lnTo>
                  <a:lnTo>
                    <a:pt x="48" y="568"/>
                  </a:lnTo>
                  <a:lnTo>
                    <a:pt x="46" y="564"/>
                  </a:lnTo>
                  <a:lnTo>
                    <a:pt x="44" y="558"/>
                  </a:lnTo>
                  <a:lnTo>
                    <a:pt x="38" y="556"/>
                  </a:lnTo>
                  <a:lnTo>
                    <a:pt x="36" y="552"/>
                  </a:lnTo>
                  <a:lnTo>
                    <a:pt x="38" y="558"/>
                  </a:lnTo>
                  <a:lnTo>
                    <a:pt x="40" y="564"/>
                  </a:lnTo>
                  <a:lnTo>
                    <a:pt x="38" y="570"/>
                  </a:lnTo>
                  <a:lnTo>
                    <a:pt x="34" y="564"/>
                  </a:lnTo>
                  <a:lnTo>
                    <a:pt x="30" y="558"/>
                  </a:lnTo>
                  <a:lnTo>
                    <a:pt x="26" y="552"/>
                  </a:lnTo>
                  <a:lnTo>
                    <a:pt x="22" y="548"/>
                  </a:lnTo>
                  <a:lnTo>
                    <a:pt x="16" y="542"/>
                  </a:lnTo>
                  <a:lnTo>
                    <a:pt x="14" y="536"/>
                  </a:lnTo>
                  <a:lnTo>
                    <a:pt x="10" y="530"/>
                  </a:lnTo>
                  <a:lnTo>
                    <a:pt x="8" y="524"/>
                  </a:lnTo>
                  <a:lnTo>
                    <a:pt x="6" y="518"/>
                  </a:lnTo>
                  <a:lnTo>
                    <a:pt x="2" y="512"/>
                  </a:lnTo>
                  <a:lnTo>
                    <a:pt x="0" y="5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8" name="Freeform 125"/>
            <p:cNvSpPr>
              <a:spLocks/>
            </p:cNvSpPr>
            <p:nvPr/>
          </p:nvSpPr>
          <p:spPr bwMode="auto">
            <a:xfrm>
              <a:off x="6170613" y="2768600"/>
              <a:ext cx="735012" cy="293688"/>
            </a:xfrm>
            <a:custGeom>
              <a:avLst/>
              <a:gdLst>
                <a:gd name="T0" fmla="*/ 2147483647 w 1806"/>
                <a:gd name="T1" fmla="*/ 2147483647 h 712"/>
                <a:gd name="T2" fmla="*/ 2147483647 w 1806"/>
                <a:gd name="T3" fmla="*/ 2147483647 h 712"/>
                <a:gd name="T4" fmla="*/ 2147483647 w 1806"/>
                <a:gd name="T5" fmla="*/ 2147483647 h 712"/>
                <a:gd name="T6" fmla="*/ 2147483647 w 1806"/>
                <a:gd name="T7" fmla="*/ 2147483647 h 712"/>
                <a:gd name="T8" fmla="*/ 2147483647 w 1806"/>
                <a:gd name="T9" fmla="*/ 2147483647 h 712"/>
                <a:gd name="T10" fmla="*/ 2147483647 w 1806"/>
                <a:gd name="T11" fmla="*/ 2147483647 h 712"/>
                <a:gd name="T12" fmla="*/ 2147483647 w 1806"/>
                <a:gd name="T13" fmla="*/ 2147483647 h 712"/>
                <a:gd name="T14" fmla="*/ 2147483647 w 1806"/>
                <a:gd name="T15" fmla="*/ 2147483647 h 712"/>
                <a:gd name="T16" fmla="*/ 2147483647 w 1806"/>
                <a:gd name="T17" fmla="*/ 2147483647 h 712"/>
                <a:gd name="T18" fmla="*/ 2147483647 w 1806"/>
                <a:gd name="T19" fmla="*/ 2147483647 h 712"/>
                <a:gd name="T20" fmla="*/ 2147483647 w 1806"/>
                <a:gd name="T21" fmla="*/ 2147483647 h 712"/>
                <a:gd name="T22" fmla="*/ 2147483647 w 1806"/>
                <a:gd name="T23" fmla="*/ 2147483647 h 712"/>
                <a:gd name="T24" fmla="*/ 2147483647 w 1806"/>
                <a:gd name="T25" fmla="*/ 2147483647 h 712"/>
                <a:gd name="T26" fmla="*/ 2147483647 w 1806"/>
                <a:gd name="T27" fmla="*/ 2147483647 h 712"/>
                <a:gd name="T28" fmla="*/ 2147483647 w 1806"/>
                <a:gd name="T29" fmla="*/ 2147483647 h 712"/>
                <a:gd name="T30" fmla="*/ 2147483647 w 1806"/>
                <a:gd name="T31" fmla="*/ 2147483647 h 712"/>
                <a:gd name="T32" fmla="*/ 2147483647 w 1806"/>
                <a:gd name="T33" fmla="*/ 2147483647 h 712"/>
                <a:gd name="T34" fmla="*/ 2147483647 w 1806"/>
                <a:gd name="T35" fmla="*/ 2147483647 h 712"/>
                <a:gd name="T36" fmla="*/ 2147483647 w 1806"/>
                <a:gd name="T37" fmla="*/ 2147483647 h 712"/>
                <a:gd name="T38" fmla="*/ 2147483647 w 1806"/>
                <a:gd name="T39" fmla="*/ 2147483647 h 712"/>
                <a:gd name="T40" fmla="*/ 2147483647 w 1806"/>
                <a:gd name="T41" fmla="*/ 2147483647 h 712"/>
                <a:gd name="T42" fmla="*/ 2147483647 w 1806"/>
                <a:gd name="T43" fmla="*/ 2147483647 h 712"/>
                <a:gd name="T44" fmla="*/ 2147483647 w 1806"/>
                <a:gd name="T45" fmla="*/ 2147483647 h 712"/>
                <a:gd name="T46" fmla="*/ 2147483647 w 1806"/>
                <a:gd name="T47" fmla="*/ 2147483647 h 712"/>
                <a:gd name="T48" fmla="*/ 2147483647 w 1806"/>
                <a:gd name="T49" fmla="*/ 2147483647 h 712"/>
                <a:gd name="T50" fmla="*/ 2147483647 w 1806"/>
                <a:gd name="T51" fmla="*/ 2147483647 h 712"/>
                <a:gd name="T52" fmla="*/ 2147483647 w 1806"/>
                <a:gd name="T53" fmla="*/ 2147483647 h 712"/>
                <a:gd name="T54" fmla="*/ 2147483647 w 1806"/>
                <a:gd name="T55" fmla="*/ 2147483647 h 712"/>
                <a:gd name="T56" fmla="*/ 2147483647 w 1806"/>
                <a:gd name="T57" fmla="*/ 2147483647 h 712"/>
                <a:gd name="T58" fmla="*/ 2147483647 w 1806"/>
                <a:gd name="T59" fmla="*/ 2147483647 h 712"/>
                <a:gd name="T60" fmla="*/ 2147483647 w 1806"/>
                <a:gd name="T61" fmla="*/ 2147483647 h 712"/>
                <a:gd name="T62" fmla="*/ 2147483647 w 1806"/>
                <a:gd name="T63" fmla="*/ 2147483647 h 712"/>
                <a:gd name="T64" fmla="*/ 2147483647 w 1806"/>
                <a:gd name="T65" fmla="*/ 2147483647 h 712"/>
                <a:gd name="T66" fmla="*/ 2147483647 w 1806"/>
                <a:gd name="T67" fmla="*/ 2147483647 h 712"/>
                <a:gd name="T68" fmla="*/ 2147483647 w 1806"/>
                <a:gd name="T69" fmla="*/ 2147483647 h 712"/>
                <a:gd name="T70" fmla="*/ 2147483647 w 1806"/>
                <a:gd name="T71" fmla="*/ 2147483647 h 712"/>
                <a:gd name="T72" fmla="*/ 2147483647 w 1806"/>
                <a:gd name="T73" fmla="*/ 2147483647 h 712"/>
                <a:gd name="T74" fmla="*/ 2147483647 w 1806"/>
                <a:gd name="T75" fmla="*/ 2147483647 h 712"/>
                <a:gd name="T76" fmla="*/ 2147483647 w 1806"/>
                <a:gd name="T77" fmla="*/ 2147483647 h 712"/>
                <a:gd name="T78" fmla="*/ 2147483647 w 1806"/>
                <a:gd name="T79" fmla="*/ 2147483647 h 712"/>
                <a:gd name="T80" fmla="*/ 2147483647 w 1806"/>
                <a:gd name="T81" fmla="*/ 2147483647 h 712"/>
                <a:gd name="T82" fmla="*/ 2147483647 w 1806"/>
                <a:gd name="T83" fmla="*/ 2147483647 h 712"/>
                <a:gd name="T84" fmla="*/ 2147483647 w 1806"/>
                <a:gd name="T85" fmla="*/ 2147483647 h 712"/>
                <a:gd name="T86" fmla="*/ 2147483647 w 1806"/>
                <a:gd name="T87" fmla="*/ 2147483647 h 712"/>
                <a:gd name="T88" fmla="*/ 2147483647 w 1806"/>
                <a:gd name="T89" fmla="*/ 2147483647 h 712"/>
                <a:gd name="T90" fmla="*/ 2147483647 w 1806"/>
                <a:gd name="T91" fmla="*/ 2147483647 h 712"/>
                <a:gd name="T92" fmla="*/ 2147483647 w 1806"/>
                <a:gd name="T93" fmla="*/ 2147483647 h 712"/>
                <a:gd name="T94" fmla="*/ 2147483647 w 1806"/>
                <a:gd name="T95" fmla="*/ 2147483647 h 712"/>
                <a:gd name="T96" fmla="*/ 2147483647 w 1806"/>
                <a:gd name="T97" fmla="*/ 2147483647 h 712"/>
                <a:gd name="T98" fmla="*/ 2147483647 w 1806"/>
                <a:gd name="T99" fmla="*/ 2147483647 h 712"/>
                <a:gd name="T100" fmla="*/ 2147483647 w 1806"/>
                <a:gd name="T101" fmla="*/ 2147483647 h 712"/>
                <a:gd name="T102" fmla="*/ 2147483647 w 1806"/>
                <a:gd name="T103" fmla="*/ 2147483647 h 712"/>
                <a:gd name="T104" fmla="*/ 2147483647 w 1806"/>
                <a:gd name="T105" fmla="*/ 2147483647 h 712"/>
                <a:gd name="T106" fmla="*/ 2147483647 w 1806"/>
                <a:gd name="T107" fmla="*/ 2147483647 h 712"/>
                <a:gd name="T108" fmla="*/ 2147483647 w 1806"/>
                <a:gd name="T109" fmla="*/ 2147483647 h 712"/>
                <a:gd name="T110" fmla="*/ 2147483647 w 1806"/>
                <a:gd name="T111" fmla="*/ 2147483647 h 712"/>
                <a:gd name="T112" fmla="*/ 2147483647 w 1806"/>
                <a:gd name="T113" fmla="*/ 2147483647 h 712"/>
                <a:gd name="T114" fmla="*/ 2147483647 w 1806"/>
                <a:gd name="T115" fmla="*/ 2147483647 h 712"/>
                <a:gd name="T116" fmla="*/ 2147483647 w 1806"/>
                <a:gd name="T117" fmla="*/ 2147483647 h 712"/>
                <a:gd name="T118" fmla="*/ 2147483647 w 1806"/>
                <a:gd name="T119" fmla="*/ 2147483647 h 71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806"/>
                <a:gd name="T181" fmla="*/ 0 h 712"/>
                <a:gd name="T182" fmla="*/ 1806 w 1806"/>
                <a:gd name="T183" fmla="*/ 712 h 71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806" h="712">
                  <a:moveTo>
                    <a:pt x="0" y="198"/>
                  </a:moveTo>
                  <a:lnTo>
                    <a:pt x="6" y="198"/>
                  </a:lnTo>
                  <a:lnTo>
                    <a:pt x="12" y="194"/>
                  </a:lnTo>
                  <a:lnTo>
                    <a:pt x="12" y="188"/>
                  </a:lnTo>
                  <a:lnTo>
                    <a:pt x="10" y="182"/>
                  </a:lnTo>
                  <a:lnTo>
                    <a:pt x="16" y="178"/>
                  </a:lnTo>
                  <a:lnTo>
                    <a:pt x="22" y="178"/>
                  </a:lnTo>
                  <a:lnTo>
                    <a:pt x="28" y="178"/>
                  </a:lnTo>
                  <a:lnTo>
                    <a:pt x="34" y="176"/>
                  </a:lnTo>
                  <a:lnTo>
                    <a:pt x="40" y="180"/>
                  </a:lnTo>
                  <a:lnTo>
                    <a:pt x="46" y="180"/>
                  </a:lnTo>
                  <a:lnTo>
                    <a:pt x="46" y="174"/>
                  </a:lnTo>
                  <a:lnTo>
                    <a:pt x="52" y="176"/>
                  </a:lnTo>
                  <a:lnTo>
                    <a:pt x="58" y="178"/>
                  </a:lnTo>
                  <a:lnTo>
                    <a:pt x="64" y="174"/>
                  </a:lnTo>
                  <a:lnTo>
                    <a:pt x="60" y="168"/>
                  </a:lnTo>
                  <a:lnTo>
                    <a:pt x="66" y="168"/>
                  </a:lnTo>
                  <a:lnTo>
                    <a:pt x="72" y="168"/>
                  </a:lnTo>
                  <a:lnTo>
                    <a:pt x="72" y="166"/>
                  </a:lnTo>
                  <a:lnTo>
                    <a:pt x="78" y="164"/>
                  </a:lnTo>
                  <a:lnTo>
                    <a:pt x="84" y="162"/>
                  </a:lnTo>
                  <a:lnTo>
                    <a:pt x="78" y="156"/>
                  </a:lnTo>
                  <a:lnTo>
                    <a:pt x="76" y="150"/>
                  </a:lnTo>
                  <a:lnTo>
                    <a:pt x="76" y="148"/>
                  </a:lnTo>
                  <a:lnTo>
                    <a:pt x="82" y="146"/>
                  </a:lnTo>
                  <a:lnTo>
                    <a:pt x="86" y="146"/>
                  </a:lnTo>
                  <a:lnTo>
                    <a:pt x="92" y="144"/>
                  </a:lnTo>
                  <a:lnTo>
                    <a:pt x="92" y="142"/>
                  </a:lnTo>
                  <a:lnTo>
                    <a:pt x="92" y="136"/>
                  </a:lnTo>
                  <a:lnTo>
                    <a:pt x="98" y="134"/>
                  </a:lnTo>
                  <a:lnTo>
                    <a:pt x="104" y="132"/>
                  </a:lnTo>
                  <a:lnTo>
                    <a:pt x="110" y="128"/>
                  </a:lnTo>
                  <a:lnTo>
                    <a:pt x="116" y="128"/>
                  </a:lnTo>
                  <a:lnTo>
                    <a:pt x="122" y="128"/>
                  </a:lnTo>
                  <a:lnTo>
                    <a:pt x="124" y="122"/>
                  </a:lnTo>
                  <a:lnTo>
                    <a:pt x="130" y="118"/>
                  </a:lnTo>
                  <a:lnTo>
                    <a:pt x="136" y="114"/>
                  </a:lnTo>
                  <a:lnTo>
                    <a:pt x="142" y="112"/>
                  </a:lnTo>
                  <a:lnTo>
                    <a:pt x="148" y="110"/>
                  </a:lnTo>
                  <a:lnTo>
                    <a:pt x="154" y="112"/>
                  </a:lnTo>
                  <a:lnTo>
                    <a:pt x="156" y="106"/>
                  </a:lnTo>
                  <a:lnTo>
                    <a:pt x="160" y="100"/>
                  </a:lnTo>
                  <a:lnTo>
                    <a:pt x="166" y="96"/>
                  </a:lnTo>
                  <a:lnTo>
                    <a:pt x="172" y="94"/>
                  </a:lnTo>
                  <a:lnTo>
                    <a:pt x="178" y="96"/>
                  </a:lnTo>
                  <a:lnTo>
                    <a:pt x="180" y="96"/>
                  </a:lnTo>
                  <a:lnTo>
                    <a:pt x="186" y="96"/>
                  </a:lnTo>
                  <a:lnTo>
                    <a:pt x="190" y="90"/>
                  </a:lnTo>
                  <a:lnTo>
                    <a:pt x="188" y="86"/>
                  </a:lnTo>
                  <a:lnTo>
                    <a:pt x="194" y="86"/>
                  </a:lnTo>
                  <a:lnTo>
                    <a:pt x="198" y="90"/>
                  </a:lnTo>
                  <a:lnTo>
                    <a:pt x="204" y="92"/>
                  </a:lnTo>
                  <a:lnTo>
                    <a:pt x="210" y="96"/>
                  </a:lnTo>
                  <a:lnTo>
                    <a:pt x="216" y="94"/>
                  </a:lnTo>
                  <a:lnTo>
                    <a:pt x="222" y="88"/>
                  </a:lnTo>
                  <a:lnTo>
                    <a:pt x="228" y="94"/>
                  </a:lnTo>
                  <a:lnTo>
                    <a:pt x="228" y="98"/>
                  </a:lnTo>
                  <a:lnTo>
                    <a:pt x="232" y="100"/>
                  </a:lnTo>
                  <a:lnTo>
                    <a:pt x="238" y="102"/>
                  </a:lnTo>
                  <a:lnTo>
                    <a:pt x="244" y="102"/>
                  </a:lnTo>
                  <a:lnTo>
                    <a:pt x="250" y="102"/>
                  </a:lnTo>
                  <a:lnTo>
                    <a:pt x="256" y="100"/>
                  </a:lnTo>
                  <a:lnTo>
                    <a:pt x="262" y="102"/>
                  </a:lnTo>
                  <a:lnTo>
                    <a:pt x="268" y="102"/>
                  </a:lnTo>
                  <a:lnTo>
                    <a:pt x="274" y="104"/>
                  </a:lnTo>
                  <a:lnTo>
                    <a:pt x="280" y="102"/>
                  </a:lnTo>
                  <a:lnTo>
                    <a:pt x="286" y="104"/>
                  </a:lnTo>
                  <a:lnTo>
                    <a:pt x="292" y="104"/>
                  </a:lnTo>
                  <a:lnTo>
                    <a:pt x="298" y="104"/>
                  </a:lnTo>
                  <a:lnTo>
                    <a:pt x="304" y="108"/>
                  </a:lnTo>
                  <a:lnTo>
                    <a:pt x="308" y="114"/>
                  </a:lnTo>
                  <a:lnTo>
                    <a:pt x="312" y="120"/>
                  </a:lnTo>
                  <a:lnTo>
                    <a:pt x="316" y="126"/>
                  </a:lnTo>
                  <a:lnTo>
                    <a:pt x="322" y="130"/>
                  </a:lnTo>
                  <a:lnTo>
                    <a:pt x="328" y="132"/>
                  </a:lnTo>
                  <a:lnTo>
                    <a:pt x="334" y="138"/>
                  </a:lnTo>
                  <a:lnTo>
                    <a:pt x="340" y="140"/>
                  </a:lnTo>
                  <a:lnTo>
                    <a:pt x="344" y="138"/>
                  </a:lnTo>
                  <a:lnTo>
                    <a:pt x="350" y="138"/>
                  </a:lnTo>
                  <a:lnTo>
                    <a:pt x="354" y="140"/>
                  </a:lnTo>
                  <a:lnTo>
                    <a:pt x="356" y="140"/>
                  </a:lnTo>
                  <a:lnTo>
                    <a:pt x="358" y="142"/>
                  </a:lnTo>
                  <a:lnTo>
                    <a:pt x="364" y="146"/>
                  </a:lnTo>
                  <a:lnTo>
                    <a:pt x="370" y="146"/>
                  </a:lnTo>
                  <a:lnTo>
                    <a:pt x="376" y="146"/>
                  </a:lnTo>
                  <a:lnTo>
                    <a:pt x="382" y="146"/>
                  </a:lnTo>
                  <a:lnTo>
                    <a:pt x="386" y="148"/>
                  </a:lnTo>
                  <a:lnTo>
                    <a:pt x="388" y="150"/>
                  </a:lnTo>
                  <a:lnTo>
                    <a:pt x="394" y="146"/>
                  </a:lnTo>
                  <a:lnTo>
                    <a:pt x="398" y="142"/>
                  </a:lnTo>
                  <a:lnTo>
                    <a:pt x="404" y="142"/>
                  </a:lnTo>
                  <a:lnTo>
                    <a:pt x="406" y="142"/>
                  </a:lnTo>
                  <a:lnTo>
                    <a:pt x="412" y="144"/>
                  </a:lnTo>
                  <a:lnTo>
                    <a:pt x="412" y="142"/>
                  </a:lnTo>
                  <a:lnTo>
                    <a:pt x="416" y="142"/>
                  </a:lnTo>
                  <a:lnTo>
                    <a:pt x="422" y="144"/>
                  </a:lnTo>
                  <a:lnTo>
                    <a:pt x="428" y="146"/>
                  </a:lnTo>
                  <a:lnTo>
                    <a:pt x="434" y="150"/>
                  </a:lnTo>
                  <a:lnTo>
                    <a:pt x="440" y="148"/>
                  </a:lnTo>
                  <a:lnTo>
                    <a:pt x="446" y="152"/>
                  </a:lnTo>
                  <a:lnTo>
                    <a:pt x="452" y="148"/>
                  </a:lnTo>
                  <a:lnTo>
                    <a:pt x="460" y="148"/>
                  </a:lnTo>
                  <a:lnTo>
                    <a:pt x="464" y="150"/>
                  </a:lnTo>
                  <a:lnTo>
                    <a:pt x="470" y="152"/>
                  </a:lnTo>
                  <a:lnTo>
                    <a:pt x="476" y="156"/>
                  </a:lnTo>
                  <a:lnTo>
                    <a:pt x="482" y="160"/>
                  </a:lnTo>
                  <a:lnTo>
                    <a:pt x="488" y="160"/>
                  </a:lnTo>
                  <a:lnTo>
                    <a:pt x="494" y="158"/>
                  </a:lnTo>
                  <a:lnTo>
                    <a:pt x="500" y="150"/>
                  </a:lnTo>
                  <a:lnTo>
                    <a:pt x="504" y="146"/>
                  </a:lnTo>
                  <a:lnTo>
                    <a:pt x="510" y="146"/>
                  </a:lnTo>
                  <a:lnTo>
                    <a:pt x="514" y="142"/>
                  </a:lnTo>
                  <a:lnTo>
                    <a:pt x="520" y="136"/>
                  </a:lnTo>
                  <a:lnTo>
                    <a:pt x="522" y="130"/>
                  </a:lnTo>
                  <a:lnTo>
                    <a:pt x="522" y="124"/>
                  </a:lnTo>
                  <a:lnTo>
                    <a:pt x="520" y="120"/>
                  </a:lnTo>
                  <a:lnTo>
                    <a:pt x="518" y="114"/>
                  </a:lnTo>
                  <a:lnTo>
                    <a:pt x="518" y="112"/>
                  </a:lnTo>
                  <a:lnTo>
                    <a:pt x="512" y="104"/>
                  </a:lnTo>
                  <a:lnTo>
                    <a:pt x="506" y="104"/>
                  </a:lnTo>
                  <a:lnTo>
                    <a:pt x="500" y="102"/>
                  </a:lnTo>
                  <a:lnTo>
                    <a:pt x="494" y="96"/>
                  </a:lnTo>
                  <a:lnTo>
                    <a:pt x="488" y="90"/>
                  </a:lnTo>
                  <a:lnTo>
                    <a:pt x="488" y="84"/>
                  </a:lnTo>
                  <a:lnTo>
                    <a:pt x="480" y="82"/>
                  </a:lnTo>
                  <a:lnTo>
                    <a:pt x="476" y="78"/>
                  </a:lnTo>
                  <a:lnTo>
                    <a:pt x="474" y="72"/>
                  </a:lnTo>
                  <a:lnTo>
                    <a:pt x="474" y="66"/>
                  </a:lnTo>
                  <a:lnTo>
                    <a:pt x="472" y="60"/>
                  </a:lnTo>
                  <a:lnTo>
                    <a:pt x="468" y="54"/>
                  </a:lnTo>
                  <a:lnTo>
                    <a:pt x="470" y="48"/>
                  </a:lnTo>
                  <a:lnTo>
                    <a:pt x="470" y="44"/>
                  </a:lnTo>
                  <a:lnTo>
                    <a:pt x="476" y="44"/>
                  </a:lnTo>
                  <a:lnTo>
                    <a:pt x="480" y="44"/>
                  </a:lnTo>
                  <a:lnTo>
                    <a:pt x="476" y="40"/>
                  </a:lnTo>
                  <a:lnTo>
                    <a:pt x="476" y="32"/>
                  </a:lnTo>
                  <a:lnTo>
                    <a:pt x="476" y="26"/>
                  </a:lnTo>
                  <a:lnTo>
                    <a:pt x="482" y="26"/>
                  </a:lnTo>
                  <a:lnTo>
                    <a:pt x="488" y="24"/>
                  </a:lnTo>
                  <a:lnTo>
                    <a:pt x="492" y="18"/>
                  </a:lnTo>
                  <a:lnTo>
                    <a:pt x="492" y="12"/>
                  </a:lnTo>
                  <a:lnTo>
                    <a:pt x="492" y="6"/>
                  </a:lnTo>
                  <a:lnTo>
                    <a:pt x="490" y="0"/>
                  </a:lnTo>
                  <a:lnTo>
                    <a:pt x="492" y="0"/>
                  </a:lnTo>
                  <a:lnTo>
                    <a:pt x="498" y="4"/>
                  </a:lnTo>
                  <a:lnTo>
                    <a:pt x="504" y="6"/>
                  </a:lnTo>
                  <a:lnTo>
                    <a:pt x="510" y="8"/>
                  </a:lnTo>
                  <a:lnTo>
                    <a:pt x="516" y="10"/>
                  </a:lnTo>
                  <a:lnTo>
                    <a:pt x="522" y="14"/>
                  </a:lnTo>
                  <a:lnTo>
                    <a:pt x="528" y="14"/>
                  </a:lnTo>
                  <a:lnTo>
                    <a:pt x="534" y="16"/>
                  </a:lnTo>
                  <a:lnTo>
                    <a:pt x="540" y="16"/>
                  </a:lnTo>
                  <a:lnTo>
                    <a:pt x="546" y="18"/>
                  </a:lnTo>
                  <a:lnTo>
                    <a:pt x="552" y="22"/>
                  </a:lnTo>
                  <a:lnTo>
                    <a:pt x="558" y="26"/>
                  </a:lnTo>
                  <a:lnTo>
                    <a:pt x="562" y="26"/>
                  </a:lnTo>
                  <a:lnTo>
                    <a:pt x="568" y="26"/>
                  </a:lnTo>
                  <a:lnTo>
                    <a:pt x="574" y="26"/>
                  </a:lnTo>
                  <a:lnTo>
                    <a:pt x="580" y="26"/>
                  </a:lnTo>
                  <a:lnTo>
                    <a:pt x="586" y="26"/>
                  </a:lnTo>
                  <a:lnTo>
                    <a:pt x="592" y="26"/>
                  </a:lnTo>
                  <a:lnTo>
                    <a:pt x="598" y="28"/>
                  </a:lnTo>
                  <a:lnTo>
                    <a:pt x="604" y="30"/>
                  </a:lnTo>
                  <a:lnTo>
                    <a:pt x="610" y="32"/>
                  </a:lnTo>
                  <a:lnTo>
                    <a:pt x="612" y="34"/>
                  </a:lnTo>
                  <a:lnTo>
                    <a:pt x="616" y="36"/>
                  </a:lnTo>
                  <a:lnTo>
                    <a:pt x="624" y="38"/>
                  </a:lnTo>
                  <a:lnTo>
                    <a:pt x="630" y="40"/>
                  </a:lnTo>
                  <a:lnTo>
                    <a:pt x="636" y="40"/>
                  </a:lnTo>
                  <a:lnTo>
                    <a:pt x="642" y="44"/>
                  </a:lnTo>
                  <a:lnTo>
                    <a:pt x="648" y="44"/>
                  </a:lnTo>
                  <a:lnTo>
                    <a:pt x="654" y="44"/>
                  </a:lnTo>
                  <a:lnTo>
                    <a:pt x="658" y="44"/>
                  </a:lnTo>
                  <a:lnTo>
                    <a:pt x="664" y="46"/>
                  </a:lnTo>
                  <a:lnTo>
                    <a:pt x="670" y="48"/>
                  </a:lnTo>
                  <a:lnTo>
                    <a:pt x="676" y="48"/>
                  </a:lnTo>
                  <a:lnTo>
                    <a:pt x="684" y="50"/>
                  </a:lnTo>
                  <a:lnTo>
                    <a:pt x="688" y="52"/>
                  </a:lnTo>
                  <a:lnTo>
                    <a:pt x="694" y="58"/>
                  </a:lnTo>
                  <a:lnTo>
                    <a:pt x="696" y="64"/>
                  </a:lnTo>
                  <a:lnTo>
                    <a:pt x="700" y="70"/>
                  </a:lnTo>
                  <a:lnTo>
                    <a:pt x="706" y="76"/>
                  </a:lnTo>
                  <a:lnTo>
                    <a:pt x="710" y="82"/>
                  </a:lnTo>
                  <a:lnTo>
                    <a:pt x="712" y="88"/>
                  </a:lnTo>
                  <a:lnTo>
                    <a:pt x="718" y="92"/>
                  </a:lnTo>
                  <a:lnTo>
                    <a:pt x="722" y="98"/>
                  </a:lnTo>
                  <a:lnTo>
                    <a:pt x="724" y="102"/>
                  </a:lnTo>
                  <a:lnTo>
                    <a:pt x="730" y="106"/>
                  </a:lnTo>
                  <a:lnTo>
                    <a:pt x="736" y="108"/>
                  </a:lnTo>
                  <a:lnTo>
                    <a:pt x="742" y="112"/>
                  </a:lnTo>
                  <a:lnTo>
                    <a:pt x="748" y="116"/>
                  </a:lnTo>
                  <a:lnTo>
                    <a:pt x="754" y="116"/>
                  </a:lnTo>
                  <a:lnTo>
                    <a:pt x="760" y="118"/>
                  </a:lnTo>
                  <a:lnTo>
                    <a:pt x="766" y="122"/>
                  </a:lnTo>
                  <a:lnTo>
                    <a:pt x="772" y="122"/>
                  </a:lnTo>
                  <a:lnTo>
                    <a:pt x="778" y="122"/>
                  </a:lnTo>
                  <a:lnTo>
                    <a:pt x="784" y="122"/>
                  </a:lnTo>
                  <a:lnTo>
                    <a:pt x="790" y="128"/>
                  </a:lnTo>
                  <a:lnTo>
                    <a:pt x="796" y="128"/>
                  </a:lnTo>
                  <a:lnTo>
                    <a:pt x="802" y="130"/>
                  </a:lnTo>
                  <a:lnTo>
                    <a:pt x="808" y="132"/>
                  </a:lnTo>
                  <a:lnTo>
                    <a:pt x="814" y="132"/>
                  </a:lnTo>
                  <a:lnTo>
                    <a:pt x="820" y="128"/>
                  </a:lnTo>
                  <a:lnTo>
                    <a:pt x="826" y="132"/>
                  </a:lnTo>
                  <a:lnTo>
                    <a:pt x="832" y="132"/>
                  </a:lnTo>
                  <a:lnTo>
                    <a:pt x="838" y="132"/>
                  </a:lnTo>
                  <a:lnTo>
                    <a:pt x="844" y="126"/>
                  </a:lnTo>
                  <a:lnTo>
                    <a:pt x="850" y="120"/>
                  </a:lnTo>
                  <a:lnTo>
                    <a:pt x="856" y="120"/>
                  </a:lnTo>
                  <a:lnTo>
                    <a:pt x="862" y="118"/>
                  </a:lnTo>
                  <a:lnTo>
                    <a:pt x="868" y="116"/>
                  </a:lnTo>
                  <a:lnTo>
                    <a:pt x="874" y="116"/>
                  </a:lnTo>
                  <a:lnTo>
                    <a:pt x="876" y="116"/>
                  </a:lnTo>
                  <a:lnTo>
                    <a:pt x="882" y="114"/>
                  </a:lnTo>
                  <a:lnTo>
                    <a:pt x="888" y="110"/>
                  </a:lnTo>
                  <a:lnTo>
                    <a:pt x="894" y="112"/>
                  </a:lnTo>
                  <a:lnTo>
                    <a:pt x="900" y="112"/>
                  </a:lnTo>
                  <a:lnTo>
                    <a:pt x="906" y="114"/>
                  </a:lnTo>
                  <a:lnTo>
                    <a:pt x="912" y="114"/>
                  </a:lnTo>
                  <a:lnTo>
                    <a:pt x="918" y="114"/>
                  </a:lnTo>
                  <a:lnTo>
                    <a:pt x="924" y="114"/>
                  </a:lnTo>
                  <a:lnTo>
                    <a:pt x="930" y="116"/>
                  </a:lnTo>
                  <a:lnTo>
                    <a:pt x="930" y="118"/>
                  </a:lnTo>
                  <a:lnTo>
                    <a:pt x="932" y="120"/>
                  </a:lnTo>
                  <a:lnTo>
                    <a:pt x="934" y="120"/>
                  </a:lnTo>
                  <a:lnTo>
                    <a:pt x="942" y="122"/>
                  </a:lnTo>
                  <a:lnTo>
                    <a:pt x="946" y="122"/>
                  </a:lnTo>
                  <a:lnTo>
                    <a:pt x="952" y="120"/>
                  </a:lnTo>
                  <a:lnTo>
                    <a:pt x="954" y="120"/>
                  </a:lnTo>
                  <a:lnTo>
                    <a:pt x="956" y="120"/>
                  </a:lnTo>
                  <a:lnTo>
                    <a:pt x="962" y="120"/>
                  </a:lnTo>
                  <a:lnTo>
                    <a:pt x="968" y="120"/>
                  </a:lnTo>
                  <a:lnTo>
                    <a:pt x="974" y="122"/>
                  </a:lnTo>
                  <a:lnTo>
                    <a:pt x="980" y="126"/>
                  </a:lnTo>
                  <a:lnTo>
                    <a:pt x="986" y="128"/>
                  </a:lnTo>
                  <a:lnTo>
                    <a:pt x="992" y="134"/>
                  </a:lnTo>
                  <a:lnTo>
                    <a:pt x="994" y="136"/>
                  </a:lnTo>
                  <a:lnTo>
                    <a:pt x="1002" y="140"/>
                  </a:lnTo>
                  <a:lnTo>
                    <a:pt x="1006" y="142"/>
                  </a:lnTo>
                  <a:lnTo>
                    <a:pt x="1012" y="142"/>
                  </a:lnTo>
                  <a:lnTo>
                    <a:pt x="1016" y="144"/>
                  </a:lnTo>
                  <a:lnTo>
                    <a:pt x="1022" y="144"/>
                  </a:lnTo>
                  <a:lnTo>
                    <a:pt x="1028" y="144"/>
                  </a:lnTo>
                  <a:lnTo>
                    <a:pt x="1034" y="144"/>
                  </a:lnTo>
                  <a:lnTo>
                    <a:pt x="1040" y="146"/>
                  </a:lnTo>
                  <a:lnTo>
                    <a:pt x="1042" y="146"/>
                  </a:lnTo>
                  <a:lnTo>
                    <a:pt x="1048" y="146"/>
                  </a:lnTo>
                  <a:lnTo>
                    <a:pt x="1050" y="152"/>
                  </a:lnTo>
                  <a:lnTo>
                    <a:pt x="1054" y="158"/>
                  </a:lnTo>
                  <a:lnTo>
                    <a:pt x="1056" y="164"/>
                  </a:lnTo>
                  <a:lnTo>
                    <a:pt x="1062" y="168"/>
                  </a:lnTo>
                  <a:lnTo>
                    <a:pt x="1068" y="172"/>
                  </a:lnTo>
                  <a:lnTo>
                    <a:pt x="1074" y="172"/>
                  </a:lnTo>
                  <a:lnTo>
                    <a:pt x="1080" y="176"/>
                  </a:lnTo>
                  <a:lnTo>
                    <a:pt x="1086" y="180"/>
                  </a:lnTo>
                  <a:lnTo>
                    <a:pt x="1092" y="184"/>
                  </a:lnTo>
                  <a:lnTo>
                    <a:pt x="1098" y="186"/>
                  </a:lnTo>
                  <a:lnTo>
                    <a:pt x="1104" y="188"/>
                  </a:lnTo>
                  <a:lnTo>
                    <a:pt x="1110" y="186"/>
                  </a:lnTo>
                  <a:lnTo>
                    <a:pt x="1116" y="186"/>
                  </a:lnTo>
                  <a:lnTo>
                    <a:pt x="1122" y="186"/>
                  </a:lnTo>
                  <a:lnTo>
                    <a:pt x="1128" y="188"/>
                  </a:lnTo>
                  <a:lnTo>
                    <a:pt x="1132" y="186"/>
                  </a:lnTo>
                  <a:lnTo>
                    <a:pt x="1140" y="186"/>
                  </a:lnTo>
                  <a:lnTo>
                    <a:pt x="1146" y="188"/>
                  </a:lnTo>
                  <a:lnTo>
                    <a:pt x="1152" y="190"/>
                  </a:lnTo>
                  <a:lnTo>
                    <a:pt x="1158" y="194"/>
                  </a:lnTo>
                  <a:lnTo>
                    <a:pt x="1164" y="194"/>
                  </a:lnTo>
                  <a:lnTo>
                    <a:pt x="1170" y="194"/>
                  </a:lnTo>
                  <a:lnTo>
                    <a:pt x="1176" y="196"/>
                  </a:lnTo>
                  <a:lnTo>
                    <a:pt x="1182" y="196"/>
                  </a:lnTo>
                  <a:lnTo>
                    <a:pt x="1188" y="196"/>
                  </a:lnTo>
                  <a:lnTo>
                    <a:pt x="1194" y="198"/>
                  </a:lnTo>
                  <a:lnTo>
                    <a:pt x="1200" y="194"/>
                  </a:lnTo>
                  <a:lnTo>
                    <a:pt x="1206" y="196"/>
                  </a:lnTo>
                  <a:lnTo>
                    <a:pt x="1212" y="196"/>
                  </a:lnTo>
                  <a:lnTo>
                    <a:pt x="1218" y="200"/>
                  </a:lnTo>
                  <a:lnTo>
                    <a:pt x="1224" y="200"/>
                  </a:lnTo>
                  <a:lnTo>
                    <a:pt x="1230" y="198"/>
                  </a:lnTo>
                  <a:lnTo>
                    <a:pt x="1236" y="192"/>
                  </a:lnTo>
                  <a:lnTo>
                    <a:pt x="1242" y="188"/>
                  </a:lnTo>
                  <a:lnTo>
                    <a:pt x="1248" y="184"/>
                  </a:lnTo>
                  <a:lnTo>
                    <a:pt x="1254" y="186"/>
                  </a:lnTo>
                  <a:lnTo>
                    <a:pt x="1260" y="184"/>
                  </a:lnTo>
                  <a:lnTo>
                    <a:pt x="1266" y="182"/>
                  </a:lnTo>
                  <a:lnTo>
                    <a:pt x="1272" y="182"/>
                  </a:lnTo>
                  <a:lnTo>
                    <a:pt x="1278" y="182"/>
                  </a:lnTo>
                  <a:lnTo>
                    <a:pt x="1284" y="180"/>
                  </a:lnTo>
                  <a:lnTo>
                    <a:pt x="1290" y="180"/>
                  </a:lnTo>
                  <a:lnTo>
                    <a:pt x="1296" y="176"/>
                  </a:lnTo>
                  <a:lnTo>
                    <a:pt x="1302" y="174"/>
                  </a:lnTo>
                  <a:lnTo>
                    <a:pt x="1308" y="174"/>
                  </a:lnTo>
                  <a:lnTo>
                    <a:pt x="1310" y="174"/>
                  </a:lnTo>
                  <a:lnTo>
                    <a:pt x="1314" y="176"/>
                  </a:lnTo>
                  <a:lnTo>
                    <a:pt x="1318" y="176"/>
                  </a:lnTo>
                  <a:lnTo>
                    <a:pt x="1326" y="172"/>
                  </a:lnTo>
                  <a:lnTo>
                    <a:pt x="1330" y="166"/>
                  </a:lnTo>
                  <a:lnTo>
                    <a:pt x="1330" y="160"/>
                  </a:lnTo>
                  <a:lnTo>
                    <a:pt x="1332" y="154"/>
                  </a:lnTo>
                  <a:lnTo>
                    <a:pt x="1336" y="148"/>
                  </a:lnTo>
                  <a:lnTo>
                    <a:pt x="1342" y="142"/>
                  </a:lnTo>
                  <a:lnTo>
                    <a:pt x="1346" y="138"/>
                  </a:lnTo>
                  <a:lnTo>
                    <a:pt x="1352" y="136"/>
                  </a:lnTo>
                  <a:lnTo>
                    <a:pt x="1358" y="132"/>
                  </a:lnTo>
                  <a:lnTo>
                    <a:pt x="1364" y="126"/>
                  </a:lnTo>
                  <a:lnTo>
                    <a:pt x="1370" y="124"/>
                  </a:lnTo>
                  <a:lnTo>
                    <a:pt x="1376" y="124"/>
                  </a:lnTo>
                  <a:lnTo>
                    <a:pt x="1382" y="126"/>
                  </a:lnTo>
                  <a:lnTo>
                    <a:pt x="1388" y="124"/>
                  </a:lnTo>
                  <a:lnTo>
                    <a:pt x="1394" y="126"/>
                  </a:lnTo>
                  <a:lnTo>
                    <a:pt x="1400" y="126"/>
                  </a:lnTo>
                  <a:lnTo>
                    <a:pt x="1406" y="128"/>
                  </a:lnTo>
                  <a:lnTo>
                    <a:pt x="1412" y="132"/>
                  </a:lnTo>
                  <a:lnTo>
                    <a:pt x="1416" y="134"/>
                  </a:lnTo>
                  <a:lnTo>
                    <a:pt x="1422" y="138"/>
                  </a:lnTo>
                  <a:lnTo>
                    <a:pt x="1430" y="142"/>
                  </a:lnTo>
                  <a:lnTo>
                    <a:pt x="1434" y="146"/>
                  </a:lnTo>
                  <a:lnTo>
                    <a:pt x="1440" y="148"/>
                  </a:lnTo>
                  <a:lnTo>
                    <a:pt x="1446" y="148"/>
                  </a:lnTo>
                  <a:lnTo>
                    <a:pt x="1452" y="148"/>
                  </a:lnTo>
                  <a:lnTo>
                    <a:pt x="1458" y="150"/>
                  </a:lnTo>
                  <a:lnTo>
                    <a:pt x="1462" y="150"/>
                  </a:lnTo>
                  <a:lnTo>
                    <a:pt x="1468" y="146"/>
                  </a:lnTo>
                  <a:lnTo>
                    <a:pt x="1474" y="144"/>
                  </a:lnTo>
                  <a:lnTo>
                    <a:pt x="1474" y="142"/>
                  </a:lnTo>
                  <a:lnTo>
                    <a:pt x="1480" y="140"/>
                  </a:lnTo>
                  <a:lnTo>
                    <a:pt x="1486" y="142"/>
                  </a:lnTo>
                  <a:lnTo>
                    <a:pt x="1488" y="142"/>
                  </a:lnTo>
                  <a:lnTo>
                    <a:pt x="1494" y="144"/>
                  </a:lnTo>
                  <a:lnTo>
                    <a:pt x="1502" y="146"/>
                  </a:lnTo>
                  <a:lnTo>
                    <a:pt x="1506" y="146"/>
                  </a:lnTo>
                  <a:lnTo>
                    <a:pt x="1512" y="152"/>
                  </a:lnTo>
                  <a:lnTo>
                    <a:pt x="1516" y="154"/>
                  </a:lnTo>
                  <a:lnTo>
                    <a:pt x="1516" y="156"/>
                  </a:lnTo>
                  <a:lnTo>
                    <a:pt x="1516" y="162"/>
                  </a:lnTo>
                  <a:lnTo>
                    <a:pt x="1516" y="168"/>
                  </a:lnTo>
                  <a:lnTo>
                    <a:pt x="1516" y="174"/>
                  </a:lnTo>
                  <a:lnTo>
                    <a:pt x="1516" y="180"/>
                  </a:lnTo>
                  <a:lnTo>
                    <a:pt x="1516" y="186"/>
                  </a:lnTo>
                  <a:lnTo>
                    <a:pt x="1516" y="192"/>
                  </a:lnTo>
                  <a:lnTo>
                    <a:pt x="1518" y="200"/>
                  </a:lnTo>
                  <a:lnTo>
                    <a:pt x="1518" y="206"/>
                  </a:lnTo>
                  <a:lnTo>
                    <a:pt x="1518" y="212"/>
                  </a:lnTo>
                  <a:lnTo>
                    <a:pt x="1518" y="218"/>
                  </a:lnTo>
                  <a:lnTo>
                    <a:pt x="1520" y="224"/>
                  </a:lnTo>
                  <a:lnTo>
                    <a:pt x="1520" y="230"/>
                  </a:lnTo>
                  <a:lnTo>
                    <a:pt x="1518" y="236"/>
                  </a:lnTo>
                  <a:lnTo>
                    <a:pt x="1518" y="242"/>
                  </a:lnTo>
                  <a:lnTo>
                    <a:pt x="1522" y="248"/>
                  </a:lnTo>
                  <a:lnTo>
                    <a:pt x="1526" y="254"/>
                  </a:lnTo>
                  <a:lnTo>
                    <a:pt x="1528" y="260"/>
                  </a:lnTo>
                  <a:lnTo>
                    <a:pt x="1522" y="264"/>
                  </a:lnTo>
                  <a:lnTo>
                    <a:pt x="1520" y="270"/>
                  </a:lnTo>
                  <a:lnTo>
                    <a:pt x="1522" y="274"/>
                  </a:lnTo>
                  <a:lnTo>
                    <a:pt x="1524" y="276"/>
                  </a:lnTo>
                  <a:lnTo>
                    <a:pt x="1530" y="284"/>
                  </a:lnTo>
                  <a:lnTo>
                    <a:pt x="1534" y="286"/>
                  </a:lnTo>
                  <a:lnTo>
                    <a:pt x="1540" y="290"/>
                  </a:lnTo>
                  <a:lnTo>
                    <a:pt x="1546" y="294"/>
                  </a:lnTo>
                  <a:lnTo>
                    <a:pt x="1552" y="296"/>
                  </a:lnTo>
                  <a:lnTo>
                    <a:pt x="1558" y="294"/>
                  </a:lnTo>
                  <a:lnTo>
                    <a:pt x="1562" y="288"/>
                  </a:lnTo>
                  <a:lnTo>
                    <a:pt x="1568" y="286"/>
                  </a:lnTo>
                  <a:lnTo>
                    <a:pt x="1574" y="286"/>
                  </a:lnTo>
                  <a:lnTo>
                    <a:pt x="1580" y="288"/>
                  </a:lnTo>
                  <a:lnTo>
                    <a:pt x="1586" y="286"/>
                  </a:lnTo>
                  <a:lnTo>
                    <a:pt x="1592" y="284"/>
                  </a:lnTo>
                  <a:lnTo>
                    <a:pt x="1598" y="284"/>
                  </a:lnTo>
                  <a:lnTo>
                    <a:pt x="1604" y="286"/>
                  </a:lnTo>
                  <a:lnTo>
                    <a:pt x="1612" y="288"/>
                  </a:lnTo>
                  <a:lnTo>
                    <a:pt x="1618" y="292"/>
                  </a:lnTo>
                  <a:lnTo>
                    <a:pt x="1624" y="296"/>
                  </a:lnTo>
                  <a:lnTo>
                    <a:pt x="1630" y="300"/>
                  </a:lnTo>
                  <a:lnTo>
                    <a:pt x="1636" y="294"/>
                  </a:lnTo>
                  <a:lnTo>
                    <a:pt x="1636" y="292"/>
                  </a:lnTo>
                  <a:lnTo>
                    <a:pt x="1640" y="286"/>
                  </a:lnTo>
                  <a:lnTo>
                    <a:pt x="1642" y="280"/>
                  </a:lnTo>
                  <a:lnTo>
                    <a:pt x="1642" y="278"/>
                  </a:lnTo>
                  <a:lnTo>
                    <a:pt x="1650" y="276"/>
                  </a:lnTo>
                  <a:lnTo>
                    <a:pt x="1652" y="276"/>
                  </a:lnTo>
                  <a:lnTo>
                    <a:pt x="1654" y="276"/>
                  </a:lnTo>
                  <a:lnTo>
                    <a:pt x="1660" y="274"/>
                  </a:lnTo>
                  <a:lnTo>
                    <a:pt x="1666" y="274"/>
                  </a:lnTo>
                  <a:lnTo>
                    <a:pt x="1672" y="276"/>
                  </a:lnTo>
                  <a:lnTo>
                    <a:pt x="1678" y="276"/>
                  </a:lnTo>
                  <a:lnTo>
                    <a:pt x="1686" y="278"/>
                  </a:lnTo>
                  <a:lnTo>
                    <a:pt x="1692" y="284"/>
                  </a:lnTo>
                  <a:lnTo>
                    <a:pt x="1698" y="288"/>
                  </a:lnTo>
                  <a:lnTo>
                    <a:pt x="1704" y="292"/>
                  </a:lnTo>
                  <a:lnTo>
                    <a:pt x="1710" y="294"/>
                  </a:lnTo>
                  <a:lnTo>
                    <a:pt x="1718" y="296"/>
                  </a:lnTo>
                  <a:lnTo>
                    <a:pt x="1724" y="298"/>
                  </a:lnTo>
                  <a:lnTo>
                    <a:pt x="1730" y="302"/>
                  </a:lnTo>
                  <a:lnTo>
                    <a:pt x="1734" y="308"/>
                  </a:lnTo>
                  <a:lnTo>
                    <a:pt x="1740" y="310"/>
                  </a:lnTo>
                  <a:lnTo>
                    <a:pt x="1746" y="316"/>
                  </a:lnTo>
                  <a:lnTo>
                    <a:pt x="1748" y="316"/>
                  </a:lnTo>
                  <a:lnTo>
                    <a:pt x="1754" y="318"/>
                  </a:lnTo>
                  <a:lnTo>
                    <a:pt x="1760" y="322"/>
                  </a:lnTo>
                  <a:lnTo>
                    <a:pt x="1762" y="324"/>
                  </a:lnTo>
                  <a:lnTo>
                    <a:pt x="1768" y="328"/>
                  </a:lnTo>
                  <a:lnTo>
                    <a:pt x="1774" y="330"/>
                  </a:lnTo>
                  <a:lnTo>
                    <a:pt x="1780" y="334"/>
                  </a:lnTo>
                  <a:lnTo>
                    <a:pt x="1786" y="340"/>
                  </a:lnTo>
                  <a:lnTo>
                    <a:pt x="1790" y="344"/>
                  </a:lnTo>
                  <a:lnTo>
                    <a:pt x="1796" y="350"/>
                  </a:lnTo>
                  <a:lnTo>
                    <a:pt x="1802" y="354"/>
                  </a:lnTo>
                  <a:lnTo>
                    <a:pt x="1804" y="360"/>
                  </a:lnTo>
                  <a:lnTo>
                    <a:pt x="1806" y="366"/>
                  </a:lnTo>
                  <a:lnTo>
                    <a:pt x="1802" y="370"/>
                  </a:lnTo>
                  <a:lnTo>
                    <a:pt x="1794" y="370"/>
                  </a:lnTo>
                  <a:lnTo>
                    <a:pt x="1790" y="370"/>
                  </a:lnTo>
                  <a:lnTo>
                    <a:pt x="1782" y="370"/>
                  </a:lnTo>
                  <a:lnTo>
                    <a:pt x="1776" y="370"/>
                  </a:lnTo>
                  <a:lnTo>
                    <a:pt x="1772" y="368"/>
                  </a:lnTo>
                  <a:lnTo>
                    <a:pt x="1764" y="368"/>
                  </a:lnTo>
                  <a:lnTo>
                    <a:pt x="1760" y="364"/>
                  </a:lnTo>
                  <a:lnTo>
                    <a:pt x="1752" y="364"/>
                  </a:lnTo>
                  <a:lnTo>
                    <a:pt x="1746" y="360"/>
                  </a:lnTo>
                  <a:lnTo>
                    <a:pt x="1742" y="366"/>
                  </a:lnTo>
                  <a:lnTo>
                    <a:pt x="1738" y="364"/>
                  </a:lnTo>
                  <a:lnTo>
                    <a:pt x="1732" y="366"/>
                  </a:lnTo>
                  <a:lnTo>
                    <a:pt x="1726" y="364"/>
                  </a:lnTo>
                  <a:lnTo>
                    <a:pt x="1720" y="362"/>
                  </a:lnTo>
                  <a:lnTo>
                    <a:pt x="1714" y="366"/>
                  </a:lnTo>
                  <a:lnTo>
                    <a:pt x="1708" y="370"/>
                  </a:lnTo>
                  <a:lnTo>
                    <a:pt x="1702" y="370"/>
                  </a:lnTo>
                  <a:lnTo>
                    <a:pt x="1696" y="376"/>
                  </a:lnTo>
                  <a:lnTo>
                    <a:pt x="1690" y="376"/>
                  </a:lnTo>
                  <a:lnTo>
                    <a:pt x="1684" y="372"/>
                  </a:lnTo>
                  <a:lnTo>
                    <a:pt x="1678" y="374"/>
                  </a:lnTo>
                  <a:lnTo>
                    <a:pt x="1678" y="382"/>
                  </a:lnTo>
                  <a:lnTo>
                    <a:pt x="1676" y="388"/>
                  </a:lnTo>
                  <a:lnTo>
                    <a:pt x="1674" y="386"/>
                  </a:lnTo>
                  <a:lnTo>
                    <a:pt x="1668" y="388"/>
                  </a:lnTo>
                  <a:lnTo>
                    <a:pt x="1662" y="386"/>
                  </a:lnTo>
                  <a:lnTo>
                    <a:pt x="1656" y="386"/>
                  </a:lnTo>
                  <a:lnTo>
                    <a:pt x="1650" y="388"/>
                  </a:lnTo>
                  <a:lnTo>
                    <a:pt x="1644" y="390"/>
                  </a:lnTo>
                  <a:lnTo>
                    <a:pt x="1642" y="396"/>
                  </a:lnTo>
                  <a:lnTo>
                    <a:pt x="1638" y="402"/>
                  </a:lnTo>
                  <a:lnTo>
                    <a:pt x="1636" y="408"/>
                  </a:lnTo>
                  <a:lnTo>
                    <a:pt x="1636" y="414"/>
                  </a:lnTo>
                  <a:lnTo>
                    <a:pt x="1636" y="420"/>
                  </a:lnTo>
                  <a:lnTo>
                    <a:pt x="1642" y="426"/>
                  </a:lnTo>
                  <a:lnTo>
                    <a:pt x="1642" y="428"/>
                  </a:lnTo>
                  <a:lnTo>
                    <a:pt x="1636" y="434"/>
                  </a:lnTo>
                  <a:lnTo>
                    <a:pt x="1632" y="436"/>
                  </a:lnTo>
                  <a:lnTo>
                    <a:pt x="1626" y="442"/>
                  </a:lnTo>
                  <a:lnTo>
                    <a:pt x="1622" y="448"/>
                  </a:lnTo>
                  <a:lnTo>
                    <a:pt x="1616" y="450"/>
                  </a:lnTo>
                  <a:lnTo>
                    <a:pt x="1612" y="452"/>
                  </a:lnTo>
                  <a:lnTo>
                    <a:pt x="1610" y="452"/>
                  </a:lnTo>
                  <a:lnTo>
                    <a:pt x="1604" y="452"/>
                  </a:lnTo>
                  <a:lnTo>
                    <a:pt x="1598" y="452"/>
                  </a:lnTo>
                  <a:lnTo>
                    <a:pt x="1594" y="452"/>
                  </a:lnTo>
                  <a:lnTo>
                    <a:pt x="1586" y="454"/>
                  </a:lnTo>
                  <a:lnTo>
                    <a:pt x="1580" y="454"/>
                  </a:lnTo>
                  <a:lnTo>
                    <a:pt x="1574" y="452"/>
                  </a:lnTo>
                  <a:lnTo>
                    <a:pt x="1568" y="450"/>
                  </a:lnTo>
                  <a:lnTo>
                    <a:pt x="1564" y="456"/>
                  </a:lnTo>
                  <a:lnTo>
                    <a:pt x="1564" y="462"/>
                  </a:lnTo>
                  <a:lnTo>
                    <a:pt x="1560" y="468"/>
                  </a:lnTo>
                  <a:lnTo>
                    <a:pt x="1556" y="474"/>
                  </a:lnTo>
                  <a:lnTo>
                    <a:pt x="1554" y="480"/>
                  </a:lnTo>
                  <a:lnTo>
                    <a:pt x="1550" y="484"/>
                  </a:lnTo>
                  <a:lnTo>
                    <a:pt x="1544" y="486"/>
                  </a:lnTo>
                  <a:lnTo>
                    <a:pt x="1540" y="492"/>
                  </a:lnTo>
                  <a:lnTo>
                    <a:pt x="1534" y="496"/>
                  </a:lnTo>
                  <a:lnTo>
                    <a:pt x="1526" y="496"/>
                  </a:lnTo>
                  <a:lnTo>
                    <a:pt x="1522" y="494"/>
                  </a:lnTo>
                  <a:lnTo>
                    <a:pt x="1516" y="494"/>
                  </a:lnTo>
                  <a:lnTo>
                    <a:pt x="1510" y="494"/>
                  </a:lnTo>
                  <a:lnTo>
                    <a:pt x="1502" y="494"/>
                  </a:lnTo>
                  <a:lnTo>
                    <a:pt x="1496" y="492"/>
                  </a:lnTo>
                  <a:lnTo>
                    <a:pt x="1490" y="490"/>
                  </a:lnTo>
                  <a:lnTo>
                    <a:pt x="1484" y="490"/>
                  </a:lnTo>
                  <a:lnTo>
                    <a:pt x="1478" y="488"/>
                  </a:lnTo>
                  <a:lnTo>
                    <a:pt x="1472" y="486"/>
                  </a:lnTo>
                  <a:lnTo>
                    <a:pt x="1466" y="480"/>
                  </a:lnTo>
                  <a:lnTo>
                    <a:pt x="1458" y="476"/>
                  </a:lnTo>
                  <a:lnTo>
                    <a:pt x="1454" y="476"/>
                  </a:lnTo>
                  <a:lnTo>
                    <a:pt x="1448" y="476"/>
                  </a:lnTo>
                  <a:lnTo>
                    <a:pt x="1442" y="476"/>
                  </a:lnTo>
                  <a:lnTo>
                    <a:pt x="1436" y="474"/>
                  </a:lnTo>
                  <a:lnTo>
                    <a:pt x="1430" y="476"/>
                  </a:lnTo>
                  <a:lnTo>
                    <a:pt x="1424" y="480"/>
                  </a:lnTo>
                  <a:lnTo>
                    <a:pt x="1424" y="484"/>
                  </a:lnTo>
                  <a:lnTo>
                    <a:pt x="1424" y="490"/>
                  </a:lnTo>
                  <a:lnTo>
                    <a:pt x="1422" y="496"/>
                  </a:lnTo>
                  <a:lnTo>
                    <a:pt x="1424" y="502"/>
                  </a:lnTo>
                  <a:lnTo>
                    <a:pt x="1426" y="508"/>
                  </a:lnTo>
                  <a:lnTo>
                    <a:pt x="1424" y="514"/>
                  </a:lnTo>
                  <a:lnTo>
                    <a:pt x="1424" y="520"/>
                  </a:lnTo>
                  <a:lnTo>
                    <a:pt x="1428" y="526"/>
                  </a:lnTo>
                  <a:lnTo>
                    <a:pt x="1434" y="530"/>
                  </a:lnTo>
                  <a:lnTo>
                    <a:pt x="1438" y="536"/>
                  </a:lnTo>
                  <a:lnTo>
                    <a:pt x="1444" y="540"/>
                  </a:lnTo>
                  <a:lnTo>
                    <a:pt x="1450" y="546"/>
                  </a:lnTo>
                  <a:lnTo>
                    <a:pt x="1458" y="548"/>
                  </a:lnTo>
                  <a:lnTo>
                    <a:pt x="1462" y="552"/>
                  </a:lnTo>
                  <a:lnTo>
                    <a:pt x="1468" y="556"/>
                  </a:lnTo>
                  <a:lnTo>
                    <a:pt x="1476" y="562"/>
                  </a:lnTo>
                  <a:lnTo>
                    <a:pt x="1476" y="570"/>
                  </a:lnTo>
                  <a:lnTo>
                    <a:pt x="1474" y="570"/>
                  </a:lnTo>
                  <a:lnTo>
                    <a:pt x="1468" y="570"/>
                  </a:lnTo>
                  <a:lnTo>
                    <a:pt x="1466" y="578"/>
                  </a:lnTo>
                  <a:lnTo>
                    <a:pt x="1460" y="582"/>
                  </a:lnTo>
                  <a:lnTo>
                    <a:pt x="1454" y="584"/>
                  </a:lnTo>
                  <a:lnTo>
                    <a:pt x="1454" y="586"/>
                  </a:lnTo>
                  <a:lnTo>
                    <a:pt x="1448" y="588"/>
                  </a:lnTo>
                  <a:lnTo>
                    <a:pt x="1442" y="590"/>
                  </a:lnTo>
                  <a:lnTo>
                    <a:pt x="1436" y="596"/>
                  </a:lnTo>
                  <a:lnTo>
                    <a:pt x="1434" y="602"/>
                  </a:lnTo>
                  <a:lnTo>
                    <a:pt x="1430" y="608"/>
                  </a:lnTo>
                  <a:lnTo>
                    <a:pt x="1428" y="616"/>
                  </a:lnTo>
                  <a:lnTo>
                    <a:pt x="1428" y="622"/>
                  </a:lnTo>
                  <a:lnTo>
                    <a:pt x="1422" y="628"/>
                  </a:lnTo>
                  <a:lnTo>
                    <a:pt x="1420" y="634"/>
                  </a:lnTo>
                  <a:lnTo>
                    <a:pt x="1414" y="636"/>
                  </a:lnTo>
                  <a:lnTo>
                    <a:pt x="1408" y="640"/>
                  </a:lnTo>
                  <a:lnTo>
                    <a:pt x="1402" y="640"/>
                  </a:lnTo>
                  <a:lnTo>
                    <a:pt x="1396" y="642"/>
                  </a:lnTo>
                  <a:lnTo>
                    <a:pt x="1390" y="646"/>
                  </a:lnTo>
                  <a:lnTo>
                    <a:pt x="1384" y="650"/>
                  </a:lnTo>
                  <a:lnTo>
                    <a:pt x="1378" y="654"/>
                  </a:lnTo>
                  <a:lnTo>
                    <a:pt x="1372" y="654"/>
                  </a:lnTo>
                  <a:lnTo>
                    <a:pt x="1366" y="654"/>
                  </a:lnTo>
                  <a:lnTo>
                    <a:pt x="1360" y="654"/>
                  </a:lnTo>
                  <a:lnTo>
                    <a:pt x="1352" y="654"/>
                  </a:lnTo>
                  <a:lnTo>
                    <a:pt x="1346" y="658"/>
                  </a:lnTo>
                  <a:lnTo>
                    <a:pt x="1340" y="658"/>
                  </a:lnTo>
                  <a:lnTo>
                    <a:pt x="1336" y="656"/>
                  </a:lnTo>
                  <a:lnTo>
                    <a:pt x="1330" y="656"/>
                  </a:lnTo>
                  <a:lnTo>
                    <a:pt x="1324" y="654"/>
                  </a:lnTo>
                  <a:lnTo>
                    <a:pt x="1316" y="654"/>
                  </a:lnTo>
                  <a:lnTo>
                    <a:pt x="1310" y="654"/>
                  </a:lnTo>
                  <a:lnTo>
                    <a:pt x="1304" y="654"/>
                  </a:lnTo>
                  <a:lnTo>
                    <a:pt x="1298" y="656"/>
                  </a:lnTo>
                  <a:lnTo>
                    <a:pt x="1292" y="658"/>
                  </a:lnTo>
                  <a:lnTo>
                    <a:pt x="1286" y="656"/>
                  </a:lnTo>
                  <a:lnTo>
                    <a:pt x="1280" y="656"/>
                  </a:lnTo>
                  <a:lnTo>
                    <a:pt x="1270" y="658"/>
                  </a:lnTo>
                  <a:lnTo>
                    <a:pt x="1260" y="660"/>
                  </a:lnTo>
                  <a:lnTo>
                    <a:pt x="1252" y="662"/>
                  </a:lnTo>
                  <a:lnTo>
                    <a:pt x="1246" y="664"/>
                  </a:lnTo>
                  <a:lnTo>
                    <a:pt x="1240" y="664"/>
                  </a:lnTo>
                  <a:lnTo>
                    <a:pt x="1234" y="664"/>
                  </a:lnTo>
                  <a:lnTo>
                    <a:pt x="1228" y="668"/>
                  </a:lnTo>
                  <a:lnTo>
                    <a:pt x="1222" y="670"/>
                  </a:lnTo>
                  <a:lnTo>
                    <a:pt x="1216" y="674"/>
                  </a:lnTo>
                  <a:lnTo>
                    <a:pt x="1208" y="678"/>
                  </a:lnTo>
                  <a:lnTo>
                    <a:pt x="1202" y="680"/>
                  </a:lnTo>
                  <a:lnTo>
                    <a:pt x="1196" y="684"/>
                  </a:lnTo>
                  <a:lnTo>
                    <a:pt x="1190" y="686"/>
                  </a:lnTo>
                  <a:lnTo>
                    <a:pt x="1184" y="690"/>
                  </a:lnTo>
                  <a:lnTo>
                    <a:pt x="1178" y="694"/>
                  </a:lnTo>
                  <a:lnTo>
                    <a:pt x="1172" y="698"/>
                  </a:lnTo>
                  <a:lnTo>
                    <a:pt x="1166" y="702"/>
                  </a:lnTo>
                  <a:lnTo>
                    <a:pt x="1164" y="702"/>
                  </a:lnTo>
                  <a:lnTo>
                    <a:pt x="1160" y="708"/>
                  </a:lnTo>
                  <a:lnTo>
                    <a:pt x="1156" y="712"/>
                  </a:lnTo>
                  <a:lnTo>
                    <a:pt x="1150" y="708"/>
                  </a:lnTo>
                  <a:lnTo>
                    <a:pt x="1144" y="708"/>
                  </a:lnTo>
                  <a:lnTo>
                    <a:pt x="1136" y="708"/>
                  </a:lnTo>
                  <a:lnTo>
                    <a:pt x="1130" y="708"/>
                  </a:lnTo>
                  <a:lnTo>
                    <a:pt x="1124" y="704"/>
                  </a:lnTo>
                  <a:lnTo>
                    <a:pt x="1122" y="698"/>
                  </a:lnTo>
                  <a:lnTo>
                    <a:pt x="1116" y="694"/>
                  </a:lnTo>
                  <a:lnTo>
                    <a:pt x="1110" y="696"/>
                  </a:lnTo>
                  <a:lnTo>
                    <a:pt x="1104" y="696"/>
                  </a:lnTo>
                  <a:lnTo>
                    <a:pt x="1098" y="698"/>
                  </a:lnTo>
                  <a:lnTo>
                    <a:pt x="1092" y="698"/>
                  </a:lnTo>
                  <a:lnTo>
                    <a:pt x="1086" y="700"/>
                  </a:lnTo>
                  <a:lnTo>
                    <a:pt x="1074" y="700"/>
                  </a:lnTo>
                  <a:lnTo>
                    <a:pt x="1066" y="696"/>
                  </a:lnTo>
                  <a:lnTo>
                    <a:pt x="1060" y="692"/>
                  </a:lnTo>
                  <a:lnTo>
                    <a:pt x="1054" y="692"/>
                  </a:lnTo>
                  <a:lnTo>
                    <a:pt x="1048" y="688"/>
                  </a:lnTo>
                  <a:lnTo>
                    <a:pt x="1042" y="686"/>
                  </a:lnTo>
                  <a:lnTo>
                    <a:pt x="1032" y="684"/>
                  </a:lnTo>
                  <a:lnTo>
                    <a:pt x="1022" y="682"/>
                  </a:lnTo>
                  <a:lnTo>
                    <a:pt x="1012" y="680"/>
                  </a:lnTo>
                  <a:lnTo>
                    <a:pt x="1002" y="678"/>
                  </a:lnTo>
                  <a:lnTo>
                    <a:pt x="994" y="678"/>
                  </a:lnTo>
                  <a:lnTo>
                    <a:pt x="986" y="674"/>
                  </a:lnTo>
                  <a:lnTo>
                    <a:pt x="976" y="672"/>
                  </a:lnTo>
                  <a:lnTo>
                    <a:pt x="970" y="670"/>
                  </a:lnTo>
                  <a:lnTo>
                    <a:pt x="958" y="660"/>
                  </a:lnTo>
                  <a:lnTo>
                    <a:pt x="952" y="656"/>
                  </a:lnTo>
                  <a:lnTo>
                    <a:pt x="946" y="650"/>
                  </a:lnTo>
                  <a:lnTo>
                    <a:pt x="940" y="648"/>
                  </a:lnTo>
                  <a:lnTo>
                    <a:pt x="934" y="648"/>
                  </a:lnTo>
                  <a:lnTo>
                    <a:pt x="924" y="648"/>
                  </a:lnTo>
                  <a:lnTo>
                    <a:pt x="920" y="648"/>
                  </a:lnTo>
                  <a:lnTo>
                    <a:pt x="910" y="646"/>
                  </a:lnTo>
                  <a:lnTo>
                    <a:pt x="902" y="646"/>
                  </a:lnTo>
                  <a:lnTo>
                    <a:pt x="894" y="644"/>
                  </a:lnTo>
                  <a:lnTo>
                    <a:pt x="884" y="642"/>
                  </a:lnTo>
                  <a:lnTo>
                    <a:pt x="874" y="640"/>
                  </a:lnTo>
                  <a:lnTo>
                    <a:pt x="868" y="640"/>
                  </a:lnTo>
                  <a:lnTo>
                    <a:pt x="858" y="640"/>
                  </a:lnTo>
                  <a:lnTo>
                    <a:pt x="850" y="638"/>
                  </a:lnTo>
                  <a:lnTo>
                    <a:pt x="846" y="638"/>
                  </a:lnTo>
                  <a:lnTo>
                    <a:pt x="842" y="640"/>
                  </a:lnTo>
                  <a:lnTo>
                    <a:pt x="836" y="642"/>
                  </a:lnTo>
                  <a:lnTo>
                    <a:pt x="820" y="646"/>
                  </a:lnTo>
                  <a:lnTo>
                    <a:pt x="814" y="646"/>
                  </a:lnTo>
                  <a:lnTo>
                    <a:pt x="808" y="644"/>
                  </a:lnTo>
                  <a:lnTo>
                    <a:pt x="802" y="644"/>
                  </a:lnTo>
                  <a:lnTo>
                    <a:pt x="796" y="644"/>
                  </a:lnTo>
                  <a:lnTo>
                    <a:pt x="788" y="644"/>
                  </a:lnTo>
                  <a:lnTo>
                    <a:pt x="782" y="644"/>
                  </a:lnTo>
                  <a:lnTo>
                    <a:pt x="776" y="642"/>
                  </a:lnTo>
                  <a:lnTo>
                    <a:pt x="770" y="642"/>
                  </a:lnTo>
                  <a:lnTo>
                    <a:pt x="764" y="642"/>
                  </a:lnTo>
                  <a:lnTo>
                    <a:pt x="756" y="642"/>
                  </a:lnTo>
                  <a:lnTo>
                    <a:pt x="750" y="640"/>
                  </a:lnTo>
                  <a:lnTo>
                    <a:pt x="744" y="640"/>
                  </a:lnTo>
                  <a:lnTo>
                    <a:pt x="738" y="640"/>
                  </a:lnTo>
                  <a:lnTo>
                    <a:pt x="732" y="638"/>
                  </a:lnTo>
                  <a:lnTo>
                    <a:pt x="726" y="636"/>
                  </a:lnTo>
                  <a:lnTo>
                    <a:pt x="722" y="636"/>
                  </a:lnTo>
                  <a:lnTo>
                    <a:pt x="716" y="636"/>
                  </a:lnTo>
                  <a:lnTo>
                    <a:pt x="710" y="634"/>
                  </a:lnTo>
                  <a:lnTo>
                    <a:pt x="704" y="634"/>
                  </a:lnTo>
                  <a:lnTo>
                    <a:pt x="698" y="632"/>
                  </a:lnTo>
                  <a:lnTo>
                    <a:pt x="692" y="632"/>
                  </a:lnTo>
                  <a:lnTo>
                    <a:pt x="686" y="630"/>
                  </a:lnTo>
                  <a:lnTo>
                    <a:pt x="680" y="632"/>
                  </a:lnTo>
                  <a:lnTo>
                    <a:pt x="674" y="632"/>
                  </a:lnTo>
                  <a:lnTo>
                    <a:pt x="668" y="632"/>
                  </a:lnTo>
                  <a:lnTo>
                    <a:pt x="662" y="634"/>
                  </a:lnTo>
                  <a:lnTo>
                    <a:pt x="656" y="634"/>
                  </a:lnTo>
                  <a:lnTo>
                    <a:pt x="650" y="634"/>
                  </a:lnTo>
                  <a:lnTo>
                    <a:pt x="644" y="636"/>
                  </a:lnTo>
                  <a:lnTo>
                    <a:pt x="640" y="628"/>
                  </a:lnTo>
                  <a:lnTo>
                    <a:pt x="636" y="622"/>
                  </a:lnTo>
                  <a:lnTo>
                    <a:pt x="630" y="618"/>
                  </a:lnTo>
                  <a:lnTo>
                    <a:pt x="624" y="614"/>
                  </a:lnTo>
                  <a:lnTo>
                    <a:pt x="618" y="610"/>
                  </a:lnTo>
                  <a:lnTo>
                    <a:pt x="612" y="606"/>
                  </a:lnTo>
                  <a:lnTo>
                    <a:pt x="606" y="602"/>
                  </a:lnTo>
                  <a:lnTo>
                    <a:pt x="600" y="598"/>
                  </a:lnTo>
                  <a:lnTo>
                    <a:pt x="598" y="592"/>
                  </a:lnTo>
                  <a:lnTo>
                    <a:pt x="594" y="586"/>
                  </a:lnTo>
                  <a:lnTo>
                    <a:pt x="588" y="580"/>
                  </a:lnTo>
                  <a:lnTo>
                    <a:pt x="582" y="574"/>
                  </a:lnTo>
                  <a:lnTo>
                    <a:pt x="578" y="568"/>
                  </a:lnTo>
                  <a:lnTo>
                    <a:pt x="574" y="562"/>
                  </a:lnTo>
                  <a:lnTo>
                    <a:pt x="568" y="556"/>
                  </a:lnTo>
                  <a:lnTo>
                    <a:pt x="562" y="550"/>
                  </a:lnTo>
                  <a:lnTo>
                    <a:pt x="556" y="548"/>
                  </a:lnTo>
                  <a:lnTo>
                    <a:pt x="550" y="548"/>
                  </a:lnTo>
                  <a:lnTo>
                    <a:pt x="548" y="542"/>
                  </a:lnTo>
                  <a:lnTo>
                    <a:pt x="546" y="536"/>
                  </a:lnTo>
                  <a:lnTo>
                    <a:pt x="548" y="530"/>
                  </a:lnTo>
                  <a:lnTo>
                    <a:pt x="542" y="528"/>
                  </a:lnTo>
                  <a:lnTo>
                    <a:pt x="536" y="530"/>
                  </a:lnTo>
                  <a:lnTo>
                    <a:pt x="530" y="530"/>
                  </a:lnTo>
                  <a:lnTo>
                    <a:pt x="524" y="530"/>
                  </a:lnTo>
                  <a:lnTo>
                    <a:pt x="518" y="528"/>
                  </a:lnTo>
                  <a:lnTo>
                    <a:pt x="512" y="526"/>
                  </a:lnTo>
                  <a:lnTo>
                    <a:pt x="506" y="524"/>
                  </a:lnTo>
                  <a:lnTo>
                    <a:pt x="500" y="520"/>
                  </a:lnTo>
                  <a:lnTo>
                    <a:pt x="494" y="516"/>
                  </a:lnTo>
                  <a:lnTo>
                    <a:pt x="488" y="514"/>
                  </a:lnTo>
                  <a:lnTo>
                    <a:pt x="482" y="512"/>
                  </a:lnTo>
                  <a:lnTo>
                    <a:pt x="476" y="508"/>
                  </a:lnTo>
                  <a:lnTo>
                    <a:pt x="470" y="504"/>
                  </a:lnTo>
                  <a:lnTo>
                    <a:pt x="464" y="504"/>
                  </a:lnTo>
                  <a:lnTo>
                    <a:pt x="456" y="502"/>
                  </a:lnTo>
                  <a:lnTo>
                    <a:pt x="450" y="496"/>
                  </a:lnTo>
                  <a:lnTo>
                    <a:pt x="442" y="492"/>
                  </a:lnTo>
                  <a:lnTo>
                    <a:pt x="438" y="488"/>
                  </a:lnTo>
                  <a:lnTo>
                    <a:pt x="432" y="484"/>
                  </a:lnTo>
                  <a:lnTo>
                    <a:pt x="426" y="482"/>
                  </a:lnTo>
                  <a:lnTo>
                    <a:pt x="418" y="482"/>
                  </a:lnTo>
                  <a:lnTo>
                    <a:pt x="412" y="480"/>
                  </a:lnTo>
                  <a:lnTo>
                    <a:pt x="408" y="480"/>
                  </a:lnTo>
                  <a:lnTo>
                    <a:pt x="406" y="480"/>
                  </a:lnTo>
                  <a:lnTo>
                    <a:pt x="400" y="480"/>
                  </a:lnTo>
                  <a:lnTo>
                    <a:pt x="394" y="480"/>
                  </a:lnTo>
                  <a:lnTo>
                    <a:pt x="388" y="478"/>
                  </a:lnTo>
                  <a:lnTo>
                    <a:pt x="382" y="478"/>
                  </a:lnTo>
                  <a:lnTo>
                    <a:pt x="378" y="478"/>
                  </a:lnTo>
                  <a:lnTo>
                    <a:pt x="370" y="478"/>
                  </a:lnTo>
                  <a:lnTo>
                    <a:pt x="366" y="480"/>
                  </a:lnTo>
                  <a:lnTo>
                    <a:pt x="360" y="480"/>
                  </a:lnTo>
                  <a:lnTo>
                    <a:pt x="354" y="478"/>
                  </a:lnTo>
                  <a:lnTo>
                    <a:pt x="348" y="476"/>
                  </a:lnTo>
                  <a:lnTo>
                    <a:pt x="342" y="474"/>
                  </a:lnTo>
                  <a:lnTo>
                    <a:pt x="336" y="476"/>
                  </a:lnTo>
                  <a:lnTo>
                    <a:pt x="330" y="476"/>
                  </a:lnTo>
                  <a:lnTo>
                    <a:pt x="324" y="474"/>
                  </a:lnTo>
                  <a:lnTo>
                    <a:pt x="318" y="474"/>
                  </a:lnTo>
                  <a:lnTo>
                    <a:pt x="312" y="474"/>
                  </a:lnTo>
                  <a:lnTo>
                    <a:pt x="306" y="470"/>
                  </a:lnTo>
                  <a:lnTo>
                    <a:pt x="300" y="472"/>
                  </a:lnTo>
                  <a:lnTo>
                    <a:pt x="294" y="470"/>
                  </a:lnTo>
                  <a:lnTo>
                    <a:pt x="290" y="468"/>
                  </a:lnTo>
                  <a:lnTo>
                    <a:pt x="282" y="466"/>
                  </a:lnTo>
                  <a:lnTo>
                    <a:pt x="278" y="466"/>
                  </a:lnTo>
                  <a:lnTo>
                    <a:pt x="272" y="462"/>
                  </a:lnTo>
                  <a:lnTo>
                    <a:pt x="266" y="456"/>
                  </a:lnTo>
                  <a:lnTo>
                    <a:pt x="260" y="450"/>
                  </a:lnTo>
                  <a:lnTo>
                    <a:pt x="256" y="446"/>
                  </a:lnTo>
                  <a:lnTo>
                    <a:pt x="254" y="446"/>
                  </a:lnTo>
                  <a:lnTo>
                    <a:pt x="252" y="440"/>
                  </a:lnTo>
                  <a:lnTo>
                    <a:pt x="252" y="434"/>
                  </a:lnTo>
                  <a:lnTo>
                    <a:pt x="250" y="428"/>
                  </a:lnTo>
                  <a:lnTo>
                    <a:pt x="252" y="424"/>
                  </a:lnTo>
                  <a:lnTo>
                    <a:pt x="254" y="418"/>
                  </a:lnTo>
                  <a:lnTo>
                    <a:pt x="258" y="412"/>
                  </a:lnTo>
                  <a:lnTo>
                    <a:pt x="256" y="406"/>
                  </a:lnTo>
                  <a:lnTo>
                    <a:pt x="256" y="404"/>
                  </a:lnTo>
                  <a:lnTo>
                    <a:pt x="254" y="402"/>
                  </a:lnTo>
                  <a:lnTo>
                    <a:pt x="250" y="396"/>
                  </a:lnTo>
                  <a:lnTo>
                    <a:pt x="246" y="390"/>
                  </a:lnTo>
                  <a:lnTo>
                    <a:pt x="246" y="384"/>
                  </a:lnTo>
                  <a:lnTo>
                    <a:pt x="246" y="378"/>
                  </a:lnTo>
                  <a:lnTo>
                    <a:pt x="246" y="372"/>
                  </a:lnTo>
                  <a:lnTo>
                    <a:pt x="242" y="366"/>
                  </a:lnTo>
                  <a:lnTo>
                    <a:pt x="238" y="362"/>
                  </a:lnTo>
                  <a:lnTo>
                    <a:pt x="234" y="356"/>
                  </a:lnTo>
                  <a:lnTo>
                    <a:pt x="230" y="352"/>
                  </a:lnTo>
                  <a:lnTo>
                    <a:pt x="224" y="346"/>
                  </a:lnTo>
                  <a:lnTo>
                    <a:pt x="218" y="344"/>
                  </a:lnTo>
                  <a:lnTo>
                    <a:pt x="212" y="340"/>
                  </a:lnTo>
                  <a:lnTo>
                    <a:pt x="206" y="334"/>
                  </a:lnTo>
                  <a:lnTo>
                    <a:pt x="200" y="328"/>
                  </a:lnTo>
                  <a:lnTo>
                    <a:pt x="194" y="324"/>
                  </a:lnTo>
                  <a:lnTo>
                    <a:pt x="192" y="318"/>
                  </a:lnTo>
                  <a:lnTo>
                    <a:pt x="188" y="312"/>
                  </a:lnTo>
                  <a:lnTo>
                    <a:pt x="182" y="306"/>
                  </a:lnTo>
                  <a:lnTo>
                    <a:pt x="178" y="300"/>
                  </a:lnTo>
                  <a:lnTo>
                    <a:pt x="172" y="298"/>
                  </a:lnTo>
                  <a:lnTo>
                    <a:pt x="166" y="296"/>
                  </a:lnTo>
                  <a:lnTo>
                    <a:pt x="162" y="294"/>
                  </a:lnTo>
                  <a:lnTo>
                    <a:pt x="158" y="288"/>
                  </a:lnTo>
                  <a:lnTo>
                    <a:pt x="152" y="284"/>
                  </a:lnTo>
                  <a:lnTo>
                    <a:pt x="150" y="288"/>
                  </a:lnTo>
                  <a:lnTo>
                    <a:pt x="144" y="288"/>
                  </a:lnTo>
                  <a:lnTo>
                    <a:pt x="138" y="284"/>
                  </a:lnTo>
                  <a:lnTo>
                    <a:pt x="132" y="282"/>
                  </a:lnTo>
                  <a:lnTo>
                    <a:pt x="126" y="276"/>
                  </a:lnTo>
                  <a:lnTo>
                    <a:pt x="120" y="274"/>
                  </a:lnTo>
                  <a:lnTo>
                    <a:pt x="114" y="274"/>
                  </a:lnTo>
                  <a:lnTo>
                    <a:pt x="108" y="278"/>
                  </a:lnTo>
                  <a:lnTo>
                    <a:pt x="104" y="278"/>
                  </a:lnTo>
                  <a:lnTo>
                    <a:pt x="98" y="276"/>
                  </a:lnTo>
                  <a:lnTo>
                    <a:pt x="92" y="272"/>
                  </a:lnTo>
                  <a:lnTo>
                    <a:pt x="86" y="268"/>
                  </a:lnTo>
                  <a:lnTo>
                    <a:pt x="80" y="268"/>
                  </a:lnTo>
                  <a:lnTo>
                    <a:pt x="74" y="264"/>
                  </a:lnTo>
                  <a:lnTo>
                    <a:pt x="68" y="262"/>
                  </a:lnTo>
                  <a:lnTo>
                    <a:pt x="64" y="256"/>
                  </a:lnTo>
                  <a:lnTo>
                    <a:pt x="58" y="250"/>
                  </a:lnTo>
                  <a:lnTo>
                    <a:pt x="52" y="250"/>
                  </a:lnTo>
                  <a:lnTo>
                    <a:pt x="46" y="246"/>
                  </a:lnTo>
                  <a:lnTo>
                    <a:pt x="40" y="242"/>
                  </a:lnTo>
                  <a:lnTo>
                    <a:pt x="34" y="242"/>
                  </a:lnTo>
                  <a:lnTo>
                    <a:pt x="28" y="240"/>
                  </a:lnTo>
                  <a:lnTo>
                    <a:pt x="22" y="236"/>
                  </a:lnTo>
                  <a:lnTo>
                    <a:pt x="28" y="230"/>
                  </a:lnTo>
                  <a:lnTo>
                    <a:pt x="20" y="226"/>
                  </a:lnTo>
                  <a:lnTo>
                    <a:pt x="14" y="226"/>
                  </a:lnTo>
                  <a:lnTo>
                    <a:pt x="10" y="222"/>
                  </a:lnTo>
                  <a:lnTo>
                    <a:pt x="4" y="216"/>
                  </a:lnTo>
                  <a:lnTo>
                    <a:pt x="8" y="210"/>
                  </a:lnTo>
                  <a:lnTo>
                    <a:pt x="4" y="204"/>
                  </a:lnTo>
                  <a:lnTo>
                    <a:pt x="0" y="1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09" name="Freeform 126"/>
            <p:cNvSpPr>
              <a:spLocks/>
            </p:cNvSpPr>
            <p:nvPr/>
          </p:nvSpPr>
          <p:spPr bwMode="auto">
            <a:xfrm>
              <a:off x="6718300" y="4056063"/>
              <a:ext cx="107950" cy="152400"/>
            </a:xfrm>
            <a:custGeom>
              <a:avLst/>
              <a:gdLst>
                <a:gd name="T0" fmla="*/ 2147483647 w 266"/>
                <a:gd name="T1" fmla="*/ 0 h 372"/>
                <a:gd name="T2" fmla="*/ 2147483647 w 266"/>
                <a:gd name="T3" fmla="*/ 2147483647 h 372"/>
                <a:gd name="T4" fmla="*/ 2147483647 w 266"/>
                <a:gd name="T5" fmla="*/ 2147483647 h 372"/>
                <a:gd name="T6" fmla="*/ 2147483647 w 266"/>
                <a:gd name="T7" fmla="*/ 2147483647 h 372"/>
                <a:gd name="T8" fmla="*/ 2147483647 w 266"/>
                <a:gd name="T9" fmla="*/ 2147483647 h 372"/>
                <a:gd name="T10" fmla="*/ 2147483647 w 266"/>
                <a:gd name="T11" fmla="*/ 2147483647 h 372"/>
                <a:gd name="T12" fmla="*/ 2147483647 w 266"/>
                <a:gd name="T13" fmla="*/ 2147483647 h 372"/>
                <a:gd name="T14" fmla="*/ 2147483647 w 266"/>
                <a:gd name="T15" fmla="*/ 2147483647 h 372"/>
                <a:gd name="T16" fmla="*/ 2147483647 w 266"/>
                <a:gd name="T17" fmla="*/ 2147483647 h 372"/>
                <a:gd name="T18" fmla="*/ 2147483647 w 266"/>
                <a:gd name="T19" fmla="*/ 2147483647 h 372"/>
                <a:gd name="T20" fmla="*/ 2147483647 w 266"/>
                <a:gd name="T21" fmla="*/ 2147483647 h 372"/>
                <a:gd name="T22" fmla="*/ 2147483647 w 266"/>
                <a:gd name="T23" fmla="*/ 2147483647 h 372"/>
                <a:gd name="T24" fmla="*/ 2147483647 w 266"/>
                <a:gd name="T25" fmla="*/ 2147483647 h 372"/>
                <a:gd name="T26" fmla="*/ 2147483647 w 266"/>
                <a:gd name="T27" fmla="*/ 2147483647 h 372"/>
                <a:gd name="T28" fmla="*/ 2147483647 w 266"/>
                <a:gd name="T29" fmla="*/ 2147483647 h 372"/>
                <a:gd name="T30" fmla="*/ 2147483647 w 266"/>
                <a:gd name="T31" fmla="*/ 2147483647 h 372"/>
                <a:gd name="T32" fmla="*/ 2147483647 w 266"/>
                <a:gd name="T33" fmla="*/ 2147483647 h 372"/>
                <a:gd name="T34" fmla="*/ 2147483647 w 266"/>
                <a:gd name="T35" fmla="*/ 2147483647 h 372"/>
                <a:gd name="T36" fmla="*/ 2147483647 w 266"/>
                <a:gd name="T37" fmla="*/ 2147483647 h 372"/>
                <a:gd name="T38" fmla="*/ 2147483647 w 266"/>
                <a:gd name="T39" fmla="*/ 2147483647 h 372"/>
                <a:gd name="T40" fmla="*/ 2147483647 w 266"/>
                <a:gd name="T41" fmla="*/ 2147483647 h 372"/>
                <a:gd name="T42" fmla="*/ 2147483647 w 266"/>
                <a:gd name="T43" fmla="*/ 2147483647 h 372"/>
                <a:gd name="T44" fmla="*/ 2147483647 w 266"/>
                <a:gd name="T45" fmla="*/ 2147483647 h 372"/>
                <a:gd name="T46" fmla="*/ 2147483647 w 266"/>
                <a:gd name="T47" fmla="*/ 2147483647 h 372"/>
                <a:gd name="T48" fmla="*/ 2147483647 w 266"/>
                <a:gd name="T49" fmla="*/ 2147483647 h 372"/>
                <a:gd name="T50" fmla="*/ 2147483647 w 266"/>
                <a:gd name="T51" fmla="*/ 2147483647 h 372"/>
                <a:gd name="T52" fmla="*/ 2147483647 w 266"/>
                <a:gd name="T53" fmla="*/ 2147483647 h 372"/>
                <a:gd name="T54" fmla="*/ 2147483647 w 266"/>
                <a:gd name="T55" fmla="*/ 2147483647 h 372"/>
                <a:gd name="T56" fmla="*/ 2147483647 w 266"/>
                <a:gd name="T57" fmla="*/ 2147483647 h 372"/>
                <a:gd name="T58" fmla="*/ 2147483647 w 266"/>
                <a:gd name="T59" fmla="*/ 2147483647 h 372"/>
                <a:gd name="T60" fmla="*/ 2147483647 w 266"/>
                <a:gd name="T61" fmla="*/ 2147483647 h 372"/>
                <a:gd name="T62" fmla="*/ 2147483647 w 266"/>
                <a:gd name="T63" fmla="*/ 2147483647 h 372"/>
                <a:gd name="T64" fmla="*/ 2147483647 w 266"/>
                <a:gd name="T65" fmla="*/ 2147483647 h 372"/>
                <a:gd name="T66" fmla="*/ 2147483647 w 266"/>
                <a:gd name="T67" fmla="*/ 2147483647 h 372"/>
                <a:gd name="T68" fmla="*/ 2147483647 w 266"/>
                <a:gd name="T69" fmla="*/ 2147483647 h 372"/>
                <a:gd name="T70" fmla="*/ 2147483647 w 266"/>
                <a:gd name="T71" fmla="*/ 2147483647 h 372"/>
                <a:gd name="T72" fmla="*/ 2147483647 w 266"/>
                <a:gd name="T73" fmla="*/ 2147483647 h 372"/>
                <a:gd name="T74" fmla="*/ 2147483647 w 266"/>
                <a:gd name="T75" fmla="*/ 2147483647 h 372"/>
                <a:gd name="T76" fmla="*/ 2147483647 w 266"/>
                <a:gd name="T77" fmla="*/ 2147483647 h 372"/>
                <a:gd name="T78" fmla="*/ 2147483647 w 266"/>
                <a:gd name="T79" fmla="*/ 2147483647 h 372"/>
                <a:gd name="T80" fmla="*/ 2147483647 w 266"/>
                <a:gd name="T81" fmla="*/ 2147483647 h 372"/>
                <a:gd name="T82" fmla="*/ 2147483647 w 266"/>
                <a:gd name="T83" fmla="*/ 2147483647 h 372"/>
                <a:gd name="T84" fmla="*/ 2147483647 w 266"/>
                <a:gd name="T85" fmla="*/ 2147483647 h 372"/>
                <a:gd name="T86" fmla="*/ 2147483647 w 266"/>
                <a:gd name="T87" fmla="*/ 2147483647 h 372"/>
                <a:gd name="T88" fmla="*/ 2147483647 w 266"/>
                <a:gd name="T89" fmla="*/ 2147483647 h 372"/>
                <a:gd name="T90" fmla="*/ 2147483647 w 266"/>
                <a:gd name="T91" fmla="*/ 2147483647 h 372"/>
                <a:gd name="T92" fmla="*/ 2147483647 w 266"/>
                <a:gd name="T93" fmla="*/ 2147483647 h 372"/>
                <a:gd name="T94" fmla="*/ 2147483647 w 266"/>
                <a:gd name="T95" fmla="*/ 2147483647 h 372"/>
                <a:gd name="T96" fmla="*/ 2147483647 w 266"/>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6"/>
                <a:gd name="T148" fmla="*/ 0 h 372"/>
                <a:gd name="T149" fmla="*/ 266 w 266"/>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6" h="372">
                  <a:moveTo>
                    <a:pt x="0" y="18"/>
                  </a:moveTo>
                  <a:lnTo>
                    <a:pt x="4" y="14"/>
                  </a:lnTo>
                  <a:lnTo>
                    <a:pt x="4" y="6"/>
                  </a:lnTo>
                  <a:lnTo>
                    <a:pt x="4" y="0"/>
                  </a:lnTo>
                  <a:lnTo>
                    <a:pt x="10" y="0"/>
                  </a:lnTo>
                  <a:lnTo>
                    <a:pt x="12" y="4"/>
                  </a:lnTo>
                  <a:lnTo>
                    <a:pt x="14" y="10"/>
                  </a:lnTo>
                  <a:lnTo>
                    <a:pt x="16" y="10"/>
                  </a:lnTo>
                  <a:lnTo>
                    <a:pt x="18" y="12"/>
                  </a:lnTo>
                  <a:lnTo>
                    <a:pt x="24" y="14"/>
                  </a:lnTo>
                  <a:lnTo>
                    <a:pt x="30" y="16"/>
                  </a:lnTo>
                  <a:lnTo>
                    <a:pt x="36" y="16"/>
                  </a:lnTo>
                  <a:lnTo>
                    <a:pt x="38" y="16"/>
                  </a:lnTo>
                  <a:lnTo>
                    <a:pt x="42" y="18"/>
                  </a:lnTo>
                  <a:lnTo>
                    <a:pt x="44" y="24"/>
                  </a:lnTo>
                  <a:lnTo>
                    <a:pt x="46" y="28"/>
                  </a:lnTo>
                  <a:lnTo>
                    <a:pt x="52" y="32"/>
                  </a:lnTo>
                  <a:lnTo>
                    <a:pt x="58" y="32"/>
                  </a:lnTo>
                  <a:lnTo>
                    <a:pt x="60" y="38"/>
                  </a:lnTo>
                  <a:lnTo>
                    <a:pt x="62" y="44"/>
                  </a:lnTo>
                  <a:lnTo>
                    <a:pt x="64" y="50"/>
                  </a:lnTo>
                  <a:lnTo>
                    <a:pt x="58" y="56"/>
                  </a:lnTo>
                  <a:lnTo>
                    <a:pt x="56" y="62"/>
                  </a:lnTo>
                  <a:lnTo>
                    <a:pt x="56" y="64"/>
                  </a:lnTo>
                  <a:lnTo>
                    <a:pt x="58" y="66"/>
                  </a:lnTo>
                  <a:lnTo>
                    <a:pt x="64" y="70"/>
                  </a:lnTo>
                  <a:lnTo>
                    <a:pt x="70" y="72"/>
                  </a:lnTo>
                  <a:lnTo>
                    <a:pt x="72" y="66"/>
                  </a:lnTo>
                  <a:lnTo>
                    <a:pt x="78" y="60"/>
                  </a:lnTo>
                  <a:lnTo>
                    <a:pt x="84" y="58"/>
                  </a:lnTo>
                  <a:lnTo>
                    <a:pt x="86" y="56"/>
                  </a:lnTo>
                  <a:lnTo>
                    <a:pt x="92" y="56"/>
                  </a:lnTo>
                  <a:lnTo>
                    <a:pt x="96" y="60"/>
                  </a:lnTo>
                  <a:lnTo>
                    <a:pt x="98" y="64"/>
                  </a:lnTo>
                  <a:lnTo>
                    <a:pt x="106" y="66"/>
                  </a:lnTo>
                  <a:lnTo>
                    <a:pt x="110" y="60"/>
                  </a:lnTo>
                  <a:lnTo>
                    <a:pt x="112" y="60"/>
                  </a:lnTo>
                  <a:lnTo>
                    <a:pt x="114" y="54"/>
                  </a:lnTo>
                  <a:lnTo>
                    <a:pt x="116" y="48"/>
                  </a:lnTo>
                  <a:lnTo>
                    <a:pt x="122" y="42"/>
                  </a:lnTo>
                  <a:lnTo>
                    <a:pt x="122" y="36"/>
                  </a:lnTo>
                  <a:lnTo>
                    <a:pt x="122" y="34"/>
                  </a:lnTo>
                  <a:lnTo>
                    <a:pt x="122" y="32"/>
                  </a:lnTo>
                  <a:lnTo>
                    <a:pt x="128" y="34"/>
                  </a:lnTo>
                  <a:lnTo>
                    <a:pt x="130" y="34"/>
                  </a:lnTo>
                  <a:lnTo>
                    <a:pt x="136" y="36"/>
                  </a:lnTo>
                  <a:lnTo>
                    <a:pt x="140" y="42"/>
                  </a:lnTo>
                  <a:lnTo>
                    <a:pt x="144" y="48"/>
                  </a:lnTo>
                  <a:lnTo>
                    <a:pt x="146" y="54"/>
                  </a:lnTo>
                  <a:lnTo>
                    <a:pt x="150" y="58"/>
                  </a:lnTo>
                  <a:lnTo>
                    <a:pt x="156" y="64"/>
                  </a:lnTo>
                  <a:lnTo>
                    <a:pt x="160" y="68"/>
                  </a:lnTo>
                  <a:lnTo>
                    <a:pt x="166" y="74"/>
                  </a:lnTo>
                  <a:lnTo>
                    <a:pt x="172" y="78"/>
                  </a:lnTo>
                  <a:lnTo>
                    <a:pt x="178" y="82"/>
                  </a:lnTo>
                  <a:lnTo>
                    <a:pt x="184" y="88"/>
                  </a:lnTo>
                  <a:lnTo>
                    <a:pt x="188" y="94"/>
                  </a:lnTo>
                  <a:lnTo>
                    <a:pt x="192" y="98"/>
                  </a:lnTo>
                  <a:lnTo>
                    <a:pt x="194" y="104"/>
                  </a:lnTo>
                  <a:lnTo>
                    <a:pt x="196" y="110"/>
                  </a:lnTo>
                  <a:lnTo>
                    <a:pt x="200" y="116"/>
                  </a:lnTo>
                  <a:lnTo>
                    <a:pt x="204" y="122"/>
                  </a:lnTo>
                  <a:lnTo>
                    <a:pt x="206" y="128"/>
                  </a:lnTo>
                  <a:lnTo>
                    <a:pt x="208" y="134"/>
                  </a:lnTo>
                  <a:lnTo>
                    <a:pt x="210" y="140"/>
                  </a:lnTo>
                  <a:lnTo>
                    <a:pt x="210" y="146"/>
                  </a:lnTo>
                  <a:lnTo>
                    <a:pt x="210" y="152"/>
                  </a:lnTo>
                  <a:lnTo>
                    <a:pt x="210" y="158"/>
                  </a:lnTo>
                  <a:lnTo>
                    <a:pt x="212" y="164"/>
                  </a:lnTo>
                  <a:lnTo>
                    <a:pt x="212" y="170"/>
                  </a:lnTo>
                  <a:lnTo>
                    <a:pt x="210" y="176"/>
                  </a:lnTo>
                  <a:lnTo>
                    <a:pt x="208" y="182"/>
                  </a:lnTo>
                  <a:lnTo>
                    <a:pt x="210" y="188"/>
                  </a:lnTo>
                  <a:lnTo>
                    <a:pt x="208" y="194"/>
                  </a:lnTo>
                  <a:lnTo>
                    <a:pt x="208" y="200"/>
                  </a:lnTo>
                  <a:lnTo>
                    <a:pt x="204" y="204"/>
                  </a:lnTo>
                  <a:lnTo>
                    <a:pt x="206" y="212"/>
                  </a:lnTo>
                  <a:lnTo>
                    <a:pt x="210" y="216"/>
                  </a:lnTo>
                  <a:lnTo>
                    <a:pt x="212" y="222"/>
                  </a:lnTo>
                  <a:lnTo>
                    <a:pt x="212" y="228"/>
                  </a:lnTo>
                  <a:lnTo>
                    <a:pt x="212" y="234"/>
                  </a:lnTo>
                  <a:lnTo>
                    <a:pt x="212" y="240"/>
                  </a:lnTo>
                  <a:lnTo>
                    <a:pt x="212" y="246"/>
                  </a:lnTo>
                  <a:lnTo>
                    <a:pt x="212" y="250"/>
                  </a:lnTo>
                  <a:lnTo>
                    <a:pt x="212" y="258"/>
                  </a:lnTo>
                  <a:lnTo>
                    <a:pt x="214" y="264"/>
                  </a:lnTo>
                  <a:lnTo>
                    <a:pt x="216" y="270"/>
                  </a:lnTo>
                  <a:lnTo>
                    <a:pt x="220" y="276"/>
                  </a:lnTo>
                  <a:lnTo>
                    <a:pt x="224" y="280"/>
                  </a:lnTo>
                  <a:lnTo>
                    <a:pt x="228" y="280"/>
                  </a:lnTo>
                  <a:lnTo>
                    <a:pt x="234" y="284"/>
                  </a:lnTo>
                  <a:lnTo>
                    <a:pt x="238" y="290"/>
                  </a:lnTo>
                  <a:lnTo>
                    <a:pt x="238" y="296"/>
                  </a:lnTo>
                  <a:lnTo>
                    <a:pt x="244" y="302"/>
                  </a:lnTo>
                  <a:lnTo>
                    <a:pt x="246" y="308"/>
                  </a:lnTo>
                  <a:lnTo>
                    <a:pt x="248" y="314"/>
                  </a:lnTo>
                  <a:lnTo>
                    <a:pt x="252" y="320"/>
                  </a:lnTo>
                  <a:lnTo>
                    <a:pt x="254" y="326"/>
                  </a:lnTo>
                  <a:lnTo>
                    <a:pt x="256" y="334"/>
                  </a:lnTo>
                  <a:lnTo>
                    <a:pt x="260" y="340"/>
                  </a:lnTo>
                  <a:lnTo>
                    <a:pt x="262" y="346"/>
                  </a:lnTo>
                  <a:lnTo>
                    <a:pt x="264" y="352"/>
                  </a:lnTo>
                  <a:lnTo>
                    <a:pt x="266" y="358"/>
                  </a:lnTo>
                  <a:lnTo>
                    <a:pt x="266" y="364"/>
                  </a:lnTo>
                  <a:lnTo>
                    <a:pt x="262" y="370"/>
                  </a:lnTo>
                  <a:lnTo>
                    <a:pt x="256" y="368"/>
                  </a:lnTo>
                  <a:lnTo>
                    <a:pt x="252" y="362"/>
                  </a:lnTo>
                  <a:lnTo>
                    <a:pt x="258" y="356"/>
                  </a:lnTo>
                  <a:lnTo>
                    <a:pt x="250" y="356"/>
                  </a:lnTo>
                  <a:lnTo>
                    <a:pt x="246" y="350"/>
                  </a:lnTo>
                  <a:lnTo>
                    <a:pt x="246" y="352"/>
                  </a:lnTo>
                  <a:lnTo>
                    <a:pt x="250" y="358"/>
                  </a:lnTo>
                  <a:lnTo>
                    <a:pt x="246" y="366"/>
                  </a:lnTo>
                  <a:lnTo>
                    <a:pt x="240" y="362"/>
                  </a:lnTo>
                  <a:lnTo>
                    <a:pt x="234" y="364"/>
                  </a:lnTo>
                  <a:lnTo>
                    <a:pt x="228" y="366"/>
                  </a:lnTo>
                  <a:lnTo>
                    <a:pt x="222" y="370"/>
                  </a:lnTo>
                  <a:lnTo>
                    <a:pt x="216" y="372"/>
                  </a:lnTo>
                  <a:lnTo>
                    <a:pt x="214" y="366"/>
                  </a:lnTo>
                  <a:lnTo>
                    <a:pt x="212" y="360"/>
                  </a:lnTo>
                  <a:lnTo>
                    <a:pt x="206" y="354"/>
                  </a:lnTo>
                  <a:lnTo>
                    <a:pt x="200" y="352"/>
                  </a:lnTo>
                  <a:lnTo>
                    <a:pt x="194" y="348"/>
                  </a:lnTo>
                  <a:lnTo>
                    <a:pt x="186" y="344"/>
                  </a:lnTo>
                  <a:lnTo>
                    <a:pt x="180" y="340"/>
                  </a:lnTo>
                  <a:lnTo>
                    <a:pt x="174" y="336"/>
                  </a:lnTo>
                  <a:lnTo>
                    <a:pt x="168" y="336"/>
                  </a:lnTo>
                  <a:lnTo>
                    <a:pt x="166" y="328"/>
                  </a:lnTo>
                  <a:lnTo>
                    <a:pt x="160" y="322"/>
                  </a:lnTo>
                  <a:lnTo>
                    <a:pt x="156" y="320"/>
                  </a:lnTo>
                  <a:lnTo>
                    <a:pt x="156" y="318"/>
                  </a:lnTo>
                  <a:lnTo>
                    <a:pt x="148" y="316"/>
                  </a:lnTo>
                  <a:lnTo>
                    <a:pt x="142" y="314"/>
                  </a:lnTo>
                  <a:lnTo>
                    <a:pt x="136" y="310"/>
                  </a:lnTo>
                  <a:lnTo>
                    <a:pt x="130" y="304"/>
                  </a:lnTo>
                  <a:lnTo>
                    <a:pt x="124" y="298"/>
                  </a:lnTo>
                  <a:lnTo>
                    <a:pt x="118" y="298"/>
                  </a:lnTo>
                  <a:lnTo>
                    <a:pt x="114" y="292"/>
                  </a:lnTo>
                  <a:lnTo>
                    <a:pt x="112" y="284"/>
                  </a:lnTo>
                  <a:lnTo>
                    <a:pt x="108" y="284"/>
                  </a:lnTo>
                  <a:lnTo>
                    <a:pt x="106" y="284"/>
                  </a:lnTo>
                  <a:lnTo>
                    <a:pt x="100" y="282"/>
                  </a:lnTo>
                  <a:lnTo>
                    <a:pt x="94" y="278"/>
                  </a:lnTo>
                  <a:lnTo>
                    <a:pt x="90" y="272"/>
                  </a:lnTo>
                  <a:lnTo>
                    <a:pt x="86" y="268"/>
                  </a:lnTo>
                  <a:lnTo>
                    <a:pt x="80" y="262"/>
                  </a:lnTo>
                  <a:lnTo>
                    <a:pt x="86" y="256"/>
                  </a:lnTo>
                  <a:lnTo>
                    <a:pt x="86" y="250"/>
                  </a:lnTo>
                  <a:lnTo>
                    <a:pt x="82" y="244"/>
                  </a:lnTo>
                  <a:lnTo>
                    <a:pt x="80" y="238"/>
                  </a:lnTo>
                  <a:lnTo>
                    <a:pt x="76" y="232"/>
                  </a:lnTo>
                  <a:lnTo>
                    <a:pt x="72" y="226"/>
                  </a:lnTo>
                  <a:lnTo>
                    <a:pt x="68" y="220"/>
                  </a:lnTo>
                  <a:lnTo>
                    <a:pt x="66" y="214"/>
                  </a:lnTo>
                  <a:lnTo>
                    <a:pt x="60" y="210"/>
                  </a:lnTo>
                  <a:lnTo>
                    <a:pt x="54" y="204"/>
                  </a:lnTo>
                  <a:lnTo>
                    <a:pt x="52" y="198"/>
                  </a:lnTo>
                  <a:lnTo>
                    <a:pt x="46" y="198"/>
                  </a:lnTo>
                  <a:lnTo>
                    <a:pt x="42" y="192"/>
                  </a:lnTo>
                  <a:lnTo>
                    <a:pt x="48" y="188"/>
                  </a:lnTo>
                  <a:lnTo>
                    <a:pt x="54" y="186"/>
                  </a:lnTo>
                  <a:lnTo>
                    <a:pt x="48" y="186"/>
                  </a:lnTo>
                  <a:lnTo>
                    <a:pt x="46" y="180"/>
                  </a:lnTo>
                  <a:lnTo>
                    <a:pt x="40" y="176"/>
                  </a:lnTo>
                  <a:lnTo>
                    <a:pt x="38" y="170"/>
                  </a:lnTo>
                  <a:lnTo>
                    <a:pt x="34" y="164"/>
                  </a:lnTo>
                  <a:lnTo>
                    <a:pt x="36" y="158"/>
                  </a:lnTo>
                  <a:lnTo>
                    <a:pt x="38" y="152"/>
                  </a:lnTo>
                  <a:lnTo>
                    <a:pt x="34" y="146"/>
                  </a:lnTo>
                  <a:lnTo>
                    <a:pt x="34" y="140"/>
                  </a:lnTo>
                  <a:lnTo>
                    <a:pt x="36" y="134"/>
                  </a:lnTo>
                  <a:lnTo>
                    <a:pt x="34" y="128"/>
                  </a:lnTo>
                  <a:lnTo>
                    <a:pt x="28" y="124"/>
                  </a:lnTo>
                  <a:lnTo>
                    <a:pt x="22" y="118"/>
                  </a:lnTo>
                  <a:lnTo>
                    <a:pt x="20" y="112"/>
                  </a:lnTo>
                  <a:lnTo>
                    <a:pt x="22" y="110"/>
                  </a:lnTo>
                  <a:lnTo>
                    <a:pt x="24" y="104"/>
                  </a:lnTo>
                  <a:lnTo>
                    <a:pt x="22" y="98"/>
                  </a:lnTo>
                  <a:lnTo>
                    <a:pt x="20" y="92"/>
                  </a:lnTo>
                  <a:lnTo>
                    <a:pt x="20" y="86"/>
                  </a:lnTo>
                  <a:lnTo>
                    <a:pt x="18" y="80"/>
                  </a:lnTo>
                  <a:lnTo>
                    <a:pt x="18" y="78"/>
                  </a:lnTo>
                  <a:lnTo>
                    <a:pt x="16" y="72"/>
                  </a:lnTo>
                  <a:lnTo>
                    <a:pt x="18" y="66"/>
                  </a:lnTo>
                  <a:lnTo>
                    <a:pt x="18" y="60"/>
                  </a:lnTo>
                  <a:lnTo>
                    <a:pt x="18" y="54"/>
                  </a:lnTo>
                  <a:lnTo>
                    <a:pt x="16" y="48"/>
                  </a:lnTo>
                  <a:lnTo>
                    <a:pt x="14" y="44"/>
                  </a:lnTo>
                  <a:lnTo>
                    <a:pt x="10" y="38"/>
                  </a:lnTo>
                  <a:lnTo>
                    <a:pt x="6" y="30"/>
                  </a:lnTo>
                  <a:lnTo>
                    <a:pt x="4" y="24"/>
                  </a:lnTo>
                  <a:lnTo>
                    <a:pt x="0" y="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0" name="Freeform 127"/>
            <p:cNvSpPr>
              <a:spLocks/>
            </p:cNvSpPr>
            <p:nvPr/>
          </p:nvSpPr>
          <p:spPr bwMode="auto">
            <a:xfrm>
              <a:off x="6958013" y="4046538"/>
              <a:ext cx="238125" cy="174625"/>
            </a:xfrm>
            <a:custGeom>
              <a:avLst/>
              <a:gdLst>
                <a:gd name="T0" fmla="*/ 2147483647 w 584"/>
                <a:gd name="T1" fmla="*/ 2147483647 h 424"/>
                <a:gd name="T2" fmla="*/ 2147483647 w 584"/>
                <a:gd name="T3" fmla="*/ 2147483647 h 424"/>
                <a:gd name="T4" fmla="*/ 2147483647 w 584"/>
                <a:gd name="T5" fmla="*/ 2147483647 h 424"/>
                <a:gd name="T6" fmla="*/ 2147483647 w 584"/>
                <a:gd name="T7" fmla="*/ 2147483647 h 424"/>
                <a:gd name="T8" fmla="*/ 2147483647 w 584"/>
                <a:gd name="T9" fmla="*/ 2147483647 h 424"/>
                <a:gd name="T10" fmla="*/ 2147483647 w 584"/>
                <a:gd name="T11" fmla="*/ 2147483647 h 424"/>
                <a:gd name="T12" fmla="*/ 2147483647 w 584"/>
                <a:gd name="T13" fmla="*/ 2147483647 h 424"/>
                <a:gd name="T14" fmla="*/ 2147483647 w 584"/>
                <a:gd name="T15" fmla="*/ 2147483647 h 424"/>
                <a:gd name="T16" fmla="*/ 2147483647 w 584"/>
                <a:gd name="T17" fmla="*/ 2147483647 h 424"/>
                <a:gd name="T18" fmla="*/ 2147483647 w 584"/>
                <a:gd name="T19" fmla="*/ 2147483647 h 424"/>
                <a:gd name="T20" fmla="*/ 2147483647 w 584"/>
                <a:gd name="T21" fmla="*/ 2147483647 h 424"/>
                <a:gd name="T22" fmla="*/ 2147483647 w 584"/>
                <a:gd name="T23" fmla="*/ 2147483647 h 424"/>
                <a:gd name="T24" fmla="*/ 2147483647 w 584"/>
                <a:gd name="T25" fmla="*/ 2147483647 h 424"/>
                <a:gd name="T26" fmla="*/ 2147483647 w 584"/>
                <a:gd name="T27" fmla="*/ 2147483647 h 424"/>
                <a:gd name="T28" fmla="*/ 2147483647 w 584"/>
                <a:gd name="T29" fmla="*/ 2147483647 h 424"/>
                <a:gd name="T30" fmla="*/ 2147483647 w 584"/>
                <a:gd name="T31" fmla="*/ 2147483647 h 424"/>
                <a:gd name="T32" fmla="*/ 2147483647 w 584"/>
                <a:gd name="T33" fmla="*/ 2147483647 h 424"/>
                <a:gd name="T34" fmla="*/ 2147483647 w 584"/>
                <a:gd name="T35" fmla="*/ 2147483647 h 424"/>
                <a:gd name="T36" fmla="*/ 2147483647 w 584"/>
                <a:gd name="T37" fmla="*/ 2147483647 h 424"/>
                <a:gd name="T38" fmla="*/ 2147483647 w 584"/>
                <a:gd name="T39" fmla="*/ 2147483647 h 424"/>
                <a:gd name="T40" fmla="*/ 2147483647 w 584"/>
                <a:gd name="T41" fmla="*/ 2147483647 h 424"/>
                <a:gd name="T42" fmla="*/ 2147483647 w 584"/>
                <a:gd name="T43" fmla="*/ 2147483647 h 424"/>
                <a:gd name="T44" fmla="*/ 2147483647 w 584"/>
                <a:gd name="T45" fmla="*/ 2147483647 h 424"/>
                <a:gd name="T46" fmla="*/ 2147483647 w 584"/>
                <a:gd name="T47" fmla="*/ 2147483647 h 424"/>
                <a:gd name="T48" fmla="*/ 2147483647 w 584"/>
                <a:gd name="T49" fmla="*/ 0 h 424"/>
                <a:gd name="T50" fmla="*/ 2147483647 w 584"/>
                <a:gd name="T51" fmla="*/ 2147483647 h 424"/>
                <a:gd name="T52" fmla="*/ 2147483647 w 584"/>
                <a:gd name="T53" fmla="*/ 2147483647 h 424"/>
                <a:gd name="T54" fmla="*/ 2147483647 w 584"/>
                <a:gd name="T55" fmla="*/ 2147483647 h 424"/>
                <a:gd name="T56" fmla="*/ 2147483647 w 584"/>
                <a:gd name="T57" fmla="*/ 2147483647 h 424"/>
                <a:gd name="T58" fmla="*/ 2147483647 w 584"/>
                <a:gd name="T59" fmla="*/ 2147483647 h 424"/>
                <a:gd name="T60" fmla="*/ 2147483647 w 584"/>
                <a:gd name="T61" fmla="*/ 2147483647 h 424"/>
                <a:gd name="T62" fmla="*/ 2147483647 w 584"/>
                <a:gd name="T63" fmla="*/ 2147483647 h 424"/>
                <a:gd name="T64" fmla="*/ 2147483647 w 584"/>
                <a:gd name="T65" fmla="*/ 2147483647 h 424"/>
                <a:gd name="T66" fmla="*/ 2147483647 w 584"/>
                <a:gd name="T67" fmla="*/ 2147483647 h 424"/>
                <a:gd name="T68" fmla="*/ 2147483647 w 584"/>
                <a:gd name="T69" fmla="*/ 2147483647 h 424"/>
                <a:gd name="T70" fmla="*/ 2147483647 w 584"/>
                <a:gd name="T71" fmla="*/ 2147483647 h 424"/>
                <a:gd name="T72" fmla="*/ 2147483647 w 584"/>
                <a:gd name="T73" fmla="*/ 2147483647 h 424"/>
                <a:gd name="T74" fmla="*/ 2147483647 w 584"/>
                <a:gd name="T75" fmla="*/ 2147483647 h 424"/>
                <a:gd name="T76" fmla="*/ 2147483647 w 584"/>
                <a:gd name="T77" fmla="*/ 2147483647 h 424"/>
                <a:gd name="T78" fmla="*/ 2147483647 w 584"/>
                <a:gd name="T79" fmla="*/ 2147483647 h 424"/>
                <a:gd name="T80" fmla="*/ 2147483647 w 584"/>
                <a:gd name="T81" fmla="*/ 2147483647 h 424"/>
                <a:gd name="T82" fmla="*/ 2147483647 w 584"/>
                <a:gd name="T83" fmla="*/ 2147483647 h 424"/>
                <a:gd name="T84" fmla="*/ 2147483647 w 584"/>
                <a:gd name="T85" fmla="*/ 2147483647 h 424"/>
                <a:gd name="T86" fmla="*/ 2147483647 w 584"/>
                <a:gd name="T87" fmla="*/ 2147483647 h 424"/>
                <a:gd name="T88" fmla="*/ 2147483647 w 584"/>
                <a:gd name="T89" fmla="*/ 2147483647 h 424"/>
                <a:gd name="T90" fmla="*/ 2147483647 w 584"/>
                <a:gd name="T91" fmla="*/ 2147483647 h 424"/>
                <a:gd name="T92" fmla="*/ 2147483647 w 584"/>
                <a:gd name="T93" fmla="*/ 2147483647 h 424"/>
                <a:gd name="T94" fmla="*/ 2147483647 w 584"/>
                <a:gd name="T95" fmla="*/ 2147483647 h 424"/>
                <a:gd name="T96" fmla="*/ 2147483647 w 584"/>
                <a:gd name="T97" fmla="*/ 2147483647 h 424"/>
                <a:gd name="T98" fmla="*/ 2147483647 w 584"/>
                <a:gd name="T99" fmla="*/ 2147483647 h 424"/>
                <a:gd name="T100" fmla="*/ 2147483647 w 584"/>
                <a:gd name="T101" fmla="*/ 2147483647 h 424"/>
                <a:gd name="T102" fmla="*/ 2147483647 w 584"/>
                <a:gd name="T103" fmla="*/ 2147483647 h 424"/>
                <a:gd name="T104" fmla="*/ 2147483647 w 584"/>
                <a:gd name="T105" fmla="*/ 2147483647 h 424"/>
                <a:gd name="T106" fmla="*/ 2147483647 w 584"/>
                <a:gd name="T107" fmla="*/ 2147483647 h 424"/>
                <a:gd name="T108" fmla="*/ 2147483647 w 584"/>
                <a:gd name="T109" fmla="*/ 2147483647 h 4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4"/>
                <a:gd name="T166" fmla="*/ 0 h 424"/>
                <a:gd name="T167" fmla="*/ 584 w 584"/>
                <a:gd name="T168" fmla="*/ 424 h 4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4" h="424">
                  <a:moveTo>
                    <a:pt x="6" y="340"/>
                  </a:moveTo>
                  <a:lnTo>
                    <a:pt x="6" y="344"/>
                  </a:lnTo>
                  <a:lnTo>
                    <a:pt x="6" y="350"/>
                  </a:lnTo>
                  <a:lnTo>
                    <a:pt x="10" y="356"/>
                  </a:lnTo>
                  <a:lnTo>
                    <a:pt x="16" y="360"/>
                  </a:lnTo>
                  <a:lnTo>
                    <a:pt x="22" y="364"/>
                  </a:lnTo>
                  <a:lnTo>
                    <a:pt x="28" y="368"/>
                  </a:lnTo>
                  <a:lnTo>
                    <a:pt x="34" y="366"/>
                  </a:lnTo>
                  <a:lnTo>
                    <a:pt x="40" y="368"/>
                  </a:lnTo>
                  <a:lnTo>
                    <a:pt x="46" y="368"/>
                  </a:lnTo>
                  <a:lnTo>
                    <a:pt x="46" y="364"/>
                  </a:lnTo>
                  <a:lnTo>
                    <a:pt x="48" y="360"/>
                  </a:lnTo>
                  <a:lnTo>
                    <a:pt x="50" y="364"/>
                  </a:lnTo>
                  <a:lnTo>
                    <a:pt x="56" y="364"/>
                  </a:lnTo>
                  <a:lnTo>
                    <a:pt x="56" y="370"/>
                  </a:lnTo>
                  <a:lnTo>
                    <a:pt x="56" y="372"/>
                  </a:lnTo>
                  <a:lnTo>
                    <a:pt x="62" y="374"/>
                  </a:lnTo>
                  <a:lnTo>
                    <a:pt x="68" y="376"/>
                  </a:lnTo>
                  <a:lnTo>
                    <a:pt x="72" y="382"/>
                  </a:lnTo>
                  <a:lnTo>
                    <a:pt x="74" y="380"/>
                  </a:lnTo>
                  <a:lnTo>
                    <a:pt x="82" y="376"/>
                  </a:lnTo>
                  <a:lnTo>
                    <a:pt x="86" y="380"/>
                  </a:lnTo>
                  <a:lnTo>
                    <a:pt x="92" y="386"/>
                  </a:lnTo>
                  <a:lnTo>
                    <a:pt x="98" y="390"/>
                  </a:lnTo>
                  <a:lnTo>
                    <a:pt x="104" y="388"/>
                  </a:lnTo>
                  <a:lnTo>
                    <a:pt x="110" y="392"/>
                  </a:lnTo>
                  <a:lnTo>
                    <a:pt x="112" y="390"/>
                  </a:lnTo>
                  <a:lnTo>
                    <a:pt x="106" y="386"/>
                  </a:lnTo>
                  <a:lnTo>
                    <a:pt x="100" y="388"/>
                  </a:lnTo>
                  <a:lnTo>
                    <a:pt x="94" y="384"/>
                  </a:lnTo>
                  <a:lnTo>
                    <a:pt x="90" y="378"/>
                  </a:lnTo>
                  <a:lnTo>
                    <a:pt x="90" y="372"/>
                  </a:lnTo>
                  <a:lnTo>
                    <a:pt x="96" y="368"/>
                  </a:lnTo>
                  <a:lnTo>
                    <a:pt x="102" y="370"/>
                  </a:lnTo>
                  <a:lnTo>
                    <a:pt x="96" y="364"/>
                  </a:lnTo>
                  <a:lnTo>
                    <a:pt x="96" y="360"/>
                  </a:lnTo>
                  <a:lnTo>
                    <a:pt x="98" y="354"/>
                  </a:lnTo>
                  <a:lnTo>
                    <a:pt x="100" y="348"/>
                  </a:lnTo>
                  <a:lnTo>
                    <a:pt x="100" y="342"/>
                  </a:lnTo>
                  <a:lnTo>
                    <a:pt x="102" y="338"/>
                  </a:lnTo>
                  <a:lnTo>
                    <a:pt x="108" y="338"/>
                  </a:lnTo>
                  <a:lnTo>
                    <a:pt x="112" y="334"/>
                  </a:lnTo>
                  <a:lnTo>
                    <a:pt x="106" y="334"/>
                  </a:lnTo>
                  <a:lnTo>
                    <a:pt x="98" y="336"/>
                  </a:lnTo>
                  <a:lnTo>
                    <a:pt x="102" y="330"/>
                  </a:lnTo>
                  <a:lnTo>
                    <a:pt x="100" y="324"/>
                  </a:lnTo>
                  <a:lnTo>
                    <a:pt x="100" y="318"/>
                  </a:lnTo>
                  <a:lnTo>
                    <a:pt x="106" y="318"/>
                  </a:lnTo>
                  <a:lnTo>
                    <a:pt x="112" y="320"/>
                  </a:lnTo>
                  <a:lnTo>
                    <a:pt x="118" y="322"/>
                  </a:lnTo>
                  <a:lnTo>
                    <a:pt x="114" y="316"/>
                  </a:lnTo>
                  <a:lnTo>
                    <a:pt x="114" y="310"/>
                  </a:lnTo>
                  <a:lnTo>
                    <a:pt x="114" y="304"/>
                  </a:lnTo>
                  <a:lnTo>
                    <a:pt x="114" y="298"/>
                  </a:lnTo>
                  <a:lnTo>
                    <a:pt x="120" y="292"/>
                  </a:lnTo>
                  <a:lnTo>
                    <a:pt x="126" y="288"/>
                  </a:lnTo>
                  <a:lnTo>
                    <a:pt x="128" y="288"/>
                  </a:lnTo>
                  <a:lnTo>
                    <a:pt x="132" y="286"/>
                  </a:lnTo>
                  <a:lnTo>
                    <a:pt x="138" y="284"/>
                  </a:lnTo>
                  <a:lnTo>
                    <a:pt x="146" y="284"/>
                  </a:lnTo>
                  <a:lnTo>
                    <a:pt x="150" y="284"/>
                  </a:lnTo>
                  <a:lnTo>
                    <a:pt x="156" y="282"/>
                  </a:lnTo>
                  <a:lnTo>
                    <a:pt x="162" y="280"/>
                  </a:lnTo>
                  <a:lnTo>
                    <a:pt x="168" y="278"/>
                  </a:lnTo>
                  <a:lnTo>
                    <a:pt x="172" y="276"/>
                  </a:lnTo>
                  <a:lnTo>
                    <a:pt x="178" y="276"/>
                  </a:lnTo>
                  <a:lnTo>
                    <a:pt x="184" y="274"/>
                  </a:lnTo>
                  <a:lnTo>
                    <a:pt x="190" y="272"/>
                  </a:lnTo>
                  <a:lnTo>
                    <a:pt x="196" y="270"/>
                  </a:lnTo>
                  <a:lnTo>
                    <a:pt x="202" y="268"/>
                  </a:lnTo>
                  <a:lnTo>
                    <a:pt x="208" y="266"/>
                  </a:lnTo>
                  <a:lnTo>
                    <a:pt x="210" y="264"/>
                  </a:lnTo>
                  <a:lnTo>
                    <a:pt x="214" y="258"/>
                  </a:lnTo>
                  <a:lnTo>
                    <a:pt x="218" y="252"/>
                  </a:lnTo>
                  <a:lnTo>
                    <a:pt x="222" y="246"/>
                  </a:lnTo>
                  <a:lnTo>
                    <a:pt x="226" y="240"/>
                  </a:lnTo>
                  <a:lnTo>
                    <a:pt x="230" y="234"/>
                  </a:lnTo>
                  <a:lnTo>
                    <a:pt x="232" y="228"/>
                  </a:lnTo>
                  <a:lnTo>
                    <a:pt x="236" y="222"/>
                  </a:lnTo>
                  <a:lnTo>
                    <a:pt x="242" y="218"/>
                  </a:lnTo>
                  <a:lnTo>
                    <a:pt x="246" y="212"/>
                  </a:lnTo>
                  <a:lnTo>
                    <a:pt x="252" y="206"/>
                  </a:lnTo>
                  <a:lnTo>
                    <a:pt x="256" y="200"/>
                  </a:lnTo>
                  <a:lnTo>
                    <a:pt x="260" y="194"/>
                  </a:lnTo>
                  <a:lnTo>
                    <a:pt x="264" y="188"/>
                  </a:lnTo>
                  <a:lnTo>
                    <a:pt x="264" y="182"/>
                  </a:lnTo>
                  <a:lnTo>
                    <a:pt x="266" y="176"/>
                  </a:lnTo>
                  <a:lnTo>
                    <a:pt x="264" y="170"/>
                  </a:lnTo>
                  <a:lnTo>
                    <a:pt x="264" y="166"/>
                  </a:lnTo>
                  <a:lnTo>
                    <a:pt x="270" y="166"/>
                  </a:lnTo>
                  <a:lnTo>
                    <a:pt x="272" y="166"/>
                  </a:lnTo>
                  <a:lnTo>
                    <a:pt x="278" y="168"/>
                  </a:lnTo>
                  <a:lnTo>
                    <a:pt x="284" y="174"/>
                  </a:lnTo>
                  <a:lnTo>
                    <a:pt x="286" y="180"/>
                  </a:lnTo>
                  <a:lnTo>
                    <a:pt x="286" y="186"/>
                  </a:lnTo>
                  <a:lnTo>
                    <a:pt x="292" y="190"/>
                  </a:lnTo>
                  <a:lnTo>
                    <a:pt x="296" y="194"/>
                  </a:lnTo>
                  <a:lnTo>
                    <a:pt x="302" y="200"/>
                  </a:lnTo>
                  <a:lnTo>
                    <a:pt x="308" y="204"/>
                  </a:lnTo>
                  <a:lnTo>
                    <a:pt x="314" y="200"/>
                  </a:lnTo>
                  <a:lnTo>
                    <a:pt x="316" y="194"/>
                  </a:lnTo>
                  <a:lnTo>
                    <a:pt x="318" y="188"/>
                  </a:lnTo>
                  <a:lnTo>
                    <a:pt x="318" y="186"/>
                  </a:lnTo>
                  <a:lnTo>
                    <a:pt x="320" y="178"/>
                  </a:lnTo>
                  <a:lnTo>
                    <a:pt x="316" y="174"/>
                  </a:lnTo>
                  <a:lnTo>
                    <a:pt x="314" y="168"/>
                  </a:lnTo>
                  <a:lnTo>
                    <a:pt x="314" y="160"/>
                  </a:lnTo>
                  <a:lnTo>
                    <a:pt x="314" y="156"/>
                  </a:lnTo>
                  <a:lnTo>
                    <a:pt x="320" y="150"/>
                  </a:lnTo>
                  <a:lnTo>
                    <a:pt x="328" y="144"/>
                  </a:lnTo>
                  <a:lnTo>
                    <a:pt x="328" y="148"/>
                  </a:lnTo>
                  <a:lnTo>
                    <a:pt x="328" y="150"/>
                  </a:lnTo>
                  <a:lnTo>
                    <a:pt x="328" y="156"/>
                  </a:lnTo>
                  <a:lnTo>
                    <a:pt x="328" y="158"/>
                  </a:lnTo>
                  <a:lnTo>
                    <a:pt x="328" y="162"/>
                  </a:lnTo>
                  <a:lnTo>
                    <a:pt x="330" y="168"/>
                  </a:lnTo>
                  <a:lnTo>
                    <a:pt x="332" y="174"/>
                  </a:lnTo>
                  <a:lnTo>
                    <a:pt x="334" y="180"/>
                  </a:lnTo>
                  <a:lnTo>
                    <a:pt x="340" y="182"/>
                  </a:lnTo>
                  <a:lnTo>
                    <a:pt x="346" y="184"/>
                  </a:lnTo>
                  <a:lnTo>
                    <a:pt x="346" y="178"/>
                  </a:lnTo>
                  <a:lnTo>
                    <a:pt x="344" y="172"/>
                  </a:lnTo>
                  <a:lnTo>
                    <a:pt x="344" y="166"/>
                  </a:lnTo>
                  <a:lnTo>
                    <a:pt x="342" y="160"/>
                  </a:lnTo>
                  <a:lnTo>
                    <a:pt x="340" y="154"/>
                  </a:lnTo>
                  <a:lnTo>
                    <a:pt x="338" y="148"/>
                  </a:lnTo>
                  <a:lnTo>
                    <a:pt x="334" y="144"/>
                  </a:lnTo>
                  <a:lnTo>
                    <a:pt x="340" y="140"/>
                  </a:lnTo>
                  <a:lnTo>
                    <a:pt x="344" y="144"/>
                  </a:lnTo>
                  <a:lnTo>
                    <a:pt x="350" y="140"/>
                  </a:lnTo>
                  <a:lnTo>
                    <a:pt x="356" y="136"/>
                  </a:lnTo>
                  <a:lnTo>
                    <a:pt x="360" y="130"/>
                  </a:lnTo>
                  <a:lnTo>
                    <a:pt x="360" y="124"/>
                  </a:lnTo>
                  <a:lnTo>
                    <a:pt x="354" y="122"/>
                  </a:lnTo>
                  <a:lnTo>
                    <a:pt x="348" y="116"/>
                  </a:lnTo>
                  <a:lnTo>
                    <a:pt x="346" y="114"/>
                  </a:lnTo>
                  <a:lnTo>
                    <a:pt x="350" y="108"/>
                  </a:lnTo>
                  <a:lnTo>
                    <a:pt x="356" y="102"/>
                  </a:lnTo>
                  <a:lnTo>
                    <a:pt x="362" y="96"/>
                  </a:lnTo>
                  <a:lnTo>
                    <a:pt x="360" y="102"/>
                  </a:lnTo>
                  <a:lnTo>
                    <a:pt x="364" y="102"/>
                  </a:lnTo>
                  <a:lnTo>
                    <a:pt x="370" y="102"/>
                  </a:lnTo>
                  <a:lnTo>
                    <a:pt x="376" y="98"/>
                  </a:lnTo>
                  <a:lnTo>
                    <a:pt x="378" y="92"/>
                  </a:lnTo>
                  <a:lnTo>
                    <a:pt x="380" y="86"/>
                  </a:lnTo>
                  <a:lnTo>
                    <a:pt x="382" y="84"/>
                  </a:lnTo>
                  <a:lnTo>
                    <a:pt x="386" y="76"/>
                  </a:lnTo>
                  <a:lnTo>
                    <a:pt x="388" y="72"/>
                  </a:lnTo>
                  <a:lnTo>
                    <a:pt x="390" y="66"/>
                  </a:lnTo>
                  <a:lnTo>
                    <a:pt x="390" y="58"/>
                  </a:lnTo>
                  <a:lnTo>
                    <a:pt x="394" y="54"/>
                  </a:lnTo>
                  <a:lnTo>
                    <a:pt x="400" y="52"/>
                  </a:lnTo>
                  <a:lnTo>
                    <a:pt x="402" y="46"/>
                  </a:lnTo>
                  <a:lnTo>
                    <a:pt x="406" y="40"/>
                  </a:lnTo>
                  <a:lnTo>
                    <a:pt x="412" y="34"/>
                  </a:lnTo>
                  <a:lnTo>
                    <a:pt x="414" y="30"/>
                  </a:lnTo>
                  <a:lnTo>
                    <a:pt x="418" y="22"/>
                  </a:lnTo>
                  <a:lnTo>
                    <a:pt x="420" y="16"/>
                  </a:lnTo>
                  <a:lnTo>
                    <a:pt x="420" y="12"/>
                  </a:lnTo>
                  <a:lnTo>
                    <a:pt x="424" y="4"/>
                  </a:lnTo>
                  <a:lnTo>
                    <a:pt x="428" y="0"/>
                  </a:lnTo>
                  <a:lnTo>
                    <a:pt x="432" y="4"/>
                  </a:lnTo>
                  <a:lnTo>
                    <a:pt x="432" y="12"/>
                  </a:lnTo>
                  <a:lnTo>
                    <a:pt x="432" y="16"/>
                  </a:lnTo>
                  <a:lnTo>
                    <a:pt x="428" y="22"/>
                  </a:lnTo>
                  <a:lnTo>
                    <a:pt x="430" y="28"/>
                  </a:lnTo>
                  <a:lnTo>
                    <a:pt x="436" y="24"/>
                  </a:lnTo>
                  <a:lnTo>
                    <a:pt x="440" y="18"/>
                  </a:lnTo>
                  <a:lnTo>
                    <a:pt x="444" y="12"/>
                  </a:lnTo>
                  <a:lnTo>
                    <a:pt x="442" y="6"/>
                  </a:lnTo>
                  <a:lnTo>
                    <a:pt x="446" y="0"/>
                  </a:lnTo>
                  <a:lnTo>
                    <a:pt x="452" y="0"/>
                  </a:lnTo>
                  <a:lnTo>
                    <a:pt x="456" y="6"/>
                  </a:lnTo>
                  <a:lnTo>
                    <a:pt x="454" y="12"/>
                  </a:lnTo>
                  <a:lnTo>
                    <a:pt x="458" y="18"/>
                  </a:lnTo>
                  <a:lnTo>
                    <a:pt x="460" y="24"/>
                  </a:lnTo>
                  <a:lnTo>
                    <a:pt x="466" y="26"/>
                  </a:lnTo>
                  <a:lnTo>
                    <a:pt x="472" y="30"/>
                  </a:lnTo>
                  <a:lnTo>
                    <a:pt x="474" y="26"/>
                  </a:lnTo>
                  <a:lnTo>
                    <a:pt x="476" y="30"/>
                  </a:lnTo>
                  <a:lnTo>
                    <a:pt x="482" y="34"/>
                  </a:lnTo>
                  <a:lnTo>
                    <a:pt x="488" y="38"/>
                  </a:lnTo>
                  <a:lnTo>
                    <a:pt x="488" y="40"/>
                  </a:lnTo>
                  <a:lnTo>
                    <a:pt x="488" y="46"/>
                  </a:lnTo>
                  <a:lnTo>
                    <a:pt x="486" y="50"/>
                  </a:lnTo>
                  <a:lnTo>
                    <a:pt x="480" y="54"/>
                  </a:lnTo>
                  <a:lnTo>
                    <a:pt x="482" y="58"/>
                  </a:lnTo>
                  <a:lnTo>
                    <a:pt x="484" y="64"/>
                  </a:lnTo>
                  <a:lnTo>
                    <a:pt x="484" y="70"/>
                  </a:lnTo>
                  <a:lnTo>
                    <a:pt x="480" y="74"/>
                  </a:lnTo>
                  <a:lnTo>
                    <a:pt x="472" y="78"/>
                  </a:lnTo>
                  <a:lnTo>
                    <a:pt x="478" y="76"/>
                  </a:lnTo>
                  <a:lnTo>
                    <a:pt x="484" y="76"/>
                  </a:lnTo>
                  <a:lnTo>
                    <a:pt x="490" y="76"/>
                  </a:lnTo>
                  <a:lnTo>
                    <a:pt x="496" y="72"/>
                  </a:lnTo>
                  <a:lnTo>
                    <a:pt x="502" y="68"/>
                  </a:lnTo>
                  <a:lnTo>
                    <a:pt x="508" y="68"/>
                  </a:lnTo>
                  <a:lnTo>
                    <a:pt x="510" y="72"/>
                  </a:lnTo>
                  <a:lnTo>
                    <a:pt x="512" y="80"/>
                  </a:lnTo>
                  <a:lnTo>
                    <a:pt x="506" y="82"/>
                  </a:lnTo>
                  <a:lnTo>
                    <a:pt x="500" y="84"/>
                  </a:lnTo>
                  <a:lnTo>
                    <a:pt x="504" y="90"/>
                  </a:lnTo>
                  <a:lnTo>
                    <a:pt x="510" y="88"/>
                  </a:lnTo>
                  <a:lnTo>
                    <a:pt x="516" y="86"/>
                  </a:lnTo>
                  <a:lnTo>
                    <a:pt x="522" y="80"/>
                  </a:lnTo>
                  <a:lnTo>
                    <a:pt x="526" y="84"/>
                  </a:lnTo>
                  <a:lnTo>
                    <a:pt x="532" y="84"/>
                  </a:lnTo>
                  <a:lnTo>
                    <a:pt x="538" y="88"/>
                  </a:lnTo>
                  <a:lnTo>
                    <a:pt x="542" y="94"/>
                  </a:lnTo>
                  <a:lnTo>
                    <a:pt x="542" y="100"/>
                  </a:lnTo>
                  <a:lnTo>
                    <a:pt x="548" y="96"/>
                  </a:lnTo>
                  <a:lnTo>
                    <a:pt x="554" y="102"/>
                  </a:lnTo>
                  <a:lnTo>
                    <a:pt x="560" y="106"/>
                  </a:lnTo>
                  <a:lnTo>
                    <a:pt x="564" y="110"/>
                  </a:lnTo>
                  <a:lnTo>
                    <a:pt x="566" y="108"/>
                  </a:lnTo>
                  <a:lnTo>
                    <a:pt x="572" y="110"/>
                  </a:lnTo>
                  <a:lnTo>
                    <a:pt x="578" y="106"/>
                  </a:lnTo>
                  <a:lnTo>
                    <a:pt x="584" y="112"/>
                  </a:lnTo>
                  <a:lnTo>
                    <a:pt x="584" y="118"/>
                  </a:lnTo>
                  <a:lnTo>
                    <a:pt x="584" y="124"/>
                  </a:lnTo>
                  <a:lnTo>
                    <a:pt x="578" y="130"/>
                  </a:lnTo>
                  <a:lnTo>
                    <a:pt x="572" y="134"/>
                  </a:lnTo>
                  <a:lnTo>
                    <a:pt x="568" y="136"/>
                  </a:lnTo>
                  <a:lnTo>
                    <a:pt x="562" y="138"/>
                  </a:lnTo>
                  <a:lnTo>
                    <a:pt x="556" y="140"/>
                  </a:lnTo>
                  <a:lnTo>
                    <a:pt x="550" y="142"/>
                  </a:lnTo>
                  <a:lnTo>
                    <a:pt x="544" y="140"/>
                  </a:lnTo>
                  <a:lnTo>
                    <a:pt x="538" y="140"/>
                  </a:lnTo>
                  <a:lnTo>
                    <a:pt x="532" y="136"/>
                  </a:lnTo>
                  <a:lnTo>
                    <a:pt x="526" y="140"/>
                  </a:lnTo>
                  <a:lnTo>
                    <a:pt x="520" y="142"/>
                  </a:lnTo>
                  <a:lnTo>
                    <a:pt x="518" y="148"/>
                  </a:lnTo>
                  <a:lnTo>
                    <a:pt x="522" y="154"/>
                  </a:lnTo>
                  <a:lnTo>
                    <a:pt x="528" y="160"/>
                  </a:lnTo>
                  <a:lnTo>
                    <a:pt x="534" y="164"/>
                  </a:lnTo>
                  <a:lnTo>
                    <a:pt x="540" y="166"/>
                  </a:lnTo>
                  <a:lnTo>
                    <a:pt x="540" y="172"/>
                  </a:lnTo>
                  <a:lnTo>
                    <a:pt x="546" y="170"/>
                  </a:lnTo>
                  <a:lnTo>
                    <a:pt x="550" y="178"/>
                  </a:lnTo>
                  <a:lnTo>
                    <a:pt x="544" y="182"/>
                  </a:lnTo>
                  <a:lnTo>
                    <a:pt x="538" y="182"/>
                  </a:lnTo>
                  <a:lnTo>
                    <a:pt x="532" y="182"/>
                  </a:lnTo>
                  <a:lnTo>
                    <a:pt x="530" y="184"/>
                  </a:lnTo>
                  <a:lnTo>
                    <a:pt x="524" y="186"/>
                  </a:lnTo>
                  <a:lnTo>
                    <a:pt x="518" y="186"/>
                  </a:lnTo>
                  <a:lnTo>
                    <a:pt x="514" y="190"/>
                  </a:lnTo>
                  <a:lnTo>
                    <a:pt x="506" y="190"/>
                  </a:lnTo>
                  <a:lnTo>
                    <a:pt x="500" y="186"/>
                  </a:lnTo>
                  <a:lnTo>
                    <a:pt x="496" y="182"/>
                  </a:lnTo>
                  <a:lnTo>
                    <a:pt x="490" y="178"/>
                  </a:lnTo>
                  <a:lnTo>
                    <a:pt x="488" y="184"/>
                  </a:lnTo>
                  <a:lnTo>
                    <a:pt x="490" y="190"/>
                  </a:lnTo>
                  <a:lnTo>
                    <a:pt x="486" y="194"/>
                  </a:lnTo>
                  <a:lnTo>
                    <a:pt x="480" y="194"/>
                  </a:lnTo>
                  <a:lnTo>
                    <a:pt x="474" y="188"/>
                  </a:lnTo>
                  <a:lnTo>
                    <a:pt x="468" y="186"/>
                  </a:lnTo>
                  <a:lnTo>
                    <a:pt x="462" y="182"/>
                  </a:lnTo>
                  <a:lnTo>
                    <a:pt x="456" y="184"/>
                  </a:lnTo>
                  <a:lnTo>
                    <a:pt x="450" y="184"/>
                  </a:lnTo>
                  <a:lnTo>
                    <a:pt x="444" y="182"/>
                  </a:lnTo>
                  <a:lnTo>
                    <a:pt x="438" y="184"/>
                  </a:lnTo>
                  <a:lnTo>
                    <a:pt x="432" y="182"/>
                  </a:lnTo>
                  <a:lnTo>
                    <a:pt x="428" y="182"/>
                  </a:lnTo>
                  <a:lnTo>
                    <a:pt x="422" y="178"/>
                  </a:lnTo>
                  <a:lnTo>
                    <a:pt x="420" y="184"/>
                  </a:lnTo>
                  <a:lnTo>
                    <a:pt x="414" y="186"/>
                  </a:lnTo>
                  <a:lnTo>
                    <a:pt x="410" y="180"/>
                  </a:lnTo>
                  <a:lnTo>
                    <a:pt x="404" y="182"/>
                  </a:lnTo>
                  <a:lnTo>
                    <a:pt x="398" y="182"/>
                  </a:lnTo>
                  <a:lnTo>
                    <a:pt x="392" y="186"/>
                  </a:lnTo>
                  <a:lnTo>
                    <a:pt x="386" y="182"/>
                  </a:lnTo>
                  <a:lnTo>
                    <a:pt x="380" y="180"/>
                  </a:lnTo>
                  <a:lnTo>
                    <a:pt x="380" y="182"/>
                  </a:lnTo>
                  <a:lnTo>
                    <a:pt x="378" y="188"/>
                  </a:lnTo>
                  <a:lnTo>
                    <a:pt x="372" y="194"/>
                  </a:lnTo>
                  <a:lnTo>
                    <a:pt x="368" y="198"/>
                  </a:lnTo>
                  <a:lnTo>
                    <a:pt x="368" y="204"/>
                  </a:lnTo>
                  <a:lnTo>
                    <a:pt x="366" y="210"/>
                  </a:lnTo>
                  <a:lnTo>
                    <a:pt x="366" y="216"/>
                  </a:lnTo>
                  <a:lnTo>
                    <a:pt x="366" y="222"/>
                  </a:lnTo>
                  <a:lnTo>
                    <a:pt x="364" y="228"/>
                  </a:lnTo>
                  <a:lnTo>
                    <a:pt x="364" y="234"/>
                  </a:lnTo>
                  <a:lnTo>
                    <a:pt x="366" y="238"/>
                  </a:lnTo>
                  <a:lnTo>
                    <a:pt x="368" y="246"/>
                  </a:lnTo>
                  <a:lnTo>
                    <a:pt x="364" y="250"/>
                  </a:lnTo>
                  <a:lnTo>
                    <a:pt x="362" y="258"/>
                  </a:lnTo>
                  <a:lnTo>
                    <a:pt x="362" y="262"/>
                  </a:lnTo>
                  <a:lnTo>
                    <a:pt x="362" y="268"/>
                  </a:lnTo>
                  <a:lnTo>
                    <a:pt x="360" y="274"/>
                  </a:lnTo>
                  <a:lnTo>
                    <a:pt x="352" y="276"/>
                  </a:lnTo>
                  <a:lnTo>
                    <a:pt x="348" y="274"/>
                  </a:lnTo>
                  <a:lnTo>
                    <a:pt x="342" y="280"/>
                  </a:lnTo>
                  <a:lnTo>
                    <a:pt x="340" y="286"/>
                  </a:lnTo>
                  <a:lnTo>
                    <a:pt x="340" y="292"/>
                  </a:lnTo>
                  <a:lnTo>
                    <a:pt x="338" y="298"/>
                  </a:lnTo>
                  <a:lnTo>
                    <a:pt x="340" y="304"/>
                  </a:lnTo>
                  <a:lnTo>
                    <a:pt x="342" y="304"/>
                  </a:lnTo>
                  <a:lnTo>
                    <a:pt x="346" y="310"/>
                  </a:lnTo>
                  <a:lnTo>
                    <a:pt x="340" y="312"/>
                  </a:lnTo>
                  <a:lnTo>
                    <a:pt x="336" y="318"/>
                  </a:lnTo>
                  <a:lnTo>
                    <a:pt x="330" y="320"/>
                  </a:lnTo>
                  <a:lnTo>
                    <a:pt x="326" y="326"/>
                  </a:lnTo>
                  <a:lnTo>
                    <a:pt x="320" y="330"/>
                  </a:lnTo>
                  <a:lnTo>
                    <a:pt x="320" y="336"/>
                  </a:lnTo>
                  <a:lnTo>
                    <a:pt x="324" y="342"/>
                  </a:lnTo>
                  <a:lnTo>
                    <a:pt x="324" y="348"/>
                  </a:lnTo>
                  <a:lnTo>
                    <a:pt x="322" y="354"/>
                  </a:lnTo>
                  <a:lnTo>
                    <a:pt x="314" y="360"/>
                  </a:lnTo>
                  <a:lnTo>
                    <a:pt x="314" y="366"/>
                  </a:lnTo>
                  <a:lnTo>
                    <a:pt x="312" y="372"/>
                  </a:lnTo>
                  <a:lnTo>
                    <a:pt x="308" y="376"/>
                  </a:lnTo>
                  <a:lnTo>
                    <a:pt x="308" y="384"/>
                  </a:lnTo>
                  <a:lnTo>
                    <a:pt x="302" y="382"/>
                  </a:lnTo>
                  <a:lnTo>
                    <a:pt x="298" y="380"/>
                  </a:lnTo>
                  <a:lnTo>
                    <a:pt x="292" y="382"/>
                  </a:lnTo>
                  <a:lnTo>
                    <a:pt x="284" y="386"/>
                  </a:lnTo>
                  <a:lnTo>
                    <a:pt x="278" y="382"/>
                  </a:lnTo>
                  <a:lnTo>
                    <a:pt x="272" y="384"/>
                  </a:lnTo>
                  <a:lnTo>
                    <a:pt x="266" y="386"/>
                  </a:lnTo>
                  <a:lnTo>
                    <a:pt x="260" y="392"/>
                  </a:lnTo>
                  <a:lnTo>
                    <a:pt x="256" y="396"/>
                  </a:lnTo>
                  <a:lnTo>
                    <a:pt x="248" y="398"/>
                  </a:lnTo>
                  <a:lnTo>
                    <a:pt x="242" y="394"/>
                  </a:lnTo>
                  <a:lnTo>
                    <a:pt x="238" y="394"/>
                  </a:lnTo>
                  <a:lnTo>
                    <a:pt x="232" y="390"/>
                  </a:lnTo>
                  <a:lnTo>
                    <a:pt x="226" y="388"/>
                  </a:lnTo>
                  <a:lnTo>
                    <a:pt x="220" y="386"/>
                  </a:lnTo>
                  <a:lnTo>
                    <a:pt x="214" y="382"/>
                  </a:lnTo>
                  <a:lnTo>
                    <a:pt x="212" y="376"/>
                  </a:lnTo>
                  <a:lnTo>
                    <a:pt x="206" y="374"/>
                  </a:lnTo>
                  <a:lnTo>
                    <a:pt x="200" y="376"/>
                  </a:lnTo>
                  <a:lnTo>
                    <a:pt x="194" y="376"/>
                  </a:lnTo>
                  <a:lnTo>
                    <a:pt x="188" y="376"/>
                  </a:lnTo>
                  <a:lnTo>
                    <a:pt x="182" y="376"/>
                  </a:lnTo>
                  <a:lnTo>
                    <a:pt x="176" y="378"/>
                  </a:lnTo>
                  <a:lnTo>
                    <a:pt x="170" y="380"/>
                  </a:lnTo>
                  <a:lnTo>
                    <a:pt x="164" y="382"/>
                  </a:lnTo>
                  <a:lnTo>
                    <a:pt x="164" y="388"/>
                  </a:lnTo>
                  <a:lnTo>
                    <a:pt x="162" y="392"/>
                  </a:lnTo>
                  <a:lnTo>
                    <a:pt x="160" y="398"/>
                  </a:lnTo>
                  <a:lnTo>
                    <a:pt x="158" y="404"/>
                  </a:lnTo>
                  <a:lnTo>
                    <a:pt x="156" y="406"/>
                  </a:lnTo>
                  <a:lnTo>
                    <a:pt x="150" y="406"/>
                  </a:lnTo>
                  <a:lnTo>
                    <a:pt x="144" y="410"/>
                  </a:lnTo>
                  <a:lnTo>
                    <a:pt x="140" y="414"/>
                  </a:lnTo>
                  <a:lnTo>
                    <a:pt x="134" y="414"/>
                  </a:lnTo>
                  <a:lnTo>
                    <a:pt x="128" y="414"/>
                  </a:lnTo>
                  <a:lnTo>
                    <a:pt x="122" y="416"/>
                  </a:lnTo>
                  <a:lnTo>
                    <a:pt x="116" y="414"/>
                  </a:lnTo>
                  <a:lnTo>
                    <a:pt x="110" y="412"/>
                  </a:lnTo>
                  <a:lnTo>
                    <a:pt x="104" y="408"/>
                  </a:lnTo>
                  <a:lnTo>
                    <a:pt x="98" y="410"/>
                  </a:lnTo>
                  <a:lnTo>
                    <a:pt x="92" y="412"/>
                  </a:lnTo>
                  <a:lnTo>
                    <a:pt x="86" y="414"/>
                  </a:lnTo>
                  <a:lnTo>
                    <a:pt x="80" y="416"/>
                  </a:lnTo>
                  <a:lnTo>
                    <a:pt x="74" y="422"/>
                  </a:lnTo>
                  <a:lnTo>
                    <a:pt x="68" y="422"/>
                  </a:lnTo>
                  <a:lnTo>
                    <a:pt x="62" y="424"/>
                  </a:lnTo>
                  <a:lnTo>
                    <a:pt x="56" y="422"/>
                  </a:lnTo>
                  <a:lnTo>
                    <a:pt x="52" y="416"/>
                  </a:lnTo>
                  <a:lnTo>
                    <a:pt x="46" y="414"/>
                  </a:lnTo>
                  <a:lnTo>
                    <a:pt x="44" y="408"/>
                  </a:lnTo>
                  <a:lnTo>
                    <a:pt x="40" y="402"/>
                  </a:lnTo>
                  <a:lnTo>
                    <a:pt x="34" y="400"/>
                  </a:lnTo>
                  <a:lnTo>
                    <a:pt x="28" y="394"/>
                  </a:lnTo>
                  <a:lnTo>
                    <a:pt x="26" y="392"/>
                  </a:lnTo>
                  <a:lnTo>
                    <a:pt x="26" y="388"/>
                  </a:lnTo>
                  <a:lnTo>
                    <a:pt x="24" y="386"/>
                  </a:lnTo>
                  <a:lnTo>
                    <a:pt x="18" y="384"/>
                  </a:lnTo>
                  <a:lnTo>
                    <a:pt x="14" y="378"/>
                  </a:lnTo>
                  <a:lnTo>
                    <a:pt x="8" y="372"/>
                  </a:lnTo>
                  <a:lnTo>
                    <a:pt x="8" y="366"/>
                  </a:lnTo>
                  <a:lnTo>
                    <a:pt x="8" y="360"/>
                  </a:lnTo>
                  <a:lnTo>
                    <a:pt x="2" y="358"/>
                  </a:lnTo>
                  <a:lnTo>
                    <a:pt x="0" y="352"/>
                  </a:lnTo>
                  <a:lnTo>
                    <a:pt x="4" y="346"/>
                  </a:lnTo>
                  <a:lnTo>
                    <a:pt x="6" y="34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1" name="Freeform 128"/>
            <p:cNvSpPr>
              <a:spLocks/>
            </p:cNvSpPr>
            <p:nvPr/>
          </p:nvSpPr>
          <p:spPr bwMode="auto">
            <a:xfrm>
              <a:off x="6376988" y="3440113"/>
              <a:ext cx="82550" cy="46037"/>
            </a:xfrm>
            <a:custGeom>
              <a:avLst/>
              <a:gdLst>
                <a:gd name="T0" fmla="*/ 2147483647 w 202"/>
                <a:gd name="T1" fmla="*/ 2147483647 h 112"/>
                <a:gd name="T2" fmla="*/ 2147483647 w 202"/>
                <a:gd name="T3" fmla="*/ 2147483647 h 112"/>
                <a:gd name="T4" fmla="*/ 2147483647 w 202"/>
                <a:gd name="T5" fmla="*/ 2147483647 h 112"/>
                <a:gd name="T6" fmla="*/ 2147483647 w 202"/>
                <a:gd name="T7" fmla="*/ 2147483647 h 112"/>
                <a:gd name="T8" fmla="*/ 2147483647 w 202"/>
                <a:gd name="T9" fmla="*/ 2147483647 h 112"/>
                <a:gd name="T10" fmla="*/ 2147483647 w 202"/>
                <a:gd name="T11" fmla="*/ 2147483647 h 112"/>
                <a:gd name="T12" fmla="*/ 2147483647 w 202"/>
                <a:gd name="T13" fmla="*/ 2147483647 h 112"/>
                <a:gd name="T14" fmla="*/ 2147483647 w 202"/>
                <a:gd name="T15" fmla="*/ 2147483647 h 112"/>
                <a:gd name="T16" fmla="*/ 2147483647 w 202"/>
                <a:gd name="T17" fmla="*/ 2147483647 h 112"/>
                <a:gd name="T18" fmla="*/ 2147483647 w 202"/>
                <a:gd name="T19" fmla="*/ 0 h 112"/>
                <a:gd name="T20" fmla="*/ 2147483647 w 202"/>
                <a:gd name="T21" fmla="*/ 0 h 112"/>
                <a:gd name="T22" fmla="*/ 2147483647 w 202"/>
                <a:gd name="T23" fmla="*/ 2147483647 h 112"/>
                <a:gd name="T24" fmla="*/ 2147483647 w 202"/>
                <a:gd name="T25" fmla="*/ 2147483647 h 112"/>
                <a:gd name="T26" fmla="*/ 2147483647 w 202"/>
                <a:gd name="T27" fmla="*/ 2147483647 h 112"/>
                <a:gd name="T28" fmla="*/ 2147483647 w 202"/>
                <a:gd name="T29" fmla="*/ 2147483647 h 112"/>
                <a:gd name="T30" fmla="*/ 2147483647 w 202"/>
                <a:gd name="T31" fmla="*/ 2147483647 h 112"/>
                <a:gd name="T32" fmla="*/ 2147483647 w 202"/>
                <a:gd name="T33" fmla="*/ 2147483647 h 112"/>
                <a:gd name="T34" fmla="*/ 2147483647 w 202"/>
                <a:gd name="T35" fmla="*/ 2147483647 h 112"/>
                <a:gd name="T36" fmla="*/ 2147483647 w 202"/>
                <a:gd name="T37" fmla="*/ 2147483647 h 112"/>
                <a:gd name="T38" fmla="*/ 2147483647 w 202"/>
                <a:gd name="T39" fmla="*/ 2147483647 h 112"/>
                <a:gd name="T40" fmla="*/ 2147483647 w 202"/>
                <a:gd name="T41" fmla="*/ 2147483647 h 112"/>
                <a:gd name="T42" fmla="*/ 2147483647 w 202"/>
                <a:gd name="T43" fmla="*/ 2147483647 h 112"/>
                <a:gd name="T44" fmla="*/ 2147483647 w 202"/>
                <a:gd name="T45" fmla="*/ 2147483647 h 112"/>
                <a:gd name="T46" fmla="*/ 2147483647 w 202"/>
                <a:gd name="T47" fmla="*/ 2147483647 h 112"/>
                <a:gd name="T48" fmla="*/ 2147483647 w 202"/>
                <a:gd name="T49" fmla="*/ 2147483647 h 112"/>
                <a:gd name="T50" fmla="*/ 2147483647 w 202"/>
                <a:gd name="T51" fmla="*/ 2147483647 h 112"/>
                <a:gd name="T52" fmla="*/ 2147483647 w 202"/>
                <a:gd name="T53" fmla="*/ 2147483647 h 112"/>
                <a:gd name="T54" fmla="*/ 2147483647 w 202"/>
                <a:gd name="T55" fmla="*/ 2147483647 h 112"/>
                <a:gd name="T56" fmla="*/ 2147483647 w 202"/>
                <a:gd name="T57" fmla="*/ 2147483647 h 112"/>
                <a:gd name="T58" fmla="*/ 2147483647 w 202"/>
                <a:gd name="T59" fmla="*/ 2147483647 h 112"/>
                <a:gd name="T60" fmla="*/ 2147483647 w 202"/>
                <a:gd name="T61" fmla="*/ 2147483647 h 112"/>
                <a:gd name="T62" fmla="*/ 2147483647 w 202"/>
                <a:gd name="T63" fmla="*/ 2147483647 h 112"/>
                <a:gd name="T64" fmla="*/ 2147483647 w 202"/>
                <a:gd name="T65" fmla="*/ 2147483647 h 112"/>
                <a:gd name="T66" fmla="*/ 2147483647 w 202"/>
                <a:gd name="T67" fmla="*/ 2147483647 h 112"/>
                <a:gd name="T68" fmla="*/ 2147483647 w 202"/>
                <a:gd name="T69" fmla="*/ 2147483647 h 112"/>
                <a:gd name="T70" fmla="*/ 2147483647 w 202"/>
                <a:gd name="T71" fmla="*/ 2147483647 h 112"/>
                <a:gd name="T72" fmla="*/ 2147483647 w 202"/>
                <a:gd name="T73" fmla="*/ 2147483647 h 112"/>
                <a:gd name="T74" fmla="*/ 2147483647 w 202"/>
                <a:gd name="T75" fmla="*/ 2147483647 h 112"/>
                <a:gd name="T76" fmla="*/ 2147483647 w 202"/>
                <a:gd name="T77" fmla="*/ 2147483647 h 112"/>
                <a:gd name="T78" fmla="*/ 2147483647 w 202"/>
                <a:gd name="T79" fmla="*/ 2147483647 h 112"/>
                <a:gd name="T80" fmla="*/ 2147483647 w 202"/>
                <a:gd name="T81" fmla="*/ 2147483647 h 112"/>
                <a:gd name="T82" fmla="*/ 2147483647 w 202"/>
                <a:gd name="T83" fmla="*/ 2147483647 h 112"/>
                <a:gd name="T84" fmla="*/ 2147483647 w 202"/>
                <a:gd name="T85" fmla="*/ 2147483647 h 112"/>
                <a:gd name="T86" fmla="*/ 2147483647 w 202"/>
                <a:gd name="T87" fmla="*/ 2147483647 h 112"/>
                <a:gd name="T88" fmla="*/ 2147483647 w 202"/>
                <a:gd name="T89" fmla="*/ 2147483647 h 112"/>
                <a:gd name="T90" fmla="*/ 2147483647 w 202"/>
                <a:gd name="T91" fmla="*/ 2147483647 h 112"/>
                <a:gd name="T92" fmla="*/ 2147483647 w 202"/>
                <a:gd name="T93" fmla="*/ 2147483647 h 112"/>
                <a:gd name="T94" fmla="*/ 2147483647 w 202"/>
                <a:gd name="T95" fmla="*/ 2147483647 h 112"/>
                <a:gd name="T96" fmla="*/ 2147483647 w 202"/>
                <a:gd name="T97" fmla="*/ 2147483647 h 112"/>
                <a:gd name="T98" fmla="*/ 2147483647 w 202"/>
                <a:gd name="T99" fmla="*/ 2147483647 h 112"/>
                <a:gd name="T100" fmla="*/ 2147483647 w 202"/>
                <a:gd name="T101" fmla="*/ 2147483647 h 112"/>
                <a:gd name="T102" fmla="*/ 0 w 202"/>
                <a:gd name="T103" fmla="*/ 2147483647 h 1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02"/>
                <a:gd name="T157" fmla="*/ 0 h 112"/>
                <a:gd name="T158" fmla="*/ 202 w 202"/>
                <a:gd name="T159" fmla="*/ 112 h 1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02" h="112">
                  <a:moveTo>
                    <a:pt x="0" y="80"/>
                  </a:moveTo>
                  <a:lnTo>
                    <a:pt x="2" y="74"/>
                  </a:lnTo>
                  <a:lnTo>
                    <a:pt x="8" y="72"/>
                  </a:lnTo>
                  <a:lnTo>
                    <a:pt x="8" y="68"/>
                  </a:lnTo>
                  <a:lnTo>
                    <a:pt x="10" y="64"/>
                  </a:lnTo>
                  <a:lnTo>
                    <a:pt x="10" y="58"/>
                  </a:lnTo>
                  <a:lnTo>
                    <a:pt x="16" y="54"/>
                  </a:lnTo>
                  <a:lnTo>
                    <a:pt x="16" y="50"/>
                  </a:lnTo>
                  <a:lnTo>
                    <a:pt x="18" y="44"/>
                  </a:lnTo>
                  <a:lnTo>
                    <a:pt x="20" y="38"/>
                  </a:lnTo>
                  <a:lnTo>
                    <a:pt x="26" y="32"/>
                  </a:lnTo>
                  <a:lnTo>
                    <a:pt x="30" y="26"/>
                  </a:lnTo>
                  <a:lnTo>
                    <a:pt x="32" y="20"/>
                  </a:lnTo>
                  <a:lnTo>
                    <a:pt x="34" y="16"/>
                  </a:lnTo>
                  <a:lnTo>
                    <a:pt x="40" y="10"/>
                  </a:lnTo>
                  <a:lnTo>
                    <a:pt x="46" y="10"/>
                  </a:lnTo>
                  <a:lnTo>
                    <a:pt x="50" y="4"/>
                  </a:lnTo>
                  <a:lnTo>
                    <a:pt x="58" y="2"/>
                  </a:lnTo>
                  <a:lnTo>
                    <a:pt x="60" y="0"/>
                  </a:lnTo>
                  <a:lnTo>
                    <a:pt x="66" y="0"/>
                  </a:lnTo>
                  <a:lnTo>
                    <a:pt x="70" y="2"/>
                  </a:lnTo>
                  <a:lnTo>
                    <a:pt x="76" y="2"/>
                  </a:lnTo>
                  <a:lnTo>
                    <a:pt x="82" y="4"/>
                  </a:lnTo>
                  <a:lnTo>
                    <a:pt x="84" y="10"/>
                  </a:lnTo>
                  <a:lnTo>
                    <a:pt x="84" y="16"/>
                  </a:lnTo>
                  <a:lnTo>
                    <a:pt x="90" y="16"/>
                  </a:lnTo>
                  <a:lnTo>
                    <a:pt x="96" y="16"/>
                  </a:lnTo>
                  <a:lnTo>
                    <a:pt x="100" y="16"/>
                  </a:lnTo>
                  <a:lnTo>
                    <a:pt x="106" y="16"/>
                  </a:lnTo>
                  <a:lnTo>
                    <a:pt x="112" y="18"/>
                  </a:lnTo>
                  <a:lnTo>
                    <a:pt x="118" y="18"/>
                  </a:lnTo>
                  <a:lnTo>
                    <a:pt x="124" y="22"/>
                  </a:lnTo>
                  <a:lnTo>
                    <a:pt x="124" y="24"/>
                  </a:lnTo>
                  <a:lnTo>
                    <a:pt x="126" y="24"/>
                  </a:lnTo>
                  <a:lnTo>
                    <a:pt x="130" y="22"/>
                  </a:lnTo>
                  <a:lnTo>
                    <a:pt x="134" y="18"/>
                  </a:lnTo>
                  <a:lnTo>
                    <a:pt x="140" y="16"/>
                  </a:lnTo>
                  <a:lnTo>
                    <a:pt x="146" y="20"/>
                  </a:lnTo>
                  <a:lnTo>
                    <a:pt x="152" y="22"/>
                  </a:lnTo>
                  <a:lnTo>
                    <a:pt x="158" y="24"/>
                  </a:lnTo>
                  <a:lnTo>
                    <a:pt x="164" y="26"/>
                  </a:lnTo>
                  <a:lnTo>
                    <a:pt x="164" y="32"/>
                  </a:lnTo>
                  <a:lnTo>
                    <a:pt x="164" y="38"/>
                  </a:lnTo>
                  <a:lnTo>
                    <a:pt x="164" y="40"/>
                  </a:lnTo>
                  <a:lnTo>
                    <a:pt x="162" y="46"/>
                  </a:lnTo>
                  <a:lnTo>
                    <a:pt x="164" y="52"/>
                  </a:lnTo>
                  <a:lnTo>
                    <a:pt x="170" y="56"/>
                  </a:lnTo>
                  <a:lnTo>
                    <a:pt x="172" y="58"/>
                  </a:lnTo>
                  <a:lnTo>
                    <a:pt x="178" y="62"/>
                  </a:lnTo>
                  <a:lnTo>
                    <a:pt x="184" y="60"/>
                  </a:lnTo>
                  <a:lnTo>
                    <a:pt x="186" y="60"/>
                  </a:lnTo>
                  <a:lnTo>
                    <a:pt x="192" y="62"/>
                  </a:lnTo>
                  <a:lnTo>
                    <a:pt x="196" y="68"/>
                  </a:lnTo>
                  <a:lnTo>
                    <a:pt x="196" y="74"/>
                  </a:lnTo>
                  <a:lnTo>
                    <a:pt x="194" y="80"/>
                  </a:lnTo>
                  <a:lnTo>
                    <a:pt x="194" y="84"/>
                  </a:lnTo>
                  <a:lnTo>
                    <a:pt x="200" y="90"/>
                  </a:lnTo>
                  <a:lnTo>
                    <a:pt x="202" y="96"/>
                  </a:lnTo>
                  <a:lnTo>
                    <a:pt x="202" y="100"/>
                  </a:lnTo>
                  <a:lnTo>
                    <a:pt x="196" y="100"/>
                  </a:lnTo>
                  <a:lnTo>
                    <a:pt x="190" y="102"/>
                  </a:lnTo>
                  <a:lnTo>
                    <a:pt x="184" y="102"/>
                  </a:lnTo>
                  <a:lnTo>
                    <a:pt x="178" y="104"/>
                  </a:lnTo>
                  <a:lnTo>
                    <a:pt x="172" y="104"/>
                  </a:lnTo>
                  <a:lnTo>
                    <a:pt x="166" y="100"/>
                  </a:lnTo>
                  <a:lnTo>
                    <a:pt x="160" y="104"/>
                  </a:lnTo>
                  <a:lnTo>
                    <a:pt x="154" y="106"/>
                  </a:lnTo>
                  <a:lnTo>
                    <a:pt x="148" y="104"/>
                  </a:lnTo>
                  <a:lnTo>
                    <a:pt x="142" y="104"/>
                  </a:lnTo>
                  <a:lnTo>
                    <a:pt x="136" y="106"/>
                  </a:lnTo>
                  <a:lnTo>
                    <a:pt x="132" y="106"/>
                  </a:lnTo>
                  <a:lnTo>
                    <a:pt x="124" y="106"/>
                  </a:lnTo>
                  <a:lnTo>
                    <a:pt x="118" y="106"/>
                  </a:lnTo>
                  <a:lnTo>
                    <a:pt x="114" y="104"/>
                  </a:lnTo>
                  <a:lnTo>
                    <a:pt x="108" y="102"/>
                  </a:lnTo>
                  <a:lnTo>
                    <a:pt x="102" y="98"/>
                  </a:lnTo>
                  <a:lnTo>
                    <a:pt x="96" y="100"/>
                  </a:lnTo>
                  <a:lnTo>
                    <a:pt x="90" y="102"/>
                  </a:lnTo>
                  <a:lnTo>
                    <a:pt x="86" y="108"/>
                  </a:lnTo>
                  <a:lnTo>
                    <a:pt x="80" y="110"/>
                  </a:lnTo>
                  <a:lnTo>
                    <a:pt x="74" y="110"/>
                  </a:lnTo>
                  <a:lnTo>
                    <a:pt x="72" y="110"/>
                  </a:lnTo>
                  <a:lnTo>
                    <a:pt x="72" y="112"/>
                  </a:lnTo>
                  <a:lnTo>
                    <a:pt x="66" y="112"/>
                  </a:lnTo>
                  <a:lnTo>
                    <a:pt x="60" y="110"/>
                  </a:lnTo>
                  <a:lnTo>
                    <a:pt x="58" y="108"/>
                  </a:lnTo>
                  <a:lnTo>
                    <a:pt x="54" y="106"/>
                  </a:lnTo>
                  <a:lnTo>
                    <a:pt x="48" y="104"/>
                  </a:lnTo>
                  <a:lnTo>
                    <a:pt x="42" y="102"/>
                  </a:lnTo>
                  <a:lnTo>
                    <a:pt x="40" y="100"/>
                  </a:lnTo>
                  <a:lnTo>
                    <a:pt x="34" y="104"/>
                  </a:lnTo>
                  <a:lnTo>
                    <a:pt x="28" y="104"/>
                  </a:lnTo>
                  <a:lnTo>
                    <a:pt x="22" y="98"/>
                  </a:lnTo>
                  <a:lnTo>
                    <a:pt x="16" y="96"/>
                  </a:lnTo>
                  <a:lnTo>
                    <a:pt x="12" y="92"/>
                  </a:lnTo>
                  <a:lnTo>
                    <a:pt x="8" y="86"/>
                  </a:lnTo>
                  <a:lnTo>
                    <a:pt x="4" y="82"/>
                  </a:lnTo>
                  <a:lnTo>
                    <a:pt x="0" y="8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2" name="Freeform 129"/>
            <p:cNvSpPr>
              <a:spLocks/>
            </p:cNvSpPr>
            <p:nvPr/>
          </p:nvSpPr>
          <p:spPr bwMode="auto">
            <a:xfrm>
              <a:off x="6759575" y="3827463"/>
              <a:ext cx="133350" cy="122237"/>
            </a:xfrm>
            <a:custGeom>
              <a:avLst/>
              <a:gdLst>
                <a:gd name="T0" fmla="*/ 2147483647 w 326"/>
                <a:gd name="T1" fmla="*/ 2147483647 h 296"/>
                <a:gd name="T2" fmla="*/ 2147483647 w 326"/>
                <a:gd name="T3" fmla="*/ 2147483647 h 296"/>
                <a:gd name="T4" fmla="*/ 2147483647 w 326"/>
                <a:gd name="T5" fmla="*/ 2147483647 h 296"/>
                <a:gd name="T6" fmla="*/ 2147483647 w 326"/>
                <a:gd name="T7" fmla="*/ 2147483647 h 296"/>
                <a:gd name="T8" fmla="*/ 2147483647 w 326"/>
                <a:gd name="T9" fmla="*/ 2147483647 h 296"/>
                <a:gd name="T10" fmla="*/ 2147483647 w 326"/>
                <a:gd name="T11" fmla="*/ 2147483647 h 296"/>
                <a:gd name="T12" fmla="*/ 2147483647 w 326"/>
                <a:gd name="T13" fmla="*/ 2147483647 h 296"/>
                <a:gd name="T14" fmla="*/ 2147483647 w 326"/>
                <a:gd name="T15" fmla="*/ 2147483647 h 296"/>
                <a:gd name="T16" fmla="*/ 2147483647 w 326"/>
                <a:gd name="T17" fmla="*/ 2147483647 h 296"/>
                <a:gd name="T18" fmla="*/ 2147483647 w 326"/>
                <a:gd name="T19" fmla="*/ 2147483647 h 296"/>
                <a:gd name="T20" fmla="*/ 2147483647 w 326"/>
                <a:gd name="T21" fmla="*/ 2147483647 h 296"/>
                <a:gd name="T22" fmla="*/ 2147483647 w 326"/>
                <a:gd name="T23" fmla="*/ 2147483647 h 296"/>
                <a:gd name="T24" fmla="*/ 2147483647 w 326"/>
                <a:gd name="T25" fmla="*/ 2147483647 h 296"/>
                <a:gd name="T26" fmla="*/ 2147483647 w 326"/>
                <a:gd name="T27" fmla="*/ 2147483647 h 296"/>
                <a:gd name="T28" fmla="*/ 2147483647 w 326"/>
                <a:gd name="T29" fmla="*/ 2147483647 h 296"/>
                <a:gd name="T30" fmla="*/ 2147483647 w 326"/>
                <a:gd name="T31" fmla="*/ 2147483647 h 296"/>
                <a:gd name="T32" fmla="*/ 2147483647 w 326"/>
                <a:gd name="T33" fmla="*/ 2147483647 h 296"/>
                <a:gd name="T34" fmla="*/ 2147483647 w 326"/>
                <a:gd name="T35" fmla="*/ 2147483647 h 296"/>
                <a:gd name="T36" fmla="*/ 2147483647 w 326"/>
                <a:gd name="T37" fmla="*/ 2147483647 h 296"/>
                <a:gd name="T38" fmla="*/ 2147483647 w 326"/>
                <a:gd name="T39" fmla="*/ 2147483647 h 296"/>
                <a:gd name="T40" fmla="*/ 2147483647 w 326"/>
                <a:gd name="T41" fmla="*/ 2147483647 h 296"/>
                <a:gd name="T42" fmla="*/ 2147483647 w 326"/>
                <a:gd name="T43" fmla="*/ 2147483647 h 296"/>
                <a:gd name="T44" fmla="*/ 2147483647 w 326"/>
                <a:gd name="T45" fmla="*/ 2147483647 h 296"/>
                <a:gd name="T46" fmla="*/ 2147483647 w 326"/>
                <a:gd name="T47" fmla="*/ 2147483647 h 296"/>
                <a:gd name="T48" fmla="*/ 2147483647 w 326"/>
                <a:gd name="T49" fmla="*/ 2147483647 h 296"/>
                <a:gd name="T50" fmla="*/ 2147483647 w 326"/>
                <a:gd name="T51" fmla="*/ 2147483647 h 296"/>
                <a:gd name="T52" fmla="*/ 2147483647 w 326"/>
                <a:gd name="T53" fmla="*/ 2147483647 h 296"/>
                <a:gd name="T54" fmla="*/ 2147483647 w 326"/>
                <a:gd name="T55" fmla="*/ 2147483647 h 296"/>
                <a:gd name="T56" fmla="*/ 2147483647 w 326"/>
                <a:gd name="T57" fmla="*/ 2147483647 h 296"/>
                <a:gd name="T58" fmla="*/ 2147483647 w 326"/>
                <a:gd name="T59" fmla="*/ 2147483647 h 296"/>
                <a:gd name="T60" fmla="*/ 2147483647 w 326"/>
                <a:gd name="T61" fmla="*/ 2147483647 h 296"/>
                <a:gd name="T62" fmla="*/ 2147483647 w 326"/>
                <a:gd name="T63" fmla="*/ 2147483647 h 296"/>
                <a:gd name="T64" fmla="*/ 2147483647 w 326"/>
                <a:gd name="T65" fmla="*/ 2147483647 h 296"/>
                <a:gd name="T66" fmla="*/ 2147483647 w 326"/>
                <a:gd name="T67" fmla="*/ 2147483647 h 296"/>
                <a:gd name="T68" fmla="*/ 2147483647 w 326"/>
                <a:gd name="T69" fmla="*/ 2147483647 h 296"/>
                <a:gd name="T70" fmla="*/ 2147483647 w 326"/>
                <a:gd name="T71" fmla="*/ 2147483647 h 296"/>
                <a:gd name="T72" fmla="*/ 2147483647 w 326"/>
                <a:gd name="T73" fmla="*/ 2147483647 h 296"/>
                <a:gd name="T74" fmla="*/ 2147483647 w 326"/>
                <a:gd name="T75" fmla="*/ 2147483647 h 296"/>
                <a:gd name="T76" fmla="*/ 2147483647 w 326"/>
                <a:gd name="T77" fmla="*/ 2147483647 h 296"/>
                <a:gd name="T78" fmla="*/ 2147483647 w 326"/>
                <a:gd name="T79" fmla="*/ 2147483647 h 296"/>
                <a:gd name="T80" fmla="*/ 2147483647 w 326"/>
                <a:gd name="T81" fmla="*/ 2147483647 h 296"/>
                <a:gd name="T82" fmla="*/ 2147483647 w 326"/>
                <a:gd name="T83" fmla="*/ 2147483647 h 296"/>
                <a:gd name="T84" fmla="*/ 2147483647 w 326"/>
                <a:gd name="T85" fmla="*/ 2147483647 h 296"/>
                <a:gd name="T86" fmla="*/ 2147483647 w 326"/>
                <a:gd name="T87" fmla="*/ 2147483647 h 296"/>
                <a:gd name="T88" fmla="*/ 2147483647 w 326"/>
                <a:gd name="T89" fmla="*/ 2147483647 h 296"/>
                <a:gd name="T90" fmla="*/ 2147483647 w 326"/>
                <a:gd name="T91" fmla="*/ 2147483647 h 296"/>
                <a:gd name="T92" fmla="*/ 2147483647 w 326"/>
                <a:gd name="T93" fmla="*/ 2147483647 h 296"/>
                <a:gd name="T94" fmla="*/ 2147483647 w 326"/>
                <a:gd name="T95" fmla="*/ 2147483647 h 296"/>
                <a:gd name="T96" fmla="*/ 2147483647 w 326"/>
                <a:gd name="T97" fmla="*/ 2147483647 h 296"/>
                <a:gd name="T98" fmla="*/ 2147483647 w 326"/>
                <a:gd name="T99" fmla="*/ 2147483647 h 296"/>
                <a:gd name="T100" fmla="*/ 2147483647 w 326"/>
                <a:gd name="T101" fmla="*/ 2147483647 h 296"/>
                <a:gd name="T102" fmla="*/ 2147483647 w 326"/>
                <a:gd name="T103" fmla="*/ 2147483647 h 296"/>
                <a:gd name="T104" fmla="*/ 2147483647 w 326"/>
                <a:gd name="T105" fmla="*/ 2147483647 h 296"/>
                <a:gd name="T106" fmla="*/ 2147483647 w 326"/>
                <a:gd name="T107" fmla="*/ 2147483647 h 29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26"/>
                <a:gd name="T163" fmla="*/ 0 h 296"/>
                <a:gd name="T164" fmla="*/ 326 w 326"/>
                <a:gd name="T165" fmla="*/ 296 h 29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26" h="296">
                  <a:moveTo>
                    <a:pt x="2" y="98"/>
                  </a:moveTo>
                  <a:lnTo>
                    <a:pt x="2" y="92"/>
                  </a:lnTo>
                  <a:lnTo>
                    <a:pt x="2" y="84"/>
                  </a:lnTo>
                  <a:lnTo>
                    <a:pt x="0" y="80"/>
                  </a:lnTo>
                  <a:lnTo>
                    <a:pt x="6" y="80"/>
                  </a:lnTo>
                  <a:lnTo>
                    <a:pt x="12" y="78"/>
                  </a:lnTo>
                  <a:lnTo>
                    <a:pt x="12" y="72"/>
                  </a:lnTo>
                  <a:lnTo>
                    <a:pt x="18" y="68"/>
                  </a:lnTo>
                  <a:lnTo>
                    <a:pt x="22" y="62"/>
                  </a:lnTo>
                  <a:lnTo>
                    <a:pt x="24" y="60"/>
                  </a:lnTo>
                  <a:lnTo>
                    <a:pt x="24" y="54"/>
                  </a:lnTo>
                  <a:lnTo>
                    <a:pt x="30" y="48"/>
                  </a:lnTo>
                  <a:lnTo>
                    <a:pt x="30" y="46"/>
                  </a:lnTo>
                  <a:lnTo>
                    <a:pt x="32" y="40"/>
                  </a:lnTo>
                  <a:lnTo>
                    <a:pt x="32" y="38"/>
                  </a:lnTo>
                  <a:lnTo>
                    <a:pt x="38" y="32"/>
                  </a:lnTo>
                  <a:lnTo>
                    <a:pt x="44" y="26"/>
                  </a:lnTo>
                  <a:lnTo>
                    <a:pt x="46" y="26"/>
                  </a:lnTo>
                  <a:lnTo>
                    <a:pt x="50" y="26"/>
                  </a:lnTo>
                  <a:lnTo>
                    <a:pt x="52" y="24"/>
                  </a:lnTo>
                  <a:lnTo>
                    <a:pt x="58" y="24"/>
                  </a:lnTo>
                  <a:lnTo>
                    <a:pt x="64" y="22"/>
                  </a:lnTo>
                  <a:lnTo>
                    <a:pt x="70" y="20"/>
                  </a:lnTo>
                  <a:lnTo>
                    <a:pt x="76" y="18"/>
                  </a:lnTo>
                  <a:lnTo>
                    <a:pt x="82" y="22"/>
                  </a:lnTo>
                  <a:lnTo>
                    <a:pt x="88" y="24"/>
                  </a:lnTo>
                  <a:lnTo>
                    <a:pt x="94" y="24"/>
                  </a:lnTo>
                  <a:lnTo>
                    <a:pt x="98" y="24"/>
                  </a:lnTo>
                  <a:lnTo>
                    <a:pt x="104" y="24"/>
                  </a:lnTo>
                  <a:lnTo>
                    <a:pt x="106" y="22"/>
                  </a:lnTo>
                  <a:lnTo>
                    <a:pt x="112" y="20"/>
                  </a:lnTo>
                  <a:lnTo>
                    <a:pt x="118" y="22"/>
                  </a:lnTo>
                  <a:lnTo>
                    <a:pt x="122" y="24"/>
                  </a:lnTo>
                  <a:lnTo>
                    <a:pt x="128" y="24"/>
                  </a:lnTo>
                  <a:lnTo>
                    <a:pt x="134" y="20"/>
                  </a:lnTo>
                  <a:lnTo>
                    <a:pt x="140" y="20"/>
                  </a:lnTo>
                  <a:lnTo>
                    <a:pt x="144" y="18"/>
                  </a:lnTo>
                  <a:lnTo>
                    <a:pt x="146" y="20"/>
                  </a:lnTo>
                  <a:lnTo>
                    <a:pt x="150" y="22"/>
                  </a:lnTo>
                  <a:lnTo>
                    <a:pt x="154" y="22"/>
                  </a:lnTo>
                  <a:lnTo>
                    <a:pt x="156" y="22"/>
                  </a:lnTo>
                  <a:lnTo>
                    <a:pt x="156" y="26"/>
                  </a:lnTo>
                  <a:lnTo>
                    <a:pt x="156" y="28"/>
                  </a:lnTo>
                  <a:lnTo>
                    <a:pt x="160" y="34"/>
                  </a:lnTo>
                  <a:lnTo>
                    <a:pt x="166" y="30"/>
                  </a:lnTo>
                  <a:lnTo>
                    <a:pt x="168" y="24"/>
                  </a:lnTo>
                  <a:lnTo>
                    <a:pt x="170" y="30"/>
                  </a:lnTo>
                  <a:lnTo>
                    <a:pt x="174" y="36"/>
                  </a:lnTo>
                  <a:lnTo>
                    <a:pt x="180" y="42"/>
                  </a:lnTo>
                  <a:lnTo>
                    <a:pt x="186" y="40"/>
                  </a:lnTo>
                  <a:lnTo>
                    <a:pt x="192" y="38"/>
                  </a:lnTo>
                  <a:lnTo>
                    <a:pt x="198" y="40"/>
                  </a:lnTo>
                  <a:lnTo>
                    <a:pt x="202" y="42"/>
                  </a:lnTo>
                  <a:lnTo>
                    <a:pt x="204" y="42"/>
                  </a:lnTo>
                  <a:lnTo>
                    <a:pt x="206" y="44"/>
                  </a:lnTo>
                  <a:lnTo>
                    <a:pt x="208" y="50"/>
                  </a:lnTo>
                  <a:lnTo>
                    <a:pt x="210" y="50"/>
                  </a:lnTo>
                  <a:lnTo>
                    <a:pt x="214" y="54"/>
                  </a:lnTo>
                  <a:lnTo>
                    <a:pt x="216" y="54"/>
                  </a:lnTo>
                  <a:lnTo>
                    <a:pt x="218" y="54"/>
                  </a:lnTo>
                  <a:lnTo>
                    <a:pt x="222" y="54"/>
                  </a:lnTo>
                  <a:lnTo>
                    <a:pt x="226" y="48"/>
                  </a:lnTo>
                  <a:lnTo>
                    <a:pt x="228" y="44"/>
                  </a:lnTo>
                  <a:lnTo>
                    <a:pt x="224" y="38"/>
                  </a:lnTo>
                  <a:lnTo>
                    <a:pt x="220" y="32"/>
                  </a:lnTo>
                  <a:lnTo>
                    <a:pt x="216" y="26"/>
                  </a:lnTo>
                  <a:lnTo>
                    <a:pt x="222" y="22"/>
                  </a:lnTo>
                  <a:lnTo>
                    <a:pt x="228" y="22"/>
                  </a:lnTo>
                  <a:lnTo>
                    <a:pt x="230" y="16"/>
                  </a:lnTo>
                  <a:lnTo>
                    <a:pt x="236" y="18"/>
                  </a:lnTo>
                  <a:lnTo>
                    <a:pt x="242" y="16"/>
                  </a:lnTo>
                  <a:lnTo>
                    <a:pt x="244" y="10"/>
                  </a:lnTo>
                  <a:lnTo>
                    <a:pt x="244" y="8"/>
                  </a:lnTo>
                  <a:lnTo>
                    <a:pt x="246" y="8"/>
                  </a:lnTo>
                  <a:lnTo>
                    <a:pt x="248" y="8"/>
                  </a:lnTo>
                  <a:lnTo>
                    <a:pt x="252" y="14"/>
                  </a:lnTo>
                  <a:lnTo>
                    <a:pt x="254" y="16"/>
                  </a:lnTo>
                  <a:lnTo>
                    <a:pt x="260" y="18"/>
                  </a:lnTo>
                  <a:lnTo>
                    <a:pt x="264" y="24"/>
                  </a:lnTo>
                  <a:lnTo>
                    <a:pt x="270" y="26"/>
                  </a:lnTo>
                  <a:lnTo>
                    <a:pt x="276" y="24"/>
                  </a:lnTo>
                  <a:lnTo>
                    <a:pt x="282" y="20"/>
                  </a:lnTo>
                  <a:lnTo>
                    <a:pt x="288" y="16"/>
                  </a:lnTo>
                  <a:lnTo>
                    <a:pt x="292" y="10"/>
                  </a:lnTo>
                  <a:lnTo>
                    <a:pt x="296" y="10"/>
                  </a:lnTo>
                  <a:lnTo>
                    <a:pt x="302" y="10"/>
                  </a:lnTo>
                  <a:lnTo>
                    <a:pt x="304" y="4"/>
                  </a:lnTo>
                  <a:lnTo>
                    <a:pt x="308" y="0"/>
                  </a:lnTo>
                  <a:lnTo>
                    <a:pt x="308" y="2"/>
                  </a:lnTo>
                  <a:lnTo>
                    <a:pt x="306" y="8"/>
                  </a:lnTo>
                  <a:lnTo>
                    <a:pt x="306" y="14"/>
                  </a:lnTo>
                  <a:lnTo>
                    <a:pt x="302" y="20"/>
                  </a:lnTo>
                  <a:lnTo>
                    <a:pt x="300" y="26"/>
                  </a:lnTo>
                  <a:lnTo>
                    <a:pt x="300" y="30"/>
                  </a:lnTo>
                  <a:lnTo>
                    <a:pt x="300" y="36"/>
                  </a:lnTo>
                  <a:lnTo>
                    <a:pt x="300" y="42"/>
                  </a:lnTo>
                  <a:lnTo>
                    <a:pt x="302" y="48"/>
                  </a:lnTo>
                  <a:lnTo>
                    <a:pt x="308" y="54"/>
                  </a:lnTo>
                  <a:lnTo>
                    <a:pt x="308" y="56"/>
                  </a:lnTo>
                  <a:lnTo>
                    <a:pt x="310" y="64"/>
                  </a:lnTo>
                  <a:lnTo>
                    <a:pt x="314" y="70"/>
                  </a:lnTo>
                  <a:lnTo>
                    <a:pt x="318" y="76"/>
                  </a:lnTo>
                  <a:lnTo>
                    <a:pt x="318" y="78"/>
                  </a:lnTo>
                  <a:lnTo>
                    <a:pt x="322" y="84"/>
                  </a:lnTo>
                  <a:lnTo>
                    <a:pt x="322" y="88"/>
                  </a:lnTo>
                  <a:lnTo>
                    <a:pt x="322" y="90"/>
                  </a:lnTo>
                  <a:lnTo>
                    <a:pt x="322" y="96"/>
                  </a:lnTo>
                  <a:lnTo>
                    <a:pt x="320" y="98"/>
                  </a:lnTo>
                  <a:lnTo>
                    <a:pt x="318" y="104"/>
                  </a:lnTo>
                  <a:lnTo>
                    <a:pt x="318" y="110"/>
                  </a:lnTo>
                  <a:lnTo>
                    <a:pt x="316" y="116"/>
                  </a:lnTo>
                  <a:lnTo>
                    <a:pt x="316" y="118"/>
                  </a:lnTo>
                  <a:lnTo>
                    <a:pt x="318" y="122"/>
                  </a:lnTo>
                  <a:lnTo>
                    <a:pt x="320" y="128"/>
                  </a:lnTo>
                  <a:lnTo>
                    <a:pt x="322" y="136"/>
                  </a:lnTo>
                  <a:lnTo>
                    <a:pt x="324" y="140"/>
                  </a:lnTo>
                  <a:lnTo>
                    <a:pt x="324" y="146"/>
                  </a:lnTo>
                  <a:lnTo>
                    <a:pt x="326" y="152"/>
                  </a:lnTo>
                  <a:lnTo>
                    <a:pt x="326" y="154"/>
                  </a:lnTo>
                  <a:lnTo>
                    <a:pt x="324" y="160"/>
                  </a:lnTo>
                  <a:lnTo>
                    <a:pt x="320" y="166"/>
                  </a:lnTo>
                  <a:lnTo>
                    <a:pt x="314" y="166"/>
                  </a:lnTo>
                  <a:lnTo>
                    <a:pt x="314" y="164"/>
                  </a:lnTo>
                  <a:lnTo>
                    <a:pt x="308" y="166"/>
                  </a:lnTo>
                  <a:lnTo>
                    <a:pt x="302" y="168"/>
                  </a:lnTo>
                  <a:lnTo>
                    <a:pt x="298" y="172"/>
                  </a:lnTo>
                  <a:lnTo>
                    <a:pt x="294" y="178"/>
                  </a:lnTo>
                  <a:lnTo>
                    <a:pt x="290" y="182"/>
                  </a:lnTo>
                  <a:lnTo>
                    <a:pt x="284" y="182"/>
                  </a:lnTo>
                  <a:lnTo>
                    <a:pt x="280" y="182"/>
                  </a:lnTo>
                  <a:lnTo>
                    <a:pt x="276" y="188"/>
                  </a:lnTo>
                  <a:lnTo>
                    <a:pt x="272" y="190"/>
                  </a:lnTo>
                  <a:lnTo>
                    <a:pt x="266" y="190"/>
                  </a:lnTo>
                  <a:lnTo>
                    <a:pt x="264" y="188"/>
                  </a:lnTo>
                  <a:lnTo>
                    <a:pt x="258" y="190"/>
                  </a:lnTo>
                  <a:lnTo>
                    <a:pt x="262" y="196"/>
                  </a:lnTo>
                  <a:lnTo>
                    <a:pt x="260" y="198"/>
                  </a:lnTo>
                  <a:lnTo>
                    <a:pt x="260" y="204"/>
                  </a:lnTo>
                  <a:lnTo>
                    <a:pt x="262" y="210"/>
                  </a:lnTo>
                  <a:lnTo>
                    <a:pt x="260" y="210"/>
                  </a:lnTo>
                  <a:lnTo>
                    <a:pt x="254" y="208"/>
                  </a:lnTo>
                  <a:lnTo>
                    <a:pt x="250" y="206"/>
                  </a:lnTo>
                  <a:lnTo>
                    <a:pt x="244" y="204"/>
                  </a:lnTo>
                  <a:lnTo>
                    <a:pt x="240" y="204"/>
                  </a:lnTo>
                  <a:lnTo>
                    <a:pt x="234" y="204"/>
                  </a:lnTo>
                  <a:lnTo>
                    <a:pt x="232" y="210"/>
                  </a:lnTo>
                  <a:lnTo>
                    <a:pt x="228" y="212"/>
                  </a:lnTo>
                  <a:lnTo>
                    <a:pt x="224" y="214"/>
                  </a:lnTo>
                  <a:lnTo>
                    <a:pt x="224" y="216"/>
                  </a:lnTo>
                  <a:lnTo>
                    <a:pt x="228" y="222"/>
                  </a:lnTo>
                  <a:lnTo>
                    <a:pt x="228" y="228"/>
                  </a:lnTo>
                  <a:lnTo>
                    <a:pt x="228" y="232"/>
                  </a:lnTo>
                  <a:lnTo>
                    <a:pt x="232" y="240"/>
                  </a:lnTo>
                  <a:lnTo>
                    <a:pt x="238" y="244"/>
                  </a:lnTo>
                  <a:lnTo>
                    <a:pt x="242" y="250"/>
                  </a:lnTo>
                  <a:lnTo>
                    <a:pt x="248" y="252"/>
                  </a:lnTo>
                  <a:lnTo>
                    <a:pt x="250" y="256"/>
                  </a:lnTo>
                  <a:lnTo>
                    <a:pt x="250" y="258"/>
                  </a:lnTo>
                  <a:lnTo>
                    <a:pt x="246" y="258"/>
                  </a:lnTo>
                  <a:lnTo>
                    <a:pt x="250" y="264"/>
                  </a:lnTo>
                  <a:lnTo>
                    <a:pt x="250" y="272"/>
                  </a:lnTo>
                  <a:lnTo>
                    <a:pt x="244" y="270"/>
                  </a:lnTo>
                  <a:lnTo>
                    <a:pt x="240" y="268"/>
                  </a:lnTo>
                  <a:lnTo>
                    <a:pt x="234" y="268"/>
                  </a:lnTo>
                  <a:lnTo>
                    <a:pt x="230" y="264"/>
                  </a:lnTo>
                  <a:lnTo>
                    <a:pt x="228" y="260"/>
                  </a:lnTo>
                  <a:lnTo>
                    <a:pt x="224" y="254"/>
                  </a:lnTo>
                  <a:lnTo>
                    <a:pt x="218" y="258"/>
                  </a:lnTo>
                  <a:lnTo>
                    <a:pt x="212" y="258"/>
                  </a:lnTo>
                  <a:lnTo>
                    <a:pt x="208" y="260"/>
                  </a:lnTo>
                  <a:lnTo>
                    <a:pt x="202" y="262"/>
                  </a:lnTo>
                  <a:lnTo>
                    <a:pt x="196" y="266"/>
                  </a:lnTo>
                  <a:lnTo>
                    <a:pt x="190" y="264"/>
                  </a:lnTo>
                  <a:lnTo>
                    <a:pt x="190" y="262"/>
                  </a:lnTo>
                  <a:lnTo>
                    <a:pt x="188" y="262"/>
                  </a:lnTo>
                  <a:lnTo>
                    <a:pt x="184" y="262"/>
                  </a:lnTo>
                  <a:lnTo>
                    <a:pt x="182" y="260"/>
                  </a:lnTo>
                  <a:lnTo>
                    <a:pt x="180" y="262"/>
                  </a:lnTo>
                  <a:lnTo>
                    <a:pt x="182" y="268"/>
                  </a:lnTo>
                  <a:lnTo>
                    <a:pt x="184" y="274"/>
                  </a:lnTo>
                  <a:lnTo>
                    <a:pt x="178" y="280"/>
                  </a:lnTo>
                  <a:lnTo>
                    <a:pt x="176" y="284"/>
                  </a:lnTo>
                  <a:lnTo>
                    <a:pt x="174" y="286"/>
                  </a:lnTo>
                  <a:lnTo>
                    <a:pt x="168" y="290"/>
                  </a:lnTo>
                  <a:lnTo>
                    <a:pt x="162" y="288"/>
                  </a:lnTo>
                  <a:lnTo>
                    <a:pt x="160" y="288"/>
                  </a:lnTo>
                  <a:lnTo>
                    <a:pt x="154" y="288"/>
                  </a:lnTo>
                  <a:lnTo>
                    <a:pt x="152" y="292"/>
                  </a:lnTo>
                  <a:lnTo>
                    <a:pt x="148" y="296"/>
                  </a:lnTo>
                  <a:lnTo>
                    <a:pt x="146" y="296"/>
                  </a:lnTo>
                  <a:lnTo>
                    <a:pt x="144" y="294"/>
                  </a:lnTo>
                  <a:lnTo>
                    <a:pt x="138" y="292"/>
                  </a:lnTo>
                  <a:lnTo>
                    <a:pt x="132" y="288"/>
                  </a:lnTo>
                  <a:lnTo>
                    <a:pt x="126" y="288"/>
                  </a:lnTo>
                  <a:lnTo>
                    <a:pt x="120" y="286"/>
                  </a:lnTo>
                  <a:lnTo>
                    <a:pt x="114" y="284"/>
                  </a:lnTo>
                  <a:lnTo>
                    <a:pt x="110" y="280"/>
                  </a:lnTo>
                  <a:lnTo>
                    <a:pt x="110" y="284"/>
                  </a:lnTo>
                  <a:lnTo>
                    <a:pt x="104" y="288"/>
                  </a:lnTo>
                  <a:lnTo>
                    <a:pt x="98" y="292"/>
                  </a:lnTo>
                  <a:lnTo>
                    <a:pt x="92" y="286"/>
                  </a:lnTo>
                  <a:lnTo>
                    <a:pt x="88" y="280"/>
                  </a:lnTo>
                  <a:lnTo>
                    <a:pt x="92" y="276"/>
                  </a:lnTo>
                  <a:lnTo>
                    <a:pt x="98" y="274"/>
                  </a:lnTo>
                  <a:lnTo>
                    <a:pt x="98" y="270"/>
                  </a:lnTo>
                  <a:lnTo>
                    <a:pt x="100" y="264"/>
                  </a:lnTo>
                  <a:lnTo>
                    <a:pt x="96" y="258"/>
                  </a:lnTo>
                  <a:lnTo>
                    <a:pt x="96" y="252"/>
                  </a:lnTo>
                  <a:lnTo>
                    <a:pt x="90" y="246"/>
                  </a:lnTo>
                  <a:lnTo>
                    <a:pt x="84" y="248"/>
                  </a:lnTo>
                  <a:lnTo>
                    <a:pt x="82" y="254"/>
                  </a:lnTo>
                  <a:lnTo>
                    <a:pt x="80" y="258"/>
                  </a:lnTo>
                  <a:lnTo>
                    <a:pt x="80" y="264"/>
                  </a:lnTo>
                  <a:lnTo>
                    <a:pt x="72" y="262"/>
                  </a:lnTo>
                  <a:lnTo>
                    <a:pt x="68" y="266"/>
                  </a:lnTo>
                  <a:lnTo>
                    <a:pt x="62" y="260"/>
                  </a:lnTo>
                  <a:lnTo>
                    <a:pt x="62" y="254"/>
                  </a:lnTo>
                  <a:lnTo>
                    <a:pt x="62" y="248"/>
                  </a:lnTo>
                  <a:lnTo>
                    <a:pt x="60" y="242"/>
                  </a:lnTo>
                  <a:lnTo>
                    <a:pt x="58" y="238"/>
                  </a:lnTo>
                  <a:lnTo>
                    <a:pt x="60" y="232"/>
                  </a:lnTo>
                  <a:lnTo>
                    <a:pt x="62" y="226"/>
                  </a:lnTo>
                  <a:lnTo>
                    <a:pt x="56" y="222"/>
                  </a:lnTo>
                  <a:lnTo>
                    <a:pt x="50" y="216"/>
                  </a:lnTo>
                  <a:lnTo>
                    <a:pt x="50" y="210"/>
                  </a:lnTo>
                  <a:lnTo>
                    <a:pt x="56" y="208"/>
                  </a:lnTo>
                  <a:lnTo>
                    <a:pt x="50" y="206"/>
                  </a:lnTo>
                  <a:lnTo>
                    <a:pt x="50" y="208"/>
                  </a:lnTo>
                  <a:lnTo>
                    <a:pt x="50" y="206"/>
                  </a:lnTo>
                  <a:lnTo>
                    <a:pt x="46" y="212"/>
                  </a:lnTo>
                  <a:lnTo>
                    <a:pt x="46" y="206"/>
                  </a:lnTo>
                  <a:lnTo>
                    <a:pt x="44" y="202"/>
                  </a:lnTo>
                  <a:lnTo>
                    <a:pt x="40" y="196"/>
                  </a:lnTo>
                  <a:lnTo>
                    <a:pt x="38" y="190"/>
                  </a:lnTo>
                  <a:lnTo>
                    <a:pt x="36" y="186"/>
                  </a:lnTo>
                  <a:lnTo>
                    <a:pt x="34" y="178"/>
                  </a:lnTo>
                  <a:lnTo>
                    <a:pt x="32" y="174"/>
                  </a:lnTo>
                  <a:lnTo>
                    <a:pt x="32" y="168"/>
                  </a:lnTo>
                  <a:lnTo>
                    <a:pt x="32" y="162"/>
                  </a:lnTo>
                  <a:lnTo>
                    <a:pt x="34" y="158"/>
                  </a:lnTo>
                  <a:lnTo>
                    <a:pt x="30" y="152"/>
                  </a:lnTo>
                  <a:lnTo>
                    <a:pt x="24" y="146"/>
                  </a:lnTo>
                  <a:lnTo>
                    <a:pt x="18" y="142"/>
                  </a:lnTo>
                  <a:lnTo>
                    <a:pt x="16" y="136"/>
                  </a:lnTo>
                  <a:lnTo>
                    <a:pt x="14" y="130"/>
                  </a:lnTo>
                  <a:lnTo>
                    <a:pt x="14" y="124"/>
                  </a:lnTo>
                  <a:lnTo>
                    <a:pt x="14" y="118"/>
                  </a:lnTo>
                  <a:lnTo>
                    <a:pt x="8" y="112"/>
                  </a:lnTo>
                  <a:lnTo>
                    <a:pt x="6" y="106"/>
                  </a:lnTo>
                  <a:lnTo>
                    <a:pt x="4" y="100"/>
                  </a:lnTo>
                  <a:lnTo>
                    <a:pt x="2" y="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3" name="Freeform 130"/>
            <p:cNvSpPr>
              <a:spLocks/>
            </p:cNvSpPr>
            <p:nvPr/>
          </p:nvSpPr>
          <p:spPr bwMode="auto">
            <a:xfrm>
              <a:off x="6681788" y="3605213"/>
              <a:ext cx="204787" cy="244475"/>
            </a:xfrm>
            <a:custGeom>
              <a:avLst/>
              <a:gdLst>
                <a:gd name="T0" fmla="*/ 2147483647 w 504"/>
                <a:gd name="T1" fmla="*/ 2147483647 h 594"/>
                <a:gd name="T2" fmla="*/ 2147483647 w 504"/>
                <a:gd name="T3" fmla="*/ 2147483647 h 594"/>
                <a:gd name="T4" fmla="*/ 2147483647 w 504"/>
                <a:gd name="T5" fmla="*/ 2147483647 h 594"/>
                <a:gd name="T6" fmla="*/ 2147483647 w 504"/>
                <a:gd name="T7" fmla="*/ 2147483647 h 594"/>
                <a:gd name="T8" fmla="*/ 2147483647 w 504"/>
                <a:gd name="T9" fmla="*/ 2147483647 h 594"/>
                <a:gd name="T10" fmla="*/ 2147483647 w 504"/>
                <a:gd name="T11" fmla="*/ 2147483647 h 594"/>
                <a:gd name="T12" fmla="*/ 2147483647 w 504"/>
                <a:gd name="T13" fmla="*/ 2147483647 h 594"/>
                <a:gd name="T14" fmla="*/ 2147483647 w 504"/>
                <a:gd name="T15" fmla="*/ 0 h 594"/>
                <a:gd name="T16" fmla="*/ 2147483647 w 504"/>
                <a:gd name="T17" fmla="*/ 2147483647 h 594"/>
                <a:gd name="T18" fmla="*/ 2147483647 w 504"/>
                <a:gd name="T19" fmla="*/ 2147483647 h 594"/>
                <a:gd name="T20" fmla="*/ 2147483647 w 504"/>
                <a:gd name="T21" fmla="*/ 2147483647 h 594"/>
                <a:gd name="T22" fmla="*/ 2147483647 w 504"/>
                <a:gd name="T23" fmla="*/ 2147483647 h 594"/>
                <a:gd name="T24" fmla="*/ 2147483647 w 504"/>
                <a:gd name="T25" fmla="*/ 2147483647 h 594"/>
                <a:gd name="T26" fmla="*/ 2147483647 w 504"/>
                <a:gd name="T27" fmla="*/ 2147483647 h 594"/>
                <a:gd name="T28" fmla="*/ 2147483647 w 504"/>
                <a:gd name="T29" fmla="*/ 2147483647 h 594"/>
                <a:gd name="T30" fmla="*/ 2147483647 w 504"/>
                <a:gd name="T31" fmla="*/ 2147483647 h 594"/>
                <a:gd name="T32" fmla="*/ 2147483647 w 504"/>
                <a:gd name="T33" fmla="*/ 2147483647 h 594"/>
                <a:gd name="T34" fmla="*/ 2147483647 w 504"/>
                <a:gd name="T35" fmla="*/ 2147483647 h 594"/>
                <a:gd name="T36" fmla="*/ 2147483647 w 504"/>
                <a:gd name="T37" fmla="*/ 2147483647 h 594"/>
                <a:gd name="T38" fmla="*/ 2147483647 w 504"/>
                <a:gd name="T39" fmla="*/ 2147483647 h 594"/>
                <a:gd name="T40" fmla="*/ 2147483647 w 504"/>
                <a:gd name="T41" fmla="*/ 2147483647 h 594"/>
                <a:gd name="T42" fmla="*/ 2147483647 w 504"/>
                <a:gd name="T43" fmla="*/ 2147483647 h 594"/>
                <a:gd name="T44" fmla="*/ 2147483647 w 504"/>
                <a:gd name="T45" fmla="*/ 2147483647 h 594"/>
                <a:gd name="T46" fmla="*/ 2147483647 w 504"/>
                <a:gd name="T47" fmla="*/ 2147483647 h 594"/>
                <a:gd name="T48" fmla="*/ 2147483647 w 504"/>
                <a:gd name="T49" fmla="*/ 2147483647 h 594"/>
                <a:gd name="T50" fmla="*/ 2147483647 w 504"/>
                <a:gd name="T51" fmla="*/ 2147483647 h 594"/>
                <a:gd name="T52" fmla="*/ 2147483647 w 504"/>
                <a:gd name="T53" fmla="*/ 2147483647 h 594"/>
                <a:gd name="T54" fmla="*/ 2147483647 w 504"/>
                <a:gd name="T55" fmla="*/ 2147483647 h 594"/>
                <a:gd name="T56" fmla="*/ 2147483647 w 504"/>
                <a:gd name="T57" fmla="*/ 2147483647 h 594"/>
                <a:gd name="T58" fmla="*/ 2147483647 w 504"/>
                <a:gd name="T59" fmla="*/ 2147483647 h 594"/>
                <a:gd name="T60" fmla="*/ 2147483647 w 504"/>
                <a:gd name="T61" fmla="*/ 2147483647 h 594"/>
                <a:gd name="T62" fmla="*/ 2147483647 w 504"/>
                <a:gd name="T63" fmla="*/ 2147483647 h 594"/>
                <a:gd name="T64" fmla="*/ 2147483647 w 504"/>
                <a:gd name="T65" fmla="*/ 2147483647 h 594"/>
                <a:gd name="T66" fmla="*/ 2147483647 w 504"/>
                <a:gd name="T67" fmla="*/ 2147483647 h 594"/>
                <a:gd name="T68" fmla="*/ 2147483647 w 504"/>
                <a:gd name="T69" fmla="*/ 2147483647 h 594"/>
                <a:gd name="T70" fmla="*/ 2147483647 w 504"/>
                <a:gd name="T71" fmla="*/ 2147483647 h 594"/>
                <a:gd name="T72" fmla="*/ 2147483647 w 504"/>
                <a:gd name="T73" fmla="*/ 2147483647 h 594"/>
                <a:gd name="T74" fmla="*/ 2147483647 w 504"/>
                <a:gd name="T75" fmla="*/ 2147483647 h 594"/>
                <a:gd name="T76" fmla="*/ 2147483647 w 504"/>
                <a:gd name="T77" fmla="*/ 2147483647 h 594"/>
                <a:gd name="T78" fmla="*/ 2147483647 w 504"/>
                <a:gd name="T79" fmla="*/ 2147483647 h 594"/>
                <a:gd name="T80" fmla="*/ 2147483647 w 504"/>
                <a:gd name="T81" fmla="*/ 2147483647 h 594"/>
                <a:gd name="T82" fmla="*/ 2147483647 w 504"/>
                <a:gd name="T83" fmla="*/ 2147483647 h 594"/>
                <a:gd name="T84" fmla="*/ 2147483647 w 504"/>
                <a:gd name="T85" fmla="*/ 2147483647 h 594"/>
                <a:gd name="T86" fmla="*/ 2147483647 w 504"/>
                <a:gd name="T87" fmla="*/ 2147483647 h 594"/>
                <a:gd name="T88" fmla="*/ 2147483647 w 504"/>
                <a:gd name="T89" fmla="*/ 2147483647 h 594"/>
                <a:gd name="T90" fmla="*/ 2147483647 w 504"/>
                <a:gd name="T91" fmla="*/ 2147483647 h 594"/>
                <a:gd name="T92" fmla="*/ 2147483647 w 504"/>
                <a:gd name="T93" fmla="*/ 2147483647 h 594"/>
                <a:gd name="T94" fmla="*/ 2147483647 w 504"/>
                <a:gd name="T95" fmla="*/ 2147483647 h 594"/>
                <a:gd name="T96" fmla="*/ 2147483647 w 504"/>
                <a:gd name="T97" fmla="*/ 2147483647 h 594"/>
                <a:gd name="T98" fmla="*/ 2147483647 w 504"/>
                <a:gd name="T99" fmla="*/ 2147483647 h 594"/>
                <a:gd name="T100" fmla="*/ 2147483647 w 504"/>
                <a:gd name="T101" fmla="*/ 2147483647 h 594"/>
                <a:gd name="T102" fmla="*/ 2147483647 w 504"/>
                <a:gd name="T103" fmla="*/ 2147483647 h 594"/>
                <a:gd name="T104" fmla="*/ 2147483647 w 504"/>
                <a:gd name="T105" fmla="*/ 2147483647 h 594"/>
                <a:gd name="T106" fmla="*/ 2147483647 w 504"/>
                <a:gd name="T107" fmla="*/ 2147483647 h 594"/>
                <a:gd name="T108" fmla="*/ 2147483647 w 504"/>
                <a:gd name="T109" fmla="*/ 2147483647 h 594"/>
                <a:gd name="T110" fmla="*/ 2147483647 w 504"/>
                <a:gd name="T111" fmla="*/ 2147483647 h 594"/>
                <a:gd name="T112" fmla="*/ 2147483647 w 504"/>
                <a:gd name="T113" fmla="*/ 2147483647 h 594"/>
                <a:gd name="T114" fmla="*/ 2147483647 w 504"/>
                <a:gd name="T115" fmla="*/ 2147483647 h 594"/>
                <a:gd name="T116" fmla="*/ 2147483647 w 504"/>
                <a:gd name="T117" fmla="*/ 2147483647 h 594"/>
                <a:gd name="T118" fmla="*/ 2147483647 w 504"/>
                <a:gd name="T119" fmla="*/ 2147483647 h 594"/>
                <a:gd name="T120" fmla="*/ 2147483647 w 504"/>
                <a:gd name="T121" fmla="*/ 2147483647 h 594"/>
                <a:gd name="T122" fmla="*/ 2147483647 w 504"/>
                <a:gd name="T123" fmla="*/ 2147483647 h 5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04"/>
                <a:gd name="T187" fmla="*/ 0 h 594"/>
                <a:gd name="T188" fmla="*/ 504 w 504"/>
                <a:gd name="T189" fmla="*/ 594 h 5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04" h="594">
                  <a:moveTo>
                    <a:pt x="0" y="150"/>
                  </a:moveTo>
                  <a:lnTo>
                    <a:pt x="0" y="144"/>
                  </a:lnTo>
                  <a:lnTo>
                    <a:pt x="2" y="138"/>
                  </a:lnTo>
                  <a:lnTo>
                    <a:pt x="2" y="132"/>
                  </a:lnTo>
                  <a:lnTo>
                    <a:pt x="2" y="126"/>
                  </a:lnTo>
                  <a:lnTo>
                    <a:pt x="8" y="120"/>
                  </a:lnTo>
                  <a:lnTo>
                    <a:pt x="14" y="116"/>
                  </a:lnTo>
                  <a:lnTo>
                    <a:pt x="20" y="118"/>
                  </a:lnTo>
                  <a:lnTo>
                    <a:pt x="26" y="116"/>
                  </a:lnTo>
                  <a:lnTo>
                    <a:pt x="26" y="112"/>
                  </a:lnTo>
                  <a:lnTo>
                    <a:pt x="22" y="114"/>
                  </a:lnTo>
                  <a:lnTo>
                    <a:pt x="20" y="108"/>
                  </a:lnTo>
                  <a:lnTo>
                    <a:pt x="20" y="106"/>
                  </a:lnTo>
                  <a:lnTo>
                    <a:pt x="24" y="100"/>
                  </a:lnTo>
                  <a:lnTo>
                    <a:pt x="26" y="94"/>
                  </a:lnTo>
                  <a:lnTo>
                    <a:pt x="28" y="88"/>
                  </a:lnTo>
                  <a:lnTo>
                    <a:pt x="28" y="82"/>
                  </a:lnTo>
                  <a:lnTo>
                    <a:pt x="34" y="84"/>
                  </a:lnTo>
                  <a:lnTo>
                    <a:pt x="40" y="78"/>
                  </a:lnTo>
                  <a:lnTo>
                    <a:pt x="46" y="74"/>
                  </a:lnTo>
                  <a:lnTo>
                    <a:pt x="52" y="68"/>
                  </a:lnTo>
                  <a:lnTo>
                    <a:pt x="50" y="64"/>
                  </a:lnTo>
                  <a:lnTo>
                    <a:pt x="52" y="66"/>
                  </a:lnTo>
                  <a:lnTo>
                    <a:pt x="56" y="70"/>
                  </a:lnTo>
                  <a:lnTo>
                    <a:pt x="56" y="76"/>
                  </a:lnTo>
                  <a:lnTo>
                    <a:pt x="58" y="82"/>
                  </a:lnTo>
                  <a:lnTo>
                    <a:pt x="60" y="88"/>
                  </a:lnTo>
                  <a:lnTo>
                    <a:pt x="60" y="90"/>
                  </a:lnTo>
                  <a:lnTo>
                    <a:pt x="66" y="90"/>
                  </a:lnTo>
                  <a:lnTo>
                    <a:pt x="72" y="88"/>
                  </a:lnTo>
                  <a:lnTo>
                    <a:pt x="78" y="86"/>
                  </a:lnTo>
                  <a:lnTo>
                    <a:pt x="84" y="92"/>
                  </a:lnTo>
                  <a:lnTo>
                    <a:pt x="86" y="92"/>
                  </a:lnTo>
                  <a:lnTo>
                    <a:pt x="90" y="94"/>
                  </a:lnTo>
                  <a:lnTo>
                    <a:pt x="94" y="92"/>
                  </a:lnTo>
                  <a:lnTo>
                    <a:pt x="96" y="88"/>
                  </a:lnTo>
                  <a:lnTo>
                    <a:pt x="90" y="84"/>
                  </a:lnTo>
                  <a:lnTo>
                    <a:pt x="88" y="78"/>
                  </a:lnTo>
                  <a:lnTo>
                    <a:pt x="88" y="74"/>
                  </a:lnTo>
                  <a:lnTo>
                    <a:pt x="90" y="68"/>
                  </a:lnTo>
                  <a:lnTo>
                    <a:pt x="92" y="62"/>
                  </a:lnTo>
                  <a:lnTo>
                    <a:pt x="88" y="56"/>
                  </a:lnTo>
                  <a:lnTo>
                    <a:pt x="86" y="50"/>
                  </a:lnTo>
                  <a:lnTo>
                    <a:pt x="84" y="44"/>
                  </a:lnTo>
                  <a:lnTo>
                    <a:pt x="78" y="40"/>
                  </a:lnTo>
                  <a:lnTo>
                    <a:pt x="74" y="34"/>
                  </a:lnTo>
                  <a:lnTo>
                    <a:pt x="74" y="32"/>
                  </a:lnTo>
                  <a:lnTo>
                    <a:pt x="72" y="26"/>
                  </a:lnTo>
                  <a:lnTo>
                    <a:pt x="70" y="20"/>
                  </a:lnTo>
                  <a:lnTo>
                    <a:pt x="70" y="16"/>
                  </a:lnTo>
                  <a:lnTo>
                    <a:pt x="74" y="10"/>
                  </a:lnTo>
                  <a:lnTo>
                    <a:pt x="74" y="6"/>
                  </a:lnTo>
                  <a:lnTo>
                    <a:pt x="78" y="0"/>
                  </a:lnTo>
                  <a:lnTo>
                    <a:pt x="80" y="0"/>
                  </a:lnTo>
                  <a:lnTo>
                    <a:pt x="84" y="6"/>
                  </a:lnTo>
                  <a:lnTo>
                    <a:pt x="90" y="4"/>
                  </a:lnTo>
                  <a:lnTo>
                    <a:pt x="96" y="4"/>
                  </a:lnTo>
                  <a:lnTo>
                    <a:pt x="102" y="8"/>
                  </a:lnTo>
                  <a:lnTo>
                    <a:pt x="106" y="14"/>
                  </a:lnTo>
                  <a:lnTo>
                    <a:pt x="112" y="20"/>
                  </a:lnTo>
                  <a:lnTo>
                    <a:pt x="118" y="24"/>
                  </a:lnTo>
                  <a:lnTo>
                    <a:pt x="124" y="30"/>
                  </a:lnTo>
                  <a:lnTo>
                    <a:pt x="128" y="36"/>
                  </a:lnTo>
                  <a:lnTo>
                    <a:pt x="132" y="40"/>
                  </a:lnTo>
                  <a:lnTo>
                    <a:pt x="136" y="44"/>
                  </a:lnTo>
                  <a:lnTo>
                    <a:pt x="140" y="48"/>
                  </a:lnTo>
                  <a:lnTo>
                    <a:pt x="140" y="54"/>
                  </a:lnTo>
                  <a:lnTo>
                    <a:pt x="146" y="58"/>
                  </a:lnTo>
                  <a:lnTo>
                    <a:pt x="150" y="52"/>
                  </a:lnTo>
                  <a:lnTo>
                    <a:pt x="148" y="46"/>
                  </a:lnTo>
                  <a:lnTo>
                    <a:pt x="152" y="52"/>
                  </a:lnTo>
                  <a:lnTo>
                    <a:pt x="158" y="54"/>
                  </a:lnTo>
                  <a:lnTo>
                    <a:pt x="160" y="60"/>
                  </a:lnTo>
                  <a:lnTo>
                    <a:pt x="162" y="64"/>
                  </a:lnTo>
                  <a:lnTo>
                    <a:pt x="158" y="70"/>
                  </a:lnTo>
                  <a:lnTo>
                    <a:pt x="158" y="74"/>
                  </a:lnTo>
                  <a:lnTo>
                    <a:pt x="158" y="82"/>
                  </a:lnTo>
                  <a:lnTo>
                    <a:pt x="158" y="86"/>
                  </a:lnTo>
                  <a:lnTo>
                    <a:pt x="160" y="88"/>
                  </a:lnTo>
                  <a:lnTo>
                    <a:pt x="160" y="92"/>
                  </a:lnTo>
                  <a:lnTo>
                    <a:pt x="164" y="98"/>
                  </a:lnTo>
                  <a:lnTo>
                    <a:pt x="170" y="104"/>
                  </a:lnTo>
                  <a:lnTo>
                    <a:pt x="176" y="110"/>
                  </a:lnTo>
                  <a:lnTo>
                    <a:pt x="180" y="116"/>
                  </a:lnTo>
                  <a:lnTo>
                    <a:pt x="186" y="116"/>
                  </a:lnTo>
                  <a:lnTo>
                    <a:pt x="192" y="118"/>
                  </a:lnTo>
                  <a:lnTo>
                    <a:pt x="196" y="116"/>
                  </a:lnTo>
                  <a:lnTo>
                    <a:pt x="202" y="122"/>
                  </a:lnTo>
                  <a:lnTo>
                    <a:pt x="208" y="124"/>
                  </a:lnTo>
                  <a:lnTo>
                    <a:pt x="214" y="128"/>
                  </a:lnTo>
                  <a:lnTo>
                    <a:pt x="218" y="122"/>
                  </a:lnTo>
                  <a:lnTo>
                    <a:pt x="218" y="116"/>
                  </a:lnTo>
                  <a:lnTo>
                    <a:pt x="224" y="112"/>
                  </a:lnTo>
                  <a:lnTo>
                    <a:pt x="226" y="110"/>
                  </a:lnTo>
                  <a:lnTo>
                    <a:pt x="232" y="108"/>
                  </a:lnTo>
                  <a:lnTo>
                    <a:pt x="236" y="108"/>
                  </a:lnTo>
                  <a:lnTo>
                    <a:pt x="242" y="110"/>
                  </a:lnTo>
                  <a:lnTo>
                    <a:pt x="248" y="112"/>
                  </a:lnTo>
                  <a:lnTo>
                    <a:pt x="254" y="118"/>
                  </a:lnTo>
                  <a:lnTo>
                    <a:pt x="260" y="120"/>
                  </a:lnTo>
                  <a:lnTo>
                    <a:pt x="260" y="124"/>
                  </a:lnTo>
                  <a:lnTo>
                    <a:pt x="266" y="126"/>
                  </a:lnTo>
                  <a:lnTo>
                    <a:pt x="268" y="132"/>
                  </a:lnTo>
                  <a:lnTo>
                    <a:pt x="266" y="138"/>
                  </a:lnTo>
                  <a:lnTo>
                    <a:pt x="260" y="136"/>
                  </a:lnTo>
                  <a:lnTo>
                    <a:pt x="260" y="138"/>
                  </a:lnTo>
                  <a:lnTo>
                    <a:pt x="256" y="142"/>
                  </a:lnTo>
                  <a:lnTo>
                    <a:pt x="262" y="144"/>
                  </a:lnTo>
                  <a:lnTo>
                    <a:pt x="268" y="144"/>
                  </a:lnTo>
                  <a:lnTo>
                    <a:pt x="272" y="148"/>
                  </a:lnTo>
                  <a:lnTo>
                    <a:pt x="276" y="154"/>
                  </a:lnTo>
                  <a:lnTo>
                    <a:pt x="278" y="158"/>
                  </a:lnTo>
                  <a:lnTo>
                    <a:pt x="284" y="158"/>
                  </a:lnTo>
                  <a:lnTo>
                    <a:pt x="290" y="160"/>
                  </a:lnTo>
                  <a:lnTo>
                    <a:pt x="292" y="162"/>
                  </a:lnTo>
                  <a:lnTo>
                    <a:pt x="296" y="168"/>
                  </a:lnTo>
                  <a:lnTo>
                    <a:pt x="296" y="174"/>
                  </a:lnTo>
                  <a:lnTo>
                    <a:pt x="290" y="176"/>
                  </a:lnTo>
                  <a:lnTo>
                    <a:pt x="286" y="182"/>
                  </a:lnTo>
                  <a:lnTo>
                    <a:pt x="290" y="184"/>
                  </a:lnTo>
                  <a:lnTo>
                    <a:pt x="286" y="188"/>
                  </a:lnTo>
                  <a:lnTo>
                    <a:pt x="280" y="194"/>
                  </a:lnTo>
                  <a:lnTo>
                    <a:pt x="278" y="200"/>
                  </a:lnTo>
                  <a:lnTo>
                    <a:pt x="272" y="200"/>
                  </a:lnTo>
                  <a:lnTo>
                    <a:pt x="266" y="196"/>
                  </a:lnTo>
                  <a:lnTo>
                    <a:pt x="260" y="196"/>
                  </a:lnTo>
                  <a:lnTo>
                    <a:pt x="254" y="194"/>
                  </a:lnTo>
                  <a:lnTo>
                    <a:pt x="248" y="196"/>
                  </a:lnTo>
                  <a:lnTo>
                    <a:pt x="242" y="194"/>
                  </a:lnTo>
                  <a:lnTo>
                    <a:pt x="242" y="196"/>
                  </a:lnTo>
                  <a:lnTo>
                    <a:pt x="244" y="200"/>
                  </a:lnTo>
                  <a:lnTo>
                    <a:pt x="248" y="206"/>
                  </a:lnTo>
                  <a:lnTo>
                    <a:pt x="248" y="212"/>
                  </a:lnTo>
                  <a:lnTo>
                    <a:pt x="248" y="214"/>
                  </a:lnTo>
                  <a:lnTo>
                    <a:pt x="242" y="216"/>
                  </a:lnTo>
                  <a:lnTo>
                    <a:pt x="238" y="222"/>
                  </a:lnTo>
                  <a:lnTo>
                    <a:pt x="244" y="226"/>
                  </a:lnTo>
                  <a:lnTo>
                    <a:pt x="250" y="226"/>
                  </a:lnTo>
                  <a:lnTo>
                    <a:pt x="256" y="230"/>
                  </a:lnTo>
                  <a:lnTo>
                    <a:pt x="260" y="236"/>
                  </a:lnTo>
                  <a:lnTo>
                    <a:pt x="264" y="236"/>
                  </a:lnTo>
                  <a:lnTo>
                    <a:pt x="270" y="238"/>
                  </a:lnTo>
                  <a:lnTo>
                    <a:pt x="276" y="244"/>
                  </a:lnTo>
                  <a:lnTo>
                    <a:pt x="280" y="246"/>
                  </a:lnTo>
                  <a:lnTo>
                    <a:pt x="286" y="252"/>
                  </a:lnTo>
                  <a:lnTo>
                    <a:pt x="292" y="256"/>
                  </a:lnTo>
                  <a:lnTo>
                    <a:pt x="298" y="258"/>
                  </a:lnTo>
                  <a:lnTo>
                    <a:pt x="304" y="258"/>
                  </a:lnTo>
                  <a:lnTo>
                    <a:pt x="310" y="260"/>
                  </a:lnTo>
                  <a:lnTo>
                    <a:pt x="314" y="262"/>
                  </a:lnTo>
                  <a:lnTo>
                    <a:pt x="320" y="264"/>
                  </a:lnTo>
                  <a:lnTo>
                    <a:pt x="324" y="268"/>
                  </a:lnTo>
                  <a:lnTo>
                    <a:pt x="320" y="274"/>
                  </a:lnTo>
                  <a:lnTo>
                    <a:pt x="320" y="280"/>
                  </a:lnTo>
                  <a:lnTo>
                    <a:pt x="324" y="286"/>
                  </a:lnTo>
                  <a:lnTo>
                    <a:pt x="326" y="286"/>
                  </a:lnTo>
                  <a:lnTo>
                    <a:pt x="328" y="292"/>
                  </a:lnTo>
                  <a:lnTo>
                    <a:pt x="334" y="294"/>
                  </a:lnTo>
                  <a:lnTo>
                    <a:pt x="340" y="300"/>
                  </a:lnTo>
                  <a:lnTo>
                    <a:pt x="340" y="298"/>
                  </a:lnTo>
                  <a:lnTo>
                    <a:pt x="346" y="302"/>
                  </a:lnTo>
                  <a:lnTo>
                    <a:pt x="350" y="308"/>
                  </a:lnTo>
                  <a:lnTo>
                    <a:pt x="356" y="312"/>
                  </a:lnTo>
                  <a:lnTo>
                    <a:pt x="356" y="318"/>
                  </a:lnTo>
                  <a:lnTo>
                    <a:pt x="358" y="324"/>
                  </a:lnTo>
                  <a:lnTo>
                    <a:pt x="362" y="328"/>
                  </a:lnTo>
                  <a:lnTo>
                    <a:pt x="366" y="334"/>
                  </a:lnTo>
                  <a:lnTo>
                    <a:pt x="368" y="336"/>
                  </a:lnTo>
                  <a:lnTo>
                    <a:pt x="374" y="340"/>
                  </a:lnTo>
                  <a:lnTo>
                    <a:pt x="378" y="346"/>
                  </a:lnTo>
                  <a:lnTo>
                    <a:pt x="384" y="352"/>
                  </a:lnTo>
                  <a:lnTo>
                    <a:pt x="390" y="358"/>
                  </a:lnTo>
                  <a:lnTo>
                    <a:pt x="396" y="362"/>
                  </a:lnTo>
                  <a:lnTo>
                    <a:pt x="398" y="364"/>
                  </a:lnTo>
                  <a:lnTo>
                    <a:pt x="404" y="362"/>
                  </a:lnTo>
                  <a:lnTo>
                    <a:pt x="406" y="368"/>
                  </a:lnTo>
                  <a:lnTo>
                    <a:pt x="410" y="374"/>
                  </a:lnTo>
                  <a:lnTo>
                    <a:pt x="412" y="380"/>
                  </a:lnTo>
                  <a:lnTo>
                    <a:pt x="414" y="382"/>
                  </a:lnTo>
                  <a:lnTo>
                    <a:pt x="420" y="384"/>
                  </a:lnTo>
                  <a:lnTo>
                    <a:pt x="420" y="386"/>
                  </a:lnTo>
                  <a:lnTo>
                    <a:pt x="420" y="388"/>
                  </a:lnTo>
                  <a:lnTo>
                    <a:pt x="422" y="390"/>
                  </a:lnTo>
                  <a:lnTo>
                    <a:pt x="422" y="394"/>
                  </a:lnTo>
                  <a:lnTo>
                    <a:pt x="422" y="400"/>
                  </a:lnTo>
                  <a:lnTo>
                    <a:pt x="424" y="406"/>
                  </a:lnTo>
                  <a:lnTo>
                    <a:pt x="426" y="406"/>
                  </a:lnTo>
                  <a:lnTo>
                    <a:pt x="430" y="412"/>
                  </a:lnTo>
                  <a:lnTo>
                    <a:pt x="434" y="418"/>
                  </a:lnTo>
                  <a:lnTo>
                    <a:pt x="438" y="420"/>
                  </a:lnTo>
                  <a:lnTo>
                    <a:pt x="440" y="418"/>
                  </a:lnTo>
                  <a:lnTo>
                    <a:pt x="446" y="418"/>
                  </a:lnTo>
                  <a:lnTo>
                    <a:pt x="448" y="424"/>
                  </a:lnTo>
                  <a:lnTo>
                    <a:pt x="452" y="430"/>
                  </a:lnTo>
                  <a:lnTo>
                    <a:pt x="454" y="430"/>
                  </a:lnTo>
                  <a:lnTo>
                    <a:pt x="456" y="430"/>
                  </a:lnTo>
                  <a:lnTo>
                    <a:pt x="458" y="430"/>
                  </a:lnTo>
                  <a:lnTo>
                    <a:pt x="464" y="434"/>
                  </a:lnTo>
                  <a:lnTo>
                    <a:pt x="464" y="436"/>
                  </a:lnTo>
                  <a:lnTo>
                    <a:pt x="466" y="440"/>
                  </a:lnTo>
                  <a:lnTo>
                    <a:pt x="472" y="442"/>
                  </a:lnTo>
                  <a:lnTo>
                    <a:pt x="478" y="446"/>
                  </a:lnTo>
                  <a:lnTo>
                    <a:pt x="484" y="448"/>
                  </a:lnTo>
                  <a:lnTo>
                    <a:pt x="484" y="450"/>
                  </a:lnTo>
                  <a:lnTo>
                    <a:pt x="480" y="456"/>
                  </a:lnTo>
                  <a:lnTo>
                    <a:pt x="474" y="460"/>
                  </a:lnTo>
                  <a:lnTo>
                    <a:pt x="468" y="466"/>
                  </a:lnTo>
                  <a:lnTo>
                    <a:pt x="474" y="472"/>
                  </a:lnTo>
                  <a:lnTo>
                    <a:pt x="478" y="476"/>
                  </a:lnTo>
                  <a:lnTo>
                    <a:pt x="482" y="482"/>
                  </a:lnTo>
                  <a:lnTo>
                    <a:pt x="488" y="484"/>
                  </a:lnTo>
                  <a:lnTo>
                    <a:pt x="492" y="490"/>
                  </a:lnTo>
                  <a:lnTo>
                    <a:pt x="496" y="492"/>
                  </a:lnTo>
                  <a:lnTo>
                    <a:pt x="502" y="498"/>
                  </a:lnTo>
                  <a:lnTo>
                    <a:pt x="504" y="504"/>
                  </a:lnTo>
                  <a:lnTo>
                    <a:pt x="502" y="504"/>
                  </a:lnTo>
                  <a:lnTo>
                    <a:pt x="502" y="510"/>
                  </a:lnTo>
                  <a:lnTo>
                    <a:pt x="498" y="516"/>
                  </a:lnTo>
                  <a:lnTo>
                    <a:pt x="492" y="520"/>
                  </a:lnTo>
                  <a:lnTo>
                    <a:pt x="494" y="524"/>
                  </a:lnTo>
                  <a:lnTo>
                    <a:pt x="500" y="528"/>
                  </a:lnTo>
                  <a:lnTo>
                    <a:pt x="496" y="534"/>
                  </a:lnTo>
                  <a:lnTo>
                    <a:pt x="500" y="540"/>
                  </a:lnTo>
                  <a:lnTo>
                    <a:pt x="496" y="544"/>
                  </a:lnTo>
                  <a:lnTo>
                    <a:pt x="494" y="550"/>
                  </a:lnTo>
                  <a:lnTo>
                    <a:pt x="488" y="550"/>
                  </a:lnTo>
                  <a:lnTo>
                    <a:pt x="484" y="550"/>
                  </a:lnTo>
                  <a:lnTo>
                    <a:pt x="480" y="556"/>
                  </a:lnTo>
                  <a:lnTo>
                    <a:pt x="474" y="560"/>
                  </a:lnTo>
                  <a:lnTo>
                    <a:pt x="468" y="564"/>
                  </a:lnTo>
                  <a:lnTo>
                    <a:pt x="462" y="566"/>
                  </a:lnTo>
                  <a:lnTo>
                    <a:pt x="456" y="564"/>
                  </a:lnTo>
                  <a:lnTo>
                    <a:pt x="452" y="558"/>
                  </a:lnTo>
                  <a:lnTo>
                    <a:pt x="446" y="556"/>
                  </a:lnTo>
                  <a:lnTo>
                    <a:pt x="444" y="554"/>
                  </a:lnTo>
                  <a:lnTo>
                    <a:pt x="440" y="548"/>
                  </a:lnTo>
                  <a:lnTo>
                    <a:pt x="438" y="548"/>
                  </a:lnTo>
                  <a:lnTo>
                    <a:pt x="436" y="548"/>
                  </a:lnTo>
                  <a:lnTo>
                    <a:pt x="436" y="550"/>
                  </a:lnTo>
                  <a:lnTo>
                    <a:pt x="434" y="556"/>
                  </a:lnTo>
                  <a:lnTo>
                    <a:pt x="428" y="558"/>
                  </a:lnTo>
                  <a:lnTo>
                    <a:pt x="422" y="556"/>
                  </a:lnTo>
                  <a:lnTo>
                    <a:pt x="420" y="562"/>
                  </a:lnTo>
                  <a:lnTo>
                    <a:pt x="414" y="562"/>
                  </a:lnTo>
                  <a:lnTo>
                    <a:pt x="408" y="566"/>
                  </a:lnTo>
                  <a:lnTo>
                    <a:pt x="412" y="572"/>
                  </a:lnTo>
                  <a:lnTo>
                    <a:pt x="416" y="578"/>
                  </a:lnTo>
                  <a:lnTo>
                    <a:pt x="420" y="584"/>
                  </a:lnTo>
                  <a:lnTo>
                    <a:pt x="418" y="588"/>
                  </a:lnTo>
                  <a:lnTo>
                    <a:pt x="414" y="594"/>
                  </a:lnTo>
                  <a:lnTo>
                    <a:pt x="410" y="594"/>
                  </a:lnTo>
                  <a:lnTo>
                    <a:pt x="408" y="594"/>
                  </a:lnTo>
                  <a:lnTo>
                    <a:pt x="406" y="594"/>
                  </a:lnTo>
                  <a:lnTo>
                    <a:pt x="402" y="590"/>
                  </a:lnTo>
                  <a:lnTo>
                    <a:pt x="400" y="590"/>
                  </a:lnTo>
                  <a:lnTo>
                    <a:pt x="398" y="584"/>
                  </a:lnTo>
                  <a:lnTo>
                    <a:pt x="396" y="582"/>
                  </a:lnTo>
                  <a:lnTo>
                    <a:pt x="394" y="582"/>
                  </a:lnTo>
                  <a:lnTo>
                    <a:pt x="390" y="580"/>
                  </a:lnTo>
                  <a:lnTo>
                    <a:pt x="384" y="578"/>
                  </a:lnTo>
                  <a:lnTo>
                    <a:pt x="378" y="580"/>
                  </a:lnTo>
                  <a:lnTo>
                    <a:pt x="372" y="582"/>
                  </a:lnTo>
                  <a:lnTo>
                    <a:pt x="366" y="576"/>
                  </a:lnTo>
                  <a:lnTo>
                    <a:pt x="362" y="570"/>
                  </a:lnTo>
                  <a:lnTo>
                    <a:pt x="360" y="564"/>
                  </a:lnTo>
                  <a:lnTo>
                    <a:pt x="364" y="564"/>
                  </a:lnTo>
                  <a:lnTo>
                    <a:pt x="370" y="560"/>
                  </a:lnTo>
                  <a:lnTo>
                    <a:pt x="376" y="554"/>
                  </a:lnTo>
                  <a:lnTo>
                    <a:pt x="378" y="548"/>
                  </a:lnTo>
                  <a:lnTo>
                    <a:pt x="376" y="542"/>
                  </a:lnTo>
                  <a:lnTo>
                    <a:pt x="376" y="536"/>
                  </a:lnTo>
                  <a:lnTo>
                    <a:pt x="376" y="532"/>
                  </a:lnTo>
                  <a:lnTo>
                    <a:pt x="378" y="526"/>
                  </a:lnTo>
                  <a:lnTo>
                    <a:pt x="378" y="520"/>
                  </a:lnTo>
                  <a:lnTo>
                    <a:pt x="376" y="516"/>
                  </a:lnTo>
                  <a:lnTo>
                    <a:pt x="370" y="510"/>
                  </a:lnTo>
                  <a:lnTo>
                    <a:pt x="370" y="508"/>
                  </a:lnTo>
                  <a:lnTo>
                    <a:pt x="374" y="502"/>
                  </a:lnTo>
                  <a:lnTo>
                    <a:pt x="376" y="496"/>
                  </a:lnTo>
                  <a:lnTo>
                    <a:pt x="370" y="498"/>
                  </a:lnTo>
                  <a:lnTo>
                    <a:pt x="370" y="492"/>
                  </a:lnTo>
                  <a:lnTo>
                    <a:pt x="376" y="490"/>
                  </a:lnTo>
                  <a:lnTo>
                    <a:pt x="374" y="484"/>
                  </a:lnTo>
                  <a:lnTo>
                    <a:pt x="376" y="478"/>
                  </a:lnTo>
                  <a:lnTo>
                    <a:pt x="374" y="472"/>
                  </a:lnTo>
                  <a:lnTo>
                    <a:pt x="368" y="468"/>
                  </a:lnTo>
                  <a:lnTo>
                    <a:pt x="366" y="468"/>
                  </a:lnTo>
                  <a:lnTo>
                    <a:pt x="360" y="462"/>
                  </a:lnTo>
                  <a:lnTo>
                    <a:pt x="356" y="456"/>
                  </a:lnTo>
                  <a:lnTo>
                    <a:pt x="362" y="450"/>
                  </a:lnTo>
                  <a:lnTo>
                    <a:pt x="356" y="448"/>
                  </a:lnTo>
                  <a:lnTo>
                    <a:pt x="350" y="446"/>
                  </a:lnTo>
                  <a:lnTo>
                    <a:pt x="344" y="446"/>
                  </a:lnTo>
                  <a:lnTo>
                    <a:pt x="338" y="444"/>
                  </a:lnTo>
                  <a:lnTo>
                    <a:pt x="336" y="438"/>
                  </a:lnTo>
                  <a:lnTo>
                    <a:pt x="332" y="432"/>
                  </a:lnTo>
                  <a:lnTo>
                    <a:pt x="332" y="430"/>
                  </a:lnTo>
                  <a:lnTo>
                    <a:pt x="330" y="430"/>
                  </a:lnTo>
                  <a:lnTo>
                    <a:pt x="324" y="422"/>
                  </a:lnTo>
                  <a:lnTo>
                    <a:pt x="318" y="416"/>
                  </a:lnTo>
                  <a:lnTo>
                    <a:pt x="314" y="410"/>
                  </a:lnTo>
                  <a:lnTo>
                    <a:pt x="314" y="404"/>
                  </a:lnTo>
                  <a:lnTo>
                    <a:pt x="314" y="398"/>
                  </a:lnTo>
                  <a:lnTo>
                    <a:pt x="314" y="392"/>
                  </a:lnTo>
                  <a:lnTo>
                    <a:pt x="312" y="384"/>
                  </a:lnTo>
                  <a:lnTo>
                    <a:pt x="310" y="378"/>
                  </a:lnTo>
                  <a:lnTo>
                    <a:pt x="314" y="370"/>
                  </a:lnTo>
                  <a:lnTo>
                    <a:pt x="314" y="368"/>
                  </a:lnTo>
                  <a:lnTo>
                    <a:pt x="312" y="360"/>
                  </a:lnTo>
                  <a:lnTo>
                    <a:pt x="310" y="352"/>
                  </a:lnTo>
                  <a:lnTo>
                    <a:pt x="304" y="346"/>
                  </a:lnTo>
                  <a:lnTo>
                    <a:pt x="298" y="342"/>
                  </a:lnTo>
                  <a:lnTo>
                    <a:pt x="292" y="338"/>
                  </a:lnTo>
                  <a:lnTo>
                    <a:pt x="290" y="338"/>
                  </a:lnTo>
                  <a:lnTo>
                    <a:pt x="286" y="332"/>
                  </a:lnTo>
                  <a:lnTo>
                    <a:pt x="282" y="326"/>
                  </a:lnTo>
                  <a:lnTo>
                    <a:pt x="276" y="322"/>
                  </a:lnTo>
                  <a:lnTo>
                    <a:pt x="272" y="316"/>
                  </a:lnTo>
                  <a:lnTo>
                    <a:pt x="268" y="312"/>
                  </a:lnTo>
                  <a:lnTo>
                    <a:pt x="266" y="308"/>
                  </a:lnTo>
                  <a:lnTo>
                    <a:pt x="262" y="302"/>
                  </a:lnTo>
                  <a:lnTo>
                    <a:pt x="260" y="298"/>
                  </a:lnTo>
                  <a:lnTo>
                    <a:pt x="254" y="292"/>
                  </a:lnTo>
                  <a:lnTo>
                    <a:pt x="248" y="290"/>
                  </a:lnTo>
                  <a:lnTo>
                    <a:pt x="242" y="290"/>
                  </a:lnTo>
                  <a:lnTo>
                    <a:pt x="238" y="290"/>
                  </a:lnTo>
                  <a:lnTo>
                    <a:pt x="232" y="286"/>
                  </a:lnTo>
                  <a:lnTo>
                    <a:pt x="226" y="284"/>
                  </a:lnTo>
                  <a:lnTo>
                    <a:pt x="220" y="282"/>
                  </a:lnTo>
                  <a:lnTo>
                    <a:pt x="214" y="282"/>
                  </a:lnTo>
                  <a:lnTo>
                    <a:pt x="208" y="286"/>
                  </a:lnTo>
                  <a:lnTo>
                    <a:pt x="210" y="292"/>
                  </a:lnTo>
                  <a:lnTo>
                    <a:pt x="204" y="294"/>
                  </a:lnTo>
                  <a:lnTo>
                    <a:pt x="204" y="300"/>
                  </a:lnTo>
                  <a:lnTo>
                    <a:pt x="200" y="302"/>
                  </a:lnTo>
                  <a:lnTo>
                    <a:pt x="200" y="304"/>
                  </a:lnTo>
                  <a:lnTo>
                    <a:pt x="200" y="310"/>
                  </a:lnTo>
                  <a:lnTo>
                    <a:pt x="200" y="312"/>
                  </a:lnTo>
                  <a:lnTo>
                    <a:pt x="194" y="312"/>
                  </a:lnTo>
                  <a:lnTo>
                    <a:pt x="188" y="314"/>
                  </a:lnTo>
                  <a:lnTo>
                    <a:pt x="182" y="320"/>
                  </a:lnTo>
                  <a:lnTo>
                    <a:pt x="180" y="320"/>
                  </a:lnTo>
                  <a:lnTo>
                    <a:pt x="174" y="320"/>
                  </a:lnTo>
                  <a:lnTo>
                    <a:pt x="170" y="314"/>
                  </a:lnTo>
                  <a:lnTo>
                    <a:pt x="166" y="314"/>
                  </a:lnTo>
                  <a:lnTo>
                    <a:pt x="158" y="310"/>
                  </a:lnTo>
                  <a:lnTo>
                    <a:pt x="154" y="308"/>
                  </a:lnTo>
                  <a:lnTo>
                    <a:pt x="148" y="302"/>
                  </a:lnTo>
                  <a:lnTo>
                    <a:pt x="142" y="298"/>
                  </a:lnTo>
                  <a:lnTo>
                    <a:pt x="138" y="298"/>
                  </a:lnTo>
                  <a:lnTo>
                    <a:pt x="134" y="304"/>
                  </a:lnTo>
                  <a:lnTo>
                    <a:pt x="128" y="310"/>
                  </a:lnTo>
                  <a:lnTo>
                    <a:pt x="122" y="308"/>
                  </a:lnTo>
                  <a:lnTo>
                    <a:pt x="122" y="314"/>
                  </a:lnTo>
                  <a:lnTo>
                    <a:pt x="118" y="320"/>
                  </a:lnTo>
                  <a:lnTo>
                    <a:pt x="112" y="324"/>
                  </a:lnTo>
                  <a:lnTo>
                    <a:pt x="110" y="328"/>
                  </a:lnTo>
                  <a:lnTo>
                    <a:pt x="104" y="332"/>
                  </a:lnTo>
                  <a:lnTo>
                    <a:pt x="104" y="334"/>
                  </a:lnTo>
                  <a:lnTo>
                    <a:pt x="98" y="338"/>
                  </a:lnTo>
                  <a:lnTo>
                    <a:pt x="94" y="344"/>
                  </a:lnTo>
                  <a:lnTo>
                    <a:pt x="92" y="346"/>
                  </a:lnTo>
                  <a:lnTo>
                    <a:pt x="90" y="348"/>
                  </a:lnTo>
                  <a:lnTo>
                    <a:pt x="90" y="350"/>
                  </a:lnTo>
                  <a:lnTo>
                    <a:pt x="86" y="346"/>
                  </a:lnTo>
                  <a:lnTo>
                    <a:pt x="82" y="344"/>
                  </a:lnTo>
                  <a:lnTo>
                    <a:pt x="76" y="342"/>
                  </a:lnTo>
                  <a:lnTo>
                    <a:pt x="74" y="340"/>
                  </a:lnTo>
                  <a:lnTo>
                    <a:pt x="78" y="336"/>
                  </a:lnTo>
                  <a:lnTo>
                    <a:pt x="78" y="328"/>
                  </a:lnTo>
                  <a:lnTo>
                    <a:pt x="80" y="324"/>
                  </a:lnTo>
                  <a:lnTo>
                    <a:pt x="82" y="318"/>
                  </a:lnTo>
                  <a:lnTo>
                    <a:pt x="84" y="312"/>
                  </a:lnTo>
                  <a:lnTo>
                    <a:pt x="86" y="306"/>
                  </a:lnTo>
                  <a:lnTo>
                    <a:pt x="86" y="300"/>
                  </a:lnTo>
                  <a:lnTo>
                    <a:pt x="82" y="294"/>
                  </a:lnTo>
                  <a:lnTo>
                    <a:pt x="84" y="288"/>
                  </a:lnTo>
                  <a:lnTo>
                    <a:pt x="78" y="286"/>
                  </a:lnTo>
                  <a:lnTo>
                    <a:pt x="76" y="284"/>
                  </a:lnTo>
                  <a:lnTo>
                    <a:pt x="78" y="278"/>
                  </a:lnTo>
                  <a:lnTo>
                    <a:pt x="82" y="272"/>
                  </a:lnTo>
                  <a:lnTo>
                    <a:pt x="86" y="266"/>
                  </a:lnTo>
                  <a:lnTo>
                    <a:pt x="84" y="260"/>
                  </a:lnTo>
                  <a:lnTo>
                    <a:pt x="84" y="254"/>
                  </a:lnTo>
                  <a:lnTo>
                    <a:pt x="84" y="248"/>
                  </a:lnTo>
                  <a:lnTo>
                    <a:pt x="86" y="242"/>
                  </a:lnTo>
                  <a:lnTo>
                    <a:pt x="84" y="236"/>
                  </a:lnTo>
                  <a:lnTo>
                    <a:pt x="80" y="230"/>
                  </a:lnTo>
                  <a:lnTo>
                    <a:pt x="80" y="226"/>
                  </a:lnTo>
                  <a:lnTo>
                    <a:pt x="78" y="220"/>
                  </a:lnTo>
                  <a:lnTo>
                    <a:pt x="76" y="214"/>
                  </a:lnTo>
                  <a:lnTo>
                    <a:pt x="78" y="208"/>
                  </a:lnTo>
                  <a:lnTo>
                    <a:pt x="74" y="202"/>
                  </a:lnTo>
                  <a:lnTo>
                    <a:pt x="68" y="202"/>
                  </a:lnTo>
                  <a:lnTo>
                    <a:pt x="64" y="200"/>
                  </a:lnTo>
                  <a:lnTo>
                    <a:pt x="60" y="200"/>
                  </a:lnTo>
                  <a:lnTo>
                    <a:pt x="52" y="204"/>
                  </a:lnTo>
                  <a:lnTo>
                    <a:pt x="48" y="210"/>
                  </a:lnTo>
                  <a:lnTo>
                    <a:pt x="44" y="206"/>
                  </a:lnTo>
                  <a:lnTo>
                    <a:pt x="38" y="208"/>
                  </a:lnTo>
                  <a:lnTo>
                    <a:pt x="36" y="208"/>
                  </a:lnTo>
                  <a:lnTo>
                    <a:pt x="30" y="204"/>
                  </a:lnTo>
                  <a:lnTo>
                    <a:pt x="26" y="198"/>
                  </a:lnTo>
                  <a:lnTo>
                    <a:pt x="24" y="192"/>
                  </a:lnTo>
                  <a:lnTo>
                    <a:pt x="24" y="190"/>
                  </a:lnTo>
                  <a:lnTo>
                    <a:pt x="26" y="184"/>
                  </a:lnTo>
                  <a:lnTo>
                    <a:pt x="30" y="180"/>
                  </a:lnTo>
                  <a:lnTo>
                    <a:pt x="30" y="174"/>
                  </a:lnTo>
                  <a:lnTo>
                    <a:pt x="30" y="168"/>
                  </a:lnTo>
                  <a:lnTo>
                    <a:pt x="30" y="162"/>
                  </a:lnTo>
                  <a:lnTo>
                    <a:pt x="28" y="162"/>
                  </a:lnTo>
                  <a:lnTo>
                    <a:pt x="22" y="160"/>
                  </a:lnTo>
                  <a:lnTo>
                    <a:pt x="18" y="154"/>
                  </a:lnTo>
                  <a:lnTo>
                    <a:pt x="16" y="148"/>
                  </a:lnTo>
                  <a:lnTo>
                    <a:pt x="10" y="146"/>
                  </a:lnTo>
                  <a:lnTo>
                    <a:pt x="6" y="152"/>
                  </a:lnTo>
                  <a:lnTo>
                    <a:pt x="0" y="154"/>
                  </a:lnTo>
                  <a:lnTo>
                    <a:pt x="0" y="1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4" name="Freeform 131"/>
            <p:cNvSpPr>
              <a:spLocks/>
            </p:cNvSpPr>
            <p:nvPr/>
          </p:nvSpPr>
          <p:spPr bwMode="auto">
            <a:xfrm>
              <a:off x="7304088" y="3279775"/>
              <a:ext cx="63500" cy="82550"/>
            </a:xfrm>
            <a:custGeom>
              <a:avLst/>
              <a:gdLst>
                <a:gd name="T0" fmla="*/ 2147483647 w 154"/>
                <a:gd name="T1" fmla="*/ 2147483647 h 202"/>
                <a:gd name="T2" fmla="*/ 2147483647 w 154"/>
                <a:gd name="T3" fmla="*/ 2147483647 h 202"/>
                <a:gd name="T4" fmla="*/ 2147483647 w 154"/>
                <a:gd name="T5" fmla="*/ 2147483647 h 202"/>
                <a:gd name="T6" fmla="*/ 2147483647 w 154"/>
                <a:gd name="T7" fmla="*/ 2147483647 h 202"/>
                <a:gd name="T8" fmla="*/ 2147483647 w 154"/>
                <a:gd name="T9" fmla="*/ 2147483647 h 202"/>
                <a:gd name="T10" fmla="*/ 2147483647 w 154"/>
                <a:gd name="T11" fmla="*/ 2147483647 h 202"/>
                <a:gd name="T12" fmla="*/ 2147483647 w 154"/>
                <a:gd name="T13" fmla="*/ 2147483647 h 202"/>
                <a:gd name="T14" fmla="*/ 2147483647 w 154"/>
                <a:gd name="T15" fmla="*/ 2147483647 h 202"/>
                <a:gd name="T16" fmla="*/ 2147483647 w 154"/>
                <a:gd name="T17" fmla="*/ 2147483647 h 202"/>
                <a:gd name="T18" fmla="*/ 2147483647 w 154"/>
                <a:gd name="T19" fmla="*/ 2147483647 h 202"/>
                <a:gd name="T20" fmla="*/ 2147483647 w 154"/>
                <a:gd name="T21" fmla="*/ 2147483647 h 202"/>
                <a:gd name="T22" fmla="*/ 2147483647 w 154"/>
                <a:gd name="T23" fmla="*/ 2147483647 h 202"/>
                <a:gd name="T24" fmla="*/ 2147483647 w 154"/>
                <a:gd name="T25" fmla="*/ 2147483647 h 202"/>
                <a:gd name="T26" fmla="*/ 2147483647 w 154"/>
                <a:gd name="T27" fmla="*/ 2147483647 h 202"/>
                <a:gd name="T28" fmla="*/ 2147483647 w 154"/>
                <a:gd name="T29" fmla="*/ 2147483647 h 202"/>
                <a:gd name="T30" fmla="*/ 2147483647 w 154"/>
                <a:gd name="T31" fmla="*/ 2147483647 h 202"/>
                <a:gd name="T32" fmla="*/ 2147483647 w 154"/>
                <a:gd name="T33" fmla="*/ 2147483647 h 202"/>
                <a:gd name="T34" fmla="*/ 2147483647 w 154"/>
                <a:gd name="T35" fmla="*/ 2147483647 h 202"/>
                <a:gd name="T36" fmla="*/ 2147483647 w 154"/>
                <a:gd name="T37" fmla="*/ 2147483647 h 202"/>
                <a:gd name="T38" fmla="*/ 2147483647 w 154"/>
                <a:gd name="T39" fmla="*/ 2147483647 h 202"/>
                <a:gd name="T40" fmla="*/ 2147483647 w 154"/>
                <a:gd name="T41" fmla="*/ 2147483647 h 202"/>
                <a:gd name="T42" fmla="*/ 2147483647 w 154"/>
                <a:gd name="T43" fmla="*/ 2147483647 h 202"/>
                <a:gd name="T44" fmla="*/ 2147483647 w 154"/>
                <a:gd name="T45" fmla="*/ 2147483647 h 202"/>
                <a:gd name="T46" fmla="*/ 2147483647 w 154"/>
                <a:gd name="T47" fmla="*/ 2147483647 h 202"/>
                <a:gd name="T48" fmla="*/ 2147483647 w 154"/>
                <a:gd name="T49" fmla="*/ 2147483647 h 202"/>
                <a:gd name="T50" fmla="*/ 2147483647 w 154"/>
                <a:gd name="T51" fmla="*/ 2147483647 h 202"/>
                <a:gd name="T52" fmla="*/ 2147483647 w 154"/>
                <a:gd name="T53" fmla="*/ 2147483647 h 202"/>
                <a:gd name="T54" fmla="*/ 2147483647 w 154"/>
                <a:gd name="T55" fmla="*/ 2147483647 h 202"/>
                <a:gd name="T56" fmla="*/ 2147483647 w 154"/>
                <a:gd name="T57" fmla="*/ 2147483647 h 202"/>
                <a:gd name="T58" fmla="*/ 2147483647 w 154"/>
                <a:gd name="T59" fmla="*/ 2147483647 h 202"/>
                <a:gd name="T60" fmla="*/ 2147483647 w 154"/>
                <a:gd name="T61" fmla="*/ 2147483647 h 202"/>
                <a:gd name="T62" fmla="*/ 2147483647 w 154"/>
                <a:gd name="T63" fmla="*/ 2147483647 h 202"/>
                <a:gd name="T64" fmla="*/ 2147483647 w 154"/>
                <a:gd name="T65" fmla="*/ 2147483647 h 202"/>
                <a:gd name="T66" fmla="*/ 2147483647 w 154"/>
                <a:gd name="T67" fmla="*/ 2147483647 h 202"/>
                <a:gd name="T68" fmla="*/ 2147483647 w 154"/>
                <a:gd name="T69" fmla="*/ 2147483647 h 202"/>
                <a:gd name="T70" fmla="*/ 2147483647 w 154"/>
                <a:gd name="T71" fmla="*/ 2147483647 h 202"/>
                <a:gd name="T72" fmla="*/ 2147483647 w 154"/>
                <a:gd name="T73" fmla="*/ 2147483647 h 202"/>
                <a:gd name="T74" fmla="*/ 2147483647 w 154"/>
                <a:gd name="T75" fmla="*/ 2147483647 h 202"/>
                <a:gd name="T76" fmla="*/ 2147483647 w 154"/>
                <a:gd name="T77" fmla="*/ 2147483647 h 202"/>
                <a:gd name="T78" fmla="*/ 2147483647 w 154"/>
                <a:gd name="T79" fmla="*/ 2147483647 h 202"/>
                <a:gd name="T80" fmla="*/ 2147483647 w 154"/>
                <a:gd name="T81" fmla="*/ 2147483647 h 202"/>
                <a:gd name="T82" fmla="*/ 2147483647 w 154"/>
                <a:gd name="T83" fmla="*/ 2147483647 h 202"/>
                <a:gd name="T84" fmla="*/ 2147483647 w 154"/>
                <a:gd name="T85" fmla="*/ 2147483647 h 202"/>
                <a:gd name="T86" fmla="*/ 2147483647 w 154"/>
                <a:gd name="T87" fmla="*/ 2147483647 h 202"/>
                <a:gd name="T88" fmla="*/ 2147483647 w 154"/>
                <a:gd name="T89" fmla="*/ 2147483647 h 202"/>
                <a:gd name="T90" fmla="*/ 2147483647 w 154"/>
                <a:gd name="T91" fmla="*/ 2147483647 h 202"/>
                <a:gd name="T92" fmla="*/ 2147483647 w 154"/>
                <a:gd name="T93" fmla="*/ 0 h 202"/>
                <a:gd name="T94" fmla="*/ 2147483647 w 154"/>
                <a:gd name="T95" fmla="*/ 2147483647 h 202"/>
                <a:gd name="T96" fmla="*/ 2147483647 w 154"/>
                <a:gd name="T97" fmla="*/ 2147483647 h 202"/>
                <a:gd name="T98" fmla="*/ 2147483647 w 154"/>
                <a:gd name="T99" fmla="*/ 2147483647 h 202"/>
                <a:gd name="T100" fmla="*/ 2147483647 w 154"/>
                <a:gd name="T101" fmla="*/ 2147483647 h 202"/>
                <a:gd name="T102" fmla="*/ 2147483647 w 154"/>
                <a:gd name="T103" fmla="*/ 2147483647 h 202"/>
                <a:gd name="T104" fmla="*/ 2147483647 w 154"/>
                <a:gd name="T105" fmla="*/ 2147483647 h 2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54"/>
                <a:gd name="T160" fmla="*/ 0 h 202"/>
                <a:gd name="T161" fmla="*/ 154 w 154"/>
                <a:gd name="T162" fmla="*/ 202 h 2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54" h="202">
                  <a:moveTo>
                    <a:pt x="14" y="44"/>
                  </a:moveTo>
                  <a:lnTo>
                    <a:pt x="12" y="40"/>
                  </a:lnTo>
                  <a:lnTo>
                    <a:pt x="6" y="42"/>
                  </a:lnTo>
                  <a:lnTo>
                    <a:pt x="0" y="44"/>
                  </a:lnTo>
                  <a:lnTo>
                    <a:pt x="2" y="50"/>
                  </a:lnTo>
                  <a:lnTo>
                    <a:pt x="8" y="52"/>
                  </a:lnTo>
                  <a:lnTo>
                    <a:pt x="12" y="58"/>
                  </a:lnTo>
                  <a:lnTo>
                    <a:pt x="18" y="62"/>
                  </a:lnTo>
                  <a:lnTo>
                    <a:pt x="24" y="62"/>
                  </a:lnTo>
                  <a:lnTo>
                    <a:pt x="30" y="66"/>
                  </a:lnTo>
                  <a:lnTo>
                    <a:pt x="32" y="72"/>
                  </a:lnTo>
                  <a:lnTo>
                    <a:pt x="38" y="78"/>
                  </a:lnTo>
                  <a:lnTo>
                    <a:pt x="32" y="76"/>
                  </a:lnTo>
                  <a:lnTo>
                    <a:pt x="26" y="76"/>
                  </a:lnTo>
                  <a:lnTo>
                    <a:pt x="24" y="70"/>
                  </a:lnTo>
                  <a:lnTo>
                    <a:pt x="18" y="64"/>
                  </a:lnTo>
                  <a:lnTo>
                    <a:pt x="14" y="70"/>
                  </a:lnTo>
                  <a:lnTo>
                    <a:pt x="20" y="76"/>
                  </a:lnTo>
                  <a:lnTo>
                    <a:pt x="26" y="78"/>
                  </a:lnTo>
                  <a:lnTo>
                    <a:pt x="30" y="84"/>
                  </a:lnTo>
                  <a:lnTo>
                    <a:pt x="32" y="90"/>
                  </a:lnTo>
                  <a:lnTo>
                    <a:pt x="38" y="84"/>
                  </a:lnTo>
                  <a:lnTo>
                    <a:pt x="40" y="82"/>
                  </a:lnTo>
                  <a:lnTo>
                    <a:pt x="46" y="80"/>
                  </a:lnTo>
                  <a:lnTo>
                    <a:pt x="52" y="84"/>
                  </a:lnTo>
                  <a:lnTo>
                    <a:pt x="50" y="90"/>
                  </a:lnTo>
                  <a:lnTo>
                    <a:pt x="56" y="94"/>
                  </a:lnTo>
                  <a:lnTo>
                    <a:pt x="62" y="88"/>
                  </a:lnTo>
                  <a:lnTo>
                    <a:pt x="62" y="82"/>
                  </a:lnTo>
                  <a:lnTo>
                    <a:pt x="58" y="76"/>
                  </a:lnTo>
                  <a:lnTo>
                    <a:pt x="52" y="74"/>
                  </a:lnTo>
                  <a:lnTo>
                    <a:pt x="46" y="78"/>
                  </a:lnTo>
                  <a:lnTo>
                    <a:pt x="46" y="70"/>
                  </a:lnTo>
                  <a:lnTo>
                    <a:pt x="42" y="64"/>
                  </a:lnTo>
                  <a:lnTo>
                    <a:pt x="38" y="58"/>
                  </a:lnTo>
                  <a:lnTo>
                    <a:pt x="42" y="52"/>
                  </a:lnTo>
                  <a:lnTo>
                    <a:pt x="50" y="56"/>
                  </a:lnTo>
                  <a:lnTo>
                    <a:pt x="56" y="62"/>
                  </a:lnTo>
                  <a:lnTo>
                    <a:pt x="58" y="66"/>
                  </a:lnTo>
                  <a:lnTo>
                    <a:pt x="60" y="66"/>
                  </a:lnTo>
                  <a:lnTo>
                    <a:pt x="64" y="74"/>
                  </a:lnTo>
                  <a:lnTo>
                    <a:pt x="70" y="76"/>
                  </a:lnTo>
                  <a:lnTo>
                    <a:pt x="74" y="82"/>
                  </a:lnTo>
                  <a:lnTo>
                    <a:pt x="74" y="88"/>
                  </a:lnTo>
                  <a:lnTo>
                    <a:pt x="80" y="90"/>
                  </a:lnTo>
                  <a:lnTo>
                    <a:pt x="78" y="96"/>
                  </a:lnTo>
                  <a:lnTo>
                    <a:pt x="80" y="100"/>
                  </a:lnTo>
                  <a:lnTo>
                    <a:pt x="80" y="106"/>
                  </a:lnTo>
                  <a:lnTo>
                    <a:pt x="80" y="112"/>
                  </a:lnTo>
                  <a:lnTo>
                    <a:pt x="78" y="118"/>
                  </a:lnTo>
                  <a:lnTo>
                    <a:pt x="76" y="124"/>
                  </a:lnTo>
                  <a:lnTo>
                    <a:pt x="68" y="126"/>
                  </a:lnTo>
                  <a:lnTo>
                    <a:pt x="68" y="132"/>
                  </a:lnTo>
                  <a:lnTo>
                    <a:pt x="72" y="138"/>
                  </a:lnTo>
                  <a:lnTo>
                    <a:pt x="74" y="144"/>
                  </a:lnTo>
                  <a:lnTo>
                    <a:pt x="76" y="148"/>
                  </a:lnTo>
                  <a:lnTo>
                    <a:pt x="80" y="154"/>
                  </a:lnTo>
                  <a:lnTo>
                    <a:pt x="86" y="158"/>
                  </a:lnTo>
                  <a:lnTo>
                    <a:pt x="88" y="164"/>
                  </a:lnTo>
                  <a:lnTo>
                    <a:pt x="90" y="170"/>
                  </a:lnTo>
                  <a:lnTo>
                    <a:pt x="88" y="176"/>
                  </a:lnTo>
                  <a:lnTo>
                    <a:pt x="82" y="176"/>
                  </a:lnTo>
                  <a:lnTo>
                    <a:pt x="88" y="182"/>
                  </a:lnTo>
                  <a:lnTo>
                    <a:pt x="92" y="188"/>
                  </a:lnTo>
                  <a:lnTo>
                    <a:pt x="98" y="188"/>
                  </a:lnTo>
                  <a:lnTo>
                    <a:pt x="104" y="188"/>
                  </a:lnTo>
                  <a:lnTo>
                    <a:pt x="110" y="192"/>
                  </a:lnTo>
                  <a:lnTo>
                    <a:pt x="116" y="192"/>
                  </a:lnTo>
                  <a:lnTo>
                    <a:pt x="116" y="186"/>
                  </a:lnTo>
                  <a:lnTo>
                    <a:pt x="110" y="182"/>
                  </a:lnTo>
                  <a:lnTo>
                    <a:pt x="106" y="176"/>
                  </a:lnTo>
                  <a:lnTo>
                    <a:pt x="102" y="170"/>
                  </a:lnTo>
                  <a:lnTo>
                    <a:pt x="102" y="164"/>
                  </a:lnTo>
                  <a:lnTo>
                    <a:pt x="102" y="158"/>
                  </a:lnTo>
                  <a:lnTo>
                    <a:pt x="108" y="154"/>
                  </a:lnTo>
                  <a:lnTo>
                    <a:pt x="114" y="158"/>
                  </a:lnTo>
                  <a:lnTo>
                    <a:pt x="114" y="164"/>
                  </a:lnTo>
                  <a:lnTo>
                    <a:pt x="108" y="162"/>
                  </a:lnTo>
                  <a:lnTo>
                    <a:pt x="112" y="168"/>
                  </a:lnTo>
                  <a:lnTo>
                    <a:pt x="116" y="174"/>
                  </a:lnTo>
                  <a:lnTo>
                    <a:pt x="120" y="180"/>
                  </a:lnTo>
                  <a:lnTo>
                    <a:pt x="124" y="186"/>
                  </a:lnTo>
                  <a:lnTo>
                    <a:pt x="124" y="192"/>
                  </a:lnTo>
                  <a:lnTo>
                    <a:pt x="122" y="196"/>
                  </a:lnTo>
                  <a:lnTo>
                    <a:pt x="122" y="202"/>
                  </a:lnTo>
                  <a:lnTo>
                    <a:pt x="128" y="200"/>
                  </a:lnTo>
                  <a:lnTo>
                    <a:pt x="134" y="196"/>
                  </a:lnTo>
                  <a:lnTo>
                    <a:pt x="136" y="190"/>
                  </a:lnTo>
                  <a:lnTo>
                    <a:pt x="142" y="186"/>
                  </a:lnTo>
                  <a:lnTo>
                    <a:pt x="136" y="180"/>
                  </a:lnTo>
                  <a:lnTo>
                    <a:pt x="134" y="174"/>
                  </a:lnTo>
                  <a:lnTo>
                    <a:pt x="140" y="172"/>
                  </a:lnTo>
                  <a:lnTo>
                    <a:pt x="144" y="174"/>
                  </a:lnTo>
                  <a:lnTo>
                    <a:pt x="150" y="178"/>
                  </a:lnTo>
                  <a:lnTo>
                    <a:pt x="152" y="172"/>
                  </a:lnTo>
                  <a:lnTo>
                    <a:pt x="150" y="166"/>
                  </a:lnTo>
                  <a:lnTo>
                    <a:pt x="152" y="160"/>
                  </a:lnTo>
                  <a:lnTo>
                    <a:pt x="152" y="154"/>
                  </a:lnTo>
                  <a:lnTo>
                    <a:pt x="150" y="148"/>
                  </a:lnTo>
                  <a:lnTo>
                    <a:pt x="146" y="142"/>
                  </a:lnTo>
                  <a:lnTo>
                    <a:pt x="146" y="136"/>
                  </a:lnTo>
                  <a:lnTo>
                    <a:pt x="146" y="130"/>
                  </a:lnTo>
                  <a:lnTo>
                    <a:pt x="144" y="124"/>
                  </a:lnTo>
                  <a:lnTo>
                    <a:pt x="144" y="118"/>
                  </a:lnTo>
                  <a:lnTo>
                    <a:pt x="144" y="112"/>
                  </a:lnTo>
                  <a:lnTo>
                    <a:pt x="146" y="106"/>
                  </a:lnTo>
                  <a:lnTo>
                    <a:pt x="148" y="100"/>
                  </a:lnTo>
                  <a:lnTo>
                    <a:pt x="144" y="94"/>
                  </a:lnTo>
                  <a:lnTo>
                    <a:pt x="146" y="88"/>
                  </a:lnTo>
                  <a:lnTo>
                    <a:pt x="150" y="84"/>
                  </a:lnTo>
                  <a:lnTo>
                    <a:pt x="154" y="78"/>
                  </a:lnTo>
                  <a:lnTo>
                    <a:pt x="152" y="72"/>
                  </a:lnTo>
                  <a:lnTo>
                    <a:pt x="146" y="68"/>
                  </a:lnTo>
                  <a:lnTo>
                    <a:pt x="150" y="62"/>
                  </a:lnTo>
                  <a:lnTo>
                    <a:pt x="144" y="62"/>
                  </a:lnTo>
                  <a:lnTo>
                    <a:pt x="138" y="58"/>
                  </a:lnTo>
                  <a:lnTo>
                    <a:pt x="136" y="52"/>
                  </a:lnTo>
                  <a:lnTo>
                    <a:pt x="130" y="50"/>
                  </a:lnTo>
                  <a:lnTo>
                    <a:pt x="124" y="48"/>
                  </a:lnTo>
                  <a:lnTo>
                    <a:pt x="118" y="48"/>
                  </a:lnTo>
                  <a:lnTo>
                    <a:pt x="112" y="44"/>
                  </a:lnTo>
                  <a:lnTo>
                    <a:pt x="118" y="40"/>
                  </a:lnTo>
                  <a:lnTo>
                    <a:pt x="122" y="34"/>
                  </a:lnTo>
                  <a:lnTo>
                    <a:pt x="120" y="28"/>
                  </a:lnTo>
                  <a:lnTo>
                    <a:pt x="114" y="22"/>
                  </a:lnTo>
                  <a:lnTo>
                    <a:pt x="110" y="20"/>
                  </a:lnTo>
                  <a:lnTo>
                    <a:pt x="104" y="20"/>
                  </a:lnTo>
                  <a:lnTo>
                    <a:pt x="98" y="26"/>
                  </a:lnTo>
                  <a:lnTo>
                    <a:pt x="92" y="26"/>
                  </a:lnTo>
                  <a:lnTo>
                    <a:pt x="86" y="24"/>
                  </a:lnTo>
                  <a:lnTo>
                    <a:pt x="80" y="24"/>
                  </a:lnTo>
                  <a:lnTo>
                    <a:pt x="76" y="18"/>
                  </a:lnTo>
                  <a:lnTo>
                    <a:pt x="72" y="12"/>
                  </a:lnTo>
                  <a:lnTo>
                    <a:pt x="68" y="6"/>
                  </a:lnTo>
                  <a:lnTo>
                    <a:pt x="68" y="0"/>
                  </a:lnTo>
                  <a:lnTo>
                    <a:pt x="64" y="0"/>
                  </a:lnTo>
                  <a:lnTo>
                    <a:pt x="64" y="2"/>
                  </a:lnTo>
                  <a:lnTo>
                    <a:pt x="58" y="2"/>
                  </a:lnTo>
                  <a:lnTo>
                    <a:pt x="52" y="2"/>
                  </a:lnTo>
                  <a:lnTo>
                    <a:pt x="46" y="6"/>
                  </a:lnTo>
                  <a:lnTo>
                    <a:pt x="40" y="6"/>
                  </a:lnTo>
                  <a:lnTo>
                    <a:pt x="40" y="14"/>
                  </a:lnTo>
                  <a:lnTo>
                    <a:pt x="38" y="20"/>
                  </a:lnTo>
                  <a:lnTo>
                    <a:pt x="40" y="24"/>
                  </a:lnTo>
                  <a:lnTo>
                    <a:pt x="34" y="24"/>
                  </a:lnTo>
                  <a:lnTo>
                    <a:pt x="28" y="22"/>
                  </a:lnTo>
                  <a:lnTo>
                    <a:pt x="26" y="28"/>
                  </a:lnTo>
                  <a:lnTo>
                    <a:pt x="24" y="34"/>
                  </a:lnTo>
                  <a:lnTo>
                    <a:pt x="22" y="36"/>
                  </a:lnTo>
                  <a:lnTo>
                    <a:pt x="18" y="30"/>
                  </a:lnTo>
                  <a:lnTo>
                    <a:pt x="12" y="32"/>
                  </a:lnTo>
                  <a:lnTo>
                    <a:pt x="14" y="38"/>
                  </a:lnTo>
                  <a:lnTo>
                    <a:pt x="14" y="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5" name="Freeform 132"/>
            <p:cNvSpPr>
              <a:spLocks/>
            </p:cNvSpPr>
            <p:nvPr/>
          </p:nvSpPr>
          <p:spPr bwMode="auto">
            <a:xfrm>
              <a:off x="7324725" y="3065463"/>
              <a:ext cx="217488" cy="228600"/>
            </a:xfrm>
            <a:custGeom>
              <a:avLst/>
              <a:gdLst>
                <a:gd name="T0" fmla="*/ 2147483647 w 532"/>
                <a:gd name="T1" fmla="*/ 2147483647 h 556"/>
                <a:gd name="T2" fmla="*/ 2147483647 w 532"/>
                <a:gd name="T3" fmla="*/ 2147483647 h 556"/>
                <a:gd name="T4" fmla="*/ 2147483647 w 532"/>
                <a:gd name="T5" fmla="*/ 2147483647 h 556"/>
                <a:gd name="T6" fmla="*/ 2147483647 w 532"/>
                <a:gd name="T7" fmla="*/ 2147483647 h 556"/>
                <a:gd name="T8" fmla="*/ 2147483647 w 532"/>
                <a:gd name="T9" fmla="*/ 2147483647 h 556"/>
                <a:gd name="T10" fmla="*/ 2147483647 w 532"/>
                <a:gd name="T11" fmla="*/ 2147483647 h 556"/>
                <a:gd name="T12" fmla="*/ 2147483647 w 532"/>
                <a:gd name="T13" fmla="*/ 2147483647 h 556"/>
                <a:gd name="T14" fmla="*/ 2147483647 w 532"/>
                <a:gd name="T15" fmla="*/ 2147483647 h 556"/>
                <a:gd name="T16" fmla="*/ 2147483647 w 532"/>
                <a:gd name="T17" fmla="*/ 2147483647 h 556"/>
                <a:gd name="T18" fmla="*/ 2147483647 w 532"/>
                <a:gd name="T19" fmla="*/ 2147483647 h 556"/>
                <a:gd name="T20" fmla="*/ 2147483647 w 532"/>
                <a:gd name="T21" fmla="*/ 2147483647 h 556"/>
                <a:gd name="T22" fmla="*/ 2147483647 w 532"/>
                <a:gd name="T23" fmla="*/ 2147483647 h 556"/>
                <a:gd name="T24" fmla="*/ 2147483647 w 532"/>
                <a:gd name="T25" fmla="*/ 2147483647 h 556"/>
                <a:gd name="T26" fmla="*/ 2147483647 w 532"/>
                <a:gd name="T27" fmla="*/ 2147483647 h 556"/>
                <a:gd name="T28" fmla="*/ 2147483647 w 532"/>
                <a:gd name="T29" fmla="*/ 2147483647 h 556"/>
                <a:gd name="T30" fmla="*/ 2147483647 w 532"/>
                <a:gd name="T31" fmla="*/ 2147483647 h 556"/>
                <a:gd name="T32" fmla="*/ 2147483647 w 532"/>
                <a:gd name="T33" fmla="*/ 2147483647 h 556"/>
                <a:gd name="T34" fmla="*/ 2147483647 w 532"/>
                <a:gd name="T35" fmla="*/ 2147483647 h 556"/>
                <a:gd name="T36" fmla="*/ 2147483647 w 532"/>
                <a:gd name="T37" fmla="*/ 2147483647 h 556"/>
                <a:gd name="T38" fmla="*/ 2147483647 w 532"/>
                <a:gd name="T39" fmla="*/ 2147483647 h 556"/>
                <a:gd name="T40" fmla="*/ 2147483647 w 532"/>
                <a:gd name="T41" fmla="*/ 2147483647 h 556"/>
                <a:gd name="T42" fmla="*/ 2147483647 w 532"/>
                <a:gd name="T43" fmla="*/ 2147483647 h 556"/>
                <a:gd name="T44" fmla="*/ 2147483647 w 532"/>
                <a:gd name="T45" fmla="*/ 2147483647 h 556"/>
                <a:gd name="T46" fmla="*/ 2147483647 w 532"/>
                <a:gd name="T47" fmla="*/ 2147483647 h 556"/>
                <a:gd name="T48" fmla="*/ 2147483647 w 532"/>
                <a:gd name="T49" fmla="*/ 2147483647 h 556"/>
                <a:gd name="T50" fmla="*/ 2147483647 w 532"/>
                <a:gd name="T51" fmla="*/ 2147483647 h 556"/>
                <a:gd name="T52" fmla="*/ 2147483647 w 532"/>
                <a:gd name="T53" fmla="*/ 2147483647 h 556"/>
                <a:gd name="T54" fmla="*/ 2147483647 w 532"/>
                <a:gd name="T55" fmla="*/ 2147483647 h 556"/>
                <a:gd name="T56" fmla="*/ 2147483647 w 532"/>
                <a:gd name="T57" fmla="*/ 2147483647 h 556"/>
                <a:gd name="T58" fmla="*/ 2147483647 w 532"/>
                <a:gd name="T59" fmla="*/ 2147483647 h 556"/>
                <a:gd name="T60" fmla="*/ 2147483647 w 532"/>
                <a:gd name="T61" fmla="*/ 2147483647 h 556"/>
                <a:gd name="T62" fmla="*/ 2147483647 w 532"/>
                <a:gd name="T63" fmla="*/ 2147483647 h 556"/>
                <a:gd name="T64" fmla="*/ 2147483647 w 532"/>
                <a:gd name="T65" fmla="*/ 2147483647 h 556"/>
                <a:gd name="T66" fmla="*/ 2147483647 w 532"/>
                <a:gd name="T67" fmla="*/ 2147483647 h 556"/>
                <a:gd name="T68" fmla="*/ 2147483647 w 532"/>
                <a:gd name="T69" fmla="*/ 2147483647 h 556"/>
                <a:gd name="T70" fmla="*/ 2147483647 w 532"/>
                <a:gd name="T71" fmla="*/ 2147483647 h 556"/>
                <a:gd name="T72" fmla="*/ 2147483647 w 532"/>
                <a:gd name="T73" fmla="*/ 2147483647 h 556"/>
                <a:gd name="T74" fmla="*/ 2147483647 w 532"/>
                <a:gd name="T75" fmla="*/ 2147483647 h 556"/>
                <a:gd name="T76" fmla="*/ 2147483647 w 532"/>
                <a:gd name="T77" fmla="*/ 2147483647 h 556"/>
                <a:gd name="T78" fmla="*/ 2147483647 w 532"/>
                <a:gd name="T79" fmla="*/ 2147483647 h 556"/>
                <a:gd name="T80" fmla="*/ 2147483647 w 532"/>
                <a:gd name="T81" fmla="*/ 2147483647 h 556"/>
                <a:gd name="T82" fmla="*/ 2147483647 w 532"/>
                <a:gd name="T83" fmla="*/ 2147483647 h 556"/>
                <a:gd name="T84" fmla="*/ 2147483647 w 532"/>
                <a:gd name="T85" fmla="*/ 2147483647 h 556"/>
                <a:gd name="T86" fmla="*/ 2147483647 w 532"/>
                <a:gd name="T87" fmla="*/ 2147483647 h 556"/>
                <a:gd name="T88" fmla="*/ 2147483647 w 532"/>
                <a:gd name="T89" fmla="*/ 2147483647 h 556"/>
                <a:gd name="T90" fmla="*/ 2147483647 w 532"/>
                <a:gd name="T91" fmla="*/ 2147483647 h 556"/>
                <a:gd name="T92" fmla="*/ 2147483647 w 532"/>
                <a:gd name="T93" fmla="*/ 2147483647 h 556"/>
                <a:gd name="T94" fmla="*/ 2147483647 w 532"/>
                <a:gd name="T95" fmla="*/ 2147483647 h 556"/>
                <a:gd name="T96" fmla="*/ 2147483647 w 532"/>
                <a:gd name="T97" fmla="*/ 2147483647 h 556"/>
                <a:gd name="T98" fmla="*/ 2147483647 w 532"/>
                <a:gd name="T99" fmla="*/ 2147483647 h 556"/>
                <a:gd name="T100" fmla="*/ 2147483647 w 532"/>
                <a:gd name="T101" fmla="*/ 2147483647 h 556"/>
                <a:gd name="T102" fmla="*/ 2147483647 w 532"/>
                <a:gd name="T103" fmla="*/ 2147483647 h 556"/>
                <a:gd name="T104" fmla="*/ 2147483647 w 532"/>
                <a:gd name="T105" fmla="*/ 2147483647 h 556"/>
                <a:gd name="T106" fmla="*/ 2147483647 w 532"/>
                <a:gd name="T107" fmla="*/ 2147483647 h 556"/>
                <a:gd name="T108" fmla="*/ 2147483647 w 532"/>
                <a:gd name="T109" fmla="*/ 2147483647 h 556"/>
                <a:gd name="T110" fmla="*/ 2147483647 w 532"/>
                <a:gd name="T111" fmla="*/ 2147483647 h 556"/>
                <a:gd name="T112" fmla="*/ 2147483647 w 532"/>
                <a:gd name="T113" fmla="*/ 2147483647 h 556"/>
                <a:gd name="T114" fmla="*/ 2147483647 w 532"/>
                <a:gd name="T115" fmla="*/ 2147483647 h 556"/>
                <a:gd name="T116" fmla="*/ 2147483647 w 532"/>
                <a:gd name="T117" fmla="*/ 2147483647 h 556"/>
                <a:gd name="T118" fmla="*/ 2147483647 w 532"/>
                <a:gd name="T119" fmla="*/ 2147483647 h 55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32"/>
                <a:gd name="T181" fmla="*/ 0 h 556"/>
                <a:gd name="T182" fmla="*/ 532 w 532"/>
                <a:gd name="T183" fmla="*/ 556 h 55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32" h="556">
                  <a:moveTo>
                    <a:pt x="12" y="522"/>
                  </a:moveTo>
                  <a:lnTo>
                    <a:pt x="14" y="518"/>
                  </a:lnTo>
                  <a:lnTo>
                    <a:pt x="14" y="514"/>
                  </a:lnTo>
                  <a:lnTo>
                    <a:pt x="20" y="516"/>
                  </a:lnTo>
                  <a:lnTo>
                    <a:pt x="26" y="522"/>
                  </a:lnTo>
                  <a:lnTo>
                    <a:pt x="32" y="522"/>
                  </a:lnTo>
                  <a:lnTo>
                    <a:pt x="40" y="518"/>
                  </a:lnTo>
                  <a:lnTo>
                    <a:pt x="44" y="516"/>
                  </a:lnTo>
                  <a:lnTo>
                    <a:pt x="50" y="514"/>
                  </a:lnTo>
                  <a:lnTo>
                    <a:pt x="56" y="512"/>
                  </a:lnTo>
                  <a:lnTo>
                    <a:pt x="62" y="518"/>
                  </a:lnTo>
                  <a:lnTo>
                    <a:pt x="68" y="520"/>
                  </a:lnTo>
                  <a:lnTo>
                    <a:pt x="74" y="522"/>
                  </a:lnTo>
                  <a:lnTo>
                    <a:pt x="80" y="524"/>
                  </a:lnTo>
                  <a:lnTo>
                    <a:pt x="86" y="528"/>
                  </a:lnTo>
                  <a:lnTo>
                    <a:pt x="82" y="522"/>
                  </a:lnTo>
                  <a:lnTo>
                    <a:pt x="84" y="514"/>
                  </a:lnTo>
                  <a:lnTo>
                    <a:pt x="82" y="510"/>
                  </a:lnTo>
                  <a:lnTo>
                    <a:pt x="80" y="504"/>
                  </a:lnTo>
                  <a:lnTo>
                    <a:pt x="80" y="500"/>
                  </a:lnTo>
                  <a:lnTo>
                    <a:pt x="82" y="494"/>
                  </a:lnTo>
                  <a:lnTo>
                    <a:pt x="88" y="492"/>
                  </a:lnTo>
                  <a:lnTo>
                    <a:pt x="94" y="496"/>
                  </a:lnTo>
                  <a:lnTo>
                    <a:pt x="98" y="502"/>
                  </a:lnTo>
                  <a:lnTo>
                    <a:pt x="102" y="502"/>
                  </a:lnTo>
                  <a:lnTo>
                    <a:pt x="108" y="502"/>
                  </a:lnTo>
                  <a:lnTo>
                    <a:pt x="112" y="496"/>
                  </a:lnTo>
                  <a:lnTo>
                    <a:pt x="116" y="494"/>
                  </a:lnTo>
                  <a:lnTo>
                    <a:pt x="122" y="494"/>
                  </a:lnTo>
                  <a:lnTo>
                    <a:pt x="128" y="490"/>
                  </a:lnTo>
                  <a:lnTo>
                    <a:pt x="130" y="494"/>
                  </a:lnTo>
                  <a:lnTo>
                    <a:pt x="132" y="496"/>
                  </a:lnTo>
                  <a:lnTo>
                    <a:pt x="134" y="494"/>
                  </a:lnTo>
                  <a:lnTo>
                    <a:pt x="132" y="488"/>
                  </a:lnTo>
                  <a:lnTo>
                    <a:pt x="136" y="490"/>
                  </a:lnTo>
                  <a:lnTo>
                    <a:pt x="142" y="490"/>
                  </a:lnTo>
                  <a:lnTo>
                    <a:pt x="142" y="484"/>
                  </a:lnTo>
                  <a:lnTo>
                    <a:pt x="148" y="486"/>
                  </a:lnTo>
                  <a:lnTo>
                    <a:pt x="154" y="480"/>
                  </a:lnTo>
                  <a:lnTo>
                    <a:pt x="160" y="482"/>
                  </a:lnTo>
                  <a:lnTo>
                    <a:pt x="166" y="484"/>
                  </a:lnTo>
                  <a:lnTo>
                    <a:pt x="172" y="482"/>
                  </a:lnTo>
                  <a:lnTo>
                    <a:pt x="174" y="476"/>
                  </a:lnTo>
                  <a:lnTo>
                    <a:pt x="168" y="476"/>
                  </a:lnTo>
                  <a:lnTo>
                    <a:pt x="174" y="474"/>
                  </a:lnTo>
                  <a:lnTo>
                    <a:pt x="180" y="472"/>
                  </a:lnTo>
                  <a:lnTo>
                    <a:pt x="184" y="468"/>
                  </a:lnTo>
                  <a:lnTo>
                    <a:pt x="186" y="468"/>
                  </a:lnTo>
                  <a:lnTo>
                    <a:pt x="188" y="468"/>
                  </a:lnTo>
                  <a:lnTo>
                    <a:pt x="190" y="466"/>
                  </a:lnTo>
                  <a:lnTo>
                    <a:pt x="196" y="464"/>
                  </a:lnTo>
                  <a:lnTo>
                    <a:pt x="202" y="462"/>
                  </a:lnTo>
                  <a:lnTo>
                    <a:pt x="208" y="462"/>
                  </a:lnTo>
                  <a:lnTo>
                    <a:pt x="214" y="466"/>
                  </a:lnTo>
                  <a:lnTo>
                    <a:pt x="220" y="470"/>
                  </a:lnTo>
                  <a:lnTo>
                    <a:pt x="226" y="472"/>
                  </a:lnTo>
                  <a:lnTo>
                    <a:pt x="232" y="474"/>
                  </a:lnTo>
                  <a:lnTo>
                    <a:pt x="238" y="470"/>
                  </a:lnTo>
                  <a:lnTo>
                    <a:pt x="244" y="466"/>
                  </a:lnTo>
                  <a:lnTo>
                    <a:pt x="250" y="468"/>
                  </a:lnTo>
                  <a:lnTo>
                    <a:pt x="252" y="470"/>
                  </a:lnTo>
                  <a:lnTo>
                    <a:pt x="254" y="474"/>
                  </a:lnTo>
                  <a:lnTo>
                    <a:pt x="256" y="480"/>
                  </a:lnTo>
                  <a:lnTo>
                    <a:pt x="254" y="486"/>
                  </a:lnTo>
                  <a:lnTo>
                    <a:pt x="248" y="492"/>
                  </a:lnTo>
                  <a:lnTo>
                    <a:pt x="242" y="496"/>
                  </a:lnTo>
                  <a:lnTo>
                    <a:pt x="248" y="502"/>
                  </a:lnTo>
                  <a:lnTo>
                    <a:pt x="252" y="508"/>
                  </a:lnTo>
                  <a:lnTo>
                    <a:pt x="254" y="514"/>
                  </a:lnTo>
                  <a:lnTo>
                    <a:pt x="252" y="518"/>
                  </a:lnTo>
                  <a:lnTo>
                    <a:pt x="256" y="526"/>
                  </a:lnTo>
                  <a:lnTo>
                    <a:pt x="262" y="530"/>
                  </a:lnTo>
                  <a:lnTo>
                    <a:pt x="268" y="532"/>
                  </a:lnTo>
                  <a:lnTo>
                    <a:pt x="274" y="534"/>
                  </a:lnTo>
                  <a:lnTo>
                    <a:pt x="276" y="540"/>
                  </a:lnTo>
                  <a:lnTo>
                    <a:pt x="282" y="546"/>
                  </a:lnTo>
                  <a:lnTo>
                    <a:pt x="290" y="548"/>
                  </a:lnTo>
                  <a:lnTo>
                    <a:pt x="294" y="552"/>
                  </a:lnTo>
                  <a:lnTo>
                    <a:pt x="302" y="552"/>
                  </a:lnTo>
                  <a:lnTo>
                    <a:pt x="306" y="556"/>
                  </a:lnTo>
                  <a:lnTo>
                    <a:pt x="310" y="550"/>
                  </a:lnTo>
                  <a:lnTo>
                    <a:pt x="312" y="544"/>
                  </a:lnTo>
                  <a:lnTo>
                    <a:pt x="312" y="538"/>
                  </a:lnTo>
                  <a:lnTo>
                    <a:pt x="314" y="538"/>
                  </a:lnTo>
                  <a:lnTo>
                    <a:pt x="314" y="532"/>
                  </a:lnTo>
                  <a:lnTo>
                    <a:pt x="314" y="526"/>
                  </a:lnTo>
                  <a:lnTo>
                    <a:pt x="320" y="520"/>
                  </a:lnTo>
                  <a:lnTo>
                    <a:pt x="318" y="514"/>
                  </a:lnTo>
                  <a:lnTo>
                    <a:pt x="320" y="508"/>
                  </a:lnTo>
                  <a:lnTo>
                    <a:pt x="318" y="502"/>
                  </a:lnTo>
                  <a:lnTo>
                    <a:pt x="324" y="500"/>
                  </a:lnTo>
                  <a:lnTo>
                    <a:pt x="332" y="498"/>
                  </a:lnTo>
                  <a:lnTo>
                    <a:pt x="336" y="496"/>
                  </a:lnTo>
                  <a:lnTo>
                    <a:pt x="342" y="498"/>
                  </a:lnTo>
                  <a:lnTo>
                    <a:pt x="348" y="496"/>
                  </a:lnTo>
                  <a:lnTo>
                    <a:pt x="344" y="492"/>
                  </a:lnTo>
                  <a:lnTo>
                    <a:pt x="342" y="486"/>
                  </a:lnTo>
                  <a:lnTo>
                    <a:pt x="336" y="482"/>
                  </a:lnTo>
                  <a:lnTo>
                    <a:pt x="330" y="480"/>
                  </a:lnTo>
                  <a:lnTo>
                    <a:pt x="324" y="476"/>
                  </a:lnTo>
                  <a:lnTo>
                    <a:pt x="318" y="474"/>
                  </a:lnTo>
                  <a:lnTo>
                    <a:pt x="314" y="470"/>
                  </a:lnTo>
                  <a:lnTo>
                    <a:pt x="314" y="464"/>
                  </a:lnTo>
                  <a:lnTo>
                    <a:pt x="316" y="458"/>
                  </a:lnTo>
                  <a:lnTo>
                    <a:pt x="314" y="452"/>
                  </a:lnTo>
                  <a:lnTo>
                    <a:pt x="316" y="446"/>
                  </a:lnTo>
                  <a:lnTo>
                    <a:pt x="318" y="446"/>
                  </a:lnTo>
                  <a:lnTo>
                    <a:pt x="320" y="444"/>
                  </a:lnTo>
                  <a:lnTo>
                    <a:pt x="326" y="446"/>
                  </a:lnTo>
                  <a:lnTo>
                    <a:pt x="324" y="452"/>
                  </a:lnTo>
                  <a:lnTo>
                    <a:pt x="330" y="458"/>
                  </a:lnTo>
                  <a:lnTo>
                    <a:pt x="332" y="464"/>
                  </a:lnTo>
                  <a:lnTo>
                    <a:pt x="338" y="466"/>
                  </a:lnTo>
                  <a:lnTo>
                    <a:pt x="334" y="460"/>
                  </a:lnTo>
                  <a:lnTo>
                    <a:pt x="334" y="454"/>
                  </a:lnTo>
                  <a:lnTo>
                    <a:pt x="338" y="460"/>
                  </a:lnTo>
                  <a:lnTo>
                    <a:pt x="344" y="464"/>
                  </a:lnTo>
                  <a:lnTo>
                    <a:pt x="348" y="464"/>
                  </a:lnTo>
                  <a:lnTo>
                    <a:pt x="350" y="464"/>
                  </a:lnTo>
                  <a:lnTo>
                    <a:pt x="356" y="462"/>
                  </a:lnTo>
                  <a:lnTo>
                    <a:pt x="360" y="468"/>
                  </a:lnTo>
                  <a:lnTo>
                    <a:pt x="354" y="472"/>
                  </a:lnTo>
                  <a:lnTo>
                    <a:pt x="352" y="476"/>
                  </a:lnTo>
                  <a:lnTo>
                    <a:pt x="358" y="474"/>
                  </a:lnTo>
                  <a:lnTo>
                    <a:pt x="364" y="472"/>
                  </a:lnTo>
                  <a:lnTo>
                    <a:pt x="370" y="472"/>
                  </a:lnTo>
                  <a:lnTo>
                    <a:pt x="376" y="470"/>
                  </a:lnTo>
                  <a:lnTo>
                    <a:pt x="378" y="470"/>
                  </a:lnTo>
                  <a:lnTo>
                    <a:pt x="382" y="472"/>
                  </a:lnTo>
                  <a:lnTo>
                    <a:pt x="388" y="472"/>
                  </a:lnTo>
                  <a:lnTo>
                    <a:pt x="392" y="472"/>
                  </a:lnTo>
                  <a:lnTo>
                    <a:pt x="398" y="472"/>
                  </a:lnTo>
                  <a:lnTo>
                    <a:pt x="404" y="472"/>
                  </a:lnTo>
                  <a:lnTo>
                    <a:pt x="410" y="474"/>
                  </a:lnTo>
                  <a:lnTo>
                    <a:pt x="416" y="476"/>
                  </a:lnTo>
                  <a:lnTo>
                    <a:pt x="412" y="470"/>
                  </a:lnTo>
                  <a:lnTo>
                    <a:pt x="414" y="464"/>
                  </a:lnTo>
                  <a:lnTo>
                    <a:pt x="414" y="458"/>
                  </a:lnTo>
                  <a:lnTo>
                    <a:pt x="416" y="452"/>
                  </a:lnTo>
                  <a:lnTo>
                    <a:pt x="418" y="446"/>
                  </a:lnTo>
                  <a:lnTo>
                    <a:pt x="424" y="440"/>
                  </a:lnTo>
                  <a:lnTo>
                    <a:pt x="430" y="438"/>
                  </a:lnTo>
                  <a:lnTo>
                    <a:pt x="436" y="442"/>
                  </a:lnTo>
                  <a:lnTo>
                    <a:pt x="442" y="446"/>
                  </a:lnTo>
                  <a:lnTo>
                    <a:pt x="436" y="448"/>
                  </a:lnTo>
                  <a:lnTo>
                    <a:pt x="438" y="454"/>
                  </a:lnTo>
                  <a:lnTo>
                    <a:pt x="440" y="460"/>
                  </a:lnTo>
                  <a:lnTo>
                    <a:pt x="442" y="466"/>
                  </a:lnTo>
                  <a:lnTo>
                    <a:pt x="446" y="472"/>
                  </a:lnTo>
                  <a:lnTo>
                    <a:pt x="452" y="476"/>
                  </a:lnTo>
                  <a:lnTo>
                    <a:pt x="456" y="470"/>
                  </a:lnTo>
                  <a:lnTo>
                    <a:pt x="458" y="462"/>
                  </a:lnTo>
                  <a:lnTo>
                    <a:pt x="458" y="458"/>
                  </a:lnTo>
                  <a:lnTo>
                    <a:pt x="458" y="452"/>
                  </a:lnTo>
                  <a:lnTo>
                    <a:pt x="454" y="446"/>
                  </a:lnTo>
                  <a:lnTo>
                    <a:pt x="450" y="440"/>
                  </a:lnTo>
                  <a:lnTo>
                    <a:pt x="450" y="436"/>
                  </a:lnTo>
                  <a:lnTo>
                    <a:pt x="452" y="430"/>
                  </a:lnTo>
                  <a:lnTo>
                    <a:pt x="458" y="426"/>
                  </a:lnTo>
                  <a:lnTo>
                    <a:pt x="462" y="426"/>
                  </a:lnTo>
                  <a:lnTo>
                    <a:pt x="470" y="428"/>
                  </a:lnTo>
                  <a:lnTo>
                    <a:pt x="476" y="430"/>
                  </a:lnTo>
                  <a:lnTo>
                    <a:pt x="480" y="436"/>
                  </a:lnTo>
                  <a:lnTo>
                    <a:pt x="482" y="430"/>
                  </a:lnTo>
                  <a:lnTo>
                    <a:pt x="476" y="426"/>
                  </a:lnTo>
                  <a:lnTo>
                    <a:pt x="474" y="420"/>
                  </a:lnTo>
                  <a:lnTo>
                    <a:pt x="472" y="416"/>
                  </a:lnTo>
                  <a:lnTo>
                    <a:pt x="478" y="412"/>
                  </a:lnTo>
                  <a:lnTo>
                    <a:pt x="476" y="410"/>
                  </a:lnTo>
                  <a:lnTo>
                    <a:pt x="478" y="404"/>
                  </a:lnTo>
                  <a:lnTo>
                    <a:pt x="480" y="404"/>
                  </a:lnTo>
                  <a:lnTo>
                    <a:pt x="486" y="402"/>
                  </a:lnTo>
                  <a:lnTo>
                    <a:pt x="490" y="404"/>
                  </a:lnTo>
                  <a:lnTo>
                    <a:pt x="496" y="410"/>
                  </a:lnTo>
                  <a:lnTo>
                    <a:pt x="492" y="416"/>
                  </a:lnTo>
                  <a:lnTo>
                    <a:pt x="490" y="422"/>
                  </a:lnTo>
                  <a:lnTo>
                    <a:pt x="486" y="428"/>
                  </a:lnTo>
                  <a:lnTo>
                    <a:pt x="492" y="432"/>
                  </a:lnTo>
                  <a:lnTo>
                    <a:pt x="492" y="438"/>
                  </a:lnTo>
                  <a:lnTo>
                    <a:pt x="496" y="444"/>
                  </a:lnTo>
                  <a:lnTo>
                    <a:pt x="494" y="450"/>
                  </a:lnTo>
                  <a:lnTo>
                    <a:pt x="500" y="454"/>
                  </a:lnTo>
                  <a:lnTo>
                    <a:pt x="506" y="452"/>
                  </a:lnTo>
                  <a:lnTo>
                    <a:pt x="506" y="446"/>
                  </a:lnTo>
                  <a:lnTo>
                    <a:pt x="508" y="444"/>
                  </a:lnTo>
                  <a:lnTo>
                    <a:pt x="514" y="440"/>
                  </a:lnTo>
                  <a:lnTo>
                    <a:pt x="518" y="438"/>
                  </a:lnTo>
                  <a:lnTo>
                    <a:pt x="522" y="432"/>
                  </a:lnTo>
                  <a:lnTo>
                    <a:pt x="520" y="426"/>
                  </a:lnTo>
                  <a:lnTo>
                    <a:pt x="516" y="420"/>
                  </a:lnTo>
                  <a:lnTo>
                    <a:pt x="516" y="414"/>
                  </a:lnTo>
                  <a:lnTo>
                    <a:pt x="518" y="408"/>
                  </a:lnTo>
                  <a:lnTo>
                    <a:pt x="520" y="404"/>
                  </a:lnTo>
                  <a:lnTo>
                    <a:pt x="526" y="400"/>
                  </a:lnTo>
                  <a:lnTo>
                    <a:pt x="532" y="396"/>
                  </a:lnTo>
                  <a:lnTo>
                    <a:pt x="526" y="390"/>
                  </a:lnTo>
                  <a:lnTo>
                    <a:pt x="520" y="386"/>
                  </a:lnTo>
                  <a:lnTo>
                    <a:pt x="514" y="380"/>
                  </a:lnTo>
                  <a:lnTo>
                    <a:pt x="508" y="374"/>
                  </a:lnTo>
                  <a:lnTo>
                    <a:pt x="502" y="368"/>
                  </a:lnTo>
                  <a:lnTo>
                    <a:pt x="500" y="362"/>
                  </a:lnTo>
                  <a:lnTo>
                    <a:pt x="498" y="356"/>
                  </a:lnTo>
                  <a:lnTo>
                    <a:pt x="496" y="350"/>
                  </a:lnTo>
                  <a:lnTo>
                    <a:pt x="494" y="344"/>
                  </a:lnTo>
                  <a:lnTo>
                    <a:pt x="494" y="338"/>
                  </a:lnTo>
                  <a:lnTo>
                    <a:pt x="494" y="332"/>
                  </a:lnTo>
                  <a:lnTo>
                    <a:pt x="492" y="326"/>
                  </a:lnTo>
                  <a:lnTo>
                    <a:pt x="492" y="320"/>
                  </a:lnTo>
                  <a:lnTo>
                    <a:pt x="492" y="316"/>
                  </a:lnTo>
                  <a:lnTo>
                    <a:pt x="498" y="312"/>
                  </a:lnTo>
                  <a:lnTo>
                    <a:pt x="496" y="306"/>
                  </a:lnTo>
                  <a:lnTo>
                    <a:pt x="496" y="300"/>
                  </a:lnTo>
                  <a:lnTo>
                    <a:pt x="492" y="294"/>
                  </a:lnTo>
                  <a:lnTo>
                    <a:pt x="490" y="288"/>
                  </a:lnTo>
                  <a:lnTo>
                    <a:pt x="488" y="282"/>
                  </a:lnTo>
                  <a:lnTo>
                    <a:pt x="486" y="276"/>
                  </a:lnTo>
                  <a:lnTo>
                    <a:pt x="482" y="270"/>
                  </a:lnTo>
                  <a:lnTo>
                    <a:pt x="478" y="264"/>
                  </a:lnTo>
                  <a:lnTo>
                    <a:pt x="476" y="258"/>
                  </a:lnTo>
                  <a:lnTo>
                    <a:pt x="470" y="254"/>
                  </a:lnTo>
                  <a:lnTo>
                    <a:pt x="464" y="248"/>
                  </a:lnTo>
                  <a:lnTo>
                    <a:pt x="462" y="244"/>
                  </a:lnTo>
                  <a:lnTo>
                    <a:pt x="460" y="238"/>
                  </a:lnTo>
                  <a:lnTo>
                    <a:pt x="458" y="232"/>
                  </a:lnTo>
                  <a:lnTo>
                    <a:pt x="458" y="226"/>
                  </a:lnTo>
                  <a:lnTo>
                    <a:pt x="458" y="222"/>
                  </a:lnTo>
                  <a:lnTo>
                    <a:pt x="458" y="216"/>
                  </a:lnTo>
                  <a:lnTo>
                    <a:pt x="464" y="214"/>
                  </a:lnTo>
                  <a:lnTo>
                    <a:pt x="470" y="212"/>
                  </a:lnTo>
                  <a:lnTo>
                    <a:pt x="472" y="212"/>
                  </a:lnTo>
                  <a:lnTo>
                    <a:pt x="474" y="214"/>
                  </a:lnTo>
                  <a:lnTo>
                    <a:pt x="480" y="218"/>
                  </a:lnTo>
                  <a:lnTo>
                    <a:pt x="486" y="220"/>
                  </a:lnTo>
                  <a:lnTo>
                    <a:pt x="480" y="214"/>
                  </a:lnTo>
                  <a:lnTo>
                    <a:pt x="478" y="208"/>
                  </a:lnTo>
                  <a:lnTo>
                    <a:pt x="474" y="202"/>
                  </a:lnTo>
                  <a:lnTo>
                    <a:pt x="474" y="196"/>
                  </a:lnTo>
                  <a:lnTo>
                    <a:pt x="472" y="192"/>
                  </a:lnTo>
                  <a:lnTo>
                    <a:pt x="470" y="186"/>
                  </a:lnTo>
                  <a:lnTo>
                    <a:pt x="472" y="180"/>
                  </a:lnTo>
                  <a:lnTo>
                    <a:pt x="468" y="174"/>
                  </a:lnTo>
                  <a:lnTo>
                    <a:pt x="472" y="170"/>
                  </a:lnTo>
                  <a:lnTo>
                    <a:pt x="478" y="166"/>
                  </a:lnTo>
                  <a:lnTo>
                    <a:pt x="474" y="162"/>
                  </a:lnTo>
                  <a:lnTo>
                    <a:pt x="476" y="156"/>
                  </a:lnTo>
                  <a:lnTo>
                    <a:pt x="474" y="150"/>
                  </a:lnTo>
                  <a:lnTo>
                    <a:pt x="470" y="144"/>
                  </a:lnTo>
                  <a:lnTo>
                    <a:pt x="470" y="138"/>
                  </a:lnTo>
                  <a:lnTo>
                    <a:pt x="468" y="132"/>
                  </a:lnTo>
                  <a:lnTo>
                    <a:pt x="462" y="126"/>
                  </a:lnTo>
                  <a:lnTo>
                    <a:pt x="460" y="120"/>
                  </a:lnTo>
                  <a:lnTo>
                    <a:pt x="456" y="114"/>
                  </a:lnTo>
                  <a:lnTo>
                    <a:pt x="450" y="108"/>
                  </a:lnTo>
                  <a:lnTo>
                    <a:pt x="446" y="102"/>
                  </a:lnTo>
                  <a:lnTo>
                    <a:pt x="440" y="98"/>
                  </a:lnTo>
                  <a:lnTo>
                    <a:pt x="438" y="92"/>
                  </a:lnTo>
                  <a:lnTo>
                    <a:pt x="434" y="86"/>
                  </a:lnTo>
                  <a:lnTo>
                    <a:pt x="428" y="82"/>
                  </a:lnTo>
                  <a:lnTo>
                    <a:pt x="420" y="76"/>
                  </a:lnTo>
                  <a:lnTo>
                    <a:pt x="416" y="72"/>
                  </a:lnTo>
                  <a:lnTo>
                    <a:pt x="412" y="70"/>
                  </a:lnTo>
                  <a:lnTo>
                    <a:pt x="406" y="66"/>
                  </a:lnTo>
                  <a:lnTo>
                    <a:pt x="400" y="64"/>
                  </a:lnTo>
                  <a:lnTo>
                    <a:pt x="396" y="58"/>
                  </a:lnTo>
                  <a:lnTo>
                    <a:pt x="390" y="52"/>
                  </a:lnTo>
                  <a:lnTo>
                    <a:pt x="386" y="46"/>
                  </a:lnTo>
                  <a:lnTo>
                    <a:pt x="382" y="40"/>
                  </a:lnTo>
                  <a:lnTo>
                    <a:pt x="380" y="36"/>
                  </a:lnTo>
                  <a:lnTo>
                    <a:pt x="378" y="30"/>
                  </a:lnTo>
                  <a:lnTo>
                    <a:pt x="374" y="24"/>
                  </a:lnTo>
                  <a:lnTo>
                    <a:pt x="372" y="18"/>
                  </a:lnTo>
                  <a:lnTo>
                    <a:pt x="370" y="12"/>
                  </a:lnTo>
                  <a:lnTo>
                    <a:pt x="368" y="6"/>
                  </a:lnTo>
                  <a:lnTo>
                    <a:pt x="362" y="10"/>
                  </a:lnTo>
                  <a:lnTo>
                    <a:pt x="356" y="10"/>
                  </a:lnTo>
                  <a:lnTo>
                    <a:pt x="350" y="6"/>
                  </a:lnTo>
                  <a:lnTo>
                    <a:pt x="344" y="2"/>
                  </a:lnTo>
                  <a:lnTo>
                    <a:pt x="338" y="0"/>
                  </a:lnTo>
                  <a:lnTo>
                    <a:pt x="332" y="2"/>
                  </a:lnTo>
                  <a:lnTo>
                    <a:pt x="332" y="8"/>
                  </a:lnTo>
                  <a:lnTo>
                    <a:pt x="334" y="14"/>
                  </a:lnTo>
                  <a:lnTo>
                    <a:pt x="336" y="18"/>
                  </a:lnTo>
                  <a:lnTo>
                    <a:pt x="342" y="24"/>
                  </a:lnTo>
                  <a:lnTo>
                    <a:pt x="348" y="22"/>
                  </a:lnTo>
                  <a:lnTo>
                    <a:pt x="352" y="22"/>
                  </a:lnTo>
                  <a:lnTo>
                    <a:pt x="356" y="16"/>
                  </a:lnTo>
                  <a:lnTo>
                    <a:pt x="362" y="20"/>
                  </a:lnTo>
                  <a:lnTo>
                    <a:pt x="366" y="26"/>
                  </a:lnTo>
                  <a:lnTo>
                    <a:pt x="368" y="32"/>
                  </a:lnTo>
                  <a:lnTo>
                    <a:pt x="370" y="38"/>
                  </a:lnTo>
                  <a:lnTo>
                    <a:pt x="368" y="44"/>
                  </a:lnTo>
                  <a:lnTo>
                    <a:pt x="362" y="40"/>
                  </a:lnTo>
                  <a:lnTo>
                    <a:pt x="356" y="36"/>
                  </a:lnTo>
                  <a:lnTo>
                    <a:pt x="350" y="34"/>
                  </a:lnTo>
                  <a:lnTo>
                    <a:pt x="352" y="40"/>
                  </a:lnTo>
                  <a:lnTo>
                    <a:pt x="350" y="46"/>
                  </a:lnTo>
                  <a:lnTo>
                    <a:pt x="346" y="44"/>
                  </a:lnTo>
                  <a:lnTo>
                    <a:pt x="340" y="38"/>
                  </a:lnTo>
                  <a:lnTo>
                    <a:pt x="336" y="32"/>
                  </a:lnTo>
                  <a:lnTo>
                    <a:pt x="332" y="26"/>
                  </a:lnTo>
                  <a:lnTo>
                    <a:pt x="328" y="20"/>
                  </a:lnTo>
                  <a:lnTo>
                    <a:pt x="322" y="18"/>
                  </a:lnTo>
                  <a:lnTo>
                    <a:pt x="316" y="20"/>
                  </a:lnTo>
                  <a:lnTo>
                    <a:pt x="310" y="16"/>
                  </a:lnTo>
                  <a:lnTo>
                    <a:pt x="310" y="20"/>
                  </a:lnTo>
                  <a:lnTo>
                    <a:pt x="310" y="26"/>
                  </a:lnTo>
                  <a:lnTo>
                    <a:pt x="316" y="30"/>
                  </a:lnTo>
                  <a:lnTo>
                    <a:pt x="318" y="36"/>
                  </a:lnTo>
                  <a:lnTo>
                    <a:pt x="322" y="42"/>
                  </a:lnTo>
                  <a:lnTo>
                    <a:pt x="322" y="48"/>
                  </a:lnTo>
                  <a:lnTo>
                    <a:pt x="316" y="52"/>
                  </a:lnTo>
                  <a:lnTo>
                    <a:pt x="310" y="52"/>
                  </a:lnTo>
                  <a:lnTo>
                    <a:pt x="310" y="58"/>
                  </a:lnTo>
                  <a:lnTo>
                    <a:pt x="310" y="64"/>
                  </a:lnTo>
                  <a:lnTo>
                    <a:pt x="316" y="66"/>
                  </a:lnTo>
                  <a:lnTo>
                    <a:pt x="318" y="74"/>
                  </a:lnTo>
                  <a:lnTo>
                    <a:pt x="324" y="78"/>
                  </a:lnTo>
                  <a:lnTo>
                    <a:pt x="330" y="84"/>
                  </a:lnTo>
                  <a:lnTo>
                    <a:pt x="332" y="90"/>
                  </a:lnTo>
                  <a:lnTo>
                    <a:pt x="332" y="96"/>
                  </a:lnTo>
                  <a:lnTo>
                    <a:pt x="332" y="102"/>
                  </a:lnTo>
                  <a:lnTo>
                    <a:pt x="328" y="104"/>
                  </a:lnTo>
                  <a:lnTo>
                    <a:pt x="322" y="102"/>
                  </a:lnTo>
                  <a:lnTo>
                    <a:pt x="324" y="108"/>
                  </a:lnTo>
                  <a:lnTo>
                    <a:pt x="332" y="112"/>
                  </a:lnTo>
                  <a:lnTo>
                    <a:pt x="336" y="110"/>
                  </a:lnTo>
                  <a:lnTo>
                    <a:pt x="344" y="112"/>
                  </a:lnTo>
                  <a:lnTo>
                    <a:pt x="344" y="114"/>
                  </a:lnTo>
                  <a:lnTo>
                    <a:pt x="350" y="120"/>
                  </a:lnTo>
                  <a:lnTo>
                    <a:pt x="354" y="126"/>
                  </a:lnTo>
                  <a:lnTo>
                    <a:pt x="356" y="132"/>
                  </a:lnTo>
                  <a:lnTo>
                    <a:pt x="360" y="136"/>
                  </a:lnTo>
                  <a:lnTo>
                    <a:pt x="362" y="142"/>
                  </a:lnTo>
                  <a:lnTo>
                    <a:pt x="362" y="148"/>
                  </a:lnTo>
                  <a:lnTo>
                    <a:pt x="362" y="152"/>
                  </a:lnTo>
                  <a:lnTo>
                    <a:pt x="362" y="158"/>
                  </a:lnTo>
                  <a:lnTo>
                    <a:pt x="364" y="162"/>
                  </a:lnTo>
                  <a:lnTo>
                    <a:pt x="364" y="166"/>
                  </a:lnTo>
                  <a:lnTo>
                    <a:pt x="366" y="170"/>
                  </a:lnTo>
                  <a:lnTo>
                    <a:pt x="366" y="178"/>
                  </a:lnTo>
                  <a:lnTo>
                    <a:pt x="366" y="180"/>
                  </a:lnTo>
                  <a:lnTo>
                    <a:pt x="368" y="184"/>
                  </a:lnTo>
                  <a:lnTo>
                    <a:pt x="366" y="192"/>
                  </a:lnTo>
                  <a:lnTo>
                    <a:pt x="364" y="196"/>
                  </a:lnTo>
                  <a:lnTo>
                    <a:pt x="364" y="202"/>
                  </a:lnTo>
                  <a:lnTo>
                    <a:pt x="364" y="206"/>
                  </a:lnTo>
                  <a:lnTo>
                    <a:pt x="364" y="212"/>
                  </a:lnTo>
                  <a:lnTo>
                    <a:pt x="366" y="218"/>
                  </a:lnTo>
                  <a:lnTo>
                    <a:pt x="370" y="224"/>
                  </a:lnTo>
                  <a:lnTo>
                    <a:pt x="370" y="230"/>
                  </a:lnTo>
                  <a:lnTo>
                    <a:pt x="368" y="236"/>
                  </a:lnTo>
                  <a:lnTo>
                    <a:pt x="364" y="242"/>
                  </a:lnTo>
                  <a:lnTo>
                    <a:pt x="358" y="246"/>
                  </a:lnTo>
                  <a:lnTo>
                    <a:pt x="356" y="246"/>
                  </a:lnTo>
                  <a:lnTo>
                    <a:pt x="350" y="252"/>
                  </a:lnTo>
                  <a:lnTo>
                    <a:pt x="348" y="258"/>
                  </a:lnTo>
                  <a:lnTo>
                    <a:pt x="350" y="264"/>
                  </a:lnTo>
                  <a:lnTo>
                    <a:pt x="350" y="268"/>
                  </a:lnTo>
                  <a:lnTo>
                    <a:pt x="348" y="274"/>
                  </a:lnTo>
                  <a:lnTo>
                    <a:pt x="348" y="280"/>
                  </a:lnTo>
                  <a:lnTo>
                    <a:pt x="344" y="284"/>
                  </a:lnTo>
                  <a:lnTo>
                    <a:pt x="340" y="292"/>
                  </a:lnTo>
                  <a:lnTo>
                    <a:pt x="336" y="298"/>
                  </a:lnTo>
                  <a:lnTo>
                    <a:pt x="330" y="298"/>
                  </a:lnTo>
                  <a:lnTo>
                    <a:pt x="324" y="302"/>
                  </a:lnTo>
                  <a:lnTo>
                    <a:pt x="318" y="306"/>
                  </a:lnTo>
                  <a:lnTo>
                    <a:pt x="312" y="308"/>
                  </a:lnTo>
                  <a:lnTo>
                    <a:pt x="306" y="310"/>
                  </a:lnTo>
                  <a:lnTo>
                    <a:pt x="306" y="312"/>
                  </a:lnTo>
                  <a:lnTo>
                    <a:pt x="300" y="312"/>
                  </a:lnTo>
                  <a:lnTo>
                    <a:pt x="300" y="318"/>
                  </a:lnTo>
                  <a:lnTo>
                    <a:pt x="298" y="324"/>
                  </a:lnTo>
                  <a:lnTo>
                    <a:pt x="292" y="326"/>
                  </a:lnTo>
                  <a:lnTo>
                    <a:pt x="286" y="326"/>
                  </a:lnTo>
                  <a:lnTo>
                    <a:pt x="280" y="324"/>
                  </a:lnTo>
                  <a:lnTo>
                    <a:pt x="274" y="318"/>
                  </a:lnTo>
                  <a:lnTo>
                    <a:pt x="276" y="312"/>
                  </a:lnTo>
                  <a:lnTo>
                    <a:pt x="272" y="306"/>
                  </a:lnTo>
                  <a:lnTo>
                    <a:pt x="266" y="306"/>
                  </a:lnTo>
                  <a:lnTo>
                    <a:pt x="260" y="302"/>
                  </a:lnTo>
                  <a:lnTo>
                    <a:pt x="262" y="296"/>
                  </a:lnTo>
                  <a:lnTo>
                    <a:pt x="268" y="296"/>
                  </a:lnTo>
                  <a:lnTo>
                    <a:pt x="270" y="290"/>
                  </a:lnTo>
                  <a:lnTo>
                    <a:pt x="276" y="286"/>
                  </a:lnTo>
                  <a:lnTo>
                    <a:pt x="272" y="280"/>
                  </a:lnTo>
                  <a:lnTo>
                    <a:pt x="274" y="274"/>
                  </a:lnTo>
                  <a:lnTo>
                    <a:pt x="268" y="274"/>
                  </a:lnTo>
                  <a:lnTo>
                    <a:pt x="262" y="276"/>
                  </a:lnTo>
                  <a:lnTo>
                    <a:pt x="256" y="280"/>
                  </a:lnTo>
                  <a:lnTo>
                    <a:pt x="250" y="282"/>
                  </a:lnTo>
                  <a:lnTo>
                    <a:pt x="246" y="288"/>
                  </a:lnTo>
                  <a:lnTo>
                    <a:pt x="246" y="294"/>
                  </a:lnTo>
                  <a:lnTo>
                    <a:pt x="250" y="300"/>
                  </a:lnTo>
                  <a:lnTo>
                    <a:pt x="254" y="306"/>
                  </a:lnTo>
                  <a:lnTo>
                    <a:pt x="258" y="312"/>
                  </a:lnTo>
                  <a:lnTo>
                    <a:pt x="262" y="318"/>
                  </a:lnTo>
                  <a:lnTo>
                    <a:pt x="262" y="324"/>
                  </a:lnTo>
                  <a:lnTo>
                    <a:pt x="262" y="330"/>
                  </a:lnTo>
                  <a:lnTo>
                    <a:pt x="260" y="336"/>
                  </a:lnTo>
                  <a:lnTo>
                    <a:pt x="258" y="342"/>
                  </a:lnTo>
                  <a:lnTo>
                    <a:pt x="256" y="348"/>
                  </a:lnTo>
                  <a:lnTo>
                    <a:pt x="254" y="354"/>
                  </a:lnTo>
                  <a:lnTo>
                    <a:pt x="250" y="360"/>
                  </a:lnTo>
                  <a:lnTo>
                    <a:pt x="246" y="362"/>
                  </a:lnTo>
                  <a:lnTo>
                    <a:pt x="246" y="368"/>
                  </a:lnTo>
                  <a:lnTo>
                    <a:pt x="244" y="374"/>
                  </a:lnTo>
                  <a:lnTo>
                    <a:pt x="242" y="380"/>
                  </a:lnTo>
                  <a:lnTo>
                    <a:pt x="248" y="386"/>
                  </a:lnTo>
                  <a:lnTo>
                    <a:pt x="254" y="390"/>
                  </a:lnTo>
                  <a:lnTo>
                    <a:pt x="258" y="396"/>
                  </a:lnTo>
                  <a:lnTo>
                    <a:pt x="260" y="402"/>
                  </a:lnTo>
                  <a:lnTo>
                    <a:pt x="254" y="400"/>
                  </a:lnTo>
                  <a:lnTo>
                    <a:pt x="252" y="406"/>
                  </a:lnTo>
                  <a:lnTo>
                    <a:pt x="246" y="404"/>
                  </a:lnTo>
                  <a:lnTo>
                    <a:pt x="246" y="410"/>
                  </a:lnTo>
                  <a:lnTo>
                    <a:pt x="240" y="414"/>
                  </a:lnTo>
                  <a:lnTo>
                    <a:pt x="234" y="412"/>
                  </a:lnTo>
                  <a:lnTo>
                    <a:pt x="228" y="410"/>
                  </a:lnTo>
                  <a:lnTo>
                    <a:pt x="222" y="410"/>
                  </a:lnTo>
                  <a:lnTo>
                    <a:pt x="226" y="416"/>
                  </a:lnTo>
                  <a:lnTo>
                    <a:pt x="220" y="412"/>
                  </a:lnTo>
                  <a:lnTo>
                    <a:pt x="214" y="412"/>
                  </a:lnTo>
                  <a:lnTo>
                    <a:pt x="212" y="406"/>
                  </a:lnTo>
                  <a:lnTo>
                    <a:pt x="214" y="400"/>
                  </a:lnTo>
                  <a:lnTo>
                    <a:pt x="208" y="396"/>
                  </a:lnTo>
                  <a:lnTo>
                    <a:pt x="202" y="396"/>
                  </a:lnTo>
                  <a:lnTo>
                    <a:pt x="196" y="400"/>
                  </a:lnTo>
                  <a:lnTo>
                    <a:pt x="190" y="402"/>
                  </a:lnTo>
                  <a:lnTo>
                    <a:pt x="188" y="402"/>
                  </a:lnTo>
                  <a:lnTo>
                    <a:pt x="180" y="404"/>
                  </a:lnTo>
                  <a:lnTo>
                    <a:pt x="174" y="404"/>
                  </a:lnTo>
                  <a:lnTo>
                    <a:pt x="170" y="404"/>
                  </a:lnTo>
                  <a:lnTo>
                    <a:pt x="164" y="406"/>
                  </a:lnTo>
                  <a:lnTo>
                    <a:pt x="160" y="408"/>
                  </a:lnTo>
                  <a:lnTo>
                    <a:pt x="154" y="410"/>
                  </a:lnTo>
                  <a:lnTo>
                    <a:pt x="148" y="412"/>
                  </a:lnTo>
                  <a:lnTo>
                    <a:pt x="142" y="412"/>
                  </a:lnTo>
                  <a:lnTo>
                    <a:pt x="136" y="414"/>
                  </a:lnTo>
                  <a:lnTo>
                    <a:pt x="130" y="414"/>
                  </a:lnTo>
                  <a:lnTo>
                    <a:pt x="124" y="412"/>
                  </a:lnTo>
                  <a:lnTo>
                    <a:pt x="118" y="412"/>
                  </a:lnTo>
                  <a:lnTo>
                    <a:pt x="112" y="416"/>
                  </a:lnTo>
                  <a:lnTo>
                    <a:pt x="108" y="416"/>
                  </a:lnTo>
                  <a:lnTo>
                    <a:pt x="100" y="410"/>
                  </a:lnTo>
                  <a:lnTo>
                    <a:pt x="100" y="408"/>
                  </a:lnTo>
                  <a:lnTo>
                    <a:pt x="94" y="408"/>
                  </a:lnTo>
                  <a:lnTo>
                    <a:pt x="88" y="410"/>
                  </a:lnTo>
                  <a:lnTo>
                    <a:pt x="82" y="412"/>
                  </a:lnTo>
                  <a:lnTo>
                    <a:pt x="76" y="416"/>
                  </a:lnTo>
                  <a:lnTo>
                    <a:pt x="70" y="418"/>
                  </a:lnTo>
                  <a:lnTo>
                    <a:pt x="74" y="424"/>
                  </a:lnTo>
                  <a:lnTo>
                    <a:pt x="70" y="428"/>
                  </a:lnTo>
                  <a:lnTo>
                    <a:pt x="64" y="434"/>
                  </a:lnTo>
                  <a:lnTo>
                    <a:pt x="62" y="440"/>
                  </a:lnTo>
                  <a:lnTo>
                    <a:pt x="56" y="446"/>
                  </a:lnTo>
                  <a:lnTo>
                    <a:pt x="52" y="452"/>
                  </a:lnTo>
                  <a:lnTo>
                    <a:pt x="48" y="458"/>
                  </a:lnTo>
                  <a:lnTo>
                    <a:pt x="46" y="462"/>
                  </a:lnTo>
                  <a:lnTo>
                    <a:pt x="42" y="468"/>
                  </a:lnTo>
                  <a:lnTo>
                    <a:pt x="36" y="470"/>
                  </a:lnTo>
                  <a:lnTo>
                    <a:pt x="30" y="476"/>
                  </a:lnTo>
                  <a:lnTo>
                    <a:pt x="28" y="482"/>
                  </a:lnTo>
                  <a:lnTo>
                    <a:pt x="26" y="488"/>
                  </a:lnTo>
                  <a:lnTo>
                    <a:pt x="20" y="490"/>
                  </a:lnTo>
                  <a:lnTo>
                    <a:pt x="14" y="492"/>
                  </a:lnTo>
                  <a:lnTo>
                    <a:pt x="8" y="488"/>
                  </a:lnTo>
                  <a:lnTo>
                    <a:pt x="2" y="492"/>
                  </a:lnTo>
                  <a:lnTo>
                    <a:pt x="0" y="498"/>
                  </a:lnTo>
                  <a:lnTo>
                    <a:pt x="6" y="504"/>
                  </a:lnTo>
                  <a:lnTo>
                    <a:pt x="4" y="510"/>
                  </a:lnTo>
                  <a:lnTo>
                    <a:pt x="10" y="516"/>
                  </a:lnTo>
                  <a:lnTo>
                    <a:pt x="12" y="5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6" name="Freeform 133"/>
            <p:cNvSpPr>
              <a:spLocks/>
            </p:cNvSpPr>
            <p:nvPr/>
          </p:nvSpPr>
          <p:spPr bwMode="auto">
            <a:xfrm>
              <a:off x="7362825" y="3267075"/>
              <a:ext cx="57150" cy="47625"/>
            </a:xfrm>
            <a:custGeom>
              <a:avLst/>
              <a:gdLst>
                <a:gd name="T0" fmla="*/ 2147483647 w 142"/>
                <a:gd name="T1" fmla="*/ 2147483647 h 116"/>
                <a:gd name="T2" fmla="*/ 2147483647 w 142"/>
                <a:gd name="T3" fmla="*/ 2147483647 h 116"/>
                <a:gd name="T4" fmla="*/ 2147483647 w 142"/>
                <a:gd name="T5" fmla="*/ 2147483647 h 116"/>
                <a:gd name="T6" fmla="*/ 2147483647 w 142"/>
                <a:gd name="T7" fmla="*/ 2147483647 h 116"/>
                <a:gd name="T8" fmla="*/ 2147483647 w 142"/>
                <a:gd name="T9" fmla="*/ 2147483647 h 116"/>
                <a:gd name="T10" fmla="*/ 2147483647 w 142"/>
                <a:gd name="T11" fmla="*/ 2147483647 h 116"/>
                <a:gd name="T12" fmla="*/ 2147483647 w 142"/>
                <a:gd name="T13" fmla="*/ 2147483647 h 116"/>
                <a:gd name="T14" fmla="*/ 2147483647 w 142"/>
                <a:gd name="T15" fmla="*/ 2147483647 h 116"/>
                <a:gd name="T16" fmla="*/ 2147483647 w 142"/>
                <a:gd name="T17" fmla="*/ 2147483647 h 116"/>
                <a:gd name="T18" fmla="*/ 2147483647 w 142"/>
                <a:gd name="T19" fmla="*/ 2147483647 h 116"/>
                <a:gd name="T20" fmla="*/ 2147483647 w 142"/>
                <a:gd name="T21" fmla="*/ 2147483647 h 116"/>
                <a:gd name="T22" fmla="*/ 2147483647 w 142"/>
                <a:gd name="T23" fmla="*/ 2147483647 h 116"/>
                <a:gd name="T24" fmla="*/ 2147483647 w 142"/>
                <a:gd name="T25" fmla="*/ 2147483647 h 116"/>
                <a:gd name="T26" fmla="*/ 2147483647 w 142"/>
                <a:gd name="T27" fmla="*/ 2147483647 h 116"/>
                <a:gd name="T28" fmla="*/ 2147483647 w 142"/>
                <a:gd name="T29" fmla="*/ 2147483647 h 116"/>
                <a:gd name="T30" fmla="*/ 2147483647 w 142"/>
                <a:gd name="T31" fmla="*/ 2147483647 h 116"/>
                <a:gd name="T32" fmla="*/ 2147483647 w 142"/>
                <a:gd name="T33" fmla="*/ 2147483647 h 116"/>
                <a:gd name="T34" fmla="*/ 2147483647 w 142"/>
                <a:gd name="T35" fmla="*/ 2147483647 h 116"/>
                <a:gd name="T36" fmla="*/ 2147483647 w 142"/>
                <a:gd name="T37" fmla="*/ 2147483647 h 116"/>
                <a:gd name="T38" fmla="*/ 2147483647 w 142"/>
                <a:gd name="T39" fmla="*/ 2147483647 h 116"/>
                <a:gd name="T40" fmla="*/ 2147483647 w 142"/>
                <a:gd name="T41" fmla="*/ 2147483647 h 116"/>
                <a:gd name="T42" fmla="*/ 2147483647 w 142"/>
                <a:gd name="T43" fmla="*/ 2147483647 h 116"/>
                <a:gd name="T44" fmla="*/ 2147483647 w 142"/>
                <a:gd name="T45" fmla="*/ 2147483647 h 116"/>
                <a:gd name="T46" fmla="*/ 2147483647 w 142"/>
                <a:gd name="T47" fmla="*/ 2147483647 h 116"/>
                <a:gd name="T48" fmla="*/ 2147483647 w 142"/>
                <a:gd name="T49" fmla="*/ 2147483647 h 116"/>
                <a:gd name="T50" fmla="*/ 2147483647 w 142"/>
                <a:gd name="T51" fmla="*/ 2147483647 h 116"/>
                <a:gd name="T52" fmla="*/ 2147483647 w 142"/>
                <a:gd name="T53" fmla="*/ 2147483647 h 116"/>
                <a:gd name="T54" fmla="*/ 2147483647 w 142"/>
                <a:gd name="T55" fmla="*/ 2147483647 h 116"/>
                <a:gd name="T56" fmla="*/ 2147483647 w 142"/>
                <a:gd name="T57" fmla="*/ 2147483647 h 116"/>
                <a:gd name="T58" fmla="*/ 2147483647 w 142"/>
                <a:gd name="T59" fmla="*/ 2147483647 h 116"/>
                <a:gd name="T60" fmla="*/ 2147483647 w 142"/>
                <a:gd name="T61" fmla="*/ 2147483647 h 116"/>
                <a:gd name="T62" fmla="*/ 2147483647 w 142"/>
                <a:gd name="T63" fmla="*/ 2147483647 h 116"/>
                <a:gd name="T64" fmla="*/ 2147483647 w 142"/>
                <a:gd name="T65" fmla="*/ 2147483647 h 116"/>
                <a:gd name="T66" fmla="*/ 2147483647 w 142"/>
                <a:gd name="T67" fmla="*/ 2147483647 h 116"/>
                <a:gd name="T68" fmla="*/ 2147483647 w 142"/>
                <a:gd name="T69" fmla="*/ 2147483647 h 116"/>
                <a:gd name="T70" fmla="*/ 2147483647 w 142"/>
                <a:gd name="T71" fmla="*/ 2147483647 h 116"/>
                <a:gd name="T72" fmla="*/ 2147483647 w 142"/>
                <a:gd name="T73" fmla="*/ 2147483647 h 116"/>
                <a:gd name="T74" fmla="*/ 2147483647 w 142"/>
                <a:gd name="T75" fmla="*/ 2147483647 h 116"/>
                <a:gd name="T76" fmla="*/ 2147483647 w 142"/>
                <a:gd name="T77" fmla="*/ 2147483647 h 116"/>
                <a:gd name="T78" fmla="*/ 2147483647 w 142"/>
                <a:gd name="T79" fmla="*/ 2147483647 h 11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2"/>
                <a:gd name="T121" fmla="*/ 0 h 116"/>
                <a:gd name="T122" fmla="*/ 142 w 142"/>
                <a:gd name="T123" fmla="*/ 116 h 11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2" h="116">
                  <a:moveTo>
                    <a:pt x="20" y="52"/>
                  </a:moveTo>
                  <a:lnTo>
                    <a:pt x="18" y="58"/>
                  </a:lnTo>
                  <a:lnTo>
                    <a:pt x="12" y="62"/>
                  </a:lnTo>
                  <a:lnTo>
                    <a:pt x="6" y="66"/>
                  </a:lnTo>
                  <a:lnTo>
                    <a:pt x="0" y="72"/>
                  </a:lnTo>
                  <a:lnTo>
                    <a:pt x="6" y="72"/>
                  </a:lnTo>
                  <a:lnTo>
                    <a:pt x="12" y="66"/>
                  </a:lnTo>
                  <a:lnTo>
                    <a:pt x="18" y="64"/>
                  </a:lnTo>
                  <a:lnTo>
                    <a:pt x="20" y="70"/>
                  </a:lnTo>
                  <a:lnTo>
                    <a:pt x="24" y="76"/>
                  </a:lnTo>
                  <a:lnTo>
                    <a:pt x="30" y="74"/>
                  </a:lnTo>
                  <a:lnTo>
                    <a:pt x="32" y="82"/>
                  </a:lnTo>
                  <a:lnTo>
                    <a:pt x="26" y="82"/>
                  </a:lnTo>
                  <a:lnTo>
                    <a:pt x="32" y="86"/>
                  </a:lnTo>
                  <a:lnTo>
                    <a:pt x="32" y="92"/>
                  </a:lnTo>
                  <a:lnTo>
                    <a:pt x="36" y="96"/>
                  </a:lnTo>
                  <a:lnTo>
                    <a:pt x="38" y="102"/>
                  </a:lnTo>
                  <a:lnTo>
                    <a:pt x="44" y="100"/>
                  </a:lnTo>
                  <a:lnTo>
                    <a:pt x="48" y="102"/>
                  </a:lnTo>
                  <a:lnTo>
                    <a:pt x="50" y="108"/>
                  </a:lnTo>
                  <a:lnTo>
                    <a:pt x="58" y="112"/>
                  </a:lnTo>
                  <a:lnTo>
                    <a:pt x="62" y="112"/>
                  </a:lnTo>
                  <a:lnTo>
                    <a:pt x="68" y="112"/>
                  </a:lnTo>
                  <a:lnTo>
                    <a:pt x="74" y="116"/>
                  </a:lnTo>
                  <a:lnTo>
                    <a:pt x="70" y="110"/>
                  </a:lnTo>
                  <a:lnTo>
                    <a:pt x="70" y="104"/>
                  </a:lnTo>
                  <a:lnTo>
                    <a:pt x="68" y="98"/>
                  </a:lnTo>
                  <a:lnTo>
                    <a:pt x="70" y="92"/>
                  </a:lnTo>
                  <a:lnTo>
                    <a:pt x="72" y="86"/>
                  </a:lnTo>
                  <a:lnTo>
                    <a:pt x="74" y="80"/>
                  </a:lnTo>
                  <a:lnTo>
                    <a:pt x="72" y="74"/>
                  </a:lnTo>
                  <a:lnTo>
                    <a:pt x="78" y="68"/>
                  </a:lnTo>
                  <a:lnTo>
                    <a:pt x="84" y="64"/>
                  </a:lnTo>
                  <a:lnTo>
                    <a:pt x="90" y="60"/>
                  </a:lnTo>
                  <a:lnTo>
                    <a:pt x="96" y="60"/>
                  </a:lnTo>
                  <a:lnTo>
                    <a:pt x="102" y="62"/>
                  </a:lnTo>
                  <a:lnTo>
                    <a:pt x="108" y="64"/>
                  </a:lnTo>
                  <a:lnTo>
                    <a:pt x="114" y="68"/>
                  </a:lnTo>
                  <a:lnTo>
                    <a:pt x="120" y="74"/>
                  </a:lnTo>
                  <a:lnTo>
                    <a:pt x="126" y="78"/>
                  </a:lnTo>
                  <a:lnTo>
                    <a:pt x="126" y="70"/>
                  </a:lnTo>
                  <a:lnTo>
                    <a:pt x="126" y="66"/>
                  </a:lnTo>
                  <a:lnTo>
                    <a:pt x="128" y="60"/>
                  </a:lnTo>
                  <a:lnTo>
                    <a:pt x="128" y="58"/>
                  </a:lnTo>
                  <a:lnTo>
                    <a:pt x="130" y="54"/>
                  </a:lnTo>
                  <a:lnTo>
                    <a:pt x="132" y="50"/>
                  </a:lnTo>
                  <a:lnTo>
                    <a:pt x="138" y="44"/>
                  </a:lnTo>
                  <a:lnTo>
                    <a:pt x="142" y="40"/>
                  </a:lnTo>
                  <a:lnTo>
                    <a:pt x="140" y="34"/>
                  </a:lnTo>
                  <a:lnTo>
                    <a:pt x="136" y="28"/>
                  </a:lnTo>
                  <a:lnTo>
                    <a:pt x="130" y="22"/>
                  </a:lnTo>
                  <a:lnTo>
                    <a:pt x="128" y="16"/>
                  </a:lnTo>
                  <a:lnTo>
                    <a:pt x="128" y="10"/>
                  </a:lnTo>
                  <a:lnTo>
                    <a:pt x="122" y="12"/>
                  </a:lnTo>
                  <a:lnTo>
                    <a:pt x="116" y="12"/>
                  </a:lnTo>
                  <a:lnTo>
                    <a:pt x="110" y="10"/>
                  </a:lnTo>
                  <a:lnTo>
                    <a:pt x="104" y="6"/>
                  </a:lnTo>
                  <a:lnTo>
                    <a:pt x="98" y="2"/>
                  </a:lnTo>
                  <a:lnTo>
                    <a:pt x="92" y="2"/>
                  </a:lnTo>
                  <a:lnTo>
                    <a:pt x="90" y="2"/>
                  </a:lnTo>
                  <a:lnTo>
                    <a:pt x="84" y="0"/>
                  </a:lnTo>
                  <a:lnTo>
                    <a:pt x="78" y="6"/>
                  </a:lnTo>
                  <a:lnTo>
                    <a:pt x="72" y="10"/>
                  </a:lnTo>
                  <a:lnTo>
                    <a:pt x="66" y="10"/>
                  </a:lnTo>
                  <a:lnTo>
                    <a:pt x="72" y="16"/>
                  </a:lnTo>
                  <a:lnTo>
                    <a:pt x="74" y="22"/>
                  </a:lnTo>
                  <a:lnTo>
                    <a:pt x="72" y="24"/>
                  </a:lnTo>
                  <a:lnTo>
                    <a:pt x="66" y="28"/>
                  </a:lnTo>
                  <a:lnTo>
                    <a:pt x="60" y="28"/>
                  </a:lnTo>
                  <a:lnTo>
                    <a:pt x="54" y="30"/>
                  </a:lnTo>
                  <a:lnTo>
                    <a:pt x="48" y="32"/>
                  </a:lnTo>
                  <a:lnTo>
                    <a:pt x="42" y="26"/>
                  </a:lnTo>
                  <a:lnTo>
                    <a:pt x="36" y="20"/>
                  </a:lnTo>
                  <a:lnTo>
                    <a:pt x="30" y="20"/>
                  </a:lnTo>
                  <a:lnTo>
                    <a:pt x="28" y="24"/>
                  </a:lnTo>
                  <a:lnTo>
                    <a:pt x="28" y="30"/>
                  </a:lnTo>
                  <a:lnTo>
                    <a:pt x="26" y="34"/>
                  </a:lnTo>
                  <a:lnTo>
                    <a:pt x="26" y="40"/>
                  </a:lnTo>
                  <a:lnTo>
                    <a:pt x="28" y="46"/>
                  </a:lnTo>
                  <a:lnTo>
                    <a:pt x="24" y="52"/>
                  </a:lnTo>
                  <a:lnTo>
                    <a:pt x="20" y="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7" name="Freeform 134"/>
            <p:cNvSpPr>
              <a:spLocks/>
            </p:cNvSpPr>
            <p:nvPr/>
          </p:nvSpPr>
          <p:spPr bwMode="auto">
            <a:xfrm>
              <a:off x="7408863" y="2952750"/>
              <a:ext cx="130175" cy="114300"/>
            </a:xfrm>
            <a:custGeom>
              <a:avLst/>
              <a:gdLst>
                <a:gd name="T0" fmla="*/ 2147483647 w 316"/>
                <a:gd name="T1" fmla="*/ 2147483647 h 280"/>
                <a:gd name="T2" fmla="*/ 2147483647 w 316"/>
                <a:gd name="T3" fmla="*/ 2147483647 h 280"/>
                <a:gd name="T4" fmla="*/ 2147483647 w 316"/>
                <a:gd name="T5" fmla="*/ 2147483647 h 280"/>
                <a:gd name="T6" fmla="*/ 2147483647 w 316"/>
                <a:gd name="T7" fmla="*/ 2147483647 h 280"/>
                <a:gd name="T8" fmla="*/ 2147483647 w 316"/>
                <a:gd name="T9" fmla="*/ 2147483647 h 280"/>
                <a:gd name="T10" fmla="*/ 2147483647 w 316"/>
                <a:gd name="T11" fmla="*/ 2147483647 h 280"/>
                <a:gd name="T12" fmla="*/ 2147483647 w 316"/>
                <a:gd name="T13" fmla="*/ 2147483647 h 280"/>
                <a:gd name="T14" fmla="*/ 2147483647 w 316"/>
                <a:gd name="T15" fmla="*/ 2147483647 h 280"/>
                <a:gd name="T16" fmla="*/ 2147483647 w 316"/>
                <a:gd name="T17" fmla="*/ 2147483647 h 280"/>
                <a:gd name="T18" fmla="*/ 2147483647 w 316"/>
                <a:gd name="T19" fmla="*/ 2147483647 h 280"/>
                <a:gd name="T20" fmla="*/ 2147483647 w 316"/>
                <a:gd name="T21" fmla="*/ 2147483647 h 280"/>
                <a:gd name="T22" fmla="*/ 2147483647 w 316"/>
                <a:gd name="T23" fmla="*/ 2147483647 h 280"/>
                <a:gd name="T24" fmla="*/ 2147483647 w 316"/>
                <a:gd name="T25" fmla="*/ 2147483647 h 280"/>
                <a:gd name="T26" fmla="*/ 2147483647 w 316"/>
                <a:gd name="T27" fmla="*/ 2147483647 h 280"/>
                <a:gd name="T28" fmla="*/ 2147483647 w 316"/>
                <a:gd name="T29" fmla="*/ 2147483647 h 280"/>
                <a:gd name="T30" fmla="*/ 2147483647 w 316"/>
                <a:gd name="T31" fmla="*/ 2147483647 h 280"/>
                <a:gd name="T32" fmla="*/ 2147483647 w 316"/>
                <a:gd name="T33" fmla="*/ 2147483647 h 280"/>
                <a:gd name="T34" fmla="*/ 2147483647 w 316"/>
                <a:gd name="T35" fmla="*/ 2147483647 h 280"/>
                <a:gd name="T36" fmla="*/ 2147483647 w 316"/>
                <a:gd name="T37" fmla="*/ 2147483647 h 280"/>
                <a:gd name="T38" fmla="*/ 2147483647 w 316"/>
                <a:gd name="T39" fmla="*/ 2147483647 h 280"/>
                <a:gd name="T40" fmla="*/ 2147483647 w 316"/>
                <a:gd name="T41" fmla="*/ 2147483647 h 280"/>
                <a:gd name="T42" fmla="*/ 2147483647 w 316"/>
                <a:gd name="T43" fmla="*/ 2147483647 h 280"/>
                <a:gd name="T44" fmla="*/ 2147483647 w 316"/>
                <a:gd name="T45" fmla="*/ 2147483647 h 280"/>
                <a:gd name="T46" fmla="*/ 2147483647 w 316"/>
                <a:gd name="T47" fmla="*/ 2147483647 h 280"/>
                <a:gd name="T48" fmla="*/ 2147483647 w 316"/>
                <a:gd name="T49" fmla="*/ 2147483647 h 280"/>
                <a:gd name="T50" fmla="*/ 2147483647 w 316"/>
                <a:gd name="T51" fmla="*/ 2147483647 h 280"/>
                <a:gd name="T52" fmla="*/ 2147483647 w 316"/>
                <a:gd name="T53" fmla="*/ 2147483647 h 280"/>
                <a:gd name="T54" fmla="*/ 2147483647 w 316"/>
                <a:gd name="T55" fmla="*/ 2147483647 h 280"/>
                <a:gd name="T56" fmla="*/ 2147483647 w 316"/>
                <a:gd name="T57" fmla="*/ 2147483647 h 280"/>
                <a:gd name="T58" fmla="*/ 2147483647 w 316"/>
                <a:gd name="T59" fmla="*/ 2147483647 h 280"/>
                <a:gd name="T60" fmla="*/ 2147483647 w 316"/>
                <a:gd name="T61" fmla="*/ 2147483647 h 280"/>
                <a:gd name="T62" fmla="*/ 2147483647 w 316"/>
                <a:gd name="T63" fmla="*/ 2147483647 h 280"/>
                <a:gd name="T64" fmla="*/ 2147483647 w 316"/>
                <a:gd name="T65" fmla="*/ 2147483647 h 280"/>
                <a:gd name="T66" fmla="*/ 2147483647 w 316"/>
                <a:gd name="T67" fmla="*/ 2147483647 h 280"/>
                <a:gd name="T68" fmla="*/ 2147483647 w 316"/>
                <a:gd name="T69" fmla="*/ 2147483647 h 280"/>
                <a:gd name="T70" fmla="*/ 2147483647 w 316"/>
                <a:gd name="T71" fmla="*/ 2147483647 h 280"/>
                <a:gd name="T72" fmla="*/ 2147483647 w 316"/>
                <a:gd name="T73" fmla="*/ 2147483647 h 280"/>
                <a:gd name="T74" fmla="*/ 2147483647 w 316"/>
                <a:gd name="T75" fmla="*/ 2147483647 h 280"/>
                <a:gd name="T76" fmla="*/ 2147483647 w 316"/>
                <a:gd name="T77" fmla="*/ 2147483647 h 280"/>
                <a:gd name="T78" fmla="*/ 2147483647 w 316"/>
                <a:gd name="T79" fmla="*/ 2147483647 h 280"/>
                <a:gd name="T80" fmla="*/ 2147483647 w 316"/>
                <a:gd name="T81" fmla="*/ 2147483647 h 280"/>
                <a:gd name="T82" fmla="*/ 2147483647 w 316"/>
                <a:gd name="T83" fmla="*/ 2147483647 h 280"/>
                <a:gd name="T84" fmla="*/ 2147483647 w 316"/>
                <a:gd name="T85" fmla="*/ 2147483647 h 280"/>
                <a:gd name="T86" fmla="*/ 2147483647 w 316"/>
                <a:gd name="T87" fmla="*/ 2147483647 h 280"/>
                <a:gd name="T88" fmla="*/ 2147483647 w 316"/>
                <a:gd name="T89" fmla="*/ 2147483647 h 280"/>
                <a:gd name="T90" fmla="*/ 2147483647 w 316"/>
                <a:gd name="T91" fmla="*/ 2147483647 h 280"/>
                <a:gd name="T92" fmla="*/ 2147483647 w 316"/>
                <a:gd name="T93" fmla="*/ 2147483647 h 280"/>
                <a:gd name="T94" fmla="*/ 2147483647 w 316"/>
                <a:gd name="T95" fmla="*/ 2147483647 h 280"/>
                <a:gd name="T96" fmla="*/ 2147483647 w 316"/>
                <a:gd name="T97" fmla="*/ 2147483647 h 280"/>
                <a:gd name="T98" fmla="*/ 2147483647 w 316"/>
                <a:gd name="T99" fmla="*/ 2147483647 h 280"/>
                <a:gd name="T100" fmla="*/ 2147483647 w 316"/>
                <a:gd name="T101" fmla="*/ 2147483647 h 280"/>
                <a:gd name="T102" fmla="*/ 2147483647 w 316"/>
                <a:gd name="T103" fmla="*/ 2147483647 h 280"/>
                <a:gd name="T104" fmla="*/ 2147483647 w 316"/>
                <a:gd name="T105" fmla="*/ 2147483647 h 280"/>
                <a:gd name="T106" fmla="*/ 2147483647 w 316"/>
                <a:gd name="T107" fmla="*/ 2147483647 h 280"/>
                <a:gd name="T108" fmla="*/ 0 w 316"/>
                <a:gd name="T109" fmla="*/ 2147483647 h 28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16"/>
                <a:gd name="T166" fmla="*/ 0 h 280"/>
                <a:gd name="T167" fmla="*/ 316 w 316"/>
                <a:gd name="T168" fmla="*/ 280 h 28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16" h="280">
                  <a:moveTo>
                    <a:pt x="0" y="4"/>
                  </a:moveTo>
                  <a:lnTo>
                    <a:pt x="2" y="10"/>
                  </a:lnTo>
                  <a:lnTo>
                    <a:pt x="4" y="16"/>
                  </a:lnTo>
                  <a:lnTo>
                    <a:pt x="6" y="22"/>
                  </a:lnTo>
                  <a:lnTo>
                    <a:pt x="12" y="26"/>
                  </a:lnTo>
                  <a:lnTo>
                    <a:pt x="18" y="32"/>
                  </a:lnTo>
                  <a:lnTo>
                    <a:pt x="24" y="38"/>
                  </a:lnTo>
                  <a:lnTo>
                    <a:pt x="28" y="40"/>
                  </a:lnTo>
                  <a:lnTo>
                    <a:pt x="32" y="46"/>
                  </a:lnTo>
                  <a:lnTo>
                    <a:pt x="38" y="52"/>
                  </a:lnTo>
                  <a:lnTo>
                    <a:pt x="42" y="58"/>
                  </a:lnTo>
                  <a:lnTo>
                    <a:pt x="44" y="64"/>
                  </a:lnTo>
                  <a:lnTo>
                    <a:pt x="48" y="70"/>
                  </a:lnTo>
                  <a:lnTo>
                    <a:pt x="50" y="76"/>
                  </a:lnTo>
                  <a:lnTo>
                    <a:pt x="50" y="82"/>
                  </a:lnTo>
                  <a:lnTo>
                    <a:pt x="54" y="88"/>
                  </a:lnTo>
                  <a:lnTo>
                    <a:pt x="58" y="94"/>
                  </a:lnTo>
                  <a:lnTo>
                    <a:pt x="62" y="100"/>
                  </a:lnTo>
                  <a:lnTo>
                    <a:pt x="64" y="106"/>
                  </a:lnTo>
                  <a:lnTo>
                    <a:pt x="64" y="108"/>
                  </a:lnTo>
                  <a:lnTo>
                    <a:pt x="62" y="114"/>
                  </a:lnTo>
                  <a:lnTo>
                    <a:pt x="56" y="120"/>
                  </a:lnTo>
                  <a:lnTo>
                    <a:pt x="60" y="126"/>
                  </a:lnTo>
                  <a:lnTo>
                    <a:pt x="66" y="132"/>
                  </a:lnTo>
                  <a:lnTo>
                    <a:pt x="68" y="138"/>
                  </a:lnTo>
                  <a:lnTo>
                    <a:pt x="74" y="142"/>
                  </a:lnTo>
                  <a:lnTo>
                    <a:pt x="78" y="148"/>
                  </a:lnTo>
                  <a:lnTo>
                    <a:pt x="78" y="154"/>
                  </a:lnTo>
                  <a:lnTo>
                    <a:pt x="74" y="160"/>
                  </a:lnTo>
                  <a:lnTo>
                    <a:pt x="68" y="160"/>
                  </a:lnTo>
                  <a:lnTo>
                    <a:pt x="62" y="158"/>
                  </a:lnTo>
                  <a:lnTo>
                    <a:pt x="56" y="156"/>
                  </a:lnTo>
                  <a:lnTo>
                    <a:pt x="50" y="158"/>
                  </a:lnTo>
                  <a:lnTo>
                    <a:pt x="44" y="154"/>
                  </a:lnTo>
                  <a:lnTo>
                    <a:pt x="38" y="152"/>
                  </a:lnTo>
                  <a:lnTo>
                    <a:pt x="32" y="148"/>
                  </a:lnTo>
                  <a:lnTo>
                    <a:pt x="26" y="146"/>
                  </a:lnTo>
                  <a:lnTo>
                    <a:pt x="20" y="150"/>
                  </a:lnTo>
                  <a:lnTo>
                    <a:pt x="22" y="156"/>
                  </a:lnTo>
                  <a:lnTo>
                    <a:pt x="28" y="160"/>
                  </a:lnTo>
                  <a:lnTo>
                    <a:pt x="34" y="164"/>
                  </a:lnTo>
                  <a:lnTo>
                    <a:pt x="40" y="170"/>
                  </a:lnTo>
                  <a:lnTo>
                    <a:pt x="40" y="174"/>
                  </a:lnTo>
                  <a:lnTo>
                    <a:pt x="38" y="180"/>
                  </a:lnTo>
                  <a:lnTo>
                    <a:pt x="36" y="186"/>
                  </a:lnTo>
                  <a:lnTo>
                    <a:pt x="30" y="186"/>
                  </a:lnTo>
                  <a:lnTo>
                    <a:pt x="26" y="192"/>
                  </a:lnTo>
                  <a:lnTo>
                    <a:pt x="22" y="192"/>
                  </a:lnTo>
                  <a:lnTo>
                    <a:pt x="20" y="198"/>
                  </a:lnTo>
                  <a:lnTo>
                    <a:pt x="24" y="204"/>
                  </a:lnTo>
                  <a:lnTo>
                    <a:pt x="26" y="210"/>
                  </a:lnTo>
                  <a:lnTo>
                    <a:pt x="28" y="216"/>
                  </a:lnTo>
                  <a:lnTo>
                    <a:pt x="30" y="222"/>
                  </a:lnTo>
                  <a:lnTo>
                    <a:pt x="38" y="224"/>
                  </a:lnTo>
                  <a:lnTo>
                    <a:pt x="44" y="228"/>
                  </a:lnTo>
                  <a:lnTo>
                    <a:pt x="48" y="232"/>
                  </a:lnTo>
                  <a:lnTo>
                    <a:pt x="50" y="232"/>
                  </a:lnTo>
                  <a:lnTo>
                    <a:pt x="56" y="236"/>
                  </a:lnTo>
                  <a:lnTo>
                    <a:pt x="62" y="242"/>
                  </a:lnTo>
                  <a:lnTo>
                    <a:pt x="66" y="246"/>
                  </a:lnTo>
                  <a:lnTo>
                    <a:pt x="66" y="254"/>
                  </a:lnTo>
                  <a:lnTo>
                    <a:pt x="66" y="258"/>
                  </a:lnTo>
                  <a:lnTo>
                    <a:pt x="68" y="264"/>
                  </a:lnTo>
                  <a:lnTo>
                    <a:pt x="68" y="266"/>
                  </a:lnTo>
                  <a:lnTo>
                    <a:pt x="72" y="272"/>
                  </a:lnTo>
                  <a:lnTo>
                    <a:pt x="76" y="276"/>
                  </a:lnTo>
                  <a:lnTo>
                    <a:pt x="82" y="280"/>
                  </a:lnTo>
                  <a:lnTo>
                    <a:pt x="88" y="278"/>
                  </a:lnTo>
                  <a:lnTo>
                    <a:pt x="90" y="274"/>
                  </a:lnTo>
                  <a:lnTo>
                    <a:pt x="96" y="270"/>
                  </a:lnTo>
                  <a:lnTo>
                    <a:pt x="92" y="264"/>
                  </a:lnTo>
                  <a:lnTo>
                    <a:pt x="96" y="258"/>
                  </a:lnTo>
                  <a:lnTo>
                    <a:pt x="102" y="254"/>
                  </a:lnTo>
                  <a:lnTo>
                    <a:pt x="106" y="254"/>
                  </a:lnTo>
                  <a:lnTo>
                    <a:pt x="112" y="256"/>
                  </a:lnTo>
                  <a:lnTo>
                    <a:pt x="118" y="258"/>
                  </a:lnTo>
                  <a:lnTo>
                    <a:pt x="124" y="256"/>
                  </a:lnTo>
                  <a:lnTo>
                    <a:pt x="124" y="250"/>
                  </a:lnTo>
                  <a:lnTo>
                    <a:pt x="118" y="248"/>
                  </a:lnTo>
                  <a:lnTo>
                    <a:pt x="112" y="246"/>
                  </a:lnTo>
                  <a:lnTo>
                    <a:pt x="106" y="242"/>
                  </a:lnTo>
                  <a:lnTo>
                    <a:pt x="100" y="238"/>
                  </a:lnTo>
                  <a:lnTo>
                    <a:pt x="94" y="234"/>
                  </a:lnTo>
                  <a:lnTo>
                    <a:pt x="88" y="230"/>
                  </a:lnTo>
                  <a:lnTo>
                    <a:pt x="82" y="232"/>
                  </a:lnTo>
                  <a:lnTo>
                    <a:pt x="76" y="230"/>
                  </a:lnTo>
                  <a:lnTo>
                    <a:pt x="70" y="226"/>
                  </a:lnTo>
                  <a:lnTo>
                    <a:pt x="64" y="224"/>
                  </a:lnTo>
                  <a:lnTo>
                    <a:pt x="58" y="220"/>
                  </a:lnTo>
                  <a:lnTo>
                    <a:pt x="56" y="216"/>
                  </a:lnTo>
                  <a:lnTo>
                    <a:pt x="54" y="208"/>
                  </a:lnTo>
                  <a:lnTo>
                    <a:pt x="54" y="204"/>
                  </a:lnTo>
                  <a:lnTo>
                    <a:pt x="60" y="200"/>
                  </a:lnTo>
                  <a:lnTo>
                    <a:pt x="66" y="200"/>
                  </a:lnTo>
                  <a:lnTo>
                    <a:pt x="72" y="202"/>
                  </a:lnTo>
                  <a:lnTo>
                    <a:pt x="78" y="206"/>
                  </a:lnTo>
                  <a:lnTo>
                    <a:pt x="86" y="208"/>
                  </a:lnTo>
                  <a:lnTo>
                    <a:pt x="90" y="214"/>
                  </a:lnTo>
                  <a:lnTo>
                    <a:pt x="96" y="216"/>
                  </a:lnTo>
                  <a:lnTo>
                    <a:pt x="100" y="212"/>
                  </a:lnTo>
                  <a:lnTo>
                    <a:pt x="106" y="206"/>
                  </a:lnTo>
                  <a:lnTo>
                    <a:pt x="110" y="200"/>
                  </a:lnTo>
                  <a:lnTo>
                    <a:pt x="116" y="198"/>
                  </a:lnTo>
                  <a:lnTo>
                    <a:pt x="122" y="196"/>
                  </a:lnTo>
                  <a:lnTo>
                    <a:pt x="128" y="198"/>
                  </a:lnTo>
                  <a:lnTo>
                    <a:pt x="134" y="200"/>
                  </a:lnTo>
                  <a:lnTo>
                    <a:pt x="140" y="202"/>
                  </a:lnTo>
                  <a:lnTo>
                    <a:pt x="146" y="206"/>
                  </a:lnTo>
                  <a:lnTo>
                    <a:pt x="152" y="208"/>
                  </a:lnTo>
                  <a:lnTo>
                    <a:pt x="158" y="210"/>
                  </a:lnTo>
                  <a:lnTo>
                    <a:pt x="164" y="214"/>
                  </a:lnTo>
                  <a:lnTo>
                    <a:pt x="170" y="216"/>
                  </a:lnTo>
                  <a:lnTo>
                    <a:pt x="176" y="220"/>
                  </a:lnTo>
                  <a:lnTo>
                    <a:pt x="182" y="222"/>
                  </a:lnTo>
                  <a:lnTo>
                    <a:pt x="188" y="224"/>
                  </a:lnTo>
                  <a:lnTo>
                    <a:pt x="194" y="226"/>
                  </a:lnTo>
                  <a:lnTo>
                    <a:pt x="200" y="228"/>
                  </a:lnTo>
                  <a:lnTo>
                    <a:pt x="206" y="230"/>
                  </a:lnTo>
                  <a:lnTo>
                    <a:pt x="212" y="232"/>
                  </a:lnTo>
                  <a:lnTo>
                    <a:pt x="218" y="234"/>
                  </a:lnTo>
                  <a:lnTo>
                    <a:pt x="224" y="236"/>
                  </a:lnTo>
                  <a:lnTo>
                    <a:pt x="230" y="240"/>
                  </a:lnTo>
                  <a:lnTo>
                    <a:pt x="236" y="238"/>
                  </a:lnTo>
                  <a:lnTo>
                    <a:pt x="234" y="232"/>
                  </a:lnTo>
                  <a:lnTo>
                    <a:pt x="232" y="228"/>
                  </a:lnTo>
                  <a:lnTo>
                    <a:pt x="228" y="220"/>
                  </a:lnTo>
                  <a:lnTo>
                    <a:pt x="226" y="216"/>
                  </a:lnTo>
                  <a:lnTo>
                    <a:pt x="226" y="208"/>
                  </a:lnTo>
                  <a:lnTo>
                    <a:pt x="226" y="204"/>
                  </a:lnTo>
                  <a:lnTo>
                    <a:pt x="228" y="196"/>
                  </a:lnTo>
                  <a:lnTo>
                    <a:pt x="230" y="190"/>
                  </a:lnTo>
                  <a:lnTo>
                    <a:pt x="232" y="190"/>
                  </a:lnTo>
                  <a:lnTo>
                    <a:pt x="234" y="184"/>
                  </a:lnTo>
                  <a:lnTo>
                    <a:pt x="236" y="178"/>
                  </a:lnTo>
                  <a:lnTo>
                    <a:pt x="242" y="174"/>
                  </a:lnTo>
                  <a:lnTo>
                    <a:pt x="248" y="172"/>
                  </a:lnTo>
                  <a:lnTo>
                    <a:pt x="254" y="170"/>
                  </a:lnTo>
                  <a:lnTo>
                    <a:pt x="254" y="172"/>
                  </a:lnTo>
                  <a:lnTo>
                    <a:pt x="260" y="174"/>
                  </a:lnTo>
                  <a:lnTo>
                    <a:pt x="266" y="174"/>
                  </a:lnTo>
                  <a:lnTo>
                    <a:pt x="272" y="174"/>
                  </a:lnTo>
                  <a:lnTo>
                    <a:pt x="278" y="176"/>
                  </a:lnTo>
                  <a:lnTo>
                    <a:pt x="276" y="170"/>
                  </a:lnTo>
                  <a:lnTo>
                    <a:pt x="282" y="170"/>
                  </a:lnTo>
                  <a:lnTo>
                    <a:pt x="288" y="172"/>
                  </a:lnTo>
                  <a:lnTo>
                    <a:pt x="294" y="168"/>
                  </a:lnTo>
                  <a:lnTo>
                    <a:pt x="292" y="162"/>
                  </a:lnTo>
                  <a:lnTo>
                    <a:pt x="298" y="160"/>
                  </a:lnTo>
                  <a:lnTo>
                    <a:pt x="304" y="158"/>
                  </a:lnTo>
                  <a:lnTo>
                    <a:pt x="310" y="160"/>
                  </a:lnTo>
                  <a:lnTo>
                    <a:pt x="310" y="152"/>
                  </a:lnTo>
                  <a:lnTo>
                    <a:pt x="316" y="148"/>
                  </a:lnTo>
                  <a:lnTo>
                    <a:pt x="310" y="144"/>
                  </a:lnTo>
                  <a:lnTo>
                    <a:pt x="308" y="148"/>
                  </a:lnTo>
                  <a:lnTo>
                    <a:pt x="306" y="152"/>
                  </a:lnTo>
                  <a:lnTo>
                    <a:pt x="306" y="154"/>
                  </a:lnTo>
                  <a:lnTo>
                    <a:pt x="300" y="152"/>
                  </a:lnTo>
                  <a:lnTo>
                    <a:pt x="294" y="148"/>
                  </a:lnTo>
                  <a:lnTo>
                    <a:pt x="288" y="142"/>
                  </a:lnTo>
                  <a:lnTo>
                    <a:pt x="282" y="136"/>
                  </a:lnTo>
                  <a:lnTo>
                    <a:pt x="280" y="130"/>
                  </a:lnTo>
                  <a:lnTo>
                    <a:pt x="286" y="132"/>
                  </a:lnTo>
                  <a:lnTo>
                    <a:pt x="280" y="130"/>
                  </a:lnTo>
                  <a:lnTo>
                    <a:pt x="274" y="128"/>
                  </a:lnTo>
                  <a:lnTo>
                    <a:pt x="268" y="124"/>
                  </a:lnTo>
                  <a:lnTo>
                    <a:pt x="262" y="120"/>
                  </a:lnTo>
                  <a:lnTo>
                    <a:pt x="260" y="114"/>
                  </a:lnTo>
                  <a:lnTo>
                    <a:pt x="256" y="108"/>
                  </a:lnTo>
                  <a:lnTo>
                    <a:pt x="256" y="102"/>
                  </a:lnTo>
                  <a:lnTo>
                    <a:pt x="256" y="96"/>
                  </a:lnTo>
                  <a:lnTo>
                    <a:pt x="256" y="90"/>
                  </a:lnTo>
                  <a:lnTo>
                    <a:pt x="256" y="84"/>
                  </a:lnTo>
                  <a:lnTo>
                    <a:pt x="250" y="80"/>
                  </a:lnTo>
                  <a:lnTo>
                    <a:pt x="248" y="84"/>
                  </a:lnTo>
                  <a:lnTo>
                    <a:pt x="246" y="90"/>
                  </a:lnTo>
                  <a:lnTo>
                    <a:pt x="242" y="96"/>
                  </a:lnTo>
                  <a:lnTo>
                    <a:pt x="242" y="102"/>
                  </a:lnTo>
                  <a:lnTo>
                    <a:pt x="238" y="108"/>
                  </a:lnTo>
                  <a:lnTo>
                    <a:pt x="232" y="108"/>
                  </a:lnTo>
                  <a:lnTo>
                    <a:pt x="226" y="108"/>
                  </a:lnTo>
                  <a:lnTo>
                    <a:pt x="220" y="106"/>
                  </a:lnTo>
                  <a:lnTo>
                    <a:pt x="214" y="106"/>
                  </a:lnTo>
                  <a:lnTo>
                    <a:pt x="208" y="102"/>
                  </a:lnTo>
                  <a:lnTo>
                    <a:pt x="202" y="96"/>
                  </a:lnTo>
                  <a:lnTo>
                    <a:pt x="196" y="100"/>
                  </a:lnTo>
                  <a:lnTo>
                    <a:pt x="192" y="94"/>
                  </a:lnTo>
                  <a:lnTo>
                    <a:pt x="186" y="94"/>
                  </a:lnTo>
                  <a:lnTo>
                    <a:pt x="180" y="96"/>
                  </a:lnTo>
                  <a:lnTo>
                    <a:pt x="174" y="96"/>
                  </a:lnTo>
                  <a:lnTo>
                    <a:pt x="170" y="90"/>
                  </a:lnTo>
                  <a:lnTo>
                    <a:pt x="164" y="88"/>
                  </a:lnTo>
                  <a:lnTo>
                    <a:pt x="158" y="86"/>
                  </a:lnTo>
                  <a:lnTo>
                    <a:pt x="154" y="84"/>
                  </a:lnTo>
                  <a:lnTo>
                    <a:pt x="146" y="82"/>
                  </a:lnTo>
                  <a:lnTo>
                    <a:pt x="140" y="78"/>
                  </a:lnTo>
                  <a:lnTo>
                    <a:pt x="136" y="76"/>
                  </a:lnTo>
                  <a:lnTo>
                    <a:pt x="128" y="72"/>
                  </a:lnTo>
                  <a:lnTo>
                    <a:pt x="122" y="70"/>
                  </a:lnTo>
                  <a:lnTo>
                    <a:pt x="116" y="66"/>
                  </a:lnTo>
                  <a:lnTo>
                    <a:pt x="110" y="64"/>
                  </a:lnTo>
                  <a:lnTo>
                    <a:pt x="104" y="60"/>
                  </a:lnTo>
                  <a:lnTo>
                    <a:pt x="98" y="56"/>
                  </a:lnTo>
                  <a:lnTo>
                    <a:pt x="94" y="52"/>
                  </a:lnTo>
                  <a:lnTo>
                    <a:pt x="88" y="48"/>
                  </a:lnTo>
                  <a:lnTo>
                    <a:pt x="82" y="44"/>
                  </a:lnTo>
                  <a:lnTo>
                    <a:pt x="76" y="40"/>
                  </a:lnTo>
                  <a:lnTo>
                    <a:pt x="70" y="36"/>
                  </a:lnTo>
                  <a:lnTo>
                    <a:pt x="64" y="30"/>
                  </a:lnTo>
                  <a:lnTo>
                    <a:pt x="58" y="28"/>
                  </a:lnTo>
                  <a:lnTo>
                    <a:pt x="52" y="24"/>
                  </a:lnTo>
                  <a:lnTo>
                    <a:pt x="46" y="20"/>
                  </a:lnTo>
                  <a:lnTo>
                    <a:pt x="40" y="16"/>
                  </a:lnTo>
                  <a:lnTo>
                    <a:pt x="34" y="12"/>
                  </a:lnTo>
                  <a:lnTo>
                    <a:pt x="28" y="8"/>
                  </a:lnTo>
                  <a:lnTo>
                    <a:pt x="22" y="6"/>
                  </a:lnTo>
                  <a:lnTo>
                    <a:pt x="16" y="2"/>
                  </a:lnTo>
                  <a:lnTo>
                    <a:pt x="10" y="0"/>
                  </a:lnTo>
                  <a:lnTo>
                    <a:pt x="6" y="6"/>
                  </a:lnTo>
                  <a:lnTo>
                    <a:pt x="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8" name="Freeform 135"/>
            <p:cNvSpPr>
              <a:spLocks/>
            </p:cNvSpPr>
            <p:nvPr/>
          </p:nvSpPr>
          <p:spPr bwMode="auto">
            <a:xfrm>
              <a:off x="7181850" y="3146425"/>
              <a:ext cx="95250" cy="122238"/>
            </a:xfrm>
            <a:custGeom>
              <a:avLst/>
              <a:gdLst>
                <a:gd name="T0" fmla="*/ 2147483647 w 232"/>
                <a:gd name="T1" fmla="*/ 2147483647 h 298"/>
                <a:gd name="T2" fmla="*/ 2147483647 w 232"/>
                <a:gd name="T3" fmla="*/ 2147483647 h 298"/>
                <a:gd name="T4" fmla="*/ 2147483647 w 232"/>
                <a:gd name="T5" fmla="*/ 2147483647 h 298"/>
                <a:gd name="T6" fmla="*/ 2147483647 w 232"/>
                <a:gd name="T7" fmla="*/ 2147483647 h 298"/>
                <a:gd name="T8" fmla="*/ 2147483647 w 232"/>
                <a:gd name="T9" fmla="*/ 2147483647 h 298"/>
                <a:gd name="T10" fmla="*/ 2147483647 w 232"/>
                <a:gd name="T11" fmla="*/ 2147483647 h 298"/>
                <a:gd name="T12" fmla="*/ 2147483647 w 232"/>
                <a:gd name="T13" fmla="*/ 2147483647 h 298"/>
                <a:gd name="T14" fmla="*/ 2147483647 w 232"/>
                <a:gd name="T15" fmla="*/ 2147483647 h 298"/>
                <a:gd name="T16" fmla="*/ 2147483647 w 232"/>
                <a:gd name="T17" fmla="*/ 2147483647 h 298"/>
                <a:gd name="T18" fmla="*/ 2147483647 w 232"/>
                <a:gd name="T19" fmla="*/ 2147483647 h 298"/>
                <a:gd name="T20" fmla="*/ 2147483647 w 232"/>
                <a:gd name="T21" fmla="*/ 2147483647 h 298"/>
                <a:gd name="T22" fmla="*/ 2147483647 w 232"/>
                <a:gd name="T23" fmla="*/ 2147483647 h 298"/>
                <a:gd name="T24" fmla="*/ 2147483647 w 232"/>
                <a:gd name="T25" fmla="*/ 2147483647 h 298"/>
                <a:gd name="T26" fmla="*/ 2147483647 w 232"/>
                <a:gd name="T27" fmla="*/ 2147483647 h 298"/>
                <a:gd name="T28" fmla="*/ 2147483647 w 232"/>
                <a:gd name="T29" fmla="*/ 2147483647 h 298"/>
                <a:gd name="T30" fmla="*/ 2147483647 w 232"/>
                <a:gd name="T31" fmla="*/ 2147483647 h 298"/>
                <a:gd name="T32" fmla="*/ 2147483647 w 232"/>
                <a:gd name="T33" fmla="*/ 2147483647 h 298"/>
                <a:gd name="T34" fmla="*/ 2147483647 w 232"/>
                <a:gd name="T35" fmla="*/ 2147483647 h 298"/>
                <a:gd name="T36" fmla="*/ 2147483647 w 232"/>
                <a:gd name="T37" fmla="*/ 2147483647 h 298"/>
                <a:gd name="T38" fmla="*/ 2147483647 w 232"/>
                <a:gd name="T39" fmla="*/ 2147483647 h 298"/>
                <a:gd name="T40" fmla="*/ 2147483647 w 232"/>
                <a:gd name="T41" fmla="*/ 2147483647 h 298"/>
                <a:gd name="T42" fmla="*/ 2147483647 w 232"/>
                <a:gd name="T43" fmla="*/ 2147483647 h 298"/>
                <a:gd name="T44" fmla="*/ 2147483647 w 232"/>
                <a:gd name="T45" fmla="*/ 2147483647 h 298"/>
                <a:gd name="T46" fmla="*/ 2147483647 w 232"/>
                <a:gd name="T47" fmla="*/ 2147483647 h 298"/>
                <a:gd name="T48" fmla="*/ 2147483647 w 232"/>
                <a:gd name="T49" fmla="*/ 2147483647 h 298"/>
                <a:gd name="T50" fmla="*/ 2147483647 w 232"/>
                <a:gd name="T51" fmla="*/ 2147483647 h 298"/>
                <a:gd name="T52" fmla="*/ 2147483647 w 232"/>
                <a:gd name="T53" fmla="*/ 2147483647 h 298"/>
                <a:gd name="T54" fmla="*/ 2147483647 w 232"/>
                <a:gd name="T55" fmla="*/ 2147483647 h 298"/>
                <a:gd name="T56" fmla="*/ 2147483647 w 232"/>
                <a:gd name="T57" fmla="*/ 2147483647 h 298"/>
                <a:gd name="T58" fmla="*/ 2147483647 w 232"/>
                <a:gd name="T59" fmla="*/ 2147483647 h 298"/>
                <a:gd name="T60" fmla="*/ 2147483647 w 232"/>
                <a:gd name="T61" fmla="*/ 2147483647 h 298"/>
                <a:gd name="T62" fmla="*/ 2147483647 w 232"/>
                <a:gd name="T63" fmla="*/ 2147483647 h 298"/>
                <a:gd name="T64" fmla="*/ 2147483647 w 232"/>
                <a:gd name="T65" fmla="*/ 2147483647 h 298"/>
                <a:gd name="T66" fmla="*/ 2147483647 w 232"/>
                <a:gd name="T67" fmla="*/ 2147483647 h 298"/>
                <a:gd name="T68" fmla="*/ 2147483647 w 232"/>
                <a:gd name="T69" fmla="*/ 2147483647 h 298"/>
                <a:gd name="T70" fmla="*/ 2147483647 w 232"/>
                <a:gd name="T71" fmla="*/ 2147483647 h 298"/>
                <a:gd name="T72" fmla="*/ 2147483647 w 232"/>
                <a:gd name="T73" fmla="*/ 2147483647 h 298"/>
                <a:gd name="T74" fmla="*/ 2147483647 w 232"/>
                <a:gd name="T75" fmla="*/ 2147483647 h 298"/>
                <a:gd name="T76" fmla="*/ 2147483647 w 232"/>
                <a:gd name="T77" fmla="*/ 2147483647 h 298"/>
                <a:gd name="T78" fmla="*/ 2147483647 w 232"/>
                <a:gd name="T79" fmla="*/ 2147483647 h 298"/>
                <a:gd name="T80" fmla="*/ 2147483647 w 232"/>
                <a:gd name="T81" fmla="*/ 2147483647 h 298"/>
                <a:gd name="T82" fmla="*/ 2147483647 w 232"/>
                <a:gd name="T83" fmla="*/ 2147483647 h 298"/>
                <a:gd name="T84" fmla="*/ 2147483647 w 232"/>
                <a:gd name="T85" fmla="*/ 2147483647 h 298"/>
                <a:gd name="T86" fmla="*/ 2147483647 w 232"/>
                <a:gd name="T87" fmla="*/ 2147483647 h 298"/>
                <a:gd name="T88" fmla="*/ 2147483647 w 232"/>
                <a:gd name="T89" fmla="*/ 2147483647 h 298"/>
                <a:gd name="T90" fmla="*/ 2147483647 w 232"/>
                <a:gd name="T91" fmla="*/ 2147483647 h 298"/>
                <a:gd name="T92" fmla="*/ 2147483647 w 232"/>
                <a:gd name="T93" fmla="*/ 2147483647 h 298"/>
                <a:gd name="T94" fmla="*/ 2147483647 w 232"/>
                <a:gd name="T95" fmla="*/ 2147483647 h 298"/>
                <a:gd name="T96" fmla="*/ 2147483647 w 232"/>
                <a:gd name="T97" fmla="*/ 2147483647 h 298"/>
                <a:gd name="T98" fmla="*/ 2147483647 w 232"/>
                <a:gd name="T99" fmla="*/ 2147483647 h 298"/>
                <a:gd name="T100" fmla="*/ 2147483647 w 232"/>
                <a:gd name="T101" fmla="*/ 2147483647 h 298"/>
                <a:gd name="T102" fmla="*/ 2147483647 w 232"/>
                <a:gd name="T103" fmla="*/ 2147483647 h 298"/>
                <a:gd name="T104" fmla="*/ 2147483647 w 232"/>
                <a:gd name="T105" fmla="*/ 2147483647 h 298"/>
                <a:gd name="T106" fmla="*/ 2147483647 w 232"/>
                <a:gd name="T107" fmla="*/ 2147483647 h 298"/>
                <a:gd name="T108" fmla="*/ 2147483647 w 232"/>
                <a:gd name="T109" fmla="*/ 2147483647 h 298"/>
                <a:gd name="T110" fmla="*/ 2147483647 w 232"/>
                <a:gd name="T111" fmla="*/ 2147483647 h 298"/>
                <a:gd name="T112" fmla="*/ 2147483647 w 232"/>
                <a:gd name="T113" fmla="*/ 2147483647 h 298"/>
                <a:gd name="T114" fmla="*/ 2147483647 w 232"/>
                <a:gd name="T115" fmla="*/ 2147483647 h 29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2"/>
                <a:gd name="T175" fmla="*/ 0 h 298"/>
                <a:gd name="T176" fmla="*/ 232 w 232"/>
                <a:gd name="T177" fmla="*/ 298 h 29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2" h="298">
                  <a:moveTo>
                    <a:pt x="0" y="62"/>
                  </a:moveTo>
                  <a:lnTo>
                    <a:pt x="2" y="58"/>
                  </a:lnTo>
                  <a:lnTo>
                    <a:pt x="8" y="60"/>
                  </a:lnTo>
                  <a:lnTo>
                    <a:pt x="10" y="66"/>
                  </a:lnTo>
                  <a:lnTo>
                    <a:pt x="16" y="68"/>
                  </a:lnTo>
                  <a:lnTo>
                    <a:pt x="12" y="66"/>
                  </a:lnTo>
                  <a:lnTo>
                    <a:pt x="8" y="60"/>
                  </a:lnTo>
                  <a:lnTo>
                    <a:pt x="6" y="54"/>
                  </a:lnTo>
                  <a:lnTo>
                    <a:pt x="4" y="48"/>
                  </a:lnTo>
                  <a:lnTo>
                    <a:pt x="2" y="46"/>
                  </a:lnTo>
                  <a:lnTo>
                    <a:pt x="8" y="40"/>
                  </a:lnTo>
                  <a:lnTo>
                    <a:pt x="10" y="34"/>
                  </a:lnTo>
                  <a:lnTo>
                    <a:pt x="12" y="32"/>
                  </a:lnTo>
                  <a:lnTo>
                    <a:pt x="12" y="26"/>
                  </a:lnTo>
                  <a:lnTo>
                    <a:pt x="18" y="22"/>
                  </a:lnTo>
                  <a:lnTo>
                    <a:pt x="24" y="20"/>
                  </a:lnTo>
                  <a:lnTo>
                    <a:pt x="30" y="20"/>
                  </a:lnTo>
                  <a:lnTo>
                    <a:pt x="36" y="20"/>
                  </a:lnTo>
                  <a:lnTo>
                    <a:pt x="38" y="22"/>
                  </a:lnTo>
                  <a:lnTo>
                    <a:pt x="44" y="20"/>
                  </a:lnTo>
                  <a:lnTo>
                    <a:pt x="50" y="20"/>
                  </a:lnTo>
                  <a:lnTo>
                    <a:pt x="52" y="20"/>
                  </a:lnTo>
                  <a:lnTo>
                    <a:pt x="56" y="22"/>
                  </a:lnTo>
                  <a:lnTo>
                    <a:pt x="62" y="20"/>
                  </a:lnTo>
                  <a:lnTo>
                    <a:pt x="68" y="20"/>
                  </a:lnTo>
                  <a:lnTo>
                    <a:pt x="74" y="18"/>
                  </a:lnTo>
                  <a:lnTo>
                    <a:pt x="78" y="12"/>
                  </a:lnTo>
                  <a:lnTo>
                    <a:pt x="78" y="6"/>
                  </a:lnTo>
                  <a:lnTo>
                    <a:pt x="76" y="2"/>
                  </a:lnTo>
                  <a:lnTo>
                    <a:pt x="76" y="0"/>
                  </a:lnTo>
                  <a:lnTo>
                    <a:pt x="80" y="2"/>
                  </a:lnTo>
                  <a:lnTo>
                    <a:pt x="86" y="10"/>
                  </a:lnTo>
                  <a:lnTo>
                    <a:pt x="92" y="14"/>
                  </a:lnTo>
                  <a:lnTo>
                    <a:pt x="98" y="20"/>
                  </a:lnTo>
                  <a:lnTo>
                    <a:pt x="100" y="24"/>
                  </a:lnTo>
                  <a:lnTo>
                    <a:pt x="104" y="28"/>
                  </a:lnTo>
                  <a:lnTo>
                    <a:pt x="110" y="36"/>
                  </a:lnTo>
                  <a:lnTo>
                    <a:pt x="116" y="40"/>
                  </a:lnTo>
                  <a:lnTo>
                    <a:pt x="122" y="46"/>
                  </a:lnTo>
                  <a:lnTo>
                    <a:pt x="128" y="50"/>
                  </a:lnTo>
                  <a:lnTo>
                    <a:pt x="134" y="56"/>
                  </a:lnTo>
                  <a:lnTo>
                    <a:pt x="140" y="60"/>
                  </a:lnTo>
                  <a:lnTo>
                    <a:pt x="146" y="64"/>
                  </a:lnTo>
                  <a:lnTo>
                    <a:pt x="150" y="70"/>
                  </a:lnTo>
                  <a:lnTo>
                    <a:pt x="156" y="76"/>
                  </a:lnTo>
                  <a:lnTo>
                    <a:pt x="162" y="82"/>
                  </a:lnTo>
                  <a:lnTo>
                    <a:pt x="164" y="84"/>
                  </a:lnTo>
                  <a:lnTo>
                    <a:pt x="170" y="90"/>
                  </a:lnTo>
                  <a:lnTo>
                    <a:pt x="176" y="96"/>
                  </a:lnTo>
                  <a:lnTo>
                    <a:pt x="180" y="100"/>
                  </a:lnTo>
                  <a:lnTo>
                    <a:pt x="186" y="106"/>
                  </a:lnTo>
                  <a:lnTo>
                    <a:pt x="188" y="112"/>
                  </a:lnTo>
                  <a:lnTo>
                    <a:pt x="190" y="118"/>
                  </a:lnTo>
                  <a:lnTo>
                    <a:pt x="196" y="124"/>
                  </a:lnTo>
                  <a:lnTo>
                    <a:pt x="198" y="130"/>
                  </a:lnTo>
                  <a:lnTo>
                    <a:pt x="198" y="136"/>
                  </a:lnTo>
                  <a:lnTo>
                    <a:pt x="202" y="142"/>
                  </a:lnTo>
                  <a:lnTo>
                    <a:pt x="204" y="148"/>
                  </a:lnTo>
                  <a:lnTo>
                    <a:pt x="206" y="154"/>
                  </a:lnTo>
                  <a:lnTo>
                    <a:pt x="206" y="160"/>
                  </a:lnTo>
                  <a:lnTo>
                    <a:pt x="208" y="166"/>
                  </a:lnTo>
                  <a:lnTo>
                    <a:pt x="212" y="172"/>
                  </a:lnTo>
                  <a:lnTo>
                    <a:pt x="214" y="178"/>
                  </a:lnTo>
                  <a:lnTo>
                    <a:pt x="220" y="180"/>
                  </a:lnTo>
                  <a:lnTo>
                    <a:pt x="224" y="176"/>
                  </a:lnTo>
                  <a:lnTo>
                    <a:pt x="226" y="180"/>
                  </a:lnTo>
                  <a:lnTo>
                    <a:pt x="226" y="186"/>
                  </a:lnTo>
                  <a:lnTo>
                    <a:pt x="228" y="192"/>
                  </a:lnTo>
                  <a:lnTo>
                    <a:pt x="230" y="198"/>
                  </a:lnTo>
                  <a:lnTo>
                    <a:pt x="230" y="204"/>
                  </a:lnTo>
                  <a:lnTo>
                    <a:pt x="232" y="210"/>
                  </a:lnTo>
                  <a:lnTo>
                    <a:pt x="232" y="216"/>
                  </a:lnTo>
                  <a:lnTo>
                    <a:pt x="226" y="212"/>
                  </a:lnTo>
                  <a:lnTo>
                    <a:pt x="228" y="218"/>
                  </a:lnTo>
                  <a:lnTo>
                    <a:pt x="232" y="224"/>
                  </a:lnTo>
                  <a:lnTo>
                    <a:pt x="230" y="230"/>
                  </a:lnTo>
                  <a:lnTo>
                    <a:pt x="230" y="236"/>
                  </a:lnTo>
                  <a:lnTo>
                    <a:pt x="224" y="242"/>
                  </a:lnTo>
                  <a:lnTo>
                    <a:pt x="218" y="246"/>
                  </a:lnTo>
                  <a:lnTo>
                    <a:pt x="216" y="240"/>
                  </a:lnTo>
                  <a:lnTo>
                    <a:pt x="212" y="240"/>
                  </a:lnTo>
                  <a:lnTo>
                    <a:pt x="210" y="244"/>
                  </a:lnTo>
                  <a:lnTo>
                    <a:pt x="204" y="242"/>
                  </a:lnTo>
                  <a:lnTo>
                    <a:pt x="198" y="240"/>
                  </a:lnTo>
                  <a:lnTo>
                    <a:pt x="192" y="236"/>
                  </a:lnTo>
                  <a:lnTo>
                    <a:pt x="194" y="244"/>
                  </a:lnTo>
                  <a:lnTo>
                    <a:pt x="188" y="244"/>
                  </a:lnTo>
                  <a:lnTo>
                    <a:pt x="186" y="248"/>
                  </a:lnTo>
                  <a:lnTo>
                    <a:pt x="190" y="248"/>
                  </a:lnTo>
                  <a:lnTo>
                    <a:pt x="190" y="252"/>
                  </a:lnTo>
                  <a:lnTo>
                    <a:pt x="194" y="258"/>
                  </a:lnTo>
                  <a:lnTo>
                    <a:pt x="192" y="260"/>
                  </a:lnTo>
                  <a:lnTo>
                    <a:pt x="190" y="258"/>
                  </a:lnTo>
                  <a:lnTo>
                    <a:pt x="186" y="252"/>
                  </a:lnTo>
                  <a:lnTo>
                    <a:pt x="180" y="254"/>
                  </a:lnTo>
                  <a:lnTo>
                    <a:pt x="174" y="256"/>
                  </a:lnTo>
                  <a:lnTo>
                    <a:pt x="168" y="250"/>
                  </a:lnTo>
                  <a:lnTo>
                    <a:pt x="164" y="244"/>
                  </a:lnTo>
                  <a:lnTo>
                    <a:pt x="164" y="250"/>
                  </a:lnTo>
                  <a:lnTo>
                    <a:pt x="156" y="254"/>
                  </a:lnTo>
                  <a:lnTo>
                    <a:pt x="152" y="252"/>
                  </a:lnTo>
                  <a:lnTo>
                    <a:pt x="148" y="252"/>
                  </a:lnTo>
                  <a:lnTo>
                    <a:pt x="144" y="258"/>
                  </a:lnTo>
                  <a:lnTo>
                    <a:pt x="150" y="262"/>
                  </a:lnTo>
                  <a:lnTo>
                    <a:pt x="156" y="262"/>
                  </a:lnTo>
                  <a:lnTo>
                    <a:pt x="156" y="268"/>
                  </a:lnTo>
                  <a:lnTo>
                    <a:pt x="152" y="270"/>
                  </a:lnTo>
                  <a:lnTo>
                    <a:pt x="152" y="276"/>
                  </a:lnTo>
                  <a:lnTo>
                    <a:pt x="146" y="270"/>
                  </a:lnTo>
                  <a:lnTo>
                    <a:pt x="144" y="264"/>
                  </a:lnTo>
                  <a:lnTo>
                    <a:pt x="138" y="258"/>
                  </a:lnTo>
                  <a:lnTo>
                    <a:pt x="140" y="260"/>
                  </a:lnTo>
                  <a:lnTo>
                    <a:pt x="134" y="266"/>
                  </a:lnTo>
                  <a:lnTo>
                    <a:pt x="140" y="272"/>
                  </a:lnTo>
                  <a:lnTo>
                    <a:pt x="146" y="276"/>
                  </a:lnTo>
                  <a:lnTo>
                    <a:pt x="146" y="278"/>
                  </a:lnTo>
                  <a:lnTo>
                    <a:pt x="144" y="278"/>
                  </a:lnTo>
                  <a:lnTo>
                    <a:pt x="138" y="278"/>
                  </a:lnTo>
                  <a:lnTo>
                    <a:pt x="144" y="282"/>
                  </a:lnTo>
                  <a:lnTo>
                    <a:pt x="140" y="288"/>
                  </a:lnTo>
                  <a:lnTo>
                    <a:pt x="134" y="282"/>
                  </a:lnTo>
                  <a:lnTo>
                    <a:pt x="128" y="278"/>
                  </a:lnTo>
                  <a:lnTo>
                    <a:pt x="130" y="278"/>
                  </a:lnTo>
                  <a:lnTo>
                    <a:pt x="134" y="274"/>
                  </a:lnTo>
                  <a:lnTo>
                    <a:pt x="132" y="268"/>
                  </a:lnTo>
                  <a:lnTo>
                    <a:pt x="126" y="266"/>
                  </a:lnTo>
                  <a:lnTo>
                    <a:pt x="122" y="272"/>
                  </a:lnTo>
                  <a:lnTo>
                    <a:pt x="118" y="278"/>
                  </a:lnTo>
                  <a:lnTo>
                    <a:pt x="116" y="284"/>
                  </a:lnTo>
                  <a:lnTo>
                    <a:pt x="116" y="290"/>
                  </a:lnTo>
                  <a:lnTo>
                    <a:pt x="110" y="286"/>
                  </a:lnTo>
                  <a:lnTo>
                    <a:pt x="104" y="282"/>
                  </a:lnTo>
                  <a:lnTo>
                    <a:pt x="104" y="286"/>
                  </a:lnTo>
                  <a:lnTo>
                    <a:pt x="102" y="292"/>
                  </a:lnTo>
                  <a:lnTo>
                    <a:pt x="100" y="298"/>
                  </a:lnTo>
                  <a:lnTo>
                    <a:pt x="94" y="294"/>
                  </a:lnTo>
                  <a:lnTo>
                    <a:pt x="92" y="288"/>
                  </a:lnTo>
                  <a:lnTo>
                    <a:pt x="92" y="282"/>
                  </a:lnTo>
                  <a:lnTo>
                    <a:pt x="86" y="282"/>
                  </a:lnTo>
                  <a:lnTo>
                    <a:pt x="80" y="278"/>
                  </a:lnTo>
                  <a:lnTo>
                    <a:pt x="74" y="274"/>
                  </a:lnTo>
                  <a:lnTo>
                    <a:pt x="76" y="270"/>
                  </a:lnTo>
                  <a:lnTo>
                    <a:pt x="80" y="274"/>
                  </a:lnTo>
                  <a:lnTo>
                    <a:pt x="86" y="276"/>
                  </a:lnTo>
                  <a:lnTo>
                    <a:pt x="84" y="270"/>
                  </a:lnTo>
                  <a:lnTo>
                    <a:pt x="88" y="272"/>
                  </a:lnTo>
                  <a:lnTo>
                    <a:pt x="84" y="268"/>
                  </a:lnTo>
                  <a:lnTo>
                    <a:pt x="78" y="266"/>
                  </a:lnTo>
                  <a:lnTo>
                    <a:pt x="84" y="266"/>
                  </a:lnTo>
                  <a:lnTo>
                    <a:pt x="88" y="262"/>
                  </a:lnTo>
                  <a:lnTo>
                    <a:pt x="82" y="256"/>
                  </a:lnTo>
                  <a:lnTo>
                    <a:pt x="80" y="262"/>
                  </a:lnTo>
                  <a:lnTo>
                    <a:pt x="76" y="262"/>
                  </a:lnTo>
                  <a:lnTo>
                    <a:pt x="74" y="256"/>
                  </a:lnTo>
                  <a:lnTo>
                    <a:pt x="70" y="250"/>
                  </a:lnTo>
                  <a:lnTo>
                    <a:pt x="64" y="244"/>
                  </a:lnTo>
                  <a:lnTo>
                    <a:pt x="60" y="240"/>
                  </a:lnTo>
                  <a:lnTo>
                    <a:pt x="66" y="242"/>
                  </a:lnTo>
                  <a:lnTo>
                    <a:pt x="72" y="242"/>
                  </a:lnTo>
                  <a:lnTo>
                    <a:pt x="66" y="238"/>
                  </a:lnTo>
                  <a:lnTo>
                    <a:pt x="62" y="232"/>
                  </a:lnTo>
                  <a:lnTo>
                    <a:pt x="66" y="226"/>
                  </a:lnTo>
                  <a:lnTo>
                    <a:pt x="62" y="220"/>
                  </a:lnTo>
                  <a:lnTo>
                    <a:pt x="62" y="218"/>
                  </a:lnTo>
                  <a:lnTo>
                    <a:pt x="64" y="214"/>
                  </a:lnTo>
                  <a:lnTo>
                    <a:pt x="72" y="210"/>
                  </a:lnTo>
                  <a:lnTo>
                    <a:pt x="66" y="208"/>
                  </a:lnTo>
                  <a:lnTo>
                    <a:pt x="58" y="208"/>
                  </a:lnTo>
                  <a:lnTo>
                    <a:pt x="62" y="202"/>
                  </a:lnTo>
                  <a:lnTo>
                    <a:pt x="68" y="198"/>
                  </a:lnTo>
                  <a:lnTo>
                    <a:pt x="68" y="192"/>
                  </a:lnTo>
                  <a:lnTo>
                    <a:pt x="72" y="186"/>
                  </a:lnTo>
                  <a:lnTo>
                    <a:pt x="64" y="188"/>
                  </a:lnTo>
                  <a:lnTo>
                    <a:pt x="58" y="186"/>
                  </a:lnTo>
                  <a:lnTo>
                    <a:pt x="62" y="180"/>
                  </a:lnTo>
                  <a:lnTo>
                    <a:pt x="68" y="176"/>
                  </a:lnTo>
                  <a:lnTo>
                    <a:pt x="64" y="180"/>
                  </a:lnTo>
                  <a:lnTo>
                    <a:pt x="58" y="178"/>
                  </a:lnTo>
                  <a:lnTo>
                    <a:pt x="52" y="172"/>
                  </a:lnTo>
                  <a:lnTo>
                    <a:pt x="46" y="172"/>
                  </a:lnTo>
                  <a:lnTo>
                    <a:pt x="46" y="166"/>
                  </a:lnTo>
                  <a:lnTo>
                    <a:pt x="46" y="160"/>
                  </a:lnTo>
                  <a:lnTo>
                    <a:pt x="40" y="154"/>
                  </a:lnTo>
                  <a:lnTo>
                    <a:pt x="42" y="148"/>
                  </a:lnTo>
                  <a:lnTo>
                    <a:pt x="36" y="148"/>
                  </a:lnTo>
                  <a:lnTo>
                    <a:pt x="32" y="142"/>
                  </a:lnTo>
                  <a:lnTo>
                    <a:pt x="32" y="138"/>
                  </a:lnTo>
                  <a:lnTo>
                    <a:pt x="28" y="132"/>
                  </a:lnTo>
                  <a:lnTo>
                    <a:pt x="22" y="130"/>
                  </a:lnTo>
                  <a:lnTo>
                    <a:pt x="20" y="136"/>
                  </a:lnTo>
                  <a:lnTo>
                    <a:pt x="16" y="130"/>
                  </a:lnTo>
                  <a:lnTo>
                    <a:pt x="14" y="132"/>
                  </a:lnTo>
                  <a:lnTo>
                    <a:pt x="8" y="128"/>
                  </a:lnTo>
                  <a:lnTo>
                    <a:pt x="6" y="122"/>
                  </a:lnTo>
                  <a:lnTo>
                    <a:pt x="12" y="120"/>
                  </a:lnTo>
                  <a:lnTo>
                    <a:pt x="10" y="114"/>
                  </a:lnTo>
                  <a:lnTo>
                    <a:pt x="14" y="120"/>
                  </a:lnTo>
                  <a:lnTo>
                    <a:pt x="12" y="114"/>
                  </a:lnTo>
                  <a:lnTo>
                    <a:pt x="20" y="114"/>
                  </a:lnTo>
                  <a:lnTo>
                    <a:pt x="22" y="120"/>
                  </a:lnTo>
                  <a:lnTo>
                    <a:pt x="26" y="114"/>
                  </a:lnTo>
                  <a:lnTo>
                    <a:pt x="20" y="108"/>
                  </a:lnTo>
                  <a:lnTo>
                    <a:pt x="28" y="112"/>
                  </a:lnTo>
                  <a:lnTo>
                    <a:pt x="34" y="112"/>
                  </a:lnTo>
                  <a:lnTo>
                    <a:pt x="38" y="116"/>
                  </a:lnTo>
                  <a:lnTo>
                    <a:pt x="44" y="120"/>
                  </a:lnTo>
                  <a:lnTo>
                    <a:pt x="46" y="128"/>
                  </a:lnTo>
                  <a:lnTo>
                    <a:pt x="46" y="122"/>
                  </a:lnTo>
                  <a:lnTo>
                    <a:pt x="50" y="116"/>
                  </a:lnTo>
                  <a:lnTo>
                    <a:pt x="46" y="116"/>
                  </a:lnTo>
                  <a:lnTo>
                    <a:pt x="40" y="112"/>
                  </a:lnTo>
                  <a:lnTo>
                    <a:pt x="40" y="106"/>
                  </a:lnTo>
                  <a:lnTo>
                    <a:pt x="34" y="108"/>
                  </a:lnTo>
                  <a:lnTo>
                    <a:pt x="34" y="102"/>
                  </a:lnTo>
                  <a:lnTo>
                    <a:pt x="28" y="102"/>
                  </a:lnTo>
                  <a:lnTo>
                    <a:pt x="26" y="100"/>
                  </a:lnTo>
                  <a:lnTo>
                    <a:pt x="28" y="94"/>
                  </a:lnTo>
                  <a:lnTo>
                    <a:pt x="34" y="92"/>
                  </a:lnTo>
                  <a:lnTo>
                    <a:pt x="28" y="90"/>
                  </a:lnTo>
                  <a:lnTo>
                    <a:pt x="22" y="84"/>
                  </a:lnTo>
                  <a:lnTo>
                    <a:pt x="18" y="84"/>
                  </a:lnTo>
                  <a:lnTo>
                    <a:pt x="12" y="78"/>
                  </a:lnTo>
                  <a:lnTo>
                    <a:pt x="12" y="72"/>
                  </a:lnTo>
                  <a:lnTo>
                    <a:pt x="10" y="70"/>
                  </a:lnTo>
                  <a:lnTo>
                    <a:pt x="4" y="68"/>
                  </a:lnTo>
                  <a:lnTo>
                    <a:pt x="0" y="6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19" name="Freeform 136"/>
            <p:cNvSpPr>
              <a:spLocks/>
            </p:cNvSpPr>
            <p:nvPr/>
          </p:nvSpPr>
          <p:spPr bwMode="auto">
            <a:xfrm>
              <a:off x="7102475" y="3022600"/>
              <a:ext cx="112713" cy="150813"/>
            </a:xfrm>
            <a:custGeom>
              <a:avLst/>
              <a:gdLst>
                <a:gd name="T0" fmla="*/ 2147483647 w 278"/>
                <a:gd name="T1" fmla="*/ 2147483647 h 364"/>
                <a:gd name="T2" fmla="*/ 2147483647 w 278"/>
                <a:gd name="T3" fmla="*/ 2147483647 h 364"/>
                <a:gd name="T4" fmla="*/ 2147483647 w 278"/>
                <a:gd name="T5" fmla="*/ 2147483647 h 364"/>
                <a:gd name="T6" fmla="*/ 2147483647 w 278"/>
                <a:gd name="T7" fmla="*/ 2147483647 h 364"/>
                <a:gd name="T8" fmla="*/ 2147483647 w 278"/>
                <a:gd name="T9" fmla="*/ 2147483647 h 364"/>
                <a:gd name="T10" fmla="*/ 2147483647 w 278"/>
                <a:gd name="T11" fmla="*/ 2147483647 h 364"/>
                <a:gd name="T12" fmla="*/ 2147483647 w 278"/>
                <a:gd name="T13" fmla="*/ 2147483647 h 364"/>
                <a:gd name="T14" fmla="*/ 2147483647 w 278"/>
                <a:gd name="T15" fmla="*/ 2147483647 h 364"/>
                <a:gd name="T16" fmla="*/ 2147483647 w 278"/>
                <a:gd name="T17" fmla="*/ 2147483647 h 364"/>
                <a:gd name="T18" fmla="*/ 2147483647 w 278"/>
                <a:gd name="T19" fmla="*/ 2147483647 h 364"/>
                <a:gd name="T20" fmla="*/ 2147483647 w 278"/>
                <a:gd name="T21" fmla="*/ 2147483647 h 364"/>
                <a:gd name="T22" fmla="*/ 2147483647 w 278"/>
                <a:gd name="T23" fmla="*/ 2147483647 h 364"/>
                <a:gd name="T24" fmla="*/ 2147483647 w 278"/>
                <a:gd name="T25" fmla="*/ 2147483647 h 364"/>
                <a:gd name="T26" fmla="*/ 2147483647 w 278"/>
                <a:gd name="T27" fmla="*/ 2147483647 h 364"/>
                <a:gd name="T28" fmla="*/ 2147483647 w 278"/>
                <a:gd name="T29" fmla="*/ 2147483647 h 364"/>
                <a:gd name="T30" fmla="*/ 2147483647 w 278"/>
                <a:gd name="T31" fmla="*/ 2147483647 h 364"/>
                <a:gd name="T32" fmla="*/ 2147483647 w 278"/>
                <a:gd name="T33" fmla="*/ 2147483647 h 364"/>
                <a:gd name="T34" fmla="*/ 2147483647 w 278"/>
                <a:gd name="T35" fmla="*/ 0 h 364"/>
                <a:gd name="T36" fmla="*/ 2147483647 w 278"/>
                <a:gd name="T37" fmla="*/ 2147483647 h 364"/>
                <a:gd name="T38" fmla="*/ 2147483647 w 278"/>
                <a:gd name="T39" fmla="*/ 2147483647 h 364"/>
                <a:gd name="T40" fmla="*/ 2147483647 w 278"/>
                <a:gd name="T41" fmla="*/ 2147483647 h 364"/>
                <a:gd name="T42" fmla="*/ 2147483647 w 278"/>
                <a:gd name="T43" fmla="*/ 2147483647 h 364"/>
                <a:gd name="T44" fmla="*/ 2147483647 w 278"/>
                <a:gd name="T45" fmla="*/ 2147483647 h 364"/>
                <a:gd name="T46" fmla="*/ 2147483647 w 278"/>
                <a:gd name="T47" fmla="*/ 2147483647 h 364"/>
                <a:gd name="T48" fmla="*/ 2147483647 w 278"/>
                <a:gd name="T49" fmla="*/ 2147483647 h 364"/>
                <a:gd name="T50" fmla="*/ 2147483647 w 278"/>
                <a:gd name="T51" fmla="*/ 2147483647 h 364"/>
                <a:gd name="T52" fmla="*/ 2147483647 w 278"/>
                <a:gd name="T53" fmla="*/ 2147483647 h 364"/>
                <a:gd name="T54" fmla="*/ 2147483647 w 278"/>
                <a:gd name="T55" fmla="*/ 2147483647 h 364"/>
                <a:gd name="T56" fmla="*/ 2147483647 w 278"/>
                <a:gd name="T57" fmla="*/ 2147483647 h 364"/>
                <a:gd name="T58" fmla="*/ 2147483647 w 278"/>
                <a:gd name="T59" fmla="*/ 2147483647 h 364"/>
                <a:gd name="T60" fmla="*/ 2147483647 w 278"/>
                <a:gd name="T61" fmla="*/ 2147483647 h 364"/>
                <a:gd name="T62" fmla="*/ 2147483647 w 278"/>
                <a:gd name="T63" fmla="*/ 2147483647 h 364"/>
                <a:gd name="T64" fmla="*/ 2147483647 w 278"/>
                <a:gd name="T65" fmla="*/ 2147483647 h 364"/>
                <a:gd name="T66" fmla="*/ 2147483647 w 278"/>
                <a:gd name="T67" fmla="*/ 2147483647 h 364"/>
                <a:gd name="T68" fmla="*/ 2147483647 w 278"/>
                <a:gd name="T69" fmla="*/ 2147483647 h 364"/>
                <a:gd name="T70" fmla="*/ 2147483647 w 278"/>
                <a:gd name="T71" fmla="*/ 2147483647 h 364"/>
                <a:gd name="T72" fmla="*/ 2147483647 w 278"/>
                <a:gd name="T73" fmla="*/ 2147483647 h 364"/>
                <a:gd name="T74" fmla="*/ 2147483647 w 278"/>
                <a:gd name="T75" fmla="*/ 2147483647 h 364"/>
                <a:gd name="T76" fmla="*/ 2147483647 w 278"/>
                <a:gd name="T77" fmla="*/ 2147483647 h 364"/>
                <a:gd name="T78" fmla="*/ 2147483647 w 278"/>
                <a:gd name="T79" fmla="*/ 2147483647 h 364"/>
                <a:gd name="T80" fmla="*/ 2147483647 w 278"/>
                <a:gd name="T81" fmla="*/ 2147483647 h 364"/>
                <a:gd name="T82" fmla="*/ 2147483647 w 278"/>
                <a:gd name="T83" fmla="*/ 2147483647 h 364"/>
                <a:gd name="T84" fmla="*/ 2147483647 w 278"/>
                <a:gd name="T85" fmla="*/ 2147483647 h 364"/>
                <a:gd name="T86" fmla="*/ 2147483647 w 278"/>
                <a:gd name="T87" fmla="*/ 2147483647 h 364"/>
                <a:gd name="T88" fmla="*/ 2147483647 w 278"/>
                <a:gd name="T89" fmla="*/ 2147483647 h 364"/>
                <a:gd name="T90" fmla="*/ 2147483647 w 278"/>
                <a:gd name="T91" fmla="*/ 2147483647 h 364"/>
                <a:gd name="T92" fmla="*/ 2147483647 w 278"/>
                <a:gd name="T93" fmla="*/ 2147483647 h 364"/>
                <a:gd name="T94" fmla="*/ 2147483647 w 278"/>
                <a:gd name="T95" fmla="*/ 2147483647 h 364"/>
                <a:gd name="T96" fmla="*/ 2147483647 w 278"/>
                <a:gd name="T97" fmla="*/ 2147483647 h 364"/>
                <a:gd name="T98" fmla="*/ 2147483647 w 278"/>
                <a:gd name="T99" fmla="*/ 2147483647 h 364"/>
                <a:gd name="T100" fmla="*/ 2147483647 w 278"/>
                <a:gd name="T101" fmla="*/ 2147483647 h 364"/>
                <a:gd name="T102" fmla="*/ 2147483647 w 278"/>
                <a:gd name="T103" fmla="*/ 2147483647 h 364"/>
                <a:gd name="T104" fmla="*/ 2147483647 w 278"/>
                <a:gd name="T105" fmla="*/ 2147483647 h 364"/>
                <a:gd name="T106" fmla="*/ 2147483647 w 278"/>
                <a:gd name="T107" fmla="*/ 2147483647 h 364"/>
                <a:gd name="T108" fmla="*/ 2147483647 w 278"/>
                <a:gd name="T109" fmla="*/ 2147483647 h 364"/>
                <a:gd name="T110" fmla="*/ 2147483647 w 278"/>
                <a:gd name="T111" fmla="*/ 2147483647 h 364"/>
                <a:gd name="T112" fmla="*/ 0 w 278"/>
                <a:gd name="T113" fmla="*/ 2147483647 h 3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78"/>
                <a:gd name="T172" fmla="*/ 0 h 364"/>
                <a:gd name="T173" fmla="*/ 278 w 278"/>
                <a:gd name="T174" fmla="*/ 364 h 3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78" h="364">
                  <a:moveTo>
                    <a:pt x="0" y="198"/>
                  </a:moveTo>
                  <a:lnTo>
                    <a:pt x="0" y="196"/>
                  </a:lnTo>
                  <a:lnTo>
                    <a:pt x="4" y="192"/>
                  </a:lnTo>
                  <a:lnTo>
                    <a:pt x="8" y="186"/>
                  </a:lnTo>
                  <a:lnTo>
                    <a:pt x="12" y="180"/>
                  </a:lnTo>
                  <a:lnTo>
                    <a:pt x="16" y="174"/>
                  </a:lnTo>
                  <a:lnTo>
                    <a:pt x="22" y="174"/>
                  </a:lnTo>
                  <a:lnTo>
                    <a:pt x="22" y="172"/>
                  </a:lnTo>
                  <a:lnTo>
                    <a:pt x="24" y="172"/>
                  </a:lnTo>
                  <a:lnTo>
                    <a:pt x="24" y="166"/>
                  </a:lnTo>
                  <a:lnTo>
                    <a:pt x="30" y="162"/>
                  </a:lnTo>
                  <a:lnTo>
                    <a:pt x="36" y="160"/>
                  </a:lnTo>
                  <a:lnTo>
                    <a:pt x="40" y="160"/>
                  </a:lnTo>
                  <a:lnTo>
                    <a:pt x="44" y="154"/>
                  </a:lnTo>
                  <a:lnTo>
                    <a:pt x="48" y="152"/>
                  </a:lnTo>
                  <a:lnTo>
                    <a:pt x="48" y="146"/>
                  </a:lnTo>
                  <a:lnTo>
                    <a:pt x="50" y="146"/>
                  </a:lnTo>
                  <a:lnTo>
                    <a:pt x="56" y="146"/>
                  </a:lnTo>
                  <a:lnTo>
                    <a:pt x="62" y="144"/>
                  </a:lnTo>
                  <a:lnTo>
                    <a:pt x="66" y="138"/>
                  </a:lnTo>
                  <a:lnTo>
                    <a:pt x="68" y="132"/>
                  </a:lnTo>
                  <a:lnTo>
                    <a:pt x="70" y="126"/>
                  </a:lnTo>
                  <a:lnTo>
                    <a:pt x="72" y="124"/>
                  </a:lnTo>
                  <a:lnTo>
                    <a:pt x="72" y="120"/>
                  </a:lnTo>
                  <a:lnTo>
                    <a:pt x="74" y="114"/>
                  </a:lnTo>
                  <a:lnTo>
                    <a:pt x="76" y="108"/>
                  </a:lnTo>
                  <a:lnTo>
                    <a:pt x="74" y="106"/>
                  </a:lnTo>
                  <a:lnTo>
                    <a:pt x="76" y="102"/>
                  </a:lnTo>
                  <a:lnTo>
                    <a:pt x="74" y="96"/>
                  </a:lnTo>
                  <a:lnTo>
                    <a:pt x="72" y="90"/>
                  </a:lnTo>
                  <a:lnTo>
                    <a:pt x="76" y="90"/>
                  </a:lnTo>
                  <a:lnTo>
                    <a:pt x="82" y="86"/>
                  </a:lnTo>
                  <a:lnTo>
                    <a:pt x="84" y="82"/>
                  </a:lnTo>
                  <a:lnTo>
                    <a:pt x="90" y="84"/>
                  </a:lnTo>
                  <a:lnTo>
                    <a:pt x="96" y="88"/>
                  </a:lnTo>
                  <a:lnTo>
                    <a:pt x="98" y="92"/>
                  </a:lnTo>
                  <a:lnTo>
                    <a:pt x="104" y="94"/>
                  </a:lnTo>
                  <a:lnTo>
                    <a:pt x="110" y="100"/>
                  </a:lnTo>
                  <a:lnTo>
                    <a:pt x="116" y="102"/>
                  </a:lnTo>
                  <a:lnTo>
                    <a:pt x="122" y="104"/>
                  </a:lnTo>
                  <a:lnTo>
                    <a:pt x="128" y="104"/>
                  </a:lnTo>
                  <a:lnTo>
                    <a:pt x="132" y="106"/>
                  </a:lnTo>
                  <a:lnTo>
                    <a:pt x="138" y="108"/>
                  </a:lnTo>
                  <a:lnTo>
                    <a:pt x="144" y="108"/>
                  </a:lnTo>
                  <a:lnTo>
                    <a:pt x="150" y="108"/>
                  </a:lnTo>
                  <a:lnTo>
                    <a:pt x="156" y="106"/>
                  </a:lnTo>
                  <a:lnTo>
                    <a:pt x="158" y="106"/>
                  </a:lnTo>
                  <a:lnTo>
                    <a:pt x="164" y="110"/>
                  </a:lnTo>
                  <a:lnTo>
                    <a:pt x="170" y="108"/>
                  </a:lnTo>
                  <a:lnTo>
                    <a:pt x="170" y="102"/>
                  </a:lnTo>
                  <a:lnTo>
                    <a:pt x="170" y="96"/>
                  </a:lnTo>
                  <a:lnTo>
                    <a:pt x="164" y="90"/>
                  </a:lnTo>
                  <a:lnTo>
                    <a:pt x="158" y="88"/>
                  </a:lnTo>
                  <a:lnTo>
                    <a:pt x="156" y="86"/>
                  </a:lnTo>
                  <a:lnTo>
                    <a:pt x="150" y="80"/>
                  </a:lnTo>
                  <a:lnTo>
                    <a:pt x="148" y="76"/>
                  </a:lnTo>
                  <a:lnTo>
                    <a:pt x="142" y="70"/>
                  </a:lnTo>
                  <a:lnTo>
                    <a:pt x="140" y="68"/>
                  </a:lnTo>
                  <a:lnTo>
                    <a:pt x="148" y="66"/>
                  </a:lnTo>
                  <a:lnTo>
                    <a:pt x="152" y="64"/>
                  </a:lnTo>
                  <a:lnTo>
                    <a:pt x="158" y="64"/>
                  </a:lnTo>
                  <a:lnTo>
                    <a:pt x="162" y="66"/>
                  </a:lnTo>
                  <a:lnTo>
                    <a:pt x="168" y="66"/>
                  </a:lnTo>
                  <a:lnTo>
                    <a:pt x="174" y="66"/>
                  </a:lnTo>
                  <a:lnTo>
                    <a:pt x="180" y="64"/>
                  </a:lnTo>
                  <a:lnTo>
                    <a:pt x="186" y="66"/>
                  </a:lnTo>
                  <a:lnTo>
                    <a:pt x="192" y="60"/>
                  </a:lnTo>
                  <a:lnTo>
                    <a:pt x="196" y="54"/>
                  </a:lnTo>
                  <a:lnTo>
                    <a:pt x="196" y="48"/>
                  </a:lnTo>
                  <a:lnTo>
                    <a:pt x="194" y="44"/>
                  </a:lnTo>
                  <a:lnTo>
                    <a:pt x="196" y="40"/>
                  </a:lnTo>
                  <a:lnTo>
                    <a:pt x="202" y="38"/>
                  </a:lnTo>
                  <a:lnTo>
                    <a:pt x="206" y="40"/>
                  </a:lnTo>
                  <a:lnTo>
                    <a:pt x="210" y="40"/>
                  </a:lnTo>
                  <a:lnTo>
                    <a:pt x="214" y="38"/>
                  </a:lnTo>
                  <a:lnTo>
                    <a:pt x="216" y="32"/>
                  </a:lnTo>
                  <a:lnTo>
                    <a:pt x="214" y="26"/>
                  </a:lnTo>
                  <a:lnTo>
                    <a:pt x="210" y="20"/>
                  </a:lnTo>
                  <a:lnTo>
                    <a:pt x="210" y="18"/>
                  </a:lnTo>
                  <a:lnTo>
                    <a:pt x="208" y="14"/>
                  </a:lnTo>
                  <a:lnTo>
                    <a:pt x="208" y="8"/>
                  </a:lnTo>
                  <a:lnTo>
                    <a:pt x="206" y="2"/>
                  </a:lnTo>
                  <a:lnTo>
                    <a:pt x="212" y="0"/>
                  </a:lnTo>
                  <a:lnTo>
                    <a:pt x="214" y="2"/>
                  </a:lnTo>
                  <a:lnTo>
                    <a:pt x="218" y="0"/>
                  </a:lnTo>
                  <a:lnTo>
                    <a:pt x="224" y="4"/>
                  </a:lnTo>
                  <a:lnTo>
                    <a:pt x="230" y="6"/>
                  </a:lnTo>
                  <a:lnTo>
                    <a:pt x="232" y="8"/>
                  </a:lnTo>
                  <a:lnTo>
                    <a:pt x="234" y="14"/>
                  </a:lnTo>
                  <a:lnTo>
                    <a:pt x="236" y="18"/>
                  </a:lnTo>
                  <a:lnTo>
                    <a:pt x="242" y="22"/>
                  </a:lnTo>
                  <a:lnTo>
                    <a:pt x="248" y="24"/>
                  </a:lnTo>
                  <a:lnTo>
                    <a:pt x="252" y="26"/>
                  </a:lnTo>
                  <a:lnTo>
                    <a:pt x="258" y="28"/>
                  </a:lnTo>
                  <a:lnTo>
                    <a:pt x="260" y="32"/>
                  </a:lnTo>
                  <a:lnTo>
                    <a:pt x="262" y="34"/>
                  </a:lnTo>
                  <a:lnTo>
                    <a:pt x="268" y="38"/>
                  </a:lnTo>
                  <a:lnTo>
                    <a:pt x="272" y="42"/>
                  </a:lnTo>
                  <a:lnTo>
                    <a:pt x="278" y="48"/>
                  </a:lnTo>
                  <a:lnTo>
                    <a:pt x="272" y="50"/>
                  </a:lnTo>
                  <a:lnTo>
                    <a:pt x="268" y="46"/>
                  </a:lnTo>
                  <a:lnTo>
                    <a:pt x="260" y="46"/>
                  </a:lnTo>
                  <a:lnTo>
                    <a:pt x="260" y="52"/>
                  </a:lnTo>
                  <a:lnTo>
                    <a:pt x="254" y="56"/>
                  </a:lnTo>
                  <a:lnTo>
                    <a:pt x="254" y="60"/>
                  </a:lnTo>
                  <a:lnTo>
                    <a:pt x="252" y="66"/>
                  </a:lnTo>
                  <a:lnTo>
                    <a:pt x="250" y="68"/>
                  </a:lnTo>
                  <a:lnTo>
                    <a:pt x="250" y="70"/>
                  </a:lnTo>
                  <a:lnTo>
                    <a:pt x="248" y="76"/>
                  </a:lnTo>
                  <a:lnTo>
                    <a:pt x="250" y="82"/>
                  </a:lnTo>
                  <a:lnTo>
                    <a:pt x="246" y="88"/>
                  </a:lnTo>
                  <a:lnTo>
                    <a:pt x="246" y="94"/>
                  </a:lnTo>
                  <a:lnTo>
                    <a:pt x="248" y="100"/>
                  </a:lnTo>
                  <a:lnTo>
                    <a:pt x="254" y="106"/>
                  </a:lnTo>
                  <a:lnTo>
                    <a:pt x="260" y="110"/>
                  </a:lnTo>
                  <a:lnTo>
                    <a:pt x="262" y="114"/>
                  </a:lnTo>
                  <a:lnTo>
                    <a:pt x="262" y="118"/>
                  </a:lnTo>
                  <a:lnTo>
                    <a:pt x="264" y="124"/>
                  </a:lnTo>
                  <a:lnTo>
                    <a:pt x="266" y="130"/>
                  </a:lnTo>
                  <a:lnTo>
                    <a:pt x="270" y="136"/>
                  </a:lnTo>
                  <a:lnTo>
                    <a:pt x="274" y="142"/>
                  </a:lnTo>
                  <a:lnTo>
                    <a:pt x="270" y="148"/>
                  </a:lnTo>
                  <a:lnTo>
                    <a:pt x="264" y="150"/>
                  </a:lnTo>
                  <a:lnTo>
                    <a:pt x="260" y="154"/>
                  </a:lnTo>
                  <a:lnTo>
                    <a:pt x="254" y="160"/>
                  </a:lnTo>
                  <a:lnTo>
                    <a:pt x="254" y="166"/>
                  </a:lnTo>
                  <a:lnTo>
                    <a:pt x="252" y="172"/>
                  </a:lnTo>
                  <a:lnTo>
                    <a:pt x="246" y="176"/>
                  </a:lnTo>
                  <a:lnTo>
                    <a:pt x="240" y="182"/>
                  </a:lnTo>
                  <a:lnTo>
                    <a:pt x="234" y="186"/>
                  </a:lnTo>
                  <a:lnTo>
                    <a:pt x="234" y="192"/>
                  </a:lnTo>
                  <a:lnTo>
                    <a:pt x="230" y="198"/>
                  </a:lnTo>
                  <a:lnTo>
                    <a:pt x="224" y="202"/>
                  </a:lnTo>
                  <a:lnTo>
                    <a:pt x="218" y="202"/>
                  </a:lnTo>
                  <a:lnTo>
                    <a:pt x="212" y="202"/>
                  </a:lnTo>
                  <a:lnTo>
                    <a:pt x="206" y="204"/>
                  </a:lnTo>
                  <a:lnTo>
                    <a:pt x="204" y="208"/>
                  </a:lnTo>
                  <a:lnTo>
                    <a:pt x="200" y="214"/>
                  </a:lnTo>
                  <a:lnTo>
                    <a:pt x="194" y="218"/>
                  </a:lnTo>
                  <a:lnTo>
                    <a:pt x="188" y="222"/>
                  </a:lnTo>
                  <a:lnTo>
                    <a:pt x="192" y="228"/>
                  </a:lnTo>
                  <a:lnTo>
                    <a:pt x="196" y="232"/>
                  </a:lnTo>
                  <a:lnTo>
                    <a:pt x="198" y="238"/>
                  </a:lnTo>
                  <a:lnTo>
                    <a:pt x="200" y="244"/>
                  </a:lnTo>
                  <a:lnTo>
                    <a:pt x="202" y="250"/>
                  </a:lnTo>
                  <a:lnTo>
                    <a:pt x="198" y="244"/>
                  </a:lnTo>
                  <a:lnTo>
                    <a:pt x="196" y="246"/>
                  </a:lnTo>
                  <a:lnTo>
                    <a:pt x="198" y="252"/>
                  </a:lnTo>
                  <a:lnTo>
                    <a:pt x="198" y="256"/>
                  </a:lnTo>
                  <a:lnTo>
                    <a:pt x="204" y="262"/>
                  </a:lnTo>
                  <a:lnTo>
                    <a:pt x="206" y="260"/>
                  </a:lnTo>
                  <a:lnTo>
                    <a:pt x="208" y="264"/>
                  </a:lnTo>
                  <a:lnTo>
                    <a:pt x="214" y="264"/>
                  </a:lnTo>
                  <a:lnTo>
                    <a:pt x="220" y="264"/>
                  </a:lnTo>
                  <a:lnTo>
                    <a:pt x="226" y="268"/>
                  </a:lnTo>
                  <a:lnTo>
                    <a:pt x="232" y="274"/>
                  </a:lnTo>
                  <a:lnTo>
                    <a:pt x="238" y="278"/>
                  </a:lnTo>
                  <a:lnTo>
                    <a:pt x="244" y="282"/>
                  </a:lnTo>
                  <a:lnTo>
                    <a:pt x="250" y="284"/>
                  </a:lnTo>
                  <a:lnTo>
                    <a:pt x="256" y="288"/>
                  </a:lnTo>
                  <a:lnTo>
                    <a:pt x="262" y="292"/>
                  </a:lnTo>
                  <a:lnTo>
                    <a:pt x="268" y="294"/>
                  </a:lnTo>
                  <a:lnTo>
                    <a:pt x="272" y="300"/>
                  </a:lnTo>
                  <a:lnTo>
                    <a:pt x="272" y="302"/>
                  </a:lnTo>
                  <a:lnTo>
                    <a:pt x="274" y="306"/>
                  </a:lnTo>
                  <a:lnTo>
                    <a:pt x="274" y="312"/>
                  </a:lnTo>
                  <a:lnTo>
                    <a:pt x="270" y="318"/>
                  </a:lnTo>
                  <a:lnTo>
                    <a:pt x="264" y="320"/>
                  </a:lnTo>
                  <a:lnTo>
                    <a:pt x="258" y="320"/>
                  </a:lnTo>
                  <a:lnTo>
                    <a:pt x="252" y="322"/>
                  </a:lnTo>
                  <a:lnTo>
                    <a:pt x="248" y="320"/>
                  </a:lnTo>
                  <a:lnTo>
                    <a:pt x="246" y="320"/>
                  </a:lnTo>
                  <a:lnTo>
                    <a:pt x="240" y="320"/>
                  </a:lnTo>
                  <a:lnTo>
                    <a:pt x="234" y="322"/>
                  </a:lnTo>
                  <a:lnTo>
                    <a:pt x="232" y="320"/>
                  </a:lnTo>
                  <a:lnTo>
                    <a:pt x="226" y="320"/>
                  </a:lnTo>
                  <a:lnTo>
                    <a:pt x="220" y="320"/>
                  </a:lnTo>
                  <a:lnTo>
                    <a:pt x="214" y="322"/>
                  </a:lnTo>
                  <a:lnTo>
                    <a:pt x="208" y="326"/>
                  </a:lnTo>
                  <a:lnTo>
                    <a:pt x="208" y="332"/>
                  </a:lnTo>
                  <a:lnTo>
                    <a:pt x="206" y="334"/>
                  </a:lnTo>
                  <a:lnTo>
                    <a:pt x="204" y="340"/>
                  </a:lnTo>
                  <a:lnTo>
                    <a:pt x="198" y="346"/>
                  </a:lnTo>
                  <a:lnTo>
                    <a:pt x="200" y="348"/>
                  </a:lnTo>
                  <a:lnTo>
                    <a:pt x="202" y="354"/>
                  </a:lnTo>
                  <a:lnTo>
                    <a:pt x="196" y="356"/>
                  </a:lnTo>
                  <a:lnTo>
                    <a:pt x="190" y="354"/>
                  </a:lnTo>
                  <a:lnTo>
                    <a:pt x="184" y="350"/>
                  </a:lnTo>
                  <a:lnTo>
                    <a:pt x="178" y="354"/>
                  </a:lnTo>
                  <a:lnTo>
                    <a:pt x="172" y="354"/>
                  </a:lnTo>
                  <a:lnTo>
                    <a:pt x="174" y="360"/>
                  </a:lnTo>
                  <a:lnTo>
                    <a:pt x="168" y="356"/>
                  </a:lnTo>
                  <a:lnTo>
                    <a:pt x="162" y="352"/>
                  </a:lnTo>
                  <a:lnTo>
                    <a:pt x="158" y="352"/>
                  </a:lnTo>
                  <a:lnTo>
                    <a:pt x="152" y="348"/>
                  </a:lnTo>
                  <a:lnTo>
                    <a:pt x="144" y="342"/>
                  </a:lnTo>
                  <a:lnTo>
                    <a:pt x="140" y="340"/>
                  </a:lnTo>
                  <a:lnTo>
                    <a:pt x="134" y="340"/>
                  </a:lnTo>
                  <a:lnTo>
                    <a:pt x="140" y="344"/>
                  </a:lnTo>
                  <a:lnTo>
                    <a:pt x="144" y="348"/>
                  </a:lnTo>
                  <a:lnTo>
                    <a:pt x="140" y="348"/>
                  </a:lnTo>
                  <a:lnTo>
                    <a:pt x="142" y="354"/>
                  </a:lnTo>
                  <a:lnTo>
                    <a:pt x="136" y="360"/>
                  </a:lnTo>
                  <a:lnTo>
                    <a:pt x="130" y="364"/>
                  </a:lnTo>
                  <a:lnTo>
                    <a:pt x="128" y="358"/>
                  </a:lnTo>
                  <a:lnTo>
                    <a:pt x="134" y="356"/>
                  </a:lnTo>
                  <a:lnTo>
                    <a:pt x="132" y="348"/>
                  </a:lnTo>
                  <a:lnTo>
                    <a:pt x="126" y="348"/>
                  </a:lnTo>
                  <a:lnTo>
                    <a:pt x="126" y="354"/>
                  </a:lnTo>
                  <a:lnTo>
                    <a:pt x="120" y="348"/>
                  </a:lnTo>
                  <a:lnTo>
                    <a:pt x="114" y="352"/>
                  </a:lnTo>
                  <a:lnTo>
                    <a:pt x="108" y="350"/>
                  </a:lnTo>
                  <a:lnTo>
                    <a:pt x="102" y="346"/>
                  </a:lnTo>
                  <a:lnTo>
                    <a:pt x="102" y="344"/>
                  </a:lnTo>
                  <a:lnTo>
                    <a:pt x="108" y="344"/>
                  </a:lnTo>
                  <a:lnTo>
                    <a:pt x="106" y="340"/>
                  </a:lnTo>
                  <a:lnTo>
                    <a:pt x="112" y="340"/>
                  </a:lnTo>
                  <a:lnTo>
                    <a:pt x="106" y="336"/>
                  </a:lnTo>
                  <a:lnTo>
                    <a:pt x="100" y="338"/>
                  </a:lnTo>
                  <a:lnTo>
                    <a:pt x="98" y="338"/>
                  </a:lnTo>
                  <a:lnTo>
                    <a:pt x="94" y="334"/>
                  </a:lnTo>
                  <a:lnTo>
                    <a:pt x="88" y="336"/>
                  </a:lnTo>
                  <a:lnTo>
                    <a:pt x="82" y="334"/>
                  </a:lnTo>
                  <a:lnTo>
                    <a:pt x="86" y="328"/>
                  </a:lnTo>
                  <a:lnTo>
                    <a:pt x="92" y="330"/>
                  </a:lnTo>
                  <a:lnTo>
                    <a:pt x="86" y="324"/>
                  </a:lnTo>
                  <a:lnTo>
                    <a:pt x="84" y="318"/>
                  </a:lnTo>
                  <a:lnTo>
                    <a:pt x="84" y="312"/>
                  </a:lnTo>
                  <a:lnTo>
                    <a:pt x="86" y="310"/>
                  </a:lnTo>
                  <a:lnTo>
                    <a:pt x="86" y="306"/>
                  </a:lnTo>
                  <a:lnTo>
                    <a:pt x="82" y="302"/>
                  </a:lnTo>
                  <a:lnTo>
                    <a:pt x="90" y="304"/>
                  </a:lnTo>
                  <a:lnTo>
                    <a:pt x="88" y="298"/>
                  </a:lnTo>
                  <a:lnTo>
                    <a:pt x="94" y="296"/>
                  </a:lnTo>
                  <a:lnTo>
                    <a:pt x="100" y="296"/>
                  </a:lnTo>
                  <a:lnTo>
                    <a:pt x="106" y="294"/>
                  </a:lnTo>
                  <a:lnTo>
                    <a:pt x="112" y="296"/>
                  </a:lnTo>
                  <a:lnTo>
                    <a:pt x="118" y="300"/>
                  </a:lnTo>
                  <a:lnTo>
                    <a:pt x="120" y="298"/>
                  </a:lnTo>
                  <a:lnTo>
                    <a:pt x="116" y="296"/>
                  </a:lnTo>
                  <a:lnTo>
                    <a:pt x="110" y="294"/>
                  </a:lnTo>
                  <a:lnTo>
                    <a:pt x="104" y="290"/>
                  </a:lnTo>
                  <a:lnTo>
                    <a:pt x="98" y="292"/>
                  </a:lnTo>
                  <a:lnTo>
                    <a:pt x="94" y="292"/>
                  </a:lnTo>
                  <a:lnTo>
                    <a:pt x="92" y="290"/>
                  </a:lnTo>
                  <a:lnTo>
                    <a:pt x="86" y="288"/>
                  </a:lnTo>
                  <a:lnTo>
                    <a:pt x="82" y="282"/>
                  </a:lnTo>
                  <a:lnTo>
                    <a:pt x="84" y="276"/>
                  </a:lnTo>
                  <a:lnTo>
                    <a:pt x="84" y="270"/>
                  </a:lnTo>
                  <a:lnTo>
                    <a:pt x="82" y="264"/>
                  </a:lnTo>
                  <a:lnTo>
                    <a:pt x="84" y="258"/>
                  </a:lnTo>
                  <a:lnTo>
                    <a:pt x="86" y="252"/>
                  </a:lnTo>
                  <a:lnTo>
                    <a:pt x="84" y="246"/>
                  </a:lnTo>
                  <a:lnTo>
                    <a:pt x="78" y="246"/>
                  </a:lnTo>
                  <a:lnTo>
                    <a:pt x="76" y="240"/>
                  </a:lnTo>
                  <a:lnTo>
                    <a:pt x="78" y="234"/>
                  </a:lnTo>
                  <a:lnTo>
                    <a:pt x="72" y="236"/>
                  </a:lnTo>
                  <a:lnTo>
                    <a:pt x="66" y="234"/>
                  </a:lnTo>
                  <a:lnTo>
                    <a:pt x="60" y="234"/>
                  </a:lnTo>
                  <a:lnTo>
                    <a:pt x="54" y="232"/>
                  </a:lnTo>
                  <a:lnTo>
                    <a:pt x="50" y="230"/>
                  </a:lnTo>
                  <a:lnTo>
                    <a:pt x="44" y="228"/>
                  </a:lnTo>
                  <a:lnTo>
                    <a:pt x="38" y="224"/>
                  </a:lnTo>
                  <a:lnTo>
                    <a:pt x="32" y="220"/>
                  </a:lnTo>
                  <a:lnTo>
                    <a:pt x="34" y="226"/>
                  </a:lnTo>
                  <a:lnTo>
                    <a:pt x="32" y="232"/>
                  </a:lnTo>
                  <a:lnTo>
                    <a:pt x="30" y="226"/>
                  </a:lnTo>
                  <a:lnTo>
                    <a:pt x="24" y="222"/>
                  </a:lnTo>
                  <a:lnTo>
                    <a:pt x="18" y="218"/>
                  </a:lnTo>
                  <a:lnTo>
                    <a:pt x="12" y="216"/>
                  </a:lnTo>
                  <a:lnTo>
                    <a:pt x="6" y="212"/>
                  </a:lnTo>
                  <a:lnTo>
                    <a:pt x="4" y="206"/>
                  </a:lnTo>
                  <a:lnTo>
                    <a:pt x="4" y="204"/>
                  </a:lnTo>
                  <a:lnTo>
                    <a:pt x="8" y="204"/>
                  </a:lnTo>
                  <a:lnTo>
                    <a:pt x="6" y="202"/>
                  </a:lnTo>
                  <a:lnTo>
                    <a:pt x="0" y="1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0" name="Freeform 137"/>
            <p:cNvSpPr>
              <a:spLocks/>
            </p:cNvSpPr>
            <p:nvPr/>
          </p:nvSpPr>
          <p:spPr bwMode="auto">
            <a:xfrm>
              <a:off x="7246938" y="2706688"/>
              <a:ext cx="188912" cy="234950"/>
            </a:xfrm>
            <a:custGeom>
              <a:avLst/>
              <a:gdLst>
                <a:gd name="T0" fmla="*/ 2147483647 w 464"/>
                <a:gd name="T1" fmla="*/ 2147483647 h 570"/>
                <a:gd name="T2" fmla="*/ 2147483647 w 464"/>
                <a:gd name="T3" fmla="*/ 2147483647 h 570"/>
                <a:gd name="T4" fmla="*/ 2147483647 w 464"/>
                <a:gd name="T5" fmla="*/ 2147483647 h 570"/>
                <a:gd name="T6" fmla="*/ 2147483647 w 464"/>
                <a:gd name="T7" fmla="*/ 2147483647 h 570"/>
                <a:gd name="T8" fmla="*/ 2147483647 w 464"/>
                <a:gd name="T9" fmla="*/ 2147483647 h 570"/>
                <a:gd name="T10" fmla="*/ 2147483647 w 464"/>
                <a:gd name="T11" fmla="*/ 2147483647 h 570"/>
                <a:gd name="T12" fmla="*/ 2147483647 w 464"/>
                <a:gd name="T13" fmla="*/ 2147483647 h 570"/>
                <a:gd name="T14" fmla="*/ 2147483647 w 464"/>
                <a:gd name="T15" fmla="*/ 2147483647 h 570"/>
                <a:gd name="T16" fmla="*/ 2147483647 w 464"/>
                <a:gd name="T17" fmla="*/ 2147483647 h 570"/>
                <a:gd name="T18" fmla="*/ 2147483647 w 464"/>
                <a:gd name="T19" fmla="*/ 2147483647 h 570"/>
                <a:gd name="T20" fmla="*/ 2147483647 w 464"/>
                <a:gd name="T21" fmla="*/ 2147483647 h 570"/>
                <a:gd name="T22" fmla="*/ 2147483647 w 464"/>
                <a:gd name="T23" fmla="*/ 2147483647 h 570"/>
                <a:gd name="T24" fmla="*/ 2147483647 w 464"/>
                <a:gd name="T25" fmla="*/ 2147483647 h 570"/>
                <a:gd name="T26" fmla="*/ 2147483647 w 464"/>
                <a:gd name="T27" fmla="*/ 2147483647 h 570"/>
                <a:gd name="T28" fmla="*/ 2147483647 w 464"/>
                <a:gd name="T29" fmla="*/ 2147483647 h 570"/>
                <a:gd name="T30" fmla="*/ 2147483647 w 464"/>
                <a:gd name="T31" fmla="*/ 2147483647 h 570"/>
                <a:gd name="T32" fmla="*/ 2147483647 w 464"/>
                <a:gd name="T33" fmla="*/ 2147483647 h 570"/>
                <a:gd name="T34" fmla="*/ 2147483647 w 464"/>
                <a:gd name="T35" fmla="*/ 2147483647 h 570"/>
                <a:gd name="T36" fmla="*/ 2147483647 w 464"/>
                <a:gd name="T37" fmla="*/ 2147483647 h 570"/>
                <a:gd name="T38" fmla="*/ 2147483647 w 464"/>
                <a:gd name="T39" fmla="*/ 2147483647 h 570"/>
                <a:gd name="T40" fmla="*/ 2147483647 w 464"/>
                <a:gd name="T41" fmla="*/ 2147483647 h 570"/>
                <a:gd name="T42" fmla="*/ 2147483647 w 464"/>
                <a:gd name="T43" fmla="*/ 2147483647 h 570"/>
                <a:gd name="T44" fmla="*/ 2147483647 w 464"/>
                <a:gd name="T45" fmla="*/ 2147483647 h 570"/>
                <a:gd name="T46" fmla="*/ 2147483647 w 464"/>
                <a:gd name="T47" fmla="*/ 2147483647 h 570"/>
                <a:gd name="T48" fmla="*/ 2147483647 w 464"/>
                <a:gd name="T49" fmla="*/ 2147483647 h 570"/>
                <a:gd name="T50" fmla="*/ 2147483647 w 464"/>
                <a:gd name="T51" fmla="*/ 2147483647 h 570"/>
                <a:gd name="T52" fmla="*/ 2147483647 w 464"/>
                <a:gd name="T53" fmla="*/ 2147483647 h 570"/>
                <a:gd name="T54" fmla="*/ 2147483647 w 464"/>
                <a:gd name="T55" fmla="*/ 2147483647 h 570"/>
                <a:gd name="T56" fmla="*/ 2147483647 w 464"/>
                <a:gd name="T57" fmla="*/ 2147483647 h 570"/>
                <a:gd name="T58" fmla="*/ 2147483647 w 464"/>
                <a:gd name="T59" fmla="*/ 2147483647 h 570"/>
                <a:gd name="T60" fmla="*/ 2147483647 w 464"/>
                <a:gd name="T61" fmla="*/ 2147483647 h 570"/>
                <a:gd name="T62" fmla="*/ 2147483647 w 464"/>
                <a:gd name="T63" fmla="*/ 2147483647 h 570"/>
                <a:gd name="T64" fmla="*/ 2147483647 w 464"/>
                <a:gd name="T65" fmla="*/ 2147483647 h 570"/>
                <a:gd name="T66" fmla="*/ 2147483647 w 464"/>
                <a:gd name="T67" fmla="*/ 2147483647 h 570"/>
                <a:gd name="T68" fmla="*/ 2147483647 w 464"/>
                <a:gd name="T69" fmla="*/ 2147483647 h 570"/>
                <a:gd name="T70" fmla="*/ 2147483647 w 464"/>
                <a:gd name="T71" fmla="*/ 2147483647 h 570"/>
                <a:gd name="T72" fmla="*/ 2147483647 w 464"/>
                <a:gd name="T73" fmla="*/ 2147483647 h 570"/>
                <a:gd name="T74" fmla="*/ 2147483647 w 464"/>
                <a:gd name="T75" fmla="*/ 2147483647 h 570"/>
                <a:gd name="T76" fmla="*/ 2147483647 w 464"/>
                <a:gd name="T77" fmla="*/ 2147483647 h 570"/>
                <a:gd name="T78" fmla="*/ 2147483647 w 464"/>
                <a:gd name="T79" fmla="*/ 2147483647 h 570"/>
                <a:gd name="T80" fmla="*/ 2147483647 w 464"/>
                <a:gd name="T81" fmla="*/ 2147483647 h 570"/>
                <a:gd name="T82" fmla="*/ 2147483647 w 464"/>
                <a:gd name="T83" fmla="*/ 2147483647 h 570"/>
                <a:gd name="T84" fmla="*/ 2147483647 w 464"/>
                <a:gd name="T85" fmla="*/ 2147483647 h 570"/>
                <a:gd name="T86" fmla="*/ 2147483647 w 464"/>
                <a:gd name="T87" fmla="*/ 2147483647 h 570"/>
                <a:gd name="T88" fmla="*/ 2147483647 w 464"/>
                <a:gd name="T89" fmla="*/ 2147483647 h 570"/>
                <a:gd name="T90" fmla="*/ 2147483647 w 464"/>
                <a:gd name="T91" fmla="*/ 2147483647 h 570"/>
                <a:gd name="T92" fmla="*/ 2147483647 w 464"/>
                <a:gd name="T93" fmla="*/ 2147483647 h 570"/>
                <a:gd name="T94" fmla="*/ 2147483647 w 464"/>
                <a:gd name="T95" fmla="*/ 2147483647 h 570"/>
                <a:gd name="T96" fmla="*/ 2147483647 w 464"/>
                <a:gd name="T97" fmla="*/ 2147483647 h 570"/>
                <a:gd name="T98" fmla="*/ 2147483647 w 464"/>
                <a:gd name="T99" fmla="*/ 2147483647 h 570"/>
                <a:gd name="T100" fmla="*/ 2147483647 w 464"/>
                <a:gd name="T101" fmla="*/ 2147483647 h 570"/>
                <a:gd name="T102" fmla="*/ 2147483647 w 464"/>
                <a:gd name="T103" fmla="*/ 0 h 570"/>
                <a:gd name="T104" fmla="*/ 2147483647 w 464"/>
                <a:gd name="T105" fmla="*/ 2147483647 h 5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64"/>
                <a:gd name="T160" fmla="*/ 0 h 570"/>
                <a:gd name="T161" fmla="*/ 464 w 464"/>
                <a:gd name="T162" fmla="*/ 570 h 57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64" h="570">
                  <a:moveTo>
                    <a:pt x="30" y="28"/>
                  </a:moveTo>
                  <a:lnTo>
                    <a:pt x="36" y="30"/>
                  </a:lnTo>
                  <a:lnTo>
                    <a:pt x="42" y="36"/>
                  </a:lnTo>
                  <a:lnTo>
                    <a:pt x="44" y="42"/>
                  </a:lnTo>
                  <a:lnTo>
                    <a:pt x="50" y="42"/>
                  </a:lnTo>
                  <a:lnTo>
                    <a:pt x="56" y="46"/>
                  </a:lnTo>
                  <a:lnTo>
                    <a:pt x="48" y="48"/>
                  </a:lnTo>
                  <a:lnTo>
                    <a:pt x="42" y="48"/>
                  </a:lnTo>
                  <a:lnTo>
                    <a:pt x="46" y="54"/>
                  </a:lnTo>
                  <a:lnTo>
                    <a:pt x="52" y="56"/>
                  </a:lnTo>
                  <a:lnTo>
                    <a:pt x="60" y="58"/>
                  </a:lnTo>
                  <a:lnTo>
                    <a:pt x="56" y="64"/>
                  </a:lnTo>
                  <a:lnTo>
                    <a:pt x="50" y="70"/>
                  </a:lnTo>
                  <a:lnTo>
                    <a:pt x="44" y="68"/>
                  </a:lnTo>
                  <a:lnTo>
                    <a:pt x="40" y="62"/>
                  </a:lnTo>
                  <a:lnTo>
                    <a:pt x="34" y="60"/>
                  </a:lnTo>
                  <a:lnTo>
                    <a:pt x="28" y="62"/>
                  </a:lnTo>
                  <a:lnTo>
                    <a:pt x="22" y="66"/>
                  </a:lnTo>
                  <a:lnTo>
                    <a:pt x="26" y="72"/>
                  </a:lnTo>
                  <a:lnTo>
                    <a:pt x="32" y="80"/>
                  </a:lnTo>
                  <a:lnTo>
                    <a:pt x="34" y="82"/>
                  </a:lnTo>
                  <a:lnTo>
                    <a:pt x="42" y="86"/>
                  </a:lnTo>
                  <a:lnTo>
                    <a:pt x="48" y="92"/>
                  </a:lnTo>
                  <a:lnTo>
                    <a:pt x="50" y="98"/>
                  </a:lnTo>
                  <a:lnTo>
                    <a:pt x="54" y="104"/>
                  </a:lnTo>
                  <a:lnTo>
                    <a:pt x="58" y="108"/>
                  </a:lnTo>
                  <a:lnTo>
                    <a:pt x="62" y="116"/>
                  </a:lnTo>
                  <a:lnTo>
                    <a:pt x="66" y="122"/>
                  </a:lnTo>
                  <a:lnTo>
                    <a:pt x="68" y="128"/>
                  </a:lnTo>
                  <a:lnTo>
                    <a:pt x="68" y="134"/>
                  </a:lnTo>
                  <a:lnTo>
                    <a:pt x="72" y="138"/>
                  </a:lnTo>
                  <a:lnTo>
                    <a:pt x="76" y="144"/>
                  </a:lnTo>
                  <a:lnTo>
                    <a:pt x="82" y="150"/>
                  </a:lnTo>
                  <a:lnTo>
                    <a:pt x="86" y="156"/>
                  </a:lnTo>
                  <a:lnTo>
                    <a:pt x="90" y="162"/>
                  </a:lnTo>
                  <a:lnTo>
                    <a:pt x="94" y="168"/>
                  </a:lnTo>
                  <a:lnTo>
                    <a:pt x="100" y="170"/>
                  </a:lnTo>
                  <a:lnTo>
                    <a:pt x="106" y="172"/>
                  </a:lnTo>
                  <a:lnTo>
                    <a:pt x="108" y="178"/>
                  </a:lnTo>
                  <a:lnTo>
                    <a:pt x="114" y="182"/>
                  </a:lnTo>
                  <a:lnTo>
                    <a:pt x="120" y="186"/>
                  </a:lnTo>
                  <a:lnTo>
                    <a:pt x="126" y="190"/>
                  </a:lnTo>
                  <a:lnTo>
                    <a:pt x="132" y="192"/>
                  </a:lnTo>
                  <a:lnTo>
                    <a:pt x="138" y="196"/>
                  </a:lnTo>
                  <a:lnTo>
                    <a:pt x="144" y="202"/>
                  </a:lnTo>
                  <a:lnTo>
                    <a:pt x="150" y="204"/>
                  </a:lnTo>
                  <a:lnTo>
                    <a:pt x="156" y="210"/>
                  </a:lnTo>
                  <a:lnTo>
                    <a:pt x="162" y="214"/>
                  </a:lnTo>
                  <a:lnTo>
                    <a:pt x="166" y="220"/>
                  </a:lnTo>
                  <a:lnTo>
                    <a:pt x="170" y="226"/>
                  </a:lnTo>
                  <a:lnTo>
                    <a:pt x="170" y="232"/>
                  </a:lnTo>
                  <a:lnTo>
                    <a:pt x="172" y="238"/>
                  </a:lnTo>
                  <a:lnTo>
                    <a:pt x="176" y="244"/>
                  </a:lnTo>
                  <a:lnTo>
                    <a:pt x="178" y="250"/>
                  </a:lnTo>
                  <a:lnTo>
                    <a:pt x="182" y="256"/>
                  </a:lnTo>
                  <a:lnTo>
                    <a:pt x="188" y="262"/>
                  </a:lnTo>
                  <a:lnTo>
                    <a:pt x="194" y="266"/>
                  </a:lnTo>
                  <a:lnTo>
                    <a:pt x="200" y="272"/>
                  </a:lnTo>
                  <a:lnTo>
                    <a:pt x="204" y="278"/>
                  </a:lnTo>
                  <a:lnTo>
                    <a:pt x="210" y="284"/>
                  </a:lnTo>
                  <a:lnTo>
                    <a:pt x="214" y="290"/>
                  </a:lnTo>
                  <a:lnTo>
                    <a:pt x="216" y="292"/>
                  </a:lnTo>
                  <a:lnTo>
                    <a:pt x="218" y="298"/>
                  </a:lnTo>
                  <a:lnTo>
                    <a:pt x="224" y="304"/>
                  </a:lnTo>
                  <a:lnTo>
                    <a:pt x="228" y="310"/>
                  </a:lnTo>
                  <a:lnTo>
                    <a:pt x="232" y="316"/>
                  </a:lnTo>
                  <a:lnTo>
                    <a:pt x="236" y="322"/>
                  </a:lnTo>
                  <a:lnTo>
                    <a:pt x="238" y="328"/>
                  </a:lnTo>
                  <a:lnTo>
                    <a:pt x="242" y="334"/>
                  </a:lnTo>
                  <a:lnTo>
                    <a:pt x="244" y="340"/>
                  </a:lnTo>
                  <a:lnTo>
                    <a:pt x="250" y="346"/>
                  </a:lnTo>
                  <a:lnTo>
                    <a:pt x="250" y="348"/>
                  </a:lnTo>
                  <a:lnTo>
                    <a:pt x="252" y="354"/>
                  </a:lnTo>
                  <a:lnTo>
                    <a:pt x="256" y="360"/>
                  </a:lnTo>
                  <a:lnTo>
                    <a:pt x="258" y="366"/>
                  </a:lnTo>
                  <a:lnTo>
                    <a:pt x="258" y="372"/>
                  </a:lnTo>
                  <a:lnTo>
                    <a:pt x="260" y="378"/>
                  </a:lnTo>
                  <a:lnTo>
                    <a:pt x="266" y="384"/>
                  </a:lnTo>
                  <a:lnTo>
                    <a:pt x="272" y="388"/>
                  </a:lnTo>
                  <a:lnTo>
                    <a:pt x="278" y="392"/>
                  </a:lnTo>
                  <a:lnTo>
                    <a:pt x="284" y="396"/>
                  </a:lnTo>
                  <a:lnTo>
                    <a:pt x="290" y="402"/>
                  </a:lnTo>
                  <a:lnTo>
                    <a:pt x="296" y="408"/>
                  </a:lnTo>
                  <a:lnTo>
                    <a:pt x="300" y="414"/>
                  </a:lnTo>
                  <a:lnTo>
                    <a:pt x="306" y="420"/>
                  </a:lnTo>
                  <a:lnTo>
                    <a:pt x="310" y="426"/>
                  </a:lnTo>
                  <a:lnTo>
                    <a:pt x="314" y="430"/>
                  </a:lnTo>
                  <a:lnTo>
                    <a:pt x="314" y="438"/>
                  </a:lnTo>
                  <a:lnTo>
                    <a:pt x="316" y="444"/>
                  </a:lnTo>
                  <a:lnTo>
                    <a:pt x="316" y="448"/>
                  </a:lnTo>
                  <a:lnTo>
                    <a:pt x="318" y="454"/>
                  </a:lnTo>
                  <a:lnTo>
                    <a:pt x="322" y="460"/>
                  </a:lnTo>
                  <a:lnTo>
                    <a:pt x="326" y="466"/>
                  </a:lnTo>
                  <a:lnTo>
                    <a:pt x="330" y="472"/>
                  </a:lnTo>
                  <a:lnTo>
                    <a:pt x="336" y="478"/>
                  </a:lnTo>
                  <a:lnTo>
                    <a:pt x="342" y="484"/>
                  </a:lnTo>
                  <a:lnTo>
                    <a:pt x="346" y="490"/>
                  </a:lnTo>
                  <a:lnTo>
                    <a:pt x="348" y="496"/>
                  </a:lnTo>
                  <a:lnTo>
                    <a:pt x="350" y="502"/>
                  </a:lnTo>
                  <a:lnTo>
                    <a:pt x="352" y="508"/>
                  </a:lnTo>
                  <a:lnTo>
                    <a:pt x="354" y="514"/>
                  </a:lnTo>
                  <a:lnTo>
                    <a:pt x="356" y="520"/>
                  </a:lnTo>
                  <a:lnTo>
                    <a:pt x="358" y="526"/>
                  </a:lnTo>
                  <a:lnTo>
                    <a:pt x="362" y="532"/>
                  </a:lnTo>
                  <a:lnTo>
                    <a:pt x="368" y="538"/>
                  </a:lnTo>
                  <a:lnTo>
                    <a:pt x="374" y="544"/>
                  </a:lnTo>
                  <a:lnTo>
                    <a:pt x="378" y="550"/>
                  </a:lnTo>
                  <a:lnTo>
                    <a:pt x="384" y="556"/>
                  </a:lnTo>
                  <a:lnTo>
                    <a:pt x="388" y="562"/>
                  </a:lnTo>
                  <a:lnTo>
                    <a:pt x="394" y="566"/>
                  </a:lnTo>
                  <a:lnTo>
                    <a:pt x="396" y="566"/>
                  </a:lnTo>
                  <a:lnTo>
                    <a:pt x="402" y="570"/>
                  </a:lnTo>
                  <a:lnTo>
                    <a:pt x="398" y="564"/>
                  </a:lnTo>
                  <a:lnTo>
                    <a:pt x="400" y="558"/>
                  </a:lnTo>
                  <a:lnTo>
                    <a:pt x="398" y="552"/>
                  </a:lnTo>
                  <a:lnTo>
                    <a:pt x="394" y="546"/>
                  </a:lnTo>
                  <a:lnTo>
                    <a:pt x="392" y="540"/>
                  </a:lnTo>
                  <a:lnTo>
                    <a:pt x="392" y="534"/>
                  </a:lnTo>
                  <a:lnTo>
                    <a:pt x="390" y="528"/>
                  </a:lnTo>
                  <a:lnTo>
                    <a:pt x="388" y="522"/>
                  </a:lnTo>
                  <a:lnTo>
                    <a:pt x="390" y="516"/>
                  </a:lnTo>
                  <a:lnTo>
                    <a:pt x="396" y="514"/>
                  </a:lnTo>
                  <a:lnTo>
                    <a:pt x="402" y="516"/>
                  </a:lnTo>
                  <a:lnTo>
                    <a:pt x="408" y="522"/>
                  </a:lnTo>
                  <a:lnTo>
                    <a:pt x="414" y="522"/>
                  </a:lnTo>
                  <a:lnTo>
                    <a:pt x="420" y="522"/>
                  </a:lnTo>
                  <a:lnTo>
                    <a:pt x="426" y="522"/>
                  </a:lnTo>
                  <a:lnTo>
                    <a:pt x="432" y="524"/>
                  </a:lnTo>
                  <a:lnTo>
                    <a:pt x="438" y="526"/>
                  </a:lnTo>
                  <a:lnTo>
                    <a:pt x="444" y="526"/>
                  </a:lnTo>
                  <a:lnTo>
                    <a:pt x="446" y="532"/>
                  </a:lnTo>
                  <a:lnTo>
                    <a:pt x="450" y="538"/>
                  </a:lnTo>
                  <a:lnTo>
                    <a:pt x="456" y="544"/>
                  </a:lnTo>
                  <a:lnTo>
                    <a:pt x="462" y="550"/>
                  </a:lnTo>
                  <a:lnTo>
                    <a:pt x="464" y="556"/>
                  </a:lnTo>
                  <a:lnTo>
                    <a:pt x="464" y="550"/>
                  </a:lnTo>
                  <a:lnTo>
                    <a:pt x="464" y="544"/>
                  </a:lnTo>
                  <a:lnTo>
                    <a:pt x="462" y="538"/>
                  </a:lnTo>
                  <a:lnTo>
                    <a:pt x="458" y="532"/>
                  </a:lnTo>
                  <a:lnTo>
                    <a:pt x="452" y="526"/>
                  </a:lnTo>
                  <a:lnTo>
                    <a:pt x="448" y="520"/>
                  </a:lnTo>
                  <a:lnTo>
                    <a:pt x="444" y="516"/>
                  </a:lnTo>
                  <a:lnTo>
                    <a:pt x="438" y="508"/>
                  </a:lnTo>
                  <a:lnTo>
                    <a:pt x="432" y="506"/>
                  </a:lnTo>
                  <a:lnTo>
                    <a:pt x="426" y="508"/>
                  </a:lnTo>
                  <a:lnTo>
                    <a:pt x="420" y="506"/>
                  </a:lnTo>
                  <a:lnTo>
                    <a:pt x="426" y="510"/>
                  </a:lnTo>
                  <a:lnTo>
                    <a:pt x="432" y="512"/>
                  </a:lnTo>
                  <a:lnTo>
                    <a:pt x="426" y="514"/>
                  </a:lnTo>
                  <a:lnTo>
                    <a:pt x="420" y="512"/>
                  </a:lnTo>
                  <a:lnTo>
                    <a:pt x="414" y="506"/>
                  </a:lnTo>
                  <a:lnTo>
                    <a:pt x="412" y="500"/>
                  </a:lnTo>
                  <a:lnTo>
                    <a:pt x="406" y="494"/>
                  </a:lnTo>
                  <a:lnTo>
                    <a:pt x="400" y="490"/>
                  </a:lnTo>
                  <a:lnTo>
                    <a:pt x="396" y="484"/>
                  </a:lnTo>
                  <a:lnTo>
                    <a:pt x="390" y="478"/>
                  </a:lnTo>
                  <a:lnTo>
                    <a:pt x="390" y="476"/>
                  </a:lnTo>
                  <a:lnTo>
                    <a:pt x="382" y="472"/>
                  </a:lnTo>
                  <a:lnTo>
                    <a:pt x="376" y="468"/>
                  </a:lnTo>
                  <a:lnTo>
                    <a:pt x="370" y="466"/>
                  </a:lnTo>
                  <a:lnTo>
                    <a:pt x="364" y="462"/>
                  </a:lnTo>
                  <a:lnTo>
                    <a:pt x="358" y="458"/>
                  </a:lnTo>
                  <a:lnTo>
                    <a:pt x="352" y="454"/>
                  </a:lnTo>
                  <a:lnTo>
                    <a:pt x="346" y="448"/>
                  </a:lnTo>
                  <a:lnTo>
                    <a:pt x="342" y="444"/>
                  </a:lnTo>
                  <a:lnTo>
                    <a:pt x="338" y="438"/>
                  </a:lnTo>
                  <a:lnTo>
                    <a:pt x="334" y="430"/>
                  </a:lnTo>
                  <a:lnTo>
                    <a:pt x="330" y="426"/>
                  </a:lnTo>
                  <a:lnTo>
                    <a:pt x="326" y="420"/>
                  </a:lnTo>
                  <a:lnTo>
                    <a:pt x="326" y="414"/>
                  </a:lnTo>
                  <a:lnTo>
                    <a:pt x="324" y="408"/>
                  </a:lnTo>
                  <a:lnTo>
                    <a:pt x="322" y="402"/>
                  </a:lnTo>
                  <a:lnTo>
                    <a:pt x="320" y="396"/>
                  </a:lnTo>
                  <a:lnTo>
                    <a:pt x="318" y="390"/>
                  </a:lnTo>
                  <a:lnTo>
                    <a:pt x="316" y="384"/>
                  </a:lnTo>
                  <a:lnTo>
                    <a:pt x="314" y="378"/>
                  </a:lnTo>
                  <a:lnTo>
                    <a:pt x="312" y="372"/>
                  </a:lnTo>
                  <a:lnTo>
                    <a:pt x="312" y="366"/>
                  </a:lnTo>
                  <a:lnTo>
                    <a:pt x="306" y="360"/>
                  </a:lnTo>
                  <a:lnTo>
                    <a:pt x="302" y="354"/>
                  </a:lnTo>
                  <a:lnTo>
                    <a:pt x="302" y="348"/>
                  </a:lnTo>
                  <a:lnTo>
                    <a:pt x="304" y="344"/>
                  </a:lnTo>
                  <a:lnTo>
                    <a:pt x="310" y="340"/>
                  </a:lnTo>
                  <a:lnTo>
                    <a:pt x="316" y="340"/>
                  </a:lnTo>
                  <a:lnTo>
                    <a:pt x="322" y="338"/>
                  </a:lnTo>
                  <a:lnTo>
                    <a:pt x="328" y="338"/>
                  </a:lnTo>
                  <a:lnTo>
                    <a:pt x="324" y="338"/>
                  </a:lnTo>
                  <a:lnTo>
                    <a:pt x="318" y="338"/>
                  </a:lnTo>
                  <a:lnTo>
                    <a:pt x="312" y="338"/>
                  </a:lnTo>
                  <a:lnTo>
                    <a:pt x="306" y="336"/>
                  </a:lnTo>
                  <a:lnTo>
                    <a:pt x="312" y="334"/>
                  </a:lnTo>
                  <a:lnTo>
                    <a:pt x="318" y="336"/>
                  </a:lnTo>
                  <a:lnTo>
                    <a:pt x="322" y="336"/>
                  </a:lnTo>
                  <a:lnTo>
                    <a:pt x="330" y="338"/>
                  </a:lnTo>
                  <a:lnTo>
                    <a:pt x="336" y="340"/>
                  </a:lnTo>
                  <a:lnTo>
                    <a:pt x="340" y="340"/>
                  </a:lnTo>
                  <a:lnTo>
                    <a:pt x="348" y="342"/>
                  </a:lnTo>
                  <a:lnTo>
                    <a:pt x="352" y="342"/>
                  </a:lnTo>
                  <a:lnTo>
                    <a:pt x="360" y="346"/>
                  </a:lnTo>
                  <a:lnTo>
                    <a:pt x="366" y="350"/>
                  </a:lnTo>
                  <a:lnTo>
                    <a:pt x="372" y="354"/>
                  </a:lnTo>
                  <a:lnTo>
                    <a:pt x="378" y="356"/>
                  </a:lnTo>
                  <a:lnTo>
                    <a:pt x="382" y="360"/>
                  </a:lnTo>
                  <a:lnTo>
                    <a:pt x="390" y="362"/>
                  </a:lnTo>
                  <a:lnTo>
                    <a:pt x="394" y="366"/>
                  </a:lnTo>
                  <a:lnTo>
                    <a:pt x="400" y="370"/>
                  </a:lnTo>
                  <a:lnTo>
                    <a:pt x="408" y="376"/>
                  </a:lnTo>
                  <a:lnTo>
                    <a:pt x="412" y="380"/>
                  </a:lnTo>
                  <a:lnTo>
                    <a:pt x="418" y="384"/>
                  </a:lnTo>
                  <a:lnTo>
                    <a:pt x="412" y="380"/>
                  </a:lnTo>
                  <a:lnTo>
                    <a:pt x="408" y="374"/>
                  </a:lnTo>
                  <a:lnTo>
                    <a:pt x="402" y="368"/>
                  </a:lnTo>
                  <a:lnTo>
                    <a:pt x="396" y="364"/>
                  </a:lnTo>
                  <a:lnTo>
                    <a:pt x="390" y="362"/>
                  </a:lnTo>
                  <a:lnTo>
                    <a:pt x="384" y="358"/>
                  </a:lnTo>
                  <a:lnTo>
                    <a:pt x="378" y="354"/>
                  </a:lnTo>
                  <a:lnTo>
                    <a:pt x="372" y="350"/>
                  </a:lnTo>
                  <a:lnTo>
                    <a:pt x="366" y="344"/>
                  </a:lnTo>
                  <a:lnTo>
                    <a:pt x="360" y="338"/>
                  </a:lnTo>
                  <a:lnTo>
                    <a:pt x="354" y="332"/>
                  </a:lnTo>
                  <a:lnTo>
                    <a:pt x="350" y="326"/>
                  </a:lnTo>
                  <a:lnTo>
                    <a:pt x="344" y="320"/>
                  </a:lnTo>
                  <a:lnTo>
                    <a:pt x="338" y="316"/>
                  </a:lnTo>
                  <a:lnTo>
                    <a:pt x="332" y="310"/>
                  </a:lnTo>
                  <a:lnTo>
                    <a:pt x="326" y="304"/>
                  </a:lnTo>
                  <a:lnTo>
                    <a:pt x="322" y="300"/>
                  </a:lnTo>
                  <a:lnTo>
                    <a:pt x="316" y="294"/>
                  </a:lnTo>
                  <a:lnTo>
                    <a:pt x="314" y="292"/>
                  </a:lnTo>
                  <a:lnTo>
                    <a:pt x="308" y="288"/>
                  </a:lnTo>
                  <a:lnTo>
                    <a:pt x="302" y="282"/>
                  </a:lnTo>
                  <a:lnTo>
                    <a:pt x="296" y="278"/>
                  </a:lnTo>
                  <a:lnTo>
                    <a:pt x="290" y="274"/>
                  </a:lnTo>
                  <a:lnTo>
                    <a:pt x="284" y="270"/>
                  </a:lnTo>
                  <a:lnTo>
                    <a:pt x="278" y="264"/>
                  </a:lnTo>
                  <a:lnTo>
                    <a:pt x="272" y="258"/>
                  </a:lnTo>
                  <a:lnTo>
                    <a:pt x="266" y="252"/>
                  </a:lnTo>
                  <a:lnTo>
                    <a:pt x="262" y="246"/>
                  </a:lnTo>
                  <a:lnTo>
                    <a:pt x="256" y="240"/>
                  </a:lnTo>
                  <a:lnTo>
                    <a:pt x="250" y="234"/>
                  </a:lnTo>
                  <a:lnTo>
                    <a:pt x="244" y="228"/>
                  </a:lnTo>
                  <a:lnTo>
                    <a:pt x="238" y="224"/>
                  </a:lnTo>
                  <a:lnTo>
                    <a:pt x="232" y="218"/>
                  </a:lnTo>
                  <a:lnTo>
                    <a:pt x="226" y="212"/>
                  </a:lnTo>
                  <a:lnTo>
                    <a:pt x="220" y="206"/>
                  </a:lnTo>
                  <a:lnTo>
                    <a:pt x="226" y="212"/>
                  </a:lnTo>
                  <a:lnTo>
                    <a:pt x="220" y="206"/>
                  </a:lnTo>
                  <a:lnTo>
                    <a:pt x="214" y="204"/>
                  </a:lnTo>
                  <a:lnTo>
                    <a:pt x="212" y="198"/>
                  </a:lnTo>
                  <a:lnTo>
                    <a:pt x="206" y="192"/>
                  </a:lnTo>
                  <a:lnTo>
                    <a:pt x="200" y="188"/>
                  </a:lnTo>
                  <a:lnTo>
                    <a:pt x="196" y="184"/>
                  </a:lnTo>
                  <a:lnTo>
                    <a:pt x="200" y="190"/>
                  </a:lnTo>
                  <a:lnTo>
                    <a:pt x="194" y="190"/>
                  </a:lnTo>
                  <a:lnTo>
                    <a:pt x="190" y="184"/>
                  </a:lnTo>
                  <a:lnTo>
                    <a:pt x="188" y="178"/>
                  </a:lnTo>
                  <a:lnTo>
                    <a:pt x="182" y="172"/>
                  </a:lnTo>
                  <a:lnTo>
                    <a:pt x="178" y="168"/>
                  </a:lnTo>
                  <a:lnTo>
                    <a:pt x="176" y="168"/>
                  </a:lnTo>
                  <a:lnTo>
                    <a:pt x="170" y="164"/>
                  </a:lnTo>
                  <a:lnTo>
                    <a:pt x="166" y="160"/>
                  </a:lnTo>
                  <a:lnTo>
                    <a:pt x="160" y="152"/>
                  </a:lnTo>
                  <a:lnTo>
                    <a:pt x="156" y="146"/>
                  </a:lnTo>
                  <a:lnTo>
                    <a:pt x="152" y="142"/>
                  </a:lnTo>
                  <a:lnTo>
                    <a:pt x="146" y="136"/>
                  </a:lnTo>
                  <a:lnTo>
                    <a:pt x="144" y="130"/>
                  </a:lnTo>
                  <a:lnTo>
                    <a:pt x="142" y="126"/>
                  </a:lnTo>
                  <a:lnTo>
                    <a:pt x="146" y="130"/>
                  </a:lnTo>
                  <a:lnTo>
                    <a:pt x="150" y="136"/>
                  </a:lnTo>
                  <a:lnTo>
                    <a:pt x="150" y="130"/>
                  </a:lnTo>
                  <a:lnTo>
                    <a:pt x="146" y="126"/>
                  </a:lnTo>
                  <a:lnTo>
                    <a:pt x="142" y="118"/>
                  </a:lnTo>
                  <a:lnTo>
                    <a:pt x="138" y="114"/>
                  </a:lnTo>
                  <a:lnTo>
                    <a:pt x="132" y="108"/>
                  </a:lnTo>
                  <a:lnTo>
                    <a:pt x="128" y="102"/>
                  </a:lnTo>
                  <a:lnTo>
                    <a:pt x="120" y="100"/>
                  </a:lnTo>
                  <a:lnTo>
                    <a:pt x="114" y="94"/>
                  </a:lnTo>
                  <a:lnTo>
                    <a:pt x="110" y="92"/>
                  </a:lnTo>
                  <a:lnTo>
                    <a:pt x="102" y="86"/>
                  </a:lnTo>
                  <a:lnTo>
                    <a:pt x="98" y="80"/>
                  </a:lnTo>
                  <a:lnTo>
                    <a:pt x="92" y="74"/>
                  </a:lnTo>
                  <a:lnTo>
                    <a:pt x="90" y="70"/>
                  </a:lnTo>
                  <a:lnTo>
                    <a:pt x="96" y="70"/>
                  </a:lnTo>
                  <a:lnTo>
                    <a:pt x="100" y="78"/>
                  </a:lnTo>
                  <a:lnTo>
                    <a:pt x="106" y="80"/>
                  </a:lnTo>
                  <a:lnTo>
                    <a:pt x="112" y="84"/>
                  </a:lnTo>
                  <a:lnTo>
                    <a:pt x="120" y="92"/>
                  </a:lnTo>
                  <a:lnTo>
                    <a:pt x="128" y="102"/>
                  </a:lnTo>
                  <a:lnTo>
                    <a:pt x="124" y="96"/>
                  </a:lnTo>
                  <a:lnTo>
                    <a:pt x="118" y="90"/>
                  </a:lnTo>
                  <a:lnTo>
                    <a:pt x="112" y="84"/>
                  </a:lnTo>
                  <a:lnTo>
                    <a:pt x="106" y="78"/>
                  </a:lnTo>
                  <a:lnTo>
                    <a:pt x="100" y="72"/>
                  </a:lnTo>
                  <a:lnTo>
                    <a:pt x="94" y="68"/>
                  </a:lnTo>
                  <a:lnTo>
                    <a:pt x="88" y="66"/>
                  </a:lnTo>
                  <a:lnTo>
                    <a:pt x="84" y="60"/>
                  </a:lnTo>
                  <a:lnTo>
                    <a:pt x="78" y="58"/>
                  </a:lnTo>
                  <a:lnTo>
                    <a:pt x="72" y="52"/>
                  </a:lnTo>
                  <a:lnTo>
                    <a:pt x="66" y="50"/>
                  </a:lnTo>
                  <a:lnTo>
                    <a:pt x="60" y="44"/>
                  </a:lnTo>
                  <a:lnTo>
                    <a:pt x="54" y="40"/>
                  </a:lnTo>
                  <a:lnTo>
                    <a:pt x="60" y="42"/>
                  </a:lnTo>
                  <a:lnTo>
                    <a:pt x="66" y="46"/>
                  </a:lnTo>
                  <a:lnTo>
                    <a:pt x="60" y="42"/>
                  </a:lnTo>
                  <a:lnTo>
                    <a:pt x="54" y="36"/>
                  </a:lnTo>
                  <a:lnTo>
                    <a:pt x="48" y="34"/>
                  </a:lnTo>
                  <a:lnTo>
                    <a:pt x="46" y="28"/>
                  </a:lnTo>
                  <a:lnTo>
                    <a:pt x="46" y="22"/>
                  </a:lnTo>
                  <a:lnTo>
                    <a:pt x="38" y="16"/>
                  </a:lnTo>
                  <a:lnTo>
                    <a:pt x="32" y="12"/>
                  </a:lnTo>
                  <a:lnTo>
                    <a:pt x="26" y="8"/>
                  </a:lnTo>
                  <a:lnTo>
                    <a:pt x="20" y="4"/>
                  </a:lnTo>
                  <a:lnTo>
                    <a:pt x="14" y="0"/>
                  </a:lnTo>
                  <a:lnTo>
                    <a:pt x="12" y="6"/>
                  </a:lnTo>
                  <a:lnTo>
                    <a:pt x="6" y="10"/>
                  </a:lnTo>
                  <a:lnTo>
                    <a:pt x="0" y="8"/>
                  </a:lnTo>
                  <a:lnTo>
                    <a:pt x="6" y="12"/>
                  </a:lnTo>
                  <a:lnTo>
                    <a:pt x="12" y="16"/>
                  </a:lnTo>
                  <a:lnTo>
                    <a:pt x="18" y="20"/>
                  </a:lnTo>
                  <a:lnTo>
                    <a:pt x="24" y="24"/>
                  </a:lnTo>
                  <a:lnTo>
                    <a:pt x="30" y="26"/>
                  </a:lnTo>
                  <a:lnTo>
                    <a:pt x="30" y="2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1" name="Freeform 138"/>
            <p:cNvSpPr>
              <a:spLocks/>
            </p:cNvSpPr>
            <p:nvPr/>
          </p:nvSpPr>
          <p:spPr bwMode="auto">
            <a:xfrm>
              <a:off x="7180263" y="3714750"/>
              <a:ext cx="120650" cy="174625"/>
            </a:xfrm>
            <a:custGeom>
              <a:avLst/>
              <a:gdLst>
                <a:gd name="T0" fmla="*/ 2147483647 w 296"/>
                <a:gd name="T1" fmla="*/ 2147483647 h 422"/>
                <a:gd name="T2" fmla="*/ 2147483647 w 296"/>
                <a:gd name="T3" fmla="*/ 2147483647 h 422"/>
                <a:gd name="T4" fmla="*/ 2147483647 w 296"/>
                <a:gd name="T5" fmla="*/ 2147483647 h 422"/>
                <a:gd name="T6" fmla="*/ 2147483647 w 296"/>
                <a:gd name="T7" fmla="*/ 2147483647 h 422"/>
                <a:gd name="T8" fmla="*/ 2147483647 w 296"/>
                <a:gd name="T9" fmla="*/ 2147483647 h 422"/>
                <a:gd name="T10" fmla="*/ 2147483647 w 296"/>
                <a:gd name="T11" fmla="*/ 2147483647 h 422"/>
                <a:gd name="T12" fmla="*/ 2147483647 w 296"/>
                <a:gd name="T13" fmla="*/ 2147483647 h 422"/>
                <a:gd name="T14" fmla="*/ 2147483647 w 296"/>
                <a:gd name="T15" fmla="*/ 2147483647 h 422"/>
                <a:gd name="T16" fmla="*/ 2147483647 w 296"/>
                <a:gd name="T17" fmla="*/ 2147483647 h 422"/>
                <a:gd name="T18" fmla="*/ 2147483647 w 296"/>
                <a:gd name="T19" fmla="*/ 2147483647 h 422"/>
                <a:gd name="T20" fmla="*/ 2147483647 w 296"/>
                <a:gd name="T21" fmla="*/ 2147483647 h 422"/>
                <a:gd name="T22" fmla="*/ 2147483647 w 296"/>
                <a:gd name="T23" fmla="*/ 2147483647 h 422"/>
                <a:gd name="T24" fmla="*/ 2147483647 w 296"/>
                <a:gd name="T25" fmla="*/ 2147483647 h 422"/>
                <a:gd name="T26" fmla="*/ 2147483647 w 296"/>
                <a:gd name="T27" fmla="*/ 2147483647 h 422"/>
                <a:gd name="T28" fmla="*/ 2147483647 w 296"/>
                <a:gd name="T29" fmla="*/ 2147483647 h 422"/>
                <a:gd name="T30" fmla="*/ 2147483647 w 296"/>
                <a:gd name="T31" fmla="*/ 2147483647 h 422"/>
                <a:gd name="T32" fmla="*/ 2147483647 w 296"/>
                <a:gd name="T33" fmla="*/ 2147483647 h 422"/>
                <a:gd name="T34" fmla="*/ 2147483647 w 296"/>
                <a:gd name="T35" fmla="*/ 2147483647 h 422"/>
                <a:gd name="T36" fmla="*/ 2147483647 w 296"/>
                <a:gd name="T37" fmla="*/ 2147483647 h 422"/>
                <a:gd name="T38" fmla="*/ 2147483647 w 296"/>
                <a:gd name="T39" fmla="*/ 2147483647 h 422"/>
                <a:gd name="T40" fmla="*/ 2147483647 w 296"/>
                <a:gd name="T41" fmla="*/ 2147483647 h 422"/>
                <a:gd name="T42" fmla="*/ 2147483647 w 296"/>
                <a:gd name="T43" fmla="*/ 2147483647 h 422"/>
                <a:gd name="T44" fmla="*/ 2147483647 w 296"/>
                <a:gd name="T45" fmla="*/ 2147483647 h 422"/>
                <a:gd name="T46" fmla="*/ 2147483647 w 296"/>
                <a:gd name="T47" fmla="*/ 2147483647 h 422"/>
                <a:gd name="T48" fmla="*/ 2147483647 w 296"/>
                <a:gd name="T49" fmla="*/ 2147483647 h 422"/>
                <a:gd name="T50" fmla="*/ 2147483647 w 296"/>
                <a:gd name="T51" fmla="*/ 2147483647 h 422"/>
                <a:gd name="T52" fmla="*/ 2147483647 w 296"/>
                <a:gd name="T53" fmla="*/ 2147483647 h 422"/>
                <a:gd name="T54" fmla="*/ 2147483647 w 296"/>
                <a:gd name="T55" fmla="*/ 2147483647 h 422"/>
                <a:gd name="T56" fmla="*/ 2147483647 w 296"/>
                <a:gd name="T57" fmla="*/ 2147483647 h 422"/>
                <a:gd name="T58" fmla="*/ 2147483647 w 296"/>
                <a:gd name="T59" fmla="*/ 2147483647 h 422"/>
                <a:gd name="T60" fmla="*/ 2147483647 w 296"/>
                <a:gd name="T61" fmla="*/ 2147483647 h 422"/>
                <a:gd name="T62" fmla="*/ 2147483647 w 296"/>
                <a:gd name="T63" fmla="*/ 2147483647 h 422"/>
                <a:gd name="T64" fmla="*/ 2147483647 w 296"/>
                <a:gd name="T65" fmla="*/ 2147483647 h 422"/>
                <a:gd name="T66" fmla="*/ 2147483647 w 296"/>
                <a:gd name="T67" fmla="*/ 2147483647 h 422"/>
                <a:gd name="T68" fmla="*/ 2147483647 w 296"/>
                <a:gd name="T69" fmla="*/ 2147483647 h 422"/>
                <a:gd name="T70" fmla="*/ 2147483647 w 296"/>
                <a:gd name="T71" fmla="*/ 2147483647 h 422"/>
                <a:gd name="T72" fmla="*/ 2147483647 w 296"/>
                <a:gd name="T73" fmla="*/ 2147483647 h 422"/>
                <a:gd name="T74" fmla="*/ 2147483647 w 296"/>
                <a:gd name="T75" fmla="*/ 2147483647 h 422"/>
                <a:gd name="T76" fmla="*/ 2147483647 w 296"/>
                <a:gd name="T77" fmla="*/ 2147483647 h 422"/>
                <a:gd name="T78" fmla="*/ 2147483647 w 296"/>
                <a:gd name="T79" fmla="*/ 2147483647 h 422"/>
                <a:gd name="T80" fmla="*/ 2147483647 w 296"/>
                <a:gd name="T81" fmla="*/ 2147483647 h 422"/>
                <a:gd name="T82" fmla="*/ 2147483647 w 296"/>
                <a:gd name="T83" fmla="*/ 2147483647 h 422"/>
                <a:gd name="T84" fmla="*/ 2147483647 w 296"/>
                <a:gd name="T85" fmla="*/ 2147483647 h 422"/>
                <a:gd name="T86" fmla="*/ 2147483647 w 296"/>
                <a:gd name="T87" fmla="*/ 2147483647 h 422"/>
                <a:gd name="T88" fmla="*/ 2147483647 w 296"/>
                <a:gd name="T89" fmla="*/ 2147483647 h 422"/>
                <a:gd name="T90" fmla="*/ 2147483647 w 296"/>
                <a:gd name="T91" fmla="*/ 2147483647 h 422"/>
                <a:gd name="T92" fmla="*/ 2147483647 w 296"/>
                <a:gd name="T93" fmla="*/ 2147483647 h 422"/>
                <a:gd name="T94" fmla="*/ 2147483647 w 296"/>
                <a:gd name="T95" fmla="*/ 2147483647 h 422"/>
                <a:gd name="T96" fmla="*/ 2147483647 w 296"/>
                <a:gd name="T97" fmla="*/ 2147483647 h 422"/>
                <a:gd name="T98" fmla="*/ 2147483647 w 296"/>
                <a:gd name="T99" fmla="*/ 2147483647 h 422"/>
                <a:gd name="T100" fmla="*/ 2147483647 w 296"/>
                <a:gd name="T101" fmla="*/ 2147483647 h 422"/>
                <a:gd name="T102" fmla="*/ 2147483647 w 296"/>
                <a:gd name="T103" fmla="*/ 2147483647 h 422"/>
                <a:gd name="T104" fmla="*/ 2147483647 w 296"/>
                <a:gd name="T105" fmla="*/ 2147483647 h 422"/>
                <a:gd name="T106" fmla="*/ 2147483647 w 296"/>
                <a:gd name="T107" fmla="*/ 2147483647 h 422"/>
                <a:gd name="T108" fmla="*/ 2147483647 w 296"/>
                <a:gd name="T109" fmla="*/ 2147483647 h 422"/>
                <a:gd name="T110" fmla="*/ 2147483647 w 296"/>
                <a:gd name="T111" fmla="*/ 2147483647 h 42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6"/>
                <a:gd name="T169" fmla="*/ 0 h 422"/>
                <a:gd name="T170" fmla="*/ 296 w 296"/>
                <a:gd name="T171" fmla="*/ 422 h 42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6" h="422">
                  <a:moveTo>
                    <a:pt x="2" y="174"/>
                  </a:moveTo>
                  <a:lnTo>
                    <a:pt x="0" y="176"/>
                  </a:lnTo>
                  <a:lnTo>
                    <a:pt x="2" y="182"/>
                  </a:lnTo>
                  <a:lnTo>
                    <a:pt x="4" y="188"/>
                  </a:lnTo>
                  <a:lnTo>
                    <a:pt x="10" y="190"/>
                  </a:lnTo>
                  <a:lnTo>
                    <a:pt x="12" y="196"/>
                  </a:lnTo>
                  <a:lnTo>
                    <a:pt x="12" y="202"/>
                  </a:lnTo>
                  <a:lnTo>
                    <a:pt x="14" y="208"/>
                  </a:lnTo>
                  <a:lnTo>
                    <a:pt x="16" y="214"/>
                  </a:lnTo>
                  <a:lnTo>
                    <a:pt x="14" y="220"/>
                  </a:lnTo>
                  <a:lnTo>
                    <a:pt x="18" y="226"/>
                  </a:lnTo>
                  <a:lnTo>
                    <a:pt x="22" y="232"/>
                  </a:lnTo>
                  <a:lnTo>
                    <a:pt x="24" y="234"/>
                  </a:lnTo>
                  <a:lnTo>
                    <a:pt x="24" y="236"/>
                  </a:lnTo>
                  <a:lnTo>
                    <a:pt x="26" y="242"/>
                  </a:lnTo>
                  <a:lnTo>
                    <a:pt x="28" y="250"/>
                  </a:lnTo>
                  <a:lnTo>
                    <a:pt x="28" y="252"/>
                  </a:lnTo>
                  <a:lnTo>
                    <a:pt x="28" y="256"/>
                  </a:lnTo>
                  <a:lnTo>
                    <a:pt x="30" y="260"/>
                  </a:lnTo>
                  <a:lnTo>
                    <a:pt x="32" y="266"/>
                  </a:lnTo>
                  <a:lnTo>
                    <a:pt x="38" y="266"/>
                  </a:lnTo>
                  <a:lnTo>
                    <a:pt x="38" y="260"/>
                  </a:lnTo>
                  <a:lnTo>
                    <a:pt x="44" y="266"/>
                  </a:lnTo>
                  <a:lnTo>
                    <a:pt x="42" y="268"/>
                  </a:lnTo>
                  <a:lnTo>
                    <a:pt x="42" y="274"/>
                  </a:lnTo>
                  <a:lnTo>
                    <a:pt x="50" y="276"/>
                  </a:lnTo>
                  <a:lnTo>
                    <a:pt x="52" y="284"/>
                  </a:lnTo>
                  <a:lnTo>
                    <a:pt x="54" y="288"/>
                  </a:lnTo>
                  <a:lnTo>
                    <a:pt x="60" y="290"/>
                  </a:lnTo>
                  <a:lnTo>
                    <a:pt x="66" y="290"/>
                  </a:lnTo>
                  <a:lnTo>
                    <a:pt x="66" y="284"/>
                  </a:lnTo>
                  <a:lnTo>
                    <a:pt x="64" y="278"/>
                  </a:lnTo>
                  <a:lnTo>
                    <a:pt x="60" y="270"/>
                  </a:lnTo>
                  <a:lnTo>
                    <a:pt x="60" y="264"/>
                  </a:lnTo>
                  <a:lnTo>
                    <a:pt x="64" y="264"/>
                  </a:lnTo>
                  <a:lnTo>
                    <a:pt x="66" y="268"/>
                  </a:lnTo>
                  <a:lnTo>
                    <a:pt x="68" y="268"/>
                  </a:lnTo>
                  <a:lnTo>
                    <a:pt x="76" y="268"/>
                  </a:lnTo>
                  <a:lnTo>
                    <a:pt x="78" y="268"/>
                  </a:lnTo>
                  <a:lnTo>
                    <a:pt x="84" y="274"/>
                  </a:lnTo>
                  <a:lnTo>
                    <a:pt x="86" y="276"/>
                  </a:lnTo>
                  <a:lnTo>
                    <a:pt x="86" y="280"/>
                  </a:lnTo>
                  <a:lnTo>
                    <a:pt x="88" y="282"/>
                  </a:lnTo>
                  <a:lnTo>
                    <a:pt x="88" y="288"/>
                  </a:lnTo>
                  <a:lnTo>
                    <a:pt x="82" y="288"/>
                  </a:lnTo>
                  <a:lnTo>
                    <a:pt x="80" y="294"/>
                  </a:lnTo>
                  <a:lnTo>
                    <a:pt x="74" y="302"/>
                  </a:lnTo>
                  <a:lnTo>
                    <a:pt x="68" y="306"/>
                  </a:lnTo>
                  <a:lnTo>
                    <a:pt x="68" y="310"/>
                  </a:lnTo>
                  <a:lnTo>
                    <a:pt x="70" y="316"/>
                  </a:lnTo>
                  <a:lnTo>
                    <a:pt x="72" y="322"/>
                  </a:lnTo>
                  <a:lnTo>
                    <a:pt x="72" y="328"/>
                  </a:lnTo>
                  <a:lnTo>
                    <a:pt x="72" y="334"/>
                  </a:lnTo>
                  <a:lnTo>
                    <a:pt x="78" y="332"/>
                  </a:lnTo>
                  <a:lnTo>
                    <a:pt x="78" y="326"/>
                  </a:lnTo>
                  <a:lnTo>
                    <a:pt x="84" y="326"/>
                  </a:lnTo>
                  <a:lnTo>
                    <a:pt x="88" y="328"/>
                  </a:lnTo>
                  <a:lnTo>
                    <a:pt x="90" y="330"/>
                  </a:lnTo>
                  <a:lnTo>
                    <a:pt x="92" y="336"/>
                  </a:lnTo>
                  <a:lnTo>
                    <a:pt x="90" y="342"/>
                  </a:lnTo>
                  <a:lnTo>
                    <a:pt x="94" y="336"/>
                  </a:lnTo>
                  <a:lnTo>
                    <a:pt x="100" y="340"/>
                  </a:lnTo>
                  <a:lnTo>
                    <a:pt x="100" y="346"/>
                  </a:lnTo>
                  <a:lnTo>
                    <a:pt x="106" y="346"/>
                  </a:lnTo>
                  <a:lnTo>
                    <a:pt x="110" y="346"/>
                  </a:lnTo>
                  <a:lnTo>
                    <a:pt x="118" y="346"/>
                  </a:lnTo>
                  <a:lnTo>
                    <a:pt x="124" y="340"/>
                  </a:lnTo>
                  <a:lnTo>
                    <a:pt x="124" y="334"/>
                  </a:lnTo>
                  <a:lnTo>
                    <a:pt x="128" y="330"/>
                  </a:lnTo>
                  <a:lnTo>
                    <a:pt x="134" y="328"/>
                  </a:lnTo>
                  <a:lnTo>
                    <a:pt x="140" y="322"/>
                  </a:lnTo>
                  <a:lnTo>
                    <a:pt x="146" y="328"/>
                  </a:lnTo>
                  <a:lnTo>
                    <a:pt x="152" y="332"/>
                  </a:lnTo>
                  <a:lnTo>
                    <a:pt x="158" y="334"/>
                  </a:lnTo>
                  <a:lnTo>
                    <a:pt x="162" y="336"/>
                  </a:lnTo>
                  <a:lnTo>
                    <a:pt x="168" y="342"/>
                  </a:lnTo>
                  <a:lnTo>
                    <a:pt x="172" y="348"/>
                  </a:lnTo>
                  <a:lnTo>
                    <a:pt x="178" y="350"/>
                  </a:lnTo>
                  <a:lnTo>
                    <a:pt x="178" y="352"/>
                  </a:lnTo>
                  <a:lnTo>
                    <a:pt x="184" y="356"/>
                  </a:lnTo>
                  <a:lnTo>
                    <a:pt x="190" y="362"/>
                  </a:lnTo>
                  <a:lnTo>
                    <a:pt x="192" y="368"/>
                  </a:lnTo>
                  <a:lnTo>
                    <a:pt x="194" y="374"/>
                  </a:lnTo>
                  <a:lnTo>
                    <a:pt x="198" y="378"/>
                  </a:lnTo>
                  <a:lnTo>
                    <a:pt x="204" y="374"/>
                  </a:lnTo>
                  <a:lnTo>
                    <a:pt x="202" y="368"/>
                  </a:lnTo>
                  <a:lnTo>
                    <a:pt x="200" y="362"/>
                  </a:lnTo>
                  <a:lnTo>
                    <a:pt x="196" y="356"/>
                  </a:lnTo>
                  <a:lnTo>
                    <a:pt x="192" y="350"/>
                  </a:lnTo>
                  <a:lnTo>
                    <a:pt x="194" y="352"/>
                  </a:lnTo>
                  <a:lnTo>
                    <a:pt x="188" y="346"/>
                  </a:lnTo>
                  <a:lnTo>
                    <a:pt x="188" y="344"/>
                  </a:lnTo>
                  <a:lnTo>
                    <a:pt x="188" y="336"/>
                  </a:lnTo>
                  <a:lnTo>
                    <a:pt x="186" y="332"/>
                  </a:lnTo>
                  <a:lnTo>
                    <a:pt x="182" y="326"/>
                  </a:lnTo>
                  <a:lnTo>
                    <a:pt x="190" y="326"/>
                  </a:lnTo>
                  <a:lnTo>
                    <a:pt x="190" y="328"/>
                  </a:lnTo>
                  <a:lnTo>
                    <a:pt x="196" y="334"/>
                  </a:lnTo>
                  <a:lnTo>
                    <a:pt x="202" y="336"/>
                  </a:lnTo>
                  <a:lnTo>
                    <a:pt x="204" y="336"/>
                  </a:lnTo>
                  <a:lnTo>
                    <a:pt x="210" y="342"/>
                  </a:lnTo>
                  <a:lnTo>
                    <a:pt x="210" y="348"/>
                  </a:lnTo>
                  <a:lnTo>
                    <a:pt x="216" y="352"/>
                  </a:lnTo>
                  <a:lnTo>
                    <a:pt x="222" y="356"/>
                  </a:lnTo>
                  <a:lnTo>
                    <a:pt x="226" y="356"/>
                  </a:lnTo>
                  <a:lnTo>
                    <a:pt x="232" y="360"/>
                  </a:lnTo>
                  <a:lnTo>
                    <a:pt x="234" y="366"/>
                  </a:lnTo>
                  <a:lnTo>
                    <a:pt x="240" y="372"/>
                  </a:lnTo>
                  <a:lnTo>
                    <a:pt x="240" y="376"/>
                  </a:lnTo>
                  <a:lnTo>
                    <a:pt x="240" y="382"/>
                  </a:lnTo>
                  <a:lnTo>
                    <a:pt x="242" y="388"/>
                  </a:lnTo>
                  <a:lnTo>
                    <a:pt x="248" y="386"/>
                  </a:lnTo>
                  <a:lnTo>
                    <a:pt x="254" y="392"/>
                  </a:lnTo>
                  <a:lnTo>
                    <a:pt x="260" y="396"/>
                  </a:lnTo>
                  <a:lnTo>
                    <a:pt x="266" y="396"/>
                  </a:lnTo>
                  <a:lnTo>
                    <a:pt x="268" y="400"/>
                  </a:lnTo>
                  <a:lnTo>
                    <a:pt x="274" y="398"/>
                  </a:lnTo>
                  <a:lnTo>
                    <a:pt x="280" y="392"/>
                  </a:lnTo>
                  <a:lnTo>
                    <a:pt x="286" y="392"/>
                  </a:lnTo>
                  <a:lnTo>
                    <a:pt x="284" y="400"/>
                  </a:lnTo>
                  <a:lnTo>
                    <a:pt x="282" y="400"/>
                  </a:lnTo>
                  <a:lnTo>
                    <a:pt x="276" y="404"/>
                  </a:lnTo>
                  <a:lnTo>
                    <a:pt x="276" y="410"/>
                  </a:lnTo>
                  <a:lnTo>
                    <a:pt x="282" y="416"/>
                  </a:lnTo>
                  <a:lnTo>
                    <a:pt x="286" y="422"/>
                  </a:lnTo>
                  <a:lnTo>
                    <a:pt x="292" y="422"/>
                  </a:lnTo>
                  <a:lnTo>
                    <a:pt x="292" y="416"/>
                  </a:lnTo>
                  <a:lnTo>
                    <a:pt x="294" y="410"/>
                  </a:lnTo>
                  <a:lnTo>
                    <a:pt x="296" y="404"/>
                  </a:lnTo>
                  <a:lnTo>
                    <a:pt x="292" y="398"/>
                  </a:lnTo>
                  <a:lnTo>
                    <a:pt x="292" y="392"/>
                  </a:lnTo>
                  <a:lnTo>
                    <a:pt x="290" y="386"/>
                  </a:lnTo>
                  <a:lnTo>
                    <a:pt x="284" y="386"/>
                  </a:lnTo>
                  <a:lnTo>
                    <a:pt x="278" y="382"/>
                  </a:lnTo>
                  <a:lnTo>
                    <a:pt x="276" y="380"/>
                  </a:lnTo>
                  <a:lnTo>
                    <a:pt x="270" y="382"/>
                  </a:lnTo>
                  <a:lnTo>
                    <a:pt x="268" y="376"/>
                  </a:lnTo>
                  <a:lnTo>
                    <a:pt x="270" y="370"/>
                  </a:lnTo>
                  <a:lnTo>
                    <a:pt x="264" y="364"/>
                  </a:lnTo>
                  <a:lnTo>
                    <a:pt x="262" y="358"/>
                  </a:lnTo>
                  <a:lnTo>
                    <a:pt x="256" y="354"/>
                  </a:lnTo>
                  <a:lnTo>
                    <a:pt x="252" y="352"/>
                  </a:lnTo>
                  <a:lnTo>
                    <a:pt x="250" y="348"/>
                  </a:lnTo>
                  <a:lnTo>
                    <a:pt x="252" y="340"/>
                  </a:lnTo>
                  <a:lnTo>
                    <a:pt x="258" y="340"/>
                  </a:lnTo>
                  <a:lnTo>
                    <a:pt x="264" y="342"/>
                  </a:lnTo>
                  <a:lnTo>
                    <a:pt x="270" y="340"/>
                  </a:lnTo>
                  <a:lnTo>
                    <a:pt x="276" y="340"/>
                  </a:lnTo>
                  <a:lnTo>
                    <a:pt x="274" y="336"/>
                  </a:lnTo>
                  <a:lnTo>
                    <a:pt x="268" y="334"/>
                  </a:lnTo>
                  <a:lnTo>
                    <a:pt x="264" y="332"/>
                  </a:lnTo>
                  <a:lnTo>
                    <a:pt x="258" y="328"/>
                  </a:lnTo>
                  <a:lnTo>
                    <a:pt x="252" y="328"/>
                  </a:lnTo>
                  <a:lnTo>
                    <a:pt x="246" y="326"/>
                  </a:lnTo>
                  <a:lnTo>
                    <a:pt x="240" y="324"/>
                  </a:lnTo>
                  <a:lnTo>
                    <a:pt x="238" y="318"/>
                  </a:lnTo>
                  <a:lnTo>
                    <a:pt x="232" y="316"/>
                  </a:lnTo>
                  <a:lnTo>
                    <a:pt x="230" y="316"/>
                  </a:lnTo>
                  <a:lnTo>
                    <a:pt x="230" y="322"/>
                  </a:lnTo>
                  <a:lnTo>
                    <a:pt x="234" y="328"/>
                  </a:lnTo>
                  <a:lnTo>
                    <a:pt x="236" y="334"/>
                  </a:lnTo>
                  <a:lnTo>
                    <a:pt x="236" y="336"/>
                  </a:lnTo>
                  <a:lnTo>
                    <a:pt x="230" y="340"/>
                  </a:lnTo>
                  <a:lnTo>
                    <a:pt x="226" y="340"/>
                  </a:lnTo>
                  <a:lnTo>
                    <a:pt x="224" y="340"/>
                  </a:lnTo>
                  <a:lnTo>
                    <a:pt x="220" y="334"/>
                  </a:lnTo>
                  <a:lnTo>
                    <a:pt x="222" y="328"/>
                  </a:lnTo>
                  <a:lnTo>
                    <a:pt x="220" y="322"/>
                  </a:lnTo>
                  <a:lnTo>
                    <a:pt x="216" y="318"/>
                  </a:lnTo>
                  <a:lnTo>
                    <a:pt x="214" y="312"/>
                  </a:lnTo>
                  <a:lnTo>
                    <a:pt x="208" y="306"/>
                  </a:lnTo>
                  <a:lnTo>
                    <a:pt x="204" y="302"/>
                  </a:lnTo>
                  <a:lnTo>
                    <a:pt x="198" y="298"/>
                  </a:lnTo>
                  <a:lnTo>
                    <a:pt x="194" y="300"/>
                  </a:lnTo>
                  <a:lnTo>
                    <a:pt x="188" y="298"/>
                  </a:lnTo>
                  <a:lnTo>
                    <a:pt x="182" y="298"/>
                  </a:lnTo>
                  <a:lnTo>
                    <a:pt x="176" y="302"/>
                  </a:lnTo>
                  <a:lnTo>
                    <a:pt x="174" y="308"/>
                  </a:lnTo>
                  <a:lnTo>
                    <a:pt x="172" y="314"/>
                  </a:lnTo>
                  <a:lnTo>
                    <a:pt x="172" y="312"/>
                  </a:lnTo>
                  <a:lnTo>
                    <a:pt x="168" y="306"/>
                  </a:lnTo>
                  <a:lnTo>
                    <a:pt x="164" y="312"/>
                  </a:lnTo>
                  <a:lnTo>
                    <a:pt x="170" y="318"/>
                  </a:lnTo>
                  <a:lnTo>
                    <a:pt x="174" y="324"/>
                  </a:lnTo>
                  <a:lnTo>
                    <a:pt x="166" y="326"/>
                  </a:lnTo>
                  <a:lnTo>
                    <a:pt x="160" y="326"/>
                  </a:lnTo>
                  <a:lnTo>
                    <a:pt x="154" y="322"/>
                  </a:lnTo>
                  <a:lnTo>
                    <a:pt x="148" y="320"/>
                  </a:lnTo>
                  <a:lnTo>
                    <a:pt x="144" y="314"/>
                  </a:lnTo>
                  <a:lnTo>
                    <a:pt x="136" y="308"/>
                  </a:lnTo>
                  <a:lnTo>
                    <a:pt x="136" y="302"/>
                  </a:lnTo>
                  <a:lnTo>
                    <a:pt x="134" y="298"/>
                  </a:lnTo>
                  <a:lnTo>
                    <a:pt x="130" y="294"/>
                  </a:lnTo>
                  <a:lnTo>
                    <a:pt x="128" y="288"/>
                  </a:lnTo>
                  <a:lnTo>
                    <a:pt x="126" y="282"/>
                  </a:lnTo>
                  <a:lnTo>
                    <a:pt x="126" y="276"/>
                  </a:lnTo>
                  <a:lnTo>
                    <a:pt x="132" y="272"/>
                  </a:lnTo>
                  <a:lnTo>
                    <a:pt x="126" y="268"/>
                  </a:lnTo>
                  <a:lnTo>
                    <a:pt x="124" y="264"/>
                  </a:lnTo>
                  <a:lnTo>
                    <a:pt x="122" y="258"/>
                  </a:lnTo>
                  <a:lnTo>
                    <a:pt x="118" y="252"/>
                  </a:lnTo>
                  <a:lnTo>
                    <a:pt x="116" y="248"/>
                  </a:lnTo>
                  <a:lnTo>
                    <a:pt x="114" y="242"/>
                  </a:lnTo>
                  <a:lnTo>
                    <a:pt x="110" y="238"/>
                  </a:lnTo>
                  <a:lnTo>
                    <a:pt x="108" y="236"/>
                  </a:lnTo>
                  <a:lnTo>
                    <a:pt x="106" y="230"/>
                  </a:lnTo>
                  <a:lnTo>
                    <a:pt x="110" y="224"/>
                  </a:lnTo>
                  <a:lnTo>
                    <a:pt x="110" y="218"/>
                  </a:lnTo>
                  <a:lnTo>
                    <a:pt x="114" y="212"/>
                  </a:lnTo>
                  <a:lnTo>
                    <a:pt x="114" y="206"/>
                  </a:lnTo>
                  <a:lnTo>
                    <a:pt x="114" y="200"/>
                  </a:lnTo>
                  <a:lnTo>
                    <a:pt x="110" y="194"/>
                  </a:lnTo>
                  <a:lnTo>
                    <a:pt x="114" y="188"/>
                  </a:lnTo>
                  <a:lnTo>
                    <a:pt x="118" y="180"/>
                  </a:lnTo>
                  <a:lnTo>
                    <a:pt x="124" y="176"/>
                  </a:lnTo>
                  <a:lnTo>
                    <a:pt x="130" y="174"/>
                  </a:lnTo>
                  <a:lnTo>
                    <a:pt x="136" y="170"/>
                  </a:lnTo>
                  <a:lnTo>
                    <a:pt x="142" y="166"/>
                  </a:lnTo>
                  <a:lnTo>
                    <a:pt x="140" y="170"/>
                  </a:lnTo>
                  <a:lnTo>
                    <a:pt x="140" y="174"/>
                  </a:lnTo>
                  <a:lnTo>
                    <a:pt x="144" y="168"/>
                  </a:lnTo>
                  <a:lnTo>
                    <a:pt x="148" y="162"/>
                  </a:lnTo>
                  <a:lnTo>
                    <a:pt x="146" y="158"/>
                  </a:lnTo>
                  <a:lnTo>
                    <a:pt x="144" y="154"/>
                  </a:lnTo>
                  <a:lnTo>
                    <a:pt x="146" y="146"/>
                  </a:lnTo>
                  <a:lnTo>
                    <a:pt x="148" y="146"/>
                  </a:lnTo>
                  <a:lnTo>
                    <a:pt x="150" y="140"/>
                  </a:lnTo>
                  <a:lnTo>
                    <a:pt x="152" y="134"/>
                  </a:lnTo>
                  <a:lnTo>
                    <a:pt x="154" y="128"/>
                  </a:lnTo>
                  <a:lnTo>
                    <a:pt x="154" y="126"/>
                  </a:lnTo>
                  <a:lnTo>
                    <a:pt x="156" y="124"/>
                  </a:lnTo>
                  <a:lnTo>
                    <a:pt x="156" y="120"/>
                  </a:lnTo>
                  <a:lnTo>
                    <a:pt x="156" y="116"/>
                  </a:lnTo>
                  <a:lnTo>
                    <a:pt x="156" y="112"/>
                  </a:lnTo>
                  <a:lnTo>
                    <a:pt x="156" y="110"/>
                  </a:lnTo>
                  <a:lnTo>
                    <a:pt x="156" y="108"/>
                  </a:lnTo>
                  <a:lnTo>
                    <a:pt x="156" y="104"/>
                  </a:lnTo>
                  <a:lnTo>
                    <a:pt x="154" y="104"/>
                  </a:lnTo>
                  <a:lnTo>
                    <a:pt x="152" y="104"/>
                  </a:lnTo>
                  <a:lnTo>
                    <a:pt x="150" y="98"/>
                  </a:lnTo>
                  <a:lnTo>
                    <a:pt x="150" y="92"/>
                  </a:lnTo>
                  <a:lnTo>
                    <a:pt x="144" y="90"/>
                  </a:lnTo>
                  <a:lnTo>
                    <a:pt x="138" y="86"/>
                  </a:lnTo>
                  <a:lnTo>
                    <a:pt x="136" y="82"/>
                  </a:lnTo>
                  <a:lnTo>
                    <a:pt x="132" y="76"/>
                  </a:lnTo>
                  <a:lnTo>
                    <a:pt x="130" y="72"/>
                  </a:lnTo>
                  <a:lnTo>
                    <a:pt x="130" y="66"/>
                  </a:lnTo>
                  <a:lnTo>
                    <a:pt x="126" y="60"/>
                  </a:lnTo>
                  <a:lnTo>
                    <a:pt x="128" y="54"/>
                  </a:lnTo>
                  <a:lnTo>
                    <a:pt x="128" y="48"/>
                  </a:lnTo>
                  <a:lnTo>
                    <a:pt x="128" y="46"/>
                  </a:lnTo>
                  <a:lnTo>
                    <a:pt x="126" y="40"/>
                  </a:lnTo>
                  <a:lnTo>
                    <a:pt x="126" y="34"/>
                  </a:lnTo>
                  <a:lnTo>
                    <a:pt x="132" y="30"/>
                  </a:lnTo>
                  <a:lnTo>
                    <a:pt x="132" y="22"/>
                  </a:lnTo>
                  <a:lnTo>
                    <a:pt x="130" y="18"/>
                  </a:lnTo>
                  <a:lnTo>
                    <a:pt x="128" y="16"/>
                  </a:lnTo>
                  <a:lnTo>
                    <a:pt x="126" y="10"/>
                  </a:lnTo>
                  <a:lnTo>
                    <a:pt x="120" y="12"/>
                  </a:lnTo>
                  <a:lnTo>
                    <a:pt x="118" y="14"/>
                  </a:lnTo>
                  <a:lnTo>
                    <a:pt x="118" y="20"/>
                  </a:lnTo>
                  <a:lnTo>
                    <a:pt x="110" y="26"/>
                  </a:lnTo>
                  <a:lnTo>
                    <a:pt x="104" y="24"/>
                  </a:lnTo>
                  <a:lnTo>
                    <a:pt x="98" y="22"/>
                  </a:lnTo>
                  <a:lnTo>
                    <a:pt x="92" y="22"/>
                  </a:lnTo>
                  <a:lnTo>
                    <a:pt x="92" y="24"/>
                  </a:lnTo>
                  <a:lnTo>
                    <a:pt x="88" y="18"/>
                  </a:lnTo>
                  <a:lnTo>
                    <a:pt x="84" y="16"/>
                  </a:lnTo>
                  <a:lnTo>
                    <a:pt x="78" y="12"/>
                  </a:lnTo>
                  <a:lnTo>
                    <a:pt x="72" y="10"/>
                  </a:lnTo>
                  <a:lnTo>
                    <a:pt x="66" y="6"/>
                  </a:lnTo>
                  <a:lnTo>
                    <a:pt x="60" y="2"/>
                  </a:lnTo>
                  <a:lnTo>
                    <a:pt x="54" y="0"/>
                  </a:lnTo>
                  <a:lnTo>
                    <a:pt x="48" y="4"/>
                  </a:lnTo>
                  <a:lnTo>
                    <a:pt x="42" y="2"/>
                  </a:lnTo>
                  <a:lnTo>
                    <a:pt x="36" y="2"/>
                  </a:lnTo>
                  <a:lnTo>
                    <a:pt x="34" y="8"/>
                  </a:lnTo>
                  <a:lnTo>
                    <a:pt x="30" y="8"/>
                  </a:lnTo>
                  <a:lnTo>
                    <a:pt x="24" y="8"/>
                  </a:lnTo>
                  <a:lnTo>
                    <a:pt x="26" y="14"/>
                  </a:lnTo>
                  <a:lnTo>
                    <a:pt x="28" y="20"/>
                  </a:lnTo>
                  <a:lnTo>
                    <a:pt x="26" y="26"/>
                  </a:lnTo>
                  <a:lnTo>
                    <a:pt x="24" y="30"/>
                  </a:lnTo>
                  <a:lnTo>
                    <a:pt x="24" y="32"/>
                  </a:lnTo>
                  <a:lnTo>
                    <a:pt x="24" y="38"/>
                  </a:lnTo>
                  <a:lnTo>
                    <a:pt x="26" y="44"/>
                  </a:lnTo>
                  <a:lnTo>
                    <a:pt x="24" y="52"/>
                  </a:lnTo>
                  <a:lnTo>
                    <a:pt x="22" y="58"/>
                  </a:lnTo>
                  <a:lnTo>
                    <a:pt x="24" y="64"/>
                  </a:lnTo>
                  <a:lnTo>
                    <a:pt x="20" y="70"/>
                  </a:lnTo>
                  <a:lnTo>
                    <a:pt x="26" y="78"/>
                  </a:lnTo>
                  <a:lnTo>
                    <a:pt x="28" y="82"/>
                  </a:lnTo>
                  <a:lnTo>
                    <a:pt x="30" y="88"/>
                  </a:lnTo>
                  <a:lnTo>
                    <a:pt x="28" y="94"/>
                  </a:lnTo>
                  <a:lnTo>
                    <a:pt x="30" y="100"/>
                  </a:lnTo>
                  <a:lnTo>
                    <a:pt x="32" y="106"/>
                  </a:lnTo>
                  <a:lnTo>
                    <a:pt x="34" y="114"/>
                  </a:lnTo>
                  <a:lnTo>
                    <a:pt x="32" y="120"/>
                  </a:lnTo>
                  <a:lnTo>
                    <a:pt x="28" y="126"/>
                  </a:lnTo>
                  <a:lnTo>
                    <a:pt x="30" y="134"/>
                  </a:lnTo>
                  <a:lnTo>
                    <a:pt x="28" y="140"/>
                  </a:lnTo>
                  <a:lnTo>
                    <a:pt x="30" y="146"/>
                  </a:lnTo>
                  <a:lnTo>
                    <a:pt x="32" y="150"/>
                  </a:lnTo>
                  <a:lnTo>
                    <a:pt x="32" y="156"/>
                  </a:lnTo>
                  <a:lnTo>
                    <a:pt x="34" y="162"/>
                  </a:lnTo>
                  <a:lnTo>
                    <a:pt x="38" y="168"/>
                  </a:lnTo>
                  <a:lnTo>
                    <a:pt x="38" y="174"/>
                  </a:lnTo>
                  <a:lnTo>
                    <a:pt x="36" y="178"/>
                  </a:lnTo>
                  <a:lnTo>
                    <a:pt x="34" y="178"/>
                  </a:lnTo>
                  <a:lnTo>
                    <a:pt x="28" y="180"/>
                  </a:lnTo>
                  <a:lnTo>
                    <a:pt x="24" y="180"/>
                  </a:lnTo>
                  <a:lnTo>
                    <a:pt x="22" y="176"/>
                  </a:lnTo>
                  <a:lnTo>
                    <a:pt x="20" y="170"/>
                  </a:lnTo>
                  <a:lnTo>
                    <a:pt x="14" y="168"/>
                  </a:lnTo>
                  <a:lnTo>
                    <a:pt x="12" y="168"/>
                  </a:lnTo>
                  <a:lnTo>
                    <a:pt x="8" y="162"/>
                  </a:lnTo>
                  <a:lnTo>
                    <a:pt x="6" y="156"/>
                  </a:lnTo>
                  <a:lnTo>
                    <a:pt x="0" y="160"/>
                  </a:lnTo>
                  <a:lnTo>
                    <a:pt x="0" y="166"/>
                  </a:lnTo>
                  <a:lnTo>
                    <a:pt x="2" y="17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2" name="Freeform 139"/>
            <p:cNvSpPr>
              <a:spLocks/>
            </p:cNvSpPr>
            <p:nvPr/>
          </p:nvSpPr>
          <p:spPr bwMode="auto">
            <a:xfrm>
              <a:off x="7258050" y="3967163"/>
              <a:ext cx="115888" cy="120650"/>
            </a:xfrm>
            <a:custGeom>
              <a:avLst/>
              <a:gdLst>
                <a:gd name="T0" fmla="*/ 2147483647 w 286"/>
                <a:gd name="T1" fmla="*/ 2147483647 h 294"/>
                <a:gd name="T2" fmla="*/ 2147483647 w 286"/>
                <a:gd name="T3" fmla="*/ 2147483647 h 294"/>
                <a:gd name="T4" fmla="*/ 2147483647 w 286"/>
                <a:gd name="T5" fmla="*/ 2147483647 h 294"/>
                <a:gd name="T6" fmla="*/ 2147483647 w 286"/>
                <a:gd name="T7" fmla="*/ 2147483647 h 294"/>
                <a:gd name="T8" fmla="*/ 2147483647 w 286"/>
                <a:gd name="T9" fmla="*/ 2147483647 h 294"/>
                <a:gd name="T10" fmla="*/ 2147483647 w 286"/>
                <a:gd name="T11" fmla="*/ 2147483647 h 294"/>
                <a:gd name="T12" fmla="*/ 2147483647 w 286"/>
                <a:gd name="T13" fmla="*/ 2147483647 h 294"/>
                <a:gd name="T14" fmla="*/ 2147483647 w 286"/>
                <a:gd name="T15" fmla="*/ 2147483647 h 294"/>
                <a:gd name="T16" fmla="*/ 2147483647 w 286"/>
                <a:gd name="T17" fmla="*/ 2147483647 h 294"/>
                <a:gd name="T18" fmla="*/ 2147483647 w 286"/>
                <a:gd name="T19" fmla="*/ 2147483647 h 294"/>
                <a:gd name="T20" fmla="*/ 2147483647 w 286"/>
                <a:gd name="T21" fmla="*/ 2147483647 h 294"/>
                <a:gd name="T22" fmla="*/ 2147483647 w 286"/>
                <a:gd name="T23" fmla="*/ 2147483647 h 294"/>
                <a:gd name="T24" fmla="*/ 2147483647 w 286"/>
                <a:gd name="T25" fmla="*/ 2147483647 h 294"/>
                <a:gd name="T26" fmla="*/ 2147483647 w 286"/>
                <a:gd name="T27" fmla="*/ 2147483647 h 294"/>
                <a:gd name="T28" fmla="*/ 2147483647 w 286"/>
                <a:gd name="T29" fmla="*/ 2147483647 h 294"/>
                <a:gd name="T30" fmla="*/ 2147483647 w 286"/>
                <a:gd name="T31" fmla="*/ 2147483647 h 294"/>
                <a:gd name="T32" fmla="*/ 2147483647 w 286"/>
                <a:gd name="T33" fmla="*/ 2147483647 h 294"/>
                <a:gd name="T34" fmla="*/ 2147483647 w 286"/>
                <a:gd name="T35" fmla="*/ 2147483647 h 294"/>
                <a:gd name="T36" fmla="*/ 2147483647 w 286"/>
                <a:gd name="T37" fmla="*/ 2147483647 h 294"/>
                <a:gd name="T38" fmla="*/ 2147483647 w 286"/>
                <a:gd name="T39" fmla="*/ 2147483647 h 294"/>
                <a:gd name="T40" fmla="*/ 2147483647 w 286"/>
                <a:gd name="T41" fmla="*/ 2147483647 h 294"/>
                <a:gd name="T42" fmla="*/ 2147483647 w 286"/>
                <a:gd name="T43" fmla="*/ 2147483647 h 294"/>
                <a:gd name="T44" fmla="*/ 2147483647 w 286"/>
                <a:gd name="T45" fmla="*/ 2147483647 h 294"/>
                <a:gd name="T46" fmla="*/ 2147483647 w 286"/>
                <a:gd name="T47" fmla="*/ 2147483647 h 294"/>
                <a:gd name="T48" fmla="*/ 2147483647 w 286"/>
                <a:gd name="T49" fmla="*/ 2147483647 h 294"/>
                <a:gd name="T50" fmla="*/ 2147483647 w 286"/>
                <a:gd name="T51" fmla="*/ 2147483647 h 294"/>
                <a:gd name="T52" fmla="*/ 2147483647 w 286"/>
                <a:gd name="T53" fmla="*/ 2147483647 h 294"/>
                <a:gd name="T54" fmla="*/ 2147483647 w 286"/>
                <a:gd name="T55" fmla="*/ 2147483647 h 294"/>
                <a:gd name="T56" fmla="*/ 2147483647 w 286"/>
                <a:gd name="T57" fmla="*/ 2147483647 h 294"/>
                <a:gd name="T58" fmla="*/ 2147483647 w 286"/>
                <a:gd name="T59" fmla="*/ 2147483647 h 294"/>
                <a:gd name="T60" fmla="*/ 2147483647 w 286"/>
                <a:gd name="T61" fmla="*/ 2147483647 h 294"/>
                <a:gd name="T62" fmla="*/ 2147483647 w 286"/>
                <a:gd name="T63" fmla="*/ 2147483647 h 294"/>
                <a:gd name="T64" fmla="*/ 2147483647 w 286"/>
                <a:gd name="T65" fmla="*/ 2147483647 h 294"/>
                <a:gd name="T66" fmla="*/ 2147483647 w 286"/>
                <a:gd name="T67" fmla="*/ 2147483647 h 294"/>
                <a:gd name="T68" fmla="*/ 2147483647 w 286"/>
                <a:gd name="T69" fmla="*/ 2147483647 h 294"/>
                <a:gd name="T70" fmla="*/ 2147483647 w 286"/>
                <a:gd name="T71" fmla="*/ 2147483647 h 294"/>
                <a:gd name="T72" fmla="*/ 2147483647 w 286"/>
                <a:gd name="T73" fmla="*/ 2147483647 h 294"/>
                <a:gd name="T74" fmla="*/ 2147483647 w 286"/>
                <a:gd name="T75" fmla="*/ 2147483647 h 294"/>
                <a:gd name="T76" fmla="*/ 2147483647 w 286"/>
                <a:gd name="T77" fmla="*/ 2147483647 h 294"/>
                <a:gd name="T78" fmla="*/ 2147483647 w 286"/>
                <a:gd name="T79" fmla="*/ 2147483647 h 294"/>
                <a:gd name="T80" fmla="*/ 2147483647 w 286"/>
                <a:gd name="T81" fmla="*/ 2147483647 h 294"/>
                <a:gd name="T82" fmla="*/ 2147483647 w 286"/>
                <a:gd name="T83" fmla="*/ 2147483647 h 294"/>
                <a:gd name="T84" fmla="*/ 2147483647 w 286"/>
                <a:gd name="T85" fmla="*/ 2147483647 h 294"/>
                <a:gd name="T86" fmla="*/ 2147483647 w 286"/>
                <a:gd name="T87" fmla="*/ 2147483647 h 294"/>
                <a:gd name="T88" fmla="*/ 2147483647 w 286"/>
                <a:gd name="T89" fmla="*/ 2147483647 h 294"/>
                <a:gd name="T90" fmla="*/ 2147483647 w 286"/>
                <a:gd name="T91" fmla="*/ 2147483647 h 294"/>
                <a:gd name="T92" fmla="*/ 2147483647 w 286"/>
                <a:gd name="T93" fmla="*/ 2147483647 h 294"/>
                <a:gd name="T94" fmla="*/ 2147483647 w 286"/>
                <a:gd name="T95" fmla="*/ 2147483647 h 294"/>
                <a:gd name="T96" fmla="*/ 2147483647 w 286"/>
                <a:gd name="T97" fmla="*/ 2147483647 h 294"/>
                <a:gd name="T98" fmla="*/ 2147483647 w 286"/>
                <a:gd name="T99" fmla="*/ 2147483647 h 294"/>
                <a:gd name="T100" fmla="*/ 2147483647 w 286"/>
                <a:gd name="T101" fmla="*/ 2147483647 h 294"/>
                <a:gd name="T102" fmla="*/ 2147483647 w 286"/>
                <a:gd name="T103" fmla="*/ 2147483647 h 294"/>
                <a:gd name="T104" fmla="*/ 2147483647 w 286"/>
                <a:gd name="T105" fmla="*/ 2147483647 h 294"/>
                <a:gd name="T106" fmla="*/ 2147483647 w 286"/>
                <a:gd name="T107" fmla="*/ 2147483647 h 29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86"/>
                <a:gd name="T163" fmla="*/ 0 h 294"/>
                <a:gd name="T164" fmla="*/ 286 w 286"/>
                <a:gd name="T165" fmla="*/ 294 h 29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86" h="294">
                  <a:moveTo>
                    <a:pt x="2" y="184"/>
                  </a:moveTo>
                  <a:lnTo>
                    <a:pt x="0" y="186"/>
                  </a:lnTo>
                  <a:lnTo>
                    <a:pt x="2" y="192"/>
                  </a:lnTo>
                  <a:lnTo>
                    <a:pt x="6" y="200"/>
                  </a:lnTo>
                  <a:lnTo>
                    <a:pt x="12" y="202"/>
                  </a:lnTo>
                  <a:lnTo>
                    <a:pt x="20" y="198"/>
                  </a:lnTo>
                  <a:lnTo>
                    <a:pt x="20" y="192"/>
                  </a:lnTo>
                  <a:lnTo>
                    <a:pt x="22" y="186"/>
                  </a:lnTo>
                  <a:lnTo>
                    <a:pt x="22" y="184"/>
                  </a:lnTo>
                  <a:lnTo>
                    <a:pt x="24" y="178"/>
                  </a:lnTo>
                  <a:lnTo>
                    <a:pt x="24" y="172"/>
                  </a:lnTo>
                  <a:lnTo>
                    <a:pt x="30" y="168"/>
                  </a:lnTo>
                  <a:lnTo>
                    <a:pt x="28" y="162"/>
                  </a:lnTo>
                  <a:lnTo>
                    <a:pt x="34" y="158"/>
                  </a:lnTo>
                  <a:lnTo>
                    <a:pt x="34" y="154"/>
                  </a:lnTo>
                  <a:lnTo>
                    <a:pt x="36" y="148"/>
                  </a:lnTo>
                  <a:lnTo>
                    <a:pt x="42" y="142"/>
                  </a:lnTo>
                  <a:lnTo>
                    <a:pt x="48" y="142"/>
                  </a:lnTo>
                  <a:lnTo>
                    <a:pt x="54" y="146"/>
                  </a:lnTo>
                  <a:lnTo>
                    <a:pt x="54" y="152"/>
                  </a:lnTo>
                  <a:lnTo>
                    <a:pt x="54" y="158"/>
                  </a:lnTo>
                  <a:lnTo>
                    <a:pt x="58" y="164"/>
                  </a:lnTo>
                  <a:lnTo>
                    <a:pt x="60" y="158"/>
                  </a:lnTo>
                  <a:lnTo>
                    <a:pt x="66" y="164"/>
                  </a:lnTo>
                  <a:lnTo>
                    <a:pt x="68" y="158"/>
                  </a:lnTo>
                  <a:lnTo>
                    <a:pt x="68" y="156"/>
                  </a:lnTo>
                  <a:lnTo>
                    <a:pt x="68" y="150"/>
                  </a:lnTo>
                  <a:lnTo>
                    <a:pt x="74" y="146"/>
                  </a:lnTo>
                  <a:lnTo>
                    <a:pt x="76" y="152"/>
                  </a:lnTo>
                  <a:lnTo>
                    <a:pt x="72" y="158"/>
                  </a:lnTo>
                  <a:lnTo>
                    <a:pt x="78" y="160"/>
                  </a:lnTo>
                  <a:lnTo>
                    <a:pt x="84" y="162"/>
                  </a:lnTo>
                  <a:lnTo>
                    <a:pt x="88" y="166"/>
                  </a:lnTo>
                  <a:lnTo>
                    <a:pt x="94" y="168"/>
                  </a:lnTo>
                  <a:lnTo>
                    <a:pt x="90" y="162"/>
                  </a:lnTo>
                  <a:lnTo>
                    <a:pt x="88" y="154"/>
                  </a:lnTo>
                  <a:lnTo>
                    <a:pt x="94" y="150"/>
                  </a:lnTo>
                  <a:lnTo>
                    <a:pt x="94" y="144"/>
                  </a:lnTo>
                  <a:lnTo>
                    <a:pt x="96" y="138"/>
                  </a:lnTo>
                  <a:lnTo>
                    <a:pt x="102" y="138"/>
                  </a:lnTo>
                  <a:lnTo>
                    <a:pt x="108" y="140"/>
                  </a:lnTo>
                  <a:lnTo>
                    <a:pt x="112" y="146"/>
                  </a:lnTo>
                  <a:lnTo>
                    <a:pt x="118" y="148"/>
                  </a:lnTo>
                  <a:lnTo>
                    <a:pt x="124" y="150"/>
                  </a:lnTo>
                  <a:lnTo>
                    <a:pt x="130" y="154"/>
                  </a:lnTo>
                  <a:lnTo>
                    <a:pt x="134" y="160"/>
                  </a:lnTo>
                  <a:lnTo>
                    <a:pt x="138" y="166"/>
                  </a:lnTo>
                  <a:lnTo>
                    <a:pt x="140" y="172"/>
                  </a:lnTo>
                  <a:lnTo>
                    <a:pt x="142" y="178"/>
                  </a:lnTo>
                  <a:lnTo>
                    <a:pt x="140" y="182"/>
                  </a:lnTo>
                  <a:lnTo>
                    <a:pt x="136" y="184"/>
                  </a:lnTo>
                  <a:lnTo>
                    <a:pt x="130" y="190"/>
                  </a:lnTo>
                  <a:lnTo>
                    <a:pt x="128" y="196"/>
                  </a:lnTo>
                  <a:lnTo>
                    <a:pt x="128" y="202"/>
                  </a:lnTo>
                  <a:lnTo>
                    <a:pt x="128" y="208"/>
                  </a:lnTo>
                  <a:lnTo>
                    <a:pt x="132" y="212"/>
                  </a:lnTo>
                  <a:lnTo>
                    <a:pt x="132" y="214"/>
                  </a:lnTo>
                  <a:lnTo>
                    <a:pt x="134" y="220"/>
                  </a:lnTo>
                  <a:lnTo>
                    <a:pt x="134" y="226"/>
                  </a:lnTo>
                  <a:lnTo>
                    <a:pt x="134" y="232"/>
                  </a:lnTo>
                  <a:lnTo>
                    <a:pt x="136" y="238"/>
                  </a:lnTo>
                  <a:lnTo>
                    <a:pt x="140" y="244"/>
                  </a:lnTo>
                  <a:lnTo>
                    <a:pt x="144" y="250"/>
                  </a:lnTo>
                  <a:lnTo>
                    <a:pt x="150" y="254"/>
                  </a:lnTo>
                  <a:lnTo>
                    <a:pt x="156" y="256"/>
                  </a:lnTo>
                  <a:lnTo>
                    <a:pt x="158" y="258"/>
                  </a:lnTo>
                  <a:lnTo>
                    <a:pt x="164" y="262"/>
                  </a:lnTo>
                  <a:lnTo>
                    <a:pt x="170" y="264"/>
                  </a:lnTo>
                  <a:lnTo>
                    <a:pt x="176" y="268"/>
                  </a:lnTo>
                  <a:lnTo>
                    <a:pt x="182" y="270"/>
                  </a:lnTo>
                  <a:lnTo>
                    <a:pt x="188" y="274"/>
                  </a:lnTo>
                  <a:lnTo>
                    <a:pt x="194" y="274"/>
                  </a:lnTo>
                  <a:lnTo>
                    <a:pt x="200" y="272"/>
                  </a:lnTo>
                  <a:lnTo>
                    <a:pt x="202" y="266"/>
                  </a:lnTo>
                  <a:lnTo>
                    <a:pt x="204" y="260"/>
                  </a:lnTo>
                  <a:lnTo>
                    <a:pt x="210" y="258"/>
                  </a:lnTo>
                  <a:lnTo>
                    <a:pt x="212" y="262"/>
                  </a:lnTo>
                  <a:lnTo>
                    <a:pt x="212" y="264"/>
                  </a:lnTo>
                  <a:lnTo>
                    <a:pt x="210" y="270"/>
                  </a:lnTo>
                  <a:lnTo>
                    <a:pt x="208" y="276"/>
                  </a:lnTo>
                  <a:lnTo>
                    <a:pt x="208" y="280"/>
                  </a:lnTo>
                  <a:lnTo>
                    <a:pt x="214" y="288"/>
                  </a:lnTo>
                  <a:lnTo>
                    <a:pt x="214" y="294"/>
                  </a:lnTo>
                  <a:lnTo>
                    <a:pt x="216" y="294"/>
                  </a:lnTo>
                  <a:lnTo>
                    <a:pt x="220" y="294"/>
                  </a:lnTo>
                  <a:lnTo>
                    <a:pt x="224" y="288"/>
                  </a:lnTo>
                  <a:lnTo>
                    <a:pt x="226" y="282"/>
                  </a:lnTo>
                  <a:lnTo>
                    <a:pt x="230" y="276"/>
                  </a:lnTo>
                  <a:lnTo>
                    <a:pt x="236" y="270"/>
                  </a:lnTo>
                  <a:lnTo>
                    <a:pt x="236" y="264"/>
                  </a:lnTo>
                  <a:lnTo>
                    <a:pt x="238" y="258"/>
                  </a:lnTo>
                  <a:lnTo>
                    <a:pt x="238" y="252"/>
                  </a:lnTo>
                  <a:lnTo>
                    <a:pt x="234" y="246"/>
                  </a:lnTo>
                  <a:lnTo>
                    <a:pt x="232" y="240"/>
                  </a:lnTo>
                  <a:lnTo>
                    <a:pt x="228" y="234"/>
                  </a:lnTo>
                  <a:lnTo>
                    <a:pt x="228" y="230"/>
                  </a:lnTo>
                  <a:lnTo>
                    <a:pt x="222" y="224"/>
                  </a:lnTo>
                  <a:lnTo>
                    <a:pt x="216" y="222"/>
                  </a:lnTo>
                  <a:lnTo>
                    <a:pt x="216" y="216"/>
                  </a:lnTo>
                  <a:lnTo>
                    <a:pt x="216" y="212"/>
                  </a:lnTo>
                  <a:lnTo>
                    <a:pt x="216" y="206"/>
                  </a:lnTo>
                  <a:lnTo>
                    <a:pt x="220" y="200"/>
                  </a:lnTo>
                  <a:lnTo>
                    <a:pt x="222" y="194"/>
                  </a:lnTo>
                  <a:lnTo>
                    <a:pt x="228" y="192"/>
                  </a:lnTo>
                  <a:lnTo>
                    <a:pt x="228" y="190"/>
                  </a:lnTo>
                  <a:lnTo>
                    <a:pt x="230" y="182"/>
                  </a:lnTo>
                  <a:lnTo>
                    <a:pt x="230" y="178"/>
                  </a:lnTo>
                  <a:lnTo>
                    <a:pt x="234" y="172"/>
                  </a:lnTo>
                  <a:lnTo>
                    <a:pt x="242" y="174"/>
                  </a:lnTo>
                  <a:lnTo>
                    <a:pt x="242" y="180"/>
                  </a:lnTo>
                  <a:lnTo>
                    <a:pt x="244" y="186"/>
                  </a:lnTo>
                  <a:lnTo>
                    <a:pt x="248" y="192"/>
                  </a:lnTo>
                  <a:lnTo>
                    <a:pt x="250" y="194"/>
                  </a:lnTo>
                  <a:lnTo>
                    <a:pt x="250" y="200"/>
                  </a:lnTo>
                  <a:lnTo>
                    <a:pt x="256" y="204"/>
                  </a:lnTo>
                  <a:lnTo>
                    <a:pt x="258" y="208"/>
                  </a:lnTo>
                  <a:lnTo>
                    <a:pt x="258" y="216"/>
                  </a:lnTo>
                  <a:lnTo>
                    <a:pt x="258" y="222"/>
                  </a:lnTo>
                  <a:lnTo>
                    <a:pt x="258" y="228"/>
                  </a:lnTo>
                  <a:lnTo>
                    <a:pt x="260" y="234"/>
                  </a:lnTo>
                  <a:lnTo>
                    <a:pt x="264" y="238"/>
                  </a:lnTo>
                  <a:lnTo>
                    <a:pt x="266" y="246"/>
                  </a:lnTo>
                  <a:lnTo>
                    <a:pt x="266" y="244"/>
                  </a:lnTo>
                  <a:lnTo>
                    <a:pt x="266" y="242"/>
                  </a:lnTo>
                  <a:lnTo>
                    <a:pt x="266" y="236"/>
                  </a:lnTo>
                  <a:lnTo>
                    <a:pt x="268" y="234"/>
                  </a:lnTo>
                  <a:lnTo>
                    <a:pt x="268" y="228"/>
                  </a:lnTo>
                  <a:lnTo>
                    <a:pt x="266" y="222"/>
                  </a:lnTo>
                  <a:lnTo>
                    <a:pt x="268" y="216"/>
                  </a:lnTo>
                  <a:lnTo>
                    <a:pt x="266" y="210"/>
                  </a:lnTo>
                  <a:lnTo>
                    <a:pt x="262" y="204"/>
                  </a:lnTo>
                  <a:lnTo>
                    <a:pt x="268" y="202"/>
                  </a:lnTo>
                  <a:lnTo>
                    <a:pt x="274" y="208"/>
                  </a:lnTo>
                  <a:lnTo>
                    <a:pt x="270" y="202"/>
                  </a:lnTo>
                  <a:lnTo>
                    <a:pt x="274" y="196"/>
                  </a:lnTo>
                  <a:lnTo>
                    <a:pt x="280" y="192"/>
                  </a:lnTo>
                  <a:lnTo>
                    <a:pt x="284" y="186"/>
                  </a:lnTo>
                  <a:lnTo>
                    <a:pt x="284" y="180"/>
                  </a:lnTo>
                  <a:lnTo>
                    <a:pt x="284" y="174"/>
                  </a:lnTo>
                  <a:lnTo>
                    <a:pt x="284" y="170"/>
                  </a:lnTo>
                  <a:lnTo>
                    <a:pt x="286" y="164"/>
                  </a:lnTo>
                  <a:lnTo>
                    <a:pt x="284" y="158"/>
                  </a:lnTo>
                  <a:lnTo>
                    <a:pt x="282" y="152"/>
                  </a:lnTo>
                  <a:lnTo>
                    <a:pt x="282" y="144"/>
                  </a:lnTo>
                  <a:lnTo>
                    <a:pt x="276" y="140"/>
                  </a:lnTo>
                  <a:lnTo>
                    <a:pt x="274" y="138"/>
                  </a:lnTo>
                  <a:lnTo>
                    <a:pt x="270" y="132"/>
                  </a:lnTo>
                  <a:lnTo>
                    <a:pt x="272" y="130"/>
                  </a:lnTo>
                  <a:lnTo>
                    <a:pt x="272" y="124"/>
                  </a:lnTo>
                  <a:lnTo>
                    <a:pt x="274" y="118"/>
                  </a:lnTo>
                  <a:lnTo>
                    <a:pt x="274" y="112"/>
                  </a:lnTo>
                  <a:lnTo>
                    <a:pt x="272" y="110"/>
                  </a:lnTo>
                  <a:lnTo>
                    <a:pt x="264" y="112"/>
                  </a:lnTo>
                  <a:lnTo>
                    <a:pt x="268" y="106"/>
                  </a:lnTo>
                  <a:lnTo>
                    <a:pt x="266" y="102"/>
                  </a:lnTo>
                  <a:lnTo>
                    <a:pt x="266" y="94"/>
                  </a:lnTo>
                  <a:lnTo>
                    <a:pt x="264" y="90"/>
                  </a:lnTo>
                  <a:lnTo>
                    <a:pt x="258" y="90"/>
                  </a:lnTo>
                  <a:lnTo>
                    <a:pt x="252" y="88"/>
                  </a:lnTo>
                  <a:lnTo>
                    <a:pt x="250" y="82"/>
                  </a:lnTo>
                  <a:lnTo>
                    <a:pt x="252" y="82"/>
                  </a:lnTo>
                  <a:lnTo>
                    <a:pt x="258" y="78"/>
                  </a:lnTo>
                  <a:lnTo>
                    <a:pt x="262" y="72"/>
                  </a:lnTo>
                  <a:lnTo>
                    <a:pt x="262" y="66"/>
                  </a:lnTo>
                  <a:lnTo>
                    <a:pt x="260" y="60"/>
                  </a:lnTo>
                  <a:lnTo>
                    <a:pt x="254" y="58"/>
                  </a:lnTo>
                  <a:lnTo>
                    <a:pt x="252" y="52"/>
                  </a:lnTo>
                  <a:lnTo>
                    <a:pt x="252" y="48"/>
                  </a:lnTo>
                  <a:lnTo>
                    <a:pt x="252" y="42"/>
                  </a:lnTo>
                  <a:lnTo>
                    <a:pt x="254" y="36"/>
                  </a:lnTo>
                  <a:lnTo>
                    <a:pt x="252" y="36"/>
                  </a:lnTo>
                  <a:lnTo>
                    <a:pt x="250" y="36"/>
                  </a:lnTo>
                  <a:lnTo>
                    <a:pt x="246" y="40"/>
                  </a:lnTo>
                  <a:lnTo>
                    <a:pt x="242" y="38"/>
                  </a:lnTo>
                  <a:lnTo>
                    <a:pt x="240" y="36"/>
                  </a:lnTo>
                  <a:lnTo>
                    <a:pt x="234" y="30"/>
                  </a:lnTo>
                  <a:lnTo>
                    <a:pt x="234" y="22"/>
                  </a:lnTo>
                  <a:lnTo>
                    <a:pt x="230" y="20"/>
                  </a:lnTo>
                  <a:lnTo>
                    <a:pt x="224" y="18"/>
                  </a:lnTo>
                  <a:lnTo>
                    <a:pt x="218" y="16"/>
                  </a:lnTo>
                  <a:lnTo>
                    <a:pt x="214" y="10"/>
                  </a:lnTo>
                  <a:lnTo>
                    <a:pt x="208" y="4"/>
                  </a:lnTo>
                  <a:lnTo>
                    <a:pt x="204" y="0"/>
                  </a:lnTo>
                  <a:lnTo>
                    <a:pt x="202" y="6"/>
                  </a:lnTo>
                  <a:lnTo>
                    <a:pt x="202" y="14"/>
                  </a:lnTo>
                  <a:lnTo>
                    <a:pt x="204" y="20"/>
                  </a:lnTo>
                  <a:lnTo>
                    <a:pt x="206" y="26"/>
                  </a:lnTo>
                  <a:lnTo>
                    <a:pt x="208" y="32"/>
                  </a:lnTo>
                  <a:lnTo>
                    <a:pt x="210" y="40"/>
                  </a:lnTo>
                  <a:lnTo>
                    <a:pt x="212" y="46"/>
                  </a:lnTo>
                  <a:lnTo>
                    <a:pt x="214" y="50"/>
                  </a:lnTo>
                  <a:lnTo>
                    <a:pt x="214" y="56"/>
                  </a:lnTo>
                  <a:lnTo>
                    <a:pt x="210" y="58"/>
                  </a:lnTo>
                  <a:lnTo>
                    <a:pt x="204" y="58"/>
                  </a:lnTo>
                  <a:lnTo>
                    <a:pt x="198" y="56"/>
                  </a:lnTo>
                  <a:lnTo>
                    <a:pt x="192" y="50"/>
                  </a:lnTo>
                  <a:lnTo>
                    <a:pt x="192" y="56"/>
                  </a:lnTo>
                  <a:lnTo>
                    <a:pt x="192" y="62"/>
                  </a:lnTo>
                  <a:lnTo>
                    <a:pt x="190" y="68"/>
                  </a:lnTo>
                  <a:lnTo>
                    <a:pt x="184" y="66"/>
                  </a:lnTo>
                  <a:lnTo>
                    <a:pt x="180" y="60"/>
                  </a:lnTo>
                  <a:lnTo>
                    <a:pt x="174" y="56"/>
                  </a:lnTo>
                  <a:lnTo>
                    <a:pt x="168" y="58"/>
                  </a:lnTo>
                  <a:lnTo>
                    <a:pt x="168" y="64"/>
                  </a:lnTo>
                  <a:lnTo>
                    <a:pt x="170" y="70"/>
                  </a:lnTo>
                  <a:lnTo>
                    <a:pt x="168" y="76"/>
                  </a:lnTo>
                  <a:lnTo>
                    <a:pt x="168" y="82"/>
                  </a:lnTo>
                  <a:lnTo>
                    <a:pt x="168" y="88"/>
                  </a:lnTo>
                  <a:lnTo>
                    <a:pt x="162" y="92"/>
                  </a:lnTo>
                  <a:lnTo>
                    <a:pt x="162" y="90"/>
                  </a:lnTo>
                  <a:lnTo>
                    <a:pt x="156" y="90"/>
                  </a:lnTo>
                  <a:lnTo>
                    <a:pt x="150" y="82"/>
                  </a:lnTo>
                  <a:lnTo>
                    <a:pt x="144" y="86"/>
                  </a:lnTo>
                  <a:lnTo>
                    <a:pt x="140" y="92"/>
                  </a:lnTo>
                  <a:lnTo>
                    <a:pt x="140" y="98"/>
                  </a:lnTo>
                  <a:lnTo>
                    <a:pt x="138" y="104"/>
                  </a:lnTo>
                  <a:lnTo>
                    <a:pt x="138" y="108"/>
                  </a:lnTo>
                  <a:lnTo>
                    <a:pt x="136" y="112"/>
                  </a:lnTo>
                  <a:lnTo>
                    <a:pt x="130" y="112"/>
                  </a:lnTo>
                  <a:lnTo>
                    <a:pt x="124" y="114"/>
                  </a:lnTo>
                  <a:lnTo>
                    <a:pt x="118" y="118"/>
                  </a:lnTo>
                  <a:lnTo>
                    <a:pt x="112" y="122"/>
                  </a:lnTo>
                  <a:lnTo>
                    <a:pt x="106" y="128"/>
                  </a:lnTo>
                  <a:lnTo>
                    <a:pt x="104" y="128"/>
                  </a:lnTo>
                  <a:lnTo>
                    <a:pt x="104" y="126"/>
                  </a:lnTo>
                  <a:lnTo>
                    <a:pt x="104" y="124"/>
                  </a:lnTo>
                  <a:lnTo>
                    <a:pt x="110" y="122"/>
                  </a:lnTo>
                  <a:lnTo>
                    <a:pt x="110" y="120"/>
                  </a:lnTo>
                  <a:lnTo>
                    <a:pt x="116" y="116"/>
                  </a:lnTo>
                  <a:lnTo>
                    <a:pt x="114" y="110"/>
                  </a:lnTo>
                  <a:lnTo>
                    <a:pt x="114" y="104"/>
                  </a:lnTo>
                  <a:lnTo>
                    <a:pt x="114" y="98"/>
                  </a:lnTo>
                  <a:lnTo>
                    <a:pt x="112" y="94"/>
                  </a:lnTo>
                  <a:lnTo>
                    <a:pt x="108" y="88"/>
                  </a:lnTo>
                  <a:lnTo>
                    <a:pt x="102" y="82"/>
                  </a:lnTo>
                  <a:lnTo>
                    <a:pt x="96" y="86"/>
                  </a:lnTo>
                  <a:lnTo>
                    <a:pt x="94" y="84"/>
                  </a:lnTo>
                  <a:lnTo>
                    <a:pt x="92" y="78"/>
                  </a:lnTo>
                  <a:lnTo>
                    <a:pt x="86" y="76"/>
                  </a:lnTo>
                  <a:lnTo>
                    <a:pt x="86" y="82"/>
                  </a:lnTo>
                  <a:lnTo>
                    <a:pt x="82" y="84"/>
                  </a:lnTo>
                  <a:lnTo>
                    <a:pt x="80" y="90"/>
                  </a:lnTo>
                  <a:lnTo>
                    <a:pt x="74" y="90"/>
                  </a:lnTo>
                  <a:lnTo>
                    <a:pt x="68" y="90"/>
                  </a:lnTo>
                  <a:lnTo>
                    <a:pt x="62" y="96"/>
                  </a:lnTo>
                  <a:lnTo>
                    <a:pt x="62" y="102"/>
                  </a:lnTo>
                  <a:lnTo>
                    <a:pt x="60" y="108"/>
                  </a:lnTo>
                  <a:lnTo>
                    <a:pt x="62" y="110"/>
                  </a:lnTo>
                  <a:lnTo>
                    <a:pt x="56" y="116"/>
                  </a:lnTo>
                  <a:lnTo>
                    <a:pt x="50" y="118"/>
                  </a:lnTo>
                  <a:lnTo>
                    <a:pt x="46" y="118"/>
                  </a:lnTo>
                  <a:lnTo>
                    <a:pt x="40" y="120"/>
                  </a:lnTo>
                  <a:lnTo>
                    <a:pt x="34" y="122"/>
                  </a:lnTo>
                  <a:lnTo>
                    <a:pt x="32" y="120"/>
                  </a:lnTo>
                  <a:lnTo>
                    <a:pt x="26" y="124"/>
                  </a:lnTo>
                  <a:lnTo>
                    <a:pt x="24" y="124"/>
                  </a:lnTo>
                  <a:lnTo>
                    <a:pt x="20" y="126"/>
                  </a:lnTo>
                  <a:lnTo>
                    <a:pt x="16" y="128"/>
                  </a:lnTo>
                  <a:lnTo>
                    <a:pt x="14" y="134"/>
                  </a:lnTo>
                  <a:lnTo>
                    <a:pt x="10" y="140"/>
                  </a:lnTo>
                  <a:lnTo>
                    <a:pt x="12" y="146"/>
                  </a:lnTo>
                  <a:lnTo>
                    <a:pt x="12" y="150"/>
                  </a:lnTo>
                  <a:lnTo>
                    <a:pt x="14" y="156"/>
                  </a:lnTo>
                  <a:lnTo>
                    <a:pt x="10" y="162"/>
                  </a:lnTo>
                  <a:lnTo>
                    <a:pt x="8" y="166"/>
                  </a:lnTo>
                  <a:lnTo>
                    <a:pt x="8" y="172"/>
                  </a:lnTo>
                  <a:lnTo>
                    <a:pt x="4" y="178"/>
                  </a:lnTo>
                  <a:lnTo>
                    <a:pt x="2" y="18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3" name="Freeform 140"/>
            <p:cNvSpPr>
              <a:spLocks/>
            </p:cNvSpPr>
            <p:nvPr/>
          </p:nvSpPr>
          <p:spPr bwMode="auto">
            <a:xfrm>
              <a:off x="7265988" y="3940175"/>
              <a:ext cx="6350" cy="9525"/>
            </a:xfrm>
            <a:custGeom>
              <a:avLst/>
              <a:gdLst>
                <a:gd name="T0" fmla="*/ 2147483647 w 14"/>
                <a:gd name="T1" fmla="*/ 2147483647 h 22"/>
                <a:gd name="T2" fmla="*/ 2147483647 w 14"/>
                <a:gd name="T3" fmla="*/ 2147483647 h 22"/>
                <a:gd name="T4" fmla="*/ 2147483647 w 14"/>
                <a:gd name="T5" fmla="*/ 2147483647 h 22"/>
                <a:gd name="T6" fmla="*/ 2147483647 w 14"/>
                <a:gd name="T7" fmla="*/ 2147483647 h 22"/>
                <a:gd name="T8" fmla="*/ 2147483647 w 14"/>
                <a:gd name="T9" fmla="*/ 2147483647 h 22"/>
                <a:gd name="T10" fmla="*/ 2147483647 w 14"/>
                <a:gd name="T11" fmla="*/ 2147483647 h 22"/>
                <a:gd name="T12" fmla="*/ 2147483647 w 14"/>
                <a:gd name="T13" fmla="*/ 0 h 22"/>
                <a:gd name="T14" fmla="*/ 2147483647 w 14"/>
                <a:gd name="T15" fmla="*/ 2147483647 h 22"/>
                <a:gd name="T16" fmla="*/ 2147483647 w 14"/>
                <a:gd name="T17" fmla="*/ 2147483647 h 22"/>
                <a:gd name="T18" fmla="*/ 0 w 14"/>
                <a:gd name="T19" fmla="*/ 2147483647 h 22"/>
                <a:gd name="T20" fmla="*/ 2147483647 w 14"/>
                <a:gd name="T21" fmla="*/ 2147483647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22"/>
                <a:gd name="T35" fmla="*/ 14 w 14"/>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22">
                  <a:moveTo>
                    <a:pt x="4" y="22"/>
                  </a:moveTo>
                  <a:lnTo>
                    <a:pt x="4" y="20"/>
                  </a:lnTo>
                  <a:lnTo>
                    <a:pt x="10" y="16"/>
                  </a:lnTo>
                  <a:lnTo>
                    <a:pt x="12" y="12"/>
                  </a:lnTo>
                  <a:lnTo>
                    <a:pt x="14" y="8"/>
                  </a:lnTo>
                  <a:lnTo>
                    <a:pt x="12" y="2"/>
                  </a:lnTo>
                  <a:lnTo>
                    <a:pt x="6" y="0"/>
                  </a:lnTo>
                  <a:lnTo>
                    <a:pt x="2" y="6"/>
                  </a:lnTo>
                  <a:lnTo>
                    <a:pt x="2" y="12"/>
                  </a:lnTo>
                  <a:lnTo>
                    <a:pt x="0" y="18"/>
                  </a:lnTo>
                  <a:lnTo>
                    <a:pt x="4"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4" name="Freeform 141"/>
            <p:cNvSpPr>
              <a:spLocks/>
            </p:cNvSpPr>
            <p:nvPr/>
          </p:nvSpPr>
          <p:spPr bwMode="auto">
            <a:xfrm>
              <a:off x="7288213" y="3925888"/>
              <a:ext cx="15875" cy="50800"/>
            </a:xfrm>
            <a:custGeom>
              <a:avLst/>
              <a:gdLst>
                <a:gd name="T0" fmla="*/ 2147483647 w 40"/>
                <a:gd name="T1" fmla="*/ 2147483647 h 122"/>
                <a:gd name="T2" fmla="*/ 2147483647 w 40"/>
                <a:gd name="T3" fmla="*/ 2147483647 h 122"/>
                <a:gd name="T4" fmla="*/ 2147483647 w 40"/>
                <a:gd name="T5" fmla="*/ 2147483647 h 122"/>
                <a:gd name="T6" fmla="*/ 2147483647 w 40"/>
                <a:gd name="T7" fmla="*/ 2147483647 h 122"/>
                <a:gd name="T8" fmla="*/ 2147483647 w 40"/>
                <a:gd name="T9" fmla="*/ 2147483647 h 122"/>
                <a:gd name="T10" fmla="*/ 2147483647 w 40"/>
                <a:gd name="T11" fmla="*/ 2147483647 h 122"/>
                <a:gd name="T12" fmla="*/ 0 w 40"/>
                <a:gd name="T13" fmla="*/ 2147483647 h 122"/>
                <a:gd name="T14" fmla="*/ 2147483647 w 40"/>
                <a:gd name="T15" fmla="*/ 2147483647 h 122"/>
                <a:gd name="T16" fmla="*/ 2147483647 w 40"/>
                <a:gd name="T17" fmla="*/ 2147483647 h 122"/>
                <a:gd name="T18" fmla="*/ 2147483647 w 40"/>
                <a:gd name="T19" fmla="*/ 2147483647 h 122"/>
                <a:gd name="T20" fmla="*/ 2147483647 w 40"/>
                <a:gd name="T21" fmla="*/ 2147483647 h 122"/>
                <a:gd name="T22" fmla="*/ 2147483647 w 40"/>
                <a:gd name="T23" fmla="*/ 2147483647 h 122"/>
                <a:gd name="T24" fmla="*/ 2147483647 w 40"/>
                <a:gd name="T25" fmla="*/ 2147483647 h 122"/>
                <a:gd name="T26" fmla="*/ 2147483647 w 40"/>
                <a:gd name="T27" fmla="*/ 2147483647 h 122"/>
                <a:gd name="T28" fmla="*/ 2147483647 w 40"/>
                <a:gd name="T29" fmla="*/ 2147483647 h 122"/>
                <a:gd name="T30" fmla="*/ 2147483647 w 40"/>
                <a:gd name="T31" fmla="*/ 2147483647 h 122"/>
                <a:gd name="T32" fmla="*/ 2147483647 w 40"/>
                <a:gd name="T33" fmla="*/ 2147483647 h 122"/>
                <a:gd name="T34" fmla="*/ 2147483647 w 40"/>
                <a:gd name="T35" fmla="*/ 2147483647 h 122"/>
                <a:gd name="T36" fmla="*/ 2147483647 w 40"/>
                <a:gd name="T37" fmla="*/ 2147483647 h 122"/>
                <a:gd name="T38" fmla="*/ 2147483647 w 40"/>
                <a:gd name="T39" fmla="*/ 2147483647 h 122"/>
                <a:gd name="T40" fmla="*/ 2147483647 w 40"/>
                <a:gd name="T41" fmla="*/ 2147483647 h 122"/>
                <a:gd name="T42" fmla="*/ 2147483647 w 40"/>
                <a:gd name="T43" fmla="*/ 2147483647 h 122"/>
                <a:gd name="T44" fmla="*/ 2147483647 w 40"/>
                <a:gd name="T45" fmla="*/ 2147483647 h 122"/>
                <a:gd name="T46" fmla="*/ 2147483647 w 40"/>
                <a:gd name="T47" fmla="*/ 2147483647 h 122"/>
                <a:gd name="T48" fmla="*/ 2147483647 w 40"/>
                <a:gd name="T49" fmla="*/ 2147483647 h 122"/>
                <a:gd name="T50" fmla="*/ 2147483647 w 40"/>
                <a:gd name="T51" fmla="*/ 2147483647 h 122"/>
                <a:gd name="T52" fmla="*/ 2147483647 w 40"/>
                <a:gd name="T53" fmla="*/ 2147483647 h 122"/>
                <a:gd name="T54" fmla="*/ 2147483647 w 40"/>
                <a:gd name="T55" fmla="*/ 2147483647 h 122"/>
                <a:gd name="T56" fmla="*/ 2147483647 w 40"/>
                <a:gd name="T57" fmla="*/ 2147483647 h 122"/>
                <a:gd name="T58" fmla="*/ 2147483647 w 40"/>
                <a:gd name="T59" fmla="*/ 0 h 122"/>
                <a:gd name="T60" fmla="*/ 2147483647 w 40"/>
                <a:gd name="T61" fmla="*/ 2147483647 h 122"/>
                <a:gd name="T62" fmla="*/ 2147483647 w 40"/>
                <a:gd name="T63" fmla="*/ 2147483647 h 122"/>
                <a:gd name="T64" fmla="*/ 2147483647 w 40"/>
                <a:gd name="T65" fmla="*/ 2147483647 h 122"/>
                <a:gd name="T66" fmla="*/ 2147483647 w 40"/>
                <a:gd name="T67" fmla="*/ 2147483647 h 122"/>
                <a:gd name="T68" fmla="*/ 2147483647 w 40"/>
                <a:gd name="T69" fmla="*/ 2147483647 h 122"/>
                <a:gd name="T70" fmla="*/ 2147483647 w 40"/>
                <a:gd name="T71" fmla="*/ 2147483647 h 122"/>
                <a:gd name="T72" fmla="*/ 2147483647 w 40"/>
                <a:gd name="T73" fmla="*/ 2147483647 h 122"/>
                <a:gd name="T74" fmla="*/ 2147483647 w 40"/>
                <a:gd name="T75" fmla="*/ 2147483647 h 122"/>
                <a:gd name="T76" fmla="*/ 2147483647 w 40"/>
                <a:gd name="T77" fmla="*/ 2147483647 h 122"/>
                <a:gd name="T78" fmla="*/ 2147483647 w 40"/>
                <a:gd name="T79" fmla="*/ 2147483647 h 122"/>
                <a:gd name="T80" fmla="*/ 2147483647 w 40"/>
                <a:gd name="T81" fmla="*/ 2147483647 h 122"/>
                <a:gd name="T82" fmla="*/ 2147483647 w 40"/>
                <a:gd name="T83" fmla="*/ 2147483647 h 122"/>
                <a:gd name="T84" fmla="*/ 2147483647 w 40"/>
                <a:gd name="T85" fmla="*/ 2147483647 h 122"/>
                <a:gd name="T86" fmla="*/ 2147483647 w 40"/>
                <a:gd name="T87" fmla="*/ 2147483647 h 122"/>
                <a:gd name="T88" fmla="*/ 2147483647 w 40"/>
                <a:gd name="T89" fmla="*/ 2147483647 h 122"/>
                <a:gd name="T90" fmla="*/ 2147483647 w 40"/>
                <a:gd name="T91" fmla="*/ 2147483647 h 12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
                <a:gd name="T139" fmla="*/ 0 h 122"/>
                <a:gd name="T140" fmla="*/ 40 w 40"/>
                <a:gd name="T141" fmla="*/ 122 h 12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 h="122">
                  <a:moveTo>
                    <a:pt x="4" y="86"/>
                  </a:moveTo>
                  <a:lnTo>
                    <a:pt x="4" y="92"/>
                  </a:lnTo>
                  <a:lnTo>
                    <a:pt x="4" y="98"/>
                  </a:lnTo>
                  <a:lnTo>
                    <a:pt x="2" y="104"/>
                  </a:lnTo>
                  <a:lnTo>
                    <a:pt x="2" y="110"/>
                  </a:lnTo>
                  <a:lnTo>
                    <a:pt x="2" y="116"/>
                  </a:lnTo>
                  <a:lnTo>
                    <a:pt x="0" y="122"/>
                  </a:lnTo>
                  <a:lnTo>
                    <a:pt x="6" y="122"/>
                  </a:lnTo>
                  <a:lnTo>
                    <a:pt x="10" y="116"/>
                  </a:lnTo>
                  <a:lnTo>
                    <a:pt x="12" y="110"/>
                  </a:lnTo>
                  <a:lnTo>
                    <a:pt x="12" y="104"/>
                  </a:lnTo>
                  <a:lnTo>
                    <a:pt x="14" y="98"/>
                  </a:lnTo>
                  <a:lnTo>
                    <a:pt x="18" y="92"/>
                  </a:lnTo>
                  <a:lnTo>
                    <a:pt x="18" y="86"/>
                  </a:lnTo>
                  <a:lnTo>
                    <a:pt x="18" y="80"/>
                  </a:lnTo>
                  <a:lnTo>
                    <a:pt x="20" y="80"/>
                  </a:lnTo>
                  <a:lnTo>
                    <a:pt x="22" y="74"/>
                  </a:lnTo>
                  <a:lnTo>
                    <a:pt x="28" y="70"/>
                  </a:lnTo>
                  <a:lnTo>
                    <a:pt x="34" y="64"/>
                  </a:lnTo>
                  <a:lnTo>
                    <a:pt x="38" y="58"/>
                  </a:lnTo>
                  <a:lnTo>
                    <a:pt x="40" y="52"/>
                  </a:lnTo>
                  <a:lnTo>
                    <a:pt x="38" y="46"/>
                  </a:lnTo>
                  <a:lnTo>
                    <a:pt x="38" y="40"/>
                  </a:lnTo>
                  <a:lnTo>
                    <a:pt x="36" y="34"/>
                  </a:lnTo>
                  <a:lnTo>
                    <a:pt x="38" y="28"/>
                  </a:lnTo>
                  <a:lnTo>
                    <a:pt x="36" y="22"/>
                  </a:lnTo>
                  <a:lnTo>
                    <a:pt x="36" y="16"/>
                  </a:lnTo>
                  <a:lnTo>
                    <a:pt x="36" y="12"/>
                  </a:lnTo>
                  <a:lnTo>
                    <a:pt x="36" y="6"/>
                  </a:lnTo>
                  <a:lnTo>
                    <a:pt x="36" y="0"/>
                  </a:lnTo>
                  <a:lnTo>
                    <a:pt x="30" y="4"/>
                  </a:lnTo>
                  <a:lnTo>
                    <a:pt x="32" y="10"/>
                  </a:lnTo>
                  <a:lnTo>
                    <a:pt x="28" y="14"/>
                  </a:lnTo>
                  <a:lnTo>
                    <a:pt x="30" y="20"/>
                  </a:lnTo>
                  <a:lnTo>
                    <a:pt x="28" y="26"/>
                  </a:lnTo>
                  <a:lnTo>
                    <a:pt x="26" y="32"/>
                  </a:lnTo>
                  <a:lnTo>
                    <a:pt x="24" y="40"/>
                  </a:lnTo>
                  <a:lnTo>
                    <a:pt x="20" y="46"/>
                  </a:lnTo>
                  <a:lnTo>
                    <a:pt x="20" y="50"/>
                  </a:lnTo>
                  <a:lnTo>
                    <a:pt x="18" y="56"/>
                  </a:lnTo>
                  <a:lnTo>
                    <a:pt x="14" y="62"/>
                  </a:lnTo>
                  <a:lnTo>
                    <a:pt x="14" y="68"/>
                  </a:lnTo>
                  <a:lnTo>
                    <a:pt x="10" y="74"/>
                  </a:lnTo>
                  <a:lnTo>
                    <a:pt x="6" y="80"/>
                  </a:lnTo>
                  <a:lnTo>
                    <a:pt x="4" y="8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5" name="Freeform 142"/>
            <p:cNvSpPr>
              <a:spLocks/>
            </p:cNvSpPr>
            <p:nvPr/>
          </p:nvSpPr>
          <p:spPr bwMode="auto">
            <a:xfrm>
              <a:off x="7308850" y="3913188"/>
              <a:ext cx="6350" cy="6350"/>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0 h 16"/>
                <a:gd name="T10" fmla="*/ 0 w 14"/>
                <a:gd name="T11" fmla="*/ 2147483647 h 16"/>
                <a:gd name="T12" fmla="*/ 2147483647 w 14"/>
                <a:gd name="T13" fmla="*/ 2147483647 h 16"/>
                <a:gd name="T14" fmla="*/ 2147483647 w 14"/>
                <a:gd name="T15" fmla="*/ 2147483647 h 16"/>
                <a:gd name="T16" fmla="*/ 2147483647 w 14"/>
                <a:gd name="T17" fmla="*/ 2147483647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6"/>
                <a:gd name="T29" fmla="*/ 14 w 14"/>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6">
                  <a:moveTo>
                    <a:pt x="10" y="16"/>
                  </a:moveTo>
                  <a:lnTo>
                    <a:pt x="14" y="16"/>
                  </a:lnTo>
                  <a:lnTo>
                    <a:pt x="14" y="10"/>
                  </a:lnTo>
                  <a:lnTo>
                    <a:pt x="12" y="4"/>
                  </a:lnTo>
                  <a:lnTo>
                    <a:pt x="6" y="0"/>
                  </a:lnTo>
                  <a:lnTo>
                    <a:pt x="0" y="2"/>
                  </a:lnTo>
                  <a:lnTo>
                    <a:pt x="2" y="8"/>
                  </a:lnTo>
                  <a:lnTo>
                    <a:pt x="6" y="14"/>
                  </a:lnTo>
                  <a:lnTo>
                    <a:pt x="10" y="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6" name="Freeform 143"/>
            <p:cNvSpPr>
              <a:spLocks/>
            </p:cNvSpPr>
            <p:nvPr/>
          </p:nvSpPr>
          <p:spPr bwMode="auto">
            <a:xfrm>
              <a:off x="7323138" y="3887788"/>
              <a:ext cx="1587" cy="1587"/>
            </a:xfrm>
            <a:custGeom>
              <a:avLst/>
              <a:gdLst>
                <a:gd name="T0" fmla="*/ 0 w 4"/>
                <a:gd name="T1" fmla="*/ 0 h 1"/>
                <a:gd name="T2" fmla="*/ 2147483647 w 4"/>
                <a:gd name="T3" fmla="*/ 0 h 1"/>
                <a:gd name="T4" fmla="*/ 2147483647 w 4"/>
                <a:gd name="T5" fmla="*/ 0 h 1"/>
                <a:gd name="T6" fmla="*/ 0 w 4"/>
                <a:gd name="T7" fmla="*/ 0 h 1"/>
                <a:gd name="T8" fmla="*/ 0 60000 65536"/>
                <a:gd name="T9" fmla="*/ 0 60000 65536"/>
                <a:gd name="T10" fmla="*/ 0 60000 65536"/>
                <a:gd name="T11" fmla="*/ 0 60000 65536"/>
                <a:gd name="T12" fmla="*/ 0 w 4"/>
                <a:gd name="T13" fmla="*/ 0 h 1"/>
                <a:gd name="T14" fmla="*/ 4 w 4"/>
                <a:gd name="T15" fmla="*/ 1 h 1"/>
              </a:gdLst>
              <a:ahLst/>
              <a:cxnLst>
                <a:cxn ang="T8">
                  <a:pos x="T0" y="T1"/>
                </a:cxn>
                <a:cxn ang="T9">
                  <a:pos x="T2" y="T3"/>
                </a:cxn>
                <a:cxn ang="T10">
                  <a:pos x="T4" y="T5"/>
                </a:cxn>
                <a:cxn ang="T11">
                  <a:pos x="T6" y="T7"/>
                </a:cxn>
              </a:cxnLst>
              <a:rect l="T12" t="T13" r="T14" b="T15"/>
              <a:pathLst>
                <a:path w="4" h="1">
                  <a:moveTo>
                    <a:pt x="0" y="0"/>
                  </a:moveTo>
                  <a:lnTo>
                    <a:pt x="2" y="0"/>
                  </a:lnTo>
                  <a:lnTo>
                    <a:pt x="4" y="0"/>
                  </a:lnTo>
                  <a:lnTo>
                    <a:pt x="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7" name="Freeform 144"/>
            <p:cNvSpPr>
              <a:spLocks/>
            </p:cNvSpPr>
            <p:nvPr/>
          </p:nvSpPr>
          <p:spPr bwMode="auto">
            <a:xfrm>
              <a:off x="7138988" y="3922713"/>
              <a:ext cx="58737" cy="85725"/>
            </a:xfrm>
            <a:custGeom>
              <a:avLst/>
              <a:gdLst>
                <a:gd name="T0" fmla="*/ 0 w 142"/>
                <a:gd name="T1" fmla="*/ 2147483647 h 212"/>
                <a:gd name="T2" fmla="*/ 0 w 142"/>
                <a:gd name="T3" fmla="*/ 2147483647 h 212"/>
                <a:gd name="T4" fmla="*/ 2147483647 w 142"/>
                <a:gd name="T5" fmla="*/ 2147483647 h 212"/>
                <a:gd name="T6" fmla="*/ 2147483647 w 142"/>
                <a:gd name="T7" fmla="*/ 2147483647 h 212"/>
                <a:gd name="T8" fmla="*/ 2147483647 w 142"/>
                <a:gd name="T9" fmla="*/ 2147483647 h 212"/>
                <a:gd name="T10" fmla="*/ 2147483647 w 142"/>
                <a:gd name="T11" fmla="*/ 2147483647 h 212"/>
                <a:gd name="T12" fmla="*/ 2147483647 w 142"/>
                <a:gd name="T13" fmla="*/ 2147483647 h 212"/>
                <a:gd name="T14" fmla="*/ 2147483647 w 142"/>
                <a:gd name="T15" fmla="*/ 2147483647 h 212"/>
                <a:gd name="T16" fmla="*/ 2147483647 w 142"/>
                <a:gd name="T17" fmla="*/ 2147483647 h 212"/>
                <a:gd name="T18" fmla="*/ 2147483647 w 142"/>
                <a:gd name="T19" fmla="*/ 2147483647 h 212"/>
                <a:gd name="T20" fmla="*/ 2147483647 w 142"/>
                <a:gd name="T21" fmla="*/ 2147483647 h 212"/>
                <a:gd name="T22" fmla="*/ 2147483647 w 142"/>
                <a:gd name="T23" fmla="*/ 2147483647 h 212"/>
                <a:gd name="T24" fmla="*/ 2147483647 w 142"/>
                <a:gd name="T25" fmla="*/ 2147483647 h 212"/>
                <a:gd name="T26" fmla="*/ 2147483647 w 142"/>
                <a:gd name="T27" fmla="*/ 2147483647 h 212"/>
                <a:gd name="T28" fmla="*/ 2147483647 w 142"/>
                <a:gd name="T29" fmla="*/ 2147483647 h 212"/>
                <a:gd name="T30" fmla="*/ 2147483647 w 142"/>
                <a:gd name="T31" fmla="*/ 2147483647 h 212"/>
                <a:gd name="T32" fmla="*/ 2147483647 w 142"/>
                <a:gd name="T33" fmla="*/ 2147483647 h 212"/>
                <a:gd name="T34" fmla="*/ 2147483647 w 142"/>
                <a:gd name="T35" fmla="*/ 2147483647 h 212"/>
                <a:gd name="T36" fmla="*/ 2147483647 w 142"/>
                <a:gd name="T37" fmla="*/ 2147483647 h 212"/>
                <a:gd name="T38" fmla="*/ 2147483647 w 142"/>
                <a:gd name="T39" fmla="*/ 2147483647 h 212"/>
                <a:gd name="T40" fmla="*/ 2147483647 w 142"/>
                <a:gd name="T41" fmla="*/ 2147483647 h 212"/>
                <a:gd name="T42" fmla="*/ 2147483647 w 142"/>
                <a:gd name="T43" fmla="*/ 2147483647 h 212"/>
                <a:gd name="T44" fmla="*/ 2147483647 w 142"/>
                <a:gd name="T45" fmla="*/ 2147483647 h 212"/>
                <a:gd name="T46" fmla="*/ 2147483647 w 142"/>
                <a:gd name="T47" fmla="*/ 2147483647 h 212"/>
                <a:gd name="T48" fmla="*/ 2147483647 w 142"/>
                <a:gd name="T49" fmla="*/ 2147483647 h 212"/>
                <a:gd name="T50" fmla="*/ 2147483647 w 142"/>
                <a:gd name="T51" fmla="*/ 0 h 212"/>
                <a:gd name="T52" fmla="*/ 2147483647 w 142"/>
                <a:gd name="T53" fmla="*/ 2147483647 h 212"/>
                <a:gd name="T54" fmla="*/ 2147483647 w 142"/>
                <a:gd name="T55" fmla="*/ 2147483647 h 212"/>
                <a:gd name="T56" fmla="*/ 2147483647 w 142"/>
                <a:gd name="T57" fmla="*/ 2147483647 h 212"/>
                <a:gd name="T58" fmla="*/ 2147483647 w 142"/>
                <a:gd name="T59" fmla="*/ 2147483647 h 212"/>
                <a:gd name="T60" fmla="*/ 2147483647 w 142"/>
                <a:gd name="T61" fmla="*/ 2147483647 h 212"/>
                <a:gd name="T62" fmla="*/ 2147483647 w 142"/>
                <a:gd name="T63" fmla="*/ 2147483647 h 212"/>
                <a:gd name="T64" fmla="*/ 2147483647 w 142"/>
                <a:gd name="T65" fmla="*/ 2147483647 h 212"/>
                <a:gd name="T66" fmla="*/ 2147483647 w 142"/>
                <a:gd name="T67" fmla="*/ 2147483647 h 212"/>
                <a:gd name="T68" fmla="*/ 2147483647 w 142"/>
                <a:gd name="T69" fmla="*/ 2147483647 h 212"/>
                <a:gd name="T70" fmla="*/ 2147483647 w 142"/>
                <a:gd name="T71" fmla="*/ 2147483647 h 212"/>
                <a:gd name="T72" fmla="*/ 2147483647 w 142"/>
                <a:gd name="T73" fmla="*/ 2147483647 h 212"/>
                <a:gd name="T74" fmla="*/ 2147483647 w 142"/>
                <a:gd name="T75" fmla="*/ 2147483647 h 212"/>
                <a:gd name="T76" fmla="*/ 2147483647 w 142"/>
                <a:gd name="T77" fmla="*/ 2147483647 h 212"/>
                <a:gd name="T78" fmla="*/ 2147483647 w 142"/>
                <a:gd name="T79" fmla="*/ 2147483647 h 212"/>
                <a:gd name="T80" fmla="*/ 2147483647 w 142"/>
                <a:gd name="T81" fmla="*/ 2147483647 h 212"/>
                <a:gd name="T82" fmla="*/ 2147483647 w 142"/>
                <a:gd name="T83" fmla="*/ 2147483647 h 212"/>
                <a:gd name="T84" fmla="*/ 2147483647 w 142"/>
                <a:gd name="T85" fmla="*/ 2147483647 h 212"/>
                <a:gd name="T86" fmla="*/ 2147483647 w 142"/>
                <a:gd name="T87" fmla="*/ 2147483647 h 212"/>
                <a:gd name="T88" fmla="*/ 2147483647 w 142"/>
                <a:gd name="T89" fmla="*/ 2147483647 h 212"/>
                <a:gd name="T90" fmla="*/ 2147483647 w 142"/>
                <a:gd name="T91" fmla="*/ 2147483647 h 212"/>
                <a:gd name="T92" fmla="*/ 2147483647 w 142"/>
                <a:gd name="T93" fmla="*/ 2147483647 h 212"/>
                <a:gd name="T94" fmla="*/ 2147483647 w 142"/>
                <a:gd name="T95" fmla="*/ 2147483647 h 212"/>
                <a:gd name="T96" fmla="*/ 2147483647 w 142"/>
                <a:gd name="T97" fmla="*/ 2147483647 h 212"/>
                <a:gd name="T98" fmla="*/ 2147483647 w 142"/>
                <a:gd name="T99" fmla="*/ 2147483647 h 212"/>
                <a:gd name="T100" fmla="*/ 2147483647 w 142"/>
                <a:gd name="T101" fmla="*/ 2147483647 h 212"/>
                <a:gd name="T102" fmla="*/ 2147483647 w 142"/>
                <a:gd name="T103" fmla="*/ 2147483647 h 212"/>
                <a:gd name="T104" fmla="*/ 2147483647 w 142"/>
                <a:gd name="T105" fmla="*/ 2147483647 h 212"/>
                <a:gd name="T106" fmla="*/ 2147483647 w 142"/>
                <a:gd name="T107" fmla="*/ 2147483647 h 212"/>
                <a:gd name="T108" fmla="*/ 2147483647 w 142"/>
                <a:gd name="T109" fmla="*/ 2147483647 h 21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
                <a:gd name="T166" fmla="*/ 0 h 212"/>
                <a:gd name="T167" fmla="*/ 142 w 142"/>
                <a:gd name="T168" fmla="*/ 212 h 21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 h="212">
                  <a:moveTo>
                    <a:pt x="4" y="194"/>
                  </a:moveTo>
                  <a:lnTo>
                    <a:pt x="0" y="200"/>
                  </a:lnTo>
                  <a:lnTo>
                    <a:pt x="0" y="206"/>
                  </a:lnTo>
                  <a:lnTo>
                    <a:pt x="0" y="212"/>
                  </a:lnTo>
                  <a:lnTo>
                    <a:pt x="6" y="206"/>
                  </a:lnTo>
                  <a:lnTo>
                    <a:pt x="12" y="200"/>
                  </a:lnTo>
                  <a:lnTo>
                    <a:pt x="18" y="198"/>
                  </a:lnTo>
                  <a:lnTo>
                    <a:pt x="20" y="194"/>
                  </a:lnTo>
                  <a:lnTo>
                    <a:pt x="26" y="188"/>
                  </a:lnTo>
                  <a:lnTo>
                    <a:pt x="32" y="186"/>
                  </a:lnTo>
                  <a:lnTo>
                    <a:pt x="36" y="180"/>
                  </a:lnTo>
                  <a:lnTo>
                    <a:pt x="42" y="176"/>
                  </a:lnTo>
                  <a:lnTo>
                    <a:pt x="48" y="170"/>
                  </a:lnTo>
                  <a:lnTo>
                    <a:pt x="52" y="164"/>
                  </a:lnTo>
                  <a:lnTo>
                    <a:pt x="52" y="158"/>
                  </a:lnTo>
                  <a:lnTo>
                    <a:pt x="58" y="154"/>
                  </a:lnTo>
                  <a:lnTo>
                    <a:pt x="64" y="152"/>
                  </a:lnTo>
                  <a:lnTo>
                    <a:pt x="70" y="148"/>
                  </a:lnTo>
                  <a:lnTo>
                    <a:pt x="76" y="142"/>
                  </a:lnTo>
                  <a:lnTo>
                    <a:pt x="78" y="136"/>
                  </a:lnTo>
                  <a:lnTo>
                    <a:pt x="82" y="130"/>
                  </a:lnTo>
                  <a:lnTo>
                    <a:pt x="84" y="126"/>
                  </a:lnTo>
                  <a:lnTo>
                    <a:pt x="88" y="120"/>
                  </a:lnTo>
                  <a:lnTo>
                    <a:pt x="84" y="114"/>
                  </a:lnTo>
                  <a:lnTo>
                    <a:pt x="90" y="114"/>
                  </a:lnTo>
                  <a:lnTo>
                    <a:pt x="90" y="108"/>
                  </a:lnTo>
                  <a:lnTo>
                    <a:pt x="88" y="102"/>
                  </a:lnTo>
                  <a:lnTo>
                    <a:pt x="94" y="98"/>
                  </a:lnTo>
                  <a:lnTo>
                    <a:pt x="96" y="96"/>
                  </a:lnTo>
                  <a:lnTo>
                    <a:pt x="102" y="96"/>
                  </a:lnTo>
                  <a:lnTo>
                    <a:pt x="106" y="96"/>
                  </a:lnTo>
                  <a:lnTo>
                    <a:pt x="112" y="94"/>
                  </a:lnTo>
                  <a:lnTo>
                    <a:pt x="116" y="88"/>
                  </a:lnTo>
                  <a:lnTo>
                    <a:pt x="116" y="82"/>
                  </a:lnTo>
                  <a:lnTo>
                    <a:pt x="120" y="76"/>
                  </a:lnTo>
                  <a:lnTo>
                    <a:pt x="126" y="70"/>
                  </a:lnTo>
                  <a:lnTo>
                    <a:pt x="132" y="70"/>
                  </a:lnTo>
                  <a:lnTo>
                    <a:pt x="138" y="66"/>
                  </a:lnTo>
                  <a:lnTo>
                    <a:pt x="142" y="60"/>
                  </a:lnTo>
                  <a:lnTo>
                    <a:pt x="138" y="54"/>
                  </a:lnTo>
                  <a:lnTo>
                    <a:pt x="134" y="48"/>
                  </a:lnTo>
                  <a:lnTo>
                    <a:pt x="134" y="42"/>
                  </a:lnTo>
                  <a:lnTo>
                    <a:pt x="128" y="36"/>
                  </a:lnTo>
                  <a:lnTo>
                    <a:pt x="126" y="30"/>
                  </a:lnTo>
                  <a:lnTo>
                    <a:pt x="130" y="24"/>
                  </a:lnTo>
                  <a:lnTo>
                    <a:pt x="126" y="18"/>
                  </a:lnTo>
                  <a:lnTo>
                    <a:pt x="128" y="12"/>
                  </a:lnTo>
                  <a:lnTo>
                    <a:pt x="128" y="6"/>
                  </a:lnTo>
                  <a:lnTo>
                    <a:pt x="124" y="0"/>
                  </a:lnTo>
                  <a:lnTo>
                    <a:pt x="120" y="6"/>
                  </a:lnTo>
                  <a:lnTo>
                    <a:pt x="120" y="12"/>
                  </a:lnTo>
                  <a:lnTo>
                    <a:pt x="122" y="18"/>
                  </a:lnTo>
                  <a:lnTo>
                    <a:pt x="122" y="24"/>
                  </a:lnTo>
                  <a:lnTo>
                    <a:pt x="116" y="20"/>
                  </a:lnTo>
                  <a:lnTo>
                    <a:pt x="118" y="26"/>
                  </a:lnTo>
                  <a:lnTo>
                    <a:pt x="118" y="32"/>
                  </a:lnTo>
                  <a:lnTo>
                    <a:pt x="124" y="36"/>
                  </a:lnTo>
                  <a:lnTo>
                    <a:pt x="126" y="44"/>
                  </a:lnTo>
                  <a:lnTo>
                    <a:pt x="120" y="40"/>
                  </a:lnTo>
                  <a:lnTo>
                    <a:pt x="114" y="36"/>
                  </a:lnTo>
                  <a:lnTo>
                    <a:pt x="110" y="30"/>
                  </a:lnTo>
                  <a:lnTo>
                    <a:pt x="110" y="36"/>
                  </a:lnTo>
                  <a:lnTo>
                    <a:pt x="114" y="42"/>
                  </a:lnTo>
                  <a:lnTo>
                    <a:pt x="118" y="48"/>
                  </a:lnTo>
                  <a:lnTo>
                    <a:pt x="118" y="54"/>
                  </a:lnTo>
                  <a:lnTo>
                    <a:pt x="114" y="62"/>
                  </a:lnTo>
                  <a:lnTo>
                    <a:pt x="110" y="68"/>
                  </a:lnTo>
                  <a:lnTo>
                    <a:pt x="106" y="62"/>
                  </a:lnTo>
                  <a:lnTo>
                    <a:pt x="104" y="68"/>
                  </a:lnTo>
                  <a:lnTo>
                    <a:pt x="98" y="70"/>
                  </a:lnTo>
                  <a:lnTo>
                    <a:pt x="98" y="76"/>
                  </a:lnTo>
                  <a:lnTo>
                    <a:pt x="98" y="82"/>
                  </a:lnTo>
                  <a:lnTo>
                    <a:pt x="92" y="82"/>
                  </a:lnTo>
                  <a:lnTo>
                    <a:pt x="90" y="82"/>
                  </a:lnTo>
                  <a:lnTo>
                    <a:pt x="88" y="84"/>
                  </a:lnTo>
                  <a:lnTo>
                    <a:pt x="92" y="88"/>
                  </a:lnTo>
                  <a:lnTo>
                    <a:pt x="88" y="94"/>
                  </a:lnTo>
                  <a:lnTo>
                    <a:pt x="88" y="88"/>
                  </a:lnTo>
                  <a:lnTo>
                    <a:pt x="82" y="94"/>
                  </a:lnTo>
                  <a:lnTo>
                    <a:pt x="80" y="96"/>
                  </a:lnTo>
                  <a:lnTo>
                    <a:pt x="78" y="102"/>
                  </a:lnTo>
                  <a:lnTo>
                    <a:pt x="76" y="108"/>
                  </a:lnTo>
                  <a:lnTo>
                    <a:pt x="72" y="114"/>
                  </a:lnTo>
                  <a:lnTo>
                    <a:pt x="68" y="120"/>
                  </a:lnTo>
                  <a:lnTo>
                    <a:pt x="64" y="126"/>
                  </a:lnTo>
                  <a:lnTo>
                    <a:pt x="58" y="130"/>
                  </a:lnTo>
                  <a:lnTo>
                    <a:pt x="54" y="136"/>
                  </a:lnTo>
                  <a:lnTo>
                    <a:pt x="50" y="142"/>
                  </a:lnTo>
                  <a:lnTo>
                    <a:pt x="46" y="148"/>
                  </a:lnTo>
                  <a:lnTo>
                    <a:pt x="40" y="146"/>
                  </a:lnTo>
                  <a:lnTo>
                    <a:pt x="34" y="152"/>
                  </a:lnTo>
                  <a:lnTo>
                    <a:pt x="30" y="160"/>
                  </a:lnTo>
                  <a:lnTo>
                    <a:pt x="26" y="160"/>
                  </a:lnTo>
                  <a:lnTo>
                    <a:pt x="24" y="162"/>
                  </a:lnTo>
                  <a:lnTo>
                    <a:pt x="20" y="168"/>
                  </a:lnTo>
                  <a:lnTo>
                    <a:pt x="18" y="168"/>
                  </a:lnTo>
                  <a:lnTo>
                    <a:pt x="18" y="170"/>
                  </a:lnTo>
                  <a:lnTo>
                    <a:pt x="16" y="174"/>
                  </a:lnTo>
                  <a:lnTo>
                    <a:pt x="12" y="180"/>
                  </a:lnTo>
                  <a:lnTo>
                    <a:pt x="6" y="186"/>
                  </a:lnTo>
                  <a:lnTo>
                    <a:pt x="4" y="192"/>
                  </a:lnTo>
                  <a:lnTo>
                    <a:pt x="4" y="19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8" name="Freeform 145"/>
            <p:cNvSpPr>
              <a:spLocks/>
            </p:cNvSpPr>
            <p:nvPr/>
          </p:nvSpPr>
          <p:spPr bwMode="auto">
            <a:xfrm>
              <a:off x="7204075" y="3860800"/>
              <a:ext cx="33338" cy="36513"/>
            </a:xfrm>
            <a:custGeom>
              <a:avLst/>
              <a:gdLst>
                <a:gd name="T0" fmla="*/ 0 w 82"/>
                <a:gd name="T1" fmla="*/ 2147483647 h 90"/>
                <a:gd name="T2" fmla="*/ 2147483647 w 82"/>
                <a:gd name="T3" fmla="*/ 2147483647 h 90"/>
                <a:gd name="T4" fmla="*/ 2147483647 w 82"/>
                <a:gd name="T5" fmla="*/ 2147483647 h 90"/>
                <a:gd name="T6" fmla="*/ 2147483647 w 82"/>
                <a:gd name="T7" fmla="*/ 2147483647 h 90"/>
                <a:gd name="T8" fmla="*/ 2147483647 w 82"/>
                <a:gd name="T9" fmla="*/ 2147483647 h 90"/>
                <a:gd name="T10" fmla="*/ 2147483647 w 82"/>
                <a:gd name="T11" fmla="*/ 2147483647 h 90"/>
                <a:gd name="T12" fmla="*/ 2147483647 w 82"/>
                <a:gd name="T13" fmla="*/ 2147483647 h 90"/>
                <a:gd name="T14" fmla="*/ 2147483647 w 82"/>
                <a:gd name="T15" fmla="*/ 2147483647 h 90"/>
                <a:gd name="T16" fmla="*/ 2147483647 w 82"/>
                <a:gd name="T17" fmla="*/ 2147483647 h 90"/>
                <a:gd name="T18" fmla="*/ 2147483647 w 82"/>
                <a:gd name="T19" fmla="*/ 2147483647 h 90"/>
                <a:gd name="T20" fmla="*/ 2147483647 w 82"/>
                <a:gd name="T21" fmla="*/ 2147483647 h 90"/>
                <a:gd name="T22" fmla="*/ 2147483647 w 82"/>
                <a:gd name="T23" fmla="*/ 2147483647 h 90"/>
                <a:gd name="T24" fmla="*/ 2147483647 w 82"/>
                <a:gd name="T25" fmla="*/ 2147483647 h 90"/>
                <a:gd name="T26" fmla="*/ 2147483647 w 82"/>
                <a:gd name="T27" fmla="*/ 2147483647 h 90"/>
                <a:gd name="T28" fmla="*/ 2147483647 w 82"/>
                <a:gd name="T29" fmla="*/ 2147483647 h 90"/>
                <a:gd name="T30" fmla="*/ 2147483647 w 82"/>
                <a:gd name="T31" fmla="*/ 2147483647 h 90"/>
                <a:gd name="T32" fmla="*/ 2147483647 w 82"/>
                <a:gd name="T33" fmla="*/ 2147483647 h 90"/>
                <a:gd name="T34" fmla="*/ 2147483647 w 82"/>
                <a:gd name="T35" fmla="*/ 2147483647 h 90"/>
                <a:gd name="T36" fmla="*/ 2147483647 w 82"/>
                <a:gd name="T37" fmla="*/ 2147483647 h 90"/>
                <a:gd name="T38" fmla="*/ 2147483647 w 82"/>
                <a:gd name="T39" fmla="*/ 2147483647 h 90"/>
                <a:gd name="T40" fmla="*/ 2147483647 w 82"/>
                <a:gd name="T41" fmla="*/ 2147483647 h 90"/>
                <a:gd name="T42" fmla="*/ 2147483647 w 82"/>
                <a:gd name="T43" fmla="*/ 2147483647 h 90"/>
                <a:gd name="T44" fmla="*/ 2147483647 w 82"/>
                <a:gd name="T45" fmla="*/ 2147483647 h 90"/>
                <a:gd name="T46" fmla="*/ 2147483647 w 82"/>
                <a:gd name="T47" fmla="*/ 2147483647 h 90"/>
                <a:gd name="T48" fmla="*/ 2147483647 w 82"/>
                <a:gd name="T49" fmla="*/ 2147483647 h 90"/>
                <a:gd name="T50" fmla="*/ 2147483647 w 82"/>
                <a:gd name="T51" fmla="*/ 2147483647 h 90"/>
                <a:gd name="T52" fmla="*/ 2147483647 w 82"/>
                <a:gd name="T53" fmla="*/ 2147483647 h 90"/>
                <a:gd name="T54" fmla="*/ 2147483647 w 82"/>
                <a:gd name="T55" fmla="*/ 2147483647 h 90"/>
                <a:gd name="T56" fmla="*/ 2147483647 w 82"/>
                <a:gd name="T57" fmla="*/ 2147483647 h 90"/>
                <a:gd name="T58" fmla="*/ 2147483647 w 82"/>
                <a:gd name="T59" fmla="*/ 2147483647 h 90"/>
                <a:gd name="T60" fmla="*/ 2147483647 w 82"/>
                <a:gd name="T61" fmla="*/ 2147483647 h 90"/>
                <a:gd name="T62" fmla="*/ 2147483647 w 82"/>
                <a:gd name="T63" fmla="*/ 2147483647 h 90"/>
                <a:gd name="T64" fmla="*/ 2147483647 w 82"/>
                <a:gd name="T65" fmla="*/ 2147483647 h 90"/>
                <a:gd name="T66" fmla="*/ 2147483647 w 82"/>
                <a:gd name="T67" fmla="*/ 2147483647 h 90"/>
                <a:gd name="T68" fmla="*/ 2147483647 w 82"/>
                <a:gd name="T69" fmla="*/ 2147483647 h 90"/>
                <a:gd name="T70" fmla="*/ 2147483647 w 82"/>
                <a:gd name="T71" fmla="*/ 2147483647 h 90"/>
                <a:gd name="T72" fmla="*/ 2147483647 w 82"/>
                <a:gd name="T73" fmla="*/ 2147483647 h 90"/>
                <a:gd name="T74" fmla="*/ 2147483647 w 82"/>
                <a:gd name="T75" fmla="*/ 2147483647 h 90"/>
                <a:gd name="T76" fmla="*/ 2147483647 w 82"/>
                <a:gd name="T77" fmla="*/ 2147483647 h 90"/>
                <a:gd name="T78" fmla="*/ 2147483647 w 82"/>
                <a:gd name="T79" fmla="*/ 2147483647 h 90"/>
                <a:gd name="T80" fmla="*/ 2147483647 w 82"/>
                <a:gd name="T81" fmla="*/ 2147483647 h 90"/>
                <a:gd name="T82" fmla="*/ 2147483647 w 82"/>
                <a:gd name="T83" fmla="*/ 2147483647 h 90"/>
                <a:gd name="T84" fmla="*/ 2147483647 w 82"/>
                <a:gd name="T85" fmla="*/ 2147483647 h 90"/>
                <a:gd name="T86" fmla="*/ 2147483647 w 82"/>
                <a:gd name="T87" fmla="*/ 2147483647 h 90"/>
                <a:gd name="T88" fmla="*/ 2147483647 w 82"/>
                <a:gd name="T89" fmla="*/ 2147483647 h 90"/>
                <a:gd name="T90" fmla="*/ 2147483647 w 82"/>
                <a:gd name="T91" fmla="*/ 2147483647 h 90"/>
                <a:gd name="T92" fmla="*/ 2147483647 w 82"/>
                <a:gd name="T93" fmla="*/ 2147483647 h 90"/>
                <a:gd name="T94" fmla="*/ 2147483647 w 82"/>
                <a:gd name="T95" fmla="*/ 2147483647 h 90"/>
                <a:gd name="T96" fmla="*/ 2147483647 w 82"/>
                <a:gd name="T97" fmla="*/ 2147483647 h 90"/>
                <a:gd name="T98" fmla="*/ 2147483647 w 82"/>
                <a:gd name="T99" fmla="*/ 2147483647 h 90"/>
                <a:gd name="T100" fmla="*/ 2147483647 w 82"/>
                <a:gd name="T101" fmla="*/ 2147483647 h 90"/>
                <a:gd name="T102" fmla="*/ 2147483647 w 82"/>
                <a:gd name="T103" fmla="*/ 0 h 90"/>
                <a:gd name="T104" fmla="*/ 0 w 82"/>
                <a:gd name="T105" fmla="*/ 2147483647 h 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2"/>
                <a:gd name="T160" fmla="*/ 0 h 90"/>
                <a:gd name="T161" fmla="*/ 82 w 82"/>
                <a:gd name="T162" fmla="*/ 90 h 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2" h="90">
                  <a:moveTo>
                    <a:pt x="0" y="4"/>
                  </a:moveTo>
                  <a:lnTo>
                    <a:pt x="4" y="10"/>
                  </a:lnTo>
                  <a:lnTo>
                    <a:pt x="12" y="12"/>
                  </a:lnTo>
                  <a:lnTo>
                    <a:pt x="14" y="16"/>
                  </a:lnTo>
                  <a:lnTo>
                    <a:pt x="20" y="20"/>
                  </a:lnTo>
                  <a:lnTo>
                    <a:pt x="20" y="22"/>
                  </a:lnTo>
                  <a:lnTo>
                    <a:pt x="26" y="26"/>
                  </a:lnTo>
                  <a:lnTo>
                    <a:pt x="28" y="30"/>
                  </a:lnTo>
                  <a:lnTo>
                    <a:pt x="32" y="36"/>
                  </a:lnTo>
                  <a:lnTo>
                    <a:pt x="32" y="38"/>
                  </a:lnTo>
                  <a:lnTo>
                    <a:pt x="34" y="42"/>
                  </a:lnTo>
                  <a:lnTo>
                    <a:pt x="32" y="48"/>
                  </a:lnTo>
                  <a:lnTo>
                    <a:pt x="34" y="48"/>
                  </a:lnTo>
                  <a:lnTo>
                    <a:pt x="36" y="54"/>
                  </a:lnTo>
                  <a:lnTo>
                    <a:pt x="40" y="56"/>
                  </a:lnTo>
                  <a:lnTo>
                    <a:pt x="44" y="62"/>
                  </a:lnTo>
                  <a:lnTo>
                    <a:pt x="44" y="68"/>
                  </a:lnTo>
                  <a:lnTo>
                    <a:pt x="46" y="70"/>
                  </a:lnTo>
                  <a:lnTo>
                    <a:pt x="50" y="76"/>
                  </a:lnTo>
                  <a:lnTo>
                    <a:pt x="54" y="80"/>
                  </a:lnTo>
                  <a:lnTo>
                    <a:pt x="58" y="86"/>
                  </a:lnTo>
                  <a:lnTo>
                    <a:pt x="60" y="88"/>
                  </a:lnTo>
                  <a:lnTo>
                    <a:pt x="66" y="90"/>
                  </a:lnTo>
                  <a:lnTo>
                    <a:pt x="68" y="90"/>
                  </a:lnTo>
                  <a:lnTo>
                    <a:pt x="72" y="84"/>
                  </a:lnTo>
                  <a:lnTo>
                    <a:pt x="74" y="84"/>
                  </a:lnTo>
                  <a:lnTo>
                    <a:pt x="76" y="78"/>
                  </a:lnTo>
                  <a:lnTo>
                    <a:pt x="76" y="70"/>
                  </a:lnTo>
                  <a:lnTo>
                    <a:pt x="80" y="66"/>
                  </a:lnTo>
                  <a:lnTo>
                    <a:pt x="82" y="60"/>
                  </a:lnTo>
                  <a:lnTo>
                    <a:pt x="82" y="58"/>
                  </a:lnTo>
                  <a:lnTo>
                    <a:pt x="76" y="52"/>
                  </a:lnTo>
                  <a:lnTo>
                    <a:pt x="76" y="46"/>
                  </a:lnTo>
                  <a:lnTo>
                    <a:pt x="76" y="40"/>
                  </a:lnTo>
                  <a:lnTo>
                    <a:pt x="76" y="32"/>
                  </a:lnTo>
                  <a:lnTo>
                    <a:pt x="74" y="26"/>
                  </a:lnTo>
                  <a:lnTo>
                    <a:pt x="72" y="26"/>
                  </a:lnTo>
                  <a:lnTo>
                    <a:pt x="70" y="20"/>
                  </a:lnTo>
                  <a:lnTo>
                    <a:pt x="64" y="16"/>
                  </a:lnTo>
                  <a:lnTo>
                    <a:pt x="62" y="12"/>
                  </a:lnTo>
                  <a:lnTo>
                    <a:pt x="60" y="12"/>
                  </a:lnTo>
                  <a:lnTo>
                    <a:pt x="54" y="6"/>
                  </a:lnTo>
                  <a:lnTo>
                    <a:pt x="50" y="6"/>
                  </a:lnTo>
                  <a:lnTo>
                    <a:pt x="48" y="8"/>
                  </a:lnTo>
                  <a:lnTo>
                    <a:pt x="42" y="4"/>
                  </a:lnTo>
                  <a:lnTo>
                    <a:pt x="36" y="2"/>
                  </a:lnTo>
                  <a:lnTo>
                    <a:pt x="32" y="2"/>
                  </a:lnTo>
                  <a:lnTo>
                    <a:pt x="24" y="2"/>
                  </a:lnTo>
                  <a:lnTo>
                    <a:pt x="18" y="2"/>
                  </a:lnTo>
                  <a:lnTo>
                    <a:pt x="12" y="2"/>
                  </a:lnTo>
                  <a:lnTo>
                    <a:pt x="6" y="0"/>
                  </a:lnTo>
                  <a:lnTo>
                    <a:pt x="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29" name="Freeform 146"/>
            <p:cNvSpPr>
              <a:spLocks/>
            </p:cNvSpPr>
            <p:nvPr/>
          </p:nvSpPr>
          <p:spPr bwMode="auto">
            <a:xfrm>
              <a:off x="7246938" y="3906838"/>
              <a:ext cx="33337" cy="42862"/>
            </a:xfrm>
            <a:custGeom>
              <a:avLst/>
              <a:gdLst>
                <a:gd name="T0" fmla="*/ 0 w 82"/>
                <a:gd name="T1" fmla="*/ 2147483647 h 104"/>
                <a:gd name="T2" fmla="*/ 2147483647 w 82"/>
                <a:gd name="T3" fmla="*/ 2147483647 h 104"/>
                <a:gd name="T4" fmla="*/ 2147483647 w 82"/>
                <a:gd name="T5" fmla="*/ 2147483647 h 104"/>
                <a:gd name="T6" fmla="*/ 2147483647 w 82"/>
                <a:gd name="T7" fmla="*/ 2147483647 h 104"/>
                <a:gd name="T8" fmla="*/ 2147483647 w 82"/>
                <a:gd name="T9" fmla="*/ 2147483647 h 104"/>
                <a:gd name="T10" fmla="*/ 2147483647 w 82"/>
                <a:gd name="T11" fmla="*/ 2147483647 h 104"/>
                <a:gd name="T12" fmla="*/ 2147483647 w 82"/>
                <a:gd name="T13" fmla="*/ 2147483647 h 104"/>
                <a:gd name="T14" fmla="*/ 2147483647 w 82"/>
                <a:gd name="T15" fmla="*/ 2147483647 h 104"/>
                <a:gd name="T16" fmla="*/ 2147483647 w 82"/>
                <a:gd name="T17" fmla="*/ 2147483647 h 104"/>
                <a:gd name="T18" fmla="*/ 2147483647 w 82"/>
                <a:gd name="T19" fmla="*/ 2147483647 h 104"/>
                <a:gd name="T20" fmla="*/ 2147483647 w 82"/>
                <a:gd name="T21" fmla="*/ 2147483647 h 104"/>
                <a:gd name="T22" fmla="*/ 2147483647 w 82"/>
                <a:gd name="T23" fmla="*/ 2147483647 h 104"/>
                <a:gd name="T24" fmla="*/ 2147483647 w 82"/>
                <a:gd name="T25" fmla="*/ 2147483647 h 104"/>
                <a:gd name="T26" fmla="*/ 2147483647 w 82"/>
                <a:gd name="T27" fmla="*/ 2147483647 h 104"/>
                <a:gd name="T28" fmla="*/ 2147483647 w 82"/>
                <a:gd name="T29" fmla="*/ 2147483647 h 104"/>
                <a:gd name="T30" fmla="*/ 2147483647 w 82"/>
                <a:gd name="T31" fmla="*/ 2147483647 h 104"/>
                <a:gd name="T32" fmla="*/ 2147483647 w 82"/>
                <a:gd name="T33" fmla="*/ 2147483647 h 104"/>
                <a:gd name="T34" fmla="*/ 2147483647 w 82"/>
                <a:gd name="T35" fmla="*/ 2147483647 h 104"/>
                <a:gd name="T36" fmla="*/ 2147483647 w 82"/>
                <a:gd name="T37" fmla="*/ 2147483647 h 104"/>
                <a:gd name="T38" fmla="*/ 2147483647 w 82"/>
                <a:gd name="T39" fmla="*/ 2147483647 h 104"/>
                <a:gd name="T40" fmla="*/ 2147483647 w 82"/>
                <a:gd name="T41" fmla="*/ 2147483647 h 104"/>
                <a:gd name="T42" fmla="*/ 2147483647 w 82"/>
                <a:gd name="T43" fmla="*/ 2147483647 h 104"/>
                <a:gd name="T44" fmla="*/ 2147483647 w 82"/>
                <a:gd name="T45" fmla="*/ 2147483647 h 104"/>
                <a:gd name="T46" fmla="*/ 2147483647 w 82"/>
                <a:gd name="T47" fmla="*/ 2147483647 h 104"/>
                <a:gd name="T48" fmla="*/ 2147483647 w 82"/>
                <a:gd name="T49" fmla="*/ 2147483647 h 104"/>
                <a:gd name="T50" fmla="*/ 2147483647 w 82"/>
                <a:gd name="T51" fmla="*/ 2147483647 h 104"/>
                <a:gd name="T52" fmla="*/ 2147483647 w 82"/>
                <a:gd name="T53" fmla="*/ 2147483647 h 104"/>
                <a:gd name="T54" fmla="*/ 2147483647 w 82"/>
                <a:gd name="T55" fmla="*/ 2147483647 h 104"/>
                <a:gd name="T56" fmla="*/ 2147483647 w 82"/>
                <a:gd name="T57" fmla="*/ 2147483647 h 104"/>
                <a:gd name="T58" fmla="*/ 2147483647 w 82"/>
                <a:gd name="T59" fmla="*/ 2147483647 h 104"/>
                <a:gd name="T60" fmla="*/ 2147483647 w 82"/>
                <a:gd name="T61" fmla="*/ 2147483647 h 104"/>
                <a:gd name="T62" fmla="*/ 2147483647 w 82"/>
                <a:gd name="T63" fmla="*/ 2147483647 h 104"/>
                <a:gd name="T64" fmla="*/ 2147483647 w 82"/>
                <a:gd name="T65" fmla="*/ 2147483647 h 104"/>
                <a:gd name="T66" fmla="*/ 2147483647 w 82"/>
                <a:gd name="T67" fmla="*/ 2147483647 h 104"/>
                <a:gd name="T68" fmla="*/ 2147483647 w 82"/>
                <a:gd name="T69" fmla="*/ 2147483647 h 104"/>
                <a:gd name="T70" fmla="*/ 2147483647 w 82"/>
                <a:gd name="T71" fmla="*/ 2147483647 h 104"/>
                <a:gd name="T72" fmla="*/ 2147483647 w 82"/>
                <a:gd name="T73" fmla="*/ 2147483647 h 104"/>
                <a:gd name="T74" fmla="*/ 2147483647 w 82"/>
                <a:gd name="T75" fmla="*/ 2147483647 h 104"/>
                <a:gd name="T76" fmla="*/ 2147483647 w 82"/>
                <a:gd name="T77" fmla="*/ 2147483647 h 104"/>
                <a:gd name="T78" fmla="*/ 2147483647 w 82"/>
                <a:gd name="T79" fmla="*/ 2147483647 h 104"/>
                <a:gd name="T80" fmla="*/ 2147483647 w 82"/>
                <a:gd name="T81" fmla="*/ 2147483647 h 104"/>
                <a:gd name="T82" fmla="*/ 2147483647 w 82"/>
                <a:gd name="T83" fmla="*/ 2147483647 h 104"/>
                <a:gd name="T84" fmla="*/ 2147483647 w 82"/>
                <a:gd name="T85" fmla="*/ 2147483647 h 104"/>
                <a:gd name="T86" fmla="*/ 2147483647 w 82"/>
                <a:gd name="T87" fmla="*/ 2147483647 h 104"/>
                <a:gd name="T88" fmla="*/ 2147483647 w 82"/>
                <a:gd name="T89" fmla="*/ 2147483647 h 104"/>
                <a:gd name="T90" fmla="*/ 2147483647 w 82"/>
                <a:gd name="T91" fmla="*/ 2147483647 h 104"/>
                <a:gd name="T92" fmla="*/ 2147483647 w 82"/>
                <a:gd name="T93" fmla="*/ 2147483647 h 104"/>
                <a:gd name="T94" fmla="*/ 2147483647 w 82"/>
                <a:gd name="T95" fmla="*/ 2147483647 h 104"/>
                <a:gd name="T96" fmla="*/ 2147483647 w 82"/>
                <a:gd name="T97" fmla="*/ 2147483647 h 104"/>
                <a:gd name="T98" fmla="*/ 2147483647 w 82"/>
                <a:gd name="T99" fmla="*/ 2147483647 h 104"/>
                <a:gd name="T100" fmla="*/ 2147483647 w 82"/>
                <a:gd name="T101" fmla="*/ 2147483647 h 104"/>
                <a:gd name="T102" fmla="*/ 2147483647 w 82"/>
                <a:gd name="T103" fmla="*/ 2147483647 h 104"/>
                <a:gd name="T104" fmla="*/ 2147483647 w 82"/>
                <a:gd name="T105" fmla="*/ 2147483647 h 104"/>
                <a:gd name="T106" fmla="*/ 2147483647 w 82"/>
                <a:gd name="T107" fmla="*/ 2147483647 h 104"/>
                <a:gd name="T108" fmla="*/ 2147483647 w 82"/>
                <a:gd name="T109" fmla="*/ 2147483647 h 104"/>
                <a:gd name="T110" fmla="*/ 2147483647 w 82"/>
                <a:gd name="T111" fmla="*/ 2147483647 h 104"/>
                <a:gd name="T112" fmla="*/ 2147483647 w 82"/>
                <a:gd name="T113" fmla="*/ 2147483647 h 104"/>
                <a:gd name="T114" fmla="*/ 2147483647 w 82"/>
                <a:gd name="T115" fmla="*/ 0 h 104"/>
                <a:gd name="T116" fmla="*/ 2147483647 w 82"/>
                <a:gd name="T117" fmla="*/ 2147483647 h 104"/>
                <a:gd name="T118" fmla="*/ 0 w 82"/>
                <a:gd name="T119" fmla="*/ 2147483647 h 1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2"/>
                <a:gd name="T181" fmla="*/ 0 h 104"/>
                <a:gd name="T182" fmla="*/ 82 w 82"/>
                <a:gd name="T183" fmla="*/ 104 h 10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2" h="104">
                  <a:moveTo>
                    <a:pt x="0" y="12"/>
                  </a:moveTo>
                  <a:lnTo>
                    <a:pt x="6" y="12"/>
                  </a:lnTo>
                  <a:lnTo>
                    <a:pt x="12" y="14"/>
                  </a:lnTo>
                  <a:lnTo>
                    <a:pt x="16" y="20"/>
                  </a:lnTo>
                  <a:lnTo>
                    <a:pt x="16" y="26"/>
                  </a:lnTo>
                  <a:lnTo>
                    <a:pt x="16" y="32"/>
                  </a:lnTo>
                  <a:lnTo>
                    <a:pt x="16" y="40"/>
                  </a:lnTo>
                  <a:lnTo>
                    <a:pt x="16" y="46"/>
                  </a:lnTo>
                  <a:lnTo>
                    <a:pt x="16" y="52"/>
                  </a:lnTo>
                  <a:lnTo>
                    <a:pt x="16" y="58"/>
                  </a:lnTo>
                  <a:lnTo>
                    <a:pt x="16" y="64"/>
                  </a:lnTo>
                  <a:lnTo>
                    <a:pt x="14" y="70"/>
                  </a:lnTo>
                  <a:lnTo>
                    <a:pt x="12" y="76"/>
                  </a:lnTo>
                  <a:lnTo>
                    <a:pt x="12" y="78"/>
                  </a:lnTo>
                  <a:lnTo>
                    <a:pt x="14" y="84"/>
                  </a:lnTo>
                  <a:lnTo>
                    <a:pt x="16" y="92"/>
                  </a:lnTo>
                  <a:lnTo>
                    <a:pt x="14" y="98"/>
                  </a:lnTo>
                  <a:lnTo>
                    <a:pt x="12" y="104"/>
                  </a:lnTo>
                  <a:lnTo>
                    <a:pt x="18" y="104"/>
                  </a:lnTo>
                  <a:lnTo>
                    <a:pt x="20" y="102"/>
                  </a:lnTo>
                  <a:lnTo>
                    <a:pt x="22" y="96"/>
                  </a:lnTo>
                  <a:lnTo>
                    <a:pt x="28" y="90"/>
                  </a:lnTo>
                  <a:lnTo>
                    <a:pt x="34" y="88"/>
                  </a:lnTo>
                  <a:lnTo>
                    <a:pt x="40" y="88"/>
                  </a:lnTo>
                  <a:lnTo>
                    <a:pt x="46" y="88"/>
                  </a:lnTo>
                  <a:lnTo>
                    <a:pt x="52" y="84"/>
                  </a:lnTo>
                  <a:lnTo>
                    <a:pt x="54" y="80"/>
                  </a:lnTo>
                  <a:lnTo>
                    <a:pt x="54" y="78"/>
                  </a:lnTo>
                  <a:lnTo>
                    <a:pt x="62" y="78"/>
                  </a:lnTo>
                  <a:lnTo>
                    <a:pt x="62" y="72"/>
                  </a:lnTo>
                  <a:lnTo>
                    <a:pt x="62" y="66"/>
                  </a:lnTo>
                  <a:lnTo>
                    <a:pt x="68" y="62"/>
                  </a:lnTo>
                  <a:lnTo>
                    <a:pt x="72" y="62"/>
                  </a:lnTo>
                  <a:lnTo>
                    <a:pt x="76" y="56"/>
                  </a:lnTo>
                  <a:lnTo>
                    <a:pt x="82" y="54"/>
                  </a:lnTo>
                  <a:lnTo>
                    <a:pt x="80" y="48"/>
                  </a:lnTo>
                  <a:lnTo>
                    <a:pt x="80" y="40"/>
                  </a:lnTo>
                  <a:lnTo>
                    <a:pt x="80" y="36"/>
                  </a:lnTo>
                  <a:lnTo>
                    <a:pt x="82" y="34"/>
                  </a:lnTo>
                  <a:lnTo>
                    <a:pt x="80" y="28"/>
                  </a:lnTo>
                  <a:lnTo>
                    <a:pt x="78" y="26"/>
                  </a:lnTo>
                  <a:lnTo>
                    <a:pt x="70" y="30"/>
                  </a:lnTo>
                  <a:lnTo>
                    <a:pt x="66" y="34"/>
                  </a:lnTo>
                  <a:lnTo>
                    <a:pt x="68" y="28"/>
                  </a:lnTo>
                  <a:lnTo>
                    <a:pt x="64" y="26"/>
                  </a:lnTo>
                  <a:lnTo>
                    <a:pt x="58" y="22"/>
                  </a:lnTo>
                  <a:lnTo>
                    <a:pt x="52" y="26"/>
                  </a:lnTo>
                  <a:lnTo>
                    <a:pt x="46" y="28"/>
                  </a:lnTo>
                  <a:lnTo>
                    <a:pt x="46" y="26"/>
                  </a:lnTo>
                  <a:lnTo>
                    <a:pt x="40" y="26"/>
                  </a:lnTo>
                  <a:lnTo>
                    <a:pt x="38" y="20"/>
                  </a:lnTo>
                  <a:lnTo>
                    <a:pt x="34" y="14"/>
                  </a:lnTo>
                  <a:lnTo>
                    <a:pt x="32" y="14"/>
                  </a:lnTo>
                  <a:lnTo>
                    <a:pt x="26" y="12"/>
                  </a:lnTo>
                  <a:lnTo>
                    <a:pt x="20" y="8"/>
                  </a:lnTo>
                  <a:lnTo>
                    <a:pt x="18" y="8"/>
                  </a:lnTo>
                  <a:lnTo>
                    <a:pt x="12" y="6"/>
                  </a:lnTo>
                  <a:lnTo>
                    <a:pt x="6" y="0"/>
                  </a:lnTo>
                  <a:lnTo>
                    <a:pt x="2" y="6"/>
                  </a:lnTo>
                  <a:lnTo>
                    <a:pt x="0"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0" name="Freeform 147"/>
            <p:cNvSpPr>
              <a:spLocks/>
            </p:cNvSpPr>
            <p:nvPr/>
          </p:nvSpPr>
          <p:spPr bwMode="auto">
            <a:xfrm>
              <a:off x="7265988" y="3933825"/>
              <a:ext cx="25400" cy="55563"/>
            </a:xfrm>
            <a:custGeom>
              <a:avLst/>
              <a:gdLst>
                <a:gd name="T0" fmla="*/ 2147483647 w 64"/>
                <a:gd name="T1" fmla="*/ 2147483647 h 134"/>
                <a:gd name="T2" fmla="*/ 2147483647 w 64"/>
                <a:gd name="T3" fmla="*/ 2147483647 h 134"/>
                <a:gd name="T4" fmla="*/ 2147483647 w 64"/>
                <a:gd name="T5" fmla="*/ 2147483647 h 134"/>
                <a:gd name="T6" fmla="*/ 2147483647 w 64"/>
                <a:gd name="T7" fmla="*/ 2147483647 h 134"/>
                <a:gd name="T8" fmla="*/ 2147483647 w 64"/>
                <a:gd name="T9" fmla="*/ 2147483647 h 134"/>
                <a:gd name="T10" fmla="*/ 2147483647 w 64"/>
                <a:gd name="T11" fmla="*/ 2147483647 h 134"/>
                <a:gd name="T12" fmla="*/ 2147483647 w 64"/>
                <a:gd name="T13" fmla="*/ 2147483647 h 134"/>
                <a:gd name="T14" fmla="*/ 2147483647 w 64"/>
                <a:gd name="T15" fmla="*/ 2147483647 h 134"/>
                <a:gd name="T16" fmla="*/ 2147483647 w 64"/>
                <a:gd name="T17" fmla="*/ 2147483647 h 134"/>
                <a:gd name="T18" fmla="*/ 2147483647 w 64"/>
                <a:gd name="T19" fmla="*/ 2147483647 h 134"/>
                <a:gd name="T20" fmla="*/ 2147483647 w 64"/>
                <a:gd name="T21" fmla="*/ 2147483647 h 134"/>
                <a:gd name="T22" fmla="*/ 2147483647 w 64"/>
                <a:gd name="T23" fmla="*/ 2147483647 h 134"/>
                <a:gd name="T24" fmla="*/ 2147483647 w 64"/>
                <a:gd name="T25" fmla="*/ 2147483647 h 134"/>
                <a:gd name="T26" fmla="*/ 2147483647 w 64"/>
                <a:gd name="T27" fmla="*/ 2147483647 h 134"/>
                <a:gd name="T28" fmla="*/ 2147483647 w 64"/>
                <a:gd name="T29" fmla="*/ 2147483647 h 134"/>
                <a:gd name="T30" fmla="*/ 2147483647 w 64"/>
                <a:gd name="T31" fmla="*/ 2147483647 h 134"/>
                <a:gd name="T32" fmla="*/ 2147483647 w 64"/>
                <a:gd name="T33" fmla="*/ 2147483647 h 134"/>
                <a:gd name="T34" fmla="*/ 2147483647 w 64"/>
                <a:gd name="T35" fmla="*/ 2147483647 h 134"/>
                <a:gd name="T36" fmla="*/ 2147483647 w 64"/>
                <a:gd name="T37" fmla="*/ 2147483647 h 134"/>
                <a:gd name="T38" fmla="*/ 2147483647 w 64"/>
                <a:gd name="T39" fmla="*/ 2147483647 h 134"/>
                <a:gd name="T40" fmla="*/ 2147483647 w 64"/>
                <a:gd name="T41" fmla="*/ 2147483647 h 134"/>
                <a:gd name="T42" fmla="*/ 2147483647 w 64"/>
                <a:gd name="T43" fmla="*/ 2147483647 h 134"/>
                <a:gd name="T44" fmla="*/ 2147483647 w 64"/>
                <a:gd name="T45" fmla="*/ 2147483647 h 134"/>
                <a:gd name="T46" fmla="*/ 2147483647 w 64"/>
                <a:gd name="T47" fmla="*/ 2147483647 h 134"/>
                <a:gd name="T48" fmla="*/ 2147483647 w 64"/>
                <a:gd name="T49" fmla="*/ 2147483647 h 134"/>
                <a:gd name="T50" fmla="*/ 2147483647 w 64"/>
                <a:gd name="T51" fmla="*/ 2147483647 h 134"/>
                <a:gd name="T52" fmla="*/ 2147483647 w 64"/>
                <a:gd name="T53" fmla="*/ 2147483647 h 134"/>
                <a:gd name="T54" fmla="*/ 2147483647 w 64"/>
                <a:gd name="T55" fmla="*/ 2147483647 h 134"/>
                <a:gd name="T56" fmla="*/ 2147483647 w 64"/>
                <a:gd name="T57" fmla="*/ 2147483647 h 134"/>
                <a:gd name="T58" fmla="*/ 2147483647 w 64"/>
                <a:gd name="T59" fmla="*/ 2147483647 h 134"/>
                <a:gd name="T60" fmla="*/ 2147483647 w 64"/>
                <a:gd name="T61" fmla="*/ 2147483647 h 134"/>
                <a:gd name="T62" fmla="*/ 2147483647 w 64"/>
                <a:gd name="T63" fmla="*/ 2147483647 h 134"/>
                <a:gd name="T64" fmla="*/ 2147483647 w 64"/>
                <a:gd name="T65" fmla="*/ 2147483647 h 134"/>
                <a:gd name="T66" fmla="*/ 2147483647 w 64"/>
                <a:gd name="T67" fmla="*/ 2147483647 h 134"/>
                <a:gd name="T68" fmla="*/ 2147483647 w 64"/>
                <a:gd name="T69" fmla="*/ 2147483647 h 134"/>
                <a:gd name="T70" fmla="*/ 2147483647 w 64"/>
                <a:gd name="T71" fmla="*/ 0 h 134"/>
                <a:gd name="T72" fmla="*/ 2147483647 w 64"/>
                <a:gd name="T73" fmla="*/ 0 h 134"/>
                <a:gd name="T74" fmla="*/ 2147483647 w 64"/>
                <a:gd name="T75" fmla="*/ 2147483647 h 134"/>
                <a:gd name="T76" fmla="*/ 2147483647 w 64"/>
                <a:gd name="T77" fmla="*/ 2147483647 h 134"/>
                <a:gd name="T78" fmla="*/ 2147483647 w 64"/>
                <a:gd name="T79" fmla="*/ 2147483647 h 134"/>
                <a:gd name="T80" fmla="*/ 2147483647 w 64"/>
                <a:gd name="T81" fmla="*/ 2147483647 h 134"/>
                <a:gd name="T82" fmla="*/ 2147483647 w 64"/>
                <a:gd name="T83" fmla="*/ 2147483647 h 134"/>
                <a:gd name="T84" fmla="*/ 2147483647 w 64"/>
                <a:gd name="T85" fmla="*/ 2147483647 h 134"/>
                <a:gd name="T86" fmla="*/ 2147483647 w 64"/>
                <a:gd name="T87" fmla="*/ 2147483647 h 134"/>
                <a:gd name="T88" fmla="*/ 2147483647 w 64"/>
                <a:gd name="T89" fmla="*/ 2147483647 h 134"/>
                <a:gd name="T90" fmla="*/ 2147483647 w 64"/>
                <a:gd name="T91" fmla="*/ 2147483647 h 134"/>
                <a:gd name="T92" fmla="*/ 2147483647 w 64"/>
                <a:gd name="T93" fmla="*/ 2147483647 h 134"/>
                <a:gd name="T94" fmla="*/ 2147483647 w 64"/>
                <a:gd name="T95" fmla="*/ 2147483647 h 134"/>
                <a:gd name="T96" fmla="*/ 2147483647 w 64"/>
                <a:gd name="T97" fmla="*/ 2147483647 h 134"/>
                <a:gd name="T98" fmla="*/ 2147483647 w 64"/>
                <a:gd name="T99" fmla="*/ 2147483647 h 134"/>
                <a:gd name="T100" fmla="*/ 2147483647 w 64"/>
                <a:gd name="T101" fmla="*/ 2147483647 h 134"/>
                <a:gd name="T102" fmla="*/ 2147483647 w 64"/>
                <a:gd name="T103" fmla="*/ 2147483647 h 134"/>
                <a:gd name="T104" fmla="*/ 2147483647 w 64"/>
                <a:gd name="T105" fmla="*/ 2147483647 h 134"/>
                <a:gd name="T106" fmla="*/ 2147483647 w 64"/>
                <a:gd name="T107" fmla="*/ 2147483647 h 134"/>
                <a:gd name="T108" fmla="*/ 0 w 64"/>
                <a:gd name="T109" fmla="*/ 2147483647 h 134"/>
                <a:gd name="T110" fmla="*/ 0 w 64"/>
                <a:gd name="T111" fmla="*/ 2147483647 h 134"/>
                <a:gd name="T112" fmla="*/ 2147483647 w 64"/>
                <a:gd name="T113" fmla="*/ 2147483647 h 134"/>
                <a:gd name="T114" fmla="*/ 2147483647 w 64"/>
                <a:gd name="T115" fmla="*/ 2147483647 h 134"/>
                <a:gd name="T116" fmla="*/ 2147483647 w 64"/>
                <a:gd name="T117" fmla="*/ 2147483647 h 134"/>
                <a:gd name="T118" fmla="*/ 2147483647 w 64"/>
                <a:gd name="T119" fmla="*/ 2147483647 h 1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4"/>
                <a:gd name="T181" fmla="*/ 0 h 134"/>
                <a:gd name="T182" fmla="*/ 64 w 64"/>
                <a:gd name="T183" fmla="*/ 134 h 1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4" h="134">
                  <a:moveTo>
                    <a:pt x="14" y="106"/>
                  </a:moveTo>
                  <a:lnTo>
                    <a:pt x="16" y="108"/>
                  </a:lnTo>
                  <a:lnTo>
                    <a:pt x="20" y="110"/>
                  </a:lnTo>
                  <a:lnTo>
                    <a:pt x="26" y="112"/>
                  </a:lnTo>
                  <a:lnTo>
                    <a:pt x="32" y="116"/>
                  </a:lnTo>
                  <a:lnTo>
                    <a:pt x="32" y="122"/>
                  </a:lnTo>
                  <a:lnTo>
                    <a:pt x="36" y="128"/>
                  </a:lnTo>
                  <a:lnTo>
                    <a:pt x="40" y="134"/>
                  </a:lnTo>
                  <a:lnTo>
                    <a:pt x="42" y="134"/>
                  </a:lnTo>
                  <a:lnTo>
                    <a:pt x="48" y="134"/>
                  </a:lnTo>
                  <a:lnTo>
                    <a:pt x="54" y="128"/>
                  </a:lnTo>
                  <a:lnTo>
                    <a:pt x="58" y="122"/>
                  </a:lnTo>
                  <a:lnTo>
                    <a:pt x="58" y="116"/>
                  </a:lnTo>
                  <a:lnTo>
                    <a:pt x="54" y="110"/>
                  </a:lnTo>
                  <a:lnTo>
                    <a:pt x="50" y="102"/>
                  </a:lnTo>
                  <a:lnTo>
                    <a:pt x="48" y="98"/>
                  </a:lnTo>
                  <a:lnTo>
                    <a:pt x="46" y="92"/>
                  </a:lnTo>
                  <a:lnTo>
                    <a:pt x="46" y="86"/>
                  </a:lnTo>
                  <a:lnTo>
                    <a:pt x="46" y="80"/>
                  </a:lnTo>
                  <a:lnTo>
                    <a:pt x="46" y="74"/>
                  </a:lnTo>
                  <a:lnTo>
                    <a:pt x="50" y="68"/>
                  </a:lnTo>
                  <a:lnTo>
                    <a:pt x="50" y="64"/>
                  </a:lnTo>
                  <a:lnTo>
                    <a:pt x="52" y="58"/>
                  </a:lnTo>
                  <a:lnTo>
                    <a:pt x="54" y="52"/>
                  </a:lnTo>
                  <a:lnTo>
                    <a:pt x="54" y="46"/>
                  </a:lnTo>
                  <a:lnTo>
                    <a:pt x="54" y="40"/>
                  </a:lnTo>
                  <a:lnTo>
                    <a:pt x="58" y="34"/>
                  </a:lnTo>
                  <a:lnTo>
                    <a:pt x="62" y="28"/>
                  </a:lnTo>
                  <a:lnTo>
                    <a:pt x="62" y="22"/>
                  </a:lnTo>
                  <a:lnTo>
                    <a:pt x="64" y="16"/>
                  </a:lnTo>
                  <a:lnTo>
                    <a:pt x="62" y="10"/>
                  </a:lnTo>
                  <a:lnTo>
                    <a:pt x="60" y="4"/>
                  </a:lnTo>
                  <a:lnTo>
                    <a:pt x="54" y="2"/>
                  </a:lnTo>
                  <a:lnTo>
                    <a:pt x="50" y="2"/>
                  </a:lnTo>
                  <a:lnTo>
                    <a:pt x="44" y="0"/>
                  </a:lnTo>
                  <a:lnTo>
                    <a:pt x="38" y="0"/>
                  </a:lnTo>
                  <a:lnTo>
                    <a:pt x="32" y="4"/>
                  </a:lnTo>
                  <a:lnTo>
                    <a:pt x="28" y="8"/>
                  </a:lnTo>
                  <a:lnTo>
                    <a:pt x="28" y="12"/>
                  </a:lnTo>
                  <a:lnTo>
                    <a:pt x="28" y="18"/>
                  </a:lnTo>
                  <a:lnTo>
                    <a:pt x="28" y="24"/>
                  </a:lnTo>
                  <a:lnTo>
                    <a:pt x="22" y="30"/>
                  </a:lnTo>
                  <a:lnTo>
                    <a:pt x="22" y="34"/>
                  </a:lnTo>
                  <a:lnTo>
                    <a:pt x="24" y="40"/>
                  </a:lnTo>
                  <a:lnTo>
                    <a:pt x="24" y="46"/>
                  </a:lnTo>
                  <a:lnTo>
                    <a:pt x="24" y="52"/>
                  </a:lnTo>
                  <a:lnTo>
                    <a:pt x="26" y="56"/>
                  </a:lnTo>
                  <a:lnTo>
                    <a:pt x="26" y="62"/>
                  </a:lnTo>
                  <a:lnTo>
                    <a:pt x="20" y="66"/>
                  </a:lnTo>
                  <a:lnTo>
                    <a:pt x="18" y="68"/>
                  </a:lnTo>
                  <a:lnTo>
                    <a:pt x="16" y="70"/>
                  </a:lnTo>
                  <a:lnTo>
                    <a:pt x="8" y="68"/>
                  </a:lnTo>
                  <a:lnTo>
                    <a:pt x="2" y="70"/>
                  </a:lnTo>
                  <a:lnTo>
                    <a:pt x="0" y="76"/>
                  </a:lnTo>
                  <a:lnTo>
                    <a:pt x="0" y="82"/>
                  </a:lnTo>
                  <a:lnTo>
                    <a:pt x="2" y="88"/>
                  </a:lnTo>
                  <a:lnTo>
                    <a:pt x="4" y="94"/>
                  </a:lnTo>
                  <a:lnTo>
                    <a:pt x="10" y="100"/>
                  </a:lnTo>
                  <a:lnTo>
                    <a:pt x="14" y="10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1" name="Freeform 148"/>
            <p:cNvSpPr>
              <a:spLocks/>
            </p:cNvSpPr>
            <p:nvPr/>
          </p:nvSpPr>
          <p:spPr bwMode="auto">
            <a:xfrm>
              <a:off x="7299325" y="3956050"/>
              <a:ext cx="20638" cy="17463"/>
            </a:xfrm>
            <a:custGeom>
              <a:avLst/>
              <a:gdLst>
                <a:gd name="T0" fmla="*/ 2147483647 w 50"/>
                <a:gd name="T1" fmla="*/ 2147483647 h 40"/>
                <a:gd name="T2" fmla="*/ 2147483647 w 50"/>
                <a:gd name="T3" fmla="*/ 2147483647 h 40"/>
                <a:gd name="T4" fmla="*/ 2147483647 w 50"/>
                <a:gd name="T5" fmla="*/ 2147483647 h 40"/>
                <a:gd name="T6" fmla="*/ 2147483647 w 50"/>
                <a:gd name="T7" fmla="*/ 2147483647 h 40"/>
                <a:gd name="T8" fmla="*/ 2147483647 w 50"/>
                <a:gd name="T9" fmla="*/ 2147483647 h 40"/>
                <a:gd name="T10" fmla="*/ 2147483647 w 50"/>
                <a:gd name="T11" fmla="*/ 2147483647 h 40"/>
                <a:gd name="T12" fmla="*/ 2147483647 w 50"/>
                <a:gd name="T13" fmla="*/ 2147483647 h 40"/>
                <a:gd name="T14" fmla="*/ 2147483647 w 50"/>
                <a:gd name="T15" fmla="*/ 2147483647 h 40"/>
                <a:gd name="T16" fmla="*/ 2147483647 w 50"/>
                <a:gd name="T17" fmla="*/ 2147483647 h 40"/>
                <a:gd name="T18" fmla="*/ 2147483647 w 50"/>
                <a:gd name="T19" fmla="*/ 2147483647 h 40"/>
                <a:gd name="T20" fmla="*/ 2147483647 w 50"/>
                <a:gd name="T21" fmla="*/ 2147483647 h 40"/>
                <a:gd name="T22" fmla="*/ 2147483647 w 50"/>
                <a:gd name="T23" fmla="*/ 2147483647 h 40"/>
                <a:gd name="T24" fmla="*/ 2147483647 w 50"/>
                <a:gd name="T25" fmla="*/ 2147483647 h 40"/>
                <a:gd name="T26" fmla="*/ 2147483647 w 50"/>
                <a:gd name="T27" fmla="*/ 2147483647 h 40"/>
                <a:gd name="T28" fmla="*/ 2147483647 w 50"/>
                <a:gd name="T29" fmla="*/ 2147483647 h 40"/>
                <a:gd name="T30" fmla="*/ 2147483647 w 50"/>
                <a:gd name="T31" fmla="*/ 2147483647 h 40"/>
                <a:gd name="T32" fmla="*/ 2147483647 w 50"/>
                <a:gd name="T33" fmla="*/ 0 h 40"/>
                <a:gd name="T34" fmla="*/ 2147483647 w 50"/>
                <a:gd name="T35" fmla="*/ 2147483647 h 40"/>
                <a:gd name="T36" fmla="*/ 2147483647 w 50"/>
                <a:gd name="T37" fmla="*/ 2147483647 h 40"/>
                <a:gd name="T38" fmla="*/ 2147483647 w 50"/>
                <a:gd name="T39" fmla="*/ 2147483647 h 40"/>
                <a:gd name="T40" fmla="*/ 2147483647 w 50"/>
                <a:gd name="T41" fmla="*/ 2147483647 h 40"/>
                <a:gd name="T42" fmla="*/ 2147483647 w 50"/>
                <a:gd name="T43" fmla="*/ 2147483647 h 40"/>
                <a:gd name="T44" fmla="*/ 2147483647 w 50"/>
                <a:gd name="T45" fmla="*/ 2147483647 h 40"/>
                <a:gd name="T46" fmla="*/ 0 w 50"/>
                <a:gd name="T47" fmla="*/ 2147483647 h 40"/>
                <a:gd name="T48" fmla="*/ 2147483647 w 50"/>
                <a:gd name="T49" fmla="*/ 2147483647 h 4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0"/>
                <a:gd name="T76" fmla="*/ 0 h 40"/>
                <a:gd name="T77" fmla="*/ 50 w 50"/>
                <a:gd name="T78" fmla="*/ 40 h 4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0" h="40">
                  <a:moveTo>
                    <a:pt x="6" y="32"/>
                  </a:moveTo>
                  <a:lnTo>
                    <a:pt x="6" y="38"/>
                  </a:lnTo>
                  <a:lnTo>
                    <a:pt x="12" y="40"/>
                  </a:lnTo>
                  <a:lnTo>
                    <a:pt x="16" y="40"/>
                  </a:lnTo>
                  <a:lnTo>
                    <a:pt x="22" y="40"/>
                  </a:lnTo>
                  <a:lnTo>
                    <a:pt x="28" y="40"/>
                  </a:lnTo>
                  <a:lnTo>
                    <a:pt x="34" y="38"/>
                  </a:lnTo>
                  <a:lnTo>
                    <a:pt x="40" y="36"/>
                  </a:lnTo>
                  <a:lnTo>
                    <a:pt x="44" y="30"/>
                  </a:lnTo>
                  <a:lnTo>
                    <a:pt x="50" y="30"/>
                  </a:lnTo>
                  <a:lnTo>
                    <a:pt x="48" y="24"/>
                  </a:lnTo>
                  <a:lnTo>
                    <a:pt x="48" y="18"/>
                  </a:lnTo>
                  <a:lnTo>
                    <a:pt x="48" y="12"/>
                  </a:lnTo>
                  <a:lnTo>
                    <a:pt x="42" y="8"/>
                  </a:lnTo>
                  <a:lnTo>
                    <a:pt x="36" y="2"/>
                  </a:lnTo>
                  <a:lnTo>
                    <a:pt x="30" y="0"/>
                  </a:lnTo>
                  <a:lnTo>
                    <a:pt x="24" y="2"/>
                  </a:lnTo>
                  <a:lnTo>
                    <a:pt x="18" y="8"/>
                  </a:lnTo>
                  <a:lnTo>
                    <a:pt x="16" y="8"/>
                  </a:lnTo>
                  <a:lnTo>
                    <a:pt x="16" y="12"/>
                  </a:lnTo>
                  <a:lnTo>
                    <a:pt x="10" y="16"/>
                  </a:lnTo>
                  <a:lnTo>
                    <a:pt x="4" y="20"/>
                  </a:lnTo>
                  <a:lnTo>
                    <a:pt x="0" y="26"/>
                  </a:lnTo>
                  <a:lnTo>
                    <a:pt x="6" y="3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2" name="Freeform 149"/>
            <p:cNvSpPr>
              <a:spLocks/>
            </p:cNvSpPr>
            <p:nvPr/>
          </p:nvSpPr>
          <p:spPr bwMode="auto">
            <a:xfrm>
              <a:off x="7304088" y="3887788"/>
              <a:ext cx="41275" cy="71437"/>
            </a:xfrm>
            <a:custGeom>
              <a:avLst/>
              <a:gdLst>
                <a:gd name="T0" fmla="*/ 2147483647 w 102"/>
                <a:gd name="T1" fmla="*/ 2147483647 h 174"/>
                <a:gd name="T2" fmla="*/ 2147483647 w 102"/>
                <a:gd name="T3" fmla="*/ 2147483647 h 174"/>
                <a:gd name="T4" fmla="*/ 2147483647 w 102"/>
                <a:gd name="T5" fmla="*/ 2147483647 h 174"/>
                <a:gd name="T6" fmla="*/ 2147483647 w 102"/>
                <a:gd name="T7" fmla="*/ 2147483647 h 174"/>
                <a:gd name="T8" fmla="*/ 2147483647 w 102"/>
                <a:gd name="T9" fmla="*/ 2147483647 h 174"/>
                <a:gd name="T10" fmla="*/ 2147483647 w 102"/>
                <a:gd name="T11" fmla="*/ 2147483647 h 174"/>
                <a:gd name="T12" fmla="*/ 2147483647 w 102"/>
                <a:gd name="T13" fmla="*/ 2147483647 h 174"/>
                <a:gd name="T14" fmla="*/ 2147483647 w 102"/>
                <a:gd name="T15" fmla="*/ 2147483647 h 174"/>
                <a:gd name="T16" fmla="*/ 2147483647 w 102"/>
                <a:gd name="T17" fmla="*/ 2147483647 h 174"/>
                <a:gd name="T18" fmla="*/ 2147483647 w 102"/>
                <a:gd name="T19" fmla="*/ 2147483647 h 174"/>
                <a:gd name="T20" fmla="*/ 2147483647 w 102"/>
                <a:gd name="T21" fmla="*/ 2147483647 h 174"/>
                <a:gd name="T22" fmla="*/ 2147483647 w 102"/>
                <a:gd name="T23" fmla="*/ 2147483647 h 174"/>
                <a:gd name="T24" fmla="*/ 2147483647 w 102"/>
                <a:gd name="T25" fmla="*/ 2147483647 h 174"/>
                <a:gd name="T26" fmla="*/ 2147483647 w 102"/>
                <a:gd name="T27" fmla="*/ 2147483647 h 174"/>
                <a:gd name="T28" fmla="*/ 2147483647 w 102"/>
                <a:gd name="T29" fmla="*/ 2147483647 h 174"/>
                <a:gd name="T30" fmla="*/ 2147483647 w 102"/>
                <a:gd name="T31" fmla="*/ 2147483647 h 174"/>
                <a:gd name="T32" fmla="*/ 2147483647 w 102"/>
                <a:gd name="T33" fmla="*/ 2147483647 h 174"/>
                <a:gd name="T34" fmla="*/ 2147483647 w 102"/>
                <a:gd name="T35" fmla="*/ 2147483647 h 174"/>
                <a:gd name="T36" fmla="*/ 2147483647 w 102"/>
                <a:gd name="T37" fmla="*/ 2147483647 h 174"/>
                <a:gd name="T38" fmla="*/ 2147483647 w 102"/>
                <a:gd name="T39" fmla="*/ 2147483647 h 174"/>
                <a:gd name="T40" fmla="*/ 2147483647 w 102"/>
                <a:gd name="T41" fmla="*/ 2147483647 h 174"/>
                <a:gd name="T42" fmla="*/ 2147483647 w 102"/>
                <a:gd name="T43" fmla="*/ 2147483647 h 174"/>
                <a:gd name="T44" fmla="*/ 2147483647 w 102"/>
                <a:gd name="T45" fmla="*/ 2147483647 h 174"/>
                <a:gd name="T46" fmla="*/ 2147483647 w 102"/>
                <a:gd name="T47" fmla="*/ 2147483647 h 174"/>
                <a:gd name="T48" fmla="*/ 2147483647 w 102"/>
                <a:gd name="T49" fmla="*/ 2147483647 h 174"/>
                <a:gd name="T50" fmla="*/ 2147483647 w 102"/>
                <a:gd name="T51" fmla="*/ 2147483647 h 174"/>
                <a:gd name="T52" fmla="*/ 2147483647 w 102"/>
                <a:gd name="T53" fmla="*/ 2147483647 h 174"/>
                <a:gd name="T54" fmla="*/ 2147483647 w 102"/>
                <a:gd name="T55" fmla="*/ 2147483647 h 174"/>
                <a:gd name="T56" fmla="*/ 2147483647 w 102"/>
                <a:gd name="T57" fmla="*/ 2147483647 h 174"/>
                <a:gd name="T58" fmla="*/ 2147483647 w 102"/>
                <a:gd name="T59" fmla="*/ 2147483647 h 174"/>
                <a:gd name="T60" fmla="*/ 2147483647 w 102"/>
                <a:gd name="T61" fmla="*/ 2147483647 h 174"/>
                <a:gd name="T62" fmla="*/ 2147483647 w 102"/>
                <a:gd name="T63" fmla="*/ 2147483647 h 174"/>
                <a:gd name="T64" fmla="*/ 2147483647 w 102"/>
                <a:gd name="T65" fmla="*/ 2147483647 h 174"/>
                <a:gd name="T66" fmla="*/ 2147483647 w 102"/>
                <a:gd name="T67" fmla="*/ 2147483647 h 174"/>
                <a:gd name="T68" fmla="*/ 2147483647 w 102"/>
                <a:gd name="T69" fmla="*/ 2147483647 h 174"/>
                <a:gd name="T70" fmla="*/ 2147483647 w 102"/>
                <a:gd name="T71" fmla="*/ 2147483647 h 174"/>
                <a:gd name="T72" fmla="*/ 2147483647 w 102"/>
                <a:gd name="T73" fmla="*/ 2147483647 h 174"/>
                <a:gd name="T74" fmla="*/ 2147483647 w 102"/>
                <a:gd name="T75" fmla="*/ 2147483647 h 174"/>
                <a:gd name="T76" fmla="*/ 2147483647 w 102"/>
                <a:gd name="T77" fmla="*/ 2147483647 h 174"/>
                <a:gd name="T78" fmla="*/ 2147483647 w 102"/>
                <a:gd name="T79" fmla="*/ 2147483647 h 174"/>
                <a:gd name="T80" fmla="*/ 2147483647 w 102"/>
                <a:gd name="T81" fmla="*/ 2147483647 h 174"/>
                <a:gd name="T82" fmla="*/ 2147483647 w 102"/>
                <a:gd name="T83" fmla="*/ 2147483647 h 174"/>
                <a:gd name="T84" fmla="*/ 2147483647 w 102"/>
                <a:gd name="T85" fmla="*/ 2147483647 h 174"/>
                <a:gd name="T86" fmla="*/ 2147483647 w 102"/>
                <a:gd name="T87" fmla="*/ 2147483647 h 174"/>
                <a:gd name="T88" fmla="*/ 2147483647 w 102"/>
                <a:gd name="T89" fmla="*/ 2147483647 h 174"/>
                <a:gd name="T90" fmla="*/ 2147483647 w 102"/>
                <a:gd name="T91" fmla="*/ 2147483647 h 174"/>
                <a:gd name="T92" fmla="*/ 2147483647 w 102"/>
                <a:gd name="T93" fmla="*/ 2147483647 h 174"/>
                <a:gd name="T94" fmla="*/ 2147483647 w 102"/>
                <a:gd name="T95" fmla="*/ 2147483647 h 174"/>
                <a:gd name="T96" fmla="*/ 2147483647 w 102"/>
                <a:gd name="T97" fmla="*/ 2147483647 h 174"/>
                <a:gd name="T98" fmla="*/ 2147483647 w 102"/>
                <a:gd name="T99" fmla="*/ 2147483647 h 174"/>
                <a:gd name="T100" fmla="*/ 2147483647 w 102"/>
                <a:gd name="T101" fmla="*/ 2147483647 h 174"/>
                <a:gd name="T102" fmla="*/ 2147483647 w 102"/>
                <a:gd name="T103" fmla="*/ 2147483647 h 174"/>
                <a:gd name="T104" fmla="*/ 2147483647 w 102"/>
                <a:gd name="T105" fmla="*/ 2147483647 h 174"/>
                <a:gd name="T106" fmla="*/ 2147483647 w 102"/>
                <a:gd name="T107" fmla="*/ 2147483647 h 174"/>
                <a:gd name="T108" fmla="*/ 2147483647 w 102"/>
                <a:gd name="T109" fmla="*/ 0 h 174"/>
                <a:gd name="T110" fmla="*/ 2147483647 w 102"/>
                <a:gd name="T111" fmla="*/ 2147483647 h 174"/>
                <a:gd name="T112" fmla="*/ 2147483647 w 102"/>
                <a:gd name="T113" fmla="*/ 0 h 174"/>
                <a:gd name="T114" fmla="*/ 2147483647 w 102"/>
                <a:gd name="T115" fmla="*/ 2147483647 h 174"/>
                <a:gd name="T116" fmla="*/ 2147483647 w 102"/>
                <a:gd name="T117" fmla="*/ 2147483647 h 174"/>
                <a:gd name="T118" fmla="*/ 2147483647 w 102"/>
                <a:gd name="T119" fmla="*/ 2147483647 h 174"/>
                <a:gd name="T120" fmla="*/ 0 w 102"/>
                <a:gd name="T121" fmla="*/ 2147483647 h 1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
                <a:gd name="T184" fmla="*/ 0 h 174"/>
                <a:gd name="T185" fmla="*/ 102 w 102"/>
                <a:gd name="T186" fmla="*/ 174 h 1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 h="174">
                  <a:moveTo>
                    <a:pt x="0" y="4"/>
                  </a:moveTo>
                  <a:lnTo>
                    <a:pt x="2" y="8"/>
                  </a:lnTo>
                  <a:lnTo>
                    <a:pt x="4" y="14"/>
                  </a:lnTo>
                  <a:lnTo>
                    <a:pt x="6" y="20"/>
                  </a:lnTo>
                  <a:lnTo>
                    <a:pt x="8" y="26"/>
                  </a:lnTo>
                  <a:lnTo>
                    <a:pt x="16" y="30"/>
                  </a:lnTo>
                  <a:lnTo>
                    <a:pt x="22" y="36"/>
                  </a:lnTo>
                  <a:lnTo>
                    <a:pt x="28" y="38"/>
                  </a:lnTo>
                  <a:lnTo>
                    <a:pt x="30" y="42"/>
                  </a:lnTo>
                  <a:lnTo>
                    <a:pt x="36" y="46"/>
                  </a:lnTo>
                  <a:lnTo>
                    <a:pt x="40" y="52"/>
                  </a:lnTo>
                  <a:lnTo>
                    <a:pt x="46" y="56"/>
                  </a:lnTo>
                  <a:lnTo>
                    <a:pt x="52" y="56"/>
                  </a:lnTo>
                  <a:lnTo>
                    <a:pt x="50" y="62"/>
                  </a:lnTo>
                  <a:lnTo>
                    <a:pt x="48" y="68"/>
                  </a:lnTo>
                  <a:lnTo>
                    <a:pt x="42" y="72"/>
                  </a:lnTo>
                  <a:lnTo>
                    <a:pt x="48" y="76"/>
                  </a:lnTo>
                  <a:lnTo>
                    <a:pt x="52" y="82"/>
                  </a:lnTo>
                  <a:lnTo>
                    <a:pt x="46" y="78"/>
                  </a:lnTo>
                  <a:lnTo>
                    <a:pt x="40" y="82"/>
                  </a:lnTo>
                  <a:lnTo>
                    <a:pt x="34" y="88"/>
                  </a:lnTo>
                  <a:lnTo>
                    <a:pt x="28" y="88"/>
                  </a:lnTo>
                  <a:lnTo>
                    <a:pt x="24" y="82"/>
                  </a:lnTo>
                  <a:lnTo>
                    <a:pt x="18" y="78"/>
                  </a:lnTo>
                  <a:lnTo>
                    <a:pt x="14" y="72"/>
                  </a:lnTo>
                  <a:lnTo>
                    <a:pt x="10" y="78"/>
                  </a:lnTo>
                  <a:lnTo>
                    <a:pt x="12" y="84"/>
                  </a:lnTo>
                  <a:lnTo>
                    <a:pt x="16" y="90"/>
                  </a:lnTo>
                  <a:lnTo>
                    <a:pt x="18" y="96"/>
                  </a:lnTo>
                  <a:lnTo>
                    <a:pt x="18" y="102"/>
                  </a:lnTo>
                  <a:lnTo>
                    <a:pt x="18" y="106"/>
                  </a:lnTo>
                  <a:lnTo>
                    <a:pt x="18" y="110"/>
                  </a:lnTo>
                  <a:lnTo>
                    <a:pt x="22" y="114"/>
                  </a:lnTo>
                  <a:lnTo>
                    <a:pt x="26" y="118"/>
                  </a:lnTo>
                  <a:lnTo>
                    <a:pt x="28" y="110"/>
                  </a:lnTo>
                  <a:lnTo>
                    <a:pt x="34" y="110"/>
                  </a:lnTo>
                  <a:lnTo>
                    <a:pt x="38" y="118"/>
                  </a:lnTo>
                  <a:lnTo>
                    <a:pt x="42" y="124"/>
                  </a:lnTo>
                  <a:lnTo>
                    <a:pt x="44" y="130"/>
                  </a:lnTo>
                  <a:lnTo>
                    <a:pt x="44" y="136"/>
                  </a:lnTo>
                  <a:lnTo>
                    <a:pt x="44" y="142"/>
                  </a:lnTo>
                  <a:lnTo>
                    <a:pt x="42" y="148"/>
                  </a:lnTo>
                  <a:lnTo>
                    <a:pt x="46" y="154"/>
                  </a:lnTo>
                  <a:lnTo>
                    <a:pt x="46" y="160"/>
                  </a:lnTo>
                  <a:lnTo>
                    <a:pt x="46" y="166"/>
                  </a:lnTo>
                  <a:lnTo>
                    <a:pt x="52" y="168"/>
                  </a:lnTo>
                  <a:lnTo>
                    <a:pt x="56" y="172"/>
                  </a:lnTo>
                  <a:lnTo>
                    <a:pt x="62" y="174"/>
                  </a:lnTo>
                  <a:lnTo>
                    <a:pt x="62" y="170"/>
                  </a:lnTo>
                  <a:lnTo>
                    <a:pt x="60" y="162"/>
                  </a:lnTo>
                  <a:lnTo>
                    <a:pt x="58" y="156"/>
                  </a:lnTo>
                  <a:lnTo>
                    <a:pt x="64" y="162"/>
                  </a:lnTo>
                  <a:lnTo>
                    <a:pt x="70" y="160"/>
                  </a:lnTo>
                  <a:lnTo>
                    <a:pt x="76" y="154"/>
                  </a:lnTo>
                  <a:lnTo>
                    <a:pt x="70" y="148"/>
                  </a:lnTo>
                  <a:lnTo>
                    <a:pt x="68" y="142"/>
                  </a:lnTo>
                  <a:lnTo>
                    <a:pt x="68" y="136"/>
                  </a:lnTo>
                  <a:lnTo>
                    <a:pt x="64" y="130"/>
                  </a:lnTo>
                  <a:lnTo>
                    <a:pt x="58" y="128"/>
                  </a:lnTo>
                  <a:lnTo>
                    <a:pt x="56" y="122"/>
                  </a:lnTo>
                  <a:lnTo>
                    <a:pt x="56" y="116"/>
                  </a:lnTo>
                  <a:lnTo>
                    <a:pt x="58" y="112"/>
                  </a:lnTo>
                  <a:lnTo>
                    <a:pt x="58" y="106"/>
                  </a:lnTo>
                  <a:lnTo>
                    <a:pt x="56" y="100"/>
                  </a:lnTo>
                  <a:lnTo>
                    <a:pt x="56" y="94"/>
                  </a:lnTo>
                  <a:lnTo>
                    <a:pt x="52" y="90"/>
                  </a:lnTo>
                  <a:lnTo>
                    <a:pt x="58" y="90"/>
                  </a:lnTo>
                  <a:lnTo>
                    <a:pt x="60" y="90"/>
                  </a:lnTo>
                  <a:lnTo>
                    <a:pt x="64" y="96"/>
                  </a:lnTo>
                  <a:lnTo>
                    <a:pt x="66" y="96"/>
                  </a:lnTo>
                  <a:lnTo>
                    <a:pt x="68" y="102"/>
                  </a:lnTo>
                  <a:lnTo>
                    <a:pt x="72" y="98"/>
                  </a:lnTo>
                  <a:lnTo>
                    <a:pt x="78" y="102"/>
                  </a:lnTo>
                  <a:lnTo>
                    <a:pt x="84" y="100"/>
                  </a:lnTo>
                  <a:lnTo>
                    <a:pt x="90" y="102"/>
                  </a:lnTo>
                  <a:lnTo>
                    <a:pt x="96" y="102"/>
                  </a:lnTo>
                  <a:lnTo>
                    <a:pt x="102" y="106"/>
                  </a:lnTo>
                  <a:lnTo>
                    <a:pt x="96" y="100"/>
                  </a:lnTo>
                  <a:lnTo>
                    <a:pt x="92" y="94"/>
                  </a:lnTo>
                  <a:lnTo>
                    <a:pt x="86" y="92"/>
                  </a:lnTo>
                  <a:lnTo>
                    <a:pt x="92" y="84"/>
                  </a:lnTo>
                  <a:lnTo>
                    <a:pt x="90" y="82"/>
                  </a:lnTo>
                  <a:lnTo>
                    <a:pt x="86" y="80"/>
                  </a:lnTo>
                  <a:lnTo>
                    <a:pt x="84" y="76"/>
                  </a:lnTo>
                  <a:lnTo>
                    <a:pt x="80" y="70"/>
                  </a:lnTo>
                  <a:lnTo>
                    <a:pt x="78" y="64"/>
                  </a:lnTo>
                  <a:lnTo>
                    <a:pt x="76" y="58"/>
                  </a:lnTo>
                  <a:lnTo>
                    <a:pt x="76" y="52"/>
                  </a:lnTo>
                  <a:lnTo>
                    <a:pt x="74" y="46"/>
                  </a:lnTo>
                  <a:lnTo>
                    <a:pt x="76" y="40"/>
                  </a:lnTo>
                  <a:lnTo>
                    <a:pt x="78" y="38"/>
                  </a:lnTo>
                  <a:lnTo>
                    <a:pt x="78" y="36"/>
                  </a:lnTo>
                  <a:lnTo>
                    <a:pt x="74" y="30"/>
                  </a:lnTo>
                  <a:lnTo>
                    <a:pt x="78" y="26"/>
                  </a:lnTo>
                  <a:lnTo>
                    <a:pt x="76" y="24"/>
                  </a:lnTo>
                  <a:lnTo>
                    <a:pt x="70" y="20"/>
                  </a:lnTo>
                  <a:lnTo>
                    <a:pt x="64" y="20"/>
                  </a:lnTo>
                  <a:lnTo>
                    <a:pt x="64" y="18"/>
                  </a:lnTo>
                  <a:lnTo>
                    <a:pt x="64" y="12"/>
                  </a:lnTo>
                  <a:lnTo>
                    <a:pt x="64" y="10"/>
                  </a:lnTo>
                  <a:lnTo>
                    <a:pt x="60" y="4"/>
                  </a:lnTo>
                  <a:lnTo>
                    <a:pt x="56" y="0"/>
                  </a:lnTo>
                  <a:lnTo>
                    <a:pt x="48" y="0"/>
                  </a:lnTo>
                  <a:lnTo>
                    <a:pt x="46" y="2"/>
                  </a:lnTo>
                  <a:lnTo>
                    <a:pt x="44" y="0"/>
                  </a:lnTo>
                  <a:lnTo>
                    <a:pt x="38" y="0"/>
                  </a:lnTo>
                  <a:lnTo>
                    <a:pt x="34" y="2"/>
                  </a:lnTo>
                  <a:lnTo>
                    <a:pt x="28" y="4"/>
                  </a:lnTo>
                  <a:lnTo>
                    <a:pt x="22" y="4"/>
                  </a:lnTo>
                  <a:lnTo>
                    <a:pt x="18" y="2"/>
                  </a:lnTo>
                  <a:lnTo>
                    <a:pt x="12" y="2"/>
                  </a:lnTo>
                  <a:lnTo>
                    <a:pt x="6" y="2"/>
                  </a:lnTo>
                  <a:lnTo>
                    <a:pt x="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3" name="Freeform 150"/>
            <p:cNvSpPr>
              <a:spLocks/>
            </p:cNvSpPr>
            <p:nvPr/>
          </p:nvSpPr>
          <p:spPr bwMode="auto">
            <a:xfrm>
              <a:off x="7278688" y="3887788"/>
              <a:ext cx="22225" cy="23812"/>
            </a:xfrm>
            <a:custGeom>
              <a:avLst/>
              <a:gdLst>
                <a:gd name="T0" fmla="*/ 2147483647 w 56"/>
                <a:gd name="T1" fmla="*/ 2147483647 h 58"/>
                <a:gd name="T2" fmla="*/ 0 w 56"/>
                <a:gd name="T3" fmla="*/ 2147483647 h 58"/>
                <a:gd name="T4" fmla="*/ 2147483647 w 56"/>
                <a:gd name="T5" fmla="*/ 2147483647 h 58"/>
                <a:gd name="T6" fmla="*/ 2147483647 w 56"/>
                <a:gd name="T7" fmla="*/ 2147483647 h 58"/>
                <a:gd name="T8" fmla="*/ 2147483647 w 56"/>
                <a:gd name="T9" fmla="*/ 2147483647 h 58"/>
                <a:gd name="T10" fmla="*/ 2147483647 w 56"/>
                <a:gd name="T11" fmla="*/ 2147483647 h 58"/>
                <a:gd name="T12" fmla="*/ 2147483647 w 56"/>
                <a:gd name="T13" fmla="*/ 2147483647 h 58"/>
                <a:gd name="T14" fmla="*/ 2147483647 w 56"/>
                <a:gd name="T15" fmla="*/ 2147483647 h 58"/>
                <a:gd name="T16" fmla="*/ 2147483647 w 56"/>
                <a:gd name="T17" fmla="*/ 2147483647 h 58"/>
                <a:gd name="T18" fmla="*/ 2147483647 w 56"/>
                <a:gd name="T19" fmla="*/ 2147483647 h 58"/>
                <a:gd name="T20" fmla="*/ 2147483647 w 56"/>
                <a:gd name="T21" fmla="*/ 2147483647 h 58"/>
                <a:gd name="T22" fmla="*/ 2147483647 w 56"/>
                <a:gd name="T23" fmla="*/ 2147483647 h 58"/>
                <a:gd name="T24" fmla="*/ 2147483647 w 56"/>
                <a:gd name="T25" fmla="*/ 2147483647 h 58"/>
                <a:gd name="T26" fmla="*/ 2147483647 w 56"/>
                <a:gd name="T27" fmla="*/ 2147483647 h 58"/>
                <a:gd name="T28" fmla="*/ 2147483647 w 56"/>
                <a:gd name="T29" fmla="*/ 2147483647 h 58"/>
                <a:gd name="T30" fmla="*/ 2147483647 w 56"/>
                <a:gd name="T31" fmla="*/ 2147483647 h 58"/>
                <a:gd name="T32" fmla="*/ 2147483647 w 56"/>
                <a:gd name="T33" fmla="*/ 2147483647 h 58"/>
                <a:gd name="T34" fmla="*/ 2147483647 w 56"/>
                <a:gd name="T35" fmla="*/ 2147483647 h 58"/>
                <a:gd name="T36" fmla="*/ 2147483647 w 56"/>
                <a:gd name="T37" fmla="*/ 2147483647 h 58"/>
                <a:gd name="T38" fmla="*/ 2147483647 w 56"/>
                <a:gd name="T39" fmla="*/ 2147483647 h 58"/>
                <a:gd name="T40" fmla="*/ 2147483647 w 56"/>
                <a:gd name="T41" fmla="*/ 2147483647 h 58"/>
                <a:gd name="T42" fmla="*/ 2147483647 w 56"/>
                <a:gd name="T43" fmla="*/ 2147483647 h 58"/>
                <a:gd name="T44" fmla="*/ 2147483647 w 56"/>
                <a:gd name="T45" fmla="*/ 2147483647 h 58"/>
                <a:gd name="T46" fmla="*/ 2147483647 w 56"/>
                <a:gd name="T47" fmla="*/ 2147483647 h 58"/>
                <a:gd name="T48" fmla="*/ 2147483647 w 56"/>
                <a:gd name="T49" fmla="*/ 2147483647 h 58"/>
                <a:gd name="T50" fmla="*/ 2147483647 w 56"/>
                <a:gd name="T51" fmla="*/ 2147483647 h 58"/>
                <a:gd name="T52" fmla="*/ 2147483647 w 56"/>
                <a:gd name="T53" fmla="*/ 2147483647 h 58"/>
                <a:gd name="T54" fmla="*/ 2147483647 w 56"/>
                <a:gd name="T55" fmla="*/ 2147483647 h 58"/>
                <a:gd name="T56" fmla="*/ 2147483647 w 56"/>
                <a:gd name="T57" fmla="*/ 2147483647 h 58"/>
                <a:gd name="T58" fmla="*/ 2147483647 w 56"/>
                <a:gd name="T59" fmla="*/ 2147483647 h 58"/>
                <a:gd name="T60" fmla="*/ 2147483647 w 56"/>
                <a:gd name="T61" fmla="*/ 2147483647 h 58"/>
                <a:gd name="T62" fmla="*/ 2147483647 w 56"/>
                <a:gd name="T63" fmla="*/ 2147483647 h 58"/>
                <a:gd name="T64" fmla="*/ 2147483647 w 56"/>
                <a:gd name="T65" fmla="*/ 2147483647 h 58"/>
                <a:gd name="T66" fmla="*/ 0 w 56"/>
                <a:gd name="T67" fmla="*/ 0 h 58"/>
                <a:gd name="T68" fmla="*/ 2147483647 w 56"/>
                <a:gd name="T69" fmla="*/ 2147483647 h 58"/>
                <a:gd name="T70" fmla="*/ 2147483647 w 56"/>
                <a:gd name="T71" fmla="*/ 2147483647 h 58"/>
                <a:gd name="T72" fmla="*/ 2147483647 w 56"/>
                <a:gd name="T73" fmla="*/ 2147483647 h 58"/>
                <a:gd name="T74" fmla="*/ 2147483647 w 56"/>
                <a:gd name="T75" fmla="*/ 2147483647 h 58"/>
                <a:gd name="T76" fmla="*/ 2147483647 w 56"/>
                <a:gd name="T77" fmla="*/ 2147483647 h 58"/>
                <a:gd name="T78" fmla="*/ 2147483647 w 56"/>
                <a:gd name="T79" fmla="*/ 2147483647 h 58"/>
                <a:gd name="T80" fmla="*/ 2147483647 w 56"/>
                <a:gd name="T81" fmla="*/ 2147483647 h 5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6"/>
                <a:gd name="T124" fmla="*/ 0 h 58"/>
                <a:gd name="T125" fmla="*/ 56 w 56"/>
                <a:gd name="T126" fmla="*/ 58 h 5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6" h="58">
                  <a:moveTo>
                    <a:pt x="2" y="40"/>
                  </a:moveTo>
                  <a:lnTo>
                    <a:pt x="0" y="48"/>
                  </a:lnTo>
                  <a:lnTo>
                    <a:pt x="6" y="42"/>
                  </a:lnTo>
                  <a:lnTo>
                    <a:pt x="8" y="40"/>
                  </a:lnTo>
                  <a:lnTo>
                    <a:pt x="10" y="36"/>
                  </a:lnTo>
                  <a:lnTo>
                    <a:pt x="14" y="30"/>
                  </a:lnTo>
                  <a:lnTo>
                    <a:pt x="22" y="28"/>
                  </a:lnTo>
                  <a:lnTo>
                    <a:pt x="22" y="26"/>
                  </a:lnTo>
                  <a:lnTo>
                    <a:pt x="26" y="32"/>
                  </a:lnTo>
                  <a:lnTo>
                    <a:pt x="30" y="36"/>
                  </a:lnTo>
                  <a:lnTo>
                    <a:pt x="34" y="40"/>
                  </a:lnTo>
                  <a:lnTo>
                    <a:pt x="38" y="46"/>
                  </a:lnTo>
                  <a:lnTo>
                    <a:pt x="44" y="48"/>
                  </a:lnTo>
                  <a:lnTo>
                    <a:pt x="50" y="52"/>
                  </a:lnTo>
                  <a:lnTo>
                    <a:pt x="56" y="58"/>
                  </a:lnTo>
                  <a:lnTo>
                    <a:pt x="56" y="52"/>
                  </a:lnTo>
                  <a:lnTo>
                    <a:pt x="54" y="44"/>
                  </a:lnTo>
                  <a:lnTo>
                    <a:pt x="52" y="40"/>
                  </a:lnTo>
                  <a:lnTo>
                    <a:pt x="54" y="40"/>
                  </a:lnTo>
                  <a:lnTo>
                    <a:pt x="52" y="38"/>
                  </a:lnTo>
                  <a:lnTo>
                    <a:pt x="48" y="32"/>
                  </a:lnTo>
                  <a:lnTo>
                    <a:pt x="44" y="26"/>
                  </a:lnTo>
                  <a:lnTo>
                    <a:pt x="38" y="28"/>
                  </a:lnTo>
                  <a:lnTo>
                    <a:pt x="34" y="24"/>
                  </a:lnTo>
                  <a:lnTo>
                    <a:pt x="30" y="18"/>
                  </a:lnTo>
                  <a:lnTo>
                    <a:pt x="24" y="16"/>
                  </a:lnTo>
                  <a:lnTo>
                    <a:pt x="22" y="10"/>
                  </a:lnTo>
                  <a:lnTo>
                    <a:pt x="16" y="6"/>
                  </a:lnTo>
                  <a:lnTo>
                    <a:pt x="10" y="6"/>
                  </a:lnTo>
                  <a:lnTo>
                    <a:pt x="6" y="2"/>
                  </a:lnTo>
                  <a:lnTo>
                    <a:pt x="0" y="0"/>
                  </a:lnTo>
                  <a:lnTo>
                    <a:pt x="2" y="6"/>
                  </a:lnTo>
                  <a:lnTo>
                    <a:pt x="4" y="10"/>
                  </a:lnTo>
                  <a:lnTo>
                    <a:pt x="4" y="16"/>
                  </a:lnTo>
                  <a:lnTo>
                    <a:pt x="2" y="22"/>
                  </a:lnTo>
                  <a:lnTo>
                    <a:pt x="6" y="28"/>
                  </a:lnTo>
                  <a:lnTo>
                    <a:pt x="2" y="36"/>
                  </a:lnTo>
                  <a:lnTo>
                    <a:pt x="2" y="4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4" name="Freeform 151"/>
            <p:cNvSpPr>
              <a:spLocks/>
            </p:cNvSpPr>
            <p:nvPr/>
          </p:nvSpPr>
          <p:spPr bwMode="auto">
            <a:xfrm>
              <a:off x="7296150" y="3846513"/>
              <a:ext cx="7938" cy="14287"/>
            </a:xfrm>
            <a:custGeom>
              <a:avLst/>
              <a:gdLst>
                <a:gd name="T0" fmla="*/ 2147483647 w 22"/>
                <a:gd name="T1" fmla="*/ 2147483647 h 36"/>
                <a:gd name="T2" fmla="*/ 2147483647 w 22"/>
                <a:gd name="T3" fmla="*/ 2147483647 h 36"/>
                <a:gd name="T4" fmla="*/ 2147483647 w 22"/>
                <a:gd name="T5" fmla="*/ 2147483647 h 36"/>
                <a:gd name="T6" fmla="*/ 2147483647 w 22"/>
                <a:gd name="T7" fmla="*/ 2147483647 h 36"/>
                <a:gd name="T8" fmla="*/ 2147483647 w 22"/>
                <a:gd name="T9" fmla="*/ 2147483647 h 36"/>
                <a:gd name="T10" fmla="*/ 2147483647 w 22"/>
                <a:gd name="T11" fmla="*/ 2147483647 h 36"/>
                <a:gd name="T12" fmla="*/ 2147483647 w 22"/>
                <a:gd name="T13" fmla="*/ 2147483647 h 36"/>
                <a:gd name="T14" fmla="*/ 2147483647 w 22"/>
                <a:gd name="T15" fmla="*/ 0 h 36"/>
                <a:gd name="T16" fmla="*/ 2147483647 w 22"/>
                <a:gd name="T17" fmla="*/ 2147483647 h 36"/>
                <a:gd name="T18" fmla="*/ 2147483647 w 22"/>
                <a:gd name="T19" fmla="*/ 2147483647 h 36"/>
                <a:gd name="T20" fmla="*/ 2147483647 w 22"/>
                <a:gd name="T21" fmla="*/ 2147483647 h 36"/>
                <a:gd name="T22" fmla="*/ 2147483647 w 22"/>
                <a:gd name="T23" fmla="*/ 2147483647 h 36"/>
                <a:gd name="T24" fmla="*/ 0 w 22"/>
                <a:gd name="T25" fmla="*/ 2147483647 h 36"/>
                <a:gd name="T26" fmla="*/ 2147483647 w 22"/>
                <a:gd name="T27" fmla="*/ 2147483647 h 36"/>
                <a:gd name="T28" fmla="*/ 2147483647 w 22"/>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
                <a:gd name="T46" fmla="*/ 0 h 36"/>
                <a:gd name="T47" fmla="*/ 22 w 22"/>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 h="36">
                  <a:moveTo>
                    <a:pt x="10" y="36"/>
                  </a:moveTo>
                  <a:lnTo>
                    <a:pt x="16" y="32"/>
                  </a:lnTo>
                  <a:lnTo>
                    <a:pt x="22" y="26"/>
                  </a:lnTo>
                  <a:lnTo>
                    <a:pt x="20" y="20"/>
                  </a:lnTo>
                  <a:lnTo>
                    <a:pt x="20" y="14"/>
                  </a:lnTo>
                  <a:lnTo>
                    <a:pt x="16" y="8"/>
                  </a:lnTo>
                  <a:lnTo>
                    <a:pt x="10" y="2"/>
                  </a:lnTo>
                  <a:lnTo>
                    <a:pt x="4" y="0"/>
                  </a:lnTo>
                  <a:lnTo>
                    <a:pt x="2" y="4"/>
                  </a:lnTo>
                  <a:lnTo>
                    <a:pt x="2" y="12"/>
                  </a:lnTo>
                  <a:lnTo>
                    <a:pt x="4" y="18"/>
                  </a:lnTo>
                  <a:lnTo>
                    <a:pt x="2" y="24"/>
                  </a:lnTo>
                  <a:lnTo>
                    <a:pt x="0" y="30"/>
                  </a:lnTo>
                  <a:lnTo>
                    <a:pt x="6" y="32"/>
                  </a:lnTo>
                  <a:lnTo>
                    <a:pt x="10" y="3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5" name="Freeform 152"/>
            <p:cNvSpPr>
              <a:spLocks/>
            </p:cNvSpPr>
            <p:nvPr/>
          </p:nvSpPr>
          <p:spPr bwMode="auto">
            <a:xfrm>
              <a:off x="6613525" y="4162425"/>
              <a:ext cx="19050" cy="17463"/>
            </a:xfrm>
            <a:custGeom>
              <a:avLst/>
              <a:gdLst>
                <a:gd name="T0" fmla="*/ 2147483647 w 46"/>
                <a:gd name="T1" fmla="*/ 2147483647 h 40"/>
                <a:gd name="T2" fmla="*/ 2147483647 w 46"/>
                <a:gd name="T3" fmla="*/ 2147483647 h 40"/>
                <a:gd name="T4" fmla="*/ 2147483647 w 46"/>
                <a:gd name="T5" fmla="*/ 2147483647 h 40"/>
                <a:gd name="T6" fmla="*/ 2147483647 w 46"/>
                <a:gd name="T7" fmla="*/ 2147483647 h 40"/>
                <a:gd name="T8" fmla="*/ 2147483647 w 46"/>
                <a:gd name="T9" fmla="*/ 2147483647 h 40"/>
                <a:gd name="T10" fmla="*/ 2147483647 w 46"/>
                <a:gd name="T11" fmla="*/ 2147483647 h 40"/>
                <a:gd name="T12" fmla="*/ 2147483647 w 46"/>
                <a:gd name="T13" fmla="*/ 2147483647 h 40"/>
                <a:gd name="T14" fmla="*/ 2147483647 w 46"/>
                <a:gd name="T15" fmla="*/ 2147483647 h 40"/>
                <a:gd name="T16" fmla="*/ 2147483647 w 46"/>
                <a:gd name="T17" fmla="*/ 2147483647 h 40"/>
                <a:gd name="T18" fmla="*/ 2147483647 w 46"/>
                <a:gd name="T19" fmla="*/ 2147483647 h 40"/>
                <a:gd name="T20" fmla="*/ 2147483647 w 46"/>
                <a:gd name="T21" fmla="*/ 2147483647 h 40"/>
                <a:gd name="T22" fmla="*/ 2147483647 w 46"/>
                <a:gd name="T23" fmla="*/ 0 h 40"/>
                <a:gd name="T24" fmla="*/ 0 w 46"/>
                <a:gd name="T25" fmla="*/ 2147483647 h 40"/>
                <a:gd name="T26" fmla="*/ 0 w 46"/>
                <a:gd name="T27" fmla="*/ 2147483647 h 40"/>
                <a:gd name="T28" fmla="*/ 2147483647 w 46"/>
                <a:gd name="T29" fmla="*/ 2147483647 h 40"/>
                <a:gd name="T30" fmla="*/ 2147483647 w 46"/>
                <a:gd name="T31" fmla="*/ 2147483647 h 40"/>
                <a:gd name="T32" fmla="*/ 2147483647 w 46"/>
                <a:gd name="T33" fmla="*/ 2147483647 h 40"/>
                <a:gd name="T34" fmla="*/ 2147483647 w 46"/>
                <a:gd name="T35" fmla="*/ 2147483647 h 40"/>
                <a:gd name="T36" fmla="*/ 2147483647 w 46"/>
                <a:gd name="T37" fmla="*/ 2147483647 h 40"/>
                <a:gd name="T38" fmla="*/ 2147483647 w 46"/>
                <a:gd name="T39" fmla="*/ 2147483647 h 40"/>
                <a:gd name="T40" fmla="*/ 2147483647 w 46"/>
                <a:gd name="T41" fmla="*/ 2147483647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40"/>
                <a:gd name="T65" fmla="*/ 46 w 46"/>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40">
                  <a:moveTo>
                    <a:pt x="36" y="38"/>
                  </a:moveTo>
                  <a:lnTo>
                    <a:pt x="42" y="40"/>
                  </a:lnTo>
                  <a:lnTo>
                    <a:pt x="46" y="38"/>
                  </a:lnTo>
                  <a:lnTo>
                    <a:pt x="44" y="32"/>
                  </a:lnTo>
                  <a:lnTo>
                    <a:pt x="38" y="30"/>
                  </a:lnTo>
                  <a:lnTo>
                    <a:pt x="34" y="24"/>
                  </a:lnTo>
                  <a:lnTo>
                    <a:pt x="28" y="18"/>
                  </a:lnTo>
                  <a:lnTo>
                    <a:pt x="22" y="18"/>
                  </a:lnTo>
                  <a:lnTo>
                    <a:pt x="22" y="12"/>
                  </a:lnTo>
                  <a:lnTo>
                    <a:pt x="16" y="10"/>
                  </a:lnTo>
                  <a:lnTo>
                    <a:pt x="12" y="4"/>
                  </a:lnTo>
                  <a:lnTo>
                    <a:pt x="6" y="0"/>
                  </a:lnTo>
                  <a:lnTo>
                    <a:pt x="0" y="6"/>
                  </a:lnTo>
                  <a:lnTo>
                    <a:pt x="0" y="10"/>
                  </a:lnTo>
                  <a:lnTo>
                    <a:pt x="4" y="16"/>
                  </a:lnTo>
                  <a:lnTo>
                    <a:pt x="10" y="20"/>
                  </a:lnTo>
                  <a:lnTo>
                    <a:pt x="16" y="22"/>
                  </a:lnTo>
                  <a:lnTo>
                    <a:pt x="22" y="24"/>
                  </a:lnTo>
                  <a:lnTo>
                    <a:pt x="26" y="30"/>
                  </a:lnTo>
                  <a:lnTo>
                    <a:pt x="34" y="32"/>
                  </a:lnTo>
                  <a:lnTo>
                    <a:pt x="36" y="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6" name="Freeform 153"/>
            <p:cNvSpPr>
              <a:spLocks/>
            </p:cNvSpPr>
            <p:nvPr/>
          </p:nvSpPr>
          <p:spPr bwMode="auto">
            <a:xfrm>
              <a:off x="6648450" y="4203700"/>
              <a:ext cx="20638" cy="25400"/>
            </a:xfrm>
            <a:custGeom>
              <a:avLst/>
              <a:gdLst>
                <a:gd name="T0" fmla="*/ 2147483647 w 48"/>
                <a:gd name="T1" fmla="*/ 2147483647 h 64"/>
                <a:gd name="T2" fmla="*/ 2147483647 w 48"/>
                <a:gd name="T3" fmla="*/ 2147483647 h 64"/>
                <a:gd name="T4" fmla="*/ 2147483647 w 48"/>
                <a:gd name="T5" fmla="*/ 2147483647 h 64"/>
                <a:gd name="T6" fmla="*/ 2147483647 w 48"/>
                <a:gd name="T7" fmla="*/ 2147483647 h 64"/>
                <a:gd name="T8" fmla="*/ 2147483647 w 48"/>
                <a:gd name="T9" fmla="*/ 2147483647 h 64"/>
                <a:gd name="T10" fmla="*/ 2147483647 w 48"/>
                <a:gd name="T11" fmla="*/ 2147483647 h 64"/>
                <a:gd name="T12" fmla="*/ 2147483647 w 48"/>
                <a:gd name="T13" fmla="*/ 2147483647 h 64"/>
                <a:gd name="T14" fmla="*/ 2147483647 w 48"/>
                <a:gd name="T15" fmla="*/ 2147483647 h 64"/>
                <a:gd name="T16" fmla="*/ 2147483647 w 48"/>
                <a:gd name="T17" fmla="*/ 2147483647 h 64"/>
                <a:gd name="T18" fmla="*/ 2147483647 w 48"/>
                <a:gd name="T19" fmla="*/ 2147483647 h 64"/>
                <a:gd name="T20" fmla="*/ 2147483647 w 48"/>
                <a:gd name="T21" fmla="*/ 2147483647 h 64"/>
                <a:gd name="T22" fmla="*/ 2147483647 w 48"/>
                <a:gd name="T23" fmla="*/ 2147483647 h 64"/>
                <a:gd name="T24" fmla="*/ 2147483647 w 48"/>
                <a:gd name="T25" fmla="*/ 2147483647 h 64"/>
                <a:gd name="T26" fmla="*/ 2147483647 w 48"/>
                <a:gd name="T27" fmla="*/ 0 h 64"/>
                <a:gd name="T28" fmla="*/ 2147483647 w 48"/>
                <a:gd name="T29" fmla="*/ 2147483647 h 64"/>
                <a:gd name="T30" fmla="*/ 2147483647 w 48"/>
                <a:gd name="T31" fmla="*/ 2147483647 h 64"/>
                <a:gd name="T32" fmla="*/ 0 w 48"/>
                <a:gd name="T33" fmla="*/ 2147483647 h 64"/>
                <a:gd name="T34" fmla="*/ 0 w 48"/>
                <a:gd name="T35" fmla="*/ 2147483647 h 64"/>
                <a:gd name="T36" fmla="*/ 2147483647 w 48"/>
                <a:gd name="T37" fmla="*/ 2147483647 h 64"/>
                <a:gd name="T38" fmla="*/ 2147483647 w 48"/>
                <a:gd name="T39" fmla="*/ 2147483647 h 64"/>
                <a:gd name="T40" fmla="*/ 2147483647 w 48"/>
                <a:gd name="T41" fmla="*/ 2147483647 h 64"/>
                <a:gd name="T42" fmla="*/ 2147483647 w 48"/>
                <a:gd name="T43" fmla="*/ 2147483647 h 64"/>
                <a:gd name="T44" fmla="*/ 2147483647 w 48"/>
                <a:gd name="T45" fmla="*/ 2147483647 h 64"/>
                <a:gd name="T46" fmla="*/ 2147483647 w 48"/>
                <a:gd name="T47" fmla="*/ 2147483647 h 64"/>
                <a:gd name="T48" fmla="*/ 2147483647 w 48"/>
                <a:gd name="T49" fmla="*/ 2147483647 h 64"/>
                <a:gd name="T50" fmla="*/ 2147483647 w 48"/>
                <a:gd name="T51" fmla="*/ 2147483647 h 64"/>
                <a:gd name="T52" fmla="*/ 2147483647 w 48"/>
                <a:gd name="T53" fmla="*/ 2147483647 h 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
                <a:gd name="T82" fmla="*/ 0 h 64"/>
                <a:gd name="T83" fmla="*/ 48 w 48"/>
                <a:gd name="T84" fmla="*/ 64 h 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 h="64">
                  <a:moveTo>
                    <a:pt x="34" y="60"/>
                  </a:moveTo>
                  <a:lnTo>
                    <a:pt x="40" y="64"/>
                  </a:lnTo>
                  <a:lnTo>
                    <a:pt x="46" y="60"/>
                  </a:lnTo>
                  <a:lnTo>
                    <a:pt x="46" y="54"/>
                  </a:lnTo>
                  <a:lnTo>
                    <a:pt x="46" y="48"/>
                  </a:lnTo>
                  <a:lnTo>
                    <a:pt x="46" y="44"/>
                  </a:lnTo>
                  <a:lnTo>
                    <a:pt x="48" y="38"/>
                  </a:lnTo>
                  <a:lnTo>
                    <a:pt x="46" y="30"/>
                  </a:lnTo>
                  <a:lnTo>
                    <a:pt x="40" y="26"/>
                  </a:lnTo>
                  <a:lnTo>
                    <a:pt x="34" y="22"/>
                  </a:lnTo>
                  <a:lnTo>
                    <a:pt x="30" y="16"/>
                  </a:lnTo>
                  <a:lnTo>
                    <a:pt x="26" y="10"/>
                  </a:lnTo>
                  <a:lnTo>
                    <a:pt x="22" y="6"/>
                  </a:lnTo>
                  <a:lnTo>
                    <a:pt x="18" y="0"/>
                  </a:lnTo>
                  <a:lnTo>
                    <a:pt x="10" y="2"/>
                  </a:lnTo>
                  <a:lnTo>
                    <a:pt x="6" y="6"/>
                  </a:lnTo>
                  <a:lnTo>
                    <a:pt x="0" y="4"/>
                  </a:lnTo>
                  <a:lnTo>
                    <a:pt x="0" y="10"/>
                  </a:lnTo>
                  <a:lnTo>
                    <a:pt x="6" y="16"/>
                  </a:lnTo>
                  <a:lnTo>
                    <a:pt x="10" y="22"/>
                  </a:lnTo>
                  <a:lnTo>
                    <a:pt x="12" y="28"/>
                  </a:lnTo>
                  <a:lnTo>
                    <a:pt x="16" y="34"/>
                  </a:lnTo>
                  <a:lnTo>
                    <a:pt x="22" y="40"/>
                  </a:lnTo>
                  <a:lnTo>
                    <a:pt x="28" y="46"/>
                  </a:lnTo>
                  <a:lnTo>
                    <a:pt x="30" y="52"/>
                  </a:lnTo>
                  <a:lnTo>
                    <a:pt x="32" y="56"/>
                  </a:lnTo>
                  <a:lnTo>
                    <a:pt x="34" y="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7" name="Freeform 154"/>
            <p:cNvSpPr>
              <a:spLocks/>
            </p:cNvSpPr>
            <p:nvPr/>
          </p:nvSpPr>
          <p:spPr bwMode="auto">
            <a:xfrm>
              <a:off x="6684963" y="4271963"/>
              <a:ext cx="17462" cy="25400"/>
            </a:xfrm>
            <a:custGeom>
              <a:avLst/>
              <a:gdLst>
                <a:gd name="T0" fmla="*/ 2147483647 w 40"/>
                <a:gd name="T1" fmla="*/ 2147483647 h 60"/>
                <a:gd name="T2" fmla="*/ 2147483647 w 40"/>
                <a:gd name="T3" fmla="*/ 2147483647 h 60"/>
                <a:gd name="T4" fmla="*/ 2147483647 w 40"/>
                <a:gd name="T5" fmla="*/ 2147483647 h 60"/>
                <a:gd name="T6" fmla="*/ 2147483647 w 40"/>
                <a:gd name="T7" fmla="*/ 2147483647 h 60"/>
                <a:gd name="T8" fmla="*/ 2147483647 w 40"/>
                <a:gd name="T9" fmla="*/ 2147483647 h 60"/>
                <a:gd name="T10" fmla="*/ 2147483647 w 40"/>
                <a:gd name="T11" fmla="*/ 2147483647 h 60"/>
                <a:gd name="T12" fmla="*/ 2147483647 w 40"/>
                <a:gd name="T13" fmla="*/ 2147483647 h 60"/>
                <a:gd name="T14" fmla="*/ 2147483647 w 40"/>
                <a:gd name="T15" fmla="*/ 2147483647 h 60"/>
                <a:gd name="T16" fmla="*/ 2147483647 w 40"/>
                <a:gd name="T17" fmla="*/ 2147483647 h 60"/>
                <a:gd name="T18" fmla="*/ 2147483647 w 40"/>
                <a:gd name="T19" fmla="*/ 2147483647 h 60"/>
                <a:gd name="T20" fmla="*/ 2147483647 w 40"/>
                <a:gd name="T21" fmla="*/ 2147483647 h 60"/>
                <a:gd name="T22" fmla="*/ 2147483647 w 40"/>
                <a:gd name="T23" fmla="*/ 0 h 60"/>
                <a:gd name="T24" fmla="*/ 2147483647 w 40"/>
                <a:gd name="T25" fmla="*/ 2147483647 h 60"/>
                <a:gd name="T26" fmla="*/ 2147483647 w 40"/>
                <a:gd name="T27" fmla="*/ 2147483647 h 60"/>
                <a:gd name="T28" fmla="*/ 2147483647 w 40"/>
                <a:gd name="T29" fmla="*/ 2147483647 h 60"/>
                <a:gd name="T30" fmla="*/ 0 w 40"/>
                <a:gd name="T31" fmla="*/ 2147483647 h 60"/>
                <a:gd name="T32" fmla="*/ 0 w 40"/>
                <a:gd name="T33" fmla="*/ 2147483647 h 60"/>
                <a:gd name="T34" fmla="*/ 0 w 40"/>
                <a:gd name="T35" fmla="*/ 2147483647 h 60"/>
                <a:gd name="T36" fmla="*/ 2147483647 w 40"/>
                <a:gd name="T37" fmla="*/ 2147483647 h 60"/>
                <a:gd name="T38" fmla="*/ 2147483647 w 40"/>
                <a:gd name="T39" fmla="*/ 2147483647 h 60"/>
                <a:gd name="T40" fmla="*/ 2147483647 w 40"/>
                <a:gd name="T41" fmla="*/ 2147483647 h 60"/>
                <a:gd name="T42" fmla="*/ 2147483647 w 40"/>
                <a:gd name="T43" fmla="*/ 2147483647 h 60"/>
                <a:gd name="T44" fmla="*/ 2147483647 w 40"/>
                <a:gd name="T45" fmla="*/ 2147483647 h 60"/>
                <a:gd name="T46" fmla="*/ 2147483647 w 40"/>
                <a:gd name="T47" fmla="*/ 2147483647 h 60"/>
                <a:gd name="T48" fmla="*/ 2147483647 w 40"/>
                <a:gd name="T49" fmla="*/ 2147483647 h 6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60"/>
                <a:gd name="T77" fmla="*/ 40 w 40"/>
                <a:gd name="T78" fmla="*/ 60 h 6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60">
                  <a:moveTo>
                    <a:pt x="30" y="60"/>
                  </a:moveTo>
                  <a:lnTo>
                    <a:pt x="36" y="58"/>
                  </a:lnTo>
                  <a:lnTo>
                    <a:pt x="38" y="52"/>
                  </a:lnTo>
                  <a:lnTo>
                    <a:pt x="40" y="46"/>
                  </a:lnTo>
                  <a:lnTo>
                    <a:pt x="36" y="40"/>
                  </a:lnTo>
                  <a:lnTo>
                    <a:pt x="34" y="34"/>
                  </a:lnTo>
                  <a:lnTo>
                    <a:pt x="30" y="28"/>
                  </a:lnTo>
                  <a:lnTo>
                    <a:pt x="28" y="22"/>
                  </a:lnTo>
                  <a:lnTo>
                    <a:pt x="26" y="16"/>
                  </a:lnTo>
                  <a:lnTo>
                    <a:pt x="22" y="10"/>
                  </a:lnTo>
                  <a:lnTo>
                    <a:pt x="18" y="6"/>
                  </a:lnTo>
                  <a:lnTo>
                    <a:pt x="18" y="0"/>
                  </a:lnTo>
                  <a:lnTo>
                    <a:pt x="12" y="2"/>
                  </a:lnTo>
                  <a:lnTo>
                    <a:pt x="6" y="2"/>
                  </a:lnTo>
                  <a:lnTo>
                    <a:pt x="2" y="8"/>
                  </a:lnTo>
                  <a:lnTo>
                    <a:pt x="0" y="14"/>
                  </a:lnTo>
                  <a:lnTo>
                    <a:pt x="0" y="20"/>
                  </a:lnTo>
                  <a:lnTo>
                    <a:pt x="0" y="26"/>
                  </a:lnTo>
                  <a:lnTo>
                    <a:pt x="4" y="32"/>
                  </a:lnTo>
                  <a:lnTo>
                    <a:pt x="8" y="36"/>
                  </a:lnTo>
                  <a:lnTo>
                    <a:pt x="12" y="44"/>
                  </a:lnTo>
                  <a:lnTo>
                    <a:pt x="14" y="48"/>
                  </a:lnTo>
                  <a:lnTo>
                    <a:pt x="20" y="54"/>
                  </a:lnTo>
                  <a:lnTo>
                    <a:pt x="26" y="60"/>
                  </a:lnTo>
                  <a:lnTo>
                    <a:pt x="30" y="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8" name="Freeform 155"/>
            <p:cNvSpPr>
              <a:spLocks/>
            </p:cNvSpPr>
            <p:nvPr/>
          </p:nvSpPr>
          <p:spPr bwMode="auto">
            <a:xfrm>
              <a:off x="6775450" y="4205288"/>
              <a:ext cx="6350" cy="14287"/>
            </a:xfrm>
            <a:custGeom>
              <a:avLst/>
              <a:gdLst>
                <a:gd name="T0" fmla="*/ 2147483647 w 16"/>
                <a:gd name="T1" fmla="*/ 2147483647 h 32"/>
                <a:gd name="T2" fmla="*/ 2147483647 w 16"/>
                <a:gd name="T3" fmla="*/ 2147483647 h 32"/>
                <a:gd name="T4" fmla="*/ 2147483647 w 16"/>
                <a:gd name="T5" fmla="*/ 2147483647 h 32"/>
                <a:gd name="T6" fmla="*/ 2147483647 w 16"/>
                <a:gd name="T7" fmla="*/ 2147483647 h 32"/>
                <a:gd name="T8" fmla="*/ 0 w 16"/>
                <a:gd name="T9" fmla="*/ 0 h 32"/>
                <a:gd name="T10" fmla="*/ 0 w 16"/>
                <a:gd name="T11" fmla="*/ 2147483647 h 32"/>
                <a:gd name="T12" fmla="*/ 0 w 16"/>
                <a:gd name="T13" fmla="*/ 2147483647 h 32"/>
                <a:gd name="T14" fmla="*/ 2147483647 w 16"/>
                <a:gd name="T15" fmla="*/ 2147483647 h 32"/>
                <a:gd name="T16" fmla="*/ 2147483647 w 16"/>
                <a:gd name="T17" fmla="*/ 2147483647 h 32"/>
                <a:gd name="T18" fmla="*/ 2147483647 w 16"/>
                <a:gd name="T19" fmla="*/ 2147483647 h 32"/>
                <a:gd name="T20" fmla="*/ 2147483647 w 16"/>
                <a:gd name="T21" fmla="*/ 2147483647 h 32"/>
                <a:gd name="T22" fmla="*/ 2147483647 w 16"/>
                <a:gd name="T23" fmla="*/ 2147483647 h 32"/>
                <a:gd name="T24" fmla="*/ 2147483647 w 16"/>
                <a:gd name="T25" fmla="*/ 2147483647 h 32"/>
                <a:gd name="T26" fmla="*/ 2147483647 w 16"/>
                <a:gd name="T27" fmla="*/ 2147483647 h 3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
                <a:gd name="T43" fmla="*/ 0 h 32"/>
                <a:gd name="T44" fmla="*/ 16 w 16"/>
                <a:gd name="T45" fmla="*/ 32 h 3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 h="32">
                  <a:moveTo>
                    <a:pt x="16" y="14"/>
                  </a:moveTo>
                  <a:lnTo>
                    <a:pt x="16" y="14"/>
                  </a:lnTo>
                  <a:lnTo>
                    <a:pt x="12" y="8"/>
                  </a:lnTo>
                  <a:lnTo>
                    <a:pt x="6" y="2"/>
                  </a:lnTo>
                  <a:lnTo>
                    <a:pt x="0" y="0"/>
                  </a:lnTo>
                  <a:lnTo>
                    <a:pt x="0" y="6"/>
                  </a:lnTo>
                  <a:lnTo>
                    <a:pt x="0" y="12"/>
                  </a:lnTo>
                  <a:lnTo>
                    <a:pt x="2" y="18"/>
                  </a:lnTo>
                  <a:lnTo>
                    <a:pt x="2" y="24"/>
                  </a:lnTo>
                  <a:lnTo>
                    <a:pt x="6" y="30"/>
                  </a:lnTo>
                  <a:lnTo>
                    <a:pt x="12" y="32"/>
                  </a:lnTo>
                  <a:lnTo>
                    <a:pt x="14" y="26"/>
                  </a:lnTo>
                  <a:lnTo>
                    <a:pt x="14" y="20"/>
                  </a:lnTo>
                  <a:lnTo>
                    <a:pt x="16"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39" name="Freeform 156"/>
            <p:cNvSpPr>
              <a:spLocks/>
            </p:cNvSpPr>
            <p:nvPr/>
          </p:nvSpPr>
          <p:spPr bwMode="auto">
            <a:xfrm>
              <a:off x="6788150" y="4213225"/>
              <a:ext cx="11113" cy="9525"/>
            </a:xfrm>
            <a:custGeom>
              <a:avLst/>
              <a:gdLst>
                <a:gd name="T0" fmla="*/ 2147483647 w 28"/>
                <a:gd name="T1" fmla="*/ 2147483647 h 22"/>
                <a:gd name="T2" fmla="*/ 2147483647 w 28"/>
                <a:gd name="T3" fmla="*/ 2147483647 h 22"/>
                <a:gd name="T4" fmla="*/ 2147483647 w 28"/>
                <a:gd name="T5" fmla="*/ 2147483647 h 22"/>
                <a:gd name="T6" fmla="*/ 2147483647 w 28"/>
                <a:gd name="T7" fmla="*/ 2147483647 h 22"/>
                <a:gd name="T8" fmla="*/ 2147483647 w 28"/>
                <a:gd name="T9" fmla="*/ 2147483647 h 22"/>
                <a:gd name="T10" fmla="*/ 2147483647 w 28"/>
                <a:gd name="T11" fmla="*/ 0 h 22"/>
                <a:gd name="T12" fmla="*/ 0 w 28"/>
                <a:gd name="T13" fmla="*/ 2147483647 h 22"/>
                <a:gd name="T14" fmla="*/ 0 w 28"/>
                <a:gd name="T15" fmla="*/ 2147483647 h 22"/>
                <a:gd name="T16" fmla="*/ 2147483647 w 28"/>
                <a:gd name="T17" fmla="*/ 2147483647 h 22"/>
                <a:gd name="T18" fmla="*/ 2147483647 w 28"/>
                <a:gd name="T19" fmla="*/ 2147483647 h 22"/>
                <a:gd name="T20" fmla="*/ 2147483647 w 28"/>
                <a:gd name="T21" fmla="*/ 2147483647 h 22"/>
                <a:gd name="T22" fmla="*/ 2147483647 w 28"/>
                <a:gd name="T23" fmla="*/ 2147483647 h 22"/>
                <a:gd name="T24" fmla="*/ 2147483647 w 28"/>
                <a:gd name="T25" fmla="*/ 2147483647 h 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22"/>
                <a:gd name="T41" fmla="*/ 28 w 28"/>
                <a:gd name="T42" fmla="*/ 22 h 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22">
                  <a:moveTo>
                    <a:pt x="28" y="20"/>
                  </a:moveTo>
                  <a:lnTo>
                    <a:pt x="28" y="16"/>
                  </a:lnTo>
                  <a:lnTo>
                    <a:pt x="22" y="10"/>
                  </a:lnTo>
                  <a:lnTo>
                    <a:pt x="16" y="6"/>
                  </a:lnTo>
                  <a:lnTo>
                    <a:pt x="12" y="2"/>
                  </a:lnTo>
                  <a:lnTo>
                    <a:pt x="6" y="0"/>
                  </a:lnTo>
                  <a:lnTo>
                    <a:pt x="0" y="4"/>
                  </a:lnTo>
                  <a:lnTo>
                    <a:pt x="0" y="10"/>
                  </a:lnTo>
                  <a:lnTo>
                    <a:pt x="4" y="8"/>
                  </a:lnTo>
                  <a:lnTo>
                    <a:pt x="10" y="12"/>
                  </a:lnTo>
                  <a:lnTo>
                    <a:pt x="16" y="18"/>
                  </a:lnTo>
                  <a:lnTo>
                    <a:pt x="22" y="22"/>
                  </a:lnTo>
                  <a:lnTo>
                    <a:pt x="28" y="2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0" name="Freeform 157"/>
            <p:cNvSpPr>
              <a:spLocks/>
            </p:cNvSpPr>
            <p:nvPr/>
          </p:nvSpPr>
          <p:spPr bwMode="auto">
            <a:xfrm>
              <a:off x="6845300" y="4414838"/>
              <a:ext cx="230188" cy="80962"/>
            </a:xfrm>
            <a:custGeom>
              <a:avLst/>
              <a:gdLst>
                <a:gd name="T0" fmla="*/ 2147483647 w 566"/>
                <a:gd name="T1" fmla="*/ 2147483647 h 200"/>
                <a:gd name="T2" fmla="*/ 2147483647 w 566"/>
                <a:gd name="T3" fmla="*/ 2147483647 h 200"/>
                <a:gd name="T4" fmla="*/ 2147483647 w 566"/>
                <a:gd name="T5" fmla="*/ 2147483647 h 200"/>
                <a:gd name="T6" fmla="*/ 2147483647 w 566"/>
                <a:gd name="T7" fmla="*/ 2147483647 h 200"/>
                <a:gd name="T8" fmla="*/ 2147483647 w 566"/>
                <a:gd name="T9" fmla="*/ 2147483647 h 200"/>
                <a:gd name="T10" fmla="*/ 0 w 566"/>
                <a:gd name="T11" fmla="*/ 2147483647 h 200"/>
                <a:gd name="T12" fmla="*/ 2147483647 w 566"/>
                <a:gd name="T13" fmla="*/ 2147483647 h 200"/>
                <a:gd name="T14" fmla="*/ 2147483647 w 566"/>
                <a:gd name="T15" fmla="*/ 2147483647 h 200"/>
                <a:gd name="T16" fmla="*/ 2147483647 w 566"/>
                <a:gd name="T17" fmla="*/ 2147483647 h 200"/>
                <a:gd name="T18" fmla="*/ 2147483647 w 566"/>
                <a:gd name="T19" fmla="*/ 2147483647 h 200"/>
                <a:gd name="T20" fmla="*/ 2147483647 w 566"/>
                <a:gd name="T21" fmla="*/ 2147483647 h 200"/>
                <a:gd name="T22" fmla="*/ 2147483647 w 566"/>
                <a:gd name="T23" fmla="*/ 2147483647 h 200"/>
                <a:gd name="T24" fmla="*/ 2147483647 w 566"/>
                <a:gd name="T25" fmla="*/ 2147483647 h 200"/>
                <a:gd name="T26" fmla="*/ 2147483647 w 566"/>
                <a:gd name="T27" fmla="*/ 2147483647 h 200"/>
                <a:gd name="T28" fmla="*/ 2147483647 w 566"/>
                <a:gd name="T29" fmla="*/ 2147483647 h 200"/>
                <a:gd name="T30" fmla="*/ 2147483647 w 566"/>
                <a:gd name="T31" fmla="*/ 2147483647 h 200"/>
                <a:gd name="T32" fmla="*/ 2147483647 w 566"/>
                <a:gd name="T33" fmla="*/ 2147483647 h 200"/>
                <a:gd name="T34" fmla="*/ 2147483647 w 566"/>
                <a:gd name="T35" fmla="*/ 2147483647 h 200"/>
                <a:gd name="T36" fmla="*/ 2147483647 w 566"/>
                <a:gd name="T37" fmla="*/ 2147483647 h 200"/>
                <a:gd name="T38" fmla="*/ 2147483647 w 566"/>
                <a:gd name="T39" fmla="*/ 2147483647 h 200"/>
                <a:gd name="T40" fmla="*/ 2147483647 w 566"/>
                <a:gd name="T41" fmla="*/ 2147483647 h 200"/>
                <a:gd name="T42" fmla="*/ 2147483647 w 566"/>
                <a:gd name="T43" fmla="*/ 2147483647 h 200"/>
                <a:gd name="T44" fmla="*/ 2147483647 w 566"/>
                <a:gd name="T45" fmla="*/ 2147483647 h 200"/>
                <a:gd name="T46" fmla="*/ 2147483647 w 566"/>
                <a:gd name="T47" fmla="*/ 2147483647 h 200"/>
                <a:gd name="T48" fmla="*/ 2147483647 w 566"/>
                <a:gd name="T49" fmla="*/ 2147483647 h 200"/>
                <a:gd name="T50" fmla="*/ 2147483647 w 566"/>
                <a:gd name="T51" fmla="*/ 2147483647 h 200"/>
                <a:gd name="T52" fmla="*/ 2147483647 w 566"/>
                <a:gd name="T53" fmla="*/ 2147483647 h 200"/>
                <a:gd name="T54" fmla="*/ 2147483647 w 566"/>
                <a:gd name="T55" fmla="*/ 2147483647 h 200"/>
                <a:gd name="T56" fmla="*/ 2147483647 w 566"/>
                <a:gd name="T57" fmla="*/ 2147483647 h 200"/>
                <a:gd name="T58" fmla="*/ 2147483647 w 566"/>
                <a:gd name="T59" fmla="*/ 2147483647 h 200"/>
                <a:gd name="T60" fmla="*/ 2147483647 w 566"/>
                <a:gd name="T61" fmla="*/ 2147483647 h 200"/>
                <a:gd name="T62" fmla="*/ 2147483647 w 566"/>
                <a:gd name="T63" fmla="*/ 2147483647 h 200"/>
                <a:gd name="T64" fmla="*/ 2147483647 w 566"/>
                <a:gd name="T65" fmla="*/ 2147483647 h 200"/>
                <a:gd name="T66" fmla="*/ 2147483647 w 566"/>
                <a:gd name="T67" fmla="*/ 2147483647 h 200"/>
                <a:gd name="T68" fmla="*/ 2147483647 w 566"/>
                <a:gd name="T69" fmla="*/ 2147483647 h 200"/>
                <a:gd name="T70" fmla="*/ 2147483647 w 566"/>
                <a:gd name="T71" fmla="*/ 2147483647 h 200"/>
                <a:gd name="T72" fmla="*/ 2147483647 w 566"/>
                <a:gd name="T73" fmla="*/ 2147483647 h 200"/>
                <a:gd name="T74" fmla="*/ 2147483647 w 566"/>
                <a:gd name="T75" fmla="*/ 2147483647 h 200"/>
                <a:gd name="T76" fmla="*/ 2147483647 w 566"/>
                <a:gd name="T77" fmla="*/ 2147483647 h 200"/>
                <a:gd name="T78" fmla="*/ 2147483647 w 566"/>
                <a:gd name="T79" fmla="*/ 2147483647 h 200"/>
                <a:gd name="T80" fmla="*/ 2147483647 w 566"/>
                <a:gd name="T81" fmla="*/ 2147483647 h 200"/>
                <a:gd name="T82" fmla="*/ 2147483647 w 566"/>
                <a:gd name="T83" fmla="*/ 2147483647 h 200"/>
                <a:gd name="T84" fmla="*/ 2147483647 w 566"/>
                <a:gd name="T85" fmla="*/ 2147483647 h 200"/>
                <a:gd name="T86" fmla="*/ 2147483647 w 566"/>
                <a:gd name="T87" fmla="*/ 2147483647 h 200"/>
                <a:gd name="T88" fmla="*/ 2147483647 w 566"/>
                <a:gd name="T89" fmla="*/ 2147483647 h 200"/>
                <a:gd name="T90" fmla="*/ 2147483647 w 566"/>
                <a:gd name="T91" fmla="*/ 2147483647 h 200"/>
                <a:gd name="T92" fmla="*/ 2147483647 w 566"/>
                <a:gd name="T93" fmla="*/ 2147483647 h 200"/>
                <a:gd name="T94" fmla="*/ 2147483647 w 566"/>
                <a:gd name="T95" fmla="*/ 2147483647 h 200"/>
                <a:gd name="T96" fmla="*/ 2147483647 w 566"/>
                <a:gd name="T97" fmla="*/ 2147483647 h 200"/>
                <a:gd name="T98" fmla="*/ 2147483647 w 566"/>
                <a:gd name="T99" fmla="*/ 2147483647 h 200"/>
                <a:gd name="T100" fmla="*/ 2147483647 w 566"/>
                <a:gd name="T101" fmla="*/ 2147483647 h 200"/>
                <a:gd name="T102" fmla="*/ 2147483647 w 566"/>
                <a:gd name="T103" fmla="*/ 2147483647 h 200"/>
                <a:gd name="T104" fmla="*/ 2147483647 w 566"/>
                <a:gd name="T105" fmla="*/ 2147483647 h 200"/>
                <a:gd name="T106" fmla="*/ 2147483647 w 566"/>
                <a:gd name="T107" fmla="*/ 2147483647 h 200"/>
                <a:gd name="T108" fmla="*/ 2147483647 w 566"/>
                <a:gd name="T109" fmla="*/ 2147483647 h 200"/>
                <a:gd name="T110" fmla="*/ 2147483647 w 566"/>
                <a:gd name="T111" fmla="*/ 2147483647 h 200"/>
                <a:gd name="T112" fmla="*/ 2147483647 w 566"/>
                <a:gd name="T113" fmla="*/ 2147483647 h 200"/>
                <a:gd name="T114" fmla="*/ 2147483647 w 566"/>
                <a:gd name="T115" fmla="*/ 2147483647 h 200"/>
                <a:gd name="T116" fmla="*/ 2147483647 w 566"/>
                <a:gd name="T117" fmla="*/ 2147483647 h 200"/>
                <a:gd name="T118" fmla="*/ 2147483647 w 566"/>
                <a:gd name="T119" fmla="*/ 2147483647 h 200"/>
                <a:gd name="T120" fmla="*/ 2147483647 w 566"/>
                <a:gd name="T121" fmla="*/ 2147483647 h 200"/>
                <a:gd name="T122" fmla="*/ 2147483647 w 566"/>
                <a:gd name="T123" fmla="*/ 2147483647 h 2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66"/>
                <a:gd name="T187" fmla="*/ 0 h 200"/>
                <a:gd name="T188" fmla="*/ 566 w 566"/>
                <a:gd name="T189" fmla="*/ 200 h 2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66" h="200">
                  <a:moveTo>
                    <a:pt x="96" y="12"/>
                  </a:moveTo>
                  <a:lnTo>
                    <a:pt x="88" y="8"/>
                  </a:lnTo>
                  <a:lnTo>
                    <a:pt x="84" y="8"/>
                  </a:lnTo>
                  <a:lnTo>
                    <a:pt x="78" y="8"/>
                  </a:lnTo>
                  <a:lnTo>
                    <a:pt x="72" y="6"/>
                  </a:lnTo>
                  <a:lnTo>
                    <a:pt x="66" y="4"/>
                  </a:lnTo>
                  <a:lnTo>
                    <a:pt x="60" y="8"/>
                  </a:lnTo>
                  <a:lnTo>
                    <a:pt x="58" y="2"/>
                  </a:lnTo>
                  <a:lnTo>
                    <a:pt x="52" y="0"/>
                  </a:lnTo>
                  <a:lnTo>
                    <a:pt x="50" y="6"/>
                  </a:lnTo>
                  <a:lnTo>
                    <a:pt x="44" y="12"/>
                  </a:lnTo>
                  <a:lnTo>
                    <a:pt x="42" y="18"/>
                  </a:lnTo>
                  <a:lnTo>
                    <a:pt x="40" y="24"/>
                  </a:lnTo>
                  <a:lnTo>
                    <a:pt x="40" y="30"/>
                  </a:lnTo>
                  <a:lnTo>
                    <a:pt x="38" y="36"/>
                  </a:lnTo>
                  <a:lnTo>
                    <a:pt x="34" y="42"/>
                  </a:lnTo>
                  <a:lnTo>
                    <a:pt x="28" y="40"/>
                  </a:lnTo>
                  <a:lnTo>
                    <a:pt x="26" y="44"/>
                  </a:lnTo>
                  <a:lnTo>
                    <a:pt x="26" y="50"/>
                  </a:lnTo>
                  <a:lnTo>
                    <a:pt x="20" y="56"/>
                  </a:lnTo>
                  <a:lnTo>
                    <a:pt x="18" y="62"/>
                  </a:lnTo>
                  <a:lnTo>
                    <a:pt x="12" y="56"/>
                  </a:lnTo>
                  <a:lnTo>
                    <a:pt x="6" y="58"/>
                  </a:lnTo>
                  <a:lnTo>
                    <a:pt x="0" y="60"/>
                  </a:lnTo>
                  <a:lnTo>
                    <a:pt x="6" y="64"/>
                  </a:lnTo>
                  <a:lnTo>
                    <a:pt x="12" y="66"/>
                  </a:lnTo>
                  <a:lnTo>
                    <a:pt x="18" y="68"/>
                  </a:lnTo>
                  <a:lnTo>
                    <a:pt x="24" y="66"/>
                  </a:lnTo>
                  <a:lnTo>
                    <a:pt x="30" y="66"/>
                  </a:lnTo>
                  <a:lnTo>
                    <a:pt x="36" y="66"/>
                  </a:lnTo>
                  <a:lnTo>
                    <a:pt x="42" y="64"/>
                  </a:lnTo>
                  <a:lnTo>
                    <a:pt x="48" y="64"/>
                  </a:lnTo>
                  <a:lnTo>
                    <a:pt x="54" y="68"/>
                  </a:lnTo>
                  <a:lnTo>
                    <a:pt x="60" y="72"/>
                  </a:lnTo>
                  <a:lnTo>
                    <a:pt x="66" y="76"/>
                  </a:lnTo>
                  <a:lnTo>
                    <a:pt x="72" y="76"/>
                  </a:lnTo>
                  <a:lnTo>
                    <a:pt x="78" y="74"/>
                  </a:lnTo>
                  <a:lnTo>
                    <a:pt x="80" y="82"/>
                  </a:lnTo>
                  <a:lnTo>
                    <a:pt x="76" y="86"/>
                  </a:lnTo>
                  <a:lnTo>
                    <a:pt x="70" y="94"/>
                  </a:lnTo>
                  <a:lnTo>
                    <a:pt x="70" y="98"/>
                  </a:lnTo>
                  <a:lnTo>
                    <a:pt x="76" y="102"/>
                  </a:lnTo>
                  <a:lnTo>
                    <a:pt x="82" y="106"/>
                  </a:lnTo>
                  <a:lnTo>
                    <a:pt x="88" y="106"/>
                  </a:lnTo>
                  <a:lnTo>
                    <a:pt x="94" y="106"/>
                  </a:lnTo>
                  <a:lnTo>
                    <a:pt x="100" y="106"/>
                  </a:lnTo>
                  <a:lnTo>
                    <a:pt x="106" y="108"/>
                  </a:lnTo>
                  <a:lnTo>
                    <a:pt x="112" y="108"/>
                  </a:lnTo>
                  <a:lnTo>
                    <a:pt x="118" y="108"/>
                  </a:lnTo>
                  <a:lnTo>
                    <a:pt x="124" y="110"/>
                  </a:lnTo>
                  <a:lnTo>
                    <a:pt x="130" y="110"/>
                  </a:lnTo>
                  <a:lnTo>
                    <a:pt x="136" y="112"/>
                  </a:lnTo>
                  <a:lnTo>
                    <a:pt x="142" y="116"/>
                  </a:lnTo>
                  <a:lnTo>
                    <a:pt x="148" y="120"/>
                  </a:lnTo>
                  <a:lnTo>
                    <a:pt x="154" y="122"/>
                  </a:lnTo>
                  <a:lnTo>
                    <a:pt x="158" y="126"/>
                  </a:lnTo>
                  <a:lnTo>
                    <a:pt x="160" y="126"/>
                  </a:lnTo>
                  <a:lnTo>
                    <a:pt x="166" y="126"/>
                  </a:lnTo>
                  <a:lnTo>
                    <a:pt x="172" y="128"/>
                  </a:lnTo>
                  <a:lnTo>
                    <a:pt x="178" y="130"/>
                  </a:lnTo>
                  <a:lnTo>
                    <a:pt x="184" y="132"/>
                  </a:lnTo>
                  <a:lnTo>
                    <a:pt x="190" y="132"/>
                  </a:lnTo>
                  <a:lnTo>
                    <a:pt x="196" y="132"/>
                  </a:lnTo>
                  <a:lnTo>
                    <a:pt x="198" y="126"/>
                  </a:lnTo>
                  <a:lnTo>
                    <a:pt x="204" y="124"/>
                  </a:lnTo>
                  <a:lnTo>
                    <a:pt x="210" y="122"/>
                  </a:lnTo>
                  <a:lnTo>
                    <a:pt x="216" y="122"/>
                  </a:lnTo>
                  <a:lnTo>
                    <a:pt x="222" y="124"/>
                  </a:lnTo>
                  <a:lnTo>
                    <a:pt x="228" y="126"/>
                  </a:lnTo>
                  <a:lnTo>
                    <a:pt x="234" y="124"/>
                  </a:lnTo>
                  <a:lnTo>
                    <a:pt x="240" y="124"/>
                  </a:lnTo>
                  <a:lnTo>
                    <a:pt x="246" y="124"/>
                  </a:lnTo>
                  <a:lnTo>
                    <a:pt x="252" y="126"/>
                  </a:lnTo>
                  <a:lnTo>
                    <a:pt x="258" y="128"/>
                  </a:lnTo>
                  <a:lnTo>
                    <a:pt x="262" y="130"/>
                  </a:lnTo>
                  <a:lnTo>
                    <a:pt x="270" y="132"/>
                  </a:lnTo>
                  <a:lnTo>
                    <a:pt x="274" y="132"/>
                  </a:lnTo>
                  <a:lnTo>
                    <a:pt x="282" y="136"/>
                  </a:lnTo>
                  <a:lnTo>
                    <a:pt x="288" y="136"/>
                  </a:lnTo>
                  <a:lnTo>
                    <a:pt x="290" y="138"/>
                  </a:lnTo>
                  <a:lnTo>
                    <a:pt x="296" y="142"/>
                  </a:lnTo>
                  <a:lnTo>
                    <a:pt x="302" y="146"/>
                  </a:lnTo>
                  <a:lnTo>
                    <a:pt x="308" y="148"/>
                  </a:lnTo>
                  <a:lnTo>
                    <a:pt x="314" y="152"/>
                  </a:lnTo>
                  <a:lnTo>
                    <a:pt x="320" y="154"/>
                  </a:lnTo>
                  <a:lnTo>
                    <a:pt x="326" y="158"/>
                  </a:lnTo>
                  <a:lnTo>
                    <a:pt x="332" y="158"/>
                  </a:lnTo>
                  <a:lnTo>
                    <a:pt x="338" y="160"/>
                  </a:lnTo>
                  <a:lnTo>
                    <a:pt x="344" y="162"/>
                  </a:lnTo>
                  <a:lnTo>
                    <a:pt x="350" y="164"/>
                  </a:lnTo>
                  <a:lnTo>
                    <a:pt x="356" y="162"/>
                  </a:lnTo>
                  <a:lnTo>
                    <a:pt x="362" y="164"/>
                  </a:lnTo>
                  <a:lnTo>
                    <a:pt x="368" y="164"/>
                  </a:lnTo>
                  <a:lnTo>
                    <a:pt x="374" y="164"/>
                  </a:lnTo>
                  <a:lnTo>
                    <a:pt x="380" y="168"/>
                  </a:lnTo>
                  <a:lnTo>
                    <a:pt x="386" y="168"/>
                  </a:lnTo>
                  <a:lnTo>
                    <a:pt x="392" y="166"/>
                  </a:lnTo>
                  <a:lnTo>
                    <a:pt x="398" y="164"/>
                  </a:lnTo>
                  <a:lnTo>
                    <a:pt x="404" y="166"/>
                  </a:lnTo>
                  <a:lnTo>
                    <a:pt x="410" y="166"/>
                  </a:lnTo>
                  <a:lnTo>
                    <a:pt x="414" y="166"/>
                  </a:lnTo>
                  <a:lnTo>
                    <a:pt x="420" y="168"/>
                  </a:lnTo>
                  <a:lnTo>
                    <a:pt x="426" y="170"/>
                  </a:lnTo>
                  <a:lnTo>
                    <a:pt x="432" y="172"/>
                  </a:lnTo>
                  <a:lnTo>
                    <a:pt x="438" y="174"/>
                  </a:lnTo>
                  <a:lnTo>
                    <a:pt x="444" y="174"/>
                  </a:lnTo>
                  <a:lnTo>
                    <a:pt x="450" y="174"/>
                  </a:lnTo>
                  <a:lnTo>
                    <a:pt x="456" y="172"/>
                  </a:lnTo>
                  <a:lnTo>
                    <a:pt x="462" y="174"/>
                  </a:lnTo>
                  <a:lnTo>
                    <a:pt x="468" y="168"/>
                  </a:lnTo>
                  <a:lnTo>
                    <a:pt x="474" y="166"/>
                  </a:lnTo>
                  <a:lnTo>
                    <a:pt x="480" y="164"/>
                  </a:lnTo>
                  <a:lnTo>
                    <a:pt x="486" y="166"/>
                  </a:lnTo>
                  <a:lnTo>
                    <a:pt x="492" y="170"/>
                  </a:lnTo>
                  <a:lnTo>
                    <a:pt x="498" y="174"/>
                  </a:lnTo>
                  <a:lnTo>
                    <a:pt x="504" y="176"/>
                  </a:lnTo>
                  <a:lnTo>
                    <a:pt x="510" y="180"/>
                  </a:lnTo>
                  <a:lnTo>
                    <a:pt x="516" y="180"/>
                  </a:lnTo>
                  <a:lnTo>
                    <a:pt x="522" y="184"/>
                  </a:lnTo>
                  <a:lnTo>
                    <a:pt x="528" y="188"/>
                  </a:lnTo>
                  <a:lnTo>
                    <a:pt x="534" y="190"/>
                  </a:lnTo>
                  <a:lnTo>
                    <a:pt x="540" y="190"/>
                  </a:lnTo>
                  <a:lnTo>
                    <a:pt x="546" y="188"/>
                  </a:lnTo>
                  <a:lnTo>
                    <a:pt x="552" y="190"/>
                  </a:lnTo>
                  <a:lnTo>
                    <a:pt x="550" y="196"/>
                  </a:lnTo>
                  <a:lnTo>
                    <a:pt x="550" y="198"/>
                  </a:lnTo>
                  <a:lnTo>
                    <a:pt x="552" y="198"/>
                  </a:lnTo>
                  <a:lnTo>
                    <a:pt x="558" y="198"/>
                  </a:lnTo>
                  <a:lnTo>
                    <a:pt x="560" y="200"/>
                  </a:lnTo>
                  <a:lnTo>
                    <a:pt x="562" y="200"/>
                  </a:lnTo>
                  <a:lnTo>
                    <a:pt x="566" y="194"/>
                  </a:lnTo>
                  <a:lnTo>
                    <a:pt x="560" y="190"/>
                  </a:lnTo>
                  <a:lnTo>
                    <a:pt x="554" y="184"/>
                  </a:lnTo>
                  <a:lnTo>
                    <a:pt x="554" y="178"/>
                  </a:lnTo>
                  <a:lnTo>
                    <a:pt x="552" y="172"/>
                  </a:lnTo>
                  <a:lnTo>
                    <a:pt x="554" y="166"/>
                  </a:lnTo>
                  <a:lnTo>
                    <a:pt x="554" y="160"/>
                  </a:lnTo>
                  <a:lnTo>
                    <a:pt x="556" y="154"/>
                  </a:lnTo>
                  <a:lnTo>
                    <a:pt x="556" y="152"/>
                  </a:lnTo>
                  <a:lnTo>
                    <a:pt x="558" y="146"/>
                  </a:lnTo>
                  <a:lnTo>
                    <a:pt x="558" y="142"/>
                  </a:lnTo>
                  <a:lnTo>
                    <a:pt x="560" y="136"/>
                  </a:lnTo>
                  <a:lnTo>
                    <a:pt x="556" y="128"/>
                  </a:lnTo>
                  <a:lnTo>
                    <a:pt x="550" y="126"/>
                  </a:lnTo>
                  <a:lnTo>
                    <a:pt x="544" y="126"/>
                  </a:lnTo>
                  <a:lnTo>
                    <a:pt x="538" y="122"/>
                  </a:lnTo>
                  <a:lnTo>
                    <a:pt x="532" y="120"/>
                  </a:lnTo>
                  <a:lnTo>
                    <a:pt x="526" y="124"/>
                  </a:lnTo>
                  <a:lnTo>
                    <a:pt x="520" y="126"/>
                  </a:lnTo>
                  <a:lnTo>
                    <a:pt x="516" y="126"/>
                  </a:lnTo>
                  <a:lnTo>
                    <a:pt x="508" y="126"/>
                  </a:lnTo>
                  <a:lnTo>
                    <a:pt x="504" y="124"/>
                  </a:lnTo>
                  <a:lnTo>
                    <a:pt x="498" y="128"/>
                  </a:lnTo>
                  <a:lnTo>
                    <a:pt x="490" y="130"/>
                  </a:lnTo>
                  <a:lnTo>
                    <a:pt x="486" y="128"/>
                  </a:lnTo>
                  <a:lnTo>
                    <a:pt x="478" y="126"/>
                  </a:lnTo>
                  <a:lnTo>
                    <a:pt x="474" y="122"/>
                  </a:lnTo>
                  <a:lnTo>
                    <a:pt x="468" y="120"/>
                  </a:lnTo>
                  <a:lnTo>
                    <a:pt x="462" y="116"/>
                  </a:lnTo>
                  <a:lnTo>
                    <a:pt x="458" y="114"/>
                  </a:lnTo>
                  <a:lnTo>
                    <a:pt x="458" y="108"/>
                  </a:lnTo>
                  <a:lnTo>
                    <a:pt x="462" y="102"/>
                  </a:lnTo>
                  <a:lnTo>
                    <a:pt x="462" y="96"/>
                  </a:lnTo>
                  <a:lnTo>
                    <a:pt x="460" y="90"/>
                  </a:lnTo>
                  <a:lnTo>
                    <a:pt x="454" y="94"/>
                  </a:lnTo>
                  <a:lnTo>
                    <a:pt x="454" y="88"/>
                  </a:lnTo>
                  <a:lnTo>
                    <a:pt x="450" y="82"/>
                  </a:lnTo>
                  <a:lnTo>
                    <a:pt x="452" y="80"/>
                  </a:lnTo>
                  <a:lnTo>
                    <a:pt x="450" y="74"/>
                  </a:lnTo>
                  <a:lnTo>
                    <a:pt x="450" y="68"/>
                  </a:lnTo>
                  <a:lnTo>
                    <a:pt x="444" y="70"/>
                  </a:lnTo>
                  <a:lnTo>
                    <a:pt x="438" y="68"/>
                  </a:lnTo>
                  <a:lnTo>
                    <a:pt x="432" y="68"/>
                  </a:lnTo>
                  <a:lnTo>
                    <a:pt x="426" y="70"/>
                  </a:lnTo>
                  <a:lnTo>
                    <a:pt x="420" y="70"/>
                  </a:lnTo>
                  <a:lnTo>
                    <a:pt x="414" y="64"/>
                  </a:lnTo>
                  <a:lnTo>
                    <a:pt x="410" y="62"/>
                  </a:lnTo>
                  <a:lnTo>
                    <a:pt x="404" y="62"/>
                  </a:lnTo>
                  <a:lnTo>
                    <a:pt x="398" y="60"/>
                  </a:lnTo>
                  <a:lnTo>
                    <a:pt x="394" y="58"/>
                  </a:lnTo>
                  <a:lnTo>
                    <a:pt x="390" y="52"/>
                  </a:lnTo>
                  <a:lnTo>
                    <a:pt x="384" y="50"/>
                  </a:lnTo>
                  <a:lnTo>
                    <a:pt x="378" y="56"/>
                  </a:lnTo>
                  <a:lnTo>
                    <a:pt x="372" y="56"/>
                  </a:lnTo>
                  <a:lnTo>
                    <a:pt x="366" y="56"/>
                  </a:lnTo>
                  <a:lnTo>
                    <a:pt x="364" y="56"/>
                  </a:lnTo>
                  <a:lnTo>
                    <a:pt x="360" y="48"/>
                  </a:lnTo>
                  <a:lnTo>
                    <a:pt x="358" y="44"/>
                  </a:lnTo>
                  <a:lnTo>
                    <a:pt x="356" y="38"/>
                  </a:lnTo>
                  <a:lnTo>
                    <a:pt x="350" y="36"/>
                  </a:lnTo>
                  <a:lnTo>
                    <a:pt x="344" y="36"/>
                  </a:lnTo>
                  <a:lnTo>
                    <a:pt x="338" y="38"/>
                  </a:lnTo>
                  <a:lnTo>
                    <a:pt x="334" y="44"/>
                  </a:lnTo>
                  <a:lnTo>
                    <a:pt x="334" y="50"/>
                  </a:lnTo>
                  <a:lnTo>
                    <a:pt x="330" y="56"/>
                  </a:lnTo>
                  <a:lnTo>
                    <a:pt x="330" y="60"/>
                  </a:lnTo>
                  <a:lnTo>
                    <a:pt x="328" y="60"/>
                  </a:lnTo>
                  <a:lnTo>
                    <a:pt x="326" y="68"/>
                  </a:lnTo>
                  <a:lnTo>
                    <a:pt x="320" y="74"/>
                  </a:lnTo>
                  <a:lnTo>
                    <a:pt x="314" y="74"/>
                  </a:lnTo>
                  <a:lnTo>
                    <a:pt x="308" y="72"/>
                  </a:lnTo>
                  <a:lnTo>
                    <a:pt x="302" y="66"/>
                  </a:lnTo>
                  <a:lnTo>
                    <a:pt x="296" y="70"/>
                  </a:lnTo>
                  <a:lnTo>
                    <a:pt x="292" y="72"/>
                  </a:lnTo>
                  <a:lnTo>
                    <a:pt x="286" y="70"/>
                  </a:lnTo>
                  <a:lnTo>
                    <a:pt x="280" y="70"/>
                  </a:lnTo>
                  <a:lnTo>
                    <a:pt x="274" y="68"/>
                  </a:lnTo>
                  <a:lnTo>
                    <a:pt x="268" y="66"/>
                  </a:lnTo>
                  <a:lnTo>
                    <a:pt x="262" y="64"/>
                  </a:lnTo>
                  <a:lnTo>
                    <a:pt x="256" y="68"/>
                  </a:lnTo>
                  <a:lnTo>
                    <a:pt x="250" y="68"/>
                  </a:lnTo>
                  <a:lnTo>
                    <a:pt x="244" y="68"/>
                  </a:lnTo>
                  <a:lnTo>
                    <a:pt x="238" y="66"/>
                  </a:lnTo>
                  <a:lnTo>
                    <a:pt x="232" y="62"/>
                  </a:lnTo>
                  <a:lnTo>
                    <a:pt x="226" y="66"/>
                  </a:lnTo>
                  <a:lnTo>
                    <a:pt x="224" y="64"/>
                  </a:lnTo>
                  <a:lnTo>
                    <a:pt x="218" y="64"/>
                  </a:lnTo>
                  <a:lnTo>
                    <a:pt x="212" y="62"/>
                  </a:lnTo>
                  <a:lnTo>
                    <a:pt x="208" y="60"/>
                  </a:lnTo>
                  <a:lnTo>
                    <a:pt x="206" y="52"/>
                  </a:lnTo>
                  <a:lnTo>
                    <a:pt x="204" y="48"/>
                  </a:lnTo>
                  <a:lnTo>
                    <a:pt x="204" y="42"/>
                  </a:lnTo>
                  <a:lnTo>
                    <a:pt x="198" y="36"/>
                  </a:lnTo>
                  <a:lnTo>
                    <a:pt x="194" y="30"/>
                  </a:lnTo>
                  <a:lnTo>
                    <a:pt x="188" y="26"/>
                  </a:lnTo>
                  <a:lnTo>
                    <a:pt x="186" y="24"/>
                  </a:lnTo>
                  <a:lnTo>
                    <a:pt x="182" y="30"/>
                  </a:lnTo>
                  <a:lnTo>
                    <a:pt x="176" y="30"/>
                  </a:lnTo>
                  <a:lnTo>
                    <a:pt x="170" y="26"/>
                  </a:lnTo>
                  <a:lnTo>
                    <a:pt x="164" y="22"/>
                  </a:lnTo>
                  <a:lnTo>
                    <a:pt x="158" y="22"/>
                  </a:lnTo>
                  <a:lnTo>
                    <a:pt x="152" y="24"/>
                  </a:lnTo>
                  <a:lnTo>
                    <a:pt x="146" y="20"/>
                  </a:lnTo>
                  <a:lnTo>
                    <a:pt x="140" y="18"/>
                  </a:lnTo>
                  <a:lnTo>
                    <a:pt x="138" y="12"/>
                  </a:lnTo>
                  <a:lnTo>
                    <a:pt x="134" y="6"/>
                  </a:lnTo>
                  <a:lnTo>
                    <a:pt x="128" y="4"/>
                  </a:lnTo>
                  <a:lnTo>
                    <a:pt x="122" y="6"/>
                  </a:lnTo>
                  <a:lnTo>
                    <a:pt x="116" y="2"/>
                  </a:lnTo>
                  <a:lnTo>
                    <a:pt x="114" y="2"/>
                  </a:lnTo>
                  <a:lnTo>
                    <a:pt x="112" y="8"/>
                  </a:lnTo>
                  <a:lnTo>
                    <a:pt x="110" y="12"/>
                  </a:lnTo>
                  <a:lnTo>
                    <a:pt x="106" y="14"/>
                  </a:lnTo>
                  <a:lnTo>
                    <a:pt x="98" y="14"/>
                  </a:lnTo>
                  <a:lnTo>
                    <a:pt x="96"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1" name="Freeform 158"/>
            <p:cNvSpPr>
              <a:spLocks/>
            </p:cNvSpPr>
            <p:nvPr/>
          </p:nvSpPr>
          <p:spPr bwMode="auto">
            <a:xfrm>
              <a:off x="6848475" y="4289425"/>
              <a:ext cx="41275" cy="44450"/>
            </a:xfrm>
            <a:custGeom>
              <a:avLst/>
              <a:gdLst>
                <a:gd name="T0" fmla="*/ 2147483647 w 102"/>
                <a:gd name="T1" fmla="*/ 2147483647 h 110"/>
                <a:gd name="T2" fmla="*/ 2147483647 w 102"/>
                <a:gd name="T3" fmla="*/ 2147483647 h 110"/>
                <a:gd name="T4" fmla="*/ 2147483647 w 102"/>
                <a:gd name="T5" fmla="*/ 2147483647 h 110"/>
                <a:gd name="T6" fmla="*/ 2147483647 w 102"/>
                <a:gd name="T7" fmla="*/ 2147483647 h 110"/>
                <a:gd name="T8" fmla="*/ 0 w 102"/>
                <a:gd name="T9" fmla="*/ 2147483647 h 110"/>
                <a:gd name="T10" fmla="*/ 2147483647 w 102"/>
                <a:gd name="T11" fmla="*/ 2147483647 h 110"/>
                <a:gd name="T12" fmla="*/ 2147483647 w 102"/>
                <a:gd name="T13" fmla="*/ 2147483647 h 110"/>
                <a:gd name="T14" fmla="*/ 2147483647 w 102"/>
                <a:gd name="T15" fmla="*/ 2147483647 h 110"/>
                <a:gd name="T16" fmla="*/ 2147483647 w 102"/>
                <a:gd name="T17" fmla="*/ 2147483647 h 110"/>
                <a:gd name="T18" fmla="*/ 2147483647 w 102"/>
                <a:gd name="T19" fmla="*/ 2147483647 h 110"/>
                <a:gd name="T20" fmla="*/ 2147483647 w 102"/>
                <a:gd name="T21" fmla="*/ 2147483647 h 110"/>
                <a:gd name="T22" fmla="*/ 2147483647 w 102"/>
                <a:gd name="T23" fmla="*/ 2147483647 h 110"/>
                <a:gd name="T24" fmla="*/ 2147483647 w 102"/>
                <a:gd name="T25" fmla="*/ 2147483647 h 110"/>
                <a:gd name="T26" fmla="*/ 2147483647 w 102"/>
                <a:gd name="T27" fmla="*/ 2147483647 h 110"/>
                <a:gd name="T28" fmla="*/ 2147483647 w 102"/>
                <a:gd name="T29" fmla="*/ 2147483647 h 110"/>
                <a:gd name="T30" fmla="*/ 2147483647 w 102"/>
                <a:gd name="T31" fmla="*/ 2147483647 h 110"/>
                <a:gd name="T32" fmla="*/ 2147483647 w 102"/>
                <a:gd name="T33" fmla="*/ 2147483647 h 110"/>
                <a:gd name="T34" fmla="*/ 2147483647 w 102"/>
                <a:gd name="T35" fmla="*/ 2147483647 h 110"/>
                <a:gd name="T36" fmla="*/ 2147483647 w 102"/>
                <a:gd name="T37" fmla="*/ 2147483647 h 110"/>
                <a:gd name="T38" fmla="*/ 2147483647 w 102"/>
                <a:gd name="T39" fmla="*/ 2147483647 h 110"/>
                <a:gd name="T40" fmla="*/ 2147483647 w 102"/>
                <a:gd name="T41" fmla="*/ 2147483647 h 110"/>
                <a:gd name="T42" fmla="*/ 2147483647 w 102"/>
                <a:gd name="T43" fmla="*/ 2147483647 h 110"/>
                <a:gd name="T44" fmla="*/ 2147483647 w 102"/>
                <a:gd name="T45" fmla="*/ 2147483647 h 110"/>
                <a:gd name="T46" fmla="*/ 2147483647 w 102"/>
                <a:gd name="T47" fmla="*/ 2147483647 h 110"/>
                <a:gd name="T48" fmla="*/ 2147483647 w 102"/>
                <a:gd name="T49" fmla="*/ 2147483647 h 110"/>
                <a:gd name="T50" fmla="*/ 2147483647 w 102"/>
                <a:gd name="T51" fmla="*/ 2147483647 h 110"/>
                <a:gd name="T52" fmla="*/ 2147483647 w 102"/>
                <a:gd name="T53" fmla="*/ 2147483647 h 110"/>
                <a:gd name="T54" fmla="*/ 2147483647 w 102"/>
                <a:gd name="T55" fmla="*/ 2147483647 h 110"/>
                <a:gd name="T56" fmla="*/ 2147483647 w 102"/>
                <a:gd name="T57" fmla="*/ 2147483647 h 110"/>
                <a:gd name="T58" fmla="*/ 2147483647 w 102"/>
                <a:gd name="T59" fmla="*/ 2147483647 h 110"/>
                <a:gd name="T60" fmla="*/ 2147483647 w 102"/>
                <a:gd name="T61" fmla="*/ 2147483647 h 110"/>
                <a:gd name="T62" fmla="*/ 2147483647 w 102"/>
                <a:gd name="T63" fmla="*/ 2147483647 h 110"/>
                <a:gd name="T64" fmla="*/ 2147483647 w 102"/>
                <a:gd name="T65" fmla="*/ 2147483647 h 110"/>
                <a:gd name="T66" fmla="*/ 2147483647 w 102"/>
                <a:gd name="T67" fmla="*/ 2147483647 h 110"/>
                <a:gd name="T68" fmla="*/ 2147483647 w 102"/>
                <a:gd name="T69" fmla="*/ 2147483647 h 110"/>
                <a:gd name="T70" fmla="*/ 2147483647 w 102"/>
                <a:gd name="T71" fmla="*/ 2147483647 h 110"/>
                <a:gd name="T72" fmla="*/ 2147483647 w 102"/>
                <a:gd name="T73" fmla="*/ 2147483647 h 110"/>
                <a:gd name="T74" fmla="*/ 2147483647 w 102"/>
                <a:gd name="T75" fmla="*/ 2147483647 h 110"/>
                <a:gd name="T76" fmla="*/ 2147483647 w 102"/>
                <a:gd name="T77" fmla="*/ 2147483647 h 110"/>
                <a:gd name="T78" fmla="*/ 2147483647 w 102"/>
                <a:gd name="T79" fmla="*/ 2147483647 h 110"/>
                <a:gd name="T80" fmla="*/ 2147483647 w 102"/>
                <a:gd name="T81" fmla="*/ 2147483647 h 110"/>
                <a:gd name="T82" fmla="*/ 2147483647 w 102"/>
                <a:gd name="T83" fmla="*/ 2147483647 h 110"/>
                <a:gd name="T84" fmla="*/ 2147483647 w 102"/>
                <a:gd name="T85" fmla="*/ 2147483647 h 110"/>
                <a:gd name="T86" fmla="*/ 2147483647 w 102"/>
                <a:gd name="T87" fmla="*/ 2147483647 h 110"/>
                <a:gd name="T88" fmla="*/ 2147483647 w 102"/>
                <a:gd name="T89" fmla="*/ 2147483647 h 110"/>
                <a:gd name="T90" fmla="*/ 2147483647 w 102"/>
                <a:gd name="T91" fmla="*/ 2147483647 h 110"/>
                <a:gd name="T92" fmla="*/ 2147483647 w 102"/>
                <a:gd name="T93" fmla="*/ 2147483647 h 110"/>
                <a:gd name="T94" fmla="*/ 2147483647 w 102"/>
                <a:gd name="T95" fmla="*/ 2147483647 h 110"/>
                <a:gd name="T96" fmla="*/ 2147483647 w 102"/>
                <a:gd name="T97" fmla="*/ 2147483647 h 110"/>
                <a:gd name="T98" fmla="*/ 2147483647 w 102"/>
                <a:gd name="T99" fmla="*/ 2147483647 h 110"/>
                <a:gd name="T100" fmla="*/ 2147483647 w 102"/>
                <a:gd name="T101" fmla="*/ 0 h 110"/>
                <a:gd name="T102" fmla="*/ 2147483647 w 102"/>
                <a:gd name="T103" fmla="*/ 2147483647 h 110"/>
                <a:gd name="T104" fmla="*/ 2147483647 w 102"/>
                <a:gd name="T105" fmla="*/ 2147483647 h 110"/>
                <a:gd name="T106" fmla="*/ 2147483647 w 102"/>
                <a:gd name="T107" fmla="*/ 2147483647 h 110"/>
                <a:gd name="T108" fmla="*/ 2147483647 w 102"/>
                <a:gd name="T109" fmla="*/ 2147483647 h 110"/>
                <a:gd name="T110" fmla="*/ 2147483647 w 102"/>
                <a:gd name="T111" fmla="*/ 2147483647 h 110"/>
                <a:gd name="T112" fmla="*/ 2147483647 w 102"/>
                <a:gd name="T113" fmla="*/ 2147483647 h 110"/>
                <a:gd name="T114" fmla="*/ 2147483647 w 102"/>
                <a:gd name="T115" fmla="*/ 2147483647 h 110"/>
                <a:gd name="T116" fmla="*/ 2147483647 w 102"/>
                <a:gd name="T117" fmla="*/ 2147483647 h 110"/>
                <a:gd name="T118" fmla="*/ 2147483647 w 102"/>
                <a:gd name="T119" fmla="*/ 2147483647 h 110"/>
                <a:gd name="T120" fmla="*/ 2147483647 w 102"/>
                <a:gd name="T121" fmla="*/ 2147483647 h 110"/>
                <a:gd name="T122" fmla="*/ 2147483647 w 102"/>
                <a:gd name="T123" fmla="*/ 2147483647 h 1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
                <a:gd name="T187" fmla="*/ 0 h 110"/>
                <a:gd name="T188" fmla="*/ 102 w 102"/>
                <a:gd name="T189" fmla="*/ 110 h 1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 h="110">
                  <a:moveTo>
                    <a:pt x="14" y="14"/>
                  </a:moveTo>
                  <a:lnTo>
                    <a:pt x="16" y="22"/>
                  </a:lnTo>
                  <a:lnTo>
                    <a:pt x="10" y="26"/>
                  </a:lnTo>
                  <a:lnTo>
                    <a:pt x="4" y="28"/>
                  </a:lnTo>
                  <a:lnTo>
                    <a:pt x="0" y="34"/>
                  </a:lnTo>
                  <a:lnTo>
                    <a:pt x="6" y="38"/>
                  </a:lnTo>
                  <a:lnTo>
                    <a:pt x="12" y="44"/>
                  </a:lnTo>
                  <a:lnTo>
                    <a:pt x="16" y="42"/>
                  </a:lnTo>
                  <a:lnTo>
                    <a:pt x="24" y="40"/>
                  </a:lnTo>
                  <a:lnTo>
                    <a:pt x="30" y="42"/>
                  </a:lnTo>
                  <a:lnTo>
                    <a:pt x="34" y="44"/>
                  </a:lnTo>
                  <a:lnTo>
                    <a:pt x="40" y="50"/>
                  </a:lnTo>
                  <a:lnTo>
                    <a:pt x="42" y="56"/>
                  </a:lnTo>
                  <a:lnTo>
                    <a:pt x="42" y="62"/>
                  </a:lnTo>
                  <a:lnTo>
                    <a:pt x="46" y="66"/>
                  </a:lnTo>
                  <a:lnTo>
                    <a:pt x="48" y="72"/>
                  </a:lnTo>
                  <a:lnTo>
                    <a:pt x="46" y="78"/>
                  </a:lnTo>
                  <a:lnTo>
                    <a:pt x="46" y="84"/>
                  </a:lnTo>
                  <a:lnTo>
                    <a:pt x="50" y="90"/>
                  </a:lnTo>
                  <a:lnTo>
                    <a:pt x="56" y="92"/>
                  </a:lnTo>
                  <a:lnTo>
                    <a:pt x="62" y="94"/>
                  </a:lnTo>
                  <a:lnTo>
                    <a:pt x="68" y="96"/>
                  </a:lnTo>
                  <a:lnTo>
                    <a:pt x="72" y="102"/>
                  </a:lnTo>
                  <a:lnTo>
                    <a:pt x="80" y="104"/>
                  </a:lnTo>
                  <a:lnTo>
                    <a:pt x="82" y="110"/>
                  </a:lnTo>
                  <a:lnTo>
                    <a:pt x="88" y="108"/>
                  </a:lnTo>
                  <a:lnTo>
                    <a:pt x="94" y="110"/>
                  </a:lnTo>
                  <a:lnTo>
                    <a:pt x="96" y="104"/>
                  </a:lnTo>
                  <a:lnTo>
                    <a:pt x="90" y="102"/>
                  </a:lnTo>
                  <a:lnTo>
                    <a:pt x="88" y="96"/>
                  </a:lnTo>
                  <a:lnTo>
                    <a:pt x="90" y="90"/>
                  </a:lnTo>
                  <a:lnTo>
                    <a:pt x="92" y="84"/>
                  </a:lnTo>
                  <a:lnTo>
                    <a:pt x="96" y="78"/>
                  </a:lnTo>
                  <a:lnTo>
                    <a:pt x="102" y="76"/>
                  </a:lnTo>
                  <a:lnTo>
                    <a:pt x="96" y="72"/>
                  </a:lnTo>
                  <a:lnTo>
                    <a:pt x="90" y="70"/>
                  </a:lnTo>
                  <a:lnTo>
                    <a:pt x="84" y="70"/>
                  </a:lnTo>
                  <a:lnTo>
                    <a:pt x="78" y="68"/>
                  </a:lnTo>
                  <a:lnTo>
                    <a:pt x="72" y="66"/>
                  </a:lnTo>
                  <a:lnTo>
                    <a:pt x="68" y="60"/>
                  </a:lnTo>
                  <a:lnTo>
                    <a:pt x="66" y="54"/>
                  </a:lnTo>
                  <a:lnTo>
                    <a:pt x="64" y="48"/>
                  </a:lnTo>
                  <a:lnTo>
                    <a:pt x="64" y="42"/>
                  </a:lnTo>
                  <a:lnTo>
                    <a:pt x="62" y="36"/>
                  </a:lnTo>
                  <a:lnTo>
                    <a:pt x="64" y="30"/>
                  </a:lnTo>
                  <a:lnTo>
                    <a:pt x="62" y="24"/>
                  </a:lnTo>
                  <a:lnTo>
                    <a:pt x="58" y="18"/>
                  </a:lnTo>
                  <a:lnTo>
                    <a:pt x="56" y="12"/>
                  </a:lnTo>
                  <a:lnTo>
                    <a:pt x="56" y="6"/>
                  </a:lnTo>
                  <a:lnTo>
                    <a:pt x="50" y="2"/>
                  </a:lnTo>
                  <a:lnTo>
                    <a:pt x="44" y="0"/>
                  </a:lnTo>
                  <a:lnTo>
                    <a:pt x="38" y="2"/>
                  </a:lnTo>
                  <a:lnTo>
                    <a:pt x="38" y="8"/>
                  </a:lnTo>
                  <a:lnTo>
                    <a:pt x="38" y="14"/>
                  </a:lnTo>
                  <a:lnTo>
                    <a:pt x="42" y="20"/>
                  </a:lnTo>
                  <a:lnTo>
                    <a:pt x="36" y="18"/>
                  </a:lnTo>
                  <a:lnTo>
                    <a:pt x="34" y="14"/>
                  </a:lnTo>
                  <a:lnTo>
                    <a:pt x="30" y="8"/>
                  </a:lnTo>
                  <a:lnTo>
                    <a:pt x="24" y="4"/>
                  </a:lnTo>
                  <a:lnTo>
                    <a:pt x="18" y="6"/>
                  </a:lnTo>
                  <a:lnTo>
                    <a:pt x="14" y="12"/>
                  </a:lnTo>
                  <a:lnTo>
                    <a:pt x="14"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2" name="Freeform 159"/>
            <p:cNvSpPr>
              <a:spLocks/>
            </p:cNvSpPr>
            <p:nvPr/>
          </p:nvSpPr>
          <p:spPr bwMode="auto">
            <a:xfrm>
              <a:off x="6907213" y="4318000"/>
              <a:ext cx="17462" cy="20638"/>
            </a:xfrm>
            <a:custGeom>
              <a:avLst/>
              <a:gdLst>
                <a:gd name="T0" fmla="*/ 2147483647 w 44"/>
                <a:gd name="T1" fmla="*/ 0 h 48"/>
                <a:gd name="T2" fmla="*/ 2147483647 w 44"/>
                <a:gd name="T3" fmla="*/ 2147483647 h 48"/>
                <a:gd name="T4" fmla="*/ 2147483647 w 44"/>
                <a:gd name="T5" fmla="*/ 2147483647 h 48"/>
                <a:gd name="T6" fmla="*/ 2147483647 w 44"/>
                <a:gd name="T7" fmla="*/ 2147483647 h 48"/>
                <a:gd name="T8" fmla="*/ 0 w 44"/>
                <a:gd name="T9" fmla="*/ 2147483647 h 48"/>
                <a:gd name="T10" fmla="*/ 2147483647 w 44"/>
                <a:gd name="T11" fmla="*/ 2147483647 h 48"/>
                <a:gd name="T12" fmla="*/ 2147483647 w 44"/>
                <a:gd name="T13" fmla="*/ 2147483647 h 48"/>
                <a:gd name="T14" fmla="*/ 2147483647 w 44"/>
                <a:gd name="T15" fmla="*/ 2147483647 h 48"/>
                <a:gd name="T16" fmla="*/ 2147483647 w 44"/>
                <a:gd name="T17" fmla="*/ 2147483647 h 48"/>
                <a:gd name="T18" fmla="*/ 2147483647 w 44"/>
                <a:gd name="T19" fmla="*/ 2147483647 h 48"/>
                <a:gd name="T20" fmla="*/ 2147483647 w 44"/>
                <a:gd name="T21" fmla="*/ 2147483647 h 48"/>
                <a:gd name="T22" fmla="*/ 2147483647 w 44"/>
                <a:gd name="T23" fmla="*/ 2147483647 h 48"/>
                <a:gd name="T24" fmla="*/ 2147483647 w 44"/>
                <a:gd name="T25" fmla="*/ 2147483647 h 48"/>
                <a:gd name="T26" fmla="*/ 2147483647 w 44"/>
                <a:gd name="T27" fmla="*/ 2147483647 h 48"/>
                <a:gd name="T28" fmla="*/ 2147483647 w 44"/>
                <a:gd name="T29" fmla="*/ 2147483647 h 48"/>
                <a:gd name="T30" fmla="*/ 2147483647 w 44"/>
                <a:gd name="T31" fmla="*/ 2147483647 h 48"/>
                <a:gd name="T32" fmla="*/ 2147483647 w 44"/>
                <a:gd name="T33" fmla="*/ 2147483647 h 48"/>
                <a:gd name="T34" fmla="*/ 2147483647 w 44"/>
                <a:gd name="T35" fmla="*/ 2147483647 h 48"/>
                <a:gd name="T36" fmla="*/ 2147483647 w 44"/>
                <a:gd name="T37" fmla="*/ 2147483647 h 48"/>
                <a:gd name="T38" fmla="*/ 2147483647 w 44"/>
                <a:gd name="T39" fmla="*/ 2147483647 h 48"/>
                <a:gd name="T40" fmla="*/ 2147483647 w 44"/>
                <a:gd name="T41" fmla="*/ 2147483647 h 48"/>
                <a:gd name="T42" fmla="*/ 2147483647 w 44"/>
                <a:gd name="T43" fmla="*/ 2147483647 h 48"/>
                <a:gd name="T44" fmla="*/ 2147483647 w 44"/>
                <a:gd name="T45" fmla="*/ 2147483647 h 48"/>
                <a:gd name="T46" fmla="*/ 2147483647 w 44"/>
                <a:gd name="T47" fmla="*/ 2147483647 h 48"/>
                <a:gd name="T48" fmla="*/ 2147483647 w 44"/>
                <a:gd name="T49" fmla="*/ 2147483647 h 48"/>
                <a:gd name="T50" fmla="*/ 2147483647 w 44"/>
                <a:gd name="T51" fmla="*/ 2147483647 h 48"/>
                <a:gd name="T52" fmla="*/ 2147483647 w 44"/>
                <a:gd name="T53" fmla="*/ 2147483647 h 48"/>
                <a:gd name="T54" fmla="*/ 2147483647 w 44"/>
                <a:gd name="T55" fmla="*/ 0 h 48"/>
                <a:gd name="T56" fmla="*/ 2147483647 w 44"/>
                <a:gd name="T57" fmla="*/ 0 h 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
                <a:gd name="T88" fmla="*/ 0 h 48"/>
                <a:gd name="T89" fmla="*/ 44 w 44"/>
                <a:gd name="T90" fmla="*/ 48 h 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 h="48">
                  <a:moveTo>
                    <a:pt x="10" y="0"/>
                  </a:moveTo>
                  <a:lnTo>
                    <a:pt x="6" y="6"/>
                  </a:lnTo>
                  <a:lnTo>
                    <a:pt x="6" y="12"/>
                  </a:lnTo>
                  <a:lnTo>
                    <a:pt x="4" y="18"/>
                  </a:lnTo>
                  <a:lnTo>
                    <a:pt x="0" y="24"/>
                  </a:lnTo>
                  <a:lnTo>
                    <a:pt x="2" y="30"/>
                  </a:lnTo>
                  <a:lnTo>
                    <a:pt x="2" y="36"/>
                  </a:lnTo>
                  <a:lnTo>
                    <a:pt x="4" y="42"/>
                  </a:lnTo>
                  <a:lnTo>
                    <a:pt x="10" y="44"/>
                  </a:lnTo>
                  <a:lnTo>
                    <a:pt x="16" y="42"/>
                  </a:lnTo>
                  <a:lnTo>
                    <a:pt x="16" y="38"/>
                  </a:lnTo>
                  <a:lnTo>
                    <a:pt x="22" y="38"/>
                  </a:lnTo>
                  <a:lnTo>
                    <a:pt x="26" y="44"/>
                  </a:lnTo>
                  <a:lnTo>
                    <a:pt x="32" y="48"/>
                  </a:lnTo>
                  <a:lnTo>
                    <a:pt x="36" y="42"/>
                  </a:lnTo>
                  <a:lnTo>
                    <a:pt x="40" y="36"/>
                  </a:lnTo>
                  <a:lnTo>
                    <a:pt x="40" y="30"/>
                  </a:lnTo>
                  <a:lnTo>
                    <a:pt x="44" y="24"/>
                  </a:lnTo>
                  <a:lnTo>
                    <a:pt x="44" y="18"/>
                  </a:lnTo>
                  <a:lnTo>
                    <a:pt x="42" y="12"/>
                  </a:lnTo>
                  <a:lnTo>
                    <a:pt x="36" y="6"/>
                  </a:lnTo>
                  <a:lnTo>
                    <a:pt x="34" y="4"/>
                  </a:lnTo>
                  <a:lnTo>
                    <a:pt x="32" y="4"/>
                  </a:lnTo>
                  <a:lnTo>
                    <a:pt x="28" y="2"/>
                  </a:lnTo>
                  <a:lnTo>
                    <a:pt x="22" y="2"/>
                  </a:lnTo>
                  <a:lnTo>
                    <a:pt x="16" y="0"/>
                  </a:lnTo>
                  <a:lnTo>
                    <a:pt x="1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3" name="Freeform 160"/>
            <p:cNvSpPr>
              <a:spLocks/>
            </p:cNvSpPr>
            <p:nvPr/>
          </p:nvSpPr>
          <p:spPr bwMode="auto">
            <a:xfrm>
              <a:off x="7072313" y="4475163"/>
              <a:ext cx="30162" cy="22225"/>
            </a:xfrm>
            <a:custGeom>
              <a:avLst/>
              <a:gdLst>
                <a:gd name="T0" fmla="*/ 2147483647 w 76"/>
                <a:gd name="T1" fmla="*/ 2147483647 h 54"/>
                <a:gd name="T2" fmla="*/ 0 w 76"/>
                <a:gd name="T3" fmla="*/ 2147483647 h 54"/>
                <a:gd name="T4" fmla="*/ 2147483647 w 76"/>
                <a:gd name="T5" fmla="*/ 2147483647 h 54"/>
                <a:gd name="T6" fmla="*/ 2147483647 w 76"/>
                <a:gd name="T7" fmla="*/ 2147483647 h 54"/>
                <a:gd name="T8" fmla="*/ 2147483647 w 76"/>
                <a:gd name="T9" fmla="*/ 2147483647 h 54"/>
                <a:gd name="T10" fmla="*/ 2147483647 w 76"/>
                <a:gd name="T11" fmla="*/ 2147483647 h 54"/>
                <a:gd name="T12" fmla="*/ 2147483647 w 76"/>
                <a:gd name="T13" fmla="*/ 2147483647 h 54"/>
                <a:gd name="T14" fmla="*/ 2147483647 w 76"/>
                <a:gd name="T15" fmla="*/ 2147483647 h 54"/>
                <a:gd name="T16" fmla="*/ 2147483647 w 76"/>
                <a:gd name="T17" fmla="*/ 2147483647 h 54"/>
                <a:gd name="T18" fmla="*/ 2147483647 w 76"/>
                <a:gd name="T19" fmla="*/ 2147483647 h 54"/>
                <a:gd name="T20" fmla="*/ 2147483647 w 76"/>
                <a:gd name="T21" fmla="*/ 2147483647 h 54"/>
                <a:gd name="T22" fmla="*/ 2147483647 w 76"/>
                <a:gd name="T23" fmla="*/ 2147483647 h 54"/>
                <a:gd name="T24" fmla="*/ 2147483647 w 76"/>
                <a:gd name="T25" fmla="*/ 2147483647 h 54"/>
                <a:gd name="T26" fmla="*/ 2147483647 w 76"/>
                <a:gd name="T27" fmla="*/ 2147483647 h 54"/>
                <a:gd name="T28" fmla="*/ 2147483647 w 76"/>
                <a:gd name="T29" fmla="*/ 2147483647 h 54"/>
                <a:gd name="T30" fmla="*/ 2147483647 w 76"/>
                <a:gd name="T31" fmla="*/ 2147483647 h 54"/>
                <a:gd name="T32" fmla="*/ 2147483647 w 76"/>
                <a:gd name="T33" fmla="*/ 2147483647 h 54"/>
                <a:gd name="T34" fmla="*/ 2147483647 w 76"/>
                <a:gd name="T35" fmla="*/ 2147483647 h 54"/>
                <a:gd name="T36" fmla="*/ 2147483647 w 76"/>
                <a:gd name="T37" fmla="*/ 2147483647 h 54"/>
                <a:gd name="T38" fmla="*/ 2147483647 w 76"/>
                <a:gd name="T39" fmla="*/ 2147483647 h 54"/>
                <a:gd name="T40" fmla="*/ 2147483647 w 76"/>
                <a:gd name="T41" fmla="*/ 2147483647 h 54"/>
                <a:gd name="T42" fmla="*/ 2147483647 w 76"/>
                <a:gd name="T43" fmla="*/ 2147483647 h 54"/>
                <a:gd name="T44" fmla="*/ 2147483647 w 76"/>
                <a:gd name="T45" fmla="*/ 2147483647 h 54"/>
                <a:gd name="T46" fmla="*/ 2147483647 w 76"/>
                <a:gd name="T47" fmla="*/ 2147483647 h 54"/>
                <a:gd name="T48" fmla="*/ 2147483647 w 76"/>
                <a:gd name="T49" fmla="*/ 2147483647 h 54"/>
                <a:gd name="T50" fmla="*/ 2147483647 w 76"/>
                <a:gd name="T51" fmla="*/ 2147483647 h 54"/>
                <a:gd name="T52" fmla="*/ 2147483647 w 76"/>
                <a:gd name="T53" fmla="*/ 0 h 54"/>
                <a:gd name="T54" fmla="*/ 2147483647 w 76"/>
                <a:gd name="T55" fmla="*/ 0 h 54"/>
                <a:gd name="T56" fmla="*/ 2147483647 w 76"/>
                <a:gd name="T57" fmla="*/ 2147483647 h 54"/>
                <a:gd name="T58" fmla="*/ 2147483647 w 76"/>
                <a:gd name="T59" fmla="*/ 2147483647 h 54"/>
                <a:gd name="T60" fmla="*/ 2147483647 w 76"/>
                <a:gd name="T61" fmla="*/ 2147483647 h 54"/>
                <a:gd name="T62" fmla="*/ 2147483647 w 76"/>
                <a:gd name="T63" fmla="*/ 2147483647 h 54"/>
                <a:gd name="T64" fmla="*/ 2147483647 w 76"/>
                <a:gd name="T65" fmla="*/ 2147483647 h 54"/>
                <a:gd name="T66" fmla="*/ 2147483647 w 76"/>
                <a:gd name="T67" fmla="*/ 2147483647 h 54"/>
                <a:gd name="T68" fmla="*/ 2147483647 w 76"/>
                <a:gd name="T69" fmla="*/ 2147483647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76"/>
                <a:gd name="T106" fmla="*/ 0 h 54"/>
                <a:gd name="T107" fmla="*/ 76 w 76"/>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76" h="54">
                  <a:moveTo>
                    <a:pt x="2" y="2"/>
                  </a:moveTo>
                  <a:lnTo>
                    <a:pt x="0" y="8"/>
                  </a:lnTo>
                  <a:lnTo>
                    <a:pt x="2" y="14"/>
                  </a:lnTo>
                  <a:lnTo>
                    <a:pt x="6" y="20"/>
                  </a:lnTo>
                  <a:lnTo>
                    <a:pt x="12" y="24"/>
                  </a:lnTo>
                  <a:lnTo>
                    <a:pt x="18" y="24"/>
                  </a:lnTo>
                  <a:lnTo>
                    <a:pt x="24" y="26"/>
                  </a:lnTo>
                  <a:lnTo>
                    <a:pt x="30" y="30"/>
                  </a:lnTo>
                  <a:lnTo>
                    <a:pt x="36" y="36"/>
                  </a:lnTo>
                  <a:lnTo>
                    <a:pt x="40" y="42"/>
                  </a:lnTo>
                  <a:lnTo>
                    <a:pt x="42" y="48"/>
                  </a:lnTo>
                  <a:lnTo>
                    <a:pt x="36" y="52"/>
                  </a:lnTo>
                  <a:lnTo>
                    <a:pt x="36" y="54"/>
                  </a:lnTo>
                  <a:lnTo>
                    <a:pt x="42" y="54"/>
                  </a:lnTo>
                  <a:lnTo>
                    <a:pt x="46" y="48"/>
                  </a:lnTo>
                  <a:lnTo>
                    <a:pt x="48" y="42"/>
                  </a:lnTo>
                  <a:lnTo>
                    <a:pt x="54" y="38"/>
                  </a:lnTo>
                  <a:lnTo>
                    <a:pt x="60" y="34"/>
                  </a:lnTo>
                  <a:lnTo>
                    <a:pt x="66" y="30"/>
                  </a:lnTo>
                  <a:lnTo>
                    <a:pt x="72" y="28"/>
                  </a:lnTo>
                  <a:lnTo>
                    <a:pt x="76" y="22"/>
                  </a:lnTo>
                  <a:lnTo>
                    <a:pt x="70" y="16"/>
                  </a:lnTo>
                  <a:lnTo>
                    <a:pt x="68" y="10"/>
                  </a:lnTo>
                  <a:lnTo>
                    <a:pt x="60" y="6"/>
                  </a:lnTo>
                  <a:lnTo>
                    <a:pt x="56" y="4"/>
                  </a:lnTo>
                  <a:lnTo>
                    <a:pt x="48" y="0"/>
                  </a:lnTo>
                  <a:lnTo>
                    <a:pt x="42" y="0"/>
                  </a:lnTo>
                  <a:lnTo>
                    <a:pt x="38" y="6"/>
                  </a:lnTo>
                  <a:lnTo>
                    <a:pt x="32" y="8"/>
                  </a:lnTo>
                  <a:lnTo>
                    <a:pt x="26" y="8"/>
                  </a:lnTo>
                  <a:lnTo>
                    <a:pt x="20" y="8"/>
                  </a:lnTo>
                  <a:lnTo>
                    <a:pt x="14" y="4"/>
                  </a:lnTo>
                  <a:lnTo>
                    <a:pt x="8" y="4"/>
                  </a:lnTo>
                  <a:lnTo>
                    <a:pt x="2" y="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4" name="Freeform 161"/>
            <p:cNvSpPr>
              <a:spLocks/>
            </p:cNvSpPr>
            <p:nvPr/>
          </p:nvSpPr>
          <p:spPr bwMode="auto">
            <a:xfrm>
              <a:off x="7105650" y="4479925"/>
              <a:ext cx="22225" cy="19050"/>
            </a:xfrm>
            <a:custGeom>
              <a:avLst/>
              <a:gdLst>
                <a:gd name="T0" fmla="*/ 2147483647 w 56"/>
                <a:gd name="T1" fmla="*/ 0 h 48"/>
                <a:gd name="T2" fmla="*/ 2147483647 w 56"/>
                <a:gd name="T3" fmla="*/ 2147483647 h 48"/>
                <a:gd name="T4" fmla="*/ 2147483647 w 56"/>
                <a:gd name="T5" fmla="*/ 2147483647 h 48"/>
                <a:gd name="T6" fmla="*/ 2147483647 w 56"/>
                <a:gd name="T7" fmla="*/ 2147483647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2147483647 w 56"/>
                <a:gd name="T19" fmla="*/ 2147483647 h 48"/>
                <a:gd name="T20" fmla="*/ 0 w 56"/>
                <a:gd name="T21" fmla="*/ 2147483647 h 48"/>
                <a:gd name="T22" fmla="*/ 2147483647 w 56"/>
                <a:gd name="T23" fmla="*/ 2147483647 h 48"/>
                <a:gd name="T24" fmla="*/ 2147483647 w 56"/>
                <a:gd name="T25" fmla="*/ 2147483647 h 48"/>
                <a:gd name="T26" fmla="*/ 2147483647 w 56"/>
                <a:gd name="T27" fmla="*/ 2147483647 h 48"/>
                <a:gd name="T28" fmla="*/ 2147483647 w 56"/>
                <a:gd name="T29" fmla="*/ 2147483647 h 48"/>
                <a:gd name="T30" fmla="*/ 2147483647 w 56"/>
                <a:gd name="T31" fmla="*/ 2147483647 h 48"/>
                <a:gd name="T32" fmla="*/ 2147483647 w 56"/>
                <a:gd name="T33" fmla="*/ 2147483647 h 48"/>
                <a:gd name="T34" fmla="*/ 2147483647 w 56"/>
                <a:gd name="T35" fmla="*/ 2147483647 h 48"/>
                <a:gd name="T36" fmla="*/ 2147483647 w 56"/>
                <a:gd name="T37" fmla="*/ 2147483647 h 48"/>
                <a:gd name="T38" fmla="*/ 2147483647 w 56"/>
                <a:gd name="T39" fmla="*/ 2147483647 h 48"/>
                <a:gd name="T40" fmla="*/ 2147483647 w 56"/>
                <a:gd name="T41" fmla="*/ 2147483647 h 48"/>
                <a:gd name="T42" fmla="*/ 2147483647 w 56"/>
                <a:gd name="T43" fmla="*/ 2147483647 h 48"/>
                <a:gd name="T44" fmla="*/ 2147483647 w 56"/>
                <a:gd name="T45" fmla="*/ 2147483647 h 48"/>
                <a:gd name="T46" fmla="*/ 2147483647 w 56"/>
                <a:gd name="T47" fmla="*/ 2147483647 h 48"/>
                <a:gd name="T48" fmla="*/ 2147483647 w 56"/>
                <a:gd name="T49" fmla="*/ 2147483647 h 48"/>
                <a:gd name="T50" fmla="*/ 2147483647 w 56"/>
                <a:gd name="T51" fmla="*/ 2147483647 h 48"/>
                <a:gd name="T52" fmla="*/ 2147483647 w 56"/>
                <a:gd name="T53" fmla="*/ 2147483647 h 48"/>
                <a:gd name="T54" fmla="*/ 2147483647 w 56"/>
                <a:gd name="T55" fmla="*/ 0 h 48"/>
                <a:gd name="T56" fmla="*/ 2147483647 w 56"/>
                <a:gd name="T57" fmla="*/ 0 h 4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6"/>
                <a:gd name="T88" fmla="*/ 0 h 48"/>
                <a:gd name="T89" fmla="*/ 56 w 56"/>
                <a:gd name="T90" fmla="*/ 48 h 4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6" h="48">
                  <a:moveTo>
                    <a:pt x="32" y="0"/>
                  </a:moveTo>
                  <a:lnTo>
                    <a:pt x="28" y="4"/>
                  </a:lnTo>
                  <a:lnTo>
                    <a:pt x="22" y="10"/>
                  </a:lnTo>
                  <a:lnTo>
                    <a:pt x="16" y="14"/>
                  </a:lnTo>
                  <a:lnTo>
                    <a:pt x="16" y="20"/>
                  </a:lnTo>
                  <a:lnTo>
                    <a:pt x="16" y="26"/>
                  </a:lnTo>
                  <a:lnTo>
                    <a:pt x="16" y="32"/>
                  </a:lnTo>
                  <a:lnTo>
                    <a:pt x="14" y="38"/>
                  </a:lnTo>
                  <a:lnTo>
                    <a:pt x="8" y="40"/>
                  </a:lnTo>
                  <a:lnTo>
                    <a:pt x="2" y="36"/>
                  </a:lnTo>
                  <a:lnTo>
                    <a:pt x="0" y="42"/>
                  </a:lnTo>
                  <a:lnTo>
                    <a:pt x="6" y="44"/>
                  </a:lnTo>
                  <a:lnTo>
                    <a:pt x="12" y="46"/>
                  </a:lnTo>
                  <a:lnTo>
                    <a:pt x="18" y="46"/>
                  </a:lnTo>
                  <a:lnTo>
                    <a:pt x="24" y="48"/>
                  </a:lnTo>
                  <a:lnTo>
                    <a:pt x="30" y="48"/>
                  </a:lnTo>
                  <a:lnTo>
                    <a:pt x="36" y="44"/>
                  </a:lnTo>
                  <a:lnTo>
                    <a:pt x="42" y="48"/>
                  </a:lnTo>
                  <a:lnTo>
                    <a:pt x="40" y="42"/>
                  </a:lnTo>
                  <a:lnTo>
                    <a:pt x="46" y="36"/>
                  </a:lnTo>
                  <a:lnTo>
                    <a:pt x="48" y="30"/>
                  </a:lnTo>
                  <a:lnTo>
                    <a:pt x="52" y="24"/>
                  </a:lnTo>
                  <a:lnTo>
                    <a:pt x="54" y="18"/>
                  </a:lnTo>
                  <a:lnTo>
                    <a:pt x="56" y="12"/>
                  </a:lnTo>
                  <a:lnTo>
                    <a:pt x="54" y="6"/>
                  </a:lnTo>
                  <a:lnTo>
                    <a:pt x="48" y="4"/>
                  </a:lnTo>
                  <a:lnTo>
                    <a:pt x="42" y="2"/>
                  </a:lnTo>
                  <a:lnTo>
                    <a:pt x="36" y="0"/>
                  </a:lnTo>
                  <a:lnTo>
                    <a:pt x="32"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5" name="Freeform 162"/>
            <p:cNvSpPr>
              <a:spLocks/>
            </p:cNvSpPr>
            <p:nvPr/>
          </p:nvSpPr>
          <p:spPr bwMode="auto">
            <a:xfrm>
              <a:off x="7126288" y="4476750"/>
              <a:ext cx="61912" cy="28575"/>
            </a:xfrm>
            <a:custGeom>
              <a:avLst/>
              <a:gdLst>
                <a:gd name="T0" fmla="*/ 2147483647 w 152"/>
                <a:gd name="T1" fmla="*/ 2147483647 h 70"/>
                <a:gd name="T2" fmla="*/ 2147483647 w 152"/>
                <a:gd name="T3" fmla="*/ 2147483647 h 70"/>
                <a:gd name="T4" fmla="*/ 2147483647 w 152"/>
                <a:gd name="T5" fmla="*/ 2147483647 h 70"/>
                <a:gd name="T6" fmla="*/ 2147483647 w 152"/>
                <a:gd name="T7" fmla="*/ 2147483647 h 70"/>
                <a:gd name="T8" fmla="*/ 2147483647 w 152"/>
                <a:gd name="T9" fmla="*/ 2147483647 h 70"/>
                <a:gd name="T10" fmla="*/ 2147483647 w 152"/>
                <a:gd name="T11" fmla="*/ 2147483647 h 70"/>
                <a:gd name="T12" fmla="*/ 2147483647 w 152"/>
                <a:gd name="T13" fmla="*/ 2147483647 h 70"/>
                <a:gd name="T14" fmla="*/ 2147483647 w 152"/>
                <a:gd name="T15" fmla="*/ 2147483647 h 70"/>
                <a:gd name="T16" fmla="*/ 2147483647 w 152"/>
                <a:gd name="T17" fmla="*/ 2147483647 h 70"/>
                <a:gd name="T18" fmla="*/ 2147483647 w 152"/>
                <a:gd name="T19" fmla="*/ 2147483647 h 70"/>
                <a:gd name="T20" fmla="*/ 2147483647 w 152"/>
                <a:gd name="T21" fmla="*/ 2147483647 h 70"/>
                <a:gd name="T22" fmla="*/ 2147483647 w 152"/>
                <a:gd name="T23" fmla="*/ 2147483647 h 70"/>
                <a:gd name="T24" fmla="*/ 2147483647 w 152"/>
                <a:gd name="T25" fmla="*/ 2147483647 h 70"/>
                <a:gd name="T26" fmla="*/ 2147483647 w 152"/>
                <a:gd name="T27" fmla="*/ 2147483647 h 70"/>
                <a:gd name="T28" fmla="*/ 2147483647 w 152"/>
                <a:gd name="T29" fmla="*/ 2147483647 h 70"/>
                <a:gd name="T30" fmla="*/ 2147483647 w 152"/>
                <a:gd name="T31" fmla="*/ 2147483647 h 70"/>
                <a:gd name="T32" fmla="*/ 2147483647 w 152"/>
                <a:gd name="T33" fmla="*/ 2147483647 h 70"/>
                <a:gd name="T34" fmla="*/ 2147483647 w 152"/>
                <a:gd name="T35" fmla="*/ 2147483647 h 70"/>
                <a:gd name="T36" fmla="*/ 2147483647 w 152"/>
                <a:gd name="T37" fmla="*/ 2147483647 h 70"/>
                <a:gd name="T38" fmla="*/ 2147483647 w 152"/>
                <a:gd name="T39" fmla="*/ 2147483647 h 70"/>
                <a:gd name="T40" fmla="*/ 2147483647 w 152"/>
                <a:gd name="T41" fmla="*/ 0 h 70"/>
                <a:gd name="T42" fmla="*/ 2147483647 w 152"/>
                <a:gd name="T43" fmla="*/ 2147483647 h 70"/>
                <a:gd name="T44" fmla="*/ 2147483647 w 152"/>
                <a:gd name="T45" fmla="*/ 2147483647 h 70"/>
                <a:gd name="T46" fmla="*/ 2147483647 w 152"/>
                <a:gd name="T47" fmla="*/ 2147483647 h 70"/>
                <a:gd name="T48" fmla="*/ 2147483647 w 152"/>
                <a:gd name="T49" fmla="*/ 2147483647 h 70"/>
                <a:gd name="T50" fmla="*/ 2147483647 w 152"/>
                <a:gd name="T51" fmla="*/ 2147483647 h 70"/>
                <a:gd name="T52" fmla="*/ 2147483647 w 152"/>
                <a:gd name="T53" fmla="*/ 2147483647 h 70"/>
                <a:gd name="T54" fmla="*/ 2147483647 w 152"/>
                <a:gd name="T55" fmla="*/ 2147483647 h 70"/>
                <a:gd name="T56" fmla="*/ 2147483647 w 152"/>
                <a:gd name="T57" fmla="*/ 2147483647 h 70"/>
                <a:gd name="T58" fmla="*/ 2147483647 w 152"/>
                <a:gd name="T59" fmla="*/ 2147483647 h 70"/>
                <a:gd name="T60" fmla="*/ 2147483647 w 152"/>
                <a:gd name="T61" fmla="*/ 2147483647 h 70"/>
                <a:gd name="T62" fmla="*/ 2147483647 w 152"/>
                <a:gd name="T63" fmla="*/ 2147483647 h 70"/>
                <a:gd name="T64" fmla="*/ 2147483647 w 152"/>
                <a:gd name="T65" fmla="*/ 2147483647 h 70"/>
                <a:gd name="T66" fmla="*/ 2147483647 w 152"/>
                <a:gd name="T67" fmla="*/ 2147483647 h 70"/>
                <a:gd name="T68" fmla="*/ 2147483647 w 152"/>
                <a:gd name="T69" fmla="*/ 2147483647 h 70"/>
                <a:gd name="T70" fmla="*/ 0 w 152"/>
                <a:gd name="T71" fmla="*/ 2147483647 h 70"/>
                <a:gd name="T72" fmla="*/ 2147483647 w 152"/>
                <a:gd name="T73" fmla="*/ 2147483647 h 70"/>
                <a:gd name="T74" fmla="*/ 2147483647 w 152"/>
                <a:gd name="T75" fmla="*/ 2147483647 h 70"/>
                <a:gd name="T76" fmla="*/ 2147483647 w 152"/>
                <a:gd name="T77" fmla="*/ 2147483647 h 70"/>
                <a:gd name="T78" fmla="*/ 2147483647 w 152"/>
                <a:gd name="T79" fmla="*/ 2147483647 h 70"/>
                <a:gd name="T80" fmla="*/ 2147483647 w 152"/>
                <a:gd name="T81" fmla="*/ 2147483647 h 70"/>
                <a:gd name="T82" fmla="*/ 2147483647 w 152"/>
                <a:gd name="T83" fmla="*/ 2147483647 h 7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52"/>
                <a:gd name="T127" fmla="*/ 0 h 70"/>
                <a:gd name="T128" fmla="*/ 152 w 152"/>
                <a:gd name="T129" fmla="*/ 70 h 7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52" h="70">
                  <a:moveTo>
                    <a:pt x="72" y="58"/>
                  </a:moveTo>
                  <a:lnTo>
                    <a:pt x="76" y="54"/>
                  </a:lnTo>
                  <a:lnTo>
                    <a:pt x="84" y="52"/>
                  </a:lnTo>
                  <a:lnTo>
                    <a:pt x="90" y="52"/>
                  </a:lnTo>
                  <a:lnTo>
                    <a:pt x="94" y="48"/>
                  </a:lnTo>
                  <a:lnTo>
                    <a:pt x="100" y="42"/>
                  </a:lnTo>
                  <a:lnTo>
                    <a:pt x="102" y="36"/>
                  </a:lnTo>
                  <a:lnTo>
                    <a:pt x="104" y="42"/>
                  </a:lnTo>
                  <a:lnTo>
                    <a:pt x="102" y="48"/>
                  </a:lnTo>
                  <a:lnTo>
                    <a:pt x="104" y="52"/>
                  </a:lnTo>
                  <a:lnTo>
                    <a:pt x="110" y="52"/>
                  </a:lnTo>
                  <a:lnTo>
                    <a:pt x="114" y="50"/>
                  </a:lnTo>
                  <a:lnTo>
                    <a:pt x="120" y="50"/>
                  </a:lnTo>
                  <a:lnTo>
                    <a:pt x="126" y="52"/>
                  </a:lnTo>
                  <a:lnTo>
                    <a:pt x="132" y="52"/>
                  </a:lnTo>
                  <a:lnTo>
                    <a:pt x="128" y="48"/>
                  </a:lnTo>
                  <a:lnTo>
                    <a:pt x="122" y="46"/>
                  </a:lnTo>
                  <a:lnTo>
                    <a:pt x="128" y="44"/>
                  </a:lnTo>
                  <a:lnTo>
                    <a:pt x="132" y="42"/>
                  </a:lnTo>
                  <a:lnTo>
                    <a:pt x="138" y="46"/>
                  </a:lnTo>
                  <a:lnTo>
                    <a:pt x="144" y="46"/>
                  </a:lnTo>
                  <a:lnTo>
                    <a:pt x="150" y="40"/>
                  </a:lnTo>
                  <a:lnTo>
                    <a:pt x="152" y="34"/>
                  </a:lnTo>
                  <a:lnTo>
                    <a:pt x="146" y="38"/>
                  </a:lnTo>
                  <a:lnTo>
                    <a:pt x="142" y="32"/>
                  </a:lnTo>
                  <a:lnTo>
                    <a:pt x="144" y="26"/>
                  </a:lnTo>
                  <a:lnTo>
                    <a:pt x="140" y="20"/>
                  </a:lnTo>
                  <a:lnTo>
                    <a:pt x="138" y="14"/>
                  </a:lnTo>
                  <a:lnTo>
                    <a:pt x="132" y="14"/>
                  </a:lnTo>
                  <a:lnTo>
                    <a:pt x="126" y="16"/>
                  </a:lnTo>
                  <a:lnTo>
                    <a:pt x="122" y="22"/>
                  </a:lnTo>
                  <a:lnTo>
                    <a:pt x="122" y="28"/>
                  </a:lnTo>
                  <a:lnTo>
                    <a:pt x="122" y="22"/>
                  </a:lnTo>
                  <a:lnTo>
                    <a:pt x="120" y="16"/>
                  </a:lnTo>
                  <a:lnTo>
                    <a:pt x="114" y="12"/>
                  </a:lnTo>
                  <a:lnTo>
                    <a:pt x="108" y="10"/>
                  </a:lnTo>
                  <a:lnTo>
                    <a:pt x="102" y="16"/>
                  </a:lnTo>
                  <a:lnTo>
                    <a:pt x="96" y="18"/>
                  </a:lnTo>
                  <a:lnTo>
                    <a:pt x="92" y="12"/>
                  </a:lnTo>
                  <a:lnTo>
                    <a:pt x="90" y="6"/>
                  </a:lnTo>
                  <a:lnTo>
                    <a:pt x="84" y="2"/>
                  </a:lnTo>
                  <a:lnTo>
                    <a:pt x="78" y="0"/>
                  </a:lnTo>
                  <a:lnTo>
                    <a:pt x="72" y="0"/>
                  </a:lnTo>
                  <a:lnTo>
                    <a:pt x="66" y="4"/>
                  </a:lnTo>
                  <a:lnTo>
                    <a:pt x="62" y="10"/>
                  </a:lnTo>
                  <a:lnTo>
                    <a:pt x="68" y="16"/>
                  </a:lnTo>
                  <a:lnTo>
                    <a:pt x="72" y="22"/>
                  </a:lnTo>
                  <a:lnTo>
                    <a:pt x="78" y="26"/>
                  </a:lnTo>
                  <a:lnTo>
                    <a:pt x="84" y="26"/>
                  </a:lnTo>
                  <a:lnTo>
                    <a:pt x="90" y="30"/>
                  </a:lnTo>
                  <a:lnTo>
                    <a:pt x="96" y="34"/>
                  </a:lnTo>
                  <a:lnTo>
                    <a:pt x="90" y="40"/>
                  </a:lnTo>
                  <a:lnTo>
                    <a:pt x="84" y="38"/>
                  </a:lnTo>
                  <a:lnTo>
                    <a:pt x="78" y="44"/>
                  </a:lnTo>
                  <a:lnTo>
                    <a:pt x="72" y="44"/>
                  </a:lnTo>
                  <a:lnTo>
                    <a:pt x="66" y="44"/>
                  </a:lnTo>
                  <a:lnTo>
                    <a:pt x="64" y="38"/>
                  </a:lnTo>
                  <a:lnTo>
                    <a:pt x="58" y="32"/>
                  </a:lnTo>
                  <a:lnTo>
                    <a:pt x="56" y="28"/>
                  </a:lnTo>
                  <a:lnTo>
                    <a:pt x="50" y="22"/>
                  </a:lnTo>
                  <a:lnTo>
                    <a:pt x="46" y="24"/>
                  </a:lnTo>
                  <a:lnTo>
                    <a:pt x="38" y="24"/>
                  </a:lnTo>
                  <a:lnTo>
                    <a:pt x="34" y="20"/>
                  </a:lnTo>
                  <a:lnTo>
                    <a:pt x="28" y="18"/>
                  </a:lnTo>
                  <a:lnTo>
                    <a:pt x="22" y="24"/>
                  </a:lnTo>
                  <a:lnTo>
                    <a:pt x="16" y="28"/>
                  </a:lnTo>
                  <a:lnTo>
                    <a:pt x="10" y="30"/>
                  </a:lnTo>
                  <a:lnTo>
                    <a:pt x="4" y="36"/>
                  </a:lnTo>
                  <a:lnTo>
                    <a:pt x="4" y="42"/>
                  </a:lnTo>
                  <a:lnTo>
                    <a:pt x="6" y="48"/>
                  </a:lnTo>
                  <a:lnTo>
                    <a:pt x="2" y="54"/>
                  </a:lnTo>
                  <a:lnTo>
                    <a:pt x="0" y="60"/>
                  </a:lnTo>
                  <a:lnTo>
                    <a:pt x="6" y="66"/>
                  </a:lnTo>
                  <a:lnTo>
                    <a:pt x="12" y="68"/>
                  </a:lnTo>
                  <a:lnTo>
                    <a:pt x="18" y="70"/>
                  </a:lnTo>
                  <a:lnTo>
                    <a:pt x="24" y="70"/>
                  </a:lnTo>
                  <a:lnTo>
                    <a:pt x="30" y="64"/>
                  </a:lnTo>
                  <a:lnTo>
                    <a:pt x="36" y="66"/>
                  </a:lnTo>
                  <a:lnTo>
                    <a:pt x="42" y="66"/>
                  </a:lnTo>
                  <a:lnTo>
                    <a:pt x="48" y="64"/>
                  </a:lnTo>
                  <a:lnTo>
                    <a:pt x="54" y="60"/>
                  </a:lnTo>
                  <a:lnTo>
                    <a:pt x="60" y="56"/>
                  </a:lnTo>
                  <a:lnTo>
                    <a:pt x="66" y="56"/>
                  </a:lnTo>
                  <a:lnTo>
                    <a:pt x="72" y="5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6" name="Freeform 163"/>
            <p:cNvSpPr>
              <a:spLocks/>
            </p:cNvSpPr>
            <p:nvPr/>
          </p:nvSpPr>
          <p:spPr bwMode="auto">
            <a:xfrm>
              <a:off x="7186613" y="4197350"/>
              <a:ext cx="161925" cy="211138"/>
            </a:xfrm>
            <a:custGeom>
              <a:avLst/>
              <a:gdLst>
                <a:gd name="T0" fmla="*/ 2147483647 w 398"/>
                <a:gd name="T1" fmla="*/ 2147483647 h 512"/>
                <a:gd name="T2" fmla="*/ 2147483647 w 398"/>
                <a:gd name="T3" fmla="*/ 2147483647 h 512"/>
                <a:gd name="T4" fmla="*/ 2147483647 w 398"/>
                <a:gd name="T5" fmla="*/ 2147483647 h 512"/>
                <a:gd name="T6" fmla="*/ 2147483647 w 398"/>
                <a:gd name="T7" fmla="*/ 2147483647 h 512"/>
                <a:gd name="T8" fmla="*/ 2147483647 w 398"/>
                <a:gd name="T9" fmla="*/ 2147483647 h 512"/>
                <a:gd name="T10" fmla="*/ 2147483647 w 398"/>
                <a:gd name="T11" fmla="*/ 2147483647 h 512"/>
                <a:gd name="T12" fmla="*/ 2147483647 w 398"/>
                <a:gd name="T13" fmla="*/ 2147483647 h 512"/>
                <a:gd name="T14" fmla="*/ 2147483647 w 398"/>
                <a:gd name="T15" fmla="*/ 2147483647 h 512"/>
                <a:gd name="T16" fmla="*/ 2147483647 w 398"/>
                <a:gd name="T17" fmla="*/ 2147483647 h 512"/>
                <a:gd name="T18" fmla="*/ 2147483647 w 398"/>
                <a:gd name="T19" fmla="*/ 2147483647 h 512"/>
                <a:gd name="T20" fmla="*/ 2147483647 w 398"/>
                <a:gd name="T21" fmla="*/ 2147483647 h 512"/>
                <a:gd name="T22" fmla="*/ 2147483647 w 398"/>
                <a:gd name="T23" fmla="*/ 2147483647 h 512"/>
                <a:gd name="T24" fmla="*/ 2147483647 w 398"/>
                <a:gd name="T25" fmla="*/ 2147483647 h 512"/>
                <a:gd name="T26" fmla="*/ 2147483647 w 398"/>
                <a:gd name="T27" fmla="*/ 2147483647 h 512"/>
                <a:gd name="T28" fmla="*/ 2147483647 w 398"/>
                <a:gd name="T29" fmla="*/ 2147483647 h 512"/>
                <a:gd name="T30" fmla="*/ 2147483647 w 398"/>
                <a:gd name="T31" fmla="*/ 2147483647 h 512"/>
                <a:gd name="T32" fmla="*/ 2147483647 w 398"/>
                <a:gd name="T33" fmla="*/ 2147483647 h 512"/>
                <a:gd name="T34" fmla="*/ 2147483647 w 398"/>
                <a:gd name="T35" fmla="*/ 2147483647 h 512"/>
                <a:gd name="T36" fmla="*/ 2147483647 w 398"/>
                <a:gd name="T37" fmla="*/ 2147483647 h 512"/>
                <a:gd name="T38" fmla="*/ 2147483647 w 398"/>
                <a:gd name="T39" fmla="*/ 2147483647 h 512"/>
                <a:gd name="T40" fmla="*/ 2147483647 w 398"/>
                <a:gd name="T41" fmla="*/ 2147483647 h 512"/>
                <a:gd name="T42" fmla="*/ 2147483647 w 398"/>
                <a:gd name="T43" fmla="*/ 2147483647 h 512"/>
                <a:gd name="T44" fmla="*/ 2147483647 w 398"/>
                <a:gd name="T45" fmla="*/ 2147483647 h 512"/>
                <a:gd name="T46" fmla="*/ 2147483647 w 398"/>
                <a:gd name="T47" fmla="*/ 2147483647 h 512"/>
                <a:gd name="T48" fmla="*/ 2147483647 w 398"/>
                <a:gd name="T49" fmla="*/ 2147483647 h 512"/>
                <a:gd name="T50" fmla="*/ 2147483647 w 398"/>
                <a:gd name="T51" fmla="*/ 2147483647 h 512"/>
                <a:gd name="T52" fmla="*/ 2147483647 w 398"/>
                <a:gd name="T53" fmla="*/ 2147483647 h 512"/>
                <a:gd name="T54" fmla="*/ 2147483647 w 398"/>
                <a:gd name="T55" fmla="*/ 2147483647 h 512"/>
                <a:gd name="T56" fmla="*/ 2147483647 w 398"/>
                <a:gd name="T57" fmla="*/ 2147483647 h 512"/>
                <a:gd name="T58" fmla="*/ 2147483647 w 398"/>
                <a:gd name="T59" fmla="*/ 2147483647 h 512"/>
                <a:gd name="T60" fmla="*/ 2147483647 w 398"/>
                <a:gd name="T61" fmla="*/ 2147483647 h 512"/>
                <a:gd name="T62" fmla="*/ 2147483647 w 398"/>
                <a:gd name="T63" fmla="*/ 2147483647 h 512"/>
                <a:gd name="T64" fmla="*/ 2147483647 w 398"/>
                <a:gd name="T65" fmla="*/ 2147483647 h 512"/>
                <a:gd name="T66" fmla="*/ 2147483647 w 398"/>
                <a:gd name="T67" fmla="*/ 2147483647 h 512"/>
                <a:gd name="T68" fmla="*/ 2147483647 w 398"/>
                <a:gd name="T69" fmla="*/ 2147483647 h 512"/>
                <a:gd name="T70" fmla="*/ 2147483647 w 398"/>
                <a:gd name="T71" fmla="*/ 2147483647 h 512"/>
                <a:gd name="T72" fmla="*/ 2147483647 w 398"/>
                <a:gd name="T73" fmla="*/ 2147483647 h 512"/>
                <a:gd name="T74" fmla="*/ 2147483647 w 398"/>
                <a:gd name="T75" fmla="*/ 2147483647 h 512"/>
                <a:gd name="T76" fmla="*/ 2147483647 w 398"/>
                <a:gd name="T77" fmla="*/ 2147483647 h 512"/>
                <a:gd name="T78" fmla="*/ 2147483647 w 398"/>
                <a:gd name="T79" fmla="*/ 2147483647 h 512"/>
                <a:gd name="T80" fmla="*/ 2147483647 w 398"/>
                <a:gd name="T81" fmla="*/ 2147483647 h 512"/>
                <a:gd name="T82" fmla="*/ 2147483647 w 398"/>
                <a:gd name="T83" fmla="*/ 2147483647 h 512"/>
                <a:gd name="T84" fmla="*/ 2147483647 w 398"/>
                <a:gd name="T85" fmla="*/ 2147483647 h 512"/>
                <a:gd name="T86" fmla="*/ 2147483647 w 398"/>
                <a:gd name="T87" fmla="*/ 2147483647 h 512"/>
                <a:gd name="T88" fmla="*/ 2147483647 w 398"/>
                <a:gd name="T89" fmla="*/ 2147483647 h 512"/>
                <a:gd name="T90" fmla="*/ 2147483647 w 398"/>
                <a:gd name="T91" fmla="*/ 2147483647 h 512"/>
                <a:gd name="T92" fmla="*/ 2147483647 w 398"/>
                <a:gd name="T93" fmla="*/ 2147483647 h 512"/>
                <a:gd name="T94" fmla="*/ 2147483647 w 398"/>
                <a:gd name="T95" fmla="*/ 2147483647 h 512"/>
                <a:gd name="T96" fmla="*/ 2147483647 w 398"/>
                <a:gd name="T97" fmla="*/ 2147483647 h 512"/>
                <a:gd name="T98" fmla="*/ 2147483647 w 398"/>
                <a:gd name="T99" fmla="*/ 2147483647 h 512"/>
                <a:gd name="T100" fmla="*/ 2147483647 w 398"/>
                <a:gd name="T101" fmla="*/ 2147483647 h 512"/>
                <a:gd name="T102" fmla="*/ 2147483647 w 398"/>
                <a:gd name="T103" fmla="*/ 2147483647 h 512"/>
                <a:gd name="T104" fmla="*/ 2147483647 w 398"/>
                <a:gd name="T105" fmla="*/ 2147483647 h 512"/>
                <a:gd name="T106" fmla="*/ 2147483647 w 398"/>
                <a:gd name="T107" fmla="*/ 2147483647 h 512"/>
                <a:gd name="T108" fmla="*/ 2147483647 w 398"/>
                <a:gd name="T109" fmla="*/ 2147483647 h 512"/>
                <a:gd name="T110" fmla="*/ 2147483647 w 398"/>
                <a:gd name="T111" fmla="*/ 2147483647 h 51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98"/>
                <a:gd name="T169" fmla="*/ 0 h 512"/>
                <a:gd name="T170" fmla="*/ 398 w 398"/>
                <a:gd name="T171" fmla="*/ 512 h 51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98" h="512">
                  <a:moveTo>
                    <a:pt x="30" y="476"/>
                  </a:moveTo>
                  <a:lnTo>
                    <a:pt x="30" y="480"/>
                  </a:lnTo>
                  <a:lnTo>
                    <a:pt x="28" y="486"/>
                  </a:lnTo>
                  <a:lnTo>
                    <a:pt x="28" y="492"/>
                  </a:lnTo>
                  <a:lnTo>
                    <a:pt x="32" y="498"/>
                  </a:lnTo>
                  <a:lnTo>
                    <a:pt x="32" y="504"/>
                  </a:lnTo>
                  <a:lnTo>
                    <a:pt x="38" y="502"/>
                  </a:lnTo>
                  <a:lnTo>
                    <a:pt x="40" y="508"/>
                  </a:lnTo>
                  <a:lnTo>
                    <a:pt x="44" y="510"/>
                  </a:lnTo>
                  <a:lnTo>
                    <a:pt x="50" y="512"/>
                  </a:lnTo>
                  <a:lnTo>
                    <a:pt x="56" y="510"/>
                  </a:lnTo>
                  <a:lnTo>
                    <a:pt x="62" y="504"/>
                  </a:lnTo>
                  <a:lnTo>
                    <a:pt x="66" y="504"/>
                  </a:lnTo>
                  <a:lnTo>
                    <a:pt x="70" y="504"/>
                  </a:lnTo>
                  <a:lnTo>
                    <a:pt x="76" y="504"/>
                  </a:lnTo>
                  <a:lnTo>
                    <a:pt x="82" y="502"/>
                  </a:lnTo>
                  <a:lnTo>
                    <a:pt x="88" y="500"/>
                  </a:lnTo>
                  <a:lnTo>
                    <a:pt x="94" y="502"/>
                  </a:lnTo>
                  <a:lnTo>
                    <a:pt x="92" y="496"/>
                  </a:lnTo>
                  <a:lnTo>
                    <a:pt x="92" y="490"/>
                  </a:lnTo>
                  <a:lnTo>
                    <a:pt x="88" y="484"/>
                  </a:lnTo>
                  <a:lnTo>
                    <a:pt x="86" y="478"/>
                  </a:lnTo>
                  <a:lnTo>
                    <a:pt x="86" y="472"/>
                  </a:lnTo>
                  <a:lnTo>
                    <a:pt x="86" y="468"/>
                  </a:lnTo>
                  <a:lnTo>
                    <a:pt x="88" y="460"/>
                  </a:lnTo>
                  <a:lnTo>
                    <a:pt x="88" y="454"/>
                  </a:lnTo>
                  <a:lnTo>
                    <a:pt x="94" y="448"/>
                  </a:lnTo>
                  <a:lnTo>
                    <a:pt x="96" y="442"/>
                  </a:lnTo>
                  <a:lnTo>
                    <a:pt x="96" y="436"/>
                  </a:lnTo>
                  <a:lnTo>
                    <a:pt x="94" y="430"/>
                  </a:lnTo>
                  <a:lnTo>
                    <a:pt x="94" y="424"/>
                  </a:lnTo>
                  <a:lnTo>
                    <a:pt x="94" y="418"/>
                  </a:lnTo>
                  <a:lnTo>
                    <a:pt x="94" y="414"/>
                  </a:lnTo>
                  <a:lnTo>
                    <a:pt x="94" y="408"/>
                  </a:lnTo>
                  <a:lnTo>
                    <a:pt x="92" y="402"/>
                  </a:lnTo>
                  <a:lnTo>
                    <a:pt x="94" y="396"/>
                  </a:lnTo>
                  <a:lnTo>
                    <a:pt x="94" y="390"/>
                  </a:lnTo>
                  <a:lnTo>
                    <a:pt x="96" y="384"/>
                  </a:lnTo>
                  <a:lnTo>
                    <a:pt x="98" y="380"/>
                  </a:lnTo>
                  <a:lnTo>
                    <a:pt x="100" y="374"/>
                  </a:lnTo>
                  <a:lnTo>
                    <a:pt x="100" y="366"/>
                  </a:lnTo>
                  <a:lnTo>
                    <a:pt x="98" y="362"/>
                  </a:lnTo>
                  <a:lnTo>
                    <a:pt x="98" y="354"/>
                  </a:lnTo>
                  <a:lnTo>
                    <a:pt x="98" y="350"/>
                  </a:lnTo>
                  <a:lnTo>
                    <a:pt x="98" y="344"/>
                  </a:lnTo>
                  <a:lnTo>
                    <a:pt x="92" y="338"/>
                  </a:lnTo>
                  <a:lnTo>
                    <a:pt x="92" y="332"/>
                  </a:lnTo>
                  <a:lnTo>
                    <a:pt x="88" y="326"/>
                  </a:lnTo>
                  <a:lnTo>
                    <a:pt x="92" y="320"/>
                  </a:lnTo>
                  <a:lnTo>
                    <a:pt x="98" y="316"/>
                  </a:lnTo>
                  <a:lnTo>
                    <a:pt x="104" y="312"/>
                  </a:lnTo>
                  <a:lnTo>
                    <a:pt x="108" y="308"/>
                  </a:lnTo>
                  <a:lnTo>
                    <a:pt x="114" y="302"/>
                  </a:lnTo>
                  <a:lnTo>
                    <a:pt x="118" y="300"/>
                  </a:lnTo>
                  <a:lnTo>
                    <a:pt x="124" y="298"/>
                  </a:lnTo>
                  <a:lnTo>
                    <a:pt x="130" y="300"/>
                  </a:lnTo>
                  <a:lnTo>
                    <a:pt x="136" y="302"/>
                  </a:lnTo>
                  <a:lnTo>
                    <a:pt x="140" y="308"/>
                  </a:lnTo>
                  <a:lnTo>
                    <a:pt x="138" y="314"/>
                  </a:lnTo>
                  <a:lnTo>
                    <a:pt x="142" y="320"/>
                  </a:lnTo>
                  <a:lnTo>
                    <a:pt x="140" y="322"/>
                  </a:lnTo>
                  <a:lnTo>
                    <a:pt x="138" y="328"/>
                  </a:lnTo>
                  <a:lnTo>
                    <a:pt x="140" y="334"/>
                  </a:lnTo>
                  <a:lnTo>
                    <a:pt x="140" y="340"/>
                  </a:lnTo>
                  <a:lnTo>
                    <a:pt x="134" y="346"/>
                  </a:lnTo>
                  <a:lnTo>
                    <a:pt x="130" y="350"/>
                  </a:lnTo>
                  <a:lnTo>
                    <a:pt x="126" y="356"/>
                  </a:lnTo>
                  <a:lnTo>
                    <a:pt x="128" y="362"/>
                  </a:lnTo>
                  <a:lnTo>
                    <a:pt x="134" y="368"/>
                  </a:lnTo>
                  <a:lnTo>
                    <a:pt x="138" y="374"/>
                  </a:lnTo>
                  <a:lnTo>
                    <a:pt x="142" y="380"/>
                  </a:lnTo>
                  <a:lnTo>
                    <a:pt x="148" y="382"/>
                  </a:lnTo>
                  <a:lnTo>
                    <a:pt x="152" y="388"/>
                  </a:lnTo>
                  <a:lnTo>
                    <a:pt x="158" y="394"/>
                  </a:lnTo>
                  <a:lnTo>
                    <a:pt x="164" y="396"/>
                  </a:lnTo>
                  <a:lnTo>
                    <a:pt x="170" y="398"/>
                  </a:lnTo>
                  <a:lnTo>
                    <a:pt x="170" y="400"/>
                  </a:lnTo>
                  <a:lnTo>
                    <a:pt x="170" y="406"/>
                  </a:lnTo>
                  <a:lnTo>
                    <a:pt x="164" y="412"/>
                  </a:lnTo>
                  <a:lnTo>
                    <a:pt x="164" y="418"/>
                  </a:lnTo>
                  <a:lnTo>
                    <a:pt x="164" y="424"/>
                  </a:lnTo>
                  <a:lnTo>
                    <a:pt x="162" y="430"/>
                  </a:lnTo>
                  <a:lnTo>
                    <a:pt x="160" y="436"/>
                  </a:lnTo>
                  <a:lnTo>
                    <a:pt x="162" y="442"/>
                  </a:lnTo>
                  <a:lnTo>
                    <a:pt x="168" y="448"/>
                  </a:lnTo>
                  <a:lnTo>
                    <a:pt x="174" y="452"/>
                  </a:lnTo>
                  <a:lnTo>
                    <a:pt x="180" y="452"/>
                  </a:lnTo>
                  <a:lnTo>
                    <a:pt x="186" y="454"/>
                  </a:lnTo>
                  <a:lnTo>
                    <a:pt x="192" y="454"/>
                  </a:lnTo>
                  <a:lnTo>
                    <a:pt x="198" y="450"/>
                  </a:lnTo>
                  <a:lnTo>
                    <a:pt x="194" y="444"/>
                  </a:lnTo>
                  <a:lnTo>
                    <a:pt x="196" y="438"/>
                  </a:lnTo>
                  <a:lnTo>
                    <a:pt x="198" y="432"/>
                  </a:lnTo>
                  <a:lnTo>
                    <a:pt x="204" y="428"/>
                  </a:lnTo>
                  <a:lnTo>
                    <a:pt x="210" y="426"/>
                  </a:lnTo>
                  <a:lnTo>
                    <a:pt x="216" y="426"/>
                  </a:lnTo>
                  <a:lnTo>
                    <a:pt x="222" y="426"/>
                  </a:lnTo>
                  <a:lnTo>
                    <a:pt x="228" y="422"/>
                  </a:lnTo>
                  <a:lnTo>
                    <a:pt x="234" y="428"/>
                  </a:lnTo>
                  <a:lnTo>
                    <a:pt x="240" y="426"/>
                  </a:lnTo>
                  <a:lnTo>
                    <a:pt x="238" y="424"/>
                  </a:lnTo>
                  <a:lnTo>
                    <a:pt x="236" y="418"/>
                  </a:lnTo>
                  <a:lnTo>
                    <a:pt x="242" y="424"/>
                  </a:lnTo>
                  <a:lnTo>
                    <a:pt x="248" y="420"/>
                  </a:lnTo>
                  <a:lnTo>
                    <a:pt x="248" y="414"/>
                  </a:lnTo>
                  <a:lnTo>
                    <a:pt x="248" y="408"/>
                  </a:lnTo>
                  <a:lnTo>
                    <a:pt x="248" y="402"/>
                  </a:lnTo>
                  <a:lnTo>
                    <a:pt x="242" y="398"/>
                  </a:lnTo>
                  <a:lnTo>
                    <a:pt x="240" y="404"/>
                  </a:lnTo>
                  <a:lnTo>
                    <a:pt x="234" y="400"/>
                  </a:lnTo>
                  <a:lnTo>
                    <a:pt x="234" y="394"/>
                  </a:lnTo>
                  <a:lnTo>
                    <a:pt x="228" y="392"/>
                  </a:lnTo>
                  <a:lnTo>
                    <a:pt x="232" y="386"/>
                  </a:lnTo>
                  <a:lnTo>
                    <a:pt x="226" y="384"/>
                  </a:lnTo>
                  <a:lnTo>
                    <a:pt x="226" y="382"/>
                  </a:lnTo>
                  <a:lnTo>
                    <a:pt x="220" y="376"/>
                  </a:lnTo>
                  <a:lnTo>
                    <a:pt x="214" y="374"/>
                  </a:lnTo>
                  <a:lnTo>
                    <a:pt x="208" y="368"/>
                  </a:lnTo>
                  <a:lnTo>
                    <a:pt x="212" y="362"/>
                  </a:lnTo>
                  <a:lnTo>
                    <a:pt x="214" y="358"/>
                  </a:lnTo>
                  <a:lnTo>
                    <a:pt x="210" y="352"/>
                  </a:lnTo>
                  <a:lnTo>
                    <a:pt x="216" y="354"/>
                  </a:lnTo>
                  <a:lnTo>
                    <a:pt x="220" y="354"/>
                  </a:lnTo>
                  <a:lnTo>
                    <a:pt x="214" y="348"/>
                  </a:lnTo>
                  <a:lnTo>
                    <a:pt x="218" y="342"/>
                  </a:lnTo>
                  <a:lnTo>
                    <a:pt x="222" y="340"/>
                  </a:lnTo>
                  <a:lnTo>
                    <a:pt x="220" y="334"/>
                  </a:lnTo>
                  <a:lnTo>
                    <a:pt x="214" y="328"/>
                  </a:lnTo>
                  <a:lnTo>
                    <a:pt x="214" y="322"/>
                  </a:lnTo>
                  <a:lnTo>
                    <a:pt x="212" y="316"/>
                  </a:lnTo>
                  <a:lnTo>
                    <a:pt x="206" y="312"/>
                  </a:lnTo>
                  <a:lnTo>
                    <a:pt x="202" y="308"/>
                  </a:lnTo>
                  <a:lnTo>
                    <a:pt x="198" y="302"/>
                  </a:lnTo>
                  <a:lnTo>
                    <a:pt x="198" y="296"/>
                  </a:lnTo>
                  <a:lnTo>
                    <a:pt x="194" y="290"/>
                  </a:lnTo>
                  <a:lnTo>
                    <a:pt x="190" y="284"/>
                  </a:lnTo>
                  <a:lnTo>
                    <a:pt x="188" y="278"/>
                  </a:lnTo>
                  <a:lnTo>
                    <a:pt x="184" y="272"/>
                  </a:lnTo>
                  <a:lnTo>
                    <a:pt x="178" y="268"/>
                  </a:lnTo>
                  <a:lnTo>
                    <a:pt x="172" y="266"/>
                  </a:lnTo>
                  <a:lnTo>
                    <a:pt x="170" y="260"/>
                  </a:lnTo>
                  <a:lnTo>
                    <a:pt x="164" y="254"/>
                  </a:lnTo>
                  <a:lnTo>
                    <a:pt x="158" y="256"/>
                  </a:lnTo>
                  <a:lnTo>
                    <a:pt x="158" y="252"/>
                  </a:lnTo>
                  <a:lnTo>
                    <a:pt x="160" y="248"/>
                  </a:lnTo>
                  <a:lnTo>
                    <a:pt x="160" y="240"/>
                  </a:lnTo>
                  <a:lnTo>
                    <a:pt x="164" y="246"/>
                  </a:lnTo>
                  <a:lnTo>
                    <a:pt x="170" y="252"/>
                  </a:lnTo>
                  <a:lnTo>
                    <a:pt x="176" y="252"/>
                  </a:lnTo>
                  <a:lnTo>
                    <a:pt x="182" y="248"/>
                  </a:lnTo>
                  <a:lnTo>
                    <a:pt x="184" y="242"/>
                  </a:lnTo>
                  <a:lnTo>
                    <a:pt x="188" y="236"/>
                  </a:lnTo>
                  <a:lnTo>
                    <a:pt x="194" y="234"/>
                  </a:lnTo>
                  <a:lnTo>
                    <a:pt x="202" y="230"/>
                  </a:lnTo>
                  <a:lnTo>
                    <a:pt x="206" y="228"/>
                  </a:lnTo>
                  <a:lnTo>
                    <a:pt x="212" y="228"/>
                  </a:lnTo>
                  <a:lnTo>
                    <a:pt x="218" y="222"/>
                  </a:lnTo>
                  <a:lnTo>
                    <a:pt x="224" y="218"/>
                  </a:lnTo>
                  <a:lnTo>
                    <a:pt x="230" y="212"/>
                  </a:lnTo>
                  <a:lnTo>
                    <a:pt x="234" y="206"/>
                  </a:lnTo>
                  <a:lnTo>
                    <a:pt x="240" y="200"/>
                  </a:lnTo>
                  <a:lnTo>
                    <a:pt x="240" y="198"/>
                  </a:lnTo>
                  <a:lnTo>
                    <a:pt x="244" y="192"/>
                  </a:lnTo>
                  <a:lnTo>
                    <a:pt x="248" y="186"/>
                  </a:lnTo>
                  <a:lnTo>
                    <a:pt x="252" y="180"/>
                  </a:lnTo>
                  <a:lnTo>
                    <a:pt x="258" y="180"/>
                  </a:lnTo>
                  <a:lnTo>
                    <a:pt x="264" y="180"/>
                  </a:lnTo>
                  <a:lnTo>
                    <a:pt x="270" y="178"/>
                  </a:lnTo>
                  <a:lnTo>
                    <a:pt x="272" y="184"/>
                  </a:lnTo>
                  <a:lnTo>
                    <a:pt x="278" y="190"/>
                  </a:lnTo>
                  <a:lnTo>
                    <a:pt x="284" y="186"/>
                  </a:lnTo>
                  <a:lnTo>
                    <a:pt x="286" y="180"/>
                  </a:lnTo>
                  <a:lnTo>
                    <a:pt x="288" y="176"/>
                  </a:lnTo>
                  <a:lnTo>
                    <a:pt x="288" y="168"/>
                  </a:lnTo>
                  <a:lnTo>
                    <a:pt x="286" y="164"/>
                  </a:lnTo>
                  <a:lnTo>
                    <a:pt x="280" y="158"/>
                  </a:lnTo>
                  <a:lnTo>
                    <a:pt x="274" y="156"/>
                  </a:lnTo>
                  <a:lnTo>
                    <a:pt x="268" y="156"/>
                  </a:lnTo>
                  <a:lnTo>
                    <a:pt x="262" y="160"/>
                  </a:lnTo>
                  <a:lnTo>
                    <a:pt x="256" y="160"/>
                  </a:lnTo>
                  <a:lnTo>
                    <a:pt x="252" y="160"/>
                  </a:lnTo>
                  <a:lnTo>
                    <a:pt x="244" y="164"/>
                  </a:lnTo>
                  <a:lnTo>
                    <a:pt x="250" y="166"/>
                  </a:lnTo>
                  <a:lnTo>
                    <a:pt x="256" y="170"/>
                  </a:lnTo>
                  <a:lnTo>
                    <a:pt x="252" y="172"/>
                  </a:lnTo>
                  <a:lnTo>
                    <a:pt x="246" y="172"/>
                  </a:lnTo>
                  <a:lnTo>
                    <a:pt x="240" y="170"/>
                  </a:lnTo>
                  <a:lnTo>
                    <a:pt x="234" y="172"/>
                  </a:lnTo>
                  <a:lnTo>
                    <a:pt x="228" y="170"/>
                  </a:lnTo>
                  <a:lnTo>
                    <a:pt x="222" y="170"/>
                  </a:lnTo>
                  <a:lnTo>
                    <a:pt x="216" y="170"/>
                  </a:lnTo>
                  <a:lnTo>
                    <a:pt x="210" y="174"/>
                  </a:lnTo>
                  <a:lnTo>
                    <a:pt x="208" y="180"/>
                  </a:lnTo>
                  <a:lnTo>
                    <a:pt x="202" y="182"/>
                  </a:lnTo>
                  <a:lnTo>
                    <a:pt x="198" y="184"/>
                  </a:lnTo>
                  <a:lnTo>
                    <a:pt x="192" y="184"/>
                  </a:lnTo>
                  <a:lnTo>
                    <a:pt x="186" y="184"/>
                  </a:lnTo>
                  <a:lnTo>
                    <a:pt x="180" y="180"/>
                  </a:lnTo>
                  <a:lnTo>
                    <a:pt x="178" y="174"/>
                  </a:lnTo>
                  <a:lnTo>
                    <a:pt x="172" y="176"/>
                  </a:lnTo>
                  <a:lnTo>
                    <a:pt x="166" y="180"/>
                  </a:lnTo>
                  <a:lnTo>
                    <a:pt x="164" y="186"/>
                  </a:lnTo>
                  <a:lnTo>
                    <a:pt x="164" y="188"/>
                  </a:lnTo>
                  <a:lnTo>
                    <a:pt x="158" y="192"/>
                  </a:lnTo>
                  <a:lnTo>
                    <a:pt x="154" y="198"/>
                  </a:lnTo>
                  <a:lnTo>
                    <a:pt x="150" y="204"/>
                  </a:lnTo>
                  <a:lnTo>
                    <a:pt x="148" y="210"/>
                  </a:lnTo>
                  <a:lnTo>
                    <a:pt x="142" y="216"/>
                  </a:lnTo>
                  <a:lnTo>
                    <a:pt x="140" y="216"/>
                  </a:lnTo>
                  <a:lnTo>
                    <a:pt x="134" y="214"/>
                  </a:lnTo>
                  <a:lnTo>
                    <a:pt x="128" y="214"/>
                  </a:lnTo>
                  <a:lnTo>
                    <a:pt x="122" y="212"/>
                  </a:lnTo>
                  <a:lnTo>
                    <a:pt x="116" y="210"/>
                  </a:lnTo>
                  <a:lnTo>
                    <a:pt x="112" y="204"/>
                  </a:lnTo>
                  <a:lnTo>
                    <a:pt x="112" y="198"/>
                  </a:lnTo>
                  <a:lnTo>
                    <a:pt x="112" y="192"/>
                  </a:lnTo>
                  <a:lnTo>
                    <a:pt x="108" y="186"/>
                  </a:lnTo>
                  <a:lnTo>
                    <a:pt x="102" y="180"/>
                  </a:lnTo>
                  <a:lnTo>
                    <a:pt x="96" y="182"/>
                  </a:lnTo>
                  <a:lnTo>
                    <a:pt x="92" y="176"/>
                  </a:lnTo>
                  <a:lnTo>
                    <a:pt x="88" y="170"/>
                  </a:lnTo>
                  <a:lnTo>
                    <a:pt x="84" y="164"/>
                  </a:lnTo>
                  <a:lnTo>
                    <a:pt x="82" y="158"/>
                  </a:lnTo>
                  <a:lnTo>
                    <a:pt x="82" y="152"/>
                  </a:lnTo>
                  <a:lnTo>
                    <a:pt x="82" y="146"/>
                  </a:lnTo>
                  <a:lnTo>
                    <a:pt x="78" y="142"/>
                  </a:lnTo>
                  <a:lnTo>
                    <a:pt x="78" y="134"/>
                  </a:lnTo>
                  <a:lnTo>
                    <a:pt x="78" y="132"/>
                  </a:lnTo>
                  <a:lnTo>
                    <a:pt x="78" y="130"/>
                  </a:lnTo>
                  <a:lnTo>
                    <a:pt x="80" y="124"/>
                  </a:lnTo>
                  <a:lnTo>
                    <a:pt x="82" y="118"/>
                  </a:lnTo>
                  <a:lnTo>
                    <a:pt x="84" y="112"/>
                  </a:lnTo>
                  <a:lnTo>
                    <a:pt x="86" y="106"/>
                  </a:lnTo>
                  <a:lnTo>
                    <a:pt x="90" y="100"/>
                  </a:lnTo>
                  <a:lnTo>
                    <a:pt x="92" y="94"/>
                  </a:lnTo>
                  <a:lnTo>
                    <a:pt x="98" y="88"/>
                  </a:lnTo>
                  <a:lnTo>
                    <a:pt x="104" y="84"/>
                  </a:lnTo>
                  <a:lnTo>
                    <a:pt x="110" y="82"/>
                  </a:lnTo>
                  <a:lnTo>
                    <a:pt x="116" y="80"/>
                  </a:lnTo>
                  <a:lnTo>
                    <a:pt x="122" y="82"/>
                  </a:lnTo>
                  <a:lnTo>
                    <a:pt x="128" y="86"/>
                  </a:lnTo>
                  <a:lnTo>
                    <a:pt x="134" y="88"/>
                  </a:lnTo>
                  <a:lnTo>
                    <a:pt x="138" y="86"/>
                  </a:lnTo>
                  <a:lnTo>
                    <a:pt x="146" y="90"/>
                  </a:lnTo>
                  <a:lnTo>
                    <a:pt x="150" y="86"/>
                  </a:lnTo>
                  <a:lnTo>
                    <a:pt x="156" y="84"/>
                  </a:lnTo>
                  <a:lnTo>
                    <a:pt x="160" y="86"/>
                  </a:lnTo>
                  <a:lnTo>
                    <a:pt x="166" y="86"/>
                  </a:lnTo>
                  <a:lnTo>
                    <a:pt x="172" y="80"/>
                  </a:lnTo>
                  <a:lnTo>
                    <a:pt x="176" y="82"/>
                  </a:lnTo>
                  <a:lnTo>
                    <a:pt x="184" y="82"/>
                  </a:lnTo>
                  <a:lnTo>
                    <a:pt x="188" y="88"/>
                  </a:lnTo>
                  <a:lnTo>
                    <a:pt x="192" y="88"/>
                  </a:lnTo>
                  <a:lnTo>
                    <a:pt x="198" y="86"/>
                  </a:lnTo>
                  <a:lnTo>
                    <a:pt x="206" y="84"/>
                  </a:lnTo>
                  <a:lnTo>
                    <a:pt x="210" y="86"/>
                  </a:lnTo>
                  <a:lnTo>
                    <a:pt x="216" y="84"/>
                  </a:lnTo>
                  <a:lnTo>
                    <a:pt x="222" y="84"/>
                  </a:lnTo>
                  <a:lnTo>
                    <a:pt x="228" y="84"/>
                  </a:lnTo>
                  <a:lnTo>
                    <a:pt x="234" y="84"/>
                  </a:lnTo>
                  <a:lnTo>
                    <a:pt x="240" y="82"/>
                  </a:lnTo>
                  <a:lnTo>
                    <a:pt x="246" y="84"/>
                  </a:lnTo>
                  <a:lnTo>
                    <a:pt x="252" y="84"/>
                  </a:lnTo>
                  <a:lnTo>
                    <a:pt x="258" y="84"/>
                  </a:lnTo>
                  <a:lnTo>
                    <a:pt x="264" y="84"/>
                  </a:lnTo>
                  <a:lnTo>
                    <a:pt x="270" y="86"/>
                  </a:lnTo>
                  <a:lnTo>
                    <a:pt x="274" y="94"/>
                  </a:lnTo>
                  <a:lnTo>
                    <a:pt x="280" y="96"/>
                  </a:lnTo>
                  <a:lnTo>
                    <a:pt x="286" y="98"/>
                  </a:lnTo>
                  <a:lnTo>
                    <a:pt x="292" y="96"/>
                  </a:lnTo>
                  <a:lnTo>
                    <a:pt x="298" y="98"/>
                  </a:lnTo>
                  <a:lnTo>
                    <a:pt x="304" y="98"/>
                  </a:lnTo>
                  <a:lnTo>
                    <a:pt x="310" y="98"/>
                  </a:lnTo>
                  <a:lnTo>
                    <a:pt x="316" y="96"/>
                  </a:lnTo>
                  <a:lnTo>
                    <a:pt x="322" y="94"/>
                  </a:lnTo>
                  <a:lnTo>
                    <a:pt x="328" y="94"/>
                  </a:lnTo>
                  <a:lnTo>
                    <a:pt x="332" y="92"/>
                  </a:lnTo>
                  <a:lnTo>
                    <a:pt x="340" y="92"/>
                  </a:lnTo>
                  <a:lnTo>
                    <a:pt x="342" y="90"/>
                  </a:lnTo>
                  <a:lnTo>
                    <a:pt x="348" y="86"/>
                  </a:lnTo>
                  <a:lnTo>
                    <a:pt x="354" y="82"/>
                  </a:lnTo>
                  <a:lnTo>
                    <a:pt x="358" y="76"/>
                  </a:lnTo>
                  <a:lnTo>
                    <a:pt x="358" y="70"/>
                  </a:lnTo>
                  <a:lnTo>
                    <a:pt x="362" y="64"/>
                  </a:lnTo>
                  <a:lnTo>
                    <a:pt x="366" y="58"/>
                  </a:lnTo>
                  <a:lnTo>
                    <a:pt x="372" y="52"/>
                  </a:lnTo>
                  <a:lnTo>
                    <a:pt x="378" y="48"/>
                  </a:lnTo>
                  <a:lnTo>
                    <a:pt x="382" y="42"/>
                  </a:lnTo>
                  <a:lnTo>
                    <a:pt x="384" y="36"/>
                  </a:lnTo>
                  <a:lnTo>
                    <a:pt x="388" y="30"/>
                  </a:lnTo>
                  <a:lnTo>
                    <a:pt x="388" y="24"/>
                  </a:lnTo>
                  <a:lnTo>
                    <a:pt x="392" y="20"/>
                  </a:lnTo>
                  <a:lnTo>
                    <a:pt x="398" y="14"/>
                  </a:lnTo>
                  <a:lnTo>
                    <a:pt x="392" y="8"/>
                  </a:lnTo>
                  <a:lnTo>
                    <a:pt x="392" y="2"/>
                  </a:lnTo>
                  <a:lnTo>
                    <a:pt x="388" y="2"/>
                  </a:lnTo>
                  <a:lnTo>
                    <a:pt x="380" y="0"/>
                  </a:lnTo>
                  <a:lnTo>
                    <a:pt x="376" y="6"/>
                  </a:lnTo>
                  <a:lnTo>
                    <a:pt x="372" y="10"/>
                  </a:lnTo>
                  <a:lnTo>
                    <a:pt x="368" y="18"/>
                  </a:lnTo>
                  <a:lnTo>
                    <a:pt x="362" y="20"/>
                  </a:lnTo>
                  <a:lnTo>
                    <a:pt x="358" y="22"/>
                  </a:lnTo>
                  <a:lnTo>
                    <a:pt x="354" y="28"/>
                  </a:lnTo>
                  <a:lnTo>
                    <a:pt x="354" y="34"/>
                  </a:lnTo>
                  <a:lnTo>
                    <a:pt x="350" y="36"/>
                  </a:lnTo>
                  <a:lnTo>
                    <a:pt x="344" y="40"/>
                  </a:lnTo>
                  <a:lnTo>
                    <a:pt x="342" y="46"/>
                  </a:lnTo>
                  <a:lnTo>
                    <a:pt x="336" y="48"/>
                  </a:lnTo>
                  <a:lnTo>
                    <a:pt x="330" y="52"/>
                  </a:lnTo>
                  <a:lnTo>
                    <a:pt x="324" y="56"/>
                  </a:lnTo>
                  <a:lnTo>
                    <a:pt x="318" y="60"/>
                  </a:lnTo>
                  <a:lnTo>
                    <a:pt x="312" y="60"/>
                  </a:lnTo>
                  <a:lnTo>
                    <a:pt x="306" y="58"/>
                  </a:lnTo>
                  <a:lnTo>
                    <a:pt x="300" y="58"/>
                  </a:lnTo>
                  <a:lnTo>
                    <a:pt x="294" y="58"/>
                  </a:lnTo>
                  <a:lnTo>
                    <a:pt x="288" y="56"/>
                  </a:lnTo>
                  <a:lnTo>
                    <a:pt x="282" y="54"/>
                  </a:lnTo>
                  <a:lnTo>
                    <a:pt x="276" y="52"/>
                  </a:lnTo>
                  <a:lnTo>
                    <a:pt x="270" y="52"/>
                  </a:lnTo>
                  <a:lnTo>
                    <a:pt x="264" y="52"/>
                  </a:lnTo>
                  <a:lnTo>
                    <a:pt x="258" y="54"/>
                  </a:lnTo>
                  <a:lnTo>
                    <a:pt x="252" y="60"/>
                  </a:lnTo>
                  <a:lnTo>
                    <a:pt x="248" y="58"/>
                  </a:lnTo>
                  <a:lnTo>
                    <a:pt x="240" y="54"/>
                  </a:lnTo>
                  <a:lnTo>
                    <a:pt x="236" y="52"/>
                  </a:lnTo>
                  <a:lnTo>
                    <a:pt x="230" y="50"/>
                  </a:lnTo>
                  <a:lnTo>
                    <a:pt x="224" y="48"/>
                  </a:lnTo>
                  <a:lnTo>
                    <a:pt x="218" y="48"/>
                  </a:lnTo>
                  <a:lnTo>
                    <a:pt x="212" y="48"/>
                  </a:lnTo>
                  <a:lnTo>
                    <a:pt x="206" y="44"/>
                  </a:lnTo>
                  <a:lnTo>
                    <a:pt x="200" y="48"/>
                  </a:lnTo>
                  <a:lnTo>
                    <a:pt x="194" y="42"/>
                  </a:lnTo>
                  <a:lnTo>
                    <a:pt x="188" y="44"/>
                  </a:lnTo>
                  <a:lnTo>
                    <a:pt x="182" y="44"/>
                  </a:lnTo>
                  <a:lnTo>
                    <a:pt x="176" y="44"/>
                  </a:lnTo>
                  <a:lnTo>
                    <a:pt x="170" y="42"/>
                  </a:lnTo>
                  <a:lnTo>
                    <a:pt x="166" y="36"/>
                  </a:lnTo>
                  <a:lnTo>
                    <a:pt x="164" y="32"/>
                  </a:lnTo>
                  <a:lnTo>
                    <a:pt x="158" y="32"/>
                  </a:lnTo>
                  <a:lnTo>
                    <a:pt x="150" y="30"/>
                  </a:lnTo>
                  <a:lnTo>
                    <a:pt x="146" y="26"/>
                  </a:lnTo>
                  <a:lnTo>
                    <a:pt x="140" y="26"/>
                  </a:lnTo>
                  <a:lnTo>
                    <a:pt x="134" y="28"/>
                  </a:lnTo>
                  <a:lnTo>
                    <a:pt x="128" y="28"/>
                  </a:lnTo>
                  <a:lnTo>
                    <a:pt x="128" y="36"/>
                  </a:lnTo>
                  <a:lnTo>
                    <a:pt x="126" y="40"/>
                  </a:lnTo>
                  <a:lnTo>
                    <a:pt x="124" y="46"/>
                  </a:lnTo>
                  <a:lnTo>
                    <a:pt x="118" y="50"/>
                  </a:lnTo>
                  <a:lnTo>
                    <a:pt x="116" y="56"/>
                  </a:lnTo>
                  <a:lnTo>
                    <a:pt x="110" y="62"/>
                  </a:lnTo>
                  <a:lnTo>
                    <a:pt x="104" y="62"/>
                  </a:lnTo>
                  <a:lnTo>
                    <a:pt x="98" y="56"/>
                  </a:lnTo>
                  <a:lnTo>
                    <a:pt x="94" y="50"/>
                  </a:lnTo>
                  <a:lnTo>
                    <a:pt x="92" y="56"/>
                  </a:lnTo>
                  <a:lnTo>
                    <a:pt x="92" y="62"/>
                  </a:lnTo>
                  <a:lnTo>
                    <a:pt x="86" y="66"/>
                  </a:lnTo>
                  <a:lnTo>
                    <a:pt x="78" y="72"/>
                  </a:lnTo>
                  <a:lnTo>
                    <a:pt x="80" y="78"/>
                  </a:lnTo>
                  <a:lnTo>
                    <a:pt x="78" y="84"/>
                  </a:lnTo>
                  <a:lnTo>
                    <a:pt x="72" y="88"/>
                  </a:lnTo>
                  <a:lnTo>
                    <a:pt x="68" y="94"/>
                  </a:lnTo>
                  <a:lnTo>
                    <a:pt x="68" y="100"/>
                  </a:lnTo>
                  <a:lnTo>
                    <a:pt x="66" y="106"/>
                  </a:lnTo>
                  <a:lnTo>
                    <a:pt x="70" y="112"/>
                  </a:lnTo>
                  <a:lnTo>
                    <a:pt x="70" y="118"/>
                  </a:lnTo>
                  <a:lnTo>
                    <a:pt x="64" y="124"/>
                  </a:lnTo>
                  <a:lnTo>
                    <a:pt x="60" y="118"/>
                  </a:lnTo>
                  <a:lnTo>
                    <a:pt x="58" y="118"/>
                  </a:lnTo>
                  <a:lnTo>
                    <a:pt x="56" y="118"/>
                  </a:lnTo>
                  <a:lnTo>
                    <a:pt x="54" y="118"/>
                  </a:lnTo>
                  <a:lnTo>
                    <a:pt x="56" y="120"/>
                  </a:lnTo>
                  <a:lnTo>
                    <a:pt x="60" y="126"/>
                  </a:lnTo>
                  <a:lnTo>
                    <a:pt x="66" y="130"/>
                  </a:lnTo>
                  <a:lnTo>
                    <a:pt x="64" y="138"/>
                  </a:lnTo>
                  <a:lnTo>
                    <a:pt x="62" y="142"/>
                  </a:lnTo>
                  <a:lnTo>
                    <a:pt x="62" y="150"/>
                  </a:lnTo>
                  <a:lnTo>
                    <a:pt x="64" y="154"/>
                  </a:lnTo>
                  <a:lnTo>
                    <a:pt x="66" y="160"/>
                  </a:lnTo>
                  <a:lnTo>
                    <a:pt x="68" y="166"/>
                  </a:lnTo>
                  <a:lnTo>
                    <a:pt x="70" y="172"/>
                  </a:lnTo>
                  <a:lnTo>
                    <a:pt x="68" y="178"/>
                  </a:lnTo>
                  <a:lnTo>
                    <a:pt x="66" y="176"/>
                  </a:lnTo>
                  <a:lnTo>
                    <a:pt x="64" y="170"/>
                  </a:lnTo>
                  <a:lnTo>
                    <a:pt x="60" y="164"/>
                  </a:lnTo>
                  <a:lnTo>
                    <a:pt x="58" y="170"/>
                  </a:lnTo>
                  <a:lnTo>
                    <a:pt x="52" y="176"/>
                  </a:lnTo>
                  <a:lnTo>
                    <a:pt x="50" y="176"/>
                  </a:lnTo>
                  <a:lnTo>
                    <a:pt x="48" y="182"/>
                  </a:lnTo>
                  <a:lnTo>
                    <a:pt x="46" y="188"/>
                  </a:lnTo>
                  <a:lnTo>
                    <a:pt x="44" y="194"/>
                  </a:lnTo>
                  <a:lnTo>
                    <a:pt x="38" y="200"/>
                  </a:lnTo>
                  <a:lnTo>
                    <a:pt x="36" y="206"/>
                  </a:lnTo>
                  <a:lnTo>
                    <a:pt x="36" y="212"/>
                  </a:lnTo>
                  <a:lnTo>
                    <a:pt x="34" y="218"/>
                  </a:lnTo>
                  <a:lnTo>
                    <a:pt x="36" y="224"/>
                  </a:lnTo>
                  <a:lnTo>
                    <a:pt x="36" y="230"/>
                  </a:lnTo>
                  <a:lnTo>
                    <a:pt x="34" y="236"/>
                  </a:lnTo>
                  <a:lnTo>
                    <a:pt x="36" y="242"/>
                  </a:lnTo>
                  <a:lnTo>
                    <a:pt x="38" y="248"/>
                  </a:lnTo>
                  <a:lnTo>
                    <a:pt x="34" y="254"/>
                  </a:lnTo>
                  <a:lnTo>
                    <a:pt x="28" y="258"/>
                  </a:lnTo>
                  <a:lnTo>
                    <a:pt x="26" y="264"/>
                  </a:lnTo>
                  <a:lnTo>
                    <a:pt x="24" y="270"/>
                  </a:lnTo>
                  <a:lnTo>
                    <a:pt x="24" y="276"/>
                  </a:lnTo>
                  <a:lnTo>
                    <a:pt x="24" y="282"/>
                  </a:lnTo>
                  <a:lnTo>
                    <a:pt x="22" y="288"/>
                  </a:lnTo>
                  <a:lnTo>
                    <a:pt x="16" y="292"/>
                  </a:lnTo>
                  <a:lnTo>
                    <a:pt x="12" y="298"/>
                  </a:lnTo>
                  <a:lnTo>
                    <a:pt x="6" y="302"/>
                  </a:lnTo>
                  <a:lnTo>
                    <a:pt x="0" y="302"/>
                  </a:lnTo>
                  <a:lnTo>
                    <a:pt x="0" y="310"/>
                  </a:lnTo>
                  <a:lnTo>
                    <a:pt x="2" y="316"/>
                  </a:lnTo>
                  <a:lnTo>
                    <a:pt x="6" y="318"/>
                  </a:lnTo>
                  <a:lnTo>
                    <a:pt x="4" y="324"/>
                  </a:lnTo>
                  <a:lnTo>
                    <a:pt x="0" y="330"/>
                  </a:lnTo>
                  <a:lnTo>
                    <a:pt x="0" y="336"/>
                  </a:lnTo>
                  <a:lnTo>
                    <a:pt x="2" y="342"/>
                  </a:lnTo>
                  <a:lnTo>
                    <a:pt x="4" y="348"/>
                  </a:lnTo>
                  <a:lnTo>
                    <a:pt x="4" y="354"/>
                  </a:lnTo>
                  <a:lnTo>
                    <a:pt x="6" y="360"/>
                  </a:lnTo>
                  <a:lnTo>
                    <a:pt x="8" y="366"/>
                  </a:lnTo>
                  <a:lnTo>
                    <a:pt x="14" y="362"/>
                  </a:lnTo>
                  <a:lnTo>
                    <a:pt x="20" y="360"/>
                  </a:lnTo>
                  <a:lnTo>
                    <a:pt x="26" y="360"/>
                  </a:lnTo>
                  <a:lnTo>
                    <a:pt x="32" y="356"/>
                  </a:lnTo>
                  <a:lnTo>
                    <a:pt x="38" y="358"/>
                  </a:lnTo>
                  <a:lnTo>
                    <a:pt x="44" y="362"/>
                  </a:lnTo>
                  <a:lnTo>
                    <a:pt x="42" y="368"/>
                  </a:lnTo>
                  <a:lnTo>
                    <a:pt x="40" y="374"/>
                  </a:lnTo>
                  <a:lnTo>
                    <a:pt x="40" y="376"/>
                  </a:lnTo>
                  <a:lnTo>
                    <a:pt x="42" y="382"/>
                  </a:lnTo>
                  <a:lnTo>
                    <a:pt x="44" y="388"/>
                  </a:lnTo>
                  <a:lnTo>
                    <a:pt x="50" y="394"/>
                  </a:lnTo>
                  <a:lnTo>
                    <a:pt x="48" y="400"/>
                  </a:lnTo>
                  <a:lnTo>
                    <a:pt x="48" y="406"/>
                  </a:lnTo>
                  <a:lnTo>
                    <a:pt x="46" y="412"/>
                  </a:lnTo>
                  <a:lnTo>
                    <a:pt x="48" y="418"/>
                  </a:lnTo>
                  <a:lnTo>
                    <a:pt x="46" y="424"/>
                  </a:lnTo>
                  <a:lnTo>
                    <a:pt x="46" y="430"/>
                  </a:lnTo>
                  <a:lnTo>
                    <a:pt x="44" y="436"/>
                  </a:lnTo>
                  <a:lnTo>
                    <a:pt x="42" y="442"/>
                  </a:lnTo>
                  <a:lnTo>
                    <a:pt x="38" y="448"/>
                  </a:lnTo>
                  <a:lnTo>
                    <a:pt x="40" y="454"/>
                  </a:lnTo>
                  <a:lnTo>
                    <a:pt x="40" y="460"/>
                  </a:lnTo>
                  <a:lnTo>
                    <a:pt x="36" y="464"/>
                  </a:lnTo>
                  <a:lnTo>
                    <a:pt x="34" y="470"/>
                  </a:lnTo>
                  <a:lnTo>
                    <a:pt x="30" y="47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7" name="Freeform 164"/>
            <p:cNvSpPr>
              <a:spLocks/>
            </p:cNvSpPr>
            <p:nvPr/>
          </p:nvSpPr>
          <p:spPr bwMode="auto">
            <a:xfrm>
              <a:off x="7204075" y="4475163"/>
              <a:ext cx="79375" cy="25400"/>
            </a:xfrm>
            <a:custGeom>
              <a:avLst/>
              <a:gdLst>
                <a:gd name="T0" fmla="*/ 2147483647 w 198"/>
                <a:gd name="T1" fmla="*/ 2147483647 h 60"/>
                <a:gd name="T2" fmla="*/ 2147483647 w 198"/>
                <a:gd name="T3" fmla="*/ 2147483647 h 60"/>
                <a:gd name="T4" fmla="*/ 2147483647 w 198"/>
                <a:gd name="T5" fmla="*/ 2147483647 h 60"/>
                <a:gd name="T6" fmla="*/ 2147483647 w 198"/>
                <a:gd name="T7" fmla="*/ 2147483647 h 60"/>
                <a:gd name="T8" fmla="*/ 2147483647 w 198"/>
                <a:gd name="T9" fmla="*/ 2147483647 h 60"/>
                <a:gd name="T10" fmla="*/ 2147483647 w 198"/>
                <a:gd name="T11" fmla="*/ 2147483647 h 60"/>
                <a:gd name="T12" fmla="*/ 2147483647 w 198"/>
                <a:gd name="T13" fmla="*/ 2147483647 h 60"/>
                <a:gd name="T14" fmla="*/ 2147483647 w 198"/>
                <a:gd name="T15" fmla="*/ 2147483647 h 60"/>
                <a:gd name="T16" fmla="*/ 2147483647 w 198"/>
                <a:gd name="T17" fmla="*/ 2147483647 h 60"/>
                <a:gd name="T18" fmla="*/ 2147483647 w 198"/>
                <a:gd name="T19" fmla="*/ 2147483647 h 60"/>
                <a:gd name="T20" fmla="*/ 2147483647 w 198"/>
                <a:gd name="T21" fmla="*/ 2147483647 h 60"/>
                <a:gd name="T22" fmla="*/ 2147483647 w 198"/>
                <a:gd name="T23" fmla="*/ 2147483647 h 60"/>
                <a:gd name="T24" fmla="*/ 2147483647 w 198"/>
                <a:gd name="T25" fmla="*/ 2147483647 h 60"/>
                <a:gd name="T26" fmla="*/ 2147483647 w 198"/>
                <a:gd name="T27" fmla="*/ 2147483647 h 60"/>
                <a:gd name="T28" fmla="*/ 2147483647 w 198"/>
                <a:gd name="T29" fmla="*/ 2147483647 h 60"/>
                <a:gd name="T30" fmla="*/ 2147483647 w 198"/>
                <a:gd name="T31" fmla="*/ 2147483647 h 60"/>
                <a:gd name="T32" fmla="*/ 2147483647 w 198"/>
                <a:gd name="T33" fmla="*/ 2147483647 h 60"/>
                <a:gd name="T34" fmla="*/ 2147483647 w 198"/>
                <a:gd name="T35" fmla="*/ 2147483647 h 60"/>
                <a:gd name="T36" fmla="*/ 2147483647 w 198"/>
                <a:gd name="T37" fmla="*/ 2147483647 h 60"/>
                <a:gd name="T38" fmla="*/ 2147483647 w 198"/>
                <a:gd name="T39" fmla="*/ 2147483647 h 60"/>
                <a:gd name="T40" fmla="*/ 2147483647 w 198"/>
                <a:gd name="T41" fmla="*/ 2147483647 h 60"/>
                <a:gd name="T42" fmla="*/ 2147483647 w 198"/>
                <a:gd name="T43" fmla="*/ 2147483647 h 60"/>
                <a:gd name="T44" fmla="*/ 2147483647 w 198"/>
                <a:gd name="T45" fmla="*/ 2147483647 h 60"/>
                <a:gd name="T46" fmla="*/ 2147483647 w 198"/>
                <a:gd name="T47" fmla="*/ 2147483647 h 60"/>
                <a:gd name="T48" fmla="*/ 2147483647 w 198"/>
                <a:gd name="T49" fmla="*/ 2147483647 h 60"/>
                <a:gd name="T50" fmla="*/ 2147483647 w 198"/>
                <a:gd name="T51" fmla="*/ 2147483647 h 60"/>
                <a:gd name="T52" fmla="*/ 2147483647 w 198"/>
                <a:gd name="T53" fmla="*/ 2147483647 h 60"/>
                <a:gd name="T54" fmla="*/ 2147483647 w 198"/>
                <a:gd name="T55" fmla="*/ 2147483647 h 60"/>
                <a:gd name="T56" fmla="*/ 2147483647 w 198"/>
                <a:gd name="T57" fmla="*/ 2147483647 h 60"/>
                <a:gd name="T58" fmla="*/ 2147483647 w 198"/>
                <a:gd name="T59" fmla="*/ 2147483647 h 60"/>
                <a:gd name="T60" fmla="*/ 2147483647 w 198"/>
                <a:gd name="T61" fmla="*/ 2147483647 h 60"/>
                <a:gd name="T62" fmla="*/ 2147483647 w 198"/>
                <a:gd name="T63" fmla="*/ 2147483647 h 60"/>
                <a:gd name="T64" fmla="*/ 2147483647 w 198"/>
                <a:gd name="T65" fmla="*/ 2147483647 h 60"/>
                <a:gd name="T66" fmla="*/ 2147483647 w 198"/>
                <a:gd name="T67" fmla="*/ 2147483647 h 60"/>
                <a:gd name="T68" fmla="*/ 2147483647 w 198"/>
                <a:gd name="T69" fmla="*/ 2147483647 h 60"/>
                <a:gd name="T70" fmla="*/ 2147483647 w 198"/>
                <a:gd name="T71" fmla="*/ 2147483647 h 60"/>
                <a:gd name="T72" fmla="*/ 2147483647 w 198"/>
                <a:gd name="T73" fmla="*/ 2147483647 h 60"/>
                <a:gd name="T74" fmla="*/ 2147483647 w 198"/>
                <a:gd name="T75" fmla="*/ 2147483647 h 60"/>
                <a:gd name="T76" fmla="*/ 2147483647 w 198"/>
                <a:gd name="T77" fmla="*/ 2147483647 h 60"/>
                <a:gd name="T78" fmla="*/ 2147483647 w 198"/>
                <a:gd name="T79" fmla="*/ 2147483647 h 60"/>
                <a:gd name="T80" fmla="*/ 0 w 198"/>
                <a:gd name="T81" fmla="*/ 2147483647 h 60"/>
                <a:gd name="T82" fmla="*/ 2147483647 w 198"/>
                <a:gd name="T83" fmla="*/ 2147483647 h 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8"/>
                <a:gd name="T127" fmla="*/ 0 h 60"/>
                <a:gd name="T128" fmla="*/ 198 w 198"/>
                <a:gd name="T129" fmla="*/ 60 h 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8" h="60">
                  <a:moveTo>
                    <a:pt x="12" y="52"/>
                  </a:moveTo>
                  <a:lnTo>
                    <a:pt x="12" y="52"/>
                  </a:lnTo>
                  <a:lnTo>
                    <a:pt x="18" y="50"/>
                  </a:lnTo>
                  <a:lnTo>
                    <a:pt x="24" y="52"/>
                  </a:lnTo>
                  <a:lnTo>
                    <a:pt x="30" y="54"/>
                  </a:lnTo>
                  <a:lnTo>
                    <a:pt x="36" y="52"/>
                  </a:lnTo>
                  <a:lnTo>
                    <a:pt x="42" y="52"/>
                  </a:lnTo>
                  <a:lnTo>
                    <a:pt x="48" y="50"/>
                  </a:lnTo>
                  <a:lnTo>
                    <a:pt x="54" y="54"/>
                  </a:lnTo>
                  <a:lnTo>
                    <a:pt x="60" y="52"/>
                  </a:lnTo>
                  <a:lnTo>
                    <a:pt x="66" y="58"/>
                  </a:lnTo>
                  <a:lnTo>
                    <a:pt x="70" y="60"/>
                  </a:lnTo>
                  <a:lnTo>
                    <a:pt x="76" y="60"/>
                  </a:lnTo>
                  <a:lnTo>
                    <a:pt x="84" y="58"/>
                  </a:lnTo>
                  <a:lnTo>
                    <a:pt x="88" y="58"/>
                  </a:lnTo>
                  <a:lnTo>
                    <a:pt x="94" y="58"/>
                  </a:lnTo>
                  <a:lnTo>
                    <a:pt x="96" y="50"/>
                  </a:lnTo>
                  <a:lnTo>
                    <a:pt x="102" y="52"/>
                  </a:lnTo>
                  <a:lnTo>
                    <a:pt x="108" y="52"/>
                  </a:lnTo>
                  <a:lnTo>
                    <a:pt x="110" y="58"/>
                  </a:lnTo>
                  <a:lnTo>
                    <a:pt x="116" y="56"/>
                  </a:lnTo>
                  <a:lnTo>
                    <a:pt x="122" y="56"/>
                  </a:lnTo>
                  <a:lnTo>
                    <a:pt x="128" y="52"/>
                  </a:lnTo>
                  <a:lnTo>
                    <a:pt x="134" y="50"/>
                  </a:lnTo>
                  <a:lnTo>
                    <a:pt x="140" y="46"/>
                  </a:lnTo>
                  <a:lnTo>
                    <a:pt x="146" y="46"/>
                  </a:lnTo>
                  <a:lnTo>
                    <a:pt x="152" y="46"/>
                  </a:lnTo>
                  <a:lnTo>
                    <a:pt x="158" y="48"/>
                  </a:lnTo>
                  <a:lnTo>
                    <a:pt x="164" y="46"/>
                  </a:lnTo>
                  <a:lnTo>
                    <a:pt x="168" y="42"/>
                  </a:lnTo>
                  <a:lnTo>
                    <a:pt x="174" y="40"/>
                  </a:lnTo>
                  <a:lnTo>
                    <a:pt x="180" y="38"/>
                  </a:lnTo>
                  <a:lnTo>
                    <a:pt x="184" y="38"/>
                  </a:lnTo>
                  <a:lnTo>
                    <a:pt x="184" y="32"/>
                  </a:lnTo>
                  <a:lnTo>
                    <a:pt x="184" y="26"/>
                  </a:lnTo>
                  <a:lnTo>
                    <a:pt x="190" y="24"/>
                  </a:lnTo>
                  <a:lnTo>
                    <a:pt x="192" y="18"/>
                  </a:lnTo>
                  <a:lnTo>
                    <a:pt x="198" y="16"/>
                  </a:lnTo>
                  <a:lnTo>
                    <a:pt x="196" y="12"/>
                  </a:lnTo>
                  <a:lnTo>
                    <a:pt x="196" y="6"/>
                  </a:lnTo>
                  <a:lnTo>
                    <a:pt x="190" y="0"/>
                  </a:lnTo>
                  <a:lnTo>
                    <a:pt x="184" y="6"/>
                  </a:lnTo>
                  <a:lnTo>
                    <a:pt x="182" y="12"/>
                  </a:lnTo>
                  <a:lnTo>
                    <a:pt x="188" y="10"/>
                  </a:lnTo>
                  <a:lnTo>
                    <a:pt x="194" y="10"/>
                  </a:lnTo>
                  <a:lnTo>
                    <a:pt x="188" y="16"/>
                  </a:lnTo>
                  <a:lnTo>
                    <a:pt x="182" y="20"/>
                  </a:lnTo>
                  <a:lnTo>
                    <a:pt x="176" y="22"/>
                  </a:lnTo>
                  <a:lnTo>
                    <a:pt x="170" y="26"/>
                  </a:lnTo>
                  <a:lnTo>
                    <a:pt x="164" y="32"/>
                  </a:lnTo>
                  <a:lnTo>
                    <a:pt x="164" y="38"/>
                  </a:lnTo>
                  <a:lnTo>
                    <a:pt x="156" y="38"/>
                  </a:lnTo>
                  <a:lnTo>
                    <a:pt x="150" y="40"/>
                  </a:lnTo>
                  <a:lnTo>
                    <a:pt x="146" y="36"/>
                  </a:lnTo>
                  <a:lnTo>
                    <a:pt x="140" y="32"/>
                  </a:lnTo>
                  <a:lnTo>
                    <a:pt x="134" y="26"/>
                  </a:lnTo>
                  <a:lnTo>
                    <a:pt x="128" y="30"/>
                  </a:lnTo>
                  <a:lnTo>
                    <a:pt x="122" y="30"/>
                  </a:lnTo>
                  <a:lnTo>
                    <a:pt x="116" y="30"/>
                  </a:lnTo>
                  <a:lnTo>
                    <a:pt x="110" y="30"/>
                  </a:lnTo>
                  <a:lnTo>
                    <a:pt x="106" y="36"/>
                  </a:lnTo>
                  <a:lnTo>
                    <a:pt x="100" y="34"/>
                  </a:lnTo>
                  <a:lnTo>
                    <a:pt x="96" y="34"/>
                  </a:lnTo>
                  <a:lnTo>
                    <a:pt x="90" y="28"/>
                  </a:lnTo>
                  <a:lnTo>
                    <a:pt x="84" y="26"/>
                  </a:lnTo>
                  <a:lnTo>
                    <a:pt x="78" y="24"/>
                  </a:lnTo>
                  <a:lnTo>
                    <a:pt x="72" y="18"/>
                  </a:lnTo>
                  <a:lnTo>
                    <a:pt x="66" y="20"/>
                  </a:lnTo>
                  <a:lnTo>
                    <a:pt x="60" y="18"/>
                  </a:lnTo>
                  <a:lnTo>
                    <a:pt x="54" y="16"/>
                  </a:lnTo>
                  <a:lnTo>
                    <a:pt x="48" y="14"/>
                  </a:lnTo>
                  <a:lnTo>
                    <a:pt x="42" y="16"/>
                  </a:lnTo>
                  <a:lnTo>
                    <a:pt x="36" y="14"/>
                  </a:lnTo>
                  <a:lnTo>
                    <a:pt x="32" y="14"/>
                  </a:lnTo>
                  <a:lnTo>
                    <a:pt x="24" y="18"/>
                  </a:lnTo>
                  <a:lnTo>
                    <a:pt x="20" y="24"/>
                  </a:lnTo>
                  <a:lnTo>
                    <a:pt x="14" y="26"/>
                  </a:lnTo>
                  <a:lnTo>
                    <a:pt x="12" y="26"/>
                  </a:lnTo>
                  <a:lnTo>
                    <a:pt x="4" y="26"/>
                  </a:lnTo>
                  <a:lnTo>
                    <a:pt x="4" y="32"/>
                  </a:lnTo>
                  <a:lnTo>
                    <a:pt x="0" y="38"/>
                  </a:lnTo>
                  <a:lnTo>
                    <a:pt x="0" y="44"/>
                  </a:lnTo>
                  <a:lnTo>
                    <a:pt x="2" y="50"/>
                  </a:lnTo>
                  <a:lnTo>
                    <a:pt x="6" y="56"/>
                  </a:lnTo>
                  <a:lnTo>
                    <a:pt x="12" y="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8" name="Freeform 165"/>
            <p:cNvSpPr>
              <a:spLocks/>
            </p:cNvSpPr>
            <p:nvPr/>
          </p:nvSpPr>
          <p:spPr bwMode="auto">
            <a:xfrm>
              <a:off x="7270750" y="4378325"/>
              <a:ext cx="12700" cy="22225"/>
            </a:xfrm>
            <a:custGeom>
              <a:avLst/>
              <a:gdLst>
                <a:gd name="T0" fmla="*/ 2147483647 w 32"/>
                <a:gd name="T1" fmla="*/ 2147483647 h 56"/>
                <a:gd name="T2" fmla="*/ 2147483647 w 32"/>
                <a:gd name="T3" fmla="*/ 2147483647 h 56"/>
                <a:gd name="T4" fmla="*/ 2147483647 w 32"/>
                <a:gd name="T5" fmla="*/ 2147483647 h 56"/>
                <a:gd name="T6" fmla="*/ 2147483647 w 32"/>
                <a:gd name="T7" fmla="*/ 2147483647 h 56"/>
                <a:gd name="T8" fmla="*/ 2147483647 w 32"/>
                <a:gd name="T9" fmla="*/ 2147483647 h 56"/>
                <a:gd name="T10" fmla="*/ 2147483647 w 32"/>
                <a:gd name="T11" fmla="*/ 2147483647 h 56"/>
                <a:gd name="T12" fmla="*/ 2147483647 w 32"/>
                <a:gd name="T13" fmla="*/ 2147483647 h 56"/>
                <a:gd name="T14" fmla="*/ 2147483647 w 32"/>
                <a:gd name="T15" fmla="*/ 2147483647 h 56"/>
                <a:gd name="T16" fmla="*/ 2147483647 w 32"/>
                <a:gd name="T17" fmla="*/ 2147483647 h 56"/>
                <a:gd name="T18" fmla="*/ 2147483647 w 32"/>
                <a:gd name="T19" fmla="*/ 2147483647 h 56"/>
                <a:gd name="T20" fmla="*/ 2147483647 w 32"/>
                <a:gd name="T21" fmla="*/ 0 h 56"/>
                <a:gd name="T22" fmla="*/ 2147483647 w 32"/>
                <a:gd name="T23" fmla="*/ 2147483647 h 56"/>
                <a:gd name="T24" fmla="*/ 2147483647 w 32"/>
                <a:gd name="T25" fmla="*/ 2147483647 h 56"/>
                <a:gd name="T26" fmla="*/ 2147483647 w 32"/>
                <a:gd name="T27" fmla="*/ 2147483647 h 56"/>
                <a:gd name="T28" fmla="*/ 2147483647 w 32"/>
                <a:gd name="T29" fmla="*/ 2147483647 h 56"/>
                <a:gd name="T30" fmla="*/ 2147483647 w 32"/>
                <a:gd name="T31" fmla="*/ 2147483647 h 56"/>
                <a:gd name="T32" fmla="*/ 2147483647 w 32"/>
                <a:gd name="T33" fmla="*/ 2147483647 h 56"/>
                <a:gd name="T34" fmla="*/ 2147483647 w 32"/>
                <a:gd name="T35" fmla="*/ 2147483647 h 56"/>
                <a:gd name="T36" fmla="*/ 2147483647 w 32"/>
                <a:gd name="T37" fmla="*/ 2147483647 h 56"/>
                <a:gd name="T38" fmla="*/ 2147483647 w 32"/>
                <a:gd name="T39" fmla="*/ 2147483647 h 56"/>
                <a:gd name="T40" fmla="*/ 0 w 32"/>
                <a:gd name="T41" fmla="*/ 2147483647 h 56"/>
                <a:gd name="T42" fmla="*/ 2147483647 w 32"/>
                <a:gd name="T43" fmla="*/ 2147483647 h 56"/>
                <a:gd name="T44" fmla="*/ 2147483647 w 32"/>
                <a:gd name="T45" fmla="*/ 2147483647 h 56"/>
                <a:gd name="T46" fmla="*/ 2147483647 w 32"/>
                <a:gd name="T47" fmla="*/ 2147483647 h 56"/>
                <a:gd name="T48" fmla="*/ 2147483647 w 32"/>
                <a:gd name="T49" fmla="*/ 2147483647 h 56"/>
                <a:gd name="T50" fmla="*/ 2147483647 w 32"/>
                <a:gd name="T51" fmla="*/ 2147483647 h 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2"/>
                <a:gd name="T79" fmla="*/ 0 h 56"/>
                <a:gd name="T80" fmla="*/ 32 w 32"/>
                <a:gd name="T81" fmla="*/ 56 h 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2" h="56">
                  <a:moveTo>
                    <a:pt x="16" y="56"/>
                  </a:moveTo>
                  <a:lnTo>
                    <a:pt x="20" y="50"/>
                  </a:lnTo>
                  <a:lnTo>
                    <a:pt x="24" y="44"/>
                  </a:lnTo>
                  <a:lnTo>
                    <a:pt x="20" y="38"/>
                  </a:lnTo>
                  <a:lnTo>
                    <a:pt x="24" y="32"/>
                  </a:lnTo>
                  <a:lnTo>
                    <a:pt x="28" y="26"/>
                  </a:lnTo>
                  <a:lnTo>
                    <a:pt x="32" y="20"/>
                  </a:lnTo>
                  <a:lnTo>
                    <a:pt x="32" y="14"/>
                  </a:lnTo>
                  <a:lnTo>
                    <a:pt x="32" y="8"/>
                  </a:lnTo>
                  <a:lnTo>
                    <a:pt x="32" y="2"/>
                  </a:lnTo>
                  <a:lnTo>
                    <a:pt x="30" y="0"/>
                  </a:lnTo>
                  <a:lnTo>
                    <a:pt x="24" y="2"/>
                  </a:lnTo>
                  <a:lnTo>
                    <a:pt x="18" y="6"/>
                  </a:lnTo>
                  <a:lnTo>
                    <a:pt x="12" y="8"/>
                  </a:lnTo>
                  <a:lnTo>
                    <a:pt x="6" y="14"/>
                  </a:lnTo>
                  <a:lnTo>
                    <a:pt x="8" y="20"/>
                  </a:lnTo>
                  <a:lnTo>
                    <a:pt x="8" y="26"/>
                  </a:lnTo>
                  <a:lnTo>
                    <a:pt x="8" y="32"/>
                  </a:lnTo>
                  <a:lnTo>
                    <a:pt x="4" y="38"/>
                  </a:lnTo>
                  <a:lnTo>
                    <a:pt x="4" y="44"/>
                  </a:lnTo>
                  <a:lnTo>
                    <a:pt x="0" y="50"/>
                  </a:lnTo>
                  <a:lnTo>
                    <a:pt x="6" y="52"/>
                  </a:lnTo>
                  <a:lnTo>
                    <a:pt x="12" y="54"/>
                  </a:lnTo>
                  <a:lnTo>
                    <a:pt x="14" y="46"/>
                  </a:lnTo>
                  <a:lnTo>
                    <a:pt x="16" y="54"/>
                  </a:lnTo>
                  <a:lnTo>
                    <a:pt x="16" y="5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49" name="Freeform 166"/>
            <p:cNvSpPr>
              <a:spLocks/>
            </p:cNvSpPr>
            <p:nvPr/>
          </p:nvSpPr>
          <p:spPr bwMode="auto">
            <a:xfrm>
              <a:off x="7277100" y="4371975"/>
              <a:ext cx="17463" cy="36513"/>
            </a:xfrm>
            <a:custGeom>
              <a:avLst/>
              <a:gdLst>
                <a:gd name="T0" fmla="*/ 2147483647 w 42"/>
                <a:gd name="T1" fmla="*/ 0 h 90"/>
                <a:gd name="T2" fmla="*/ 2147483647 w 42"/>
                <a:gd name="T3" fmla="*/ 2147483647 h 90"/>
                <a:gd name="T4" fmla="*/ 2147483647 w 42"/>
                <a:gd name="T5" fmla="*/ 2147483647 h 90"/>
                <a:gd name="T6" fmla="*/ 2147483647 w 42"/>
                <a:gd name="T7" fmla="*/ 2147483647 h 90"/>
                <a:gd name="T8" fmla="*/ 2147483647 w 42"/>
                <a:gd name="T9" fmla="*/ 2147483647 h 90"/>
                <a:gd name="T10" fmla="*/ 2147483647 w 42"/>
                <a:gd name="T11" fmla="*/ 2147483647 h 90"/>
                <a:gd name="T12" fmla="*/ 2147483647 w 42"/>
                <a:gd name="T13" fmla="*/ 2147483647 h 90"/>
                <a:gd name="T14" fmla="*/ 2147483647 w 42"/>
                <a:gd name="T15" fmla="*/ 2147483647 h 90"/>
                <a:gd name="T16" fmla="*/ 2147483647 w 42"/>
                <a:gd name="T17" fmla="*/ 2147483647 h 90"/>
                <a:gd name="T18" fmla="*/ 2147483647 w 42"/>
                <a:gd name="T19" fmla="*/ 2147483647 h 90"/>
                <a:gd name="T20" fmla="*/ 2147483647 w 42"/>
                <a:gd name="T21" fmla="*/ 2147483647 h 90"/>
                <a:gd name="T22" fmla="*/ 2147483647 w 42"/>
                <a:gd name="T23" fmla="*/ 2147483647 h 90"/>
                <a:gd name="T24" fmla="*/ 2147483647 w 42"/>
                <a:gd name="T25" fmla="*/ 2147483647 h 90"/>
                <a:gd name="T26" fmla="*/ 2147483647 w 42"/>
                <a:gd name="T27" fmla="*/ 2147483647 h 90"/>
                <a:gd name="T28" fmla="*/ 0 w 42"/>
                <a:gd name="T29" fmla="*/ 2147483647 h 90"/>
                <a:gd name="T30" fmla="*/ 2147483647 w 42"/>
                <a:gd name="T31" fmla="*/ 2147483647 h 90"/>
                <a:gd name="T32" fmla="*/ 2147483647 w 42"/>
                <a:gd name="T33" fmla="*/ 2147483647 h 90"/>
                <a:gd name="T34" fmla="*/ 2147483647 w 42"/>
                <a:gd name="T35" fmla="*/ 2147483647 h 90"/>
                <a:gd name="T36" fmla="*/ 2147483647 w 42"/>
                <a:gd name="T37" fmla="*/ 2147483647 h 90"/>
                <a:gd name="T38" fmla="*/ 2147483647 w 42"/>
                <a:gd name="T39" fmla="*/ 2147483647 h 90"/>
                <a:gd name="T40" fmla="*/ 2147483647 w 42"/>
                <a:gd name="T41" fmla="*/ 2147483647 h 90"/>
                <a:gd name="T42" fmla="*/ 2147483647 w 42"/>
                <a:gd name="T43" fmla="*/ 2147483647 h 90"/>
                <a:gd name="T44" fmla="*/ 2147483647 w 42"/>
                <a:gd name="T45" fmla="*/ 2147483647 h 90"/>
                <a:gd name="T46" fmla="*/ 2147483647 w 42"/>
                <a:gd name="T47" fmla="*/ 2147483647 h 90"/>
                <a:gd name="T48" fmla="*/ 2147483647 w 42"/>
                <a:gd name="T49" fmla="*/ 2147483647 h 90"/>
                <a:gd name="T50" fmla="*/ 2147483647 w 42"/>
                <a:gd name="T51" fmla="*/ 2147483647 h 90"/>
                <a:gd name="T52" fmla="*/ 2147483647 w 42"/>
                <a:gd name="T53" fmla="*/ 2147483647 h 90"/>
                <a:gd name="T54" fmla="*/ 2147483647 w 42"/>
                <a:gd name="T55" fmla="*/ 2147483647 h 90"/>
                <a:gd name="T56" fmla="*/ 2147483647 w 42"/>
                <a:gd name="T57" fmla="*/ 2147483647 h 90"/>
                <a:gd name="T58" fmla="*/ 2147483647 w 42"/>
                <a:gd name="T59" fmla="*/ 2147483647 h 90"/>
                <a:gd name="T60" fmla="*/ 2147483647 w 42"/>
                <a:gd name="T61" fmla="*/ 2147483647 h 90"/>
                <a:gd name="T62" fmla="*/ 2147483647 w 42"/>
                <a:gd name="T63" fmla="*/ 2147483647 h 90"/>
                <a:gd name="T64" fmla="*/ 2147483647 w 42"/>
                <a:gd name="T65" fmla="*/ 2147483647 h 90"/>
                <a:gd name="T66" fmla="*/ 2147483647 w 42"/>
                <a:gd name="T67" fmla="*/ 2147483647 h 90"/>
                <a:gd name="T68" fmla="*/ 2147483647 w 42"/>
                <a:gd name="T69" fmla="*/ 2147483647 h 90"/>
                <a:gd name="T70" fmla="*/ 2147483647 w 42"/>
                <a:gd name="T71" fmla="*/ 2147483647 h 90"/>
                <a:gd name="T72" fmla="*/ 2147483647 w 42"/>
                <a:gd name="T73" fmla="*/ 2147483647 h 90"/>
                <a:gd name="T74" fmla="*/ 2147483647 w 42"/>
                <a:gd name="T75" fmla="*/ 2147483647 h 90"/>
                <a:gd name="T76" fmla="*/ 2147483647 w 42"/>
                <a:gd name="T77" fmla="*/ 0 h 9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2"/>
                <a:gd name="T118" fmla="*/ 0 h 90"/>
                <a:gd name="T119" fmla="*/ 42 w 42"/>
                <a:gd name="T120" fmla="*/ 90 h 9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2" h="90">
                  <a:moveTo>
                    <a:pt x="34" y="0"/>
                  </a:moveTo>
                  <a:lnTo>
                    <a:pt x="28" y="2"/>
                  </a:lnTo>
                  <a:lnTo>
                    <a:pt x="24" y="8"/>
                  </a:lnTo>
                  <a:lnTo>
                    <a:pt x="20" y="14"/>
                  </a:lnTo>
                  <a:lnTo>
                    <a:pt x="20" y="20"/>
                  </a:lnTo>
                  <a:lnTo>
                    <a:pt x="20" y="26"/>
                  </a:lnTo>
                  <a:lnTo>
                    <a:pt x="18" y="32"/>
                  </a:lnTo>
                  <a:lnTo>
                    <a:pt x="18" y="38"/>
                  </a:lnTo>
                  <a:lnTo>
                    <a:pt x="12" y="44"/>
                  </a:lnTo>
                  <a:lnTo>
                    <a:pt x="14" y="50"/>
                  </a:lnTo>
                  <a:lnTo>
                    <a:pt x="12" y="56"/>
                  </a:lnTo>
                  <a:lnTo>
                    <a:pt x="10" y="62"/>
                  </a:lnTo>
                  <a:lnTo>
                    <a:pt x="6" y="68"/>
                  </a:lnTo>
                  <a:lnTo>
                    <a:pt x="4" y="74"/>
                  </a:lnTo>
                  <a:lnTo>
                    <a:pt x="0" y="80"/>
                  </a:lnTo>
                  <a:lnTo>
                    <a:pt x="2" y="86"/>
                  </a:lnTo>
                  <a:lnTo>
                    <a:pt x="8" y="86"/>
                  </a:lnTo>
                  <a:lnTo>
                    <a:pt x="14" y="90"/>
                  </a:lnTo>
                  <a:lnTo>
                    <a:pt x="18" y="84"/>
                  </a:lnTo>
                  <a:lnTo>
                    <a:pt x="20" y="78"/>
                  </a:lnTo>
                  <a:lnTo>
                    <a:pt x="22" y="72"/>
                  </a:lnTo>
                  <a:lnTo>
                    <a:pt x="28" y="70"/>
                  </a:lnTo>
                  <a:lnTo>
                    <a:pt x="32" y="70"/>
                  </a:lnTo>
                  <a:lnTo>
                    <a:pt x="40" y="64"/>
                  </a:lnTo>
                  <a:lnTo>
                    <a:pt x="36" y="58"/>
                  </a:lnTo>
                  <a:lnTo>
                    <a:pt x="30" y="52"/>
                  </a:lnTo>
                  <a:lnTo>
                    <a:pt x="24" y="56"/>
                  </a:lnTo>
                  <a:lnTo>
                    <a:pt x="26" y="50"/>
                  </a:lnTo>
                  <a:lnTo>
                    <a:pt x="26" y="44"/>
                  </a:lnTo>
                  <a:lnTo>
                    <a:pt x="28" y="38"/>
                  </a:lnTo>
                  <a:lnTo>
                    <a:pt x="28" y="32"/>
                  </a:lnTo>
                  <a:lnTo>
                    <a:pt x="32" y="26"/>
                  </a:lnTo>
                  <a:lnTo>
                    <a:pt x="38" y="22"/>
                  </a:lnTo>
                  <a:lnTo>
                    <a:pt x="40" y="28"/>
                  </a:lnTo>
                  <a:lnTo>
                    <a:pt x="42" y="22"/>
                  </a:lnTo>
                  <a:lnTo>
                    <a:pt x="40" y="16"/>
                  </a:lnTo>
                  <a:lnTo>
                    <a:pt x="40" y="10"/>
                  </a:lnTo>
                  <a:lnTo>
                    <a:pt x="34" y="4"/>
                  </a:lnTo>
                  <a:lnTo>
                    <a:pt x="34"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0" name="Freeform 167"/>
            <p:cNvSpPr>
              <a:spLocks/>
            </p:cNvSpPr>
            <p:nvPr/>
          </p:nvSpPr>
          <p:spPr bwMode="auto">
            <a:xfrm>
              <a:off x="7288213" y="4279900"/>
              <a:ext cx="17462" cy="12700"/>
            </a:xfrm>
            <a:custGeom>
              <a:avLst/>
              <a:gdLst>
                <a:gd name="T0" fmla="*/ 2147483647 w 46"/>
                <a:gd name="T1" fmla="*/ 2147483647 h 34"/>
                <a:gd name="T2" fmla="*/ 2147483647 w 46"/>
                <a:gd name="T3" fmla="*/ 2147483647 h 34"/>
                <a:gd name="T4" fmla="*/ 2147483647 w 46"/>
                <a:gd name="T5" fmla="*/ 2147483647 h 34"/>
                <a:gd name="T6" fmla="*/ 2147483647 w 46"/>
                <a:gd name="T7" fmla="*/ 2147483647 h 34"/>
                <a:gd name="T8" fmla="*/ 2147483647 w 46"/>
                <a:gd name="T9" fmla="*/ 2147483647 h 34"/>
                <a:gd name="T10" fmla="*/ 2147483647 w 46"/>
                <a:gd name="T11" fmla="*/ 2147483647 h 34"/>
                <a:gd name="T12" fmla="*/ 2147483647 w 46"/>
                <a:gd name="T13" fmla="*/ 2147483647 h 34"/>
                <a:gd name="T14" fmla="*/ 2147483647 w 46"/>
                <a:gd name="T15" fmla="*/ 2147483647 h 34"/>
                <a:gd name="T16" fmla="*/ 2147483647 w 46"/>
                <a:gd name="T17" fmla="*/ 2147483647 h 34"/>
                <a:gd name="T18" fmla="*/ 2147483647 w 46"/>
                <a:gd name="T19" fmla="*/ 2147483647 h 34"/>
                <a:gd name="T20" fmla="*/ 2147483647 w 46"/>
                <a:gd name="T21" fmla="*/ 2147483647 h 34"/>
                <a:gd name="T22" fmla="*/ 2147483647 w 46"/>
                <a:gd name="T23" fmla="*/ 2147483647 h 34"/>
                <a:gd name="T24" fmla="*/ 2147483647 w 46"/>
                <a:gd name="T25" fmla="*/ 2147483647 h 34"/>
                <a:gd name="T26" fmla="*/ 2147483647 w 46"/>
                <a:gd name="T27" fmla="*/ 2147483647 h 34"/>
                <a:gd name="T28" fmla="*/ 2147483647 w 46"/>
                <a:gd name="T29" fmla="*/ 0 h 34"/>
                <a:gd name="T30" fmla="*/ 2147483647 w 46"/>
                <a:gd name="T31" fmla="*/ 2147483647 h 34"/>
                <a:gd name="T32" fmla="*/ 2147483647 w 46"/>
                <a:gd name="T33" fmla="*/ 2147483647 h 34"/>
                <a:gd name="T34" fmla="*/ 2147483647 w 46"/>
                <a:gd name="T35" fmla="*/ 2147483647 h 34"/>
                <a:gd name="T36" fmla="*/ 0 w 46"/>
                <a:gd name="T37" fmla="*/ 2147483647 h 34"/>
                <a:gd name="T38" fmla="*/ 2147483647 w 46"/>
                <a:gd name="T39" fmla="*/ 2147483647 h 34"/>
                <a:gd name="T40" fmla="*/ 2147483647 w 46"/>
                <a:gd name="T41" fmla="*/ 2147483647 h 34"/>
                <a:gd name="T42" fmla="*/ 2147483647 w 46"/>
                <a:gd name="T43" fmla="*/ 2147483647 h 34"/>
                <a:gd name="T44" fmla="*/ 2147483647 w 46"/>
                <a:gd name="T45" fmla="*/ 2147483647 h 34"/>
                <a:gd name="T46" fmla="*/ 2147483647 w 46"/>
                <a:gd name="T47" fmla="*/ 2147483647 h 34"/>
                <a:gd name="T48" fmla="*/ 2147483647 w 46"/>
                <a:gd name="T49" fmla="*/ 2147483647 h 34"/>
                <a:gd name="T50" fmla="*/ 2147483647 w 46"/>
                <a:gd name="T51" fmla="*/ 2147483647 h 34"/>
                <a:gd name="T52" fmla="*/ 2147483647 w 46"/>
                <a:gd name="T53" fmla="*/ 2147483647 h 34"/>
                <a:gd name="T54" fmla="*/ 2147483647 w 46"/>
                <a:gd name="T55" fmla="*/ 2147483647 h 3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34"/>
                <a:gd name="T86" fmla="*/ 46 w 46"/>
                <a:gd name="T87" fmla="*/ 34 h 3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34">
                  <a:moveTo>
                    <a:pt x="28" y="34"/>
                  </a:moveTo>
                  <a:lnTo>
                    <a:pt x="28" y="28"/>
                  </a:lnTo>
                  <a:lnTo>
                    <a:pt x="28" y="22"/>
                  </a:lnTo>
                  <a:lnTo>
                    <a:pt x="34" y="24"/>
                  </a:lnTo>
                  <a:lnTo>
                    <a:pt x="40" y="24"/>
                  </a:lnTo>
                  <a:lnTo>
                    <a:pt x="46" y="18"/>
                  </a:lnTo>
                  <a:lnTo>
                    <a:pt x="46" y="12"/>
                  </a:lnTo>
                  <a:lnTo>
                    <a:pt x="42" y="6"/>
                  </a:lnTo>
                  <a:lnTo>
                    <a:pt x="36" y="4"/>
                  </a:lnTo>
                  <a:lnTo>
                    <a:pt x="32" y="10"/>
                  </a:lnTo>
                  <a:lnTo>
                    <a:pt x="28" y="16"/>
                  </a:lnTo>
                  <a:lnTo>
                    <a:pt x="26" y="10"/>
                  </a:lnTo>
                  <a:lnTo>
                    <a:pt x="28" y="4"/>
                  </a:lnTo>
                  <a:lnTo>
                    <a:pt x="22" y="2"/>
                  </a:lnTo>
                  <a:lnTo>
                    <a:pt x="16" y="0"/>
                  </a:lnTo>
                  <a:lnTo>
                    <a:pt x="10" y="2"/>
                  </a:lnTo>
                  <a:lnTo>
                    <a:pt x="4" y="6"/>
                  </a:lnTo>
                  <a:lnTo>
                    <a:pt x="2" y="12"/>
                  </a:lnTo>
                  <a:lnTo>
                    <a:pt x="0" y="18"/>
                  </a:lnTo>
                  <a:lnTo>
                    <a:pt x="4" y="24"/>
                  </a:lnTo>
                  <a:lnTo>
                    <a:pt x="4" y="30"/>
                  </a:lnTo>
                  <a:lnTo>
                    <a:pt x="10" y="26"/>
                  </a:lnTo>
                  <a:lnTo>
                    <a:pt x="14" y="20"/>
                  </a:lnTo>
                  <a:lnTo>
                    <a:pt x="18" y="14"/>
                  </a:lnTo>
                  <a:lnTo>
                    <a:pt x="24" y="20"/>
                  </a:lnTo>
                  <a:lnTo>
                    <a:pt x="22" y="26"/>
                  </a:lnTo>
                  <a:lnTo>
                    <a:pt x="22" y="32"/>
                  </a:lnTo>
                  <a:lnTo>
                    <a:pt x="28" y="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1" name="Freeform 168"/>
            <p:cNvSpPr>
              <a:spLocks/>
            </p:cNvSpPr>
            <p:nvPr/>
          </p:nvSpPr>
          <p:spPr bwMode="auto">
            <a:xfrm>
              <a:off x="7289800" y="4479925"/>
              <a:ext cx="17463" cy="11113"/>
            </a:xfrm>
            <a:custGeom>
              <a:avLst/>
              <a:gdLst>
                <a:gd name="T0" fmla="*/ 2147483647 w 42"/>
                <a:gd name="T1" fmla="*/ 2147483647 h 26"/>
                <a:gd name="T2" fmla="*/ 2147483647 w 42"/>
                <a:gd name="T3" fmla="*/ 2147483647 h 26"/>
                <a:gd name="T4" fmla="*/ 2147483647 w 42"/>
                <a:gd name="T5" fmla="*/ 2147483647 h 26"/>
                <a:gd name="T6" fmla="*/ 2147483647 w 42"/>
                <a:gd name="T7" fmla="*/ 2147483647 h 26"/>
                <a:gd name="T8" fmla="*/ 0 w 42"/>
                <a:gd name="T9" fmla="*/ 2147483647 h 26"/>
                <a:gd name="T10" fmla="*/ 2147483647 w 42"/>
                <a:gd name="T11" fmla="*/ 2147483647 h 26"/>
                <a:gd name="T12" fmla="*/ 2147483647 w 42"/>
                <a:gd name="T13" fmla="*/ 2147483647 h 26"/>
                <a:gd name="T14" fmla="*/ 2147483647 w 42"/>
                <a:gd name="T15" fmla="*/ 2147483647 h 26"/>
                <a:gd name="T16" fmla="*/ 2147483647 w 42"/>
                <a:gd name="T17" fmla="*/ 2147483647 h 26"/>
                <a:gd name="T18" fmla="*/ 2147483647 w 42"/>
                <a:gd name="T19" fmla="*/ 2147483647 h 26"/>
                <a:gd name="T20" fmla="*/ 2147483647 w 42"/>
                <a:gd name="T21" fmla="*/ 2147483647 h 26"/>
                <a:gd name="T22" fmla="*/ 2147483647 w 42"/>
                <a:gd name="T23" fmla="*/ 2147483647 h 26"/>
                <a:gd name="T24" fmla="*/ 2147483647 w 42"/>
                <a:gd name="T25" fmla="*/ 2147483647 h 26"/>
                <a:gd name="T26" fmla="*/ 2147483647 w 42"/>
                <a:gd name="T27" fmla="*/ 0 h 26"/>
                <a:gd name="T28" fmla="*/ 2147483647 w 42"/>
                <a:gd name="T29" fmla="*/ 0 h 26"/>
                <a:gd name="T30" fmla="*/ 2147483647 w 42"/>
                <a:gd name="T31" fmla="*/ 2147483647 h 26"/>
                <a:gd name="T32" fmla="*/ 2147483647 w 42"/>
                <a:gd name="T33" fmla="*/ 2147483647 h 26"/>
                <a:gd name="T34" fmla="*/ 2147483647 w 42"/>
                <a:gd name="T35" fmla="*/ 2147483647 h 26"/>
                <a:gd name="T36" fmla="*/ 2147483647 w 42"/>
                <a:gd name="T37" fmla="*/ 2147483647 h 26"/>
                <a:gd name="T38" fmla="*/ 2147483647 w 42"/>
                <a:gd name="T39" fmla="*/ 2147483647 h 26"/>
                <a:gd name="T40" fmla="*/ 2147483647 w 42"/>
                <a:gd name="T41" fmla="*/ 2147483647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2"/>
                <a:gd name="T64" fmla="*/ 0 h 26"/>
                <a:gd name="T65" fmla="*/ 42 w 42"/>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2" h="26">
                  <a:moveTo>
                    <a:pt x="10" y="4"/>
                  </a:moveTo>
                  <a:lnTo>
                    <a:pt x="14" y="10"/>
                  </a:lnTo>
                  <a:lnTo>
                    <a:pt x="8" y="14"/>
                  </a:lnTo>
                  <a:lnTo>
                    <a:pt x="2" y="18"/>
                  </a:lnTo>
                  <a:lnTo>
                    <a:pt x="0" y="24"/>
                  </a:lnTo>
                  <a:lnTo>
                    <a:pt x="6" y="26"/>
                  </a:lnTo>
                  <a:lnTo>
                    <a:pt x="12" y="24"/>
                  </a:lnTo>
                  <a:lnTo>
                    <a:pt x="18" y="26"/>
                  </a:lnTo>
                  <a:lnTo>
                    <a:pt x="18" y="20"/>
                  </a:lnTo>
                  <a:lnTo>
                    <a:pt x="24" y="14"/>
                  </a:lnTo>
                  <a:lnTo>
                    <a:pt x="30" y="10"/>
                  </a:lnTo>
                  <a:lnTo>
                    <a:pt x="36" y="6"/>
                  </a:lnTo>
                  <a:lnTo>
                    <a:pt x="42" y="4"/>
                  </a:lnTo>
                  <a:lnTo>
                    <a:pt x="36" y="0"/>
                  </a:lnTo>
                  <a:lnTo>
                    <a:pt x="30" y="0"/>
                  </a:lnTo>
                  <a:lnTo>
                    <a:pt x="24" y="2"/>
                  </a:lnTo>
                  <a:lnTo>
                    <a:pt x="24" y="6"/>
                  </a:lnTo>
                  <a:lnTo>
                    <a:pt x="18" y="12"/>
                  </a:lnTo>
                  <a:lnTo>
                    <a:pt x="18" y="6"/>
                  </a:lnTo>
                  <a:lnTo>
                    <a:pt x="12" y="4"/>
                  </a:lnTo>
                  <a:lnTo>
                    <a:pt x="1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2" name="Freeform 169"/>
            <p:cNvSpPr>
              <a:spLocks/>
            </p:cNvSpPr>
            <p:nvPr/>
          </p:nvSpPr>
          <p:spPr bwMode="auto">
            <a:xfrm>
              <a:off x="7305675" y="4479925"/>
              <a:ext cx="9525" cy="9525"/>
            </a:xfrm>
            <a:custGeom>
              <a:avLst/>
              <a:gdLst>
                <a:gd name="T0" fmla="*/ 2147483647 w 24"/>
                <a:gd name="T1" fmla="*/ 2147483647 h 24"/>
                <a:gd name="T2" fmla="*/ 2147483647 w 24"/>
                <a:gd name="T3" fmla="*/ 2147483647 h 24"/>
                <a:gd name="T4" fmla="*/ 0 w 24"/>
                <a:gd name="T5" fmla="*/ 2147483647 h 24"/>
                <a:gd name="T6" fmla="*/ 2147483647 w 24"/>
                <a:gd name="T7" fmla="*/ 2147483647 h 24"/>
                <a:gd name="T8" fmla="*/ 2147483647 w 24"/>
                <a:gd name="T9" fmla="*/ 2147483647 h 24"/>
                <a:gd name="T10" fmla="*/ 2147483647 w 24"/>
                <a:gd name="T11" fmla="*/ 2147483647 h 24"/>
                <a:gd name="T12" fmla="*/ 2147483647 w 24"/>
                <a:gd name="T13" fmla="*/ 2147483647 h 24"/>
                <a:gd name="T14" fmla="*/ 2147483647 w 24"/>
                <a:gd name="T15" fmla="*/ 2147483647 h 24"/>
                <a:gd name="T16" fmla="*/ 2147483647 w 24"/>
                <a:gd name="T17" fmla="*/ 0 h 24"/>
                <a:gd name="T18" fmla="*/ 2147483647 w 24"/>
                <a:gd name="T19" fmla="*/ 2147483647 h 24"/>
                <a:gd name="T20" fmla="*/ 2147483647 w 24"/>
                <a:gd name="T21" fmla="*/ 2147483647 h 24"/>
                <a:gd name="T22" fmla="*/ 2147483647 w 24"/>
                <a:gd name="T23" fmla="*/ 2147483647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24"/>
                <a:gd name="T38" fmla="*/ 24 w 24"/>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24">
                  <a:moveTo>
                    <a:pt x="4" y="10"/>
                  </a:moveTo>
                  <a:lnTo>
                    <a:pt x="2" y="12"/>
                  </a:lnTo>
                  <a:lnTo>
                    <a:pt x="0" y="18"/>
                  </a:lnTo>
                  <a:lnTo>
                    <a:pt x="8" y="18"/>
                  </a:lnTo>
                  <a:lnTo>
                    <a:pt x="12" y="24"/>
                  </a:lnTo>
                  <a:lnTo>
                    <a:pt x="18" y="18"/>
                  </a:lnTo>
                  <a:lnTo>
                    <a:pt x="20" y="12"/>
                  </a:lnTo>
                  <a:lnTo>
                    <a:pt x="24" y="6"/>
                  </a:lnTo>
                  <a:lnTo>
                    <a:pt x="20" y="0"/>
                  </a:lnTo>
                  <a:lnTo>
                    <a:pt x="16" y="6"/>
                  </a:lnTo>
                  <a:lnTo>
                    <a:pt x="10" y="8"/>
                  </a:lnTo>
                  <a:lnTo>
                    <a:pt x="4"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3" name="Freeform 170"/>
            <p:cNvSpPr>
              <a:spLocks/>
            </p:cNvSpPr>
            <p:nvPr/>
          </p:nvSpPr>
          <p:spPr bwMode="auto">
            <a:xfrm>
              <a:off x="7316788" y="4476750"/>
              <a:ext cx="20637" cy="11113"/>
            </a:xfrm>
            <a:custGeom>
              <a:avLst/>
              <a:gdLst>
                <a:gd name="T0" fmla="*/ 2147483647 w 50"/>
                <a:gd name="T1" fmla="*/ 0 h 24"/>
                <a:gd name="T2" fmla="*/ 2147483647 w 50"/>
                <a:gd name="T3" fmla="*/ 2147483647 h 24"/>
                <a:gd name="T4" fmla="*/ 2147483647 w 50"/>
                <a:gd name="T5" fmla="*/ 2147483647 h 24"/>
                <a:gd name="T6" fmla="*/ 2147483647 w 50"/>
                <a:gd name="T7" fmla="*/ 2147483647 h 24"/>
                <a:gd name="T8" fmla="*/ 2147483647 w 50"/>
                <a:gd name="T9" fmla="*/ 2147483647 h 24"/>
                <a:gd name="T10" fmla="*/ 2147483647 w 50"/>
                <a:gd name="T11" fmla="*/ 2147483647 h 24"/>
                <a:gd name="T12" fmla="*/ 0 w 50"/>
                <a:gd name="T13" fmla="*/ 2147483647 h 24"/>
                <a:gd name="T14" fmla="*/ 2147483647 w 50"/>
                <a:gd name="T15" fmla="*/ 2147483647 h 24"/>
                <a:gd name="T16" fmla="*/ 2147483647 w 50"/>
                <a:gd name="T17" fmla="*/ 2147483647 h 24"/>
                <a:gd name="T18" fmla="*/ 2147483647 w 50"/>
                <a:gd name="T19" fmla="*/ 2147483647 h 24"/>
                <a:gd name="T20" fmla="*/ 2147483647 w 50"/>
                <a:gd name="T21" fmla="*/ 2147483647 h 24"/>
                <a:gd name="T22" fmla="*/ 2147483647 w 50"/>
                <a:gd name="T23" fmla="*/ 2147483647 h 24"/>
                <a:gd name="T24" fmla="*/ 2147483647 w 50"/>
                <a:gd name="T25" fmla="*/ 2147483647 h 24"/>
                <a:gd name="T26" fmla="*/ 2147483647 w 50"/>
                <a:gd name="T27" fmla="*/ 2147483647 h 24"/>
                <a:gd name="T28" fmla="*/ 2147483647 w 50"/>
                <a:gd name="T29" fmla="*/ 2147483647 h 24"/>
                <a:gd name="T30" fmla="*/ 2147483647 w 50"/>
                <a:gd name="T31" fmla="*/ 2147483647 h 24"/>
                <a:gd name="T32" fmla="*/ 2147483647 w 50"/>
                <a:gd name="T33" fmla="*/ 2147483647 h 24"/>
                <a:gd name="T34" fmla="*/ 2147483647 w 50"/>
                <a:gd name="T35" fmla="*/ 2147483647 h 24"/>
                <a:gd name="T36" fmla="*/ 2147483647 w 50"/>
                <a:gd name="T37" fmla="*/ 2147483647 h 24"/>
                <a:gd name="T38" fmla="*/ 2147483647 w 50"/>
                <a:gd name="T39" fmla="*/ 2147483647 h 24"/>
                <a:gd name="T40" fmla="*/ 2147483647 w 50"/>
                <a:gd name="T41" fmla="*/ 2147483647 h 24"/>
                <a:gd name="T42" fmla="*/ 2147483647 w 50"/>
                <a:gd name="T43" fmla="*/ 0 h 24"/>
                <a:gd name="T44" fmla="*/ 2147483647 w 50"/>
                <a:gd name="T45" fmla="*/ 0 h 2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50"/>
                <a:gd name="T70" fmla="*/ 0 h 24"/>
                <a:gd name="T71" fmla="*/ 50 w 50"/>
                <a:gd name="T72" fmla="*/ 24 h 2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50" h="24">
                  <a:moveTo>
                    <a:pt x="10" y="0"/>
                  </a:moveTo>
                  <a:lnTo>
                    <a:pt x="6" y="4"/>
                  </a:lnTo>
                  <a:lnTo>
                    <a:pt x="6" y="10"/>
                  </a:lnTo>
                  <a:lnTo>
                    <a:pt x="12" y="8"/>
                  </a:lnTo>
                  <a:lnTo>
                    <a:pt x="6" y="12"/>
                  </a:lnTo>
                  <a:lnTo>
                    <a:pt x="2" y="18"/>
                  </a:lnTo>
                  <a:lnTo>
                    <a:pt x="0" y="24"/>
                  </a:lnTo>
                  <a:lnTo>
                    <a:pt x="6" y="22"/>
                  </a:lnTo>
                  <a:lnTo>
                    <a:pt x="12" y="22"/>
                  </a:lnTo>
                  <a:lnTo>
                    <a:pt x="18" y="20"/>
                  </a:lnTo>
                  <a:lnTo>
                    <a:pt x="24" y="20"/>
                  </a:lnTo>
                  <a:lnTo>
                    <a:pt x="30" y="18"/>
                  </a:lnTo>
                  <a:lnTo>
                    <a:pt x="36" y="18"/>
                  </a:lnTo>
                  <a:lnTo>
                    <a:pt x="42" y="16"/>
                  </a:lnTo>
                  <a:lnTo>
                    <a:pt x="48" y="14"/>
                  </a:lnTo>
                  <a:lnTo>
                    <a:pt x="50" y="8"/>
                  </a:lnTo>
                  <a:lnTo>
                    <a:pt x="44" y="2"/>
                  </a:lnTo>
                  <a:lnTo>
                    <a:pt x="38" y="2"/>
                  </a:lnTo>
                  <a:lnTo>
                    <a:pt x="32" y="4"/>
                  </a:lnTo>
                  <a:lnTo>
                    <a:pt x="26" y="2"/>
                  </a:lnTo>
                  <a:lnTo>
                    <a:pt x="22" y="4"/>
                  </a:lnTo>
                  <a:lnTo>
                    <a:pt x="16" y="0"/>
                  </a:lnTo>
                  <a:lnTo>
                    <a:pt x="1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4" name="Freeform 171"/>
            <p:cNvSpPr>
              <a:spLocks/>
            </p:cNvSpPr>
            <p:nvPr/>
          </p:nvSpPr>
          <p:spPr bwMode="auto">
            <a:xfrm>
              <a:off x="7326313" y="4292600"/>
              <a:ext cx="23812" cy="11113"/>
            </a:xfrm>
            <a:custGeom>
              <a:avLst/>
              <a:gdLst>
                <a:gd name="T0" fmla="*/ 2147483647 w 60"/>
                <a:gd name="T1" fmla="*/ 2147483647 h 26"/>
                <a:gd name="T2" fmla="*/ 2147483647 w 60"/>
                <a:gd name="T3" fmla="*/ 2147483647 h 26"/>
                <a:gd name="T4" fmla="*/ 0 w 60"/>
                <a:gd name="T5" fmla="*/ 2147483647 h 26"/>
                <a:gd name="T6" fmla="*/ 0 w 60"/>
                <a:gd name="T7" fmla="*/ 2147483647 h 26"/>
                <a:gd name="T8" fmla="*/ 2147483647 w 60"/>
                <a:gd name="T9" fmla="*/ 2147483647 h 26"/>
                <a:gd name="T10" fmla="*/ 2147483647 w 60"/>
                <a:gd name="T11" fmla="*/ 2147483647 h 26"/>
                <a:gd name="T12" fmla="*/ 2147483647 w 60"/>
                <a:gd name="T13" fmla="*/ 2147483647 h 26"/>
                <a:gd name="T14" fmla="*/ 2147483647 w 60"/>
                <a:gd name="T15" fmla="*/ 2147483647 h 26"/>
                <a:gd name="T16" fmla="*/ 2147483647 w 60"/>
                <a:gd name="T17" fmla="*/ 2147483647 h 26"/>
                <a:gd name="T18" fmla="*/ 2147483647 w 60"/>
                <a:gd name="T19" fmla="*/ 2147483647 h 26"/>
                <a:gd name="T20" fmla="*/ 2147483647 w 60"/>
                <a:gd name="T21" fmla="*/ 2147483647 h 26"/>
                <a:gd name="T22" fmla="*/ 2147483647 w 60"/>
                <a:gd name="T23" fmla="*/ 2147483647 h 26"/>
                <a:gd name="T24" fmla="*/ 2147483647 w 60"/>
                <a:gd name="T25" fmla="*/ 2147483647 h 26"/>
                <a:gd name="T26" fmla="*/ 2147483647 w 60"/>
                <a:gd name="T27" fmla="*/ 2147483647 h 26"/>
                <a:gd name="T28" fmla="*/ 2147483647 w 60"/>
                <a:gd name="T29" fmla="*/ 2147483647 h 26"/>
                <a:gd name="T30" fmla="*/ 2147483647 w 60"/>
                <a:gd name="T31" fmla="*/ 2147483647 h 26"/>
                <a:gd name="T32" fmla="*/ 2147483647 w 60"/>
                <a:gd name="T33" fmla="*/ 2147483647 h 26"/>
                <a:gd name="T34" fmla="*/ 2147483647 w 60"/>
                <a:gd name="T35" fmla="*/ 2147483647 h 26"/>
                <a:gd name="T36" fmla="*/ 2147483647 w 60"/>
                <a:gd name="T37" fmla="*/ 2147483647 h 26"/>
                <a:gd name="T38" fmla="*/ 2147483647 w 60"/>
                <a:gd name="T39" fmla="*/ 2147483647 h 26"/>
                <a:gd name="T40" fmla="*/ 2147483647 w 60"/>
                <a:gd name="T41" fmla="*/ 2147483647 h 26"/>
                <a:gd name="T42" fmla="*/ 2147483647 w 60"/>
                <a:gd name="T43" fmla="*/ 2147483647 h 26"/>
                <a:gd name="T44" fmla="*/ 2147483647 w 60"/>
                <a:gd name="T45" fmla="*/ 0 h 26"/>
                <a:gd name="T46" fmla="*/ 2147483647 w 60"/>
                <a:gd name="T47" fmla="*/ 2147483647 h 26"/>
                <a:gd name="T48" fmla="*/ 2147483647 w 60"/>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26"/>
                <a:gd name="T77" fmla="*/ 60 w 60"/>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26">
                  <a:moveTo>
                    <a:pt x="6" y="2"/>
                  </a:moveTo>
                  <a:lnTo>
                    <a:pt x="2" y="8"/>
                  </a:lnTo>
                  <a:lnTo>
                    <a:pt x="0" y="14"/>
                  </a:lnTo>
                  <a:lnTo>
                    <a:pt x="0" y="20"/>
                  </a:lnTo>
                  <a:lnTo>
                    <a:pt x="4" y="26"/>
                  </a:lnTo>
                  <a:lnTo>
                    <a:pt x="10" y="26"/>
                  </a:lnTo>
                  <a:lnTo>
                    <a:pt x="16" y="26"/>
                  </a:lnTo>
                  <a:lnTo>
                    <a:pt x="20" y="24"/>
                  </a:lnTo>
                  <a:lnTo>
                    <a:pt x="26" y="20"/>
                  </a:lnTo>
                  <a:lnTo>
                    <a:pt x="32" y="20"/>
                  </a:lnTo>
                  <a:lnTo>
                    <a:pt x="38" y="22"/>
                  </a:lnTo>
                  <a:lnTo>
                    <a:pt x="44" y="18"/>
                  </a:lnTo>
                  <a:lnTo>
                    <a:pt x="50" y="18"/>
                  </a:lnTo>
                  <a:lnTo>
                    <a:pt x="56" y="18"/>
                  </a:lnTo>
                  <a:lnTo>
                    <a:pt x="60" y="12"/>
                  </a:lnTo>
                  <a:lnTo>
                    <a:pt x="54" y="12"/>
                  </a:lnTo>
                  <a:lnTo>
                    <a:pt x="52" y="6"/>
                  </a:lnTo>
                  <a:lnTo>
                    <a:pt x="46" y="10"/>
                  </a:lnTo>
                  <a:lnTo>
                    <a:pt x="40" y="6"/>
                  </a:lnTo>
                  <a:lnTo>
                    <a:pt x="34" y="6"/>
                  </a:lnTo>
                  <a:lnTo>
                    <a:pt x="28" y="4"/>
                  </a:lnTo>
                  <a:lnTo>
                    <a:pt x="22" y="2"/>
                  </a:lnTo>
                  <a:lnTo>
                    <a:pt x="16" y="0"/>
                  </a:lnTo>
                  <a:lnTo>
                    <a:pt x="10" y="2"/>
                  </a:lnTo>
                  <a:lnTo>
                    <a:pt x="6" y="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5" name="Freeform 172"/>
            <p:cNvSpPr>
              <a:spLocks/>
            </p:cNvSpPr>
            <p:nvPr/>
          </p:nvSpPr>
          <p:spPr bwMode="auto">
            <a:xfrm>
              <a:off x="7353300" y="4462463"/>
              <a:ext cx="25400" cy="11112"/>
            </a:xfrm>
            <a:custGeom>
              <a:avLst/>
              <a:gdLst>
                <a:gd name="T0" fmla="*/ 2147483647 w 64"/>
                <a:gd name="T1" fmla="*/ 2147483647 h 30"/>
                <a:gd name="T2" fmla="*/ 2147483647 w 64"/>
                <a:gd name="T3" fmla="*/ 2147483647 h 30"/>
                <a:gd name="T4" fmla="*/ 2147483647 w 64"/>
                <a:gd name="T5" fmla="*/ 2147483647 h 30"/>
                <a:gd name="T6" fmla="*/ 2147483647 w 64"/>
                <a:gd name="T7" fmla="*/ 2147483647 h 30"/>
                <a:gd name="T8" fmla="*/ 2147483647 w 64"/>
                <a:gd name="T9" fmla="*/ 2147483647 h 30"/>
                <a:gd name="T10" fmla="*/ 2147483647 w 64"/>
                <a:gd name="T11" fmla="*/ 2147483647 h 30"/>
                <a:gd name="T12" fmla="*/ 2147483647 w 64"/>
                <a:gd name="T13" fmla="*/ 2147483647 h 30"/>
                <a:gd name="T14" fmla="*/ 2147483647 w 64"/>
                <a:gd name="T15" fmla="*/ 2147483647 h 30"/>
                <a:gd name="T16" fmla="*/ 2147483647 w 64"/>
                <a:gd name="T17" fmla="*/ 2147483647 h 30"/>
                <a:gd name="T18" fmla="*/ 2147483647 w 64"/>
                <a:gd name="T19" fmla="*/ 2147483647 h 30"/>
                <a:gd name="T20" fmla="*/ 2147483647 w 64"/>
                <a:gd name="T21" fmla="*/ 2147483647 h 30"/>
                <a:gd name="T22" fmla="*/ 2147483647 w 64"/>
                <a:gd name="T23" fmla="*/ 2147483647 h 30"/>
                <a:gd name="T24" fmla="*/ 2147483647 w 64"/>
                <a:gd name="T25" fmla="*/ 2147483647 h 30"/>
                <a:gd name="T26" fmla="*/ 2147483647 w 64"/>
                <a:gd name="T27" fmla="*/ 0 h 30"/>
                <a:gd name="T28" fmla="*/ 2147483647 w 64"/>
                <a:gd name="T29" fmla="*/ 0 h 30"/>
                <a:gd name="T30" fmla="*/ 2147483647 w 64"/>
                <a:gd name="T31" fmla="*/ 2147483647 h 30"/>
                <a:gd name="T32" fmla="*/ 2147483647 w 64"/>
                <a:gd name="T33" fmla="*/ 2147483647 h 30"/>
                <a:gd name="T34" fmla="*/ 2147483647 w 64"/>
                <a:gd name="T35" fmla="*/ 2147483647 h 30"/>
                <a:gd name="T36" fmla="*/ 2147483647 w 64"/>
                <a:gd name="T37" fmla="*/ 2147483647 h 30"/>
                <a:gd name="T38" fmla="*/ 2147483647 w 64"/>
                <a:gd name="T39" fmla="*/ 2147483647 h 30"/>
                <a:gd name="T40" fmla="*/ 2147483647 w 64"/>
                <a:gd name="T41" fmla="*/ 2147483647 h 30"/>
                <a:gd name="T42" fmla="*/ 2147483647 w 64"/>
                <a:gd name="T43" fmla="*/ 2147483647 h 30"/>
                <a:gd name="T44" fmla="*/ 2147483647 w 64"/>
                <a:gd name="T45" fmla="*/ 2147483647 h 30"/>
                <a:gd name="T46" fmla="*/ 2147483647 w 64"/>
                <a:gd name="T47" fmla="*/ 2147483647 h 30"/>
                <a:gd name="T48" fmla="*/ 0 w 64"/>
                <a:gd name="T49" fmla="*/ 2147483647 h 30"/>
                <a:gd name="T50" fmla="*/ 2147483647 w 64"/>
                <a:gd name="T51" fmla="*/ 2147483647 h 3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4"/>
                <a:gd name="T79" fmla="*/ 0 h 30"/>
                <a:gd name="T80" fmla="*/ 64 w 64"/>
                <a:gd name="T81" fmla="*/ 30 h 3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4" h="30">
                  <a:moveTo>
                    <a:pt x="2" y="30"/>
                  </a:moveTo>
                  <a:lnTo>
                    <a:pt x="8" y="26"/>
                  </a:lnTo>
                  <a:lnTo>
                    <a:pt x="14" y="24"/>
                  </a:lnTo>
                  <a:lnTo>
                    <a:pt x="20" y="22"/>
                  </a:lnTo>
                  <a:lnTo>
                    <a:pt x="26" y="24"/>
                  </a:lnTo>
                  <a:lnTo>
                    <a:pt x="32" y="24"/>
                  </a:lnTo>
                  <a:lnTo>
                    <a:pt x="38" y="26"/>
                  </a:lnTo>
                  <a:lnTo>
                    <a:pt x="44" y="28"/>
                  </a:lnTo>
                  <a:lnTo>
                    <a:pt x="46" y="22"/>
                  </a:lnTo>
                  <a:lnTo>
                    <a:pt x="52" y="16"/>
                  </a:lnTo>
                  <a:lnTo>
                    <a:pt x="58" y="12"/>
                  </a:lnTo>
                  <a:lnTo>
                    <a:pt x="64" y="12"/>
                  </a:lnTo>
                  <a:lnTo>
                    <a:pt x="60" y="6"/>
                  </a:lnTo>
                  <a:lnTo>
                    <a:pt x="56" y="0"/>
                  </a:lnTo>
                  <a:lnTo>
                    <a:pt x="50" y="0"/>
                  </a:lnTo>
                  <a:lnTo>
                    <a:pt x="44" y="4"/>
                  </a:lnTo>
                  <a:lnTo>
                    <a:pt x="38" y="8"/>
                  </a:lnTo>
                  <a:lnTo>
                    <a:pt x="32" y="8"/>
                  </a:lnTo>
                  <a:lnTo>
                    <a:pt x="26" y="10"/>
                  </a:lnTo>
                  <a:lnTo>
                    <a:pt x="20" y="8"/>
                  </a:lnTo>
                  <a:lnTo>
                    <a:pt x="14" y="6"/>
                  </a:lnTo>
                  <a:lnTo>
                    <a:pt x="10" y="12"/>
                  </a:lnTo>
                  <a:lnTo>
                    <a:pt x="6" y="18"/>
                  </a:lnTo>
                  <a:lnTo>
                    <a:pt x="4" y="24"/>
                  </a:lnTo>
                  <a:lnTo>
                    <a:pt x="0" y="30"/>
                  </a:lnTo>
                  <a:lnTo>
                    <a:pt x="2" y="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6" name="Freeform 173"/>
            <p:cNvSpPr>
              <a:spLocks/>
            </p:cNvSpPr>
            <p:nvPr/>
          </p:nvSpPr>
          <p:spPr bwMode="auto">
            <a:xfrm>
              <a:off x="7366000" y="4333875"/>
              <a:ext cx="31750" cy="22225"/>
            </a:xfrm>
            <a:custGeom>
              <a:avLst/>
              <a:gdLst>
                <a:gd name="T0" fmla="*/ 2147483647 w 76"/>
                <a:gd name="T1" fmla="*/ 2147483647 h 54"/>
                <a:gd name="T2" fmla="*/ 2147483647 w 76"/>
                <a:gd name="T3" fmla="*/ 2147483647 h 54"/>
                <a:gd name="T4" fmla="*/ 2147483647 w 76"/>
                <a:gd name="T5" fmla="*/ 2147483647 h 54"/>
                <a:gd name="T6" fmla="*/ 2147483647 w 76"/>
                <a:gd name="T7" fmla="*/ 2147483647 h 54"/>
                <a:gd name="T8" fmla="*/ 2147483647 w 76"/>
                <a:gd name="T9" fmla="*/ 2147483647 h 54"/>
                <a:gd name="T10" fmla="*/ 2147483647 w 76"/>
                <a:gd name="T11" fmla="*/ 2147483647 h 54"/>
                <a:gd name="T12" fmla="*/ 2147483647 w 76"/>
                <a:gd name="T13" fmla="*/ 2147483647 h 54"/>
                <a:gd name="T14" fmla="*/ 2147483647 w 76"/>
                <a:gd name="T15" fmla="*/ 2147483647 h 54"/>
                <a:gd name="T16" fmla="*/ 2147483647 w 76"/>
                <a:gd name="T17" fmla="*/ 2147483647 h 54"/>
                <a:gd name="T18" fmla="*/ 2147483647 w 76"/>
                <a:gd name="T19" fmla="*/ 2147483647 h 54"/>
                <a:gd name="T20" fmla="*/ 2147483647 w 76"/>
                <a:gd name="T21" fmla="*/ 2147483647 h 54"/>
                <a:gd name="T22" fmla="*/ 2147483647 w 76"/>
                <a:gd name="T23" fmla="*/ 2147483647 h 54"/>
                <a:gd name="T24" fmla="*/ 2147483647 w 76"/>
                <a:gd name="T25" fmla="*/ 2147483647 h 54"/>
                <a:gd name="T26" fmla="*/ 2147483647 w 76"/>
                <a:gd name="T27" fmla="*/ 2147483647 h 54"/>
                <a:gd name="T28" fmla="*/ 2147483647 w 76"/>
                <a:gd name="T29" fmla="*/ 0 h 54"/>
                <a:gd name="T30" fmla="*/ 2147483647 w 76"/>
                <a:gd name="T31" fmla="*/ 0 h 54"/>
                <a:gd name="T32" fmla="*/ 2147483647 w 76"/>
                <a:gd name="T33" fmla="*/ 0 h 54"/>
                <a:gd name="T34" fmla="*/ 2147483647 w 76"/>
                <a:gd name="T35" fmla="*/ 0 h 54"/>
                <a:gd name="T36" fmla="*/ 2147483647 w 76"/>
                <a:gd name="T37" fmla="*/ 0 h 54"/>
                <a:gd name="T38" fmla="*/ 2147483647 w 76"/>
                <a:gd name="T39" fmla="*/ 2147483647 h 54"/>
                <a:gd name="T40" fmla="*/ 2147483647 w 76"/>
                <a:gd name="T41" fmla="*/ 2147483647 h 54"/>
                <a:gd name="T42" fmla="*/ 2147483647 w 76"/>
                <a:gd name="T43" fmla="*/ 2147483647 h 54"/>
                <a:gd name="T44" fmla="*/ 2147483647 w 76"/>
                <a:gd name="T45" fmla="*/ 2147483647 h 54"/>
                <a:gd name="T46" fmla="*/ 0 w 76"/>
                <a:gd name="T47" fmla="*/ 2147483647 h 54"/>
                <a:gd name="T48" fmla="*/ 0 w 76"/>
                <a:gd name="T49" fmla="*/ 2147483647 h 54"/>
                <a:gd name="T50" fmla="*/ 0 w 76"/>
                <a:gd name="T51" fmla="*/ 2147483647 h 54"/>
                <a:gd name="T52" fmla="*/ 2147483647 w 76"/>
                <a:gd name="T53" fmla="*/ 2147483647 h 54"/>
                <a:gd name="T54" fmla="*/ 2147483647 w 76"/>
                <a:gd name="T55" fmla="*/ 2147483647 h 54"/>
                <a:gd name="T56" fmla="*/ 2147483647 w 76"/>
                <a:gd name="T57" fmla="*/ 2147483647 h 54"/>
                <a:gd name="T58" fmla="*/ 2147483647 w 76"/>
                <a:gd name="T59" fmla="*/ 2147483647 h 54"/>
                <a:gd name="T60" fmla="*/ 2147483647 w 76"/>
                <a:gd name="T61" fmla="*/ 2147483647 h 54"/>
                <a:gd name="T62" fmla="*/ 2147483647 w 76"/>
                <a:gd name="T63" fmla="*/ 2147483647 h 54"/>
                <a:gd name="T64" fmla="*/ 2147483647 w 76"/>
                <a:gd name="T65" fmla="*/ 2147483647 h 54"/>
                <a:gd name="T66" fmla="*/ 2147483647 w 7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6"/>
                <a:gd name="T103" fmla="*/ 0 h 54"/>
                <a:gd name="T104" fmla="*/ 76 w 7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6" h="54">
                  <a:moveTo>
                    <a:pt x="38" y="54"/>
                  </a:moveTo>
                  <a:lnTo>
                    <a:pt x="44" y="50"/>
                  </a:lnTo>
                  <a:lnTo>
                    <a:pt x="52" y="50"/>
                  </a:lnTo>
                  <a:lnTo>
                    <a:pt x="56" y="46"/>
                  </a:lnTo>
                  <a:lnTo>
                    <a:pt x="62" y="44"/>
                  </a:lnTo>
                  <a:lnTo>
                    <a:pt x="68" y="40"/>
                  </a:lnTo>
                  <a:lnTo>
                    <a:pt x="74" y="34"/>
                  </a:lnTo>
                  <a:lnTo>
                    <a:pt x="74" y="28"/>
                  </a:lnTo>
                  <a:lnTo>
                    <a:pt x="76" y="22"/>
                  </a:lnTo>
                  <a:lnTo>
                    <a:pt x="70" y="20"/>
                  </a:lnTo>
                  <a:lnTo>
                    <a:pt x="64" y="18"/>
                  </a:lnTo>
                  <a:lnTo>
                    <a:pt x="66" y="12"/>
                  </a:lnTo>
                  <a:lnTo>
                    <a:pt x="60" y="6"/>
                  </a:lnTo>
                  <a:lnTo>
                    <a:pt x="56" y="4"/>
                  </a:lnTo>
                  <a:lnTo>
                    <a:pt x="50" y="0"/>
                  </a:lnTo>
                  <a:lnTo>
                    <a:pt x="44" y="0"/>
                  </a:lnTo>
                  <a:lnTo>
                    <a:pt x="38" y="0"/>
                  </a:lnTo>
                  <a:lnTo>
                    <a:pt x="32" y="0"/>
                  </a:lnTo>
                  <a:lnTo>
                    <a:pt x="26" y="0"/>
                  </a:lnTo>
                  <a:lnTo>
                    <a:pt x="20" y="2"/>
                  </a:lnTo>
                  <a:lnTo>
                    <a:pt x="14" y="4"/>
                  </a:lnTo>
                  <a:lnTo>
                    <a:pt x="8" y="6"/>
                  </a:lnTo>
                  <a:lnTo>
                    <a:pt x="2" y="4"/>
                  </a:lnTo>
                  <a:lnTo>
                    <a:pt x="0" y="10"/>
                  </a:lnTo>
                  <a:lnTo>
                    <a:pt x="0" y="16"/>
                  </a:lnTo>
                  <a:lnTo>
                    <a:pt x="0" y="22"/>
                  </a:lnTo>
                  <a:lnTo>
                    <a:pt x="4" y="28"/>
                  </a:lnTo>
                  <a:lnTo>
                    <a:pt x="8" y="34"/>
                  </a:lnTo>
                  <a:lnTo>
                    <a:pt x="14" y="40"/>
                  </a:lnTo>
                  <a:lnTo>
                    <a:pt x="20" y="44"/>
                  </a:lnTo>
                  <a:lnTo>
                    <a:pt x="26" y="48"/>
                  </a:lnTo>
                  <a:lnTo>
                    <a:pt x="32" y="50"/>
                  </a:lnTo>
                  <a:lnTo>
                    <a:pt x="38" y="52"/>
                  </a:lnTo>
                  <a:lnTo>
                    <a:pt x="38"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7" name="Freeform 174"/>
            <p:cNvSpPr>
              <a:spLocks/>
            </p:cNvSpPr>
            <p:nvPr/>
          </p:nvSpPr>
          <p:spPr bwMode="auto">
            <a:xfrm>
              <a:off x="7400925" y="4284663"/>
              <a:ext cx="19050" cy="11112"/>
            </a:xfrm>
            <a:custGeom>
              <a:avLst/>
              <a:gdLst>
                <a:gd name="T0" fmla="*/ 2147483647 w 46"/>
                <a:gd name="T1" fmla="*/ 2147483647 h 28"/>
                <a:gd name="T2" fmla="*/ 2147483647 w 46"/>
                <a:gd name="T3" fmla="*/ 2147483647 h 28"/>
                <a:gd name="T4" fmla="*/ 0 w 46"/>
                <a:gd name="T5" fmla="*/ 2147483647 h 28"/>
                <a:gd name="T6" fmla="*/ 0 w 46"/>
                <a:gd name="T7" fmla="*/ 2147483647 h 28"/>
                <a:gd name="T8" fmla="*/ 2147483647 w 46"/>
                <a:gd name="T9" fmla="*/ 2147483647 h 28"/>
                <a:gd name="T10" fmla="*/ 2147483647 w 46"/>
                <a:gd name="T11" fmla="*/ 2147483647 h 28"/>
                <a:gd name="T12" fmla="*/ 2147483647 w 46"/>
                <a:gd name="T13" fmla="*/ 2147483647 h 28"/>
                <a:gd name="T14" fmla="*/ 2147483647 w 46"/>
                <a:gd name="T15" fmla="*/ 2147483647 h 28"/>
                <a:gd name="T16" fmla="*/ 2147483647 w 46"/>
                <a:gd name="T17" fmla="*/ 2147483647 h 28"/>
                <a:gd name="T18" fmla="*/ 2147483647 w 46"/>
                <a:gd name="T19" fmla="*/ 2147483647 h 28"/>
                <a:gd name="T20" fmla="*/ 2147483647 w 46"/>
                <a:gd name="T21" fmla="*/ 2147483647 h 28"/>
                <a:gd name="T22" fmla="*/ 2147483647 w 46"/>
                <a:gd name="T23" fmla="*/ 2147483647 h 28"/>
                <a:gd name="T24" fmla="*/ 2147483647 w 46"/>
                <a:gd name="T25" fmla="*/ 2147483647 h 28"/>
                <a:gd name="T26" fmla="*/ 2147483647 w 46"/>
                <a:gd name="T27" fmla="*/ 2147483647 h 28"/>
                <a:gd name="T28" fmla="*/ 2147483647 w 46"/>
                <a:gd name="T29" fmla="*/ 2147483647 h 28"/>
                <a:gd name="T30" fmla="*/ 2147483647 w 46"/>
                <a:gd name="T31" fmla="*/ 2147483647 h 28"/>
                <a:gd name="T32" fmla="*/ 2147483647 w 46"/>
                <a:gd name="T33" fmla="*/ 2147483647 h 28"/>
                <a:gd name="T34" fmla="*/ 2147483647 w 46"/>
                <a:gd name="T35" fmla="*/ 0 h 28"/>
                <a:gd name="T36" fmla="*/ 2147483647 w 46"/>
                <a:gd name="T37" fmla="*/ 2147483647 h 28"/>
                <a:gd name="T38" fmla="*/ 2147483647 w 4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6"/>
                <a:gd name="T61" fmla="*/ 0 h 28"/>
                <a:gd name="T62" fmla="*/ 46 w 4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6" h="28">
                  <a:moveTo>
                    <a:pt x="6" y="8"/>
                  </a:moveTo>
                  <a:lnTo>
                    <a:pt x="2" y="10"/>
                  </a:lnTo>
                  <a:lnTo>
                    <a:pt x="0" y="16"/>
                  </a:lnTo>
                  <a:lnTo>
                    <a:pt x="0" y="20"/>
                  </a:lnTo>
                  <a:lnTo>
                    <a:pt x="6" y="26"/>
                  </a:lnTo>
                  <a:lnTo>
                    <a:pt x="12" y="28"/>
                  </a:lnTo>
                  <a:lnTo>
                    <a:pt x="18" y="26"/>
                  </a:lnTo>
                  <a:lnTo>
                    <a:pt x="24" y="26"/>
                  </a:lnTo>
                  <a:lnTo>
                    <a:pt x="30" y="26"/>
                  </a:lnTo>
                  <a:lnTo>
                    <a:pt x="36" y="26"/>
                  </a:lnTo>
                  <a:lnTo>
                    <a:pt x="42" y="26"/>
                  </a:lnTo>
                  <a:lnTo>
                    <a:pt x="46" y="24"/>
                  </a:lnTo>
                  <a:lnTo>
                    <a:pt x="46" y="18"/>
                  </a:lnTo>
                  <a:lnTo>
                    <a:pt x="42" y="16"/>
                  </a:lnTo>
                  <a:lnTo>
                    <a:pt x="34" y="10"/>
                  </a:lnTo>
                  <a:lnTo>
                    <a:pt x="30" y="8"/>
                  </a:lnTo>
                  <a:lnTo>
                    <a:pt x="24" y="2"/>
                  </a:lnTo>
                  <a:lnTo>
                    <a:pt x="16" y="0"/>
                  </a:lnTo>
                  <a:lnTo>
                    <a:pt x="12" y="4"/>
                  </a:lnTo>
                  <a:lnTo>
                    <a:pt x="6" y="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8" name="Freeform 175"/>
            <p:cNvSpPr>
              <a:spLocks/>
            </p:cNvSpPr>
            <p:nvPr/>
          </p:nvSpPr>
          <p:spPr bwMode="auto">
            <a:xfrm>
              <a:off x="7402513" y="4183063"/>
              <a:ext cx="36512" cy="87312"/>
            </a:xfrm>
            <a:custGeom>
              <a:avLst/>
              <a:gdLst>
                <a:gd name="T0" fmla="*/ 2147483647 w 90"/>
                <a:gd name="T1" fmla="*/ 2147483647 h 212"/>
                <a:gd name="T2" fmla="*/ 2147483647 w 90"/>
                <a:gd name="T3" fmla="*/ 2147483647 h 212"/>
                <a:gd name="T4" fmla="*/ 2147483647 w 90"/>
                <a:gd name="T5" fmla="*/ 2147483647 h 212"/>
                <a:gd name="T6" fmla="*/ 2147483647 w 90"/>
                <a:gd name="T7" fmla="*/ 2147483647 h 212"/>
                <a:gd name="T8" fmla="*/ 2147483647 w 90"/>
                <a:gd name="T9" fmla="*/ 2147483647 h 212"/>
                <a:gd name="T10" fmla="*/ 2147483647 w 90"/>
                <a:gd name="T11" fmla="*/ 2147483647 h 212"/>
                <a:gd name="T12" fmla="*/ 2147483647 w 90"/>
                <a:gd name="T13" fmla="*/ 2147483647 h 212"/>
                <a:gd name="T14" fmla="*/ 2147483647 w 90"/>
                <a:gd name="T15" fmla="*/ 2147483647 h 212"/>
                <a:gd name="T16" fmla="*/ 2147483647 w 90"/>
                <a:gd name="T17" fmla="*/ 2147483647 h 212"/>
                <a:gd name="T18" fmla="*/ 2147483647 w 90"/>
                <a:gd name="T19" fmla="*/ 2147483647 h 212"/>
                <a:gd name="T20" fmla="*/ 2147483647 w 90"/>
                <a:gd name="T21" fmla="*/ 2147483647 h 212"/>
                <a:gd name="T22" fmla="*/ 2147483647 w 90"/>
                <a:gd name="T23" fmla="*/ 2147483647 h 212"/>
                <a:gd name="T24" fmla="*/ 2147483647 w 90"/>
                <a:gd name="T25" fmla="*/ 2147483647 h 212"/>
                <a:gd name="T26" fmla="*/ 2147483647 w 90"/>
                <a:gd name="T27" fmla="*/ 2147483647 h 212"/>
                <a:gd name="T28" fmla="*/ 2147483647 w 90"/>
                <a:gd name="T29" fmla="*/ 2147483647 h 212"/>
                <a:gd name="T30" fmla="*/ 2147483647 w 90"/>
                <a:gd name="T31" fmla="*/ 2147483647 h 212"/>
                <a:gd name="T32" fmla="*/ 2147483647 w 90"/>
                <a:gd name="T33" fmla="*/ 2147483647 h 212"/>
                <a:gd name="T34" fmla="*/ 2147483647 w 90"/>
                <a:gd name="T35" fmla="*/ 2147483647 h 212"/>
                <a:gd name="T36" fmla="*/ 2147483647 w 90"/>
                <a:gd name="T37" fmla="*/ 2147483647 h 212"/>
                <a:gd name="T38" fmla="*/ 2147483647 w 90"/>
                <a:gd name="T39" fmla="*/ 2147483647 h 212"/>
                <a:gd name="T40" fmla="*/ 2147483647 w 90"/>
                <a:gd name="T41" fmla="*/ 2147483647 h 212"/>
                <a:gd name="T42" fmla="*/ 2147483647 w 90"/>
                <a:gd name="T43" fmla="*/ 2147483647 h 212"/>
                <a:gd name="T44" fmla="*/ 2147483647 w 90"/>
                <a:gd name="T45" fmla="*/ 2147483647 h 212"/>
                <a:gd name="T46" fmla="*/ 2147483647 w 90"/>
                <a:gd name="T47" fmla="*/ 2147483647 h 212"/>
                <a:gd name="T48" fmla="*/ 2147483647 w 90"/>
                <a:gd name="T49" fmla="*/ 2147483647 h 212"/>
                <a:gd name="T50" fmla="*/ 2147483647 w 90"/>
                <a:gd name="T51" fmla="*/ 2147483647 h 212"/>
                <a:gd name="T52" fmla="*/ 2147483647 w 90"/>
                <a:gd name="T53" fmla="*/ 2147483647 h 212"/>
                <a:gd name="T54" fmla="*/ 2147483647 w 90"/>
                <a:gd name="T55" fmla="*/ 2147483647 h 212"/>
                <a:gd name="T56" fmla="*/ 2147483647 w 90"/>
                <a:gd name="T57" fmla="*/ 2147483647 h 212"/>
                <a:gd name="T58" fmla="*/ 2147483647 w 90"/>
                <a:gd name="T59" fmla="*/ 2147483647 h 212"/>
                <a:gd name="T60" fmla="*/ 2147483647 w 90"/>
                <a:gd name="T61" fmla="*/ 2147483647 h 212"/>
                <a:gd name="T62" fmla="*/ 2147483647 w 90"/>
                <a:gd name="T63" fmla="*/ 2147483647 h 212"/>
                <a:gd name="T64" fmla="*/ 2147483647 w 90"/>
                <a:gd name="T65" fmla="*/ 2147483647 h 212"/>
                <a:gd name="T66" fmla="*/ 2147483647 w 90"/>
                <a:gd name="T67" fmla="*/ 2147483647 h 212"/>
                <a:gd name="T68" fmla="*/ 2147483647 w 90"/>
                <a:gd name="T69" fmla="*/ 2147483647 h 212"/>
                <a:gd name="T70" fmla="*/ 2147483647 w 90"/>
                <a:gd name="T71" fmla="*/ 2147483647 h 212"/>
                <a:gd name="T72" fmla="*/ 2147483647 w 90"/>
                <a:gd name="T73" fmla="*/ 2147483647 h 212"/>
                <a:gd name="T74" fmla="*/ 2147483647 w 90"/>
                <a:gd name="T75" fmla="*/ 2147483647 h 212"/>
                <a:gd name="T76" fmla="*/ 2147483647 w 90"/>
                <a:gd name="T77" fmla="*/ 2147483647 h 212"/>
                <a:gd name="T78" fmla="*/ 2147483647 w 90"/>
                <a:gd name="T79" fmla="*/ 2147483647 h 212"/>
                <a:gd name="T80" fmla="*/ 2147483647 w 90"/>
                <a:gd name="T81" fmla="*/ 2147483647 h 212"/>
                <a:gd name="T82" fmla="*/ 2147483647 w 90"/>
                <a:gd name="T83" fmla="*/ 2147483647 h 212"/>
                <a:gd name="T84" fmla="*/ 2147483647 w 90"/>
                <a:gd name="T85" fmla="*/ 2147483647 h 212"/>
                <a:gd name="T86" fmla="*/ 2147483647 w 90"/>
                <a:gd name="T87" fmla="*/ 2147483647 h 212"/>
                <a:gd name="T88" fmla="*/ 2147483647 w 90"/>
                <a:gd name="T89" fmla="*/ 2147483647 h 212"/>
                <a:gd name="T90" fmla="*/ 2147483647 w 90"/>
                <a:gd name="T91" fmla="*/ 2147483647 h 212"/>
                <a:gd name="T92" fmla="*/ 2147483647 w 90"/>
                <a:gd name="T93" fmla="*/ 2147483647 h 212"/>
                <a:gd name="T94" fmla="*/ 2147483647 w 90"/>
                <a:gd name="T95" fmla="*/ 2147483647 h 212"/>
                <a:gd name="T96" fmla="*/ 2147483647 w 90"/>
                <a:gd name="T97" fmla="*/ 2147483647 h 212"/>
                <a:gd name="T98" fmla="*/ 2147483647 w 90"/>
                <a:gd name="T99" fmla="*/ 2147483647 h 212"/>
                <a:gd name="T100" fmla="*/ 2147483647 w 90"/>
                <a:gd name="T101" fmla="*/ 2147483647 h 212"/>
                <a:gd name="T102" fmla="*/ 2147483647 w 90"/>
                <a:gd name="T103" fmla="*/ 2147483647 h 212"/>
                <a:gd name="T104" fmla="*/ 2147483647 w 90"/>
                <a:gd name="T105" fmla="*/ 2147483647 h 212"/>
                <a:gd name="T106" fmla="*/ 2147483647 w 90"/>
                <a:gd name="T107" fmla="*/ 2147483647 h 212"/>
                <a:gd name="T108" fmla="*/ 2147483647 w 90"/>
                <a:gd name="T109" fmla="*/ 2147483647 h 212"/>
                <a:gd name="T110" fmla="*/ 2147483647 w 90"/>
                <a:gd name="T111" fmla="*/ 2147483647 h 212"/>
                <a:gd name="T112" fmla="*/ 2147483647 w 90"/>
                <a:gd name="T113" fmla="*/ 2147483647 h 212"/>
                <a:gd name="T114" fmla="*/ 2147483647 w 90"/>
                <a:gd name="T115" fmla="*/ 2147483647 h 212"/>
                <a:gd name="T116" fmla="*/ 2147483647 w 90"/>
                <a:gd name="T117" fmla="*/ 2147483647 h 21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0"/>
                <a:gd name="T178" fmla="*/ 0 h 212"/>
                <a:gd name="T179" fmla="*/ 90 w 90"/>
                <a:gd name="T180" fmla="*/ 212 h 21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0" h="212">
                  <a:moveTo>
                    <a:pt x="18" y="152"/>
                  </a:moveTo>
                  <a:lnTo>
                    <a:pt x="18" y="156"/>
                  </a:lnTo>
                  <a:lnTo>
                    <a:pt x="18" y="162"/>
                  </a:lnTo>
                  <a:lnTo>
                    <a:pt x="16" y="168"/>
                  </a:lnTo>
                  <a:lnTo>
                    <a:pt x="22" y="174"/>
                  </a:lnTo>
                  <a:lnTo>
                    <a:pt x="28" y="178"/>
                  </a:lnTo>
                  <a:lnTo>
                    <a:pt x="32" y="184"/>
                  </a:lnTo>
                  <a:lnTo>
                    <a:pt x="34" y="190"/>
                  </a:lnTo>
                  <a:lnTo>
                    <a:pt x="36" y="196"/>
                  </a:lnTo>
                  <a:lnTo>
                    <a:pt x="40" y="202"/>
                  </a:lnTo>
                  <a:lnTo>
                    <a:pt x="46" y="204"/>
                  </a:lnTo>
                  <a:lnTo>
                    <a:pt x="52" y="206"/>
                  </a:lnTo>
                  <a:lnTo>
                    <a:pt x="54" y="212"/>
                  </a:lnTo>
                  <a:lnTo>
                    <a:pt x="60" y="210"/>
                  </a:lnTo>
                  <a:lnTo>
                    <a:pt x="54" y="206"/>
                  </a:lnTo>
                  <a:lnTo>
                    <a:pt x="50" y="198"/>
                  </a:lnTo>
                  <a:lnTo>
                    <a:pt x="46" y="192"/>
                  </a:lnTo>
                  <a:lnTo>
                    <a:pt x="42" y="188"/>
                  </a:lnTo>
                  <a:lnTo>
                    <a:pt x="40" y="182"/>
                  </a:lnTo>
                  <a:lnTo>
                    <a:pt x="38" y="176"/>
                  </a:lnTo>
                  <a:lnTo>
                    <a:pt x="36" y="170"/>
                  </a:lnTo>
                  <a:lnTo>
                    <a:pt x="34" y="164"/>
                  </a:lnTo>
                  <a:lnTo>
                    <a:pt x="32" y="158"/>
                  </a:lnTo>
                  <a:lnTo>
                    <a:pt x="30" y="152"/>
                  </a:lnTo>
                  <a:lnTo>
                    <a:pt x="30" y="150"/>
                  </a:lnTo>
                  <a:lnTo>
                    <a:pt x="30" y="146"/>
                  </a:lnTo>
                  <a:lnTo>
                    <a:pt x="32" y="140"/>
                  </a:lnTo>
                  <a:lnTo>
                    <a:pt x="32" y="134"/>
                  </a:lnTo>
                  <a:lnTo>
                    <a:pt x="32" y="126"/>
                  </a:lnTo>
                  <a:lnTo>
                    <a:pt x="32" y="120"/>
                  </a:lnTo>
                  <a:lnTo>
                    <a:pt x="38" y="120"/>
                  </a:lnTo>
                  <a:lnTo>
                    <a:pt x="44" y="120"/>
                  </a:lnTo>
                  <a:lnTo>
                    <a:pt x="50" y="124"/>
                  </a:lnTo>
                  <a:lnTo>
                    <a:pt x="56" y="126"/>
                  </a:lnTo>
                  <a:lnTo>
                    <a:pt x="62" y="126"/>
                  </a:lnTo>
                  <a:lnTo>
                    <a:pt x="66" y="126"/>
                  </a:lnTo>
                  <a:lnTo>
                    <a:pt x="74" y="130"/>
                  </a:lnTo>
                  <a:lnTo>
                    <a:pt x="78" y="132"/>
                  </a:lnTo>
                  <a:lnTo>
                    <a:pt x="84" y="134"/>
                  </a:lnTo>
                  <a:lnTo>
                    <a:pt x="90" y="134"/>
                  </a:lnTo>
                  <a:lnTo>
                    <a:pt x="84" y="130"/>
                  </a:lnTo>
                  <a:lnTo>
                    <a:pt x="80" y="124"/>
                  </a:lnTo>
                  <a:lnTo>
                    <a:pt x="78" y="118"/>
                  </a:lnTo>
                  <a:lnTo>
                    <a:pt x="74" y="112"/>
                  </a:lnTo>
                  <a:lnTo>
                    <a:pt x="70" y="110"/>
                  </a:lnTo>
                  <a:lnTo>
                    <a:pt x="64" y="108"/>
                  </a:lnTo>
                  <a:lnTo>
                    <a:pt x="56" y="106"/>
                  </a:lnTo>
                  <a:lnTo>
                    <a:pt x="52" y="100"/>
                  </a:lnTo>
                  <a:lnTo>
                    <a:pt x="54" y="96"/>
                  </a:lnTo>
                  <a:lnTo>
                    <a:pt x="58" y="90"/>
                  </a:lnTo>
                  <a:lnTo>
                    <a:pt x="64" y="86"/>
                  </a:lnTo>
                  <a:lnTo>
                    <a:pt x="70" y="84"/>
                  </a:lnTo>
                  <a:lnTo>
                    <a:pt x="76" y="78"/>
                  </a:lnTo>
                  <a:lnTo>
                    <a:pt x="80" y="74"/>
                  </a:lnTo>
                  <a:lnTo>
                    <a:pt x="80" y="68"/>
                  </a:lnTo>
                  <a:lnTo>
                    <a:pt x="82" y="62"/>
                  </a:lnTo>
                  <a:lnTo>
                    <a:pt x="82" y="56"/>
                  </a:lnTo>
                  <a:lnTo>
                    <a:pt x="78" y="50"/>
                  </a:lnTo>
                  <a:lnTo>
                    <a:pt x="80" y="44"/>
                  </a:lnTo>
                  <a:lnTo>
                    <a:pt x="74" y="42"/>
                  </a:lnTo>
                  <a:lnTo>
                    <a:pt x="68" y="46"/>
                  </a:lnTo>
                  <a:lnTo>
                    <a:pt x="62" y="46"/>
                  </a:lnTo>
                  <a:lnTo>
                    <a:pt x="56" y="52"/>
                  </a:lnTo>
                  <a:lnTo>
                    <a:pt x="50" y="54"/>
                  </a:lnTo>
                  <a:lnTo>
                    <a:pt x="46" y="60"/>
                  </a:lnTo>
                  <a:lnTo>
                    <a:pt x="42" y="66"/>
                  </a:lnTo>
                  <a:lnTo>
                    <a:pt x="48" y="68"/>
                  </a:lnTo>
                  <a:lnTo>
                    <a:pt x="46" y="74"/>
                  </a:lnTo>
                  <a:lnTo>
                    <a:pt x="40" y="74"/>
                  </a:lnTo>
                  <a:lnTo>
                    <a:pt x="36" y="78"/>
                  </a:lnTo>
                  <a:lnTo>
                    <a:pt x="32" y="84"/>
                  </a:lnTo>
                  <a:lnTo>
                    <a:pt x="32" y="90"/>
                  </a:lnTo>
                  <a:lnTo>
                    <a:pt x="28" y="96"/>
                  </a:lnTo>
                  <a:lnTo>
                    <a:pt x="22" y="96"/>
                  </a:lnTo>
                  <a:lnTo>
                    <a:pt x="16" y="92"/>
                  </a:lnTo>
                  <a:lnTo>
                    <a:pt x="14" y="86"/>
                  </a:lnTo>
                  <a:lnTo>
                    <a:pt x="18" y="78"/>
                  </a:lnTo>
                  <a:lnTo>
                    <a:pt x="24" y="74"/>
                  </a:lnTo>
                  <a:lnTo>
                    <a:pt x="32" y="70"/>
                  </a:lnTo>
                  <a:lnTo>
                    <a:pt x="34" y="64"/>
                  </a:lnTo>
                  <a:lnTo>
                    <a:pt x="36" y="58"/>
                  </a:lnTo>
                  <a:lnTo>
                    <a:pt x="38" y="52"/>
                  </a:lnTo>
                  <a:lnTo>
                    <a:pt x="38" y="46"/>
                  </a:lnTo>
                  <a:lnTo>
                    <a:pt x="36" y="40"/>
                  </a:lnTo>
                  <a:lnTo>
                    <a:pt x="36" y="34"/>
                  </a:lnTo>
                  <a:lnTo>
                    <a:pt x="32" y="28"/>
                  </a:lnTo>
                  <a:lnTo>
                    <a:pt x="26" y="24"/>
                  </a:lnTo>
                  <a:lnTo>
                    <a:pt x="28" y="18"/>
                  </a:lnTo>
                  <a:lnTo>
                    <a:pt x="32" y="12"/>
                  </a:lnTo>
                  <a:lnTo>
                    <a:pt x="36" y="6"/>
                  </a:lnTo>
                  <a:lnTo>
                    <a:pt x="36" y="0"/>
                  </a:lnTo>
                  <a:lnTo>
                    <a:pt x="30" y="2"/>
                  </a:lnTo>
                  <a:lnTo>
                    <a:pt x="26" y="8"/>
                  </a:lnTo>
                  <a:lnTo>
                    <a:pt x="22" y="14"/>
                  </a:lnTo>
                  <a:lnTo>
                    <a:pt x="16" y="20"/>
                  </a:lnTo>
                  <a:lnTo>
                    <a:pt x="14" y="26"/>
                  </a:lnTo>
                  <a:lnTo>
                    <a:pt x="10" y="32"/>
                  </a:lnTo>
                  <a:lnTo>
                    <a:pt x="8" y="38"/>
                  </a:lnTo>
                  <a:lnTo>
                    <a:pt x="8" y="44"/>
                  </a:lnTo>
                  <a:lnTo>
                    <a:pt x="8" y="50"/>
                  </a:lnTo>
                  <a:lnTo>
                    <a:pt x="6" y="56"/>
                  </a:lnTo>
                  <a:lnTo>
                    <a:pt x="4" y="62"/>
                  </a:lnTo>
                  <a:lnTo>
                    <a:pt x="0" y="66"/>
                  </a:lnTo>
                  <a:lnTo>
                    <a:pt x="2" y="74"/>
                  </a:lnTo>
                  <a:lnTo>
                    <a:pt x="6" y="78"/>
                  </a:lnTo>
                  <a:lnTo>
                    <a:pt x="6" y="84"/>
                  </a:lnTo>
                  <a:lnTo>
                    <a:pt x="8" y="92"/>
                  </a:lnTo>
                  <a:lnTo>
                    <a:pt x="14" y="94"/>
                  </a:lnTo>
                  <a:lnTo>
                    <a:pt x="10" y="100"/>
                  </a:lnTo>
                  <a:lnTo>
                    <a:pt x="10" y="106"/>
                  </a:lnTo>
                  <a:lnTo>
                    <a:pt x="8" y="112"/>
                  </a:lnTo>
                  <a:lnTo>
                    <a:pt x="10" y="118"/>
                  </a:lnTo>
                  <a:lnTo>
                    <a:pt x="12" y="124"/>
                  </a:lnTo>
                  <a:lnTo>
                    <a:pt x="18" y="128"/>
                  </a:lnTo>
                  <a:lnTo>
                    <a:pt x="20" y="134"/>
                  </a:lnTo>
                  <a:lnTo>
                    <a:pt x="18" y="140"/>
                  </a:lnTo>
                  <a:lnTo>
                    <a:pt x="18" y="146"/>
                  </a:lnTo>
                  <a:lnTo>
                    <a:pt x="18" y="1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59" name="Freeform 176"/>
            <p:cNvSpPr>
              <a:spLocks/>
            </p:cNvSpPr>
            <p:nvPr/>
          </p:nvSpPr>
          <p:spPr bwMode="auto">
            <a:xfrm>
              <a:off x="7412038" y="4325938"/>
              <a:ext cx="74612" cy="30162"/>
            </a:xfrm>
            <a:custGeom>
              <a:avLst/>
              <a:gdLst>
                <a:gd name="T0" fmla="*/ 2147483647 w 184"/>
                <a:gd name="T1" fmla="*/ 2147483647 h 72"/>
                <a:gd name="T2" fmla="*/ 2147483647 w 184"/>
                <a:gd name="T3" fmla="*/ 2147483647 h 72"/>
                <a:gd name="T4" fmla="*/ 2147483647 w 184"/>
                <a:gd name="T5" fmla="*/ 2147483647 h 72"/>
                <a:gd name="T6" fmla="*/ 2147483647 w 184"/>
                <a:gd name="T7" fmla="*/ 2147483647 h 72"/>
                <a:gd name="T8" fmla="*/ 2147483647 w 184"/>
                <a:gd name="T9" fmla="*/ 2147483647 h 72"/>
                <a:gd name="T10" fmla="*/ 2147483647 w 184"/>
                <a:gd name="T11" fmla="*/ 2147483647 h 72"/>
                <a:gd name="T12" fmla="*/ 2147483647 w 184"/>
                <a:gd name="T13" fmla="*/ 2147483647 h 72"/>
                <a:gd name="T14" fmla="*/ 2147483647 w 184"/>
                <a:gd name="T15" fmla="*/ 2147483647 h 72"/>
                <a:gd name="T16" fmla="*/ 2147483647 w 184"/>
                <a:gd name="T17" fmla="*/ 2147483647 h 72"/>
                <a:gd name="T18" fmla="*/ 2147483647 w 184"/>
                <a:gd name="T19" fmla="*/ 2147483647 h 72"/>
                <a:gd name="T20" fmla="*/ 2147483647 w 184"/>
                <a:gd name="T21" fmla="*/ 2147483647 h 72"/>
                <a:gd name="T22" fmla="*/ 2147483647 w 184"/>
                <a:gd name="T23" fmla="*/ 2147483647 h 72"/>
                <a:gd name="T24" fmla="*/ 2147483647 w 184"/>
                <a:gd name="T25" fmla="*/ 2147483647 h 72"/>
                <a:gd name="T26" fmla="*/ 2147483647 w 184"/>
                <a:gd name="T27" fmla="*/ 2147483647 h 72"/>
                <a:gd name="T28" fmla="*/ 2147483647 w 184"/>
                <a:gd name="T29" fmla="*/ 0 h 72"/>
                <a:gd name="T30" fmla="*/ 2147483647 w 184"/>
                <a:gd name="T31" fmla="*/ 2147483647 h 72"/>
                <a:gd name="T32" fmla="*/ 2147483647 w 184"/>
                <a:gd name="T33" fmla="*/ 2147483647 h 72"/>
                <a:gd name="T34" fmla="*/ 2147483647 w 184"/>
                <a:gd name="T35" fmla="*/ 2147483647 h 72"/>
                <a:gd name="T36" fmla="*/ 2147483647 w 184"/>
                <a:gd name="T37" fmla="*/ 2147483647 h 72"/>
                <a:gd name="T38" fmla="*/ 2147483647 w 184"/>
                <a:gd name="T39" fmla="*/ 2147483647 h 72"/>
                <a:gd name="T40" fmla="*/ 2147483647 w 184"/>
                <a:gd name="T41" fmla="*/ 2147483647 h 72"/>
                <a:gd name="T42" fmla="*/ 2147483647 w 184"/>
                <a:gd name="T43" fmla="*/ 2147483647 h 72"/>
                <a:gd name="T44" fmla="*/ 2147483647 w 184"/>
                <a:gd name="T45" fmla="*/ 2147483647 h 72"/>
                <a:gd name="T46" fmla="*/ 2147483647 w 184"/>
                <a:gd name="T47" fmla="*/ 2147483647 h 72"/>
                <a:gd name="T48" fmla="*/ 2147483647 w 184"/>
                <a:gd name="T49" fmla="*/ 2147483647 h 72"/>
                <a:gd name="T50" fmla="*/ 2147483647 w 184"/>
                <a:gd name="T51" fmla="*/ 2147483647 h 72"/>
                <a:gd name="T52" fmla="*/ 2147483647 w 184"/>
                <a:gd name="T53" fmla="*/ 2147483647 h 72"/>
                <a:gd name="T54" fmla="*/ 2147483647 w 184"/>
                <a:gd name="T55" fmla="*/ 2147483647 h 72"/>
                <a:gd name="T56" fmla="*/ 2147483647 w 184"/>
                <a:gd name="T57" fmla="*/ 2147483647 h 72"/>
                <a:gd name="T58" fmla="*/ 2147483647 w 184"/>
                <a:gd name="T59" fmla="*/ 2147483647 h 72"/>
                <a:gd name="T60" fmla="*/ 2147483647 w 184"/>
                <a:gd name="T61" fmla="*/ 2147483647 h 72"/>
                <a:gd name="T62" fmla="*/ 2147483647 w 184"/>
                <a:gd name="T63" fmla="*/ 2147483647 h 72"/>
                <a:gd name="T64" fmla="*/ 2147483647 w 184"/>
                <a:gd name="T65" fmla="*/ 2147483647 h 72"/>
                <a:gd name="T66" fmla="*/ 2147483647 w 184"/>
                <a:gd name="T67" fmla="*/ 2147483647 h 72"/>
                <a:gd name="T68" fmla="*/ 2147483647 w 184"/>
                <a:gd name="T69" fmla="*/ 2147483647 h 72"/>
                <a:gd name="T70" fmla="*/ 2147483647 w 184"/>
                <a:gd name="T71" fmla="*/ 2147483647 h 72"/>
                <a:gd name="T72" fmla="*/ 2147483647 w 184"/>
                <a:gd name="T73" fmla="*/ 2147483647 h 72"/>
                <a:gd name="T74" fmla="*/ 2147483647 w 184"/>
                <a:gd name="T75" fmla="*/ 2147483647 h 72"/>
                <a:gd name="T76" fmla="*/ 2147483647 w 184"/>
                <a:gd name="T77" fmla="*/ 2147483647 h 72"/>
                <a:gd name="T78" fmla="*/ 2147483647 w 184"/>
                <a:gd name="T79" fmla="*/ 2147483647 h 72"/>
                <a:gd name="T80" fmla="*/ 2147483647 w 184"/>
                <a:gd name="T81" fmla="*/ 2147483647 h 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4"/>
                <a:gd name="T124" fmla="*/ 0 h 72"/>
                <a:gd name="T125" fmla="*/ 184 w 184"/>
                <a:gd name="T126" fmla="*/ 72 h 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4" h="72">
                  <a:moveTo>
                    <a:pt x="130" y="46"/>
                  </a:moveTo>
                  <a:lnTo>
                    <a:pt x="132" y="48"/>
                  </a:lnTo>
                  <a:lnTo>
                    <a:pt x="138" y="50"/>
                  </a:lnTo>
                  <a:lnTo>
                    <a:pt x="144" y="54"/>
                  </a:lnTo>
                  <a:lnTo>
                    <a:pt x="150" y="56"/>
                  </a:lnTo>
                  <a:lnTo>
                    <a:pt x="156" y="58"/>
                  </a:lnTo>
                  <a:lnTo>
                    <a:pt x="162" y="62"/>
                  </a:lnTo>
                  <a:lnTo>
                    <a:pt x="168" y="68"/>
                  </a:lnTo>
                  <a:lnTo>
                    <a:pt x="174" y="72"/>
                  </a:lnTo>
                  <a:lnTo>
                    <a:pt x="180" y="72"/>
                  </a:lnTo>
                  <a:lnTo>
                    <a:pt x="180" y="66"/>
                  </a:lnTo>
                  <a:lnTo>
                    <a:pt x="182" y="60"/>
                  </a:lnTo>
                  <a:lnTo>
                    <a:pt x="184" y="54"/>
                  </a:lnTo>
                  <a:lnTo>
                    <a:pt x="180" y="48"/>
                  </a:lnTo>
                  <a:lnTo>
                    <a:pt x="176" y="42"/>
                  </a:lnTo>
                  <a:lnTo>
                    <a:pt x="170" y="40"/>
                  </a:lnTo>
                  <a:lnTo>
                    <a:pt x="170" y="34"/>
                  </a:lnTo>
                  <a:lnTo>
                    <a:pt x="168" y="28"/>
                  </a:lnTo>
                  <a:lnTo>
                    <a:pt x="166" y="22"/>
                  </a:lnTo>
                  <a:lnTo>
                    <a:pt x="160" y="18"/>
                  </a:lnTo>
                  <a:lnTo>
                    <a:pt x="156" y="12"/>
                  </a:lnTo>
                  <a:lnTo>
                    <a:pt x="150" y="12"/>
                  </a:lnTo>
                  <a:lnTo>
                    <a:pt x="144" y="14"/>
                  </a:lnTo>
                  <a:lnTo>
                    <a:pt x="138" y="14"/>
                  </a:lnTo>
                  <a:lnTo>
                    <a:pt x="132" y="12"/>
                  </a:lnTo>
                  <a:lnTo>
                    <a:pt x="130" y="12"/>
                  </a:lnTo>
                  <a:lnTo>
                    <a:pt x="124" y="8"/>
                  </a:lnTo>
                  <a:lnTo>
                    <a:pt x="118" y="4"/>
                  </a:lnTo>
                  <a:lnTo>
                    <a:pt x="112" y="2"/>
                  </a:lnTo>
                  <a:lnTo>
                    <a:pt x="106" y="0"/>
                  </a:lnTo>
                  <a:lnTo>
                    <a:pt x="100" y="0"/>
                  </a:lnTo>
                  <a:lnTo>
                    <a:pt x="94" y="2"/>
                  </a:lnTo>
                  <a:lnTo>
                    <a:pt x="88" y="6"/>
                  </a:lnTo>
                  <a:lnTo>
                    <a:pt x="82" y="10"/>
                  </a:lnTo>
                  <a:lnTo>
                    <a:pt x="76" y="8"/>
                  </a:lnTo>
                  <a:lnTo>
                    <a:pt x="70" y="2"/>
                  </a:lnTo>
                  <a:lnTo>
                    <a:pt x="66" y="4"/>
                  </a:lnTo>
                  <a:lnTo>
                    <a:pt x="60" y="4"/>
                  </a:lnTo>
                  <a:lnTo>
                    <a:pt x="54" y="4"/>
                  </a:lnTo>
                  <a:lnTo>
                    <a:pt x="48" y="4"/>
                  </a:lnTo>
                  <a:lnTo>
                    <a:pt x="42" y="2"/>
                  </a:lnTo>
                  <a:lnTo>
                    <a:pt x="36" y="4"/>
                  </a:lnTo>
                  <a:lnTo>
                    <a:pt x="30" y="4"/>
                  </a:lnTo>
                  <a:lnTo>
                    <a:pt x="24" y="4"/>
                  </a:lnTo>
                  <a:lnTo>
                    <a:pt x="18" y="6"/>
                  </a:lnTo>
                  <a:lnTo>
                    <a:pt x="16" y="12"/>
                  </a:lnTo>
                  <a:lnTo>
                    <a:pt x="12" y="18"/>
                  </a:lnTo>
                  <a:lnTo>
                    <a:pt x="8" y="20"/>
                  </a:lnTo>
                  <a:lnTo>
                    <a:pt x="0" y="26"/>
                  </a:lnTo>
                  <a:lnTo>
                    <a:pt x="2" y="32"/>
                  </a:lnTo>
                  <a:lnTo>
                    <a:pt x="4" y="38"/>
                  </a:lnTo>
                  <a:lnTo>
                    <a:pt x="4" y="44"/>
                  </a:lnTo>
                  <a:lnTo>
                    <a:pt x="4" y="50"/>
                  </a:lnTo>
                  <a:lnTo>
                    <a:pt x="6" y="44"/>
                  </a:lnTo>
                  <a:lnTo>
                    <a:pt x="10" y="38"/>
                  </a:lnTo>
                  <a:lnTo>
                    <a:pt x="12" y="34"/>
                  </a:lnTo>
                  <a:lnTo>
                    <a:pt x="12" y="28"/>
                  </a:lnTo>
                  <a:lnTo>
                    <a:pt x="16" y="22"/>
                  </a:lnTo>
                  <a:lnTo>
                    <a:pt x="22" y="22"/>
                  </a:lnTo>
                  <a:lnTo>
                    <a:pt x="20" y="28"/>
                  </a:lnTo>
                  <a:lnTo>
                    <a:pt x="26" y="30"/>
                  </a:lnTo>
                  <a:lnTo>
                    <a:pt x="30" y="36"/>
                  </a:lnTo>
                  <a:lnTo>
                    <a:pt x="32" y="42"/>
                  </a:lnTo>
                  <a:lnTo>
                    <a:pt x="38" y="46"/>
                  </a:lnTo>
                  <a:lnTo>
                    <a:pt x="44" y="44"/>
                  </a:lnTo>
                  <a:lnTo>
                    <a:pt x="50" y="38"/>
                  </a:lnTo>
                  <a:lnTo>
                    <a:pt x="56" y="32"/>
                  </a:lnTo>
                  <a:lnTo>
                    <a:pt x="62" y="28"/>
                  </a:lnTo>
                  <a:lnTo>
                    <a:pt x="68" y="32"/>
                  </a:lnTo>
                  <a:lnTo>
                    <a:pt x="68" y="38"/>
                  </a:lnTo>
                  <a:lnTo>
                    <a:pt x="74" y="38"/>
                  </a:lnTo>
                  <a:lnTo>
                    <a:pt x="80" y="40"/>
                  </a:lnTo>
                  <a:lnTo>
                    <a:pt x="84" y="42"/>
                  </a:lnTo>
                  <a:lnTo>
                    <a:pt x="92" y="42"/>
                  </a:lnTo>
                  <a:lnTo>
                    <a:pt x="96" y="44"/>
                  </a:lnTo>
                  <a:lnTo>
                    <a:pt x="102" y="40"/>
                  </a:lnTo>
                  <a:lnTo>
                    <a:pt x="104" y="34"/>
                  </a:lnTo>
                  <a:lnTo>
                    <a:pt x="110" y="36"/>
                  </a:lnTo>
                  <a:lnTo>
                    <a:pt x="116" y="36"/>
                  </a:lnTo>
                  <a:lnTo>
                    <a:pt x="122" y="38"/>
                  </a:lnTo>
                  <a:lnTo>
                    <a:pt x="128" y="40"/>
                  </a:lnTo>
                  <a:lnTo>
                    <a:pt x="130" y="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0" name="Freeform 177"/>
            <p:cNvSpPr>
              <a:spLocks/>
            </p:cNvSpPr>
            <p:nvPr/>
          </p:nvSpPr>
          <p:spPr bwMode="auto">
            <a:xfrm>
              <a:off x="7461250" y="4294188"/>
              <a:ext cx="15875" cy="11112"/>
            </a:xfrm>
            <a:custGeom>
              <a:avLst/>
              <a:gdLst>
                <a:gd name="T0" fmla="*/ 2147483647 w 40"/>
                <a:gd name="T1" fmla="*/ 2147483647 h 26"/>
                <a:gd name="T2" fmla="*/ 2147483647 w 40"/>
                <a:gd name="T3" fmla="*/ 2147483647 h 26"/>
                <a:gd name="T4" fmla="*/ 2147483647 w 40"/>
                <a:gd name="T5" fmla="*/ 2147483647 h 26"/>
                <a:gd name="T6" fmla="*/ 2147483647 w 40"/>
                <a:gd name="T7" fmla="*/ 2147483647 h 26"/>
                <a:gd name="T8" fmla="*/ 2147483647 w 40"/>
                <a:gd name="T9" fmla="*/ 2147483647 h 26"/>
                <a:gd name="T10" fmla="*/ 2147483647 w 40"/>
                <a:gd name="T11" fmla="*/ 2147483647 h 26"/>
                <a:gd name="T12" fmla="*/ 2147483647 w 40"/>
                <a:gd name="T13" fmla="*/ 2147483647 h 26"/>
                <a:gd name="T14" fmla="*/ 2147483647 w 40"/>
                <a:gd name="T15" fmla="*/ 2147483647 h 26"/>
                <a:gd name="T16" fmla="*/ 2147483647 w 40"/>
                <a:gd name="T17" fmla="*/ 0 h 26"/>
                <a:gd name="T18" fmla="*/ 2147483647 w 40"/>
                <a:gd name="T19" fmla="*/ 2147483647 h 26"/>
                <a:gd name="T20" fmla="*/ 2147483647 w 40"/>
                <a:gd name="T21" fmla="*/ 2147483647 h 26"/>
                <a:gd name="T22" fmla="*/ 2147483647 w 40"/>
                <a:gd name="T23" fmla="*/ 2147483647 h 26"/>
                <a:gd name="T24" fmla="*/ 2147483647 w 40"/>
                <a:gd name="T25" fmla="*/ 2147483647 h 26"/>
                <a:gd name="T26" fmla="*/ 2147483647 w 40"/>
                <a:gd name="T27" fmla="*/ 2147483647 h 26"/>
                <a:gd name="T28" fmla="*/ 2147483647 w 40"/>
                <a:gd name="T29" fmla="*/ 2147483647 h 26"/>
                <a:gd name="T30" fmla="*/ 0 w 40"/>
                <a:gd name="T31" fmla="*/ 2147483647 h 26"/>
                <a:gd name="T32" fmla="*/ 2147483647 w 40"/>
                <a:gd name="T33" fmla="*/ 2147483647 h 26"/>
                <a:gd name="T34" fmla="*/ 2147483647 w 40"/>
                <a:gd name="T35" fmla="*/ 2147483647 h 26"/>
                <a:gd name="T36" fmla="*/ 2147483647 w 40"/>
                <a:gd name="T37" fmla="*/ 2147483647 h 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26"/>
                <a:gd name="T59" fmla="*/ 40 w 40"/>
                <a:gd name="T60" fmla="*/ 26 h 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26">
                  <a:moveTo>
                    <a:pt x="14" y="24"/>
                  </a:moveTo>
                  <a:lnTo>
                    <a:pt x="20" y="24"/>
                  </a:lnTo>
                  <a:lnTo>
                    <a:pt x="26" y="26"/>
                  </a:lnTo>
                  <a:lnTo>
                    <a:pt x="32" y="22"/>
                  </a:lnTo>
                  <a:lnTo>
                    <a:pt x="38" y="22"/>
                  </a:lnTo>
                  <a:lnTo>
                    <a:pt x="36" y="16"/>
                  </a:lnTo>
                  <a:lnTo>
                    <a:pt x="40" y="12"/>
                  </a:lnTo>
                  <a:lnTo>
                    <a:pt x="38" y="6"/>
                  </a:lnTo>
                  <a:lnTo>
                    <a:pt x="36" y="0"/>
                  </a:lnTo>
                  <a:lnTo>
                    <a:pt x="30" y="2"/>
                  </a:lnTo>
                  <a:lnTo>
                    <a:pt x="24" y="4"/>
                  </a:lnTo>
                  <a:lnTo>
                    <a:pt x="18" y="4"/>
                  </a:lnTo>
                  <a:lnTo>
                    <a:pt x="14" y="6"/>
                  </a:lnTo>
                  <a:lnTo>
                    <a:pt x="12" y="6"/>
                  </a:lnTo>
                  <a:lnTo>
                    <a:pt x="6" y="10"/>
                  </a:lnTo>
                  <a:lnTo>
                    <a:pt x="0" y="12"/>
                  </a:lnTo>
                  <a:lnTo>
                    <a:pt x="2" y="18"/>
                  </a:lnTo>
                  <a:lnTo>
                    <a:pt x="8" y="22"/>
                  </a:lnTo>
                  <a:lnTo>
                    <a:pt x="14" y="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1" name="Freeform 178"/>
            <p:cNvSpPr>
              <a:spLocks/>
            </p:cNvSpPr>
            <p:nvPr/>
          </p:nvSpPr>
          <p:spPr bwMode="auto">
            <a:xfrm>
              <a:off x="7473950" y="4246563"/>
              <a:ext cx="25400" cy="12700"/>
            </a:xfrm>
            <a:custGeom>
              <a:avLst/>
              <a:gdLst>
                <a:gd name="T0" fmla="*/ 2147483647 w 64"/>
                <a:gd name="T1" fmla="*/ 2147483647 h 30"/>
                <a:gd name="T2" fmla="*/ 2147483647 w 64"/>
                <a:gd name="T3" fmla="*/ 2147483647 h 30"/>
                <a:gd name="T4" fmla="*/ 2147483647 w 64"/>
                <a:gd name="T5" fmla="*/ 2147483647 h 30"/>
                <a:gd name="T6" fmla="*/ 2147483647 w 64"/>
                <a:gd name="T7" fmla="*/ 2147483647 h 30"/>
                <a:gd name="T8" fmla="*/ 2147483647 w 64"/>
                <a:gd name="T9" fmla="*/ 2147483647 h 30"/>
                <a:gd name="T10" fmla="*/ 2147483647 w 64"/>
                <a:gd name="T11" fmla="*/ 2147483647 h 30"/>
                <a:gd name="T12" fmla="*/ 2147483647 w 64"/>
                <a:gd name="T13" fmla="*/ 2147483647 h 30"/>
                <a:gd name="T14" fmla="*/ 2147483647 w 64"/>
                <a:gd name="T15" fmla="*/ 2147483647 h 30"/>
                <a:gd name="T16" fmla="*/ 2147483647 w 64"/>
                <a:gd name="T17" fmla="*/ 2147483647 h 30"/>
                <a:gd name="T18" fmla="*/ 2147483647 w 64"/>
                <a:gd name="T19" fmla="*/ 2147483647 h 30"/>
                <a:gd name="T20" fmla="*/ 2147483647 w 64"/>
                <a:gd name="T21" fmla="*/ 2147483647 h 30"/>
                <a:gd name="T22" fmla="*/ 2147483647 w 64"/>
                <a:gd name="T23" fmla="*/ 2147483647 h 30"/>
                <a:gd name="T24" fmla="*/ 2147483647 w 64"/>
                <a:gd name="T25" fmla="*/ 2147483647 h 30"/>
                <a:gd name="T26" fmla="*/ 2147483647 w 64"/>
                <a:gd name="T27" fmla="*/ 2147483647 h 30"/>
                <a:gd name="T28" fmla="*/ 2147483647 w 64"/>
                <a:gd name="T29" fmla="*/ 2147483647 h 30"/>
                <a:gd name="T30" fmla="*/ 2147483647 w 64"/>
                <a:gd name="T31" fmla="*/ 2147483647 h 30"/>
                <a:gd name="T32" fmla="*/ 2147483647 w 64"/>
                <a:gd name="T33" fmla="*/ 2147483647 h 30"/>
                <a:gd name="T34" fmla="*/ 2147483647 w 64"/>
                <a:gd name="T35" fmla="*/ 2147483647 h 30"/>
                <a:gd name="T36" fmla="*/ 2147483647 w 64"/>
                <a:gd name="T37" fmla="*/ 2147483647 h 30"/>
                <a:gd name="T38" fmla="*/ 2147483647 w 64"/>
                <a:gd name="T39" fmla="*/ 2147483647 h 30"/>
                <a:gd name="T40" fmla="*/ 2147483647 w 64"/>
                <a:gd name="T41" fmla="*/ 2147483647 h 30"/>
                <a:gd name="T42" fmla="*/ 2147483647 w 64"/>
                <a:gd name="T43" fmla="*/ 2147483647 h 30"/>
                <a:gd name="T44" fmla="*/ 2147483647 w 64"/>
                <a:gd name="T45" fmla="*/ 2147483647 h 30"/>
                <a:gd name="T46" fmla="*/ 2147483647 w 64"/>
                <a:gd name="T47" fmla="*/ 2147483647 h 30"/>
                <a:gd name="T48" fmla="*/ 2147483647 w 64"/>
                <a:gd name="T49" fmla="*/ 2147483647 h 30"/>
                <a:gd name="T50" fmla="*/ 2147483647 w 64"/>
                <a:gd name="T51" fmla="*/ 0 h 30"/>
                <a:gd name="T52" fmla="*/ 2147483647 w 64"/>
                <a:gd name="T53" fmla="*/ 2147483647 h 30"/>
                <a:gd name="T54" fmla="*/ 2147483647 w 64"/>
                <a:gd name="T55" fmla="*/ 2147483647 h 30"/>
                <a:gd name="T56" fmla="*/ 2147483647 w 64"/>
                <a:gd name="T57" fmla="*/ 2147483647 h 30"/>
                <a:gd name="T58" fmla="*/ 2147483647 w 64"/>
                <a:gd name="T59" fmla="*/ 2147483647 h 30"/>
                <a:gd name="T60" fmla="*/ 2147483647 w 64"/>
                <a:gd name="T61" fmla="*/ 2147483647 h 30"/>
                <a:gd name="T62" fmla="*/ 2147483647 w 64"/>
                <a:gd name="T63" fmla="*/ 2147483647 h 30"/>
                <a:gd name="T64" fmla="*/ 2147483647 w 64"/>
                <a:gd name="T65" fmla="*/ 2147483647 h 30"/>
                <a:gd name="T66" fmla="*/ 2147483647 w 64"/>
                <a:gd name="T67" fmla="*/ 2147483647 h 30"/>
                <a:gd name="T68" fmla="*/ 0 w 64"/>
                <a:gd name="T69" fmla="*/ 2147483647 h 30"/>
                <a:gd name="T70" fmla="*/ 2147483647 w 64"/>
                <a:gd name="T71" fmla="*/ 2147483647 h 30"/>
                <a:gd name="T72" fmla="*/ 2147483647 w 64"/>
                <a:gd name="T73" fmla="*/ 2147483647 h 30"/>
                <a:gd name="T74" fmla="*/ 2147483647 w 64"/>
                <a:gd name="T75" fmla="*/ 2147483647 h 30"/>
                <a:gd name="T76" fmla="*/ 2147483647 w 64"/>
                <a:gd name="T77" fmla="*/ 2147483647 h 30"/>
                <a:gd name="T78" fmla="*/ 2147483647 w 64"/>
                <a:gd name="T79" fmla="*/ 2147483647 h 30"/>
                <a:gd name="T80" fmla="*/ 2147483647 w 64"/>
                <a:gd name="T81" fmla="*/ 2147483647 h 30"/>
                <a:gd name="T82" fmla="*/ 2147483647 w 64"/>
                <a:gd name="T83" fmla="*/ 2147483647 h 30"/>
                <a:gd name="T84" fmla="*/ 2147483647 w 64"/>
                <a:gd name="T85" fmla="*/ 2147483647 h 3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4"/>
                <a:gd name="T130" fmla="*/ 0 h 30"/>
                <a:gd name="T131" fmla="*/ 64 w 64"/>
                <a:gd name="T132" fmla="*/ 30 h 3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4" h="30">
                  <a:moveTo>
                    <a:pt x="28" y="30"/>
                  </a:moveTo>
                  <a:lnTo>
                    <a:pt x="34" y="30"/>
                  </a:lnTo>
                  <a:lnTo>
                    <a:pt x="40" y="28"/>
                  </a:lnTo>
                  <a:lnTo>
                    <a:pt x="40" y="26"/>
                  </a:lnTo>
                  <a:lnTo>
                    <a:pt x="36" y="20"/>
                  </a:lnTo>
                  <a:lnTo>
                    <a:pt x="30" y="20"/>
                  </a:lnTo>
                  <a:lnTo>
                    <a:pt x="26" y="14"/>
                  </a:lnTo>
                  <a:lnTo>
                    <a:pt x="22" y="8"/>
                  </a:lnTo>
                  <a:lnTo>
                    <a:pt x="28" y="8"/>
                  </a:lnTo>
                  <a:lnTo>
                    <a:pt x="32" y="14"/>
                  </a:lnTo>
                  <a:lnTo>
                    <a:pt x="38" y="18"/>
                  </a:lnTo>
                  <a:lnTo>
                    <a:pt x="42" y="24"/>
                  </a:lnTo>
                  <a:lnTo>
                    <a:pt x="44" y="24"/>
                  </a:lnTo>
                  <a:lnTo>
                    <a:pt x="46" y="24"/>
                  </a:lnTo>
                  <a:lnTo>
                    <a:pt x="48" y="24"/>
                  </a:lnTo>
                  <a:lnTo>
                    <a:pt x="50" y="22"/>
                  </a:lnTo>
                  <a:lnTo>
                    <a:pt x="56" y="26"/>
                  </a:lnTo>
                  <a:lnTo>
                    <a:pt x="62" y="22"/>
                  </a:lnTo>
                  <a:lnTo>
                    <a:pt x="64" y="18"/>
                  </a:lnTo>
                  <a:lnTo>
                    <a:pt x="62" y="12"/>
                  </a:lnTo>
                  <a:lnTo>
                    <a:pt x="58" y="10"/>
                  </a:lnTo>
                  <a:lnTo>
                    <a:pt x="52" y="6"/>
                  </a:lnTo>
                  <a:lnTo>
                    <a:pt x="46" y="2"/>
                  </a:lnTo>
                  <a:lnTo>
                    <a:pt x="40" y="2"/>
                  </a:lnTo>
                  <a:lnTo>
                    <a:pt x="34" y="0"/>
                  </a:lnTo>
                  <a:lnTo>
                    <a:pt x="28" y="4"/>
                  </a:lnTo>
                  <a:lnTo>
                    <a:pt x="22" y="4"/>
                  </a:lnTo>
                  <a:lnTo>
                    <a:pt x="16" y="4"/>
                  </a:lnTo>
                  <a:lnTo>
                    <a:pt x="10" y="6"/>
                  </a:lnTo>
                  <a:lnTo>
                    <a:pt x="4" y="6"/>
                  </a:lnTo>
                  <a:lnTo>
                    <a:pt x="2" y="12"/>
                  </a:lnTo>
                  <a:lnTo>
                    <a:pt x="8" y="10"/>
                  </a:lnTo>
                  <a:lnTo>
                    <a:pt x="6" y="16"/>
                  </a:lnTo>
                  <a:lnTo>
                    <a:pt x="0" y="14"/>
                  </a:lnTo>
                  <a:lnTo>
                    <a:pt x="6" y="20"/>
                  </a:lnTo>
                  <a:lnTo>
                    <a:pt x="12" y="18"/>
                  </a:lnTo>
                  <a:lnTo>
                    <a:pt x="16" y="24"/>
                  </a:lnTo>
                  <a:lnTo>
                    <a:pt x="16" y="30"/>
                  </a:lnTo>
                  <a:lnTo>
                    <a:pt x="18" y="24"/>
                  </a:lnTo>
                  <a:lnTo>
                    <a:pt x="24" y="20"/>
                  </a:lnTo>
                  <a:lnTo>
                    <a:pt x="26" y="26"/>
                  </a:lnTo>
                  <a:lnTo>
                    <a:pt x="28" y="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2" name="Freeform 179"/>
            <p:cNvSpPr>
              <a:spLocks/>
            </p:cNvSpPr>
            <p:nvPr/>
          </p:nvSpPr>
          <p:spPr bwMode="auto">
            <a:xfrm>
              <a:off x="7485063" y="4448175"/>
              <a:ext cx="17462" cy="26988"/>
            </a:xfrm>
            <a:custGeom>
              <a:avLst/>
              <a:gdLst>
                <a:gd name="T0" fmla="*/ 2147483647 w 42"/>
                <a:gd name="T1" fmla="*/ 0 h 64"/>
                <a:gd name="T2" fmla="*/ 2147483647 w 42"/>
                <a:gd name="T3" fmla="*/ 2147483647 h 64"/>
                <a:gd name="T4" fmla="*/ 2147483647 w 42"/>
                <a:gd name="T5" fmla="*/ 2147483647 h 64"/>
                <a:gd name="T6" fmla="*/ 2147483647 w 42"/>
                <a:gd name="T7" fmla="*/ 2147483647 h 64"/>
                <a:gd name="T8" fmla="*/ 2147483647 w 42"/>
                <a:gd name="T9" fmla="*/ 2147483647 h 64"/>
                <a:gd name="T10" fmla="*/ 2147483647 w 42"/>
                <a:gd name="T11" fmla="*/ 2147483647 h 64"/>
                <a:gd name="T12" fmla="*/ 2147483647 w 42"/>
                <a:gd name="T13" fmla="*/ 2147483647 h 64"/>
                <a:gd name="T14" fmla="*/ 2147483647 w 42"/>
                <a:gd name="T15" fmla="*/ 2147483647 h 64"/>
                <a:gd name="T16" fmla="*/ 2147483647 w 42"/>
                <a:gd name="T17" fmla="*/ 2147483647 h 64"/>
                <a:gd name="T18" fmla="*/ 2147483647 w 42"/>
                <a:gd name="T19" fmla="*/ 2147483647 h 64"/>
                <a:gd name="T20" fmla="*/ 2147483647 w 42"/>
                <a:gd name="T21" fmla="*/ 2147483647 h 64"/>
                <a:gd name="T22" fmla="*/ 0 w 42"/>
                <a:gd name="T23" fmla="*/ 2147483647 h 64"/>
                <a:gd name="T24" fmla="*/ 2147483647 w 42"/>
                <a:gd name="T25" fmla="*/ 2147483647 h 64"/>
                <a:gd name="T26" fmla="*/ 2147483647 w 42"/>
                <a:gd name="T27" fmla="*/ 2147483647 h 64"/>
                <a:gd name="T28" fmla="*/ 2147483647 w 42"/>
                <a:gd name="T29" fmla="*/ 2147483647 h 64"/>
                <a:gd name="T30" fmla="*/ 2147483647 w 42"/>
                <a:gd name="T31" fmla="*/ 2147483647 h 64"/>
                <a:gd name="T32" fmla="*/ 2147483647 w 42"/>
                <a:gd name="T33" fmla="*/ 2147483647 h 64"/>
                <a:gd name="T34" fmla="*/ 2147483647 w 42"/>
                <a:gd name="T35" fmla="*/ 2147483647 h 64"/>
                <a:gd name="T36" fmla="*/ 2147483647 w 42"/>
                <a:gd name="T37" fmla="*/ 2147483647 h 64"/>
                <a:gd name="T38" fmla="*/ 2147483647 w 42"/>
                <a:gd name="T39" fmla="*/ 2147483647 h 64"/>
                <a:gd name="T40" fmla="*/ 2147483647 w 42"/>
                <a:gd name="T41" fmla="*/ 2147483647 h 64"/>
                <a:gd name="T42" fmla="*/ 2147483647 w 42"/>
                <a:gd name="T43" fmla="*/ 2147483647 h 64"/>
                <a:gd name="T44" fmla="*/ 2147483647 w 42"/>
                <a:gd name="T45" fmla="*/ 2147483647 h 64"/>
                <a:gd name="T46" fmla="*/ 2147483647 w 42"/>
                <a:gd name="T47" fmla="*/ 2147483647 h 64"/>
                <a:gd name="T48" fmla="*/ 2147483647 w 42"/>
                <a:gd name="T49" fmla="*/ 2147483647 h 64"/>
                <a:gd name="T50" fmla="*/ 2147483647 w 42"/>
                <a:gd name="T51" fmla="*/ 2147483647 h 64"/>
                <a:gd name="T52" fmla="*/ 2147483647 w 42"/>
                <a:gd name="T53" fmla="*/ 0 h 6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64"/>
                <a:gd name="T83" fmla="*/ 42 w 42"/>
                <a:gd name="T84" fmla="*/ 64 h 6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64">
                  <a:moveTo>
                    <a:pt x="38" y="0"/>
                  </a:moveTo>
                  <a:lnTo>
                    <a:pt x="32" y="2"/>
                  </a:lnTo>
                  <a:lnTo>
                    <a:pt x="30" y="8"/>
                  </a:lnTo>
                  <a:lnTo>
                    <a:pt x="24" y="14"/>
                  </a:lnTo>
                  <a:lnTo>
                    <a:pt x="20" y="20"/>
                  </a:lnTo>
                  <a:lnTo>
                    <a:pt x="14" y="24"/>
                  </a:lnTo>
                  <a:lnTo>
                    <a:pt x="10" y="30"/>
                  </a:lnTo>
                  <a:lnTo>
                    <a:pt x="6" y="36"/>
                  </a:lnTo>
                  <a:lnTo>
                    <a:pt x="10" y="42"/>
                  </a:lnTo>
                  <a:lnTo>
                    <a:pt x="4" y="40"/>
                  </a:lnTo>
                  <a:lnTo>
                    <a:pt x="4" y="46"/>
                  </a:lnTo>
                  <a:lnTo>
                    <a:pt x="0" y="52"/>
                  </a:lnTo>
                  <a:lnTo>
                    <a:pt x="2" y="58"/>
                  </a:lnTo>
                  <a:lnTo>
                    <a:pt x="6" y="62"/>
                  </a:lnTo>
                  <a:lnTo>
                    <a:pt x="12" y="64"/>
                  </a:lnTo>
                  <a:lnTo>
                    <a:pt x="16" y="58"/>
                  </a:lnTo>
                  <a:lnTo>
                    <a:pt x="18" y="52"/>
                  </a:lnTo>
                  <a:lnTo>
                    <a:pt x="24" y="46"/>
                  </a:lnTo>
                  <a:lnTo>
                    <a:pt x="30" y="42"/>
                  </a:lnTo>
                  <a:lnTo>
                    <a:pt x="34" y="36"/>
                  </a:lnTo>
                  <a:lnTo>
                    <a:pt x="36" y="30"/>
                  </a:lnTo>
                  <a:lnTo>
                    <a:pt x="38" y="24"/>
                  </a:lnTo>
                  <a:lnTo>
                    <a:pt x="38" y="18"/>
                  </a:lnTo>
                  <a:lnTo>
                    <a:pt x="36" y="12"/>
                  </a:lnTo>
                  <a:lnTo>
                    <a:pt x="42" y="6"/>
                  </a:lnTo>
                  <a:lnTo>
                    <a:pt x="38" y="2"/>
                  </a:lnTo>
                  <a:lnTo>
                    <a:pt x="38"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3" name="Freeform 180"/>
            <p:cNvSpPr>
              <a:spLocks/>
            </p:cNvSpPr>
            <p:nvPr/>
          </p:nvSpPr>
          <p:spPr bwMode="auto">
            <a:xfrm>
              <a:off x="7561263" y="4421188"/>
              <a:ext cx="11112" cy="20637"/>
            </a:xfrm>
            <a:custGeom>
              <a:avLst/>
              <a:gdLst>
                <a:gd name="T0" fmla="*/ 2147483647 w 26"/>
                <a:gd name="T1" fmla="*/ 0 h 50"/>
                <a:gd name="T2" fmla="*/ 2147483647 w 26"/>
                <a:gd name="T3" fmla="*/ 2147483647 h 50"/>
                <a:gd name="T4" fmla="*/ 2147483647 w 26"/>
                <a:gd name="T5" fmla="*/ 2147483647 h 50"/>
                <a:gd name="T6" fmla="*/ 2147483647 w 26"/>
                <a:gd name="T7" fmla="*/ 2147483647 h 50"/>
                <a:gd name="T8" fmla="*/ 2147483647 w 26"/>
                <a:gd name="T9" fmla="*/ 2147483647 h 50"/>
                <a:gd name="T10" fmla="*/ 2147483647 w 26"/>
                <a:gd name="T11" fmla="*/ 2147483647 h 50"/>
                <a:gd name="T12" fmla="*/ 2147483647 w 26"/>
                <a:gd name="T13" fmla="*/ 2147483647 h 50"/>
                <a:gd name="T14" fmla="*/ 2147483647 w 26"/>
                <a:gd name="T15" fmla="*/ 2147483647 h 50"/>
                <a:gd name="T16" fmla="*/ 0 w 26"/>
                <a:gd name="T17" fmla="*/ 2147483647 h 50"/>
                <a:gd name="T18" fmla="*/ 2147483647 w 26"/>
                <a:gd name="T19" fmla="*/ 2147483647 h 50"/>
                <a:gd name="T20" fmla="*/ 2147483647 w 26"/>
                <a:gd name="T21" fmla="*/ 2147483647 h 50"/>
                <a:gd name="T22" fmla="*/ 2147483647 w 26"/>
                <a:gd name="T23" fmla="*/ 2147483647 h 50"/>
                <a:gd name="T24" fmla="*/ 2147483647 w 26"/>
                <a:gd name="T25" fmla="*/ 2147483647 h 50"/>
                <a:gd name="T26" fmla="*/ 2147483647 w 26"/>
                <a:gd name="T27" fmla="*/ 2147483647 h 50"/>
                <a:gd name="T28" fmla="*/ 2147483647 w 26"/>
                <a:gd name="T29" fmla="*/ 2147483647 h 50"/>
                <a:gd name="T30" fmla="*/ 2147483647 w 26"/>
                <a:gd name="T31" fmla="*/ 2147483647 h 50"/>
                <a:gd name="T32" fmla="*/ 2147483647 w 26"/>
                <a:gd name="T33" fmla="*/ 2147483647 h 50"/>
                <a:gd name="T34" fmla="*/ 2147483647 w 26"/>
                <a:gd name="T35" fmla="*/ 2147483647 h 50"/>
                <a:gd name="T36" fmla="*/ 2147483647 w 26"/>
                <a:gd name="T37" fmla="*/ 2147483647 h 50"/>
                <a:gd name="T38" fmla="*/ 2147483647 w 26"/>
                <a:gd name="T39" fmla="*/ 0 h 5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50"/>
                <a:gd name="T62" fmla="*/ 26 w 26"/>
                <a:gd name="T63" fmla="*/ 50 h 5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50">
                  <a:moveTo>
                    <a:pt x="6" y="0"/>
                  </a:moveTo>
                  <a:lnTo>
                    <a:pt x="6" y="6"/>
                  </a:lnTo>
                  <a:lnTo>
                    <a:pt x="6" y="12"/>
                  </a:lnTo>
                  <a:lnTo>
                    <a:pt x="6" y="18"/>
                  </a:lnTo>
                  <a:lnTo>
                    <a:pt x="10" y="24"/>
                  </a:lnTo>
                  <a:lnTo>
                    <a:pt x="4" y="24"/>
                  </a:lnTo>
                  <a:lnTo>
                    <a:pt x="2" y="30"/>
                  </a:lnTo>
                  <a:lnTo>
                    <a:pt x="2" y="36"/>
                  </a:lnTo>
                  <a:lnTo>
                    <a:pt x="0" y="42"/>
                  </a:lnTo>
                  <a:lnTo>
                    <a:pt x="6" y="48"/>
                  </a:lnTo>
                  <a:lnTo>
                    <a:pt x="10" y="50"/>
                  </a:lnTo>
                  <a:lnTo>
                    <a:pt x="16" y="46"/>
                  </a:lnTo>
                  <a:lnTo>
                    <a:pt x="20" y="42"/>
                  </a:lnTo>
                  <a:lnTo>
                    <a:pt x="26" y="36"/>
                  </a:lnTo>
                  <a:lnTo>
                    <a:pt x="26" y="30"/>
                  </a:lnTo>
                  <a:lnTo>
                    <a:pt x="26" y="24"/>
                  </a:lnTo>
                  <a:lnTo>
                    <a:pt x="22" y="18"/>
                  </a:lnTo>
                  <a:lnTo>
                    <a:pt x="16" y="12"/>
                  </a:lnTo>
                  <a:lnTo>
                    <a:pt x="12" y="6"/>
                  </a:lnTo>
                  <a:lnTo>
                    <a:pt x="6"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4" name="Freeform 181"/>
            <p:cNvSpPr>
              <a:spLocks/>
            </p:cNvSpPr>
            <p:nvPr/>
          </p:nvSpPr>
          <p:spPr bwMode="auto">
            <a:xfrm>
              <a:off x="7646988" y="4456113"/>
              <a:ext cx="36512" cy="30162"/>
            </a:xfrm>
            <a:custGeom>
              <a:avLst/>
              <a:gdLst>
                <a:gd name="T0" fmla="*/ 2147483647 w 92"/>
                <a:gd name="T1" fmla="*/ 2147483647 h 72"/>
                <a:gd name="T2" fmla="*/ 0 w 92"/>
                <a:gd name="T3" fmla="*/ 2147483647 h 72"/>
                <a:gd name="T4" fmla="*/ 2147483647 w 92"/>
                <a:gd name="T5" fmla="*/ 2147483647 h 72"/>
                <a:gd name="T6" fmla="*/ 2147483647 w 92"/>
                <a:gd name="T7" fmla="*/ 2147483647 h 72"/>
                <a:gd name="T8" fmla="*/ 2147483647 w 92"/>
                <a:gd name="T9" fmla="*/ 2147483647 h 72"/>
                <a:gd name="T10" fmla="*/ 2147483647 w 92"/>
                <a:gd name="T11" fmla="*/ 2147483647 h 72"/>
                <a:gd name="T12" fmla="*/ 2147483647 w 92"/>
                <a:gd name="T13" fmla="*/ 2147483647 h 72"/>
                <a:gd name="T14" fmla="*/ 2147483647 w 92"/>
                <a:gd name="T15" fmla="*/ 2147483647 h 72"/>
                <a:gd name="T16" fmla="*/ 2147483647 w 92"/>
                <a:gd name="T17" fmla="*/ 2147483647 h 72"/>
                <a:gd name="T18" fmla="*/ 2147483647 w 92"/>
                <a:gd name="T19" fmla="*/ 2147483647 h 72"/>
                <a:gd name="T20" fmla="*/ 2147483647 w 92"/>
                <a:gd name="T21" fmla="*/ 2147483647 h 72"/>
                <a:gd name="T22" fmla="*/ 2147483647 w 92"/>
                <a:gd name="T23" fmla="*/ 2147483647 h 72"/>
                <a:gd name="T24" fmla="*/ 2147483647 w 92"/>
                <a:gd name="T25" fmla="*/ 2147483647 h 72"/>
                <a:gd name="T26" fmla="*/ 2147483647 w 92"/>
                <a:gd name="T27" fmla="*/ 2147483647 h 72"/>
                <a:gd name="T28" fmla="*/ 2147483647 w 92"/>
                <a:gd name="T29" fmla="*/ 2147483647 h 72"/>
                <a:gd name="T30" fmla="*/ 2147483647 w 92"/>
                <a:gd name="T31" fmla="*/ 2147483647 h 72"/>
                <a:gd name="T32" fmla="*/ 2147483647 w 92"/>
                <a:gd name="T33" fmla="*/ 2147483647 h 72"/>
                <a:gd name="T34" fmla="*/ 2147483647 w 92"/>
                <a:gd name="T35" fmla="*/ 2147483647 h 72"/>
                <a:gd name="T36" fmla="*/ 2147483647 w 92"/>
                <a:gd name="T37" fmla="*/ 2147483647 h 72"/>
                <a:gd name="T38" fmla="*/ 2147483647 w 92"/>
                <a:gd name="T39" fmla="*/ 2147483647 h 72"/>
                <a:gd name="T40" fmla="*/ 2147483647 w 92"/>
                <a:gd name="T41" fmla="*/ 2147483647 h 72"/>
                <a:gd name="T42" fmla="*/ 2147483647 w 92"/>
                <a:gd name="T43" fmla="*/ 2147483647 h 72"/>
                <a:gd name="T44" fmla="*/ 2147483647 w 92"/>
                <a:gd name="T45" fmla="*/ 2147483647 h 72"/>
                <a:gd name="T46" fmla="*/ 2147483647 w 92"/>
                <a:gd name="T47" fmla="*/ 0 h 72"/>
                <a:gd name="T48" fmla="*/ 2147483647 w 92"/>
                <a:gd name="T49" fmla="*/ 0 h 72"/>
                <a:gd name="T50" fmla="*/ 2147483647 w 92"/>
                <a:gd name="T51" fmla="*/ 0 h 72"/>
                <a:gd name="T52" fmla="*/ 2147483647 w 92"/>
                <a:gd name="T53" fmla="*/ 0 h 72"/>
                <a:gd name="T54" fmla="*/ 2147483647 w 92"/>
                <a:gd name="T55" fmla="*/ 2147483647 h 72"/>
                <a:gd name="T56" fmla="*/ 2147483647 w 92"/>
                <a:gd name="T57" fmla="*/ 2147483647 h 72"/>
                <a:gd name="T58" fmla="*/ 2147483647 w 92"/>
                <a:gd name="T59" fmla="*/ 2147483647 h 72"/>
                <a:gd name="T60" fmla="*/ 2147483647 w 92"/>
                <a:gd name="T61" fmla="*/ 2147483647 h 72"/>
                <a:gd name="T62" fmla="*/ 2147483647 w 92"/>
                <a:gd name="T63" fmla="*/ 2147483647 h 72"/>
                <a:gd name="T64" fmla="*/ 2147483647 w 92"/>
                <a:gd name="T65" fmla="*/ 2147483647 h 72"/>
                <a:gd name="T66" fmla="*/ 2147483647 w 92"/>
                <a:gd name="T67" fmla="*/ 2147483647 h 72"/>
                <a:gd name="T68" fmla="*/ 2147483647 w 92"/>
                <a:gd name="T69" fmla="*/ 2147483647 h 72"/>
                <a:gd name="T70" fmla="*/ 2147483647 w 92"/>
                <a:gd name="T71" fmla="*/ 2147483647 h 72"/>
                <a:gd name="T72" fmla="*/ 2147483647 w 92"/>
                <a:gd name="T73" fmla="*/ 2147483647 h 72"/>
                <a:gd name="T74" fmla="*/ 2147483647 w 92"/>
                <a:gd name="T75" fmla="*/ 2147483647 h 72"/>
                <a:gd name="T76" fmla="*/ 2147483647 w 92"/>
                <a:gd name="T77" fmla="*/ 2147483647 h 72"/>
                <a:gd name="T78" fmla="*/ 2147483647 w 92"/>
                <a:gd name="T79" fmla="*/ 2147483647 h 72"/>
                <a:gd name="T80" fmla="*/ 2147483647 w 92"/>
                <a:gd name="T81" fmla="*/ 2147483647 h 72"/>
                <a:gd name="T82" fmla="*/ 2147483647 w 92"/>
                <a:gd name="T83" fmla="*/ 2147483647 h 72"/>
                <a:gd name="T84" fmla="*/ 2147483647 w 92"/>
                <a:gd name="T85" fmla="*/ 2147483647 h 7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92"/>
                <a:gd name="T130" fmla="*/ 0 h 72"/>
                <a:gd name="T131" fmla="*/ 92 w 92"/>
                <a:gd name="T132" fmla="*/ 72 h 7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92" h="72">
                  <a:moveTo>
                    <a:pt x="2" y="68"/>
                  </a:moveTo>
                  <a:lnTo>
                    <a:pt x="0" y="72"/>
                  </a:lnTo>
                  <a:lnTo>
                    <a:pt x="6" y="72"/>
                  </a:lnTo>
                  <a:lnTo>
                    <a:pt x="12" y="70"/>
                  </a:lnTo>
                  <a:lnTo>
                    <a:pt x="18" y="70"/>
                  </a:lnTo>
                  <a:lnTo>
                    <a:pt x="24" y="70"/>
                  </a:lnTo>
                  <a:lnTo>
                    <a:pt x="28" y="70"/>
                  </a:lnTo>
                  <a:lnTo>
                    <a:pt x="36" y="70"/>
                  </a:lnTo>
                  <a:lnTo>
                    <a:pt x="42" y="72"/>
                  </a:lnTo>
                  <a:lnTo>
                    <a:pt x="46" y="72"/>
                  </a:lnTo>
                  <a:lnTo>
                    <a:pt x="54" y="66"/>
                  </a:lnTo>
                  <a:lnTo>
                    <a:pt x="58" y="62"/>
                  </a:lnTo>
                  <a:lnTo>
                    <a:pt x="64" y="56"/>
                  </a:lnTo>
                  <a:lnTo>
                    <a:pt x="70" y="54"/>
                  </a:lnTo>
                  <a:lnTo>
                    <a:pt x="76" y="48"/>
                  </a:lnTo>
                  <a:lnTo>
                    <a:pt x="78" y="44"/>
                  </a:lnTo>
                  <a:lnTo>
                    <a:pt x="78" y="38"/>
                  </a:lnTo>
                  <a:lnTo>
                    <a:pt x="84" y="34"/>
                  </a:lnTo>
                  <a:lnTo>
                    <a:pt x="86" y="26"/>
                  </a:lnTo>
                  <a:lnTo>
                    <a:pt x="88" y="22"/>
                  </a:lnTo>
                  <a:lnTo>
                    <a:pt x="92" y="16"/>
                  </a:lnTo>
                  <a:lnTo>
                    <a:pt x="86" y="12"/>
                  </a:lnTo>
                  <a:lnTo>
                    <a:pt x="80" y="6"/>
                  </a:lnTo>
                  <a:lnTo>
                    <a:pt x="76" y="0"/>
                  </a:lnTo>
                  <a:lnTo>
                    <a:pt x="70" y="0"/>
                  </a:lnTo>
                  <a:lnTo>
                    <a:pt x="66" y="0"/>
                  </a:lnTo>
                  <a:lnTo>
                    <a:pt x="62" y="0"/>
                  </a:lnTo>
                  <a:lnTo>
                    <a:pt x="56" y="2"/>
                  </a:lnTo>
                  <a:lnTo>
                    <a:pt x="50" y="2"/>
                  </a:lnTo>
                  <a:lnTo>
                    <a:pt x="44" y="6"/>
                  </a:lnTo>
                  <a:lnTo>
                    <a:pt x="38" y="8"/>
                  </a:lnTo>
                  <a:lnTo>
                    <a:pt x="38" y="10"/>
                  </a:lnTo>
                  <a:lnTo>
                    <a:pt x="32" y="14"/>
                  </a:lnTo>
                  <a:lnTo>
                    <a:pt x="26" y="20"/>
                  </a:lnTo>
                  <a:lnTo>
                    <a:pt x="24" y="26"/>
                  </a:lnTo>
                  <a:lnTo>
                    <a:pt x="18" y="30"/>
                  </a:lnTo>
                  <a:lnTo>
                    <a:pt x="16" y="36"/>
                  </a:lnTo>
                  <a:lnTo>
                    <a:pt x="12" y="42"/>
                  </a:lnTo>
                  <a:lnTo>
                    <a:pt x="10" y="48"/>
                  </a:lnTo>
                  <a:lnTo>
                    <a:pt x="6" y="54"/>
                  </a:lnTo>
                  <a:lnTo>
                    <a:pt x="4" y="60"/>
                  </a:lnTo>
                  <a:lnTo>
                    <a:pt x="2" y="66"/>
                  </a:lnTo>
                  <a:lnTo>
                    <a:pt x="2"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5" name="Freeform 182"/>
            <p:cNvSpPr>
              <a:spLocks/>
            </p:cNvSpPr>
            <p:nvPr/>
          </p:nvSpPr>
          <p:spPr bwMode="auto">
            <a:xfrm>
              <a:off x="7491413" y="4256088"/>
              <a:ext cx="249237" cy="250825"/>
            </a:xfrm>
            <a:custGeom>
              <a:avLst/>
              <a:gdLst>
                <a:gd name="T0" fmla="*/ 2147483647 w 610"/>
                <a:gd name="T1" fmla="*/ 2147483647 h 608"/>
                <a:gd name="T2" fmla="*/ 2147483647 w 610"/>
                <a:gd name="T3" fmla="*/ 0 h 608"/>
                <a:gd name="T4" fmla="*/ 2147483647 w 610"/>
                <a:gd name="T5" fmla="*/ 2147483647 h 608"/>
                <a:gd name="T6" fmla="*/ 2147483647 w 610"/>
                <a:gd name="T7" fmla="*/ 2147483647 h 608"/>
                <a:gd name="T8" fmla="*/ 2147483647 w 610"/>
                <a:gd name="T9" fmla="*/ 2147483647 h 608"/>
                <a:gd name="T10" fmla="*/ 2147483647 w 610"/>
                <a:gd name="T11" fmla="*/ 2147483647 h 608"/>
                <a:gd name="T12" fmla="*/ 2147483647 w 610"/>
                <a:gd name="T13" fmla="*/ 2147483647 h 608"/>
                <a:gd name="T14" fmla="*/ 2147483647 w 610"/>
                <a:gd name="T15" fmla="*/ 2147483647 h 608"/>
                <a:gd name="T16" fmla="*/ 2147483647 w 610"/>
                <a:gd name="T17" fmla="*/ 2147483647 h 608"/>
                <a:gd name="T18" fmla="*/ 2147483647 w 610"/>
                <a:gd name="T19" fmla="*/ 2147483647 h 608"/>
                <a:gd name="T20" fmla="*/ 2147483647 w 610"/>
                <a:gd name="T21" fmla="*/ 2147483647 h 608"/>
                <a:gd name="T22" fmla="*/ 2147483647 w 610"/>
                <a:gd name="T23" fmla="*/ 2147483647 h 608"/>
                <a:gd name="T24" fmla="*/ 2147483647 w 610"/>
                <a:gd name="T25" fmla="*/ 2147483647 h 608"/>
                <a:gd name="T26" fmla="*/ 2147483647 w 610"/>
                <a:gd name="T27" fmla="*/ 2147483647 h 608"/>
                <a:gd name="T28" fmla="*/ 2147483647 w 610"/>
                <a:gd name="T29" fmla="*/ 2147483647 h 608"/>
                <a:gd name="T30" fmla="*/ 2147483647 w 610"/>
                <a:gd name="T31" fmla="*/ 2147483647 h 608"/>
                <a:gd name="T32" fmla="*/ 2147483647 w 610"/>
                <a:gd name="T33" fmla="*/ 2147483647 h 608"/>
                <a:gd name="T34" fmla="*/ 2147483647 w 610"/>
                <a:gd name="T35" fmla="*/ 2147483647 h 608"/>
                <a:gd name="T36" fmla="*/ 2147483647 w 610"/>
                <a:gd name="T37" fmla="*/ 2147483647 h 608"/>
                <a:gd name="T38" fmla="*/ 2147483647 w 610"/>
                <a:gd name="T39" fmla="*/ 2147483647 h 608"/>
                <a:gd name="T40" fmla="*/ 2147483647 w 610"/>
                <a:gd name="T41" fmla="*/ 2147483647 h 608"/>
                <a:gd name="T42" fmla="*/ 2147483647 w 610"/>
                <a:gd name="T43" fmla="*/ 2147483647 h 608"/>
                <a:gd name="T44" fmla="*/ 2147483647 w 610"/>
                <a:gd name="T45" fmla="*/ 2147483647 h 608"/>
                <a:gd name="T46" fmla="*/ 2147483647 w 610"/>
                <a:gd name="T47" fmla="*/ 2147483647 h 608"/>
                <a:gd name="T48" fmla="*/ 2147483647 w 610"/>
                <a:gd name="T49" fmla="*/ 2147483647 h 608"/>
                <a:gd name="T50" fmla="*/ 2147483647 w 610"/>
                <a:gd name="T51" fmla="*/ 2147483647 h 608"/>
                <a:gd name="T52" fmla="*/ 2147483647 w 610"/>
                <a:gd name="T53" fmla="*/ 2147483647 h 608"/>
                <a:gd name="T54" fmla="*/ 2147483647 w 610"/>
                <a:gd name="T55" fmla="*/ 2147483647 h 608"/>
                <a:gd name="T56" fmla="*/ 2147483647 w 610"/>
                <a:gd name="T57" fmla="*/ 2147483647 h 608"/>
                <a:gd name="T58" fmla="*/ 2147483647 w 610"/>
                <a:gd name="T59" fmla="*/ 2147483647 h 608"/>
                <a:gd name="T60" fmla="*/ 2147483647 w 610"/>
                <a:gd name="T61" fmla="*/ 2147483647 h 608"/>
                <a:gd name="T62" fmla="*/ 2147483647 w 610"/>
                <a:gd name="T63" fmla="*/ 2147483647 h 608"/>
                <a:gd name="T64" fmla="*/ 2147483647 w 610"/>
                <a:gd name="T65" fmla="*/ 2147483647 h 608"/>
                <a:gd name="T66" fmla="*/ 2147483647 w 610"/>
                <a:gd name="T67" fmla="*/ 2147483647 h 608"/>
                <a:gd name="T68" fmla="*/ 2147483647 w 610"/>
                <a:gd name="T69" fmla="*/ 2147483647 h 608"/>
                <a:gd name="T70" fmla="*/ 2147483647 w 610"/>
                <a:gd name="T71" fmla="*/ 2147483647 h 608"/>
                <a:gd name="T72" fmla="*/ 2147483647 w 610"/>
                <a:gd name="T73" fmla="*/ 2147483647 h 608"/>
                <a:gd name="T74" fmla="*/ 2147483647 w 610"/>
                <a:gd name="T75" fmla="*/ 2147483647 h 608"/>
                <a:gd name="T76" fmla="*/ 2147483647 w 610"/>
                <a:gd name="T77" fmla="*/ 2147483647 h 608"/>
                <a:gd name="T78" fmla="*/ 2147483647 w 610"/>
                <a:gd name="T79" fmla="*/ 2147483647 h 608"/>
                <a:gd name="T80" fmla="*/ 2147483647 w 610"/>
                <a:gd name="T81" fmla="*/ 2147483647 h 608"/>
                <a:gd name="T82" fmla="*/ 2147483647 w 610"/>
                <a:gd name="T83" fmla="*/ 2147483647 h 608"/>
                <a:gd name="T84" fmla="*/ 2147483647 w 610"/>
                <a:gd name="T85" fmla="*/ 2147483647 h 608"/>
                <a:gd name="T86" fmla="*/ 2147483647 w 610"/>
                <a:gd name="T87" fmla="*/ 2147483647 h 608"/>
                <a:gd name="T88" fmla="*/ 2147483647 w 610"/>
                <a:gd name="T89" fmla="*/ 2147483647 h 608"/>
                <a:gd name="T90" fmla="*/ 2147483647 w 610"/>
                <a:gd name="T91" fmla="*/ 2147483647 h 608"/>
                <a:gd name="T92" fmla="*/ 2147483647 w 610"/>
                <a:gd name="T93" fmla="*/ 2147483647 h 608"/>
                <a:gd name="T94" fmla="*/ 2147483647 w 610"/>
                <a:gd name="T95" fmla="*/ 2147483647 h 608"/>
                <a:gd name="T96" fmla="*/ 2147483647 w 610"/>
                <a:gd name="T97" fmla="*/ 2147483647 h 608"/>
                <a:gd name="T98" fmla="*/ 2147483647 w 610"/>
                <a:gd name="T99" fmla="*/ 2147483647 h 608"/>
                <a:gd name="T100" fmla="*/ 2147483647 w 610"/>
                <a:gd name="T101" fmla="*/ 2147483647 h 608"/>
                <a:gd name="T102" fmla="*/ 2147483647 w 610"/>
                <a:gd name="T103" fmla="*/ 2147483647 h 608"/>
                <a:gd name="T104" fmla="*/ 2147483647 w 610"/>
                <a:gd name="T105" fmla="*/ 2147483647 h 608"/>
                <a:gd name="T106" fmla="*/ 2147483647 w 610"/>
                <a:gd name="T107" fmla="*/ 2147483647 h 608"/>
                <a:gd name="T108" fmla="*/ 2147483647 w 610"/>
                <a:gd name="T109" fmla="*/ 2147483647 h 608"/>
                <a:gd name="T110" fmla="*/ 2147483647 w 610"/>
                <a:gd name="T111" fmla="*/ 2147483647 h 608"/>
                <a:gd name="T112" fmla="*/ 2147483647 w 610"/>
                <a:gd name="T113" fmla="*/ 2147483647 h 608"/>
                <a:gd name="T114" fmla="*/ 2147483647 w 610"/>
                <a:gd name="T115" fmla="*/ 2147483647 h 608"/>
                <a:gd name="T116" fmla="*/ 2147483647 w 610"/>
                <a:gd name="T117" fmla="*/ 2147483647 h 608"/>
                <a:gd name="T118" fmla="*/ 2147483647 w 610"/>
                <a:gd name="T119" fmla="*/ 2147483647 h 608"/>
                <a:gd name="T120" fmla="*/ 2147483647 w 610"/>
                <a:gd name="T121" fmla="*/ 2147483647 h 608"/>
                <a:gd name="T122" fmla="*/ 2147483647 w 610"/>
                <a:gd name="T123" fmla="*/ 2147483647 h 6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10"/>
                <a:gd name="T187" fmla="*/ 0 h 608"/>
                <a:gd name="T188" fmla="*/ 610 w 610"/>
                <a:gd name="T189" fmla="*/ 608 h 60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10" h="608">
                  <a:moveTo>
                    <a:pt x="16" y="46"/>
                  </a:moveTo>
                  <a:lnTo>
                    <a:pt x="18" y="38"/>
                  </a:lnTo>
                  <a:lnTo>
                    <a:pt x="14" y="34"/>
                  </a:lnTo>
                  <a:lnTo>
                    <a:pt x="20" y="32"/>
                  </a:lnTo>
                  <a:lnTo>
                    <a:pt x="26" y="28"/>
                  </a:lnTo>
                  <a:lnTo>
                    <a:pt x="32" y="26"/>
                  </a:lnTo>
                  <a:lnTo>
                    <a:pt x="38" y="28"/>
                  </a:lnTo>
                  <a:lnTo>
                    <a:pt x="44" y="26"/>
                  </a:lnTo>
                  <a:lnTo>
                    <a:pt x="50" y="26"/>
                  </a:lnTo>
                  <a:lnTo>
                    <a:pt x="56" y="20"/>
                  </a:lnTo>
                  <a:lnTo>
                    <a:pt x="62" y="14"/>
                  </a:lnTo>
                  <a:lnTo>
                    <a:pt x="68" y="8"/>
                  </a:lnTo>
                  <a:lnTo>
                    <a:pt x="74" y="4"/>
                  </a:lnTo>
                  <a:lnTo>
                    <a:pt x="80" y="2"/>
                  </a:lnTo>
                  <a:lnTo>
                    <a:pt x="86" y="0"/>
                  </a:lnTo>
                  <a:lnTo>
                    <a:pt x="88" y="0"/>
                  </a:lnTo>
                  <a:lnTo>
                    <a:pt x="90" y="0"/>
                  </a:lnTo>
                  <a:lnTo>
                    <a:pt x="94" y="0"/>
                  </a:lnTo>
                  <a:lnTo>
                    <a:pt x="98" y="0"/>
                  </a:lnTo>
                  <a:lnTo>
                    <a:pt x="104" y="2"/>
                  </a:lnTo>
                  <a:lnTo>
                    <a:pt x="110" y="4"/>
                  </a:lnTo>
                  <a:lnTo>
                    <a:pt x="116" y="6"/>
                  </a:lnTo>
                  <a:lnTo>
                    <a:pt x="122" y="6"/>
                  </a:lnTo>
                  <a:lnTo>
                    <a:pt x="128" y="12"/>
                  </a:lnTo>
                  <a:lnTo>
                    <a:pt x="134" y="12"/>
                  </a:lnTo>
                  <a:lnTo>
                    <a:pt x="138" y="18"/>
                  </a:lnTo>
                  <a:lnTo>
                    <a:pt x="144" y="24"/>
                  </a:lnTo>
                  <a:lnTo>
                    <a:pt x="150" y="26"/>
                  </a:lnTo>
                  <a:lnTo>
                    <a:pt x="156" y="28"/>
                  </a:lnTo>
                  <a:lnTo>
                    <a:pt x="162" y="28"/>
                  </a:lnTo>
                  <a:lnTo>
                    <a:pt x="168" y="28"/>
                  </a:lnTo>
                  <a:lnTo>
                    <a:pt x="174" y="28"/>
                  </a:lnTo>
                  <a:lnTo>
                    <a:pt x="180" y="26"/>
                  </a:lnTo>
                  <a:lnTo>
                    <a:pt x="186" y="30"/>
                  </a:lnTo>
                  <a:lnTo>
                    <a:pt x="192" y="34"/>
                  </a:lnTo>
                  <a:lnTo>
                    <a:pt x="188" y="42"/>
                  </a:lnTo>
                  <a:lnTo>
                    <a:pt x="188" y="46"/>
                  </a:lnTo>
                  <a:lnTo>
                    <a:pt x="190" y="54"/>
                  </a:lnTo>
                  <a:lnTo>
                    <a:pt x="194" y="60"/>
                  </a:lnTo>
                  <a:lnTo>
                    <a:pt x="198" y="64"/>
                  </a:lnTo>
                  <a:lnTo>
                    <a:pt x="200" y="70"/>
                  </a:lnTo>
                  <a:lnTo>
                    <a:pt x="198" y="76"/>
                  </a:lnTo>
                  <a:lnTo>
                    <a:pt x="196" y="82"/>
                  </a:lnTo>
                  <a:lnTo>
                    <a:pt x="192" y="88"/>
                  </a:lnTo>
                  <a:lnTo>
                    <a:pt x="188" y="94"/>
                  </a:lnTo>
                  <a:lnTo>
                    <a:pt x="190" y="100"/>
                  </a:lnTo>
                  <a:lnTo>
                    <a:pt x="190" y="106"/>
                  </a:lnTo>
                  <a:lnTo>
                    <a:pt x="192" y="112"/>
                  </a:lnTo>
                  <a:lnTo>
                    <a:pt x="190" y="118"/>
                  </a:lnTo>
                  <a:lnTo>
                    <a:pt x="190" y="124"/>
                  </a:lnTo>
                  <a:lnTo>
                    <a:pt x="190" y="130"/>
                  </a:lnTo>
                  <a:lnTo>
                    <a:pt x="192" y="136"/>
                  </a:lnTo>
                  <a:lnTo>
                    <a:pt x="194" y="142"/>
                  </a:lnTo>
                  <a:lnTo>
                    <a:pt x="200" y="148"/>
                  </a:lnTo>
                  <a:lnTo>
                    <a:pt x="202" y="154"/>
                  </a:lnTo>
                  <a:lnTo>
                    <a:pt x="204" y="160"/>
                  </a:lnTo>
                  <a:lnTo>
                    <a:pt x="206" y="166"/>
                  </a:lnTo>
                  <a:lnTo>
                    <a:pt x="208" y="172"/>
                  </a:lnTo>
                  <a:lnTo>
                    <a:pt x="212" y="166"/>
                  </a:lnTo>
                  <a:lnTo>
                    <a:pt x="210" y="160"/>
                  </a:lnTo>
                  <a:lnTo>
                    <a:pt x="210" y="154"/>
                  </a:lnTo>
                  <a:lnTo>
                    <a:pt x="214" y="148"/>
                  </a:lnTo>
                  <a:lnTo>
                    <a:pt x="220" y="150"/>
                  </a:lnTo>
                  <a:lnTo>
                    <a:pt x="222" y="156"/>
                  </a:lnTo>
                  <a:lnTo>
                    <a:pt x="222" y="162"/>
                  </a:lnTo>
                  <a:lnTo>
                    <a:pt x="222" y="168"/>
                  </a:lnTo>
                  <a:lnTo>
                    <a:pt x="222" y="174"/>
                  </a:lnTo>
                  <a:lnTo>
                    <a:pt x="222" y="180"/>
                  </a:lnTo>
                  <a:lnTo>
                    <a:pt x="228" y="180"/>
                  </a:lnTo>
                  <a:lnTo>
                    <a:pt x="230" y="186"/>
                  </a:lnTo>
                  <a:lnTo>
                    <a:pt x="230" y="192"/>
                  </a:lnTo>
                  <a:lnTo>
                    <a:pt x="234" y="198"/>
                  </a:lnTo>
                  <a:lnTo>
                    <a:pt x="238" y="204"/>
                  </a:lnTo>
                  <a:lnTo>
                    <a:pt x="244" y="208"/>
                  </a:lnTo>
                  <a:lnTo>
                    <a:pt x="250" y="208"/>
                  </a:lnTo>
                  <a:lnTo>
                    <a:pt x="256" y="208"/>
                  </a:lnTo>
                  <a:lnTo>
                    <a:pt x="260" y="210"/>
                  </a:lnTo>
                  <a:lnTo>
                    <a:pt x="268" y="208"/>
                  </a:lnTo>
                  <a:lnTo>
                    <a:pt x="274" y="206"/>
                  </a:lnTo>
                  <a:lnTo>
                    <a:pt x="276" y="200"/>
                  </a:lnTo>
                  <a:lnTo>
                    <a:pt x="282" y="196"/>
                  </a:lnTo>
                  <a:lnTo>
                    <a:pt x="284" y="194"/>
                  </a:lnTo>
                  <a:lnTo>
                    <a:pt x="286" y="188"/>
                  </a:lnTo>
                  <a:lnTo>
                    <a:pt x="292" y="184"/>
                  </a:lnTo>
                  <a:lnTo>
                    <a:pt x="298" y="182"/>
                  </a:lnTo>
                  <a:lnTo>
                    <a:pt x="298" y="174"/>
                  </a:lnTo>
                  <a:lnTo>
                    <a:pt x="300" y="174"/>
                  </a:lnTo>
                  <a:lnTo>
                    <a:pt x="302" y="168"/>
                  </a:lnTo>
                  <a:lnTo>
                    <a:pt x="306" y="162"/>
                  </a:lnTo>
                  <a:lnTo>
                    <a:pt x="312" y="158"/>
                  </a:lnTo>
                  <a:lnTo>
                    <a:pt x="320" y="154"/>
                  </a:lnTo>
                  <a:lnTo>
                    <a:pt x="320" y="148"/>
                  </a:lnTo>
                  <a:lnTo>
                    <a:pt x="324" y="142"/>
                  </a:lnTo>
                  <a:lnTo>
                    <a:pt x="324" y="136"/>
                  </a:lnTo>
                  <a:lnTo>
                    <a:pt x="328" y="130"/>
                  </a:lnTo>
                  <a:lnTo>
                    <a:pt x="334" y="128"/>
                  </a:lnTo>
                  <a:lnTo>
                    <a:pt x="340" y="132"/>
                  </a:lnTo>
                  <a:lnTo>
                    <a:pt x="346" y="132"/>
                  </a:lnTo>
                  <a:lnTo>
                    <a:pt x="352" y="130"/>
                  </a:lnTo>
                  <a:lnTo>
                    <a:pt x="358" y="128"/>
                  </a:lnTo>
                  <a:lnTo>
                    <a:pt x="364" y="124"/>
                  </a:lnTo>
                  <a:lnTo>
                    <a:pt x="370" y="122"/>
                  </a:lnTo>
                  <a:lnTo>
                    <a:pt x="374" y="122"/>
                  </a:lnTo>
                  <a:lnTo>
                    <a:pt x="378" y="116"/>
                  </a:lnTo>
                  <a:lnTo>
                    <a:pt x="378" y="110"/>
                  </a:lnTo>
                  <a:lnTo>
                    <a:pt x="372" y="108"/>
                  </a:lnTo>
                  <a:lnTo>
                    <a:pt x="374" y="102"/>
                  </a:lnTo>
                  <a:lnTo>
                    <a:pt x="378" y="98"/>
                  </a:lnTo>
                  <a:lnTo>
                    <a:pt x="386" y="96"/>
                  </a:lnTo>
                  <a:lnTo>
                    <a:pt x="392" y="92"/>
                  </a:lnTo>
                  <a:lnTo>
                    <a:pt x="396" y="88"/>
                  </a:lnTo>
                  <a:lnTo>
                    <a:pt x="402" y="84"/>
                  </a:lnTo>
                  <a:lnTo>
                    <a:pt x="408" y="82"/>
                  </a:lnTo>
                  <a:lnTo>
                    <a:pt x="414" y="80"/>
                  </a:lnTo>
                  <a:lnTo>
                    <a:pt x="420" y="78"/>
                  </a:lnTo>
                  <a:lnTo>
                    <a:pt x="422" y="78"/>
                  </a:lnTo>
                  <a:lnTo>
                    <a:pt x="428" y="84"/>
                  </a:lnTo>
                  <a:lnTo>
                    <a:pt x="434" y="88"/>
                  </a:lnTo>
                  <a:lnTo>
                    <a:pt x="440" y="90"/>
                  </a:lnTo>
                  <a:lnTo>
                    <a:pt x="446" y="92"/>
                  </a:lnTo>
                  <a:lnTo>
                    <a:pt x="452" y="96"/>
                  </a:lnTo>
                  <a:lnTo>
                    <a:pt x="458" y="98"/>
                  </a:lnTo>
                  <a:lnTo>
                    <a:pt x="464" y="98"/>
                  </a:lnTo>
                  <a:lnTo>
                    <a:pt x="470" y="102"/>
                  </a:lnTo>
                  <a:lnTo>
                    <a:pt x="474" y="106"/>
                  </a:lnTo>
                  <a:lnTo>
                    <a:pt x="480" y="112"/>
                  </a:lnTo>
                  <a:lnTo>
                    <a:pt x="486" y="112"/>
                  </a:lnTo>
                  <a:lnTo>
                    <a:pt x="492" y="116"/>
                  </a:lnTo>
                  <a:lnTo>
                    <a:pt x="498" y="118"/>
                  </a:lnTo>
                  <a:lnTo>
                    <a:pt x="504" y="122"/>
                  </a:lnTo>
                  <a:lnTo>
                    <a:pt x="510" y="124"/>
                  </a:lnTo>
                  <a:lnTo>
                    <a:pt x="516" y="128"/>
                  </a:lnTo>
                  <a:lnTo>
                    <a:pt x="522" y="132"/>
                  </a:lnTo>
                  <a:lnTo>
                    <a:pt x="528" y="134"/>
                  </a:lnTo>
                  <a:lnTo>
                    <a:pt x="534" y="140"/>
                  </a:lnTo>
                  <a:lnTo>
                    <a:pt x="540" y="140"/>
                  </a:lnTo>
                  <a:lnTo>
                    <a:pt x="546" y="140"/>
                  </a:lnTo>
                  <a:lnTo>
                    <a:pt x="548" y="140"/>
                  </a:lnTo>
                  <a:lnTo>
                    <a:pt x="554" y="136"/>
                  </a:lnTo>
                  <a:lnTo>
                    <a:pt x="560" y="140"/>
                  </a:lnTo>
                  <a:lnTo>
                    <a:pt x="566" y="144"/>
                  </a:lnTo>
                  <a:lnTo>
                    <a:pt x="572" y="142"/>
                  </a:lnTo>
                  <a:lnTo>
                    <a:pt x="578" y="144"/>
                  </a:lnTo>
                  <a:lnTo>
                    <a:pt x="584" y="144"/>
                  </a:lnTo>
                  <a:lnTo>
                    <a:pt x="590" y="148"/>
                  </a:lnTo>
                  <a:lnTo>
                    <a:pt x="594" y="152"/>
                  </a:lnTo>
                  <a:lnTo>
                    <a:pt x="600" y="156"/>
                  </a:lnTo>
                  <a:lnTo>
                    <a:pt x="604" y="156"/>
                  </a:lnTo>
                  <a:lnTo>
                    <a:pt x="610" y="156"/>
                  </a:lnTo>
                  <a:lnTo>
                    <a:pt x="608" y="184"/>
                  </a:lnTo>
                  <a:lnTo>
                    <a:pt x="608" y="200"/>
                  </a:lnTo>
                  <a:lnTo>
                    <a:pt x="606" y="252"/>
                  </a:lnTo>
                  <a:lnTo>
                    <a:pt x="604" y="264"/>
                  </a:lnTo>
                  <a:lnTo>
                    <a:pt x="604" y="294"/>
                  </a:lnTo>
                  <a:lnTo>
                    <a:pt x="602" y="322"/>
                  </a:lnTo>
                  <a:lnTo>
                    <a:pt x="602" y="324"/>
                  </a:lnTo>
                  <a:lnTo>
                    <a:pt x="600" y="330"/>
                  </a:lnTo>
                  <a:lnTo>
                    <a:pt x="600" y="336"/>
                  </a:lnTo>
                  <a:lnTo>
                    <a:pt x="600" y="342"/>
                  </a:lnTo>
                  <a:lnTo>
                    <a:pt x="600" y="348"/>
                  </a:lnTo>
                  <a:lnTo>
                    <a:pt x="600" y="354"/>
                  </a:lnTo>
                  <a:lnTo>
                    <a:pt x="600" y="360"/>
                  </a:lnTo>
                  <a:lnTo>
                    <a:pt x="598" y="366"/>
                  </a:lnTo>
                  <a:lnTo>
                    <a:pt x="598" y="372"/>
                  </a:lnTo>
                  <a:lnTo>
                    <a:pt x="598" y="380"/>
                  </a:lnTo>
                  <a:lnTo>
                    <a:pt x="598" y="386"/>
                  </a:lnTo>
                  <a:lnTo>
                    <a:pt x="598" y="392"/>
                  </a:lnTo>
                  <a:lnTo>
                    <a:pt x="596" y="396"/>
                  </a:lnTo>
                  <a:lnTo>
                    <a:pt x="596" y="402"/>
                  </a:lnTo>
                  <a:lnTo>
                    <a:pt x="596" y="408"/>
                  </a:lnTo>
                  <a:lnTo>
                    <a:pt x="596" y="414"/>
                  </a:lnTo>
                  <a:lnTo>
                    <a:pt x="594" y="416"/>
                  </a:lnTo>
                  <a:lnTo>
                    <a:pt x="590" y="422"/>
                  </a:lnTo>
                  <a:lnTo>
                    <a:pt x="590" y="428"/>
                  </a:lnTo>
                  <a:lnTo>
                    <a:pt x="586" y="434"/>
                  </a:lnTo>
                  <a:lnTo>
                    <a:pt x="584" y="440"/>
                  </a:lnTo>
                  <a:lnTo>
                    <a:pt x="586" y="444"/>
                  </a:lnTo>
                  <a:lnTo>
                    <a:pt x="588" y="450"/>
                  </a:lnTo>
                  <a:lnTo>
                    <a:pt x="594" y="454"/>
                  </a:lnTo>
                  <a:lnTo>
                    <a:pt x="594" y="456"/>
                  </a:lnTo>
                  <a:lnTo>
                    <a:pt x="592" y="462"/>
                  </a:lnTo>
                  <a:lnTo>
                    <a:pt x="592" y="468"/>
                  </a:lnTo>
                  <a:lnTo>
                    <a:pt x="592" y="474"/>
                  </a:lnTo>
                  <a:lnTo>
                    <a:pt x="592" y="480"/>
                  </a:lnTo>
                  <a:lnTo>
                    <a:pt x="590" y="486"/>
                  </a:lnTo>
                  <a:lnTo>
                    <a:pt x="590" y="492"/>
                  </a:lnTo>
                  <a:lnTo>
                    <a:pt x="590" y="498"/>
                  </a:lnTo>
                  <a:lnTo>
                    <a:pt x="590" y="504"/>
                  </a:lnTo>
                  <a:lnTo>
                    <a:pt x="590" y="510"/>
                  </a:lnTo>
                  <a:lnTo>
                    <a:pt x="588" y="516"/>
                  </a:lnTo>
                  <a:lnTo>
                    <a:pt x="588" y="522"/>
                  </a:lnTo>
                  <a:lnTo>
                    <a:pt x="588" y="528"/>
                  </a:lnTo>
                  <a:lnTo>
                    <a:pt x="586" y="534"/>
                  </a:lnTo>
                  <a:lnTo>
                    <a:pt x="586" y="542"/>
                  </a:lnTo>
                  <a:lnTo>
                    <a:pt x="586" y="546"/>
                  </a:lnTo>
                  <a:lnTo>
                    <a:pt x="586" y="554"/>
                  </a:lnTo>
                  <a:lnTo>
                    <a:pt x="586" y="558"/>
                  </a:lnTo>
                  <a:lnTo>
                    <a:pt x="584" y="566"/>
                  </a:lnTo>
                  <a:lnTo>
                    <a:pt x="584" y="572"/>
                  </a:lnTo>
                  <a:lnTo>
                    <a:pt x="584" y="578"/>
                  </a:lnTo>
                  <a:lnTo>
                    <a:pt x="584" y="584"/>
                  </a:lnTo>
                  <a:lnTo>
                    <a:pt x="582" y="590"/>
                  </a:lnTo>
                  <a:lnTo>
                    <a:pt x="582" y="596"/>
                  </a:lnTo>
                  <a:lnTo>
                    <a:pt x="582" y="602"/>
                  </a:lnTo>
                  <a:lnTo>
                    <a:pt x="582" y="608"/>
                  </a:lnTo>
                  <a:lnTo>
                    <a:pt x="576" y="604"/>
                  </a:lnTo>
                  <a:lnTo>
                    <a:pt x="570" y="598"/>
                  </a:lnTo>
                  <a:lnTo>
                    <a:pt x="566" y="592"/>
                  </a:lnTo>
                  <a:lnTo>
                    <a:pt x="560" y="586"/>
                  </a:lnTo>
                  <a:lnTo>
                    <a:pt x="556" y="580"/>
                  </a:lnTo>
                  <a:lnTo>
                    <a:pt x="554" y="576"/>
                  </a:lnTo>
                  <a:lnTo>
                    <a:pt x="550" y="568"/>
                  </a:lnTo>
                  <a:lnTo>
                    <a:pt x="546" y="564"/>
                  </a:lnTo>
                  <a:lnTo>
                    <a:pt x="540" y="560"/>
                  </a:lnTo>
                  <a:lnTo>
                    <a:pt x="538" y="558"/>
                  </a:lnTo>
                  <a:lnTo>
                    <a:pt x="532" y="552"/>
                  </a:lnTo>
                  <a:lnTo>
                    <a:pt x="526" y="546"/>
                  </a:lnTo>
                  <a:lnTo>
                    <a:pt x="526" y="544"/>
                  </a:lnTo>
                  <a:lnTo>
                    <a:pt x="524" y="538"/>
                  </a:lnTo>
                  <a:lnTo>
                    <a:pt x="526" y="536"/>
                  </a:lnTo>
                  <a:lnTo>
                    <a:pt x="528" y="534"/>
                  </a:lnTo>
                  <a:lnTo>
                    <a:pt x="526" y="534"/>
                  </a:lnTo>
                  <a:lnTo>
                    <a:pt x="520" y="538"/>
                  </a:lnTo>
                  <a:lnTo>
                    <a:pt x="514" y="538"/>
                  </a:lnTo>
                  <a:lnTo>
                    <a:pt x="508" y="538"/>
                  </a:lnTo>
                  <a:lnTo>
                    <a:pt x="502" y="538"/>
                  </a:lnTo>
                  <a:lnTo>
                    <a:pt x="496" y="542"/>
                  </a:lnTo>
                  <a:lnTo>
                    <a:pt x="490" y="544"/>
                  </a:lnTo>
                  <a:lnTo>
                    <a:pt x="484" y="544"/>
                  </a:lnTo>
                  <a:lnTo>
                    <a:pt x="480" y="538"/>
                  </a:lnTo>
                  <a:lnTo>
                    <a:pt x="480" y="532"/>
                  </a:lnTo>
                  <a:lnTo>
                    <a:pt x="474" y="538"/>
                  </a:lnTo>
                  <a:lnTo>
                    <a:pt x="468" y="542"/>
                  </a:lnTo>
                  <a:lnTo>
                    <a:pt x="462" y="546"/>
                  </a:lnTo>
                  <a:lnTo>
                    <a:pt x="456" y="546"/>
                  </a:lnTo>
                  <a:lnTo>
                    <a:pt x="454" y="538"/>
                  </a:lnTo>
                  <a:lnTo>
                    <a:pt x="460" y="534"/>
                  </a:lnTo>
                  <a:lnTo>
                    <a:pt x="460" y="528"/>
                  </a:lnTo>
                  <a:lnTo>
                    <a:pt x="464" y="522"/>
                  </a:lnTo>
                  <a:lnTo>
                    <a:pt x="466" y="516"/>
                  </a:lnTo>
                  <a:lnTo>
                    <a:pt x="468" y="510"/>
                  </a:lnTo>
                  <a:lnTo>
                    <a:pt x="472" y="504"/>
                  </a:lnTo>
                  <a:lnTo>
                    <a:pt x="472" y="498"/>
                  </a:lnTo>
                  <a:lnTo>
                    <a:pt x="466" y="496"/>
                  </a:lnTo>
                  <a:lnTo>
                    <a:pt x="464" y="490"/>
                  </a:lnTo>
                  <a:lnTo>
                    <a:pt x="460" y="484"/>
                  </a:lnTo>
                  <a:lnTo>
                    <a:pt x="456" y="480"/>
                  </a:lnTo>
                  <a:lnTo>
                    <a:pt x="454" y="478"/>
                  </a:lnTo>
                  <a:lnTo>
                    <a:pt x="460" y="474"/>
                  </a:lnTo>
                  <a:lnTo>
                    <a:pt x="466" y="474"/>
                  </a:lnTo>
                  <a:lnTo>
                    <a:pt x="472" y="478"/>
                  </a:lnTo>
                  <a:lnTo>
                    <a:pt x="478" y="478"/>
                  </a:lnTo>
                  <a:lnTo>
                    <a:pt x="484" y="472"/>
                  </a:lnTo>
                  <a:lnTo>
                    <a:pt x="478" y="474"/>
                  </a:lnTo>
                  <a:lnTo>
                    <a:pt x="472" y="474"/>
                  </a:lnTo>
                  <a:lnTo>
                    <a:pt x="466" y="472"/>
                  </a:lnTo>
                  <a:lnTo>
                    <a:pt x="460" y="470"/>
                  </a:lnTo>
                  <a:lnTo>
                    <a:pt x="454" y="468"/>
                  </a:lnTo>
                  <a:lnTo>
                    <a:pt x="450" y="462"/>
                  </a:lnTo>
                  <a:lnTo>
                    <a:pt x="444" y="456"/>
                  </a:lnTo>
                  <a:lnTo>
                    <a:pt x="450" y="452"/>
                  </a:lnTo>
                  <a:lnTo>
                    <a:pt x="456" y="452"/>
                  </a:lnTo>
                  <a:lnTo>
                    <a:pt x="462" y="450"/>
                  </a:lnTo>
                  <a:lnTo>
                    <a:pt x="468" y="450"/>
                  </a:lnTo>
                  <a:lnTo>
                    <a:pt x="474" y="456"/>
                  </a:lnTo>
                  <a:lnTo>
                    <a:pt x="480" y="458"/>
                  </a:lnTo>
                  <a:lnTo>
                    <a:pt x="482" y="458"/>
                  </a:lnTo>
                  <a:lnTo>
                    <a:pt x="476" y="456"/>
                  </a:lnTo>
                  <a:lnTo>
                    <a:pt x="470" y="450"/>
                  </a:lnTo>
                  <a:lnTo>
                    <a:pt x="464" y="448"/>
                  </a:lnTo>
                  <a:lnTo>
                    <a:pt x="458" y="444"/>
                  </a:lnTo>
                  <a:lnTo>
                    <a:pt x="452" y="442"/>
                  </a:lnTo>
                  <a:lnTo>
                    <a:pt x="458" y="440"/>
                  </a:lnTo>
                  <a:lnTo>
                    <a:pt x="452" y="434"/>
                  </a:lnTo>
                  <a:lnTo>
                    <a:pt x="448" y="428"/>
                  </a:lnTo>
                  <a:lnTo>
                    <a:pt x="442" y="422"/>
                  </a:lnTo>
                  <a:lnTo>
                    <a:pt x="438" y="416"/>
                  </a:lnTo>
                  <a:lnTo>
                    <a:pt x="438" y="410"/>
                  </a:lnTo>
                  <a:lnTo>
                    <a:pt x="438" y="404"/>
                  </a:lnTo>
                  <a:lnTo>
                    <a:pt x="436" y="398"/>
                  </a:lnTo>
                  <a:lnTo>
                    <a:pt x="434" y="392"/>
                  </a:lnTo>
                  <a:lnTo>
                    <a:pt x="432" y="392"/>
                  </a:lnTo>
                  <a:lnTo>
                    <a:pt x="430" y="386"/>
                  </a:lnTo>
                  <a:lnTo>
                    <a:pt x="436" y="382"/>
                  </a:lnTo>
                  <a:lnTo>
                    <a:pt x="438" y="380"/>
                  </a:lnTo>
                  <a:lnTo>
                    <a:pt x="434" y="382"/>
                  </a:lnTo>
                  <a:lnTo>
                    <a:pt x="428" y="380"/>
                  </a:lnTo>
                  <a:lnTo>
                    <a:pt x="428" y="374"/>
                  </a:lnTo>
                  <a:lnTo>
                    <a:pt x="434" y="370"/>
                  </a:lnTo>
                  <a:lnTo>
                    <a:pt x="438" y="368"/>
                  </a:lnTo>
                  <a:lnTo>
                    <a:pt x="430" y="370"/>
                  </a:lnTo>
                  <a:lnTo>
                    <a:pt x="426" y="372"/>
                  </a:lnTo>
                  <a:lnTo>
                    <a:pt x="420" y="372"/>
                  </a:lnTo>
                  <a:lnTo>
                    <a:pt x="418" y="370"/>
                  </a:lnTo>
                  <a:lnTo>
                    <a:pt x="418" y="364"/>
                  </a:lnTo>
                  <a:lnTo>
                    <a:pt x="422" y="358"/>
                  </a:lnTo>
                  <a:lnTo>
                    <a:pt x="420" y="352"/>
                  </a:lnTo>
                  <a:lnTo>
                    <a:pt x="420" y="350"/>
                  </a:lnTo>
                  <a:lnTo>
                    <a:pt x="418" y="356"/>
                  </a:lnTo>
                  <a:lnTo>
                    <a:pt x="412" y="350"/>
                  </a:lnTo>
                  <a:lnTo>
                    <a:pt x="406" y="348"/>
                  </a:lnTo>
                  <a:lnTo>
                    <a:pt x="404" y="342"/>
                  </a:lnTo>
                  <a:lnTo>
                    <a:pt x="398" y="336"/>
                  </a:lnTo>
                  <a:lnTo>
                    <a:pt x="392" y="336"/>
                  </a:lnTo>
                  <a:lnTo>
                    <a:pt x="392" y="330"/>
                  </a:lnTo>
                  <a:lnTo>
                    <a:pt x="386" y="330"/>
                  </a:lnTo>
                  <a:lnTo>
                    <a:pt x="384" y="330"/>
                  </a:lnTo>
                  <a:lnTo>
                    <a:pt x="378" y="328"/>
                  </a:lnTo>
                  <a:lnTo>
                    <a:pt x="372" y="322"/>
                  </a:lnTo>
                  <a:lnTo>
                    <a:pt x="366" y="322"/>
                  </a:lnTo>
                  <a:lnTo>
                    <a:pt x="364" y="316"/>
                  </a:lnTo>
                  <a:lnTo>
                    <a:pt x="358" y="318"/>
                  </a:lnTo>
                  <a:lnTo>
                    <a:pt x="352" y="316"/>
                  </a:lnTo>
                  <a:lnTo>
                    <a:pt x="348" y="318"/>
                  </a:lnTo>
                  <a:lnTo>
                    <a:pt x="346" y="316"/>
                  </a:lnTo>
                  <a:lnTo>
                    <a:pt x="342" y="314"/>
                  </a:lnTo>
                  <a:lnTo>
                    <a:pt x="340" y="314"/>
                  </a:lnTo>
                  <a:lnTo>
                    <a:pt x="334" y="310"/>
                  </a:lnTo>
                  <a:lnTo>
                    <a:pt x="328" y="306"/>
                  </a:lnTo>
                  <a:lnTo>
                    <a:pt x="324" y="302"/>
                  </a:lnTo>
                  <a:lnTo>
                    <a:pt x="318" y="300"/>
                  </a:lnTo>
                  <a:lnTo>
                    <a:pt x="312" y="298"/>
                  </a:lnTo>
                  <a:lnTo>
                    <a:pt x="306" y="296"/>
                  </a:lnTo>
                  <a:lnTo>
                    <a:pt x="300" y="294"/>
                  </a:lnTo>
                  <a:lnTo>
                    <a:pt x="296" y="288"/>
                  </a:lnTo>
                  <a:lnTo>
                    <a:pt x="290" y="288"/>
                  </a:lnTo>
                  <a:lnTo>
                    <a:pt x="284" y="288"/>
                  </a:lnTo>
                  <a:lnTo>
                    <a:pt x="278" y="286"/>
                  </a:lnTo>
                  <a:lnTo>
                    <a:pt x="274" y="286"/>
                  </a:lnTo>
                  <a:lnTo>
                    <a:pt x="268" y="284"/>
                  </a:lnTo>
                  <a:lnTo>
                    <a:pt x="262" y="284"/>
                  </a:lnTo>
                  <a:lnTo>
                    <a:pt x="256" y="284"/>
                  </a:lnTo>
                  <a:lnTo>
                    <a:pt x="250" y="284"/>
                  </a:lnTo>
                  <a:lnTo>
                    <a:pt x="244" y="282"/>
                  </a:lnTo>
                  <a:lnTo>
                    <a:pt x="240" y="278"/>
                  </a:lnTo>
                  <a:lnTo>
                    <a:pt x="232" y="272"/>
                  </a:lnTo>
                  <a:lnTo>
                    <a:pt x="226" y="270"/>
                  </a:lnTo>
                  <a:lnTo>
                    <a:pt x="222" y="264"/>
                  </a:lnTo>
                  <a:lnTo>
                    <a:pt x="218" y="258"/>
                  </a:lnTo>
                  <a:lnTo>
                    <a:pt x="218" y="252"/>
                  </a:lnTo>
                  <a:lnTo>
                    <a:pt x="224" y="248"/>
                  </a:lnTo>
                  <a:lnTo>
                    <a:pt x="230" y="250"/>
                  </a:lnTo>
                  <a:lnTo>
                    <a:pt x="236" y="250"/>
                  </a:lnTo>
                  <a:lnTo>
                    <a:pt x="230" y="248"/>
                  </a:lnTo>
                  <a:lnTo>
                    <a:pt x="224" y="246"/>
                  </a:lnTo>
                  <a:lnTo>
                    <a:pt x="218" y="246"/>
                  </a:lnTo>
                  <a:lnTo>
                    <a:pt x="214" y="252"/>
                  </a:lnTo>
                  <a:lnTo>
                    <a:pt x="208" y="254"/>
                  </a:lnTo>
                  <a:lnTo>
                    <a:pt x="206" y="248"/>
                  </a:lnTo>
                  <a:lnTo>
                    <a:pt x="200" y="246"/>
                  </a:lnTo>
                  <a:lnTo>
                    <a:pt x="198" y="252"/>
                  </a:lnTo>
                  <a:lnTo>
                    <a:pt x="192" y="250"/>
                  </a:lnTo>
                  <a:lnTo>
                    <a:pt x="186" y="246"/>
                  </a:lnTo>
                  <a:lnTo>
                    <a:pt x="190" y="240"/>
                  </a:lnTo>
                  <a:lnTo>
                    <a:pt x="184" y="240"/>
                  </a:lnTo>
                  <a:lnTo>
                    <a:pt x="178" y="242"/>
                  </a:lnTo>
                  <a:lnTo>
                    <a:pt x="174" y="236"/>
                  </a:lnTo>
                  <a:lnTo>
                    <a:pt x="170" y="230"/>
                  </a:lnTo>
                  <a:lnTo>
                    <a:pt x="168" y="224"/>
                  </a:lnTo>
                  <a:lnTo>
                    <a:pt x="166" y="230"/>
                  </a:lnTo>
                  <a:lnTo>
                    <a:pt x="160" y="230"/>
                  </a:lnTo>
                  <a:lnTo>
                    <a:pt x="160" y="224"/>
                  </a:lnTo>
                  <a:lnTo>
                    <a:pt x="158" y="218"/>
                  </a:lnTo>
                  <a:lnTo>
                    <a:pt x="160" y="212"/>
                  </a:lnTo>
                  <a:lnTo>
                    <a:pt x="160" y="206"/>
                  </a:lnTo>
                  <a:lnTo>
                    <a:pt x="160" y="200"/>
                  </a:lnTo>
                  <a:lnTo>
                    <a:pt x="166" y="196"/>
                  </a:lnTo>
                  <a:lnTo>
                    <a:pt x="170" y="190"/>
                  </a:lnTo>
                  <a:lnTo>
                    <a:pt x="172" y="186"/>
                  </a:lnTo>
                  <a:lnTo>
                    <a:pt x="172" y="180"/>
                  </a:lnTo>
                  <a:lnTo>
                    <a:pt x="168" y="186"/>
                  </a:lnTo>
                  <a:lnTo>
                    <a:pt x="162" y="188"/>
                  </a:lnTo>
                  <a:lnTo>
                    <a:pt x="158" y="194"/>
                  </a:lnTo>
                  <a:lnTo>
                    <a:pt x="158" y="200"/>
                  </a:lnTo>
                  <a:lnTo>
                    <a:pt x="158" y="208"/>
                  </a:lnTo>
                  <a:lnTo>
                    <a:pt x="154" y="212"/>
                  </a:lnTo>
                  <a:lnTo>
                    <a:pt x="148" y="214"/>
                  </a:lnTo>
                  <a:lnTo>
                    <a:pt x="152" y="216"/>
                  </a:lnTo>
                  <a:lnTo>
                    <a:pt x="154" y="222"/>
                  </a:lnTo>
                  <a:lnTo>
                    <a:pt x="148" y="228"/>
                  </a:lnTo>
                  <a:lnTo>
                    <a:pt x="142" y="234"/>
                  </a:lnTo>
                  <a:lnTo>
                    <a:pt x="142" y="240"/>
                  </a:lnTo>
                  <a:lnTo>
                    <a:pt x="142" y="246"/>
                  </a:lnTo>
                  <a:lnTo>
                    <a:pt x="138" y="252"/>
                  </a:lnTo>
                  <a:lnTo>
                    <a:pt x="132" y="258"/>
                  </a:lnTo>
                  <a:lnTo>
                    <a:pt x="126" y="258"/>
                  </a:lnTo>
                  <a:lnTo>
                    <a:pt x="120" y="256"/>
                  </a:lnTo>
                  <a:lnTo>
                    <a:pt x="114" y="260"/>
                  </a:lnTo>
                  <a:lnTo>
                    <a:pt x="108" y="254"/>
                  </a:lnTo>
                  <a:lnTo>
                    <a:pt x="104" y="248"/>
                  </a:lnTo>
                  <a:lnTo>
                    <a:pt x="104" y="242"/>
                  </a:lnTo>
                  <a:lnTo>
                    <a:pt x="104" y="238"/>
                  </a:lnTo>
                  <a:lnTo>
                    <a:pt x="100" y="230"/>
                  </a:lnTo>
                  <a:lnTo>
                    <a:pt x="106" y="228"/>
                  </a:lnTo>
                  <a:lnTo>
                    <a:pt x="112" y="224"/>
                  </a:lnTo>
                  <a:lnTo>
                    <a:pt x="112" y="218"/>
                  </a:lnTo>
                  <a:lnTo>
                    <a:pt x="106" y="212"/>
                  </a:lnTo>
                  <a:lnTo>
                    <a:pt x="108" y="206"/>
                  </a:lnTo>
                  <a:lnTo>
                    <a:pt x="102" y="208"/>
                  </a:lnTo>
                  <a:lnTo>
                    <a:pt x="96" y="202"/>
                  </a:lnTo>
                  <a:lnTo>
                    <a:pt x="94" y="196"/>
                  </a:lnTo>
                  <a:lnTo>
                    <a:pt x="90" y="190"/>
                  </a:lnTo>
                  <a:lnTo>
                    <a:pt x="84" y="186"/>
                  </a:lnTo>
                  <a:lnTo>
                    <a:pt x="78" y="182"/>
                  </a:lnTo>
                  <a:lnTo>
                    <a:pt x="74" y="178"/>
                  </a:lnTo>
                  <a:lnTo>
                    <a:pt x="66" y="180"/>
                  </a:lnTo>
                  <a:lnTo>
                    <a:pt x="62" y="178"/>
                  </a:lnTo>
                  <a:lnTo>
                    <a:pt x="58" y="172"/>
                  </a:lnTo>
                  <a:lnTo>
                    <a:pt x="58" y="166"/>
                  </a:lnTo>
                  <a:lnTo>
                    <a:pt x="66" y="166"/>
                  </a:lnTo>
                  <a:lnTo>
                    <a:pt x="70" y="162"/>
                  </a:lnTo>
                  <a:lnTo>
                    <a:pt x="76" y="162"/>
                  </a:lnTo>
                  <a:lnTo>
                    <a:pt x="82" y="162"/>
                  </a:lnTo>
                  <a:lnTo>
                    <a:pt x="88" y="162"/>
                  </a:lnTo>
                  <a:lnTo>
                    <a:pt x="94" y="164"/>
                  </a:lnTo>
                  <a:lnTo>
                    <a:pt x="100" y="170"/>
                  </a:lnTo>
                  <a:lnTo>
                    <a:pt x="106" y="168"/>
                  </a:lnTo>
                  <a:lnTo>
                    <a:pt x="110" y="166"/>
                  </a:lnTo>
                  <a:lnTo>
                    <a:pt x="114" y="158"/>
                  </a:lnTo>
                  <a:lnTo>
                    <a:pt x="118" y="152"/>
                  </a:lnTo>
                  <a:lnTo>
                    <a:pt x="124" y="148"/>
                  </a:lnTo>
                  <a:lnTo>
                    <a:pt x="130" y="144"/>
                  </a:lnTo>
                  <a:lnTo>
                    <a:pt x="136" y="144"/>
                  </a:lnTo>
                  <a:lnTo>
                    <a:pt x="140" y="148"/>
                  </a:lnTo>
                  <a:lnTo>
                    <a:pt x="144" y="156"/>
                  </a:lnTo>
                  <a:lnTo>
                    <a:pt x="142" y="162"/>
                  </a:lnTo>
                  <a:lnTo>
                    <a:pt x="146" y="156"/>
                  </a:lnTo>
                  <a:lnTo>
                    <a:pt x="146" y="150"/>
                  </a:lnTo>
                  <a:lnTo>
                    <a:pt x="148" y="156"/>
                  </a:lnTo>
                  <a:lnTo>
                    <a:pt x="154" y="154"/>
                  </a:lnTo>
                  <a:lnTo>
                    <a:pt x="160" y="152"/>
                  </a:lnTo>
                  <a:lnTo>
                    <a:pt x="162" y="158"/>
                  </a:lnTo>
                  <a:lnTo>
                    <a:pt x="164" y="152"/>
                  </a:lnTo>
                  <a:lnTo>
                    <a:pt x="168" y="160"/>
                  </a:lnTo>
                  <a:lnTo>
                    <a:pt x="170" y="154"/>
                  </a:lnTo>
                  <a:lnTo>
                    <a:pt x="170" y="148"/>
                  </a:lnTo>
                  <a:lnTo>
                    <a:pt x="168" y="144"/>
                  </a:lnTo>
                  <a:lnTo>
                    <a:pt x="172" y="144"/>
                  </a:lnTo>
                  <a:lnTo>
                    <a:pt x="178" y="142"/>
                  </a:lnTo>
                  <a:lnTo>
                    <a:pt x="176" y="136"/>
                  </a:lnTo>
                  <a:lnTo>
                    <a:pt x="180" y="132"/>
                  </a:lnTo>
                  <a:lnTo>
                    <a:pt x="174" y="134"/>
                  </a:lnTo>
                  <a:lnTo>
                    <a:pt x="174" y="128"/>
                  </a:lnTo>
                  <a:lnTo>
                    <a:pt x="178" y="122"/>
                  </a:lnTo>
                  <a:lnTo>
                    <a:pt x="172" y="122"/>
                  </a:lnTo>
                  <a:lnTo>
                    <a:pt x="166" y="126"/>
                  </a:lnTo>
                  <a:lnTo>
                    <a:pt x="160" y="130"/>
                  </a:lnTo>
                  <a:lnTo>
                    <a:pt x="158" y="128"/>
                  </a:lnTo>
                  <a:lnTo>
                    <a:pt x="152" y="130"/>
                  </a:lnTo>
                  <a:lnTo>
                    <a:pt x="146" y="130"/>
                  </a:lnTo>
                  <a:lnTo>
                    <a:pt x="140" y="130"/>
                  </a:lnTo>
                  <a:lnTo>
                    <a:pt x="134" y="128"/>
                  </a:lnTo>
                  <a:lnTo>
                    <a:pt x="128" y="132"/>
                  </a:lnTo>
                  <a:lnTo>
                    <a:pt x="122" y="132"/>
                  </a:lnTo>
                  <a:lnTo>
                    <a:pt x="118" y="134"/>
                  </a:lnTo>
                  <a:lnTo>
                    <a:pt x="112" y="132"/>
                  </a:lnTo>
                  <a:lnTo>
                    <a:pt x="106" y="134"/>
                  </a:lnTo>
                  <a:lnTo>
                    <a:pt x="100" y="134"/>
                  </a:lnTo>
                  <a:lnTo>
                    <a:pt x="98" y="134"/>
                  </a:lnTo>
                  <a:lnTo>
                    <a:pt x="96" y="128"/>
                  </a:lnTo>
                  <a:lnTo>
                    <a:pt x="90" y="128"/>
                  </a:lnTo>
                  <a:lnTo>
                    <a:pt x="84" y="132"/>
                  </a:lnTo>
                  <a:lnTo>
                    <a:pt x="78" y="132"/>
                  </a:lnTo>
                  <a:lnTo>
                    <a:pt x="74" y="126"/>
                  </a:lnTo>
                  <a:lnTo>
                    <a:pt x="68" y="124"/>
                  </a:lnTo>
                  <a:lnTo>
                    <a:pt x="62" y="120"/>
                  </a:lnTo>
                  <a:lnTo>
                    <a:pt x="66" y="114"/>
                  </a:lnTo>
                  <a:lnTo>
                    <a:pt x="60" y="114"/>
                  </a:lnTo>
                  <a:lnTo>
                    <a:pt x="58" y="108"/>
                  </a:lnTo>
                  <a:lnTo>
                    <a:pt x="56" y="102"/>
                  </a:lnTo>
                  <a:lnTo>
                    <a:pt x="62" y="96"/>
                  </a:lnTo>
                  <a:lnTo>
                    <a:pt x="60" y="92"/>
                  </a:lnTo>
                  <a:lnTo>
                    <a:pt x="54" y="92"/>
                  </a:lnTo>
                  <a:lnTo>
                    <a:pt x="56" y="86"/>
                  </a:lnTo>
                  <a:lnTo>
                    <a:pt x="50" y="86"/>
                  </a:lnTo>
                  <a:lnTo>
                    <a:pt x="48" y="80"/>
                  </a:lnTo>
                  <a:lnTo>
                    <a:pt x="44" y="84"/>
                  </a:lnTo>
                  <a:lnTo>
                    <a:pt x="38" y="80"/>
                  </a:lnTo>
                  <a:lnTo>
                    <a:pt x="32" y="78"/>
                  </a:lnTo>
                  <a:lnTo>
                    <a:pt x="26" y="80"/>
                  </a:lnTo>
                  <a:lnTo>
                    <a:pt x="24" y="72"/>
                  </a:lnTo>
                  <a:lnTo>
                    <a:pt x="18" y="72"/>
                  </a:lnTo>
                  <a:lnTo>
                    <a:pt x="20" y="78"/>
                  </a:lnTo>
                  <a:lnTo>
                    <a:pt x="14" y="80"/>
                  </a:lnTo>
                  <a:lnTo>
                    <a:pt x="8" y="76"/>
                  </a:lnTo>
                  <a:lnTo>
                    <a:pt x="2" y="76"/>
                  </a:lnTo>
                  <a:lnTo>
                    <a:pt x="0" y="72"/>
                  </a:lnTo>
                  <a:lnTo>
                    <a:pt x="2" y="64"/>
                  </a:lnTo>
                  <a:lnTo>
                    <a:pt x="8" y="62"/>
                  </a:lnTo>
                  <a:lnTo>
                    <a:pt x="14" y="56"/>
                  </a:lnTo>
                  <a:lnTo>
                    <a:pt x="16" y="50"/>
                  </a:lnTo>
                  <a:lnTo>
                    <a:pt x="16" y="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6" name="Freeform 183"/>
            <p:cNvSpPr>
              <a:spLocks/>
            </p:cNvSpPr>
            <p:nvPr/>
          </p:nvSpPr>
          <p:spPr bwMode="auto">
            <a:xfrm>
              <a:off x="7562850" y="4400550"/>
              <a:ext cx="17463" cy="26988"/>
            </a:xfrm>
            <a:custGeom>
              <a:avLst/>
              <a:gdLst>
                <a:gd name="T0" fmla="*/ 2147483647 w 40"/>
                <a:gd name="T1" fmla="*/ 2147483647 h 64"/>
                <a:gd name="T2" fmla="*/ 2147483647 w 40"/>
                <a:gd name="T3" fmla="*/ 2147483647 h 64"/>
                <a:gd name="T4" fmla="*/ 2147483647 w 40"/>
                <a:gd name="T5" fmla="*/ 2147483647 h 64"/>
                <a:gd name="T6" fmla="*/ 2147483647 w 40"/>
                <a:gd name="T7" fmla="*/ 2147483647 h 64"/>
                <a:gd name="T8" fmla="*/ 2147483647 w 40"/>
                <a:gd name="T9" fmla="*/ 2147483647 h 64"/>
                <a:gd name="T10" fmla="*/ 2147483647 w 40"/>
                <a:gd name="T11" fmla="*/ 2147483647 h 64"/>
                <a:gd name="T12" fmla="*/ 2147483647 w 40"/>
                <a:gd name="T13" fmla="*/ 2147483647 h 64"/>
                <a:gd name="T14" fmla="*/ 2147483647 w 40"/>
                <a:gd name="T15" fmla="*/ 2147483647 h 64"/>
                <a:gd name="T16" fmla="*/ 2147483647 w 40"/>
                <a:gd name="T17" fmla="*/ 2147483647 h 64"/>
                <a:gd name="T18" fmla="*/ 2147483647 w 40"/>
                <a:gd name="T19" fmla="*/ 2147483647 h 64"/>
                <a:gd name="T20" fmla="*/ 2147483647 w 40"/>
                <a:gd name="T21" fmla="*/ 2147483647 h 64"/>
                <a:gd name="T22" fmla="*/ 2147483647 w 40"/>
                <a:gd name="T23" fmla="*/ 2147483647 h 64"/>
                <a:gd name="T24" fmla="*/ 2147483647 w 40"/>
                <a:gd name="T25" fmla="*/ 2147483647 h 64"/>
                <a:gd name="T26" fmla="*/ 2147483647 w 40"/>
                <a:gd name="T27" fmla="*/ 2147483647 h 64"/>
                <a:gd name="T28" fmla="*/ 2147483647 w 40"/>
                <a:gd name="T29" fmla="*/ 0 h 64"/>
                <a:gd name="T30" fmla="*/ 2147483647 w 40"/>
                <a:gd name="T31" fmla="*/ 0 h 64"/>
                <a:gd name="T32" fmla="*/ 2147483647 w 40"/>
                <a:gd name="T33" fmla="*/ 2147483647 h 64"/>
                <a:gd name="T34" fmla="*/ 2147483647 w 40"/>
                <a:gd name="T35" fmla="*/ 2147483647 h 64"/>
                <a:gd name="T36" fmla="*/ 2147483647 w 40"/>
                <a:gd name="T37" fmla="*/ 2147483647 h 64"/>
                <a:gd name="T38" fmla="*/ 2147483647 w 40"/>
                <a:gd name="T39" fmla="*/ 2147483647 h 64"/>
                <a:gd name="T40" fmla="*/ 2147483647 w 40"/>
                <a:gd name="T41" fmla="*/ 2147483647 h 64"/>
                <a:gd name="T42" fmla="*/ 2147483647 w 40"/>
                <a:gd name="T43" fmla="*/ 2147483647 h 64"/>
                <a:gd name="T44" fmla="*/ 2147483647 w 40"/>
                <a:gd name="T45" fmla="*/ 2147483647 h 64"/>
                <a:gd name="T46" fmla="*/ 2147483647 w 40"/>
                <a:gd name="T47" fmla="*/ 2147483647 h 64"/>
                <a:gd name="T48" fmla="*/ 2147483647 w 40"/>
                <a:gd name="T49" fmla="*/ 2147483647 h 64"/>
                <a:gd name="T50" fmla="*/ 2147483647 w 40"/>
                <a:gd name="T51" fmla="*/ 2147483647 h 64"/>
                <a:gd name="T52" fmla="*/ 2147483647 w 40"/>
                <a:gd name="T53" fmla="*/ 2147483647 h 64"/>
                <a:gd name="T54" fmla="*/ 2147483647 w 40"/>
                <a:gd name="T55" fmla="*/ 2147483647 h 64"/>
                <a:gd name="T56" fmla="*/ 2147483647 w 40"/>
                <a:gd name="T57" fmla="*/ 2147483647 h 64"/>
                <a:gd name="T58" fmla="*/ 2147483647 w 40"/>
                <a:gd name="T59" fmla="*/ 2147483647 h 64"/>
                <a:gd name="T60" fmla="*/ 2147483647 w 40"/>
                <a:gd name="T61" fmla="*/ 2147483647 h 64"/>
                <a:gd name="T62" fmla="*/ 2147483647 w 40"/>
                <a:gd name="T63" fmla="*/ 2147483647 h 64"/>
                <a:gd name="T64" fmla="*/ 2147483647 w 40"/>
                <a:gd name="T65" fmla="*/ 2147483647 h 64"/>
                <a:gd name="T66" fmla="*/ 2147483647 w 40"/>
                <a:gd name="T67" fmla="*/ 2147483647 h 64"/>
                <a:gd name="T68" fmla="*/ 2147483647 w 40"/>
                <a:gd name="T69" fmla="*/ 2147483647 h 64"/>
                <a:gd name="T70" fmla="*/ 0 w 40"/>
                <a:gd name="T71" fmla="*/ 2147483647 h 64"/>
                <a:gd name="T72" fmla="*/ 0 w 40"/>
                <a:gd name="T73" fmla="*/ 2147483647 h 64"/>
                <a:gd name="T74" fmla="*/ 2147483647 w 40"/>
                <a:gd name="T75" fmla="*/ 2147483647 h 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
                <a:gd name="T115" fmla="*/ 0 h 64"/>
                <a:gd name="T116" fmla="*/ 40 w 40"/>
                <a:gd name="T117" fmla="*/ 64 h 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 h="64">
                  <a:moveTo>
                    <a:pt x="6" y="42"/>
                  </a:moveTo>
                  <a:lnTo>
                    <a:pt x="8" y="46"/>
                  </a:lnTo>
                  <a:lnTo>
                    <a:pt x="12" y="52"/>
                  </a:lnTo>
                  <a:lnTo>
                    <a:pt x="12" y="54"/>
                  </a:lnTo>
                  <a:lnTo>
                    <a:pt x="10" y="48"/>
                  </a:lnTo>
                  <a:lnTo>
                    <a:pt x="16" y="42"/>
                  </a:lnTo>
                  <a:lnTo>
                    <a:pt x="14" y="38"/>
                  </a:lnTo>
                  <a:lnTo>
                    <a:pt x="14" y="30"/>
                  </a:lnTo>
                  <a:lnTo>
                    <a:pt x="16" y="24"/>
                  </a:lnTo>
                  <a:lnTo>
                    <a:pt x="10" y="22"/>
                  </a:lnTo>
                  <a:lnTo>
                    <a:pt x="10" y="16"/>
                  </a:lnTo>
                  <a:lnTo>
                    <a:pt x="16" y="18"/>
                  </a:lnTo>
                  <a:lnTo>
                    <a:pt x="20" y="12"/>
                  </a:lnTo>
                  <a:lnTo>
                    <a:pt x="26" y="6"/>
                  </a:lnTo>
                  <a:lnTo>
                    <a:pt x="28" y="0"/>
                  </a:lnTo>
                  <a:lnTo>
                    <a:pt x="30" y="0"/>
                  </a:lnTo>
                  <a:lnTo>
                    <a:pt x="36" y="4"/>
                  </a:lnTo>
                  <a:lnTo>
                    <a:pt x="34" y="10"/>
                  </a:lnTo>
                  <a:lnTo>
                    <a:pt x="40" y="16"/>
                  </a:lnTo>
                  <a:lnTo>
                    <a:pt x="38" y="22"/>
                  </a:lnTo>
                  <a:lnTo>
                    <a:pt x="38" y="28"/>
                  </a:lnTo>
                  <a:lnTo>
                    <a:pt x="36" y="34"/>
                  </a:lnTo>
                  <a:lnTo>
                    <a:pt x="36" y="40"/>
                  </a:lnTo>
                  <a:lnTo>
                    <a:pt x="38" y="42"/>
                  </a:lnTo>
                  <a:lnTo>
                    <a:pt x="40" y="48"/>
                  </a:lnTo>
                  <a:lnTo>
                    <a:pt x="38" y="54"/>
                  </a:lnTo>
                  <a:lnTo>
                    <a:pt x="36" y="60"/>
                  </a:lnTo>
                  <a:lnTo>
                    <a:pt x="30" y="64"/>
                  </a:lnTo>
                  <a:lnTo>
                    <a:pt x="24" y="62"/>
                  </a:lnTo>
                  <a:lnTo>
                    <a:pt x="20" y="58"/>
                  </a:lnTo>
                  <a:lnTo>
                    <a:pt x="18" y="58"/>
                  </a:lnTo>
                  <a:lnTo>
                    <a:pt x="14" y="54"/>
                  </a:lnTo>
                  <a:lnTo>
                    <a:pt x="18" y="58"/>
                  </a:lnTo>
                  <a:lnTo>
                    <a:pt x="12" y="60"/>
                  </a:lnTo>
                  <a:lnTo>
                    <a:pt x="6" y="54"/>
                  </a:lnTo>
                  <a:lnTo>
                    <a:pt x="0" y="48"/>
                  </a:lnTo>
                  <a:lnTo>
                    <a:pt x="0" y="42"/>
                  </a:lnTo>
                  <a:lnTo>
                    <a:pt x="6"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7" name="Freeform 184"/>
            <p:cNvSpPr>
              <a:spLocks/>
            </p:cNvSpPr>
            <p:nvPr/>
          </p:nvSpPr>
          <p:spPr bwMode="auto">
            <a:xfrm>
              <a:off x="7570788" y="4424363"/>
              <a:ext cx="4762" cy="6350"/>
            </a:xfrm>
            <a:custGeom>
              <a:avLst/>
              <a:gdLst>
                <a:gd name="T0" fmla="*/ 2147483647 w 12"/>
                <a:gd name="T1" fmla="*/ 0 h 14"/>
                <a:gd name="T2" fmla="*/ 2147483647 w 12"/>
                <a:gd name="T3" fmla="*/ 2147483647 h 14"/>
                <a:gd name="T4" fmla="*/ 2147483647 w 12"/>
                <a:gd name="T5" fmla="*/ 2147483647 h 14"/>
                <a:gd name="T6" fmla="*/ 2147483647 w 12"/>
                <a:gd name="T7" fmla="*/ 2147483647 h 14"/>
                <a:gd name="T8" fmla="*/ 0 w 12"/>
                <a:gd name="T9" fmla="*/ 2147483647 h 14"/>
                <a:gd name="T10" fmla="*/ 0 w 12"/>
                <a:gd name="T11" fmla="*/ 2147483647 h 14"/>
                <a:gd name="T12" fmla="*/ 2147483647 w 12"/>
                <a:gd name="T13" fmla="*/ 0 h 14"/>
                <a:gd name="T14" fmla="*/ 0 60000 65536"/>
                <a:gd name="T15" fmla="*/ 0 60000 65536"/>
                <a:gd name="T16" fmla="*/ 0 60000 65536"/>
                <a:gd name="T17" fmla="*/ 0 60000 65536"/>
                <a:gd name="T18" fmla="*/ 0 60000 65536"/>
                <a:gd name="T19" fmla="*/ 0 60000 65536"/>
                <a:gd name="T20" fmla="*/ 0 60000 65536"/>
                <a:gd name="T21" fmla="*/ 0 w 12"/>
                <a:gd name="T22" fmla="*/ 0 h 14"/>
                <a:gd name="T23" fmla="*/ 12 w 1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4">
                  <a:moveTo>
                    <a:pt x="4" y="0"/>
                  </a:moveTo>
                  <a:lnTo>
                    <a:pt x="10" y="6"/>
                  </a:lnTo>
                  <a:lnTo>
                    <a:pt x="12" y="12"/>
                  </a:lnTo>
                  <a:lnTo>
                    <a:pt x="6" y="14"/>
                  </a:lnTo>
                  <a:lnTo>
                    <a:pt x="0" y="10"/>
                  </a:lnTo>
                  <a:lnTo>
                    <a:pt x="0" y="2"/>
                  </a:lnTo>
                  <a:lnTo>
                    <a:pt x="4"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8" name="Freeform 185"/>
            <p:cNvSpPr>
              <a:spLocks/>
            </p:cNvSpPr>
            <p:nvPr/>
          </p:nvSpPr>
          <p:spPr bwMode="auto">
            <a:xfrm>
              <a:off x="7332663" y="4483100"/>
              <a:ext cx="57150" cy="31750"/>
            </a:xfrm>
            <a:custGeom>
              <a:avLst/>
              <a:gdLst>
                <a:gd name="T0" fmla="*/ 2147483647 w 142"/>
                <a:gd name="T1" fmla="*/ 2147483647 h 78"/>
                <a:gd name="T2" fmla="*/ 2147483647 w 142"/>
                <a:gd name="T3" fmla="*/ 2147483647 h 78"/>
                <a:gd name="T4" fmla="*/ 2147483647 w 142"/>
                <a:gd name="T5" fmla="*/ 2147483647 h 78"/>
                <a:gd name="T6" fmla="*/ 2147483647 w 142"/>
                <a:gd name="T7" fmla="*/ 2147483647 h 78"/>
                <a:gd name="T8" fmla="*/ 2147483647 w 142"/>
                <a:gd name="T9" fmla="*/ 2147483647 h 78"/>
                <a:gd name="T10" fmla="*/ 2147483647 w 142"/>
                <a:gd name="T11" fmla="*/ 2147483647 h 78"/>
                <a:gd name="T12" fmla="*/ 2147483647 w 142"/>
                <a:gd name="T13" fmla="*/ 2147483647 h 78"/>
                <a:gd name="T14" fmla="*/ 2147483647 w 142"/>
                <a:gd name="T15" fmla="*/ 2147483647 h 78"/>
                <a:gd name="T16" fmla="*/ 2147483647 w 142"/>
                <a:gd name="T17" fmla="*/ 2147483647 h 78"/>
                <a:gd name="T18" fmla="*/ 2147483647 w 142"/>
                <a:gd name="T19" fmla="*/ 2147483647 h 78"/>
                <a:gd name="T20" fmla="*/ 2147483647 w 142"/>
                <a:gd name="T21" fmla="*/ 2147483647 h 78"/>
                <a:gd name="T22" fmla="*/ 2147483647 w 142"/>
                <a:gd name="T23" fmla="*/ 2147483647 h 78"/>
                <a:gd name="T24" fmla="*/ 2147483647 w 142"/>
                <a:gd name="T25" fmla="*/ 2147483647 h 78"/>
                <a:gd name="T26" fmla="*/ 2147483647 w 142"/>
                <a:gd name="T27" fmla="*/ 2147483647 h 78"/>
                <a:gd name="T28" fmla="*/ 2147483647 w 142"/>
                <a:gd name="T29" fmla="*/ 2147483647 h 78"/>
                <a:gd name="T30" fmla="*/ 2147483647 w 142"/>
                <a:gd name="T31" fmla="*/ 2147483647 h 78"/>
                <a:gd name="T32" fmla="*/ 2147483647 w 142"/>
                <a:gd name="T33" fmla="*/ 2147483647 h 78"/>
                <a:gd name="T34" fmla="*/ 2147483647 w 142"/>
                <a:gd name="T35" fmla="*/ 2147483647 h 78"/>
                <a:gd name="T36" fmla="*/ 2147483647 w 142"/>
                <a:gd name="T37" fmla="*/ 2147483647 h 78"/>
                <a:gd name="T38" fmla="*/ 2147483647 w 142"/>
                <a:gd name="T39" fmla="*/ 2147483647 h 78"/>
                <a:gd name="T40" fmla="*/ 2147483647 w 142"/>
                <a:gd name="T41" fmla="*/ 2147483647 h 78"/>
                <a:gd name="T42" fmla="*/ 2147483647 w 142"/>
                <a:gd name="T43" fmla="*/ 2147483647 h 78"/>
                <a:gd name="T44" fmla="*/ 2147483647 w 142"/>
                <a:gd name="T45" fmla="*/ 2147483647 h 78"/>
                <a:gd name="T46" fmla="*/ 2147483647 w 142"/>
                <a:gd name="T47" fmla="*/ 2147483647 h 78"/>
                <a:gd name="T48" fmla="*/ 2147483647 w 142"/>
                <a:gd name="T49" fmla="*/ 2147483647 h 78"/>
                <a:gd name="T50" fmla="*/ 2147483647 w 142"/>
                <a:gd name="T51" fmla="*/ 2147483647 h 78"/>
                <a:gd name="T52" fmla="*/ 2147483647 w 142"/>
                <a:gd name="T53" fmla="*/ 2147483647 h 78"/>
                <a:gd name="T54" fmla="*/ 2147483647 w 142"/>
                <a:gd name="T55" fmla="*/ 2147483647 h 78"/>
                <a:gd name="T56" fmla="*/ 2147483647 w 142"/>
                <a:gd name="T57" fmla="*/ 2147483647 h 78"/>
                <a:gd name="T58" fmla="*/ 2147483647 w 142"/>
                <a:gd name="T59" fmla="*/ 2147483647 h 78"/>
                <a:gd name="T60" fmla="*/ 2147483647 w 142"/>
                <a:gd name="T61" fmla="*/ 0 h 78"/>
                <a:gd name="T62" fmla="*/ 2147483647 w 142"/>
                <a:gd name="T63" fmla="*/ 2147483647 h 78"/>
                <a:gd name="T64" fmla="*/ 2147483647 w 142"/>
                <a:gd name="T65" fmla="*/ 0 h 78"/>
                <a:gd name="T66" fmla="*/ 2147483647 w 142"/>
                <a:gd name="T67" fmla="*/ 2147483647 h 78"/>
                <a:gd name="T68" fmla="*/ 2147483647 w 142"/>
                <a:gd name="T69" fmla="*/ 2147483647 h 78"/>
                <a:gd name="T70" fmla="*/ 2147483647 w 142"/>
                <a:gd name="T71" fmla="*/ 2147483647 h 78"/>
                <a:gd name="T72" fmla="*/ 2147483647 w 142"/>
                <a:gd name="T73" fmla="*/ 2147483647 h 78"/>
                <a:gd name="T74" fmla="*/ 2147483647 w 142"/>
                <a:gd name="T75" fmla="*/ 2147483647 h 78"/>
                <a:gd name="T76" fmla="*/ 2147483647 w 142"/>
                <a:gd name="T77" fmla="*/ 2147483647 h 78"/>
                <a:gd name="T78" fmla="*/ 2147483647 w 142"/>
                <a:gd name="T79" fmla="*/ 2147483647 h 78"/>
                <a:gd name="T80" fmla="*/ 2147483647 w 142"/>
                <a:gd name="T81" fmla="*/ 2147483647 h 78"/>
                <a:gd name="T82" fmla="*/ 2147483647 w 142"/>
                <a:gd name="T83" fmla="*/ 2147483647 h 78"/>
                <a:gd name="T84" fmla="*/ 2147483647 w 142"/>
                <a:gd name="T85" fmla="*/ 2147483647 h 78"/>
                <a:gd name="T86" fmla="*/ 2147483647 w 142"/>
                <a:gd name="T87" fmla="*/ 2147483647 h 78"/>
                <a:gd name="T88" fmla="*/ 2147483647 w 142"/>
                <a:gd name="T89" fmla="*/ 2147483647 h 78"/>
                <a:gd name="T90" fmla="*/ 2147483647 w 142"/>
                <a:gd name="T91" fmla="*/ 2147483647 h 78"/>
                <a:gd name="T92" fmla="*/ 2147483647 w 142"/>
                <a:gd name="T93" fmla="*/ 2147483647 h 78"/>
                <a:gd name="T94" fmla="*/ 2147483647 w 142"/>
                <a:gd name="T95" fmla="*/ 2147483647 h 78"/>
                <a:gd name="T96" fmla="*/ 2147483647 w 142"/>
                <a:gd name="T97" fmla="*/ 2147483647 h 78"/>
                <a:gd name="T98" fmla="*/ 2147483647 w 142"/>
                <a:gd name="T99" fmla="*/ 2147483647 h 78"/>
                <a:gd name="T100" fmla="*/ 2147483647 w 142"/>
                <a:gd name="T101" fmla="*/ 2147483647 h 78"/>
                <a:gd name="T102" fmla="*/ 2147483647 w 142"/>
                <a:gd name="T103" fmla="*/ 2147483647 h 78"/>
                <a:gd name="T104" fmla="*/ 2147483647 w 142"/>
                <a:gd name="T105" fmla="*/ 2147483647 h 78"/>
                <a:gd name="T106" fmla="*/ 2147483647 w 142"/>
                <a:gd name="T107" fmla="*/ 2147483647 h 78"/>
                <a:gd name="T108" fmla="*/ 0 w 142"/>
                <a:gd name="T109" fmla="*/ 2147483647 h 78"/>
                <a:gd name="T110" fmla="*/ 0 w 142"/>
                <a:gd name="T111" fmla="*/ 2147483647 h 78"/>
                <a:gd name="T112" fmla="*/ 2147483647 w 142"/>
                <a:gd name="T113" fmla="*/ 2147483647 h 78"/>
                <a:gd name="T114" fmla="*/ 2147483647 w 142"/>
                <a:gd name="T115" fmla="*/ 2147483647 h 78"/>
                <a:gd name="T116" fmla="*/ 2147483647 w 142"/>
                <a:gd name="T117" fmla="*/ 2147483647 h 78"/>
                <a:gd name="T118" fmla="*/ 2147483647 w 142"/>
                <a:gd name="T119" fmla="*/ 2147483647 h 78"/>
                <a:gd name="T120" fmla="*/ 2147483647 w 142"/>
                <a:gd name="T121" fmla="*/ 2147483647 h 78"/>
                <a:gd name="T122" fmla="*/ 2147483647 w 142"/>
                <a:gd name="T123" fmla="*/ 2147483647 h 78"/>
                <a:gd name="T124" fmla="*/ 2147483647 w 142"/>
                <a:gd name="T125" fmla="*/ 2147483647 h 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2"/>
                <a:gd name="T190" fmla="*/ 0 h 78"/>
                <a:gd name="T191" fmla="*/ 142 w 142"/>
                <a:gd name="T192" fmla="*/ 78 h 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2" h="78">
                  <a:moveTo>
                    <a:pt x="2" y="62"/>
                  </a:moveTo>
                  <a:lnTo>
                    <a:pt x="2" y="68"/>
                  </a:lnTo>
                  <a:lnTo>
                    <a:pt x="2" y="74"/>
                  </a:lnTo>
                  <a:lnTo>
                    <a:pt x="2" y="76"/>
                  </a:lnTo>
                  <a:lnTo>
                    <a:pt x="4" y="76"/>
                  </a:lnTo>
                  <a:lnTo>
                    <a:pt x="4" y="78"/>
                  </a:lnTo>
                  <a:lnTo>
                    <a:pt x="10" y="76"/>
                  </a:lnTo>
                  <a:lnTo>
                    <a:pt x="16" y="70"/>
                  </a:lnTo>
                  <a:lnTo>
                    <a:pt x="22" y="66"/>
                  </a:lnTo>
                  <a:lnTo>
                    <a:pt x="28" y="64"/>
                  </a:lnTo>
                  <a:lnTo>
                    <a:pt x="34" y="60"/>
                  </a:lnTo>
                  <a:lnTo>
                    <a:pt x="38" y="60"/>
                  </a:lnTo>
                  <a:lnTo>
                    <a:pt x="46" y="58"/>
                  </a:lnTo>
                  <a:lnTo>
                    <a:pt x="50" y="56"/>
                  </a:lnTo>
                  <a:lnTo>
                    <a:pt x="58" y="54"/>
                  </a:lnTo>
                  <a:lnTo>
                    <a:pt x="64" y="50"/>
                  </a:lnTo>
                  <a:lnTo>
                    <a:pt x="68" y="46"/>
                  </a:lnTo>
                  <a:lnTo>
                    <a:pt x="76" y="46"/>
                  </a:lnTo>
                  <a:lnTo>
                    <a:pt x="80" y="44"/>
                  </a:lnTo>
                  <a:lnTo>
                    <a:pt x="86" y="44"/>
                  </a:lnTo>
                  <a:lnTo>
                    <a:pt x="92" y="40"/>
                  </a:lnTo>
                  <a:lnTo>
                    <a:pt x="98" y="34"/>
                  </a:lnTo>
                  <a:lnTo>
                    <a:pt x="104" y="30"/>
                  </a:lnTo>
                  <a:lnTo>
                    <a:pt x="110" y="30"/>
                  </a:lnTo>
                  <a:lnTo>
                    <a:pt x="116" y="28"/>
                  </a:lnTo>
                  <a:lnTo>
                    <a:pt x="122" y="24"/>
                  </a:lnTo>
                  <a:lnTo>
                    <a:pt x="128" y="20"/>
                  </a:lnTo>
                  <a:lnTo>
                    <a:pt x="134" y="16"/>
                  </a:lnTo>
                  <a:lnTo>
                    <a:pt x="140" y="10"/>
                  </a:lnTo>
                  <a:lnTo>
                    <a:pt x="142" y="4"/>
                  </a:lnTo>
                  <a:lnTo>
                    <a:pt x="136" y="0"/>
                  </a:lnTo>
                  <a:lnTo>
                    <a:pt x="132" y="2"/>
                  </a:lnTo>
                  <a:lnTo>
                    <a:pt x="126" y="0"/>
                  </a:lnTo>
                  <a:lnTo>
                    <a:pt x="118" y="2"/>
                  </a:lnTo>
                  <a:lnTo>
                    <a:pt x="114" y="6"/>
                  </a:lnTo>
                  <a:lnTo>
                    <a:pt x="108" y="6"/>
                  </a:lnTo>
                  <a:lnTo>
                    <a:pt x="102" y="10"/>
                  </a:lnTo>
                  <a:lnTo>
                    <a:pt x="96" y="12"/>
                  </a:lnTo>
                  <a:lnTo>
                    <a:pt x="90" y="8"/>
                  </a:lnTo>
                  <a:lnTo>
                    <a:pt x="84" y="8"/>
                  </a:lnTo>
                  <a:lnTo>
                    <a:pt x="78" y="12"/>
                  </a:lnTo>
                  <a:lnTo>
                    <a:pt x="72" y="12"/>
                  </a:lnTo>
                  <a:lnTo>
                    <a:pt x="66" y="14"/>
                  </a:lnTo>
                  <a:lnTo>
                    <a:pt x="60" y="12"/>
                  </a:lnTo>
                  <a:lnTo>
                    <a:pt x="54" y="12"/>
                  </a:lnTo>
                  <a:lnTo>
                    <a:pt x="48" y="12"/>
                  </a:lnTo>
                  <a:lnTo>
                    <a:pt x="42" y="14"/>
                  </a:lnTo>
                  <a:lnTo>
                    <a:pt x="36" y="16"/>
                  </a:lnTo>
                  <a:lnTo>
                    <a:pt x="30" y="16"/>
                  </a:lnTo>
                  <a:lnTo>
                    <a:pt x="26" y="18"/>
                  </a:lnTo>
                  <a:lnTo>
                    <a:pt x="18" y="20"/>
                  </a:lnTo>
                  <a:lnTo>
                    <a:pt x="12" y="20"/>
                  </a:lnTo>
                  <a:lnTo>
                    <a:pt x="8" y="24"/>
                  </a:lnTo>
                  <a:lnTo>
                    <a:pt x="6" y="30"/>
                  </a:lnTo>
                  <a:lnTo>
                    <a:pt x="0" y="36"/>
                  </a:lnTo>
                  <a:lnTo>
                    <a:pt x="0" y="38"/>
                  </a:lnTo>
                  <a:lnTo>
                    <a:pt x="6" y="42"/>
                  </a:lnTo>
                  <a:lnTo>
                    <a:pt x="10" y="44"/>
                  </a:lnTo>
                  <a:lnTo>
                    <a:pt x="12" y="48"/>
                  </a:lnTo>
                  <a:lnTo>
                    <a:pt x="10" y="52"/>
                  </a:lnTo>
                  <a:lnTo>
                    <a:pt x="6" y="56"/>
                  </a:lnTo>
                  <a:lnTo>
                    <a:pt x="4" y="60"/>
                  </a:lnTo>
                  <a:lnTo>
                    <a:pt x="2" y="6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69" name="Freeform 186"/>
            <p:cNvSpPr>
              <a:spLocks/>
            </p:cNvSpPr>
            <p:nvPr/>
          </p:nvSpPr>
          <p:spPr bwMode="auto">
            <a:xfrm>
              <a:off x="7332663" y="4483100"/>
              <a:ext cx="57150" cy="31750"/>
            </a:xfrm>
            <a:custGeom>
              <a:avLst/>
              <a:gdLst>
                <a:gd name="T0" fmla="*/ 2147483647 w 142"/>
                <a:gd name="T1" fmla="*/ 2147483647 h 78"/>
                <a:gd name="T2" fmla="*/ 2147483647 w 142"/>
                <a:gd name="T3" fmla="*/ 2147483647 h 78"/>
                <a:gd name="T4" fmla="*/ 2147483647 w 142"/>
                <a:gd name="T5" fmla="*/ 2147483647 h 78"/>
                <a:gd name="T6" fmla="*/ 2147483647 w 142"/>
                <a:gd name="T7" fmla="*/ 2147483647 h 78"/>
                <a:gd name="T8" fmla="*/ 2147483647 w 142"/>
                <a:gd name="T9" fmla="*/ 2147483647 h 78"/>
                <a:gd name="T10" fmla="*/ 2147483647 w 142"/>
                <a:gd name="T11" fmla="*/ 2147483647 h 78"/>
                <a:gd name="T12" fmla="*/ 2147483647 w 142"/>
                <a:gd name="T13" fmla="*/ 2147483647 h 78"/>
                <a:gd name="T14" fmla="*/ 2147483647 w 142"/>
                <a:gd name="T15" fmla="*/ 2147483647 h 78"/>
                <a:gd name="T16" fmla="*/ 2147483647 w 142"/>
                <a:gd name="T17" fmla="*/ 2147483647 h 78"/>
                <a:gd name="T18" fmla="*/ 2147483647 w 142"/>
                <a:gd name="T19" fmla="*/ 2147483647 h 78"/>
                <a:gd name="T20" fmla="*/ 2147483647 w 142"/>
                <a:gd name="T21" fmla="*/ 2147483647 h 78"/>
                <a:gd name="T22" fmla="*/ 2147483647 w 142"/>
                <a:gd name="T23" fmla="*/ 2147483647 h 78"/>
                <a:gd name="T24" fmla="*/ 2147483647 w 142"/>
                <a:gd name="T25" fmla="*/ 2147483647 h 78"/>
                <a:gd name="T26" fmla="*/ 2147483647 w 142"/>
                <a:gd name="T27" fmla="*/ 2147483647 h 78"/>
                <a:gd name="T28" fmla="*/ 2147483647 w 142"/>
                <a:gd name="T29" fmla="*/ 2147483647 h 78"/>
                <a:gd name="T30" fmla="*/ 2147483647 w 142"/>
                <a:gd name="T31" fmla="*/ 2147483647 h 78"/>
                <a:gd name="T32" fmla="*/ 2147483647 w 142"/>
                <a:gd name="T33" fmla="*/ 2147483647 h 78"/>
                <a:gd name="T34" fmla="*/ 2147483647 w 142"/>
                <a:gd name="T35" fmla="*/ 2147483647 h 78"/>
                <a:gd name="T36" fmla="*/ 2147483647 w 142"/>
                <a:gd name="T37" fmla="*/ 2147483647 h 78"/>
                <a:gd name="T38" fmla="*/ 2147483647 w 142"/>
                <a:gd name="T39" fmla="*/ 2147483647 h 78"/>
                <a:gd name="T40" fmla="*/ 2147483647 w 142"/>
                <a:gd name="T41" fmla="*/ 2147483647 h 78"/>
                <a:gd name="T42" fmla="*/ 2147483647 w 142"/>
                <a:gd name="T43" fmla="*/ 2147483647 h 78"/>
                <a:gd name="T44" fmla="*/ 2147483647 w 142"/>
                <a:gd name="T45" fmla="*/ 2147483647 h 78"/>
                <a:gd name="T46" fmla="*/ 2147483647 w 142"/>
                <a:gd name="T47" fmla="*/ 2147483647 h 78"/>
                <a:gd name="T48" fmla="*/ 2147483647 w 142"/>
                <a:gd name="T49" fmla="*/ 2147483647 h 78"/>
                <a:gd name="T50" fmla="*/ 2147483647 w 142"/>
                <a:gd name="T51" fmla="*/ 2147483647 h 78"/>
                <a:gd name="T52" fmla="*/ 2147483647 w 142"/>
                <a:gd name="T53" fmla="*/ 2147483647 h 78"/>
                <a:gd name="T54" fmla="*/ 2147483647 w 142"/>
                <a:gd name="T55" fmla="*/ 2147483647 h 78"/>
                <a:gd name="T56" fmla="*/ 2147483647 w 142"/>
                <a:gd name="T57" fmla="*/ 2147483647 h 78"/>
                <a:gd name="T58" fmla="*/ 2147483647 w 142"/>
                <a:gd name="T59" fmla="*/ 2147483647 h 78"/>
                <a:gd name="T60" fmla="*/ 2147483647 w 142"/>
                <a:gd name="T61" fmla="*/ 0 h 78"/>
                <a:gd name="T62" fmla="*/ 2147483647 w 142"/>
                <a:gd name="T63" fmla="*/ 2147483647 h 78"/>
                <a:gd name="T64" fmla="*/ 2147483647 w 142"/>
                <a:gd name="T65" fmla="*/ 0 h 78"/>
                <a:gd name="T66" fmla="*/ 2147483647 w 142"/>
                <a:gd name="T67" fmla="*/ 2147483647 h 78"/>
                <a:gd name="T68" fmla="*/ 2147483647 w 142"/>
                <a:gd name="T69" fmla="*/ 2147483647 h 78"/>
                <a:gd name="T70" fmla="*/ 2147483647 w 142"/>
                <a:gd name="T71" fmla="*/ 2147483647 h 78"/>
                <a:gd name="T72" fmla="*/ 2147483647 w 142"/>
                <a:gd name="T73" fmla="*/ 2147483647 h 78"/>
                <a:gd name="T74" fmla="*/ 2147483647 w 142"/>
                <a:gd name="T75" fmla="*/ 2147483647 h 78"/>
                <a:gd name="T76" fmla="*/ 2147483647 w 142"/>
                <a:gd name="T77" fmla="*/ 2147483647 h 78"/>
                <a:gd name="T78" fmla="*/ 2147483647 w 142"/>
                <a:gd name="T79" fmla="*/ 2147483647 h 78"/>
                <a:gd name="T80" fmla="*/ 2147483647 w 142"/>
                <a:gd name="T81" fmla="*/ 2147483647 h 78"/>
                <a:gd name="T82" fmla="*/ 2147483647 w 142"/>
                <a:gd name="T83" fmla="*/ 2147483647 h 78"/>
                <a:gd name="T84" fmla="*/ 2147483647 w 142"/>
                <a:gd name="T85" fmla="*/ 2147483647 h 78"/>
                <a:gd name="T86" fmla="*/ 2147483647 w 142"/>
                <a:gd name="T87" fmla="*/ 2147483647 h 78"/>
                <a:gd name="T88" fmla="*/ 2147483647 w 142"/>
                <a:gd name="T89" fmla="*/ 2147483647 h 78"/>
                <a:gd name="T90" fmla="*/ 2147483647 w 142"/>
                <a:gd name="T91" fmla="*/ 2147483647 h 78"/>
                <a:gd name="T92" fmla="*/ 2147483647 w 142"/>
                <a:gd name="T93" fmla="*/ 2147483647 h 78"/>
                <a:gd name="T94" fmla="*/ 2147483647 w 142"/>
                <a:gd name="T95" fmla="*/ 2147483647 h 78"/>
                <a:gd name="T96" fmla="*/ 2147483647 w 142"/>
                <a:gd name="T97" fmla="*/ 2147483647 h 78"/>
                <a:gd name="T98" fmla="*/ 2147483647 w 142"/>
                <a:gd name="T99" fmla="*/ 2147483647 h 78"/>
                <a:gd name="T100" fmla="*/ 2147483647 w 142"/>
                <a:gd name="T101" fmla="*/ 2147483647 h 78"/>
                <a:gd name="T102" fmla="*/ 2147483647 w 142"/>
                <a:gd name="T103" fmla="*/ 2147483647 h 78"/>
                <a:gd name="T104" fmla="*/ 2147483647 w 142"/>
                <a:gd name="T105" fmla="*/ 2147483647 h 78"/>
                <a:gd name="T106" fmla="*/ 2147483647 w 142"/>
                <a:gd name="T107" fmla="*/ 2147483647 h 78"/>
                <a:gd name="T108" fmla="*/ 0 w 142"/>
                <a:gd name="T109" fmla="*/ 2147483647 h 78"/>
                <a:gd name="T110" fmla="*/ 0 w 142"/>
                <a:gd name="T111" fmla="*/ 2147483647 h 78"/>
                <a:gd name="T112" fmla="*/ 2147483647 w 142"/>
                <a:gd name="T113" fmla="*/ 2147483647 h 78"/>
                <a:gd name="T114" fmla="*/ 2147483647 w 142"/>
                <a:gd name="T115" fmla="*/ 2147483647 h 78"/>
                <a:gd name="T116" fmla="*/ 2147483647 w 142"/>
                <a:gd name="T117" fmla="*/ 2147483647 h 78"/>
                <a:gd name="T118" fmla="*/ 2147483647 w 142"/>
                <a:gd name="T119" fmla="*/ 2147483647 h 78"/>
                <a:gd name="T120" fmla="*/ 2147483647 w 142"/>
                <a:gd name="T121" fmla="*/ 2147483647 h 78"/>
                <a:gd name="T122" fmla="*/ 2147483647 w 142"/>
                <a:gd name="T123" fmla="*/ 2147483647 h 7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2"/>
                <a:gd name="T187" fmla="*/ 0 h 78"/>
                <a:gd name="T188" fmla="*/ 142 w 142"/>
                <a:gd name="T189" fmla="*/ 78 h 7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2" h="78">
                  <a:moveTo>
                    <a:pt x="2" y="62"/>
                  </a:moveTo>
                  <a:lnTo>
                    <a:pt x="2" y="68"/>
                  </a:lnTo>
                  <a:lnTo>
                    <a:pt x="2" y="74"/>
                  </a:lnTo>
                  <a:lnTo>
                    <a:pt x="2" y="76"/>
                  </a:lnTo>
                  <a:lnTo>
                    <a:pt x="4" y="76"/>
                  </a:lnTo>
                  <a:lnTo>
                    <a:pt x="4" y="78"/>
                  </a:lnTo>
                  <a:lnTo>
                    <a:pt x="10" y="76"/>
                  </a:lnTo>
                  <a:lnTo>
                    <a:pt x="16" y="70"/>
                  </a:lnTo>
                  <a:lnTo>
                    <a:pt x="22" y="66"/>
                  </a:lnTo>
                  <a:lnTo>
                    <a:pt x="28" y="64"/>
                  </a:lnTo>
                  <a:lnTo>
                    <a:pt x="34" y="60"/>
                  </a:lnTo>
                  <a:lnTo>
                    <a:pt x="38" y="60"/>
                  </a:lnTo>
                  <a:lnTo>
                    <a:pt x="46" y="58"/>
                  </a:lnTo>
                  <a:lnTo>
                    <a:pt x="50" y="56"/>
                  </a:lnTo>
                  <a:lnTo>
                    <a:pt x="58" y="54"/>
                  </a:lnTo>
                  <a:lnTo>
                    <a:pt x="64" y="50"/>
                  </a:lnTo>
                  <a:lnTo>
                    <a:pt x="68" y="46"/>
                  </a:lnTo>
                  <a:lnTo>
                    <a:pt x="76" y="46"/>
                  </a:lnTo>
                  <a:lnTo>
                    <a:pt x="80" y="44"/>
                  </a:lnTo>
                  <a:lnTo>
                    <a:pt x="86" y="44"/>
                  </a:lnTo>
                  <a:lnTo>
                    <a:pt x="92" y="40"/>
                  </a:lnTo>
                  <a:lnTo>
                    <a:pt x="98" y="34"/>
                  </a:lnTo>
                  <a:lnTo>
                    <a:pt x="104" y="30"/>
                  </a:lnTo>
                  <a:lnTo>
                    <a:pt x="110" y="30"/>
                  </a:lnTo>
                  <a:lnTo>
                    <a:pt x="116" y="28"/>
                  </a:lnTo>
                  <a:lnTo>
                    <a:pt x="122" y="24"/>
                  </a:lnTo>
                  <a:lnTo>
                    <a:pt x="128" y="20"/>
                  </a:lnTo>
                  <a:lnTo>
                    <a:pt x="134" y="16"/>
                  </a:lnTo>
                  <a:lnTo>
                    <a:pt x="140" y="10"/>
                  </a:lnTo>
                  <a:lnTo>
                    <a:pt x="142" y="4"/>
                  </a:lnTo>
                  <a:lnTo>
                    <a:pt x="136" y="0"/>
                  </a:lnTo>
                  <a:lnTo>
                    <a:pt x="132" y="2"/>
                  </a:lnTo>
                  <a:lnTo>
                    <a:pt x="126" y="0"/>
                  </a:lnTo>
                  <a:lnTo>
                    <a:pt x="118" y="2"/>
                  </a:lnTo>
                  <a:lnTo>
                    <a:pt x="114" y="6"/>
                  </a:lnTo>
                  <a:lnTo>
                    <a:pt x="108" y="6"/>
                  </a:lnTo>
                  <a:lnTo>
                    <a:pt x="102" y="10"/>
                  </a:lnTo>
                  <a:lnTo>
                    <a:pt x="96" y="12"/>
                  </a:lnTo>
                  <a:lnTo>
                    <a:pt x="90" y="8"/>
                  </a:lnTo>
                  <a:lnTo>
                    <a:pt x="84" y="8"/>
                  </a:lnTo>
                  <a:lnTo>
                    <a:pt x="78" y="12"/>
                  </a:lnTo>
                  <a:lnTo>
                    <a:pt x="72" y="12"/>
                  </a:lnTo>
                  <a:lnTo>
                    <a:pt x="66" y="14"/>
                  </a:lnTo>
                  <a:lnTo>
                    <a:pt x="60" y="12"/>
                  </a:lnTo>
                  <a:lnTo>
                    <a:pt x="54" y="12"/>
                  </a:lnTo>
                  <a:lnTo>
                    <a:pt x="48" y="12"/>
                  </a:lnTo>
                  <a:lnTo>
                    <a:pt x="42" y="14"/>
                  </a:lnTo>
                  <a:lnTo>
                    <a:pt x="36" y="16"/>
                  </a:lnTo>
                  <a:lnTo>
                    <a:pt x="30" y="16"/>
                  </a:lnTo>
                  <a:lnTo>
                    <a:pt x="26" y="18"/>
                  </a:lnTo>
                  <a:lnTo>
                    <a:pt x="18" y="20"/>
                  </a:lnTo>
                  <a:lnTo>
                    <a:pt x="12" y="20"/>
                  </a:lnTo>
                  <a:lnTo>
                    <a:pt x="8" y="24"/>
                  </a:lnTo>
                  <a:lnTo>
                    <a:pt x="6" y="30"/>
                  </a:lnTo>
                  <a:lnTo>
                    <a:pt x="0" y="36"/>
                  </a:lnTo>
                  <a:lnTo>
                    <a:pt x="0" y="38"/>
                  </a:lnTo>
                  <a:lnTo>
                    <a:pt x="6" y="42"/>
                  </a:lnTo>
                  <a:lnTo>
                    <a:pt x="10" y="44"/>
                  </a:lnTo>
                  <a:lnTo>
                    <a:pt x="12" y="48"/>
                  </a:lnTo>
                  <a:lnTo>
                    <a:pt x="10" y="52"/>
                  </a:lnTo>
                  <a:lnTo>
                    <a:pt x="6" y="56"/>
                  </a:lnTo>
                  <a:lnTo>
                    <a:pt x="4" y="60"/>
                  </a:lnTo>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0" name="Freeform 187"/>
            <p:cNvSpPr>
              <a:spLocks/>
            </p:cNvSpPr>
            <p:nvPr/>
          </p:nvSpPr>
          <p:spPr bwMode="auto">
            <a:xfrm>
              <a:off x="7729538" y="4319588"/>
              <a:ext cx="239712" cy="231775"/>
            </a:xfrm>
            <a:custGeom>
              <a:avLst/>
              <a:gdLst>
                <a:gd name="T0" fmla="*/ 2147483647 w 592"/>
                <a:gd name="T1" fmla="*/ 2147483647 h 560"/>
                <a:gd name="T2" fmla="*/ 2147483647 w 592"/>
                <a:gd name="T3" fmla="*/ 2147483647 h 560"/>
                <a:gd name="T4" fmla="*/ 2147483647 w 592"/>
                <a:gd name="T5" fmla="*/ 2147483647 h 560"/>
                <a:gd name="T6" fmla="*/ 2147483647 w 592"/>
                <a:gd name="T7" fmla="*/ 2147483647 h 560"/>
                <a:gd name="T8" fmla="*/ 2147483647 w 592"/>
                <a:gd name="T9" fmla="*/ 2147483647 h 560"/>
                <a:gd name="T10" fmla="*/ 2147483647 w 592"/>
                <a:gd name="T11" fmla="*/ 2147483647 h 560"/>
                <a:gd name="T12" fmla="*/ 2147483647 w 592"/>
                <a:gd name="T13" fmla="*/ 2147483647 h 560"/>
                <a:gd name="T14" fmla="*/ 2147483647 w 592"/>
                <a:gd name="T15" fmla="*/ 2147483647 h 560"/>
                <a:gd name="T16" fmla="*/ 2147483647 w 592"/>
                <a:gd name="T17" fmla="*/ 2147483647 h 560"/>
                <a:gd name="T18" fmla="*/ 2147483647 w 592"/>
                <a:gd name="T19" fmla="*/ 2147483647 h 560"/>
                <a:gd name="T20" fmla="*/ 2147483647 w 592"/>
                <a:gd name="T21" fmla="*/ 2147483647 h 560"/>
                <a:gd name="T22" fmla="*/ 2147483647 w 592"/>
                <a:gd name="T23" fmla="*/ 2147483647 h 560"/>
                <a:gd name="T24" fmla="*/ 2147483647 w 592"/>
                <a:gd name="T25" fmla="*/ 2147483647 h 560"/>
                <a:gd name="T26" fmla="*/ 2147483647 w 592"/>
                <a:gd name="T27" fmla="*/ 2147483647 h 560"/>
                <a:gd name="T28" fmla="*/ 2147483647 w 592"/>
                <a:gd name="T29" fmla="*/ 2147483647 h 560"/>
                <a:gd name="T30" fmla="*/ 2147483647 w 592"/>
                <a:gd name="T31" fmla="*/ 2147483647 h 560"/>
                <a:gd name="T32" fmla="*/ 2147483647 w 592"/>
                <a:gd name="T33" fmla="*/ 2147483647 h 560"/>
                <a:gd name="T34" fmla="*/ 2147483647 w 592"/>
                <a:gd name="T35" fmla="*/ 2147483647 h 560"/>
                <a:gd name="T36" fmla="*/ 2147483647 w 592"/>
                <a:gd name="T37" fmla="*/ 2147483647 h 560"/>
                <a:gd name="T38" fmla="*/ 2147483647 w 592"/>
                <a:gd name="T39" fmla="*/ 2147483647 h 560"/>
                <a:gd name="T40" fmla="*/ 2147483647 w 592"/>
                <a:gd name="T41" fmla="*/ 2147483647 h 560"/>
                <a:gd name="T42" fmla="*/ 2147483647 w 592"/>
                <a:gd name="T43" fmla="*/ 2147483647 h 560"/>
                <a:gd name="T44" fmla="*/ 2147483647 w 592"/>
                <a:gd name="T45" fmla="*/ 2147483647 h 560"/>
                <a:gd name="T46" fmla="*/ 2147483647 w 592"/>
                <a:gd name="T47" fmla="*/ 2147483647 h 560"/>
                <a:gd name="T48" fmla="*/ 2147483647 w 592"/>
                <a:gd name="T49" fmla="*/ 2147483647 h 560"/>
                <a:gd name="T50" fmla="*/ 2147483647 w 592"/>
                <a:gd name="T51" fmla="*/ 2147483647 h 560"/>
                <a:gd name="T52" fmla="*/ 2147483647 w 592"/>
                <a:gd name="T53" fmla="*/ 2147483647 h 560"/>
                <a:gd name="T54" fmla="*/ 2147483647 w 592"/>
                <a:gd name="T55" fmla="*/ 2147483647 h 560"/>
                <a:gd name="T56" fmla="*/ 2147483647 w 592"/>
                <a:gd name="T57" fmla="*/ 2147483647 h 560"/>
                <a:gd name="T58" fmla="*/ 2147483647 w 592"/>
                <a:gd name="T59" fmla="*/ 2147483647 h 560"/>
                <a:gd name="T60" fmla="*/ 2147483647 w 592"/>
                <a:gd name="T61" fmla="*/ 2147483647 h 560"/>
                <a:gd name="T62" fmla="*/ 2147483647 w 592"/>
                <a:gd name="T63" fmla="*/ 2147483647 h 560"/>
                <a:gd name="T64" fmla="*/ 2147483647 w 592"/>
                <a:gd name="T65" fmla="*/ 2147483647 h 560"/>
                <a:gd name="T66" fmla="*/ 2147483647 w 592"/>
                <a:gd name="T67" fmla="*/ 2147483647 h 560"/>
                <a:gd name="T68" fmla="*/ 2147483647 w 592"/>
                <a:gd name="T69" fmla="*/ 2147483647 h 560"/>
                <a:gd name="T70" fmla="*/ 2147483647 w 592"/>
                <a:gd name="T71" fmla="*/ 2147483647 h 560"/>
                <a:gd name="T72" fmla="*/ 2147483647 w 592"/>
                <a:gd name="T73" fmla="*/ 2147483647 h 560"/>
                <a:gd name="T74" fmla="*/ 2147483647 w 592"/>
                <a:gd name="T75" fmla="*/ 2147483647 h 560"/>
                <a:gd name="T76" fmla="*/ 2147483647 w 592"/>
                <a:gd name="T77" fmla="*/ 2147483647 h 560"/>
                <a:gd name="T78" fmla="*/ 2147483647 w 592"/>
                <a:gd name="T79" fmla="*/ 2147483647 h 560"/>
                <a:gd name="T80" fmla="*/ 2147483647 w 592"/>
                <a:gd name="T81" fmla="*/ 2147483647 h 560"/>
                <a:gd name="T82" fmla="*/ 2147483647 w 592"/>
                <a:gd name="T83" fmla="*/ 2147483647 h 560"/>
                <a:gd name="T84" fmla="*/ 2147483647 w 592"/>
                <a:gd name="T85" fmla="*/ 2147483647 h 560"/>
                <a:gd name="T86" fmla="*/ 2147483647 w 592"/>
                <a:gd name="T87" fmla="*/ 2147483647 h 560"/>
                <a:gd name="T88" fmla="*/ 2147483647 w 592"/>
                <a:gd name="T89" fmla="*/ 2147483647 h 560"/>
                <a:gd name="T90" fmla="*/ 2147483647 w 592"/>
                <a:gd name="T91" fmla="*/ 2147483647 h 560"/>
                <a:gd name="T92" fmla="*/ 2147483647 w 592"/>
                <a:gd name="T93" fmla="*/ 2147483647 h 560"/>
                <a:gd name="T94" fmla="*/ 2147483647 w 592"/>
                <a:gd name="T95" fmla="*/ 2147483647 h 560"/>
                <a:gd name="T96" fmla="*/ 2147483647 w 592"/>
                <a:gd name="T97" fmla="*/ 2147483647 h 560"/>
                <a:gd name="T98" fmla="*/ 2147483647 w 592"/>
                <a:gd name="T99" fmla="*/ 2147483647 h 560"/>
                <a:gd name="T100" fmla="*/ 2147483647 w 592"/>
                <a:gd name="T101" fmla="*/ 2147483647 h 560"/>
                <a:gd name="T102" fmla="*/ 2147483647 w 592"/>
                <a:gd name="T103" fmla="*/ 2147483647 h 560"/>
                <a:gd name="T104" fmla="*/ 2147483647 w 592"/>
                <a:gd name="T105" fmla="*/ 2147483647 h 560"/>
                <a:gd name="T106" fmla="*/ 2147483647 w 592"/>
                <a:gd name="T107" fmla="*/ 2147483647 h 560"/>
                <a:gd name="T108" fmla="*/ 2147483647 w 592"/>
                <a:gd name="T109" fmla="*/ 2147483647 h 560"/>
                <a:gd name="T110" fmla="*/ 2147483647 w 592"/>
                <a:gd name="T111" fmla="*/ 2147483647 h 560"/>
                <a:gd name="T112" fmla="*/ 2147483647 w 592"/>
                <a:gd name="T113" fmla="*/ 2147483647 h 560"/>
                <a:gd name="T114" fmla="*/ 2147483647 w 592"/>
                <a:gd name="T115" fmla="*/ 2147483647 h 560"/>
                <a:gd name="T116" fmla="*/ 2147483647 w 592"/>
                <a:gd name="T117" fmla="*/ 2147483647 h 560"/>
                <a:gd name="T118" fmla="*/ 2147483647 w 592"/>
                <a:gd name="T119" fmla="*/ 2147483647 h 56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2"/>
                <a:gd name="T181" fmla="*/ 0 h 560"/>
                <a:gd name="T182" fmla="*/ 592 w 592"/>
                <a:gd name="T183" fmla="*/ 560 h 56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2" h="560">
                  <a:moveTo>
                    <a:pt x="0" y="452"/>
                  </a:moveTo>
                  <a:lnTo>
                    <a:pt x="0" y="452"/>
                  </a:lnTo>
                  <a:lnTo>
                    <a:pt x="0" y="446"/>
                  </a:lnTo>
                  <a:lnTo>
                    <a:pt x="0" y="440"/>
                  </a:lnTo>
                  <a:lnTo>
                    <a:pt x="0" y="434"/>
                  </a:lnTo>
                  <a:lnTo>
                    <a:pt x="2" y="428"/>
                  </a:lnTo>
                  <a:lnTo>
                    <a:pt x="2" y="422"/>
                  </a:lnTo>
                  <a:lnTo>
                    <a:pt x="2" y="416"/>
                  </a:lnTo>
                  <a:lnTo>
                    <a:pt x="2" y="410"/>
                  </a:lnTo>
                  <a:lnTo>
                    <a:pt x="4" y="402"/>
                  </a:lnTo>
                  <a:lnTo>
                    <a:pt x="4" y="398"/>
                  </a:lnTo>
                  <a:lnTo>
                    <a:pt x="4" y="390"/>
                  </a:lnTo>
                  <a:lnTo>
                    <a:pt x="4" y="386"/>
                  </a:lnTo>
                  <a:lnTo>
                    <a:pt x="4" y="378"/>
                  </a:lnTo>
                  <a:lnTo>
                    <a:pt x="6" y="372"/>
                  </a:lnTo>
                  <a:lnTo>
                    <a:pt x="6" y="366"/>
                  </a:lnTo>
                  <a:lnTo>
                    <a:pt x="6" y="360"/>
                  </a:lnTo>
                  <a:lnTo>
                    <a:pt x="8" y="354"/>
                  </a:lnTo>
                  <a:lnTo>
                    <a:pt x="8" y="348"/>
                  </a:lnTo>
                  <a:lnTo>
                    <a:pt x="8" y="342"/>
                  </a:lnTo>
                  <a:lnTo>
                    <a:pt x="8" y="336"/>
                  </a:lnTo>
                  <a:lnTo>
                    <a:pt x="8" y="330"/>
                  </a:lnTo>
                  <a:lnTo>
                    <a:pt x="10" y="324"/>
                  </a:lnTo>
                  <a:lnTo>
                    <a:pt x="10" y="318"/>
                  </a:lnTo>
                  <a:lnTo>
                    <a:pt x="10" y="312"/>
                  </a:lnTo>
                  <a:lnTo>
                    <a:pt x="10" y="306"/>
                  </a:lnTo>
                  <a:lnTo>
                    <a:pt x="12" y="300"/>
                  </a:lnTo>
                  <a:lnTo>
                    <a:pt x="12" y="298"/>
                  </a:lnTo>
                  <a:lnTo>
                    <a:pt x="6" y="294"/>
                  </a:lnTo>
                  <a:lnTo>
                    <a:pt x="4" y="288"/>
                  </a:lnTo>
                  <a:lnTo>
                    <a:pt x="2" y="284"/>
                  </a:lnTo>
                  <a:lnTo>
                    <a:pt x="4" y="278"/>
                  </a:lnTo>
                  <a:lnTo>
                    <a:pt x="8" y="272"/>
                  </a:lnTo>
                  <a:lnTo>
                    <a:pt x="8" y="266"/>
                  </a:lnTo>
                  <a:lnTo>
                    <a:pt x="12" y="260"/>
                  </a:lnTo>
                  <a:lnTo>
                    <a:pt x="14" y="258"/>
                  </a:lnTo>
                  <a:lnTo>
                    <a:pt x="14" y="252"/>
                  </a:lnTo>
                  <a:lnTo>
                    <a:pt x="14" y="246"/>
                  </a:lnTo>
                  <a:lnTo>
                    <a:pt x="14" y="240"/>
                  </a:lnTo>
                  <a:lnTo>
                    <a:pt x="16" y="236"/>
                  </a:lnTo>
                  <a:lnTo>
                    <a:pt x="16" y="230"/>
                  </a:lnTo>
                  <a:lnTo>
                    <a:pt x="16" y="224"/>
                  </a:lnTo>
                  <a:lnTo>
                    <a:pt x="16" y="216"/>
                  </a:lnTo>
                  <a:lnTo>
                    <a:pt x="16" y="210"/>
                  </a:lnTo>
                  <a:lnTo>
                    <a:pt x="18" y="204"/>
                  </a:lnTo>
                  <a:lnTo>
                    <a:pt x="18" y="198"/>
                  </a:lnTo>
                  <a:lnTo>
                    <a:pt x="18" y="192"/>
                  </a:lnTo>
                  <a:lnTo>
                    <a:pt x="18" y="186"/>
                  </a:lnTo>
                  <a:lnTo>
                    <a:pt x="18" y="180"/>
                  </a:lnTo>
                  <a:lnTo>
                    <a:pt x="18" y="174"/>
                  </a:lnTo>
                  <a:lnTo>
                    <a:pt x="20" y="168"/>
                  </a:lnTo>
                  <a:lnTo>
                    <a:pt x="20" y="166"/>
                  </a:lnTo>
                  <a:lnTo>
                    <a:pt x="22" y="138"/>
                  </a:lnTo>
                  <a:lnTo>
                    <a:pt x="22" y="108"/>
                  </a:lnTo>
                  <a:lnTo>
                    <a:pt x="24" y="96"/>
                  </a:lnTo>
                  <a:lnTo>
                    <a:pt x="26" y="44"/>
                  </a:lnTo>
                  <a:lnTo>
                    <a:pt x="26" y="28"/>
                  </a:lnTo>
                  <a:lnTo>
                    <a:pt x="28" y="0"/>
                  </a:lnTo>
                  <a:lnTo>
                    <a:pt x="30" y="0"/>
                  </a:lnTo>
                  <a:lnTo>
                    <a:pt x="36" y="0"/>
                  </a:lnTo>
                  <a:lnTo>
                    <a:pt x="42" y="2"/>
                  </a:lnTo>
                  <a:lnTo>
                    <a:pt x="48" y="6"/>
                  </a:lnTo>
                  <a:lnTo>
                    <a:pt x="54" y="10"/>
                  </a:lnTo>
                  <a:lnTo>
                    <a:pt x="60" y="12"/>
                  </a:lnTo>
                  <a:lnTo>
                    <a:pt x="66" y="16"/>
                  </a:lnTo>
                  <a:lnTo>
                    <a:pt x="72" y="18"/>
                  </a:lnTo>
                  <a:lnTo>
                    <a:pt x="76" y="22"/>
                  </a:lnTo>
                  <a:lnTo>
                    <a:pt x="84" y="26"/>
                  </a:lnTo>
                  <a:lnTo>
                    <a:pt x="90" y="26"/>
                  </a:lnTo>
                  <a:lnTo>
                    <a:pt x="92" y="32"/>
                  </a:lnTo>
                  <a:lnTo>
                    <a:pt x="98" y="34"/>
                  </a:lnTo>
                  <a:lnTo>
                    <a:pt x="104" y="36"/>
                  </a:lnTo>
                  <a:lnTo>
                    <a:pt x="110" y="38"/>
                  </a:lnTo>
                  <a:lnTo>
                    <a:pt x="116" y="42"/>
                  </a:lnTo>
                  <a:lnTo>
                    <a:pt x="122" y="42"/>
                  </a:lnTo>
                  <a:lnTo>
                    <a:pt x="128" y="46"/>
                  </a:lnTo>
                  <a:lnTo>
                    <a:pt x="134" y="48"/>
                  </a:lnTo>
                  <a:lnTo>
                    <a:pt x="140" y="50"/>
                  </a:lnTo>
                  <a:lnTo>
                    <a:pt x="146" y="52"/>
                  </a:lnTo>
                  <a:lnTo>
                    <a:pt x="152" y="52"/>
                  </a:lnTo>
                  <a:lnTo>
                    <a:pt x="154" y="52"/>
                  </a:lnTo>
                  <a:lnTo>
                    <a:pt x="160" y="52"/>
                  </a:lnTo>
                  <a:lnTo>
                    <a:pt x="164" y="54"/>
                  </a:lnTo>
                  <a:lnTo>
                    <a:pt x="170" y="56"/>
                  </a:lnTo>
                  <a:lnTo>
                    <a:pt x="176" y="56"/>
                  </a:lnTo>
                  <a:lnTo>
                    <a:pt x="182" y="60"/>
                  </a:lnTo>
                  <a:lnTo>
                    <a:pt x="186" y="66"/>
                  </a:lnTo>
                  <a:lnTo>
                    <a:pt x="192" y="70"/>
                  </a:lnTo>
                  <a:lnTo>
                    <a:pt x="198" y="72"/>
                  </a:lnTo>
                  <a:lnTo>
                    <a:pt x="204" y="78"/>
                  </a:lnTo>
                  <a:lnTo>
                    <a:pt x="210" y="84"/>
                  </a:lnTo>
                  <a:lnTo>
                    <a:pt x="216" y="86"/>
                  </a:lnTo>
                  <a:lnTo>
                    <a:pt x="222" y="88"/>
                  </a:lnTo>
                  <a:lnTo>
                    <a:pt x="228" y="82"/>
                  </a:lnTo>
                  <a:lnTo>
                    <a:pt x="234" y="84"/>
                  </a:lnTo>
                  <a:lnTo>
                    <a:pt x="240" y="86"/>
                  </a:lnTo>
                  <a:lnTo>
                    <a:pt x="240" y="90"/>
                  </a:lnTo>
                  <a:lnTo>
                    <a:pt x="242" y="96"/>
                  </a:lnTo>
                  <a:lnTo>
                    <a:pt x="246" y="98"/>
                  </a:lnTo>
                  <a:lnTo>
                    <a:pt x="252" y="98"/>
                  </a:lnTo>
                  <a:lnTo>
                    <a:pt x="258" y="102"/>
                  </a:lnTo>
                  <a:lnTo>
                    <a:pt x="258" y="108"/>
                  </a:lnTo>
                  <a:lnTo>
                    <a:pt x="264" y="112"/>
                  </a:lnTo>
                  <a:lnTo>
                    <a:pt x="268" y="118"/>
                  </a:lnTo>
                  <a:lnTo>
                    <a:pt x="272" y="122"/>
                  </a:lnTo>
                  <a:lnTo>
                    <a:pt x="278" y="124"/>
                  </a:lnTo>
                  <a:lnTo>
                    <a:pt x="284" y="122"/>
                  </a:lnTo>
                  <a:lnTo>
                    <a:pt x="290" y="128"/>
                  </a:lnTo>
                  <a:lnTo>
                    <a:pt x="294" y="134"/>
                  </a:lnTo>
                  <a:lnTo>
                    <a:pt x="300" y="140"/>
                  </a:lnTo>
                  <a:lnTo>
                    <a:pt x="302" y="146"/>
                  </a:lnTo>
                  <a:lnTo>
                    <a:pt x="308" y="152"/>
                  </a:lnTo>
                  <a:lnTo>
                    <a:pt x="312" y="158"/>
                  </a:lnTo>
                  <a:lnTo>
                    <a:pt x="312" y="164"/>
                  </a:lnTo>
                  <a:lnTo>
                    <a:pt x="312" y="170"/>
                  </a:lnTo>
                  <a:lnTo>
                    <a:pt x="312" y="174"/>
                  </a:lnTo>
                  <a:lnTo>
                    <a:pt x="310" y="180"/>
                  </a:lnTo>
                  <a:lnTo>
                    <a:pt x="306" y="186"/>
                  </a:lnTo>
                  <a:lnTo>
                    <a:pt x="306" y="192"/>
                  </a:lnTo>
                  <a:lnTo>
                    <a:pt x="310" y="198"/>
                  </a:lnTo>
                  <a:lnTo>
                    <a:pt x="318" y="200"/>
                  </a:lnTo>
                  <a:lnTo>
                    <a:pt x="322" y="200"/>
                  </a:lnTo>
                  <a:lnTo>
                    <a:pt x="328" y="202"/>
                  </a:lnTo>
                  <a:lnTo>
                    <a:pt x="334" y="204"/>
                  </a:lnTo>
                  <a:lnTo>
                    <a:pt x="340" y="206"/>
                  </a:lnTo>
                  <a:lnTo>
                    <a:pt x="346" y="208"/>
                  </a:lnTo>
                  <a:lnTo>
                    <a:pt x="352" y="210"/>
                  </a:lnTo>
                  <a:lnTo>
                    <a:pt x="358" y="214"/>
                  </a:lnTo>
                  <a:lnTo>
                    <a:pt x="364" y="218"/>
                  </a:lnTo>
                  <a:lnTo>
                    <a:pt x="368" y="222"/>
                  </a:lnTo>
                  <a:lnTo>
                    <a:pt x="372" y="224"/>
                  </a:lnTo>
                  <a:lnTo>
                    <a:pt x="378" y="224"/>
                  </a:lnTo>
                  <a:lnTo>
                    <a:pt x="382" y="230"/>
                  </a:lnTo>
                  <a:lnTo>
                    <a:pt x="388" y="232"/>
                  </a:lnTo>
                  <a:lnTo>
                    <a:pt x="394" y="234"/>
                  </a:lnTo>
                  <a:lnTo>
                    <a:pt x="400" y="232"/>
                  </a:lnTo>
                  <a:lnTo>
                    <a:pt x="406" y="232"/>
                  </a:lnTo>
                  <a:lnTo>
                    <a:pt x="412" y="236"/>
                  </a:lnTo>
                  <a:lnTo>
                    <a:pt x="412" y="238"/>
                  </a:lnTo>
                  <a:lnTo>
                    <a:pt x="418" y="242"/>
                  </a:lnTo>
                  <a:lnTo>
                    <a:pt x="422" y="248"/>
                  </a:lnTo>
                  <a:lnTo>
                    <a:pt x="424" y="254"/>
                  </a:lnTo>
                  <a:lnTo>
                    <a:pt x="430" y="260"/>
                  </a:lnTo>
                  <a:lnTo>
                    <a:pt x="432" y="266"/>
                  </a:lnTo>
                  <a:lnTo>
                    <a:pt x="430" y="272"/>
                  </a:lnTo>
                  <a:lnTo>
                    <a:pt x="432" y="278"/>
                  </a:lnTo>
                  <a:lnTo>
                    <a:pt x="428" y="284"/>
                  </a:lnTo>
                  <a:lnTo>
                    <a:pt x="422" y="286"/>
                  </a:lnTo>
                  <a:lnTo>
                    <a:pt x="416" y="286"/>
                  </a:lnTo>
                  <a:lnTo>
                    <a:pt x="412" y="288"/>
                  </a:lnTo>
                  <a:lnTo>
                    <a:pt x="406" y="286"/>
                  </a:lnTo>
                  <a:lnTo>
                    <a:pt x="400" y="288"/>
                  </a:lnTo>
                  <a:lnTo>
                    <a:pt x="394" y="286"/>
                  </a:lnTo>
                  <a:lnTo>
                    <a:pt x="388" y="284"/>
                  </a:lnTo>
                  <a:lnTo>
                    <a:pt x="382" y="286"/>
                  </a:lnTo>
                  <a:lnTo>
                    <a:pt x="376" y="286"/>
                  </a:lnTo>
                  <a:lnTo>
                    <a:pt x="374" y="292"/>
                  </a:lnTo>
                  <a:lnTo>
                    <a:pt x="372" y="298"/>
                  </a:lnTo>
                  <a:lnTo>
                    <a:pt x="374" y="304"/>
                  </a:lnTo>
                  <a:lnTo>
                    <a:pt x="380" y="310"/>
                  </a:lnTo>
                  <a:lnTo>
                    <a:pt x="382" y="316"/>
                  </a:lnTo>
                  <a:lnTo>
                    <a:pt x="384" y="322"/>
                  </a:lnTo>
                  <a:lnTo>
                    <a:pt x="384" y="326"/>
                  </a:lnTo>
                  <a:lnTo>
                    <a:pt x="384" y="332"/>
                  </a:lnTo>
                  <a:lnTo>
                    <a:pt x="390" y="340"/>
                  </a:lnTo>
                  <a:lnTo>
                    <a:pt x="396" y="342"/>
                  </a:lnTo>
                  <a:lnTo>
                    <a:pt x="402" y="346"/>
                  </a:lnTo>
                  <a:lnTo>
                    <a:pt x="408" y="352"/>
                  </a:lnTo>
                  <a:lnTo>
                    <a:pt x="408" y="358"/>
                  </a:lnTo>
                  <a:lnTo>
                    <a:pt x="414" y="364"/>
                  </a:lnTo>
                  <a:lnTo>
                    <a:pt x="418" y="370"/>
                  </a:lnTo>
                  <a:lnTo>
                    <a:pt x="424" y="370"/>
                  </a:lnTo>
                  <a:lnTo>
                    <a:pt x="430" y="374"/>
                  </a:lnTo>
                  <a:lnTo>
                    <a:pt x="432" y="378"/>
                  </a:lnTo>
                  <a:lnTo>
                    <a:pt x="434" y="378"/>
                  </a:lnTo>
                  <a:lnTo>
                    <a:pt x="440" y="376"/>
                  </a:lnTo>
                  <a:lnTo>
                    <a:pt x="440" y="382"/>
                  </a:lnTo>
                  <a:lnTo>
                    <a:pt x="440" y="386"/>
                  </a:lnTo>
                  <a:lnTo>
                    <a:pt x="442" y="392"/>
                  </a:lnTo>
                  <a:lnTo>
                    <a:pt x="442" y="398"/>
                  </a:lnTo>
                  <a:lnTo>
                    <a:pt x="444" y="404"/>
                  </a:lnTo>
                  <a:lnTo>
                    <a:pt x="442" y="410"/>
                  </a:lnTo>
                  <a:lnTo>
                    <a:pt x="446" y="416"/>
                  </a:lnTo>
                  <a:lnTo>
                    <a:pt x="454" y="420"/>
                  </a:lnTo>
                  <a:lnTo>
                    <a:pt x="456" y="424"/>
                  </a:lnTo>
                  <a:lnTo>
                    <a:pt x="456" y="432"/>
                  </a:lnTo>
                  <a:lnTo>
                    <a:pt x="458" y="436"/>
                  </a:lnTo>
                  <a:lnTo>
                    <a:pt x="458" y="442"/>
                  </a:lnTo>
                  <a:lnTo>
                    <a:pt x="464" y="450"/>
                  </a:lnTo>
                  <a:lnTo>
                    <a:pt x="470" y="450"/>
                  </a:lnTo>
                  <a:lnTo>
                    <a:pt x="476" y="448"/>
                  </a:lnTo>
                  <a:lnTo>
                    <a:pt x="482" y="446"/>
                  </a:lnTo>
                  <a:lnTo>
                    <a:pt x="488" y="446"/>
                  </a:lnTo>
                  <a:lnTo>
                    <a:pt x="494" y="444"/>
                  </a:lnTo>
                  <a:lnTo>
                    <a:pt x="500" y="444"/>
                  </a:lnTo>
                  <a:lnTo>
                    <a:pt x="504" y="448"/>
                  </a:lnTo>
                  <a:lnTo>
                    <a:pt x="504" y="454"/>
                  </a:lnTo>
                  <a:lnTo>
                    <a:pt x="500" y="460"/>
                  </a:lnTo>
                  <a:lnTo>
                    <a:pt x="496" y="466"/>
                  </a:lnTo>
                  <a:lnTo>
                    <a:pt x="496" y="472"/>
                  </a:lnTo>
                  <a:lnTo>
                    <a:pt x="498" y="478"/>
                  </a:lnTo>
                  <a:lnTo>
                    <a:pt x="504" y="480"/>
                  </a:lnTo>
                  <a:lnTo>
                    <a:pt x="510" y="484"/>
                  </a:lnTo>
                  <a:lnTo>
                    <a:pt x="514" y="484"/>
                  </a:lnTo>
                  <a:lnTo>
                    <a:pt x="520" y="486"/>
                  </a:lnTo>
                  <a:lnTo>
                    <a:pt x="526" y="484"/>
                  </a:lnTo>
                  <a:lnTo>
                    <a:pt x="532" y="486"/>
                  </a:lnTo>
                  <a:lnTo>
                    <a:pt x="538" y="488"/>
                  </a:lnTo>
                  <a:lnTo>
                    <a:pt x="544" y="486"/>
                  </a:lnTo>
                  <a:lnTo>
                    <a:pt x="544" y="488"/>
                  </a:lnTo>
                  <a:lnTo>
                    <a:pt x="542" y="494"/>
                  </a:lnTo>
                  <a:lnTo>
                    <a:pt x="536" y="496"/>
                  </a:lnTo>
                  <a:lnTo>
                    <a:pt x="530" y="496"/>
                  </a:lnTo>
                  <a:lnTo>
                    <a:pt x="526" y="500"/>
                  </a:lnTo>
                  <a:lnTo>
                    <a:pt x="530" y="506"/>
                  </a:lnTo>
                  <a:lnTo>
                    <a:pt x="532" y="512"/>
                  </a:lnTo>
                  <a:lnTo>
                    <a:pt x="534" y="514"/>
                  </a:lnTo>
                  <a:lnTo>
                    <a:pt x="540" y="518"/>
                  </a:lnTo>
                  <a:lnTo>
                    <a:pt x="544" y="518"/>
                  </a:lnTo>
                  <a:lnTo>
                    <a:pt x="550" y="518"/>
                  </a:lnTo>
                  <a:lnTo>
                    <a:pt x="556" y="524"/>
                  </a:lnTo>
                  <a:lnTo>
                    <a:pt x="562" y="526"/>
                  </a:lnTo>
                  <a:lnTo>
                    <a:pt x="568" y="526"/>
                  </a:lnTo>
                  <a:lnTo>
                    <a:pt x="574" y="528"/>
                  </a:lnTo>
                  <a:lnTo>
                    <a:pt x="580" y="530"/>
                  </a:lnTo>
                  <a:lnTo>
                    <a:pt x="586" y="530"/>
                  </a:lnTo>
                  <a:lnTo>
                    <a:pt x="592" y="528"/>
                  </a:lnTo>
                  <a:lnTo>
                    <a:pt x="586" y="532"/>
                  </a:lnTo>
                  <a:lnTo>
                    <a:pt x="580" y="534"/>
                  </a:lnTo>
                  <a:lnTo>
                    <a:pt x="574" y="536"/>
                  </a:lnTo>
                  <a:lnTo>
                    <a:pt x="568" y="534"/>
                  </a:lnTo>
                  <a:lnTo>
                    <a:pt x="562" y="534"/>
                  </a:lnTo>
                  <a:lnTo>
                    <a:pt x="560" y="540"/>
                  </a:lnTo>
                  <a:lnTo>
                    <a:pt x="566" y="542"/>
                  </a:lnTo>
                  <a:lnTo>
                    <a:pt x="572" y="544"/>
                  </a:lnTo>
                  <a:lnTo>
                    <a:pt x="578" y="546"/>
                  </a:lnTo>
                  <a:lnTo>
                    <a:pt x="578" y="552"/>
                  </a:lnTo>
                  <a:lnTo>
                    <a:pt x="572" y="554"/>
                  </a:lnTo>
                  <a:lnTo>
                    <a:pt x="566" y="556"/>
                  </a:lnTo>
                  <a:lnTo>
                    <a:pt x="560" y="560"/>
                  </a:lnTo>
                  <a:lnTo>
                    <a:pt x="554" y="560"/>
                  </a:lnTo>
                  <a:lnTo>
                    <a:pt x="548" y="560"/>
                  </a:lnTo>
                  <a:lnTo>
                    <a:pt x="542" y="558"/>
                  </a:lnTo>
                  <a:lnTo>
                    <a:pt x="536" y="552"/>
                  </a:lnTo>
                  <a:lnTo>
                    <a:pt x="534" y="552"/>
                  </a:lnTo>
                  <a:lnTo>
                    <a:pt x="532" y="546"/>
                  </a:lnTo>
                  <a:lnTo>
                    <a:pt x="538" y="548"/>
                  </a:lnTo>
                  <a:lnTo>
                    <a:pt x="542" y="544"/>
                  </a:lnTo>
                  <a:lnTo>
                    <a:pt x="538" y="542"/>
                  </a:lnTo>
                  <a:lnTo>
                    <a:pt x="532" y="546"/>
                  </a:lnTo>
                  <a:lnTo>
                    <a:pt x="530" y="540"/>
                  </a:lnTo>
                  <a:lnTo>
                    <a:pt x="524" y="536"/>
                  </a:lnTo>
                  <a:lnTo>
                    <a:pt x="518" y="536"/>
                  </a:lnTo>
                  <a:lnTo>
                    <a:pt x="516" y="536"/>
                  </a:lnTo>
                  <a:lnTo>
                    <a:pt x="510" y="536"/>
                  </a:lnTo>
                  <a:lnTo>
                    <a:pt x="504" y="534"/>
                  </a:lnTo>
                  <a:lnTo>
                    <a:pt x="498" y="534"/>
                  </a:lnTo>
                  <a:lnTo>
                    <a:pt x="492" y="532"/>
                  </a:lnTo>
                  <a:lnTo>
                    <a:pt x="486" y="530"/>
                  </a:lnTo>
                  <a:lnTo>
                    <a:pt x="480" y="530"/>
                  </a:lnTo>
                  <a:lnTo>
                    <a:pt x="474" y="530"/>
                  </a:lnTo>
                  <a:lnTo>
                    <a:pt x="468" y="528"/>
                  </a:lnTo>
                  <a:lnTo>
                    <a:pt x="462" y="528"/>
                  </a:lnTo>
                  <a:lnTo>
                    <a:pt x="464" y="522"/>
                  </a:lnTo>
                  <a:lnTo>
                    <a:pt x="458" y="524"/>
                  </a:lnTo>
                  <a:lnTo>
                    <a:pt x="452" y="524"/>
                  </a:lnTo>
                  <a:lnTo>
                    <a:pt x="446" y="526"/>
                  </a:lnTo>
                  <a:lnTo>
                    <a:pt x="440" y="526"/>
                  </a:lnTo>
                  <a:lnTo>
                    <a:pt x="434" y="522"/>
                  </a:lnTo>
                  <a:lnTo>
                    <a:pt x="428" y="518"/>
                  </a:lnTo>
                  <a:lnTo>
                    <a:pt x="424" y="522"/>
                  </a:lnTo>
                  <a:lnTo>
                    <a:pt x="418" y="524"/>
                  </a:lnTo>
                  <a:lnTo>
                    <a:pt x="412" y="518"/>
                  </a:lnTo>
                  <a:lnTo>
                    <a:pt x="406" y="516"/>
                  </a:lnTo>
                  <a:lnTo>
                    <a:pt x="402" y="518"/>
                  </a:lnTo>
                  <a:lnTo>
                    <a:pt x="398" y="512"/>
                  </a:lnTo>
                  <a:lnTo>
                    <a:pt x="394" y="508"/>
                  </a:lnTo>
                  <a:lnTo>
                    <a:pt x="390" y="502"/>
                  </a:lnTo>
                  <a:lnTo>
                    <a:pt x="390" y="496"/>
                  </a:lnTo>
                  <a:lnTo>
                    <a:pt x="386" y="490"/>
                  </a:lnTo>
                  <a:lnTo>
                    <a:pt x="382" y="484"/>
                  </a:lnTo>
                  <a:lnTo>
                    <a:pt x="380" y="478"/>
                  </a:lnTo>
                  <a:lnTo>
                    <a:pt x="374" y="480"/>
                  </a:lnTo>
                  <a:lnTo>
                    <a:pt x="368" y="476"/>
                  </a:lnTo>
                  <a:lnTo>
                    <a:pt x="366" y="476"/>
                  </a:lnTo>
                  <a:lnTo>
                    <a:pt x="362" y="470"/>
                  </a:lnTo>
                  <a:lnTo>
                    <a:pt x="362" y="462"/>
                  </a:lnTo>
                  <a:lnTo>
                    <a:pt x="356" y="458"/>
                  </a:lnTo>
                  <a:lnTo>
                    <a:pt x="358" y="452"/>
                  </a:lnTo>
                  <a:lnTo>
                    <a:pt x="360" y="450"/>
                  </a:lnTo>
                  <a:lnTo>
                    <a:pt x="354" y="450"/>
                  </a:lnTo>
                  <a:lnTo>
                    <a:pt x="348" y="446"/>
                  </a:lnTo>
                  <a:lnTo>
                    <a:pt x="342" y="444"/>
                  </a:lnTo>
                  <a:lnTo>
                    <a:pt x="338" y="438"/>
                  </a:lnTo>
                  <a:lnTo>
                    <a:pt x="342" y="432"/>
                  </a:lnTo>
                  <a:lnTo>
                    <a:pt x="336" y="426"/>
                  </a:lnTo>
                  <a:lnTo>
                    <a:pt x="334" y="420"/>
                  </a:lnTo>
                  <a:lnTo>
                    <a:pt x="330" y="414"/>
                  </a:lnTo>
                  <a:lnTo>
                    <a:pt x="328" y="412"/>
                  </a:lnTo>
                  <a:lnTo>
                    <a:pt x="324" y="406"/>
                  </a:lnTo>
                  <a:lnTo>
                    <a:pt x="324" y="398"/>
                  </a:lnTo>
                  <a:lnTo>
                    <a:pt x="322" y="396"/>
                  </a:lnTo>
                  <a:lnTo>
                    <a:pt x="318" y="390"/>
                  </a:lnTo>
                  <a:lnTo>
                    <a:pt x="316" y="384"/>
                  </a:lnTo>
                  <a:lnTo>
                    <a:pt x="310" y="378"/>
                  </a:lnTo>
                  <a:lnTo>
                    <a:pt x="306" y="376"/>
                  </a:lnTo>
                  <a:lnTo>
                    <a:pt x="300" y="374"/>
                  </a:lnTo>
                  <a:lnTo>
                    <a:pt x="296" y="370"/>
                  </a:lnTo>
                  <a:lnTo>
                    <a:pt x="290" y="370"/>
                  </a:lnTo>
                  <a:lnTo>
                    <a:pt x="284" y="370"/>
                  </a:lnTo>
                  <a:lnTo>
                    <a:pt x="278" y="370"/>
                  </a:lnTo>
                  <a:lnTo>
                    <a:pt x="272" y="366"/>
                  </a:lnTo>
                  <a:lnTo>
                    <a:pt x="266" y="364"/>
                  </a:lnTo>
                  <a:lnTo>
                    <a:pt x="260" y="360"/>
                  </a:lnTo>
                  <a:lnTo>
                    <a:pt x="256" y="362"/>
                  </a:lnTo>
                  <a:lnTo>
                    <a:pt x="250" y="360"/>
                  </a:lnTo>
                  <a:lnTo>
                    <a:pt x="246" y="360"/>
                  </a:lnTo>
                  <a:lnTo>
                    <a:pt x="240" y="356"/>
                  </a:lnTo>
                  <a:lnTo>
                    <a:pt x="242" y="350"/>
                  </a:lnTo>
                  <a:lnTo>
                    <a:pt x="242" y="344"/>
                  </a:lnTo>
                  <a:lnTo>
                    <a:pt x="242" y="350"/>
                  </a:lnTo>
                  <a:lnTo>
                    <a:pt x="236" y="350"/>
                  </a:lnTo>
                  <a:lnTo>
                    <a:pt x="230" y="344"/>
                  </a:lnTo>
                  <a:lnTo>
                    <a:pt x="230" y="350"/>
                  </a:lnTo>
                  <a:lnTo>
                    <a:pt x="224" y="346"/>
                  </a:lnTo>
                  <a:lnTo>
                    <a:pt x="224" y="340"/>
                  </a:lnTo>
                  <a:lnTo>
                    <a:pt x="222" y="340"/>
                  </a:lnTo>
                  <a:lnTo>
                    <a:pt x="218" y="346"/>
                  </a:lnTo>
                  <a:lnTo>
                    <a:pt x="216" y="340"/>
                  </a:lnTo>
                  <a:lnTo>
                    <a:pt x="216" y="346"/>
                  </a:lnTo>
                  <a:lnTo>
                    <a:pt x="216" y="352"/>
                  </a:lnTo>
                  <a:lnTo>
                    <a:pt x="216" y="356"/>
                  </a:lnTo>
                  <a:lnTo>
                    <a:pt x="212" y="352"/>
                  </a:lnTo>
                  <a:lnTo>
                    <a:pt x="206" y="348"/>
                  </a:lnTo>
                  <a:lnTo>
                    <a:pt x="204" y="354"/>
                  </a:lnTo>
                  <a:lnTo>
                    <a:pt x="200" y="358"/>
                  </a:lnTo>
                  <a:lnTo>
                    <a:pt x="194" y="356"/>
                  </a:lnTo>
                  <a:lnTo>
                    <a:pt x="188" y="354"/>
                  </a:lnTo>
                  <a:lnTo>
                    <a:pt x="182" y="352"/>
                  </a:lnTo>
                  <a:lnTo>
                    <a:pt x="178" y="344"/>
                  </a:lnTo>
                  <a:lnTo>
                    <a:pt x="176" y="340"/>
                  </a:lnTo>
                  <a:lnTo>
                    <a:pt x="170" y="336"/>
                  </a:lnTo>
                  <a:lnTo>
                    <a:pt x="170" y="338"/>
                  </a:lnTo>
                  <a:lnTo>
                    <a:pt x="174" y="344"/>
                  </a:lnTo>
                  <a:lnTo>
                    <a:pt x="178" y="350"/>
                  </a:lnTo>
                  <a:lnTo>
                    <a:pt x="180" y="356"/>
                  </a:lnTo>
                  <a:lnTo>
                    <a:pt x="180" y="362"/>
                  </a:lnTo>
                  <a:lnTo>
                    <a:pt x="184" y="368"/>
                  </a:lnTo>
                  <a:lnTo>
                    <a:pt x="184" y="374"/>
                  </a:lnTo>
                  <a:lnTo>
                    <a:pt x="178" y="370"/>
                  </a:lnTo>
                  <a:lnTo>
                    <a:pt x="178" y="376"/>
                  </a:lnTo>
                  <a:lnTo>
                    <a:pt x="174" y="376"/>
                  </a:lnTo>
                  <a:lnTo>
                    <a:pt x="166" y="374"/>
                  </a:lnTo>
                  <a:lnTo>
                    <a:pt x="162" y="374"/>
                  </a:lnTo>
                  <a:lnTo>
                    <a:pt x="156" y="368"/>
                  </a:lnTo>
                  <a:lnTo>
                    <a:pt x="150" y="366"/>
                  </a:lnTo>
                  <a:lnTo>
                    <a:pt x="150" y="368"/>
                  </a:lnTo>
                  <a:lnTo>
                    <a:pt x="152" y="368"/>
                  </a:lnTo>
                  <a:lnTo>
                    <a:pt x="154" y="374"/>
                  </a:lnTo>
                  <a:lnTo>
                    <a:pt x="160" y="376"/>
                  </a:lnTo>
                  <a:lnTo>
                    <a:pt x="162" y="382"/>
                  </a:lnTo>
                  <a:lnTo>
                    <a:pt x="164" y="384"/>
                  </a:lnTo>
                  <a:lnTo>
                    <a:pt x="162" y="390"/>
                  </a:lnTo>
                  <a:lnTo>
                    <a:pt x="156" y="390"/>
                  </a:lnTo>
                  <a:lnTo>
                    <a:pt x="150" y="390"/>
                  </a:lnTo>
                  <a:lnTo>
                    <a:pt x="144" y="392"/>
                  </a:lnTo>
                  <a:lnTo>
                    <a:pt x="138" y="394"/>
                  </a:lnTo>
                  <a:lnTo>
                    <a:pt x="132" y="394"/>
                  </a:lnTo>
                  <a:lnTo>
                    <a:pt x="126" y="396"/>
                  </a:lnTo>
                  <a:lnTo>
                    <a:pt x="120" y="396"/>
                  </a:lnTo>
                  <a:lnTo>
                    <a:pt x="114" y="394"/>
                  </a:lnTo>
                  <a:lnTo>
                    <a:pt x="108" y="392"/>
                  </a:lnTo>
                  <a:lnTo>
                    <a:pt x="102" y="394"/>
                  </a:lnTo>
                  <a:lnTo>
                    <a:pt x="98" y="396"/>
                  </a:lnTo>
                  <a:lnTo>
                    <a:pt x="90" y="396"/>
                  </a:lnTo>
                  <a:lnTo>
                    <a:pt x="88" y="390"/>
                  </a:lnTo>
                  <a:lnTo>
                    <a:pt x="86" y="388"/>
                  </a:lnTo>
                  <a:lnTo>
                    <a:pt x="88" y="394"/>
                  </a:lnTo>
                  <a:lnTo>
                    <a:pt x="92" y="400"/>
                  </a:lnTo>
                  <a:lnTo>
                    <a:pt x="98" y="398"/>
                  </a:lnTo>
                  <a:lnTo>
                    <a:pt x="104" y="396"/>
                  </a:lnTo>
                  <a:lnTo>
                    <a:pt x="110" y="396"/>
                  </a:lnTo>
                  <a:lnTo>
                    <a:pt x="116" y="400"/>
                  </a:lnTo>
                  <a:lnTo>
                    <a:pt x="122" y="404"/>
                  </a:lnTo>
                  <a:lnTo>
                    <a:pt x="128" y="404"/>
                  </a:lnTo>
                  <a:lnTo>
                    <a:pt x="134" y="408"/>
                  </a:lnTo>
                  <a:lnTo>
                    <a:pt x="140" y="414"/>
                  </a:lnTo>
                  <a:lnTo>
                    <a:pt x="142" y="420"/>
                  </a:lnTo>
                  <a:lnTo>
                    <a:pt x="146" y="424"/>
                  </a:lnTo>
                  <a:lnTo>
                    <a:pt x="146" y="430"/>
                  </a:lnTo>
                  <a:lnTo>
                    <a:pt x="146" y="436"/>
                  </a:lnTo>
                  <a:lnTo>
                    <a:pt x="144" y="442"/>
                  </a:lnTo>
                  <a:lnTo>
                    <a:pt x="138" y="444"/>
                  </a:lnTo>
                  <a:lnTo>
                    <a:pt x="132" y="446"/>
                  </a:lnTo>
                  <a:lnTo>
                    <a:pt x="128" y="448"/>
                  </a:lnTo>
                  <a:lnTo>
                    <a:pt x="120" y="452"/>
                  </a:lnTo>
                  <a:lnTo>
                    <a:pt x="114" y="456"/>
                  </a:lnTo>
                  <a:lnTo>
                    <a:pt x="110" y="460"/>
                  </a:lnTo>
                  <a:lnTo>
                    <a:pt x="102" y="462"/>
                  </a:lnTo>
                  <a:lnTo>
                    <a:pt x="98" y="466"/>
                  </a:lnTo>
                  <a:lnTo>
                    <a:pt x="94" y="466"/>
                  </a:lnTo>
                  <a:lnTo>
                    <a:pt x="90" y="462"/>
                  </a:lnTo>
                  <a:lnTo>
                    <a:pt x="84" y="458"/>
                  </a:lnTo>
                  <a:lnTo>
                    <a:pt x="78" y="458"/>
                  </a:lnTo>
                  <a:lnTo>
                    <a:pt x="72" y="454"/>
                  </a:lnTo>
                  <a:lnTo>
                    <a:pt x="68" y="456"/>
                  </a:lnTo>
                  <a:lnTo>
                    <a:pt x="62" y="456"/>
                  </a:lnTo>
                  <a:lnTo>
                    <a:pt x="56" y="458"/>
                  </a:lnTo>
                  <a:lnTo>
                    <a:pt x="52" y="458"/>
                  </a:lnTo>
                  <a:lnTo>
                    <a:pt x="46" y="456"/>
                  </a:lnTo>
                  <a:lnTo>
                    <a:pt x="40" y="458"/>
                  </a:lnTo>
                  <a:lnTo>
                    <a:pt x="34" y="458"/>
                  </a:lnTo>
                  <a:lnTo>
                    <a:pt x="28" y="456"/>
                  </a:lnTo>
                  <a:lnTo>
                    <a:pt x="22" y="452"/>
                  </a:lnTo>
                  <a:lnTo>
                    <a:pt x="16" y="454"/>
                  </a:lnTo>
                  <a:lnTo>
                    <a:pt x="10" y="458"/>
                  </a:lnTo>
                  <a:lnTo>
                    <a:pt x="4" y="458"/>
                  </a:lnTo>
                  <a:lnTo>
                    <a:pt x="0" y="4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1" name="Freeform 188"/>
            <p:cNvSpPr>
              <a:spLocks/>
            </p:cNvSpPr>
            <p:nvPr/>
          </p:nvSpPr>
          <p:spPr bwMode="auto">
            <a:xfrm>
              <a:off x="7918450" y="4364038"/>
              <a:ext cx="101600" cy="61912"/>
            </a:xfrm>
            <a:custGeom>
              <a:avLst/>
              <a:gdLst>
                <a:gd name="T0" fmla="*/ 2147483647 w 252"/>
                <a:gd name="T1" fmla="*/ 2147483647 h 150"/>
                <a:gd name="T2" fmla="*/ 2147483647 w 252"/>
                <a:gd name="T3" fmla="*/ 2147483647 h 150"/>
                <a:gd name="T4" fmla="*/ 2147483647 w 252"/>
                <a:gd name="T5" fmla="*/ 2147483647 h 150"/>
                <a:gd name="T6" fmla="*/ 2147483647 w 252"/>
                <a:gd name="T7" fmla="*/ 2147483647 h 150"/>
                <a:gd name="T8" fmla="*/ 2147483647 w 252"/>
                <a:gd name="T9" fmla="*/ 2147483647 h 150"/>
                <a:gd name="T10" fmla="*/ 2147483647 w 252"/>
                <a:gd name="T11" fmla="*/ 2147483647 h 150"/>
                <a:gd name="T12" fmla="*/ 2147483647 w 252"/>
                <a:gd name="T13" fmla="*/ 2147483647 h 150"/>
                <a:gd name="T14" fmla="*/ 2147483647 w 252"/>
                <a:gd name="T15" fmla="*/ 2147483647 h 150"/>
                <a:gd name="T16" fmla="*/ 2147483647 w 252"/>
                <a:gd name="T17" fmla="*/ 2147483647 h 150"/>
                <a:gd name="T18" fmla="*/ 2147483647 w 252"/>
                <a:gd name="T19" fmla="*/ 2147483647 h 150"/>
                <a:gd name="T20" fmla="*/ 2147483647 w 252"/>
                <a:gd name="T21" fmla="*/ 2147483647 h 150"/>
                <a:gd name="T22" fmla="*/ 2147483647 w 252"/>
                <a:gd name="T23" fmla="*/ 2147483647 h 150"/>
                <a:gd name="T24" fmla="*/ 2147483647 w 252"/>
                <a:gd name="T25" fmla="*/ 2147483647 h 150"/>
                <a:gd name="T26" fmla="*/ 2147483647 w 252"/>
                <a:gd name="T27" fmla="*/ 2147483647 h 150"/>
                <a:gd name="T28" fmla="*/ 2147483647 w 252"/>
                <a:gd name="T29" fmla="*/ 2147483647 h 150"/>
                <a:gd name="T30" fmla="*/ 2147483647 w 252"/>
                <a:gd name="T31" fmla="*/ 2147483647 h 150"/>
                <a:gd name="T32" fmla="*/ 2147483647 w 252"/>
                <a:gd name="T33" fmla="*/ 2147483647 h 150"/>
                <a:gd name="T34" fmla="*/ 2147483647 w 252"/>
                <a:gd name="T35" fmla="*/ 2147483647 h 150"/>
                <a:gd name="T36" fmla="*/ 2147483647 w 252"/>
                <a:gd name="T37" fmla="*/ 2147483647 h 150"/>
                <a:gd name="T38" fmla="*/ 2147483647 w 252"/>
                <a:gd name="T39" fmla="*/ 2147483647 h 150"/>
                <a:gd name="T40" fmla="*/ 2147483647 w 252"/>
                <a:gd name="T41" fmla="*/ 2147483647 h 150"/>
                <a:gd name="T42" fmla="*/ 2147483647 w 252"/>
                <a:gd name="T43" fmla="*/ 2147483647 h 150"/>
                <a:gd name="T44" fmla="*/ 2147483647 w 252"/>
                <a:gd name="T45" fmla="*/ 2147483647 h 150"/>
                <a:gd name="T46" fmla="*/ 2147483647 w 252"/>
                <a:gd name="T47" fmla="*/ 2147483647 h 150"/>
                <a:gd name="T48" fmla="*/ 2147483647 w 252"/>
                <a:gd name="T49" fmla="*/ 2147483647 h 150"/>
                <a:gd name="T50" fmla="*/ 2147483647 w 252"/>
                <a:gd name="T51" fmla="*/ 2147483647 h 150"/>
                <a:gd name="T52" fmla="*/ 2147483647 w 252"/>
                <a:gd name="T53" fmla="*/ 2147483647 h 150"/>
                <a:gd name="T54" fmla="*/ 2147483647 w 252"/>
                <a:gd name="T55" fmla="*/ 2147483647 h 150"/>
                <a:gd name="T56" fmla="*/ 2147483647 w 252"/>
                <a:gd name="T57" fmla="*/ 2147483647 h 150"/>
                <a:gd name="T58" fmla="*/ 2147483647 w 252"/>
                <a:gd name="T59" fmla="*/ 2147483647 h 150"/>
                <a:gd name="T60" fmla="*/ 2147483647 w 252"/>
                <a:gd name="T61" fmla="*/ 2147483647 h 150"/>
                <a:gd name="T62" fmla="*/ 2147483647 w 252"/>
                <a:gd name="T63" fmla="*/ 2147483647 h 150"/>
                <a:gd name="T64" fmla="*/ 2147483647 w 252"/>
                <a:gd name="T65" fmla="*/ 2147483647 h 150"/>
                <a:gd name="T66" fmla="*/ 2147483647 w 252"/>
                <a:gd name="T67" fmla="*/ 2147483647 h 150"/>
                <a:gd name="T68" fmla="*/ 2147483647 w 252"/>
                <a:gd name="T69" fmla="*/ 2147483647 h 150"/>
                <a:gd name="T70" fmla="*/ 2147483647 w 252"/>
                <a:gd name="T71" fmla="*/ 2147483647 h 150"/>
                <a:gd name="T72" fmla="*/ 2147483647 w 252"/>
                <a:gd name="T73" fmla="*/ 2147483647 h 150"/>
                <a:gd name="T74" fmla="*/ 2147483647 w 252"/>
                <a:gd name="T75" fmla="*/ 2147483647 h 150"/>
                <a:gd name="T76" fmla="*/ 2147483647 w 252"/>
                <a:gd name="T77" fmla="*/ 2147483647 h 150"/>
                <a:gd name="T78" fmla="*/ 2147483647 w 252"/>
                <a:gd name="T79" fmla="*/ 2147483647 h 150"/>
                <a:gd name="T80" fmla="*/ 2147483647 w 252"/>
                <a:gd name="T81" fmla="*/ 2147483647 h 150"/>
                <a:gd name="T82" fmla="*/ 2147483647 w 252"/>
                <a:gd name="T83" fmla="*/ 2147483647 h 150"/>
                <a:gd name="T84" fmla="*/ 2147483647 w 252"/>
                <a:gd name="T85" fmla="*/ 2147483647 h 150"/>
                <a:gd name="T86" fmla="*/ 2147483647 w 252"/>
                <a:gd name="T87" fmla="*/ 2147483647 h 150"/>
                <a:gd name="T88" fmla="*/ 2147483647 w 252"/>
                <a:gd name="T89" fmla="*/ 2147483647 h 15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2"/>
                <a:gd name="T136" fmla="*/ 0 h 150"/>
                <a:gd name="T137" fmla="*/ 252 w 252"/>
                <a:gd name="T138" fmla="*/ 150 h 15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2" h="150">
                  <a:moveTo>
                    <a:pt x="32" y="124"/>
                  </a:moveTo>
                  <a:lnTo>
                    <a:pt x="34" y="128"/>
                  </a:lnTo>
                  <a:lnTo>
                    <a:pt x="40" y="132"/>
                  </a:lnTo>
                  <a:lnTo>
                    <a:pt x="44" y="138"/>
                  </a:lnTo>
                  <a:lnTo>
                    <a:pt x="50" y="134"/>
                  </a:lnTo>
                  <a:lnTo>
                    <a:pt x="56" y="132"/>
                  </a:lnTo>
                  <a:lnTo>
                    <a:pt x="62" y="132"/>
                  </a:lnTo>
                  <a:lnTo>
                    <a:pt x="68" y="136"/>
                  </a:lnTo>
                  <a:lnTo>
                    <a:pt x="72" y="142"/>
                  </a:lnTo>
                  <a:lnTo>
                    <a:pt x="76" y="148"/>
                  </a:lnTo>
                  <a:lnTo>
                    <a:pt x="82" y="148"/>
                  </a:lnTo>
                  <a:lnTo>
                    <a:pt x="86" y="148"/>
                  </a:lnTo>
                  <a:lnTo>
                    <a:pt x="92" y="148"/>
                  </a:lnTo>
                  <a:lnTo>
                    <a:pt x="100" y="146"/>
                  </a:lnTo>
                  <a:lnTo>
                    <a:pt x="100" y="150"/>
                  </a:lnTo>
                  <a:lnTo>
                    <a:pt x="104" y="148"/>
                  </a:lnTo>
                  <a:lnTo>
                    <a:pt x="110" y="146"/>
                  </a:lnTo>
                  <a:lnTo>
                    <a:pt x="116" y="146"/>
                  </a:lnTo>
                  <a:lnTo>
                    <a:pt x="122" y="148"/>
                  </a:lnTo>
                  <a:lnTo>
                    <a:pt x="130" y="144"/>
                  </a:lnTo>
                  <a:lnTo>
                    <a:pt x="134" y="140"/>
                  </a:lnTo>
                  <a:lnTo>
                    <a:pt x="140" y="138"/>
                  </a:lnTo>
                  <a:lnTo>
                    <a:pt x="146" y="138"/>
                  </a:lnTo>
                  <a:lnTo>
                    <a:pt x="148" y="134"/>
                  </a:lnTo>
                  <a:lnTo>
                    <a:pt x="150" y="128"/>
                  </a:lnTo>
                  <a:lnTo>
                    <a:pt x="156" y="130"/>
                  </a:lnTo>
                  <a:lnTo>
                    <a:pt x="162" y="130"/>
                  </a:lnTo>
                  <a:lnTo>
                    <a:pt x="168" y="126"/>
                  </a:lnTo>
                  <a:lnTo>
                    <a:pt x="174" y="124"/>
                  </a:lnTo>
                  <a:lnTo>
                    <a:pt x="180" y="118"/>
                  </a:lnTo>
                  <a:lnTo>
                    <a:pt x="186" y="112"/>
                  </a:lnTo>
                  <a:lnTo>
                    <a:pt x="188" y="106"/>
                  </a:lnTo>
                  <a:lnTo>
                    <a:pt x="192" y="100"/>
                  </a:lnTo>
                  <a:lnTo>
                    <a:pt x="192" y="94"/>
                  </a:lnTo>
                  <a:lnTo>
                    <a:pt x="198" y="96"/>
                  </a:lnTo>
                  <a:lnTo>
                    <a:pt x="204" y="96"/>
                  </a:lnTo>
                  <a:lnTo>
                    <a:pt x="210" y="96"/>
                  </a:lnTo>
                  <a:lnTo>
                    <a:pt x="214" y="98"/>
                  </a:lnTo>
                  <a:lnTo>
                    <a:pt x="222" y="96"/>
                  </a:lnTo>
                  <a:lnTo>
                    <a:pt x="226" y="92"/>
                  </a:lnTo>
                  <a:lnTo>
                    <a:pt x="232" y="86"/>
                  </a:lnTo>
                  <a:lnTo>
                    <a:pt x="234" y="80"/>
                  </a:lnTo>
                  <a:lnTo>
                    <a:pt x="228" y="74"/>
                  </a:lnTo>
                  <a:lnTo>
                    <a:pt x="224" y="68"/>
                  </a:lnTo>
                  <a:lnTo>
                    <a:pt x="224" y="62"/>
                  </a:lnTo>
                  <a:lnTo>
                    <a:pt x="226" y="56"/>
                  </a:lnTo>
                  <a:lnTo>
                    <a:pt x="232" y="58"/>
                  </a:lnTo>
                  <a:lnTo>
                    <a:pt x="238" y="58"/>
                  </a:lnTo>
                  <a:lnTo>
                    <a:pt x="244" y="54"/>
                  </a:lnTo>
                  <a:lnTo>
                    <a:pt x="248" y="48"/>
                  </a:lnTo>
                  <a:lnTo>
                    <a:pt x="252" y="42"/>
                  </a:lnTo>
                  <a:lnTo>
                    <a:pt x="252" y="36"/>
                  </a:lnTo>
                  <a:lnTo>
                    <a:pt x="252" y="30"/>
                  </a:lnTo>
                  <a:lnTo>
                    <a:pt x="250" y="24"/>
                  </a:lnTo>
                  <a:lnTo>
                    <a:pt x="252" y="18"/>
                  </a:lnTo>
                  <a:lnTo>
                    <a:pt x="252" y="12"/>
                  </a:lnTo>
                  <a:lnTo>
                    <a:pt x="246" y="12"/>
                  </a:lnTo>
                  <a:lnTo>
                    <a:pt x="240" y="6"/>
                  </a:lnTo>
                  <a:lnTo>
                    <a:pt x="244" y="0"/>
                  </a:lnTo>
                  <a:lnTo>
                    <a:pt x="238" y="2"/>
                  </a:lnTo>
                  <a:lnTo>
                    <a:pt x="232" y="6"/>
                  </a:lnTo>
                  <a:lnTo>
                    <a:pt x="228" y="12"/>
                  </a:lnTo>
                  <a:lnTo>
                    <a:pt x="222" y="10"/>
                  </a:lnTo>
                  <a:lnTo>
                    <a:pt x="218" y="4"/>
                  </a:lnTo>
                  <a:lnTo>
                    <a:pt x="212" y="2"/>
                  </a:lnTo>
                  <a:lnTo>
                    <a:pt x="206" y="2"/>
                  </a:lnTo>
                  <a:lnTo>
                    <a:pt x="200" y="6"/>
                  </a:lnTo>
                  <a:lnTo>
                    <a:pt x="202" y="12"/>
                  </a:lnTo>
                  <a:lnTo>
                    <a:pt x="204" y="20"/>
                  </a:lnTo>
                  <a:lnTo>
                    <a:pt x="206" y="24"/>
                  </a:lnTo>
                  <a:lnTo>
                    <a:pt x="206" y="30"/>
                  </a:lnTo>
                  <a:lnTo>
                    <a:pt x="208" y="36"/>
                  </a:lnTo>
                  <a:lnTo>
                    <a:pt x="206" y="42"/>
                  </a:lnTo>
                  <a:lnTo>
                    <a:pt x="208" y="48"/>
                  </a:lnTo>
                  <a:lnTo>
                    <a:pt x="206" y="54"/>
                  </a:lnTo>
                  <a:lnTo>
                    <a:pt x="202" y="54"/>
                  </a:lnTo>
                  <a:lnTo>
                    <a:pt x="196" y="54"/>
                  </a:lnTo>
                  <a:lnTo>
                    <a:pt x="190" y="52"/>
                  </a:lnTo>
                  <a:lnTo>
                    <a:pt x="184" y="56"/>
                  </a:lnTo>
                  <a:lnTo>
                    <a:pt x="178" y="60"/>
                  </a:lnTo>
                  <a:lnTo>
                    <a:pt x="172" y="66"/>
                  </a:lnTo>
                  <a:lnTo>
                    <a:pt x="168" y="72"/>
                  </a:lnTo>
                  <a:lnTo>
                    <a:pt x="166" y="78"/>
                  </a:lnTo>
                  <a:lnTo>
                    <a:pt x="166" y="84"/>
                  </a:lnTo>
                  <a:lnTo>
                    <a:pt x="160" y="90"/>
                  </a:lnTo>
                  <a:lnTo>
                    <a:pt x="154" y="92"/>
                  </a:lnTo>
                  <a:lnTo>
                    <a:pt x="150" y="92"/>
                  </a:lnTo>
                  <a:lnTo>
                    <a:pt x="142" y="96"/>
                  </a:lnTo>
                  <a:lnTo>
                    <a:pt x="136" y="90"/>
                  </a:lnTo>
                  <a:lnTo>
                    <a:pt x="130" y="90"/>
                  </a:lnTo>
                  <a:lnTo>
                    <a:pt x="124" y="92"/>
                  </a:lnTo>
                  <a:lnTo>
                    <a:pt x="118" y="96"/>
                  </a:lnTo>
                  <a:lnTo>
                    <a:pt x="112" y="96"/>
                  </a:lnTo>
                  <a:lnTo>
                    <a:pt x="110" y="90"/>
                  </a:lnTo>
                  <a:lnTo>
                    <a:pt x="108" y="84"/>
                  </a:lnTo>
                  <a:lnTo>
                    <a:pt x="104" y="78"/>
                  </a:lnTo>
                  <a:lnTo>
                    <a:pt x="108" y="72"/>
                  </a:lnTo>
                  <a:lnTo>
                    <a:pt x="110" y="66"/>
                  </a:lnTo>
                  <a:lnTo>
                    <a:pt x="116" y="62"/>
                  </a:lnTo>
                  <a:lnTo>
                    <a:pt x="110" y="58"/>
                  </a:lnTo>
                  <a:lnTo>
                    <a:pt x="104" y="64"/>
                  </a:lnTo>
                  <a:lnTo>
                    <a:pt x="104" y="70"/>
                  </a:lnTo>
                  <a:lnTo>
                    <a:pt x="104" y="76"/>
                  </a:lnTo>
                  <a:lnTo>
                    <a:pt x="98" y="82"/>
                  </a:lnTo>
                  <a:lnTo>
                    <a:pt x="102" y="88"/>
                  </a:lnTo>
                  <a:lnTo>
                    <a:pt x="96" y="94"/>
                  </a:lnTo>
                  <a:lnTo>
                    <a:pt x="90" y="94"/>
                  </a:lnTo>
                  <a:lnTo>
                    <a:pt x="84" y="98"/>
                  </a:lnTo>
                  <a:lnTo>
                    <a:pt x="78" y="94"/>
                  </a:lnTo>
                  <a:lnTo>
                    <a:pt x="74" y="96"/>
                  </a:lnTo>
                  <a:lnTo>
                    <a:pt x="72" y="96"/>
                  </a:lnTo>
                  <a:lnTo>
                    <a:pt x="66" y="98"/>
                  </a:lnTo>
                  <a:lnTo>
                    <a:pt x="60" y="98"/>
                  </a:lnTo>
                  <a:lnTo>
                    <a:pt x="54" y="100"/>
                  </a:lnTo>
                  <a:lnTo>
                    <a:pt x="48" y="94"/>
                  </a:lnTo>
                  <a:lnTo>
                    <a:pt x="42" y="92"/>
                  </a:lnTo>
                  <a:lnTo>
                    <a:pt x="36" y="92"/>
                  </a:lnTo>
                  <a:lnTo>
                    <a:pt x="32" y="96"/>
                  </a:lnTo>
                  <a:lnTo>
                    <a:pt x="26" y="92"/>
                  </a:lnTo>
                  <a:lnTo>
                    <a:pt x="20" y="92"/>
                  </a:lnTo>
                  <a:lnTo>
                    <a:pt x="14" y="96"/>
                  </a:lnTo>
                  <a:lnTo>
                    <a:pt x="8" y="90"/>
                  </a:lnTo>
                  <a:lnTo>
                    <a:pt x="2" y="94"/>
                  </a:lnTo>
                  <a:lnTo>
                    <a:pt x="0" y="100"/>
                  </a:lnTo>
                  <a:lnTo>
                    <a:pt x="0" y="104"/>
                  </a:lnTo>
                  <a:lnTo>
                    <a:pt x="2" y="110"/>
                  </a:lnTo>
                  <a:lnTo>
                    <a:pt x="8" y="114"/>
                  </a:lnTo>
                  <a:lnTo>
                    <a:pt x="14" y="116"/>
                  </a:lnTo>
                  <a:lnTo>
                    <a:pt x="20" y="116"/>
                  </a:lnTo>
                  <a:lnTo>
                    <a:pt x="26" y="122"/>
                  </a:lnTo>
                  <a:lnTo>
                    <a:pt x="32" y="1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2" name="Freeform 189"/>
            <p:cNvSpPr>
              <a:spLocks/>
            </p:cNvSpPr>
            <p:nvPr/>
          </p:nvSpPr>
          <p:spPr bwMode="auto">
            <a:xfrm>
              <a:off x="7983538" y="4319588"/>
              <a:ext cx="55562" cy="65087"/>
            </a:xfrm>
            <a:custGeom>
              <a:avLst/>
              <a:gdLst>
                <a:gd name="T0" fmla="*/ 2147483647 w 136"/>
                <a:gd name="T1" fmla="*/ 2147483647 h 156"/>
                <a:gd name="T2" fmla="*/ 2147483647 w 136"/>
                <a:gd name="T3" fmla="*/ 2147483647 h 156"/>
                <a:gd name="T4" fmla="*/ 2147483647 w 136"/>
                <a:gd name="T5" fmla="*/ 2147483647 h 156"/>
                <a:gd name="T6" fmla="*/ 2147483647 w 136"/>
                <a:gd name="T7" fmla="*/ 2147483647 h 156"/>
                <a:gd name="T8" fmla="*/ 2147483647 w 136"/>
                <a:gd name="T9" fmla="*/ 2147483647 h 156"/>
                <a:gd name="T10" fmla="*/ 2147483647 w 136"/>
                <a:gd name="T11" fmla="*/ 2147483647 h 156"/>
                <a:gd name="T12" fmla="*/ 2147483647 w 136"/>
                <a:gd name="T13" fmla="*/ 2147483647 h 156"/>
                <a:gd name="T14" fmla="*/ 2147483647 w 136"/>
                <a:gd name="T15" fmla="*/ 2147483647 h 156"/>
                <a:gd name="T16" fmla="*/ 2147483647 w 136"/>
                <a:gd name="T17" fmla="*/ 2147483647 h 156"/>
                <a:gd name="T18" fmla="*/ 2147483647 w 136"/>
                <a:gd name="T19" fmla="*/ 2147483647 h 156"/>
                <a:gd name="T20" fmla="*/ 2147483647 w 136"/>
                <a:gd name="T21" fmla="*/ 0 h 156"/>
                <a:gd name="T22" fmla="*/ 0 w 136"/>
                <a:gd name="T23" fmla="*/ 2147483647 h 156"/>
                <a:gd name="T24" fmla="*/ 2147483647 w 136"/>
                <a:gd name="T25" fmla="*/ 2147483647 h 156"/>
                <a:gd name="T26" fmla="*/ 2147483647 w 136"/>
                <a:gd name="T27" fmla="*/ 2147483647 h 156"/>
                <a:gd name="T28" fmla="*/ 2147483647 w 136"/>
                <a:gd name="T29" fmla="*/ 2147483647 h 156"/>
                <a:gd name="T30" fmla="*/ 2147483647 w 136"/>
                <a:gd name="T31" fmla="*/ 2147483647 h 156"/>
                <a:gd name="T32" fmla="*/ 2147483647 w 136"/>
                <a:gd name="T33" fmla="*/ 2147483647 h 156"/>
                <a:gd name="T34" fmla="*/ 2147483647 w 136"/>
                <a:gd name="T35" fmla="*/ 2147483647 h 156"/>
                <a:gd name="T36" fmla="*/ 2147483647 w 136"/>
                <a:gd name="T37" fmla="*/ 2147483647 h 156"/>
                <a:gd name="T38" fmla="*/ 2147483647 w 136"/>
                <a:gd name="T39" fmla="*/ 2147483647 h 156"/>
                <a:gd name="T40" fmla="*/ 2147483647 w 136"/>
                <a:gd name="T41" fmla="*/ 2147483647 h 156"/>
                <a:gd name="T42" fmla="*/ 2147483647 w 136"/>
                <a:gd name="T43" fmla="*/ 2147483647 h 156"/>
                <a:gd name="T44" fmla="*/ 2147483647 w 136"/>
                <a:gd name="T45" fmla="*/ 2147483647 h 156"/>
                <a:gd name="T46" fmla="*/ 2147483647 w 136"/>
                <a:gd name="T47" fmla="*/ 2147483647 h 156"/>
                <a:gd name="T48" fmla="*/ 2147483647 w 136"/>
                <a:gd name="T49" fmla="*/ 2147483647 h 156"/>
                <a:gd name="T50" fmla="*/ 2147483647 w 136"/>
                <a:gd name="T51" fmla="*/ 2147483647 h 156"/>
                <a:gd name="T52" fmla="*/ 2147483647 w 136"/>
                <a:gd name="T53" fmla="*/ 2147483647 h 156"/>
                <a:gd name="T54" fmla="*/ 2147483647 w 136"/>
                <a:gd name="T55" fmla="*/ 2147483647 h 156"/>
                <a:gd name="T56" fmla="*/ 2147483647 w 136"/>
                <a:gd name="T57" fmla="*/ 2147483647 h 156"/>
                <a:gd name="T58" fmla="*/ 2147483647 w 136"/>
                <a:gd name="T59" fmla="*/ 2147483647 h 156"/>
                <a:gd name="T60" fmla="*/ 2147483647 w 136"/>
                <a:gd name="T61" fmla="*/ 2147483647 h 156"/>
                <a:gd name="T62" fmla="*/ 2147483647 w 136"/>
                <a:gd name="T63" fmla="*/ 2147483647 h 156"/>
                <a:gd name="T64" fmla="*/ 2147483647 w 136"/>
                <a:gd name="T65" fmla="*/ 2147483647 h 156"/>
                <a:gd name="T66" fmla="*/ 2147483647 w 136"/>
                <a:gd name="T67" fmla="*/ 2147483647 h 15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6"/>
                <a:gd name="T103" fmla="*/ 0 h 156"/>
                <a:gd name="T104" fmla="*/ 136 w 136"/>
                <a:gd name="T105" fmla="*/ 156 h 15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6" h="156">
                  <a:moveTo>
                    <a:pt x="110" y="86"/>
                  </a:moveTo>
                  <a:lnTo>
                    <a:pt x="104" y="84"/>
                  </a:lnTo>
                  <a:lnTo>
                    <a:pt x="104" y="78"/>
                  </a:lnTo>
                  <a:lnTo>
                    <a:pt x="100" y="72"/>
                  </a:lnTo>
                  <a:lnTo>
                    <a:pt x="94" y="70"/>
                  </a:lnTo>
                  <a:lnTo>
                    <a:pt x="92" y="64"/>
                  </a:lnTo>
                  <a:lnTo>
                    <a:pt x="86" y="60"/>
                  </a:lnTo>
                  <a:lnTo>
                    <a:pt x="80" y="56"/>
                  </a:lnTo>
                  <a:lnTo>
                    <a:pt x="78" y="50"/>
                  </a:lnTo>
                  <a:lnTo>
                    <a:pt x="70" y="44"/>
                  </a:lnTo>
                  <a:lnTo>
                    <a:pt x="64" y="42"/>
                  </a:lnTo>
                  <a:lnTo>
                    <a:pt x="60" y="40"/>
                  </a:lnTo>
                  <a:lnTo>
                    <a:pt x="54" y="34"/>
                  </a:lnTo>
                  <a:lnTo>
                    <a:pt x="48" y="30"/>
                  </a:lnTo>
                  <a:lnTo>
                    <a:pt x="42" y="26"/>
                  </a:lnTo>
                  <a:lnTo>
                    <a:pt x="36" y="20"/>
                  </a:lnTo>
                  <a:lnTo>
                    <a:pt x="30" y="18"/>
                  </a:lnTo>
                  <a:lnTo>
                    <a:pt x="24" y="18"/>
                  </a:lnTo>
                  <a:lnTo>
                    <a:pt x="22" y="14"/>
                  </a:lnTo>
                  <a:lnTo>
                    <a:pt x="16" y="10"/>
                  </a:lnTo>
                  <a:lnTo>
                    <a:pt x="10" y="6"/>
                  </a:lnTo>
                  <a:lnTo>
                    <a:pt x="4" y="0"/>
                  </a:lnTo>
                  <a:lnTo>
                    <a:pt x="6" y="6"/>
                  </a:lnTo>
                  <a:lnTo>
                    <a:pt x="0" y="8"/>
                  </a:lnTo>
                  <a:lnTo>
                    <a:pt x="6" y="12"/>
                  </a:lnTo>
                  <a:lnTo>
                    <a:pt x="12" y="12"/>
                  </a:lnTo>
                  <a:lnTo>
                    <a:pt x="18" y="16"/>
                  </a:lnTo>
                  <a:lnTo>
                    <a:pt x="24" y="22"/>
                  </a:lnTo>
                  <a:lnTo>
                    <a:pt x="30" y="26"/>
                  </a:lnTo>
                  <a:lnTo>
                    <a:pt x="36" y="30"/>
                  </a:lnTo>
                  <a:lnTo>
                    <a:pt x="40" y="36"/>
                  </a:lnTo>
                  <a:lnTo>
                    <a:pt x="46" y="38"/>
                  </a:lnTo>
                  <a:lnTo>
                    <a:pt x="52" y="44"/>
                  </a:lnTo>
                  <a:lnTo>
                    <a:pt x="58" y="50"/>
                  </a:lnTo>
                  <a:lnTo>
                    <a:pt x="64" y="56"/>
                  </a:lnTo>
                  <a:lnTo>
                    <a:pt x="68" y="60"/>
                  </a:lnTo>
                  <a:lnTo>
                    <a:pt x="76" y="60"/>
                  </a:lnTo>
                  <a:lnTo>
                    <a:pt x="82" y="62"/>
                  </a:lnTo>
                  <a:lnTo>
                    <a:pt x="86" y="66"/>
                  </a:lnTo>
                  <a:lnTo>
                    <a:pt x="92" y="72"/>
                  </a:lnTo>
                  <a:lnTo>
                    <a:pt x="94" y="78"/>
                  </a:lnTo>
                  <a:lnTo>
                    <a:pt x="98" y="84"/>
                  </a:lnTo>
                  <a:lnTo>
                    <a:pt x="102" y="90"/>
                  </a:lnTo>
                  <a:lnTo>
                    <a:pt x="106" y="96"/>
                  </a:lnTo>
                  <a:lnTo>
                    <a:pt x="106" y="102"/>
                  </a:lnTo>
                  <a:lnTo>
                    <a:pt x="110" y="108"/>
                  </a:lnTo>
                  <a:lnTo>
                    <a:pt x="110" y="114"/>
                  </a:lnTo>
                  <a:lnTo>
                    <a:pt x="110" y="120"/>
                  </a:lnTo>
                  <a:lnTo>
                    <a:pt x="108" y="126"/>
                  </a:lnTo>
                  <a:lnTo>
                    <a:pt x="108" y="132"/>
                  </a:lnTo>
                  <a:lnTo>
                    <a:pt x="110" y="138"/>
                  </a:lnTo>
                  <a:lnTo>
                    <a:pt x="112" y="144"/>
                  </a:lnTo>
                  <a:lnTo>
                    <a:pt x="116" y="148"/>
                  </a:lnTo>
                  <a:lnTo>
                    <a:pt x="120" y="156"/>
                  </a:lnTo>
                  <a:lnTo>
                    <a:pt x="126" y="150"/>
                  </a:lnTo>
                  <a:lnTo>
                    <a:pt x="128" y="144"/>
                  </a:lnTo>
                  <a:lnTo>
                    <a:pt x="130" y="140"/>
                  </a:lnTo>
                  <a:lnTo>
                    <a:pt x="132" y="134"/>
                  </a:lnTo>
                  <a:lnTo>
                    <a:pt x="132" y="128"/>
                  </a:lnTo>
                  <a:lnTo>
                    <a:pt x="136" y="124"/>
                  </a:lnTo>
                  <a:lnTo>
                    <a:pt x="136" y="116"/>
                  </a:lnTo>
                  <a:lnTo>
                    <a:pt x="134" y="110"/>
                  </a:lnTo>
                  <a:lnTo>
                    <a:pt x="132" y="106"/>
                  </a:lnTo>
                  <a:lnTo>
                    <a:pt x="128" y="100"/>
                  </a:lnTo>
                  <a:lnTo>
                    <a:pt x="122" y="94"/>
                  </a:lnTo>
                  <a:lnTo>
                    <a:pt x="120" y="88"/>
                  </a:lnTo>
                  <a:lnTo>
                    <a:pt x="114" y="90"/>
                  </a:lnTo>
                  <a:lnTo>
                    <a:pt x="110" y="8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3" name="Freeform 190"/>
            <p:cNvSpPr>
              <a:spLocks/>
            </p:cNvSpPr>
            <p:nvPr/>
          </p:nvSpPr>
          <p:spPr bwMode="auto">
            <a:xfrm>
              <a:off x="8075613" y="4400550"/>
              <a:ext cx="30162" cy="41275"/>
            </a:xfrm>
            <a:custGeom>
              <a:avLst/>
              <a:gdLst>
                <a:gd name="T0" fmla="*/ 2147483647 w 72"/>
                <a:gd name="T1" fmla="*/ 2147483647 h 98"/>
                <a:gd name="T2" fmla="*/ 2147483647 w 72"/>
                <a:gd name="T3" fmla="*/ 2147483647 h 98"/>
                <a:gd name="T4" fmla="*/ 2147483647 w 72"/>
                <a:gd name="T5" fmla="*/ 2147483647 h 98"/>
                <a:gd name="T6" fmla="*/ 2147483647 w 72"/>
                <a:gd name="T7" fmla="*/ 2147483647 h 98"/>
                <a:gd name="T8" fmla="*/ 2147483647 w 72"/>
                <a:gd name="T9" fmla="*/ 2147483647 h 98"/>
                <a:gd name="T10" fmla="*/ 2147483647 w 72"/>
                <a:gd name="T11" fmla="*/ 2147483647 h 98"/>
                <a:gd name="T12" fmla="*/ 2147483647 w 72"/>
                <a:gd name="T13" fmla="*/ 2147483647 h 98"/>
                <a:gd name="T14" fmla="*/ 2147483647 w 72"/>
                <a:gd name="T15" fmla="*/ 2147483647 h 98"/>
                <a:gd name="T16" fmla="*/ 2147483647 w 72"/>
                <a:gd name="T17" fmla="*/ 2147483647 h 98"/>
                <a:gd name="T18" fmla="*/ 2147483647 w 72"/>
                <a:gd name="T19" fmla="*/ 2147483647 h 98"/>
                <a:gd name="T20" fmla="*/ 2147483647 w 72"/>
                <a:gd name="T21" fmla="*/ 2147483647 h 98"/>
                <a:gd name="T22" fmla="*/ 2147483647 w 72"/>
                <a:gd name="T23" fmla="*/ 2147483647 h 98"/>
                <a:gd name="T24" fmla="*/ 2147483647 w 72"/>
                <a:gd name="T25" fmla="*/ 2147483647 h 98"/>
                <a:gd name="T26" fmla="*/ 2147483647 w 72"/>
                <a:gd name="T27" fmla="*/ 2147483647 h 98"/>
                <a:gd name="T28" fmla="*/ 2147483647 w 72"/>
                <a:gd name="T29" fmla="*/ 2147483647 h 98"/>
                <a:gd name="T30" fmla="*/ 2147483647 w 72"/>
                <a:gd name="T31" fmla="*/ 2147483647 h 98"/>
                <a:gd name="T32" fmla="*/ 2147483647 w 72"/>
                <a:gd name="T33" fmla="*/ 2147483647 h 98"/>
                <a:gd name="T34" fmla="*/ 2147483647 w 72"/>
                <a:gd name="T35" fmla="*/ 2147483647 h 98"/>
                <a:gd name="T36" fmla="*/ 2147483647 w 72"/>
                <a:gd name="T37" fmla="*/ 2147483647 h 98"/>
                <a:gd name="T38" fmla="*/ 2147483647 w 72"/>
                <a:gd name="T39" fmla="*/ 2147483647 h 98"/>
                <a:gd name="T40" fmla="*/ 2147483647 w 72"/>
                <a:gd name="T41" fmla="*/ 2147483647 h 98"/>
                <a:gd name="T42" fmla="*/ 2147483647 w 72"/>
                <a:gd name="T43" fmla="*/ 2147483647 h 98"/>
                <a:gd name="T44" fmla="*/ 2147483647 w 72"/>
                <a:gd name="T45" fmla="*/ 2147483647 h 98"/>
                <a:gd name="T46" fmla="*/ 2147483647 w 72"/>
                <a:gd name="T47" fmla="*/ 2147483647 h 98"/>
                <a:gd name="T48" fmla="*/ 2147483647 w 72"/>
                <a:gd name="T49" fmla="*/ 2147483647 h 98"/>
                <a:gd name="T50" fmla="*/ 2147483647 w 72"/>
                <a:gd name="T51" fmla="*/ 2147483647 h 98"/>
                <a:gd name="T52" fmla="*/ 2147483647 w 72"/>
                <a:gd name="T53" fmla="*/ 2147483647 h 98"/>
                <a:gd name="T54" fmla="*/ 2147483647 w 72"/>
                <a:gd name="T55" fmla="*/ 2147483647 h 98"/>
                <a:gd name="T56" fmla="*/ 2147483647 w 72"/>
                <a:gd name="T57" fmla="*/ 2147483647 h 98"/>
                <a:gd name="T58" fmla="*/ 2147483647 w 72"/>
                <a:gd name="T59" fmla="*/ 2147483647 h 98"/>
                <a:gd name="T60" fmla="*/ 2147483647 w 72"/>
                <a:gd name="T61" fmla="*/ 2147483647 h 98"/>
                <a:gd name="T62" fmla="*/ 2147483647 w 72"/>
                <a:gd name="T63" fmla="*/ 2147483647 h 98"/>
                <a:gd name="T64" fmla="*/ 2147483647 w 72"/>
                <a:gd name="T65" fmla="*/ 2147483647 h 98"/>
                <a:gd name="T66" fmla="*/ 2147483647 w 72"/>
                <a:gd name="T67" fmla="*/ 2147483647 h 98"/>
                <a:gd name="T68" fmla="*/ 0 w 72"/>
                <a:gd name="T69" fmla="*/ 0 h 98"/>
                <a:gd name="T70" fmla="*/ 2147483647 w 72"/>
                <a:gd name="T71" fmla="*/ 2147483647 h 98"/>
                <a:gd name="T72" fmla="*/ 2147483647 w 72"/>
                <a:gd name="T73" fmla="*/ 2147483647 h 98"/>
                <a:gd name="T74" fmla="*/ 2147483647 w 72"/>
                <a:gd name="T75" fmla="*/ 2147483647 h 98"/>
                <a:gd name="T76" fmla="*/ 0 w 72"/>
                <a:gd name="T77" fmla="*/ 2147483647 h 98"/>
                <a:gd name="T78" fmla="*/ 2147483647 w 72"/>
                <a:gd name="T79" fmla="*/ 2147483647 h 98"/>
                <a:gd name="T80" fmla="*/ 2147483647 w 72"/>
                <a:gd name="T81" fmla="*/ 2147483647 h 98"/>
                <a:gd name="T82" fmla="*/ 2147483647 w 72"/>
                <a:gd name="T83" fmla="*/ 2147483647 h 98"/>
                <a:gd name="T84" fmla="*/ 2147483647 w 72"/>
                <a:gd name="T85" fmla="*/ 2147483647 h 98"/>
                <a:gd name="T86" fmla="*/ 2147483647 w 72"/>
                <a:gd name="T87" fmla="*/ 2147483647 h 98"/>
                <a:gd name="T88" fmla="*/ 2147483647 w 72"/>
                <a:gd name="T89" fmla="*/ 2147483647 h 9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2"/>
                <a:gd name="T136" fmla="*/ 0 h 98"/>
                <a:gd name="T137" fmla="*/ 72 w 72"/>
                <a:gd name="T138" fmla="*/ 98 h 9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2" h="98">
                  <a:moveTo>
                    <a:pt x="16" y="54"/>
                  </a:moveTo>
                  <a:lnTo>
                    <a:pt x="22" y="58"/>
                  </a:lnTo>
                  <a:lnTo>
                    <a:pt x="28" y="60"/>
                  </a:lnTo>
                  <a:lnTo>
                    <a:pt x="30" y="66"/>
                  </a:lnTo>
                  <a:lnTo>
                    <a:pt x="28" y="72"/>
                  </a:lnTo>
                  <a:lnTo>
                    <a:pt x="26" y="78"/>
                  </a:lnTo>
                  <a:lnTo>
                    <a:pt x="30" y="84"/>
                  </a:lnTo>
                  <a:lnTo>
                    <a:pt x="34" y="90"/>
                  </a:lnTo>
                  <a:lnTo>
                    <a:pt x="40" y="94"/>
                  </a:lnTo>
                  <a:lnTo>
                    <a:pt x="46" y="98"/>
                  </a:lnTo>
                  <a:lnTo>
                    <a:pt x="52" y="98"/>
                  </a:lnTo>
                  <a:lnTo>
                    <a:pt x="58" y="98"/>
                  </a:lnTo>
                  <a:lnTo>
                    <a:pt x="64" y="92"/>
                  </a:lnTo>
                  <a:lnTo>
                    <a:pt x="70" y="94"/>
                  </a:lnTo>
                  <a:lnTo>
                    <a:pt x="72" y="88"/>
                  </a:lnTo>
                  <a:lnTo>
                    <a:pt x="70" y="82"/>
                  </a:lnTo>
                  <a:lnTo>
                    <a:pt x="72" y="76"/>
                  </a:lnTo>
                  <a:lnTo>
                    <a:pt x="70" y="76"/>
                  </a:lnTo>
                  <a:lnTo>
                    <a:pt x="68" y="70"/>
                  </a:lnTo>
                  <a:lnTo>
                    <a:pt x="62" y="64"/>
                  </a:lnTo>
                  <a:lnTo>
                    <a:pt x="58" y="58"/>
                  </a:lnTo>
                  <a:lnTo>
                    <a:pt x="54" y="52"/>
                  </a:lnTo>
                  <a:lnTo>
                    <a:pt x="50" y="52"/>
                  </a:lnTo>
                  <a:lnTo>
                    <a:pt x="44" y="48"/>
                  </a:lnTo>
                  <a:lnTo>
                    <a:pt x="42" y="42"/>
                  </a:lnTo>
                  <a:lnTo>
                    <a:pt x="38" y="36"/>
                  </a:lnTo>
                  <a:lnTo>
                    <a:pt x="34" y="30"/>
                  </a:lnTo>
                  <a:lnTo>
                    <a:pt x="30" y="24"/>
                  </a:lnTo>
                  <a:lnTo>
                    <a:pt x="28" y="18"/>
                  </a:lnTo>
                  <a:lnTo>
                    <a:pt x="24" y="12"/>
                  </a:lnTo>
                  <a:lnTo>
                    <a:pt x="18" y="8"/>
                  </a:lnTo>
                  <a:lnTo>
                    <a:pt x="12" y="8"/>
                  </a:lnTo>
                  <a:lnTo>
                    <a:pt x="8" y="4"/>
                  </a:lnTo>
                  <a:lnTo>
                    <a:pt x="0" y="0"/>
                  </a:lnTo>
                  <a:lnTo>
                    <a:pt x="4" y="6"/>
                  </a:lnTo>
                  <a:lnTo>
                    <a:pt x="4" y="12"/>
                  </a:lnTo>
                  <a:lnTo>
                    <a:pt x="2" y="18"/>
                  </a:lnTo>
                  <a:lnTo>
                    <a:pt x="0" y="24"/>
                  </a:lnTo>
                  <a:lnTo>
                    <a:pt x="2" y="30"/>
                  </a:lnTo>
                  <a:lnTo>
                    <a:pt x="2" y="36"/>
                  </a:lnTo>
                  <a:lnTo>
                    <a:pt x="8" y="42"/>
                  </a:lnTo>
                  <a:lnTo>
                    <a:pt x="12" y="46"/>
                  </a:lnTo>
                  <a:lnTo>
                    <a:pt x="14" y="52"/>
                  </a:lnTo>
                  <a:lnTo>
                    <a:pt x="16"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4" name="Freeform 191"/>
            <p:cNvSpPr>
              <a:spLocks/>
            </p:cNvSpPr>
            <p:nvPr/>
          </p:nvSpPr>
          <p:spPr bwMode="auto">
            <a:xfrm>
              <a:off x="7180263" y="4511675"/>
              <a:ext cx="46037" cy="28575"/>
            </a:xfrm>
            <a:custGeom>
              <a:avLst/>
              <a:gdLst>
                <a:gd name="T0" fmla="*/ 0 w 112"/>
                <a:gd name="T1" fmla="*/ 2147483647 h 68"/>
                <a:gd name="T2" fmla="*/ 2147483647 w 112"/>
                <a:gd name="T3" fmla="*/ 2147483647 h 68"/>
                <a:gd name="T4" fmla="*/ 2147483647 w 112"/>
                <a:gd name="T5" fmla="*/ 2147483647 h 68"/>
                <a:gd name="T6" fmla="*/ 2147483647 w 112"/>
                <a:gd name="T7" fmla="*/ 2147483647 h 68"/>
                <a:gd name="T8" fmla="*/ 2147483647 w 112"/>
                <a:gd name="T9" fmla="*/ 2147483647 h 68"/>
                <a:gd name="T10" fmla="*/ 2147483647 w 112"/>
                <a:gd name="T11" fmla="*/ 2147483647 h 68"/>
                <a:gd name="T12" fmla="*/ 2147483647 w 112"/>
                <a:gd name="T13" fmla="*/ 2147483647 h 68"/>
                <a:gd name="T14" fmla="*/ 2147483647 w 112"/>
                <a:gd name="T15" fmla="*/ 2147483647 h 68"/>
                <a:gd name="T16" fmla="*/ 2147483647 w 112"/>
                <a:gd name="T17" fmla="*/ 2147483647 h 68"/>
                <a:gd name="T18" fmla="*/ 2147483647 w 112"/>
                <a:gd name="T19" fmla="*/ 2147483647 h 68"/>
                <a:gd name="T20" fmla="*/ 2147483647 w 112"/>
                <a:gd name="T21" fmla="*/ 2147483647 h 68"/>
                <a:gd name="T22" fmla="*/ 2147483647 w 112"/>
                <a:gd name="T23" fmla="*/ 2147483647 h 68"/>
                <a:gd name="T24" fmla="*/ 2147483647 w 112"/>
                <a:gd name="T25" fmla="*/ 2147483647 h 68"/>
                <a:gd name="T26" fmla="*/ 2147483647 w 112"/>
                <a:gd name="T27" fmla="*/ 2147483647 h 68"/>
                <a:gd name="T28" fmla="*/ 2147483647 w 112"/>
                <a:gd name="T29" fmla="*/ 2147483647 h 68"/>
                <a:gd name="T30" fmla="*/ 2147483647 w 112"/>
                <a:gd name="T31" fmla="*/ 2147483647 h 68"/>
                <a:gd name="T32" fmla="*/ 2147483647 w 112"/>
                <a:gd name="T33" fmla="*/ 2147483647 h 68"/>
                <a:gd name="T34" fmla="*/ 2147483647 w 112"/>
                <a:gd name="T35" fmla="*/ 2147483647 h 68"/>
                <a:gd name="T36" fmla="*/ 2147483647 w 112"/>
                <a:gd name="T37" fmla="*/ 2147483647 h 68"/>
                <a:gd name="T38" fmla="*/ 2147483647 w 112"/>
                <a:gd name="T39" fmla="*/ 2147483647 h 68"/>
                <a:gd name="T40" fmla="*/ 2147483647 w 112"/>
                <a:gd name="T41" fmla="*/ 2147483647 h 68"/>
                <a:gd name="T42" fmla="*/ 2147483647 w 112"/>
                <a:gd name="T43" fmla="*/ 2147483647 h 68"/>
                <a:gd name="T44" fmla="*/ 2147483647 w 112"/>
                <a:gd name="T45" fmla="*/ 2147483647 h 68"/>
                <a:gd name="T46" fmla="*/ 2147483647 w 112"/>
                <a:gd name="T47" fmla="*/ 2147483647 h 68"/>
                <a:gd name="T48" fmla="*/ 2147483647 w 112"/>
                <a:gd name="T49" fmla="*/ 2147483647 h 68"/>
                <a:gd name="T50" fmla="*/ 2147483647 w 112"/>
                <a:gd name="T51" fmla="*/ 2147483647 h 68"/>
                <a:gd name="T52" fmla="*/ 2147483647 w 112"/>
                <a:gd name="T53" fmla="*/ 2147483647 h 68"/>
                <a:gd name="T54" fmla="*/ 2147483647 w 112"/>
                <a:gd name="T55" fmla="*/ 2147483647 h 68"/>
                <a:gd name="T56" fmla="*/ 2147483647 w 112"/>
                <a:gd name="T57" fmla="*/ 2147483647 h 68"/>
                <a:gd name="T58" fmla="*/ 2147483647 w 112"/>
                <a:gd name="T59" fmla="*/ 2147483647 h 68"/>
                <a:gd name="T60" fmla="*/ 2147483647 w 112"/>
                <a:gd name="T61" fmla="*/ 2147483647 h 68"/>
                <a:gd name="T62" fmla="*/ 2147483647 w 112"/>
                <a:gd name="T63" fmla="*/ 2147483647 h 68"/>
                <a:gd name="T64" fmla="*/ 2147483647 w 112"/>
                <a:gd name="T65" fmla="*/ 2147483647 h 68"/>
                <a:gd name="T66" fmla="*/ 2147483647 w 112"/>
                <a:gd name="T67" fmla="*/ 2147483647 h 68"/>
                <a:gd name="T68" fmla="*/ 2147483647 w 112"/>
                <a:gd name="T69" fmla="*/ 2147483647 h 68"/>
                <a:gd name="T70" fmla="*/ 2147483647 w 112"/>
                <a:gd name="T71" fmla="*/ 0 h 68"/>
                <a:gd name="T72" fmla="*/ 2147483647 w 112"/>
                <a:gd name="T73" fmla="*/ 0 h 68"/>
                <a:gd name="T74" fmla="*/ 2147483647 w 112"/>
                <a:gd name="T75" fmla="*/ 2147483647 h 68"/>
                <a:gd name="T76" fmla="*/ 2147483647 w 112"/>
                <a:gd name="T77" fmla="*/ 2147483647 h 68"/>
                <a:gd name="T78" fmla="*/ 2147483647 w 112"/>
                <a:gd name="T79" fmla="*/ 0 h 68"/>
                <a:gd name="T80" fmla="*/ 2147483647 w 112"/>
                <a:gd name="T81" fmla="*/ 2147483647 h 68"/>
                <a:gd name="T82" fmla="*/ 2147483647 w 112"/>
                <a:gd name="T83" fmla="*/ 2147483647 h 68"/>
                <a:gd name="T84" fmla="*/ 2147483647 w 112"/>
                <a:gd name="T85" fmla="*/ 2147483647 h 68"/>
                <a:gd name="T86" fmla="*/ 2147483647 w 112"/>
                <a:gd name="T87" fmla="*/ 2147483647 h 68"/>
                <a:gd name="T88" fmla="*/ 2147483647 w 112"/>
                <a:gd name="T89" fmla="*/ 2147483647 h 68"/>
                <a:gd name="T90" fmla="*/ 2147483647 w 112"/>
                <a:gd name="T91" fmla="*/ 2147483647 h 68"/>
                <a:gd name="T92" fmla="*/ 0 w 112"/>
                <a:gd name="T93" fmla="*/ 2147483647 h 68"/>
                <a:gd name="T94" fmla="*/ 0 w 112"/>
                <a:gd name="T95" fmla="*/ 2147483647 h 6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12"/>
                <a:gd name="T145" fmla="*/ 0 h 68"/>
                <a:gd name="T146" fmla="*/ 112 w 112"/>
                <a:gd name="T147" fmla="*/ 68 h 6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12" h="68">
                  <a:moveTo>
                    <a:pt x="0" y="14"/>
                  </a:moveTo>
                  <a:lnTo>
                    <a:pt x="2" y="18"/>
                  </a:lnTo>
                  <a:lnTo>
                    <a:pt x="4" y="24"/>
                  </a:lnTo>
                  <a:lnTo>
                    <a:pt x="10" y="28"/>
                  </a:lnTo>
                  <a:lnTo>
                    <a:pt x="16" y="28"/>
                  </a:lnTo>
                  <a:lnTo>
                    <a:pt x="22" y="30"/>
                  </a:lnTo>
                  <a:lnTo>
                    <a:pt x="28" y="30"/>
                  </a:lnTo>
                  <a:lnTo>
                    <a:pt x="34" y="30"/>
                  </a:lnTo>
                  <a:lnTo>
                    <a:pt x="40" y="30"/>
                  </a:lnTo>
                  <a:lnTo>
                    <a:pt x="44" y="36"/>
                  </a:lnTo>
                  <a:lnTo>
                    <a:pt x="50" y="40"/>
                  </a:lnTo>
                  <a:lnTo>
                    <a:pt x="56" y="42"/>
                  </a:lnTo>
                  <a:lnTo>
                    <a:pt x="60" y="46"/>
                  </a:lnTo>
                  <a:lnTo>
                    <a:pt x="60" y="48"/>
                  </a:lnTo>
                  <a:lnTo>
                    <a:pt x="62" y="54"/>
                  </a:lnTo>
                  <a:lnTo>
                    <a:pt x="68" y="60"/>
                  </a:lnTo>
                  <a:lnTo>
                    <a:pt x="74" y="64"/>
                  </a:lnTo>
                  <a:lnTo>
                    <a:pt x="80" y="64"/>
                  </a:lnTo>
                  <a:lnTo>
                    <a:pt x="86" y="68"/>
                  </a:lnTo>
                  <a:lnTo>
                    <a:pt x="92" y="64"/>
                  </a:lnTo>
                  <a:lnTo>
                    <a:pt x="98" y="62"/>
                  </a:lnTo>
                  <a:lnTo>
                    <a:pt x="104" y="60"/>
                  </a:lnTo>
                  <a:lnTo>
                    <a:pt x="110" y="54"/>
                  </a:lnTo>
                  <a:lnTo>
                    <a:pt x="112" y="48"/>
                  </a:lnTo>
                  <a:lnTo>
                    <a:pt x="112" y="46"/>
                  </a:lnTo>
                  <a:lnTo>
                    <a:pt x="106" y="40"/>
                  </a:lnTo>
                  <a:lnTo>
                    <a:pt x="100" y="34"/>
                  </a:lnTo>
                  <a:lnTo>
                    <a:pt x="98" y="28"/>
                  </a:lnTo>
                  <a:lnTo>
                    <a:pt x="92" y="24"/>
                  </a:lnTo>
                  <a:lnTo>
                    <a:pt x="88" y="22"/>
                  </a:lnTo>
                  <a:lnTo>
                    <a:pt x="82" y="22"/>
                  </a:lnTo>
                  <a:lnTo>
                    <a:pt x="78" y="16"/>
                  </a:lnTo>
                  <a:lnTo>
                    <a:pt x="76" y="10"/>
                  </a:lnTo>
                  <a:lnTo>
                    <a:pt x="70" y="8"/>
                  </a:lnTo>
                  <a:lnTo>
                    <a:pt x="66" y="4"/>
                  </a:lnTo>
                  <a:lnTo>
                    <a:pt x="64" y="0"/>
                  </a:lnTo>
                  <a:lnTo>
                    <a:pt x="58" y="0"/>
                  </a:lnTo>
                  <a:lnTo>
                    <a:pt x="52" y="4"/>
                  </a:lnTo>
                  <a:lnTo>
                    <a:pt x="46" y="4"/>
                  </a:lnTo>
                  <a:lnTo>
                    <a:pt x="42" y="0"/>
                  </a:lnTo>
                  <a:lnTo>
                    <a:pt x="36" y="4"/>
                  </a:lnTo>
                  <a:lnTo>
                    <a:pt x="30" y="2"/>
                  </a:lnTo>
                  <a:lnTo>
                    <a:pt x="24" y="2"/>
                  </a:lnTo>
                  <a:lnTo>
                    <a:pt x="18" y="4"/>
                  </a:lnTo>
                  <a:lnTo>
                    <a:pt x="12" y="4"/>
                  </a:lnTo>
                  <a:lnTo>
                    <a:pt x="6" y="6"/>
                  </a:lnTo>
                  <a:lnTo>
                    <a:pt x="0" y="12"/>
                  </a:lnTo>
                  <a:lnTo>
                    <a:pt x="0" y="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5" name="Freeform 192"/>
            <p:cNvSpPr>
              <a:spLocks/>
            </p:cNvSpPr>
            <p:nvPr/>
          </p:nvSpPr>
          <p:spPr bwMode="auto">
            <a:xfrm>
              <a:off x="7291388" y="4483100"/>
              <a:ext cx="98425" cy="58738"/>
            </a:xfrm>
            <a:custGeom>
              <a:avLst/>
              <a:gdLst>
                <a:gd name="T0" fmla="*/ 2147483647 w 244"/>
                <a:gd name="T1" fmla="*/ 2147483647 h 142"/>
                <a:gd name="T2" fmla="*/ 2147483647 w 244"/>
                <a:gd name="T3" fmla="*/ 2147483647 h 142"/>
                <a:gd name="T4" fmla="*/ 2147483647 w 244"/>
                <a:gd name="T5" fmla="*/ 2147483647 h 142"/>
                <a:gd name="T6" fmla="*/ 0 w 244"/>
                <a:gd name="T7" fmla="*/ 2147483647 h 142"/>
                <a:gd name="T8" fmla="*/ 2147483647 w 244"/>
                <a:gd name="T9" fmla="*/ 2147483647 h 142"/>
                <a:gd name="T10" fmla="*/ 2147483647 w 244"/>
                <a:gd name="T11" fmla="*/ 2147483647 h 142"/>
                <a:gd name="T12" fmla="*/ 2147483647 w 244"/>
                <a:gd name="T13" fmla="*/ 2147483647 h 142"/>
                <a:gd name="T14" fmla="*/ 2147483647 w 244"/>
                <a:gd name="T15" fmla="*/ 2147483647 h 142"/>
                <a:gd name="T16" fmla="*/ 2147483647 w 244"/>
                <a:gd name="T17" fmla="*/ 2147483647 h 142"/>
                <a:gd name="T18" fmla="*/ 2147483647 w 244"/>
                <a:gd name="T19" fmla="*/ 2147483647 h 142"/>
                <a:gd name="T20" fmla="*/ 2147483647 w 244"/>
                <a:gd name="T21" fmla="*/ 2147483647 h 142"/>
                <a:gd name="T22" fmla="*/ 2147483647 w 244"/>
                <a:gd name="T23" fmla="*/ 2147483647 h 142"/>
                <a:gd name="T24" fmla="*/ 2147483647 w 244"/>
                <a:gd name="T25" fmla="*/ 2147483647 h 142"/>
                <a:gd name="T26" fmla="*/ 2147483647 w 244"/>
                <a:gd name="T27" fmla="*/ 2147483647 h 142"/>
                <a:gd name="T28" fmla="*/ 2147483647 w 244"/>
                <a:gd name="T29" fmla="*/ 2147483647 h 142"/>
                <a:gd name="T30" fmla="*/ 2147483647 w 244"/>
                <a:gd name="T31" fmla="*/ 2147483647 h 142"/>
                <a:gd name="T32" fmla="*/ 2147483647 w 244"/>
                <a:gd name="T33" fmla="*/ 2147483647 h 142"/>
                <a:gd name="T34" fmla="*/ 2147483647 w 244"/>
                <a:gd name="T35" fmla="*/ 2147483647 h 142"/>
                <a:gd name="T36" fmla="*/ 2147483647 w 244"/>
                <a:gd name="T37" fmla="*/ 2147483647 h 142"/>
                <a:gd name="T38" fmla="*/ 2147483647 w 244"/>
                <a:gd name="T39" fmla="*/ 2147483647 h 142"/>
                <a:gd name="T40" fmla="*/ 2147483647 w 244"/>
                <a:gd name="T41" fmla="*/ 2147483647 h 142"/>
                <a:gd name="T42" fmla="*/ 2147483647 w 244"/>
                <a:gd name="T43" fmla="*/ 2147483647 h 142"/>
                <a:gd name="T44" fmla="*/ 2147483647 w 244"/>
                <a:gd name="T45" fmla="*/ 2147483647 h 142"/>
                <a:gd name="T46" fmla="*/ 2147483647 w 244"/>
                <a:gd name="T47" fmla="*/ 2147483647 h 142"/>
                <a:gd name="T48" fmla="*/ 2147483647 w 244"/>
                <a:gd name="T49" fmla="*/ 2147483647 h 142"/>
                <a:gd name="T50" fmla="*/ 2147483647 w 244"/>
                <a:gd name="T51" fmla="*/ 2147483647 h 142"/>
                <a:gd name="T52" fmla="*/ 2147483647 w 244"/>
                <a:gd name="T53" fmla="*/ 2147483647 h 142"/>
                <a:gd name="T54" fmla="*/ 2147483647 w 244"/>
                <a:gd name="T55" fmla="*/ 0 h 142"/>
                <a:gd name="T56" fmla="*/ 2147483647 w 244"/>
                <a:gd name="T57" fmla="*/ 0 h 142"/>
                <a:gd name="T58" fmla="*/ 2147483647 w 244"/>
                <a:gd name="T59" fmla="*/ 2147483647 h 142"/>
                <a:gd name="T60" fmla="*/ 2147483647 w 244"/>
                <a:gd name="T61" fmla="*/ 2147483647 h 142"/>
                <a:gd name="T62" fmla="*/ 2147483647 w 244"/>
                <a:gd name="T63" fmla="*/ 2147483647 h 142"/>
                <a:gd name="T64" fmla="*/ 2147483647 w 244"/>
                <a:gd name="T65" fmla="*/ 2147483647 h 142"/>
                <a:gd name="T66" fmla="*/ 2147483647 w 244"/>
                <a:gd name="T67" fmla="*/ 2147483647 h 142"/>
                <a:gd name="T68" fmla="*/ 2147483647 w 244"/>
                <a:gd name="T69" fmla="*/ 2147483647 h 142"/>
                <a:gd name="T70" fmla="*/ 2147483647 w 244"/>
                <a:gd name="T71" fmla="*/ 2147483647 h 142"/>
                <a:gd name="T72" fmla="*/ 2147483647 w 244"/>
                <a:gd name="T73" fmla="*/ 2147483647 h 142"/>
                <a:gd name="T74" fmla="*/ 2147483647 w 244"/>
                <a:gd name="T75" fmla="*/ 2147483647 h 142"/>
                <a:gd name="T76" fmla="*/ 2147483647 w 244"/>
                <a:gd name="T77" fmla="*/ 2147483647 h 142"/>
                <a:gd name="T78" fmla="*/ 2147483647 w 244"/>
                <a:gd name="T79" fmla="*/ 2147483647 h 142"/>
                <a:gd name="T80" fmla="*/ 2147483647 w 244"/>
                <a:gd name="T81" fmla="*/ 2147483647 h 142"/>
                <a:gd name="T82" fmla="*/ 2147483647 w 244"/>
                <a:gd name="T83" fmla="*/ 2147483647 h 142"/>
                <a:gd name="T84" fmla="*/ 2147483647 w 244"/>
                <a:gd name="T85" fmla="*/ 2147483647 h 142"/>
                <a:gd name="T86" fmla="*/ 2147483647 w 244"/>
                <a:gd name="T87" fmla="*/ 2147483647 h 142"/>
                <a:gd name="T88" fmla="*/ 2147483647 w 244"/>
                <a:gd name="T89" fmla="*/ 2147483647 h 142"/>
                <a:gd name="T90" fmla="*/ 2147483647 w 244"/>
                <a:gd name="T91" fmla="*/ 2147483647 h 142"/>
                <a:gd name="T92" fmla="*/ 2147483647 w 244"/>
                <a:gd name="T93" fmla="*/ 2147483647 h 142"/>
                <a:gd name="T94" fmla="*/ 2147483647 w 244"/>
                <a:gd name="T95" fmla="*/ 2147483647 h 142"/>
                <a:gd name="T96" fmla="*/ 2147483647 w 244"/>
                <a:gd name="T97" fmla="*/ 2147483647 h 142"/>
                <a:gd name="T98" fmla="*/ 2147483647 w 244"/>
                <a:gd name="T99" fmla="*/ 2147483647 h 1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44"/>
                <a:gd name="T151" fmla="*/ 0 h 142"/>
                <a:gd name="T152" fmla="*/ 244 w 244"/>
                <a:gd name="T153" fmla="*/ 142 h 14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44" h="142">
                  <a:moveTo>
                    <a:pt x="8" y="116"/>
                  </a:moveTo>
                  <a:lnTo>
                    <a:pt x="10" y="120"/>
                  </a:lnTo>
                  <a:lnTo>
                    <a:pt x="16" y="118"/>
                  </a:lnTo>
                  <a:lnTo>
                    <a:pt x="16" y="124"/>
                  </a:lnTo>
                  <a:lnTo>
                    <a:pt x="10" y="126"/>
                  </a:lnTo>
                  <a:lnTo>
                    <a:pt x="4" y="130"/>
                  </a:lnTo>
                  <a:lnTo>
                    <a:pt x="2" y="136"/>
                  </a:lnTo>
                  <a:lnTo>
                    <a:pt x="0" y="142"/>
                  </a:lnTo>
                  <a:lnTo>
                    <a:pt x="6" y="140"/>
                  </a:lnTo>
                  <a:lnTo>
                    <a:pt x="14" y="142"/>
                  </a:lnTo>
                  <a:lnTo>
                    <a:pt x="18" y="142"/>
                  </a:lnTo>
                  <a:lnTo>
                    <a:pt x="24" y="140"/>
                  </a:lnTo>
                  <a:lnTo>
                    <a:pt x="30" y="136"/>
                  </a:lnTo>
                  <a:lnTo>
                    <a:pt x="36" y="134"/>
                  </a:lnTo>
                  <a:lnTo>
                    <a:pt x="42" y="128"/>
                  </a:lnTo>
                  <a:lnTo>
                    <a:pt x="48" y="128"/>
                  </a:lnTo>
                  <a:lnTo>
                    <a:pt x="54" y="128"/>
                  </a:lnTo>
                  <a:lnTo>
                    <a:pt x="60" y="128"/>
                  </a:lnTo>
                  <a:lnTo>
                    <a:pt x="66" y="122"/>
                  </a:lnTo>
                  <a:lnTo>
                    <a:pt x="70" y="116"/>
                  </a:lnTo>
                  <a:lnTo>
                    <a:pt x="74" y="112"/>
                  </a:lnTo>
                  <a:lnTo>
                    <a:pt x="80" y="108"/>
                  </a:lnTo>
                  <a:lnTo>
                    <a:pt x="86" y="102"/>
                  </a:lnTo>
                  <a:lnTo>
                    <a:pt x="90" y="96"/>
                  </a:lnTo>
                  <a:lnTo>
                    <a:pt x="96" y="92"/>
                  </a:lnTo>
                  <a:lnTo>
                    <a:pt x="96" y="90"/>
                  </a:lnTo>
                  <a:lnTo>
                    <a:pt x="98" y="84"/>
                  </a:lnTo>
                  <a:lnTo>
                    <a:pt x="102" y="80"/>
                  </a:lnTo>
                  <a:lnTo>
                    <a:pt x="104" y="80"/>
                  </a:lnTo>
                  <a:lnTo>
                    <a:pt x="104" y="78"/>
                  </a:lnTo>
                  <a:lnTo>
                    <a:pt x="106" y="78"/>
                  </a:lnTo>
                  <a:lnTo>
                    <a:pt x="112" y="76"/>
                  </a:lnTo>
                  <a:lnTo>
                    <a:pt x="118" y="70"/>
                  </a:lnTo>
                  <a:lnTo>
                    <a:pt x="124" y="66"/>
                  </a:lnTo>
                  <a:lnTo>
                    <a:pt x="130" y="64"/>
                  </a:lnTo>
                  <a:lnTo>
                    <a:pt x="136" y="60"/>
                  </a:lnTo>
                  <a:lnTo>
                    <a:pt x="140" y="60"/>
                  </a:lnTo>
                  <a:lnTo>
                    <a:pt x="148" y="58"/>
                  </a:lnTo>
                  <a:lnTo>
                    <a:pt x="152" y="56"/>
                  </a:lnTo>
                  <a:lnTo>
                    <a:pt x="160" y="54"/>
                  </a:lnTo>
                  <a:lnTo>
                    <a:pt x="166" y="50"/>
                  </a:lnTo>
                  <a:lnTo>
                    <a:pt x="170" y="46"/>
                  </a:lnTo>
                  <a:lnTo>
                    <a:pt x="178" y="46"/>
                  </a:lnTo>
                  <a:lnTo>
                    <a:pt x="182" y="44"/>
                  </a:lnTo>
                  <a:lnTo>
                    <a:pt x="188" y="44"/>
                  </a:lnTo>
                  <a:lnTo>
                    <a:pt x="194" y="40"/>
                  </a:lnTo>
                  <a:lnTo>
                    <a:pt x="200" y="34"/>
                  </a:lnTo>
                  <a:lnTo>
                    <a:pt x="206" y="30"/>
                  </a:lnTo>
                  <a:lnTo>
                    <a:pt x="212" y="30"/>
                  </a:lnTo>
                  <a:lnTo>
                    <a:pt x="218" y="28"/>
                  </a:lnTo>
                  <a:lnTo>
                    <a:pt x="224" y="24"/>
                  </a:lnTo>
                  <a:lnTo>
                    <a:pt x="230" y="20"/>
                  </a:lnTo>
                  <a:lnTo>
                    <a:pt x="236" y="16"/>
                  </a:lnTo>
                  <a:lnTo>
                    <a:pt x="242" y="10"/>
                  </a:lnTo>
                  <a:lnTo>
                    <a:pt x="244" y="4"/>
                  </a:lnTo>
                  <a:lnTo>
                    <a:pt x="238" y="0"/>
                  </a:lnTo>
                  <a:lnTo>
                    <a:pt x="234" y="2"/>
                  </a:lnTo>
                  <a:lnTo>
                    <a:pt x="228" y="0"/>
                  </a:lnTo>
                  <a:lnTo>
                    <a:pt x="220" y="2"/>
                  </a:lnTo>
                  <a:lnTo>
                    <a:pt x="216" y="6"/>
                  </a:lnTo>
                  <a:lnTo>
                    <a:pt x="210" y="6"/>
                  </a:lnTo>
                  <a:lnTo>
                    <a:pt x="204" y="10"/>
                  </a:lnTo>
                  <a:lnTo>
                    <a:pt x="198" y="12"/>
                  </a:lnTo>
                  <a:lnTo>
                    <a:pt x="192" y="8"/>
                  </a:lnTo>
                  <a:lnTo>
                    <a:pt x="186" y="8"/>
                  </a:lnTo>
                  <a:lnTo>
                    <a:pt x="180" y="12"/>
                  </a:lnTo>
                  <a:lnTo>
                    <a:pt x="174" y="12"/>
                  </a:lnTo>
                  <a:lnTo>
                    <a:pt x="168" y="14"/>
                  </a:lnTo>
                  <a:lnTo>
                    <a:pt x="162" y="12"/>
                  </a:lnTo>
                  <a:lnTo>
                    <a:pt x="156" y="12"/>
                  </a:lnTo>
                  <a:lnTo>
                    <a:pt x="150" y="12"/>
                  </a:lnTo>
                  <a:lnTo>
                    <a:pt x="144" y="14"/>
                  </a:lnTo>
                  <a:lnTo>
                    <a:pt x="138" y="16"/>
                  </a:lnTo>
                  <a:lnTo>
                    <a:pt x="132" y="16"/>
                  </a:lnTo>
                  <a:lnTo>
                    <a:pt x="128" y="18"/>
                  </a:lnTo>
                  <a:lnTo>
                    <a:pt x="120" y="20"/>
                  </a:lnTo>
                  <a:lnTo>
                    <a:pt x="114" y="20"/>
                  </a:lnTo>
                  <a:lnTo>
                    <a:pt x="110" y="24"/>
                  </a:lnTo>
                  <a:lnTo>
                    <a:pt x="108" y="30"/>
                  </a:lnTo>
                  <a:lnTo>
                    <a:pt x="102" y="36"/>
                  </a:lnTo>
                  <a:lnTo>
                    <a:pt x="102" y="38"/>
                  </a:lnTo>
                  <a:lnTo>
                    <a:pt x="98" y="44"/>
                  </a:lnTo>
                  <a:lnTo>
                    <a:pt x="94" y="46"/>
                  </a:lnTo>
                  <a:lnTo>
                    <a:pt x="86" y="50"/>
                  </a:lnTo>
                  <a:lnTo>
                    <a:pt x="80" y="52"/>
                  </a:lnTo>
                  <a:lnTo>
                    <a:pt x="76" y="58"/>
                  </a:lnTo>
                  <a:lnTo>
                    <a:pt x="70" y="60"/>
                  </a:lnTo>
                  <a:lnTo>
                    <a:pt x="64" y="60"/>
                  </a:lnTo>
                  <a:lnTo>
                    <a:pt x="58" y="62"/>
                  </a:lnTo>
                  <a:lnTo>
                    <a:pt x="52" y="64"/>
                  </a:lnTo>
                  <a:lnTo>
                    <a:pt x="46" y="68"/>
                  </a:lnTo>
                  <a:lnTo>
                    <a:pt x="40" y="70"/>
                  </a:lnTo>
                  <a:lnTo>
                    <a:pt x="34" y="74"/>
                  </a:lnTo>
                  <a:lnTo>
                    <a:pt x="28" y="80"/>
                  </a:lnTo>
                  <a:lnTo>
                    <a:pt x="22" y="86"/>
                  </a:lnTo>
                  <a:lnTo>
                    <a:pt x="16" y="92"/>
                  </a:lnTo>
                  <a:lnTo>
                    <a:pt x="16" y="98"/>
                  </a:lnTo>
                  <a:lnTo>
                    <a:pt x="14" y="104"/>
                  </a:lnTo>
                  <a:lnTo>
                    <a:pt x="12" y="110"/>
                  </a:lnTo>
                  <a:lnTo>
                    <a:pt x="8" y="1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6" name="Freeform 193"/>
            <p:cNvSpPr>
              <a:spLocks/>
            </p:cNvSpPr>
            <p:nvPr/>
          </p:nvSpPr>
          <p:spPr bwMode="auto">
            <a:xfrm>
              <a:off x="6951663" y="4551363"/>
              <a:ext cx="989012" cy="809625"/>
            </a:xfrm>
            <a:custGeom>
              <a:avLst/>
              <a:gdLst>
                <a:gd name="T0" fmla="*/ 2147483647 w 2428"/>
                <a:gd name="T1" fmla="*/ 2147483647 h 1966"/>
                <a:gd name="T2" fmla="*/ 2147483647 w 2428"/>
                <a:gd name="T3" fmla="*/ 2147483647 h 1966"/>
                <a:gd name="T4" fmla="*/ 2147483647 w 2428"/>
                <a:gd name="T5" fmla="*/ 2147483647 h 1966"/>
                <a:gd name="T6" fmla="*/ 2147483647 w 2428"/>
                <a:gd name="T7" fmla="*/ 2147483647 h 1966"/>
                <a:gd name="T8" fmla="*/ 2147483647 w 2428"/>
                <a:gd name="T9" fmla="*/ 2147483647 h 1966"/>
                <a:gd name="T10" fmla="*/ 2147483647 w 2428"/>
                <a:gd name="T11" fmla="*/ 2147483647 h 1966"/>
                <a:gd name="T12" fmla="*/ 2147483647 w 2428"/>
                <a:gd name="T13" fmla="*/ 2147483647 h 1966"/>
                <a:gd name="T14" fmla="*/ 2147483647 w 2428"/>
                <a:gd name="T15" fmla="*/ 2147483647 h 1966"/>
                <a:gd name="T16" fmla="*/ 2147483647 w 2428"/>
                <a:gd name="T17" fmla="*/ 2147483647 h 1966"/>
                <a:gd name="T18" fmla="*/ 2147483647 w 2428"/>
                <a:gd name="T19" fmla="*/ 2147483647 h 1966"/>
                <a:gd name="T20" fmla="*/ 2147483647 w 2428"/>
                <a:gd name="T21" fmla="*/ 2147483647 h 1966"/>
                <a:gd name="T22" fmla="*/ 2147483647 w 2428"/>
                <a:gd name="T23" fmla="*/ 2147483647 h 1966"/>
                <a:gd name="T24" fmla="*/ 2147483647 w 2428"/>
                <a:gd name="T25" fmla="*/ 2147483647 h 1966"/>
                <a:gd name="T26" fmla="*/ 2147483647 w 2428"/>
                <a:gd name="T27" fmla="*/ 2147483647 h 1966"/>
                <a:gd name="T28" fmla="*/ 2147483647 w 2428"/>
                <a:gd name="T29" fmla="*/ 2147483647 h 1966"/>
                <a:gd name="T30" fmla="*/ 2147483647 w 2428"/>
                <a:gd name="T31" fmla="*/ 2147483647 h 1966"/>
                <a:gd name="T32" fmla="*/ 2147483647 w 2428"/>
                <a:gd name="T33" fmla="*/ 2147483647 h 1966"/>
                <a:gd name="T34" fmla="*/ 2147483647 w 2428"/>
                <a:gd name="T35" fmla="*/ 2147483647 h 1966"/>
                <a:gd name="T36" fmla="*/ 2147483647 w 2428"/>
                <a:gd name="T37" fmla="*/ 2147483647 h 1966"/>
                <a:gd name="T38" fmla="*/ 2147483647 w 2428"/>
                <a:gd name="T39" fmla="*/ 2147483647 h 1966"/>
                <a:gd name="T40" fmla="*/ 2147483647 w 2428"/>
                <a:gd name="T41" fmla="*/ 2147483647 h 1966"/>
                <a:gd name="T42" fmla="*/ 2147483647 w 2428"/>
                <a:gd name="T43" fmla="*/ 2147483647 h 1966"/>
                <a:gd name="T44" fmla="*/ 2147483647 w 2428"/>
                <a:gd name="T45" fmla="*/ 2147483647 h 1966"/>
                <a:gd name="T46" fmla="*/ 2147483647 w 2428"/>
                <a:gd name="T47" fmla="*/ 2147483647 h 1966"/>
                <a:gd name="T48" fmla="*/ 2147483647 w 2428"/>
                <a:gd name="T49" fmla="*/ 2147483647 h 1966"/>
                <a:gd name="T50" fmla="*/ 2147483647 w 2428"/>
                <a:gd name="T51" fmla="*/ 2147483647 h 1966"/>
                <a:gd name="T52" fmla="*/ 2147483647 w 2428"/>
                <a:gd name="T53" fmla="*/ 2147483647 h 1966"/>
                <a:gd name="T54" fmla="*/ 2147483647 w 2428"/>
                <a:gd name="T55" fmla="*/ 2147483647 h 1966"/>
                <a:gd name="T56" fmla="*/ 2147483647 w 2428"/>
                <a:gd name="T57" fmla="*/ 2147483647 h 1966"/>
                <a:gd name="T58" fmla="*/ 2147483647 w 2428"/>
                <a:gd name="T59" fmla="*/ 2147483647 h 1966"/>
                <a:gd name="T60" fmla="*/ 2147483647 w 2428"/>
                <a:gd name="T61" fmla="*/ 2147483647 h 1966"/>
                <a:gd name="T62" fmla="*/ 2147483647 w 2428"/>
                <a:gd name="T63" fmla="*/ 2147483647 h 1966"/>
                <a:gd name="T64" fmla="*/ 2147483647 w 2428"/>
                <a:gd name="T65" fmla="*/ 2147483647 h 1966"/>
                <a:gd name="T66" fmla="*/ 2147483647 w 2428"/>
                <a:gd name="T67" fmla="*/ 2147483647 h 1966"/>
                <a:gd name="T68" fmla="*/ 2147483647 w 2428"/>
                <a:gd name="T69" fmla="*/ 2147483647 h 1966"/>
                <a:gd name="T70" fmla="*/ 2147483647 w 2428"/>
                <a:gd name="T71" fmla="*/ 2147483647 h 1966"/>
                <a:gd name="T72" fmla="*/ 2147483647 w 2428"/>
                <a:gd name="T73" fmla="*/ 2147483647 h 1966"/>
                <a:gd name="T74" fmla="*/ 2147483647 w 2428"/>
                <a:gd name="T75" fmla="*/ 2147483647 h 1966"/>
                <a:gd name="T76" fmla="*/ 2147483647 w 2428"/>
                <a:gd name="T77" fmla="*/ 2147483647 h 1966"/>
                <a:gd name="T78" fmla="*/ 2147483647 w 2428"/>
                <a:gd name="T79" fmla="*/ 2147483647 h 1966"/>
                <a:gd name="T80" fmla="*/ 2147483647 w 2428"/>
                <a:gd name="T81" fmla="*/ 2147483647 h 1966"/>
                <a:gd name="T82" fmla="*/ 2147483647 w 2428"/>
                <a:gd name="T83" fmla="*/ 2147483647 h 1966"/>
                <a:gd name="T84" fmla="*/ 2147483647 w 2428"/>
                <a:gd name="T85" fmla="*/ 2147483647 h 1966"/>
                <a:gd name="T86" fmla="*/ 2147483647 w 2428"/>
                <a:gd name="T87" fmla="*/ 2147483647 h 1966"/>
                <a:gd name="T88" fmla="*/ 2147483647 w 2428"/>
                <a:gd name="T89" fmla="*/ 2147483647 h 1966"/>
                <a:gd name="T90" fmla="*/ 2147483647 w 2428"/>
                <a:gd name="T91" fmla="*/ 2147483647 h 1966"/>
                <a:gd name="T92" fmla="*/ 2147483647 w 2428"/>
                <a:gd name="T93" fmla="*/ 2147483647 h 1966"/>
                <a:gd name="T94" fmla="*/ 2147483647 w 2428"/>
                <a:gd name="T95" fmla="*/ 2147483647 h 1966"/>
                <a:gd name="T96" fmla="*/ 2147483647 w 2428"/>
                <a:gd name="T97" fmla="*/ 2147483647 h 1966"/>
                <a:gd name="T98" fmla="*/ 2147483647 w 2428"/>
                <a:gd name="T99" fmla="*/ 2147483647 h 1966"/>
                <a:gd name="T100" fmla="*/ 2147483647 w 2428"/>
                <a:gd name="T101" fmla="*/ 2147483647 h 1966"/>
                <a:gd name="T102" fmla="*/ 2147483647 w 2428"/>
                <a:gd name="T103" fmla="*/ 2147483647 h 1966"/>
                <a:gd name="T104" fmla="*/ 2147483647 w 2428"/>
                <a:gd name="T105" fmla="*/ 2147483647 h 1966"/>
                <a:gd name="T106" fmla="*/ 2147483647 w 2428"/>
                <a:gd name="T107" fmla="*/ 2147483647 h 1966"/>
                <a:gd name="T108" fmla="*/ 2147483647 w 2428"/>
                <a:gd name="T109" fmla="*/ 2147483647 h 1966"/>
                <a:gd name="T110" fmla="*/ 2147483647 w 2428"/>
                <a:gd name="T111" fmla="*/ 2147483647 h 1966"/>
                <a:gd name="T112" fmla="*/ 2147483647 w 2428"/>
                <a:gd name="T113" fmla="*/ 2147483647 h 1966"/>
                <a:gd name="T114" fmla="*/ 2147483647 w 2428"/>
                <a:gd name="T115" fmla="*/ 2147483647 h 1966"/>
                <a:gd name="T116" fmla="*/ 2147483647 w 2428"/>
                <a:gd name="T117" fmla="*/ 2147483647 h 1966"/>
                <a:gd name="T118" fmla="*/ 2147483647 w 2428"/>
                <a:gd name="T119" fmla="*/ 2147483647 h 1966"/>
                <a:gd name="T120" fmla="*/ 2147483647 w 2428"/>
                <a:gd name="T121" fmla="*/ 2147483647 h 1966"/>
                <a:gd name="T122" fmla="*/ 2147483647 w 2428"/>
                <a:gd name="T123" fmla="*/ 2147483647 h 1966"/>
                <a:gd name="T124" fmla="*/ 2147483647 w 2428"/>
                <a:gd name="T125" fmla="*/ 2147483647 h 19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28"/>
                <a:gd name="T190" fmla="*/ 0 h 1966"/>
                <a:gd name="T191" fmla="*/ 2428 w 2428"/>
                <a:gd name="T192" fmla="*/ 1966 h 19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28" h="1966">
                  <a:moveTo>
                    <a:pt x="26" y="1588"/>
                  </a:moveTo>
                  <a:lnTo>
                    <a:pt x="32" y="1586"/>
                  </a:lnTo>
                  <a:lnTo>
                    <a:pt x="38" y="1584"/>
                  </a:lnTo>
                  <a:lnTo>
                    <a:pt x="44" y="1580"/>
                  </a:lnTo>
                  <a:lnTo>
                    <a:pt x="50" y="1574"/>
                  </a:lnTo>
                  <a:lnTo>
                    <a:pt x="54" y="1568"/>
                  </a:lnTo>
                  <a:lnTo>
                    <a:pt x="60" y="1564"/>
                  </a:lnTo>
                  <a:lnTo>
                    <a:pt x="64" y="1558"/>
                  </a:lnTo>
                  <a:lnTo>
                    <a:pt x="64" y="1552"/>
                  </a:lnTo>
                  <a:lnTo>
                    <a:pt x="66" y="1546"/>
                  </a:lnTo>
                  <a:lnTo>
                    <a:pt x="68" y="1540"/>
                  </a:lnTo>
                  <a:lnTo>
                    <a:pt x="68" y="1534"/>
                  </a:lnTo>
                  <a:lnTo>
                    <a:pt x="68" y="1528"/>
                  </a:lnTo>
                  <a:lnTo>
                    <a:pt x="70" y="1522"/>
                  </a:lnTo>
                  <a:lnTo>
                    <a:pt x="72" y="1516"/>
                  </a:lnTo>
                  <a:lnTo>
                    <a:pt x="78" y="1510"/>
                  </a:lnTo>
                  <a:lnTo>
                    <a:pt x="74" y="1516"/>
                  </a:lnTo>
                  <a:lnTo>
                    <a:pt x="74" y="1522"/>
                  </a:lnTo>
                  <a:lnTo>
                    <a:pt x="74" y="1516"/>
                  </a:lnTo>
                  <a:lnTo>
                    <a:pt x="80" y="1516"/>
                  </a:lnTo>
                  <a:lnTo>
                    <a:pt x="80" y="1510"/>
                  </a:lnTo>
                  <a:lnTo>
                    <a:pt x="84" y="1504"/>
                  </a:lnTo>
                  <a:lnTo>
                    <a:pt x="84" y="1500"/>
                  </a:lnTo>
                  <a:lnTo>
                    <a:pt x="84" y="1492"/>
                  </a:lnTo>
                  <a:lnTo>
                    <a:pt x="90" y="1488"/>
                  </a:lnTo>
                  <a:lnTo>
                    <a:pt x="92" y="1482"/>
                  </a:lnTo>
                  <a:lnTo>
                    <a:pt x="92" y="1476"/>
                  </a:lnTo>
                  <a:lnTo>
                    <a:pt x="94" y="1470"/>
                  </a:lnTo>
                  <a:lnTo>
                    <a:pt x="96" y="1464"/>
                  </a:lnTo>
                  <a:lnTo>
                    <a:pt x="96" y="1458"/>
                  </a:lnTo>
                  <a:lnTo>
                    <a:pt x="98" y="1452"/>
                  </a:lnTo>
                  <a:lnTo>
                    <a:pt x="96" y="1446"/>
                  </a:lnTo>
                  <a:lnTo>
                    <a:pt x="96" y="1440"/>
                  </a:lnTo>
                  <a:lnTo>
                    <a:pt x="94" y="1434"/>
                  </a:lnTo>
                  <a:lnTo>
                    <a:pt x="92" y="1428"/>
                  </a:lnTo>
                  <a:lnTo>
                    <a:pt x="92" y="1422"/>
                  </a:lnTo>
                  <a:lnTo>
                    <a:pt x="90" y="1416"/>
                  </a:lnTo>
                  <a:lnTo>
                    <a:pt x="92" y="1410"/>
                  </a:lnTo>
                  <a:lnTo>
                    <a:pt x="90" y="1404"/>
                  </a:lnTo>
                  <a:lnTo>
                    <a:pt x="88" y="1398"/>
                  </a:lnTo>
                  <a:lnTo>
                    <a:pt x="86" y="1392"/>
                  </a:lnTo>
                  <a:lnTo>
                    <a:pt x="86" y="1386"/>
                  </a:lnTo>
                  <a:lnTo>
                    <a:pt x="86" y="1380"/>
                  </a:lnTo>
                  <a:lnTo>
                    <a:pt x="84" y="1374"/>
                  </a:lnTo>
                  <a:lnTo>
                    <a:pt x="84" y="1368"/>
                  </a:lnTo>
                  <a:lnTo>
                    <a:pt x="86" y="1362"/>
                  </a:lnTo>
                  <a:lnTo>
                    <a:pt x="86" y="1356"/>
                  </a:lnTo>
                  <a:lnTo>
                    <a:pt x="86" y="1350"/>
                  </a:lnTo>
                  <a:lnTo>
                    <a:pt x="88" y="1344"/>
                  </a:lnTo>
                  <a:lnTo>
                    <a:pt x="86" y="1338"/>
                  </a:lnTo>
                  <a:lnTo>
                    <a:pt x="88" y="1334"/>
                  </a:lnTo>
                  <a:lnTo>
                    <a:pt x="92" y="1328"/>
                  </a:lnTo>
                  <a:lnTo>
                    <a:pt x="92" y="1322"/>
                  </a:lnTo>
                  <a:lnTo>
                    <a:pt x="92" y="1316"/>
                  </a:lnTo>
                  <a:lnTo>
                    <a:pt x="96" y="1310"/>
                  </a:lnTo>
                  <a:lnTo>
                    <a:pt x="98" y="1304"/>
                  </a:lnTo>
                  <a:lnTo>
                    <a:pt x="100" y="1298"/>
                  </a:lnTo>
                  <a:lnTo>
                    <a:pt x="100" y="1292"/>
                  </a:lnTo>
                  <a:lnTo>
                    <a:pt x="100" y="1286"/>
                  </a:lnTo>
                  <a:lnTo>
                    <a:pt x="100" y="1280"/>
                  </a:lnTo>
                  <a:lnTo>
                    <a:pt x="100" y="1276"/>
                  </a:lnTo>
                  <a:lnTo>
                    <a:pt x="96" y="1268"/>
                  </a:lnTo>
                  <a:lnTo>
                    <a:pt x="94" y="1264"/>
                  </a:lnTo>
                  <a:lnTo>
                    <a:pt x="90" y="1258"/>
                  </a:lnTo>
                  <a:lnTo>
                    <a:pt x="90" y="1252"/>
                  </a:lnTo>
                  <a:lnTo>
                    <a:pt x="90" y="1250"/>
                  </a:lnTo>
                  <a:lnTo>
                    <a:pt x="92" y="1244"/>
                  </a:lnTo>
                  <a:lnTo>
                    <a:pt x="92" y="1238"/>
                  </a:lnTo>
                  <a:lnTo>
                    <a:pt x="92" y="1232"/>
                  </a:lnTo>
                  <a:lnTo>
                    <a:pt x="88" y="1226"/>
                  </a:lnTo>
                  <a:lnTo>
                    <a:pt x="86" y="1222"/>
                  </a:lnTo>
                  <a:lnTo>
                    <a:pt x="84" y="1214"/>
                  </a:lnTo>
                  <a:lnTo>
                    <a:pt x="80" y="1208"/>
                  </a:lnTo>
                  <a:lnTo>
                    <a:pt x="76" y="1204"/>
                  </a:lnTo>
                  <a:lnTo>
                    <a:pt x="76" y="1198"/>
                  </a:lnTo>
                  <a:lnTo>
                    <a:pt x="76" y="1192"/>
                  </a:lnTo>
                  <a:lnTo>
                    <a:pt x="76" y="1186"/>
                  </a:lnTo>
                  <a:lnTo>
                    <a:pt x="80" y="1180"/>
                  </a:lnTo>
                  <a:lnTo>
                    <a:pt x="82" y="1176"/>
                  </a:lnTo>
                  <a:lnTo>
                    <a:pt x="82" y="1170"/>
                  </a:lnTo>
                  <a:lnTo>
                    <a:pt x="82" y="1162"/>
                  </a:lnTo>
                  <a:lnTo>
                    <a:pt x="82" y="1158"/>
                  </a:lnTo>
                  <a:lnTo>
                    <a:pt x="80" y="1152"/>
                  </a:lnTo>
                  <a:lnTo>
                    <a:pt x="80" y="1146"/>
                  </a:lnTo>
                  <a:lnTo>
                    <a:pt x="78" y="1140"/>
                  </a:lnTo>
                  <a:lnTo>
                    <a:pt x="76" y="1134"/>
                  </a:lnTo>
                  <a:lnTo>
                    <a:pt x="74" y="1128"/>
                  </a:lnTo>
                  <a:lnTo>
                    <a:pt x="74" y="1122"/>
                  </a:lnTo>
                  <a:lnTo>
                    <a:pt x="70" y="1116"/>
                  </a:lnTo>
                  <a:lnTo>
                    <a:pt x="68" y="1110"/>
                  </a:lnTo>
                  <a:lnTo>
                    <a:pt x="66" y="1104"/>
                  </a:lnTo>
                  <a:lnTo>
                    <a:pt x="62" y="1098"/>
                  </a:lnTo>
                  <a:lnTo>
                    <a:pt x="60" y="1096"/>
                  </a:lnTo>
                  <a:lnTo>
                    <a:pt x="56" y="1090"/>
                  </a:lnTo>
                  <a:lnTo>
                    <a:pt x="52" y="1084"/>
                  </a:lnTo>
                  <a:lnTo>
                    <a:pt x="52" y="1078"/>
                  </a:lnTo>
                  <a:lnTo>
                    <a:pt x="50" y="1072"/>
                  </a:lnTo>
                  <a:lnTo>
                    <a:pt x="56" y="1066"/>
                  </a:lnTo>
                  <a:lnTo>
                    <a:pt x="56" y="1060"/>
                  </a:lnTo>
                  <a:lnTo>
                    <a:pt x="58" y="1066"/>
                  </a:lnTo>
                  <a:lnTo>
                    <a:pt x="56" y="1072"/>
                  </a:lnTo>
                  <a:lnTo>
                    <a:pt x="56" y="1078"/>
                  </a:lnTo>
                  <a:lnTo>
                    <a:pt x="60" y="1072"/>
                  </a:lnTo>
                  <a:lnTo>
                    <a:pt x="62" y="1066"/>
                  </a:lnTo>
                  <a:lnTo>
                    <a:pt x="62" y="1060"/>
                  </a:lnTo>
                  <a:lnTo>
                    <a:pt x="62" y="1066"/>
                  </a:lnTo>
                  <a:lnTo>
                    <a:pt x="64" y="1072"/>
                  </a:lnTo>
                  <a:lnTo>
                    <a:pt x="64" y="1078"/>
                  </a:lnTo>
                  <a:lnTo>
                    <a:pt x="64" y="1084"/>
                  </a:lnTo>
                  <a:lnTo>
                    <a:pt x="66" y="1078"/>
                  </a:lnTo>
                  <a:lnTo>
                    <a:pt x="68" y="1084"/>
                  </a:lnTo>
                  <a:lnTo>
                    <a:pt x="66" y="1090"/>
                  </a:lnTo>
                  <a:lnTo>
                    <a:pt x="66" y="1096"/>
                  </a:lnTo>
                  <a:lnTo>
                    <a:pt x="70" y="1090"/>
                  </a:lnTo>
                  <a:lnTo>
                    <a:pt x="70" y="1096"/>
                  </a:lnTo>
                  <a:lnTo>
                    <a:pt x="70" y="1102"/>
                  </a:lnTo>
                  <a:lnTo>
                    <a:pt x="76" y="1098"/>
                  </a:lnTo>
                  <a:lnTo>
                    <a:pt x="82" y="1096"/>
                  </a:lnTo>
                  <a:lnTo>
                    <a:pt x="86" y="1090"/>
                  </a:lnTo>
                  <a:lnTo>
                    <a:pt x="86" y="1086"/>
                  </a:lnTo>
                  <a:lnTo>
                    <a:pt x="88" y="1080"/>
                  </a:lnTo>
                  <a:lnTo>
                    <a:pt x="82" y="1074"/>
                  </a:lnTo>
                  <a:lnTo>
                    <a:pt x="76" y="1068"/>
                  </a:lnTo>
                  <a:lnTo>
                    <a:pt x="74" y="1062"/>
                  </a:lnTo>
                  <a:lnTo>
                    <a:pt x="74" y="1056"/>
                  </a:lnTo>
                  <a:lnTo>
                    <a:pt x="72" y="1050"/>
                  </a:lnTo>
                  <a:lnTo>
                    <a:pt x="70" y="1044"/>
                  </a:lnTo>
                  <a:lnTo>
                    <a:pt x="70" y="1038"/>
                  </a:lnTo>
                  <a:lnTo>
                    <a:pt x="70" y="1032"/>
                  </a:lnTo>
                  <a:lnTo>
                    <a:pt x="76" y="1026"/>
                  </a:lnTo>
                  <a:lnTo>
                    <a:pt x="80" y="1032"/>
                  </a:lnTo>
                  <a:lnTo>
                    <a:pt x="82" y="1038"/>
                  </a:lnTo>
                  <a:lnTo>
                    <a:pt x="86" y="1044"/>
                  </a:lnTo>
                  <a:lnTo>
                    <a:pt x="86" y="1050"/>
                  </a:lnTo>
                  <a:lnTo>
                    <a:pt x="84" y="1056"/>
                  </a:lnTo>
                  <a:lnTo>
                    <a:pt x="82" y="1062"/>
                  </a:lnTo>
                  <a:lnTo>
                    <a:pt x="80" y="1068"/>
                  </a:lnTo>
                  <a:lnTo>
                    <a:pt x="80" y="1070"/>
                  </a:lnTo>
                  <a:lnTo>
                    <a:pt x="88" y="1068"/>
                  </a:lnTo>
                  <a:lnTo>
                    <a:pt x="92" y="1062"/>
                  </a:lnTo>
                  <a:lnTo>
                    <a:pt x="92" y="1056"/>
                  </a:lnTo>
                  <a:lnTo>
                    <a:pt x="94" y="1062"/>
                  </a:lnTo>
                  <a:lnTo>
                    <a:pt x="94" y="1068"/>
                  </a:lnTo>
                  <a:lnTo>
                    <a:pt x="94" y="1074"/>
                  </a:lnTo>
                  <a:lnTo>
                    <a:pt x="94" y="1080"/>
                  </a:lnTo>
                  <a:lnTo>
                    <a:pt x="96" y="1086"/>
                  </a:lnTo>
                  <a:lnTo>
                    <a:pt x="104" y="1084"/>
                  </a:lnTo>
                  <a:lnTo>
                    <a:pt x="108" y="1080"/>
                  </a:lnTo>
                  <a:lnTo>
                    <a:pt x="108" y="1074"/>
                  </a:lnTo>
                  <a:lnTo>
                    <a:pt x="110" y="1068"/>
                  </a:lnTo>
                  <a:lnTo>
                    <a:pt x="112" y="1062"/>
                  </a:lnTo>
                  <a:lnTo>
                    <a:pt x="116" y="1056"/>
                  </a:lnTo>
                  <a:lnTo>
                    <a:pt x="118" y="1050"/>
                  </a:lnTo>
                  <a:lnTo>
                    <a:pt x="112" y="1044"/>
                  </a:lnTo>
                  <a:lnTo>
                    <a:pt x="112" y="1038"/>
                  </a:lnTo>
                  <a:lnTo>
                    <a:pt x="108" y="1032"/>
                  </a:lnTo>
                  <a:lnTo>
                    <a:pt x="108" y="1026"/>
                  </a:lnTo>
                  <a:lnTo>
                    <a:pt x="104" y="1020"/>
                  </a:lnTo>
                  <a:lnTo>
                    <a:pt x="104" y="1014"/>
                  </a:lnTo>
                  <a:lnTo>
                    <a:pt x="104" y="1008"/>
                  </a:lnTo>
                  <a:lnTo>
                    <a:pt x="102" y="1002"/>
                  </a:lnTo>
                  <a:lnTo>
                    <a:pt x="96" y="996"/>
                  </a:lnTo>
                  <a:lnTo>
                    <a:pt x="94" y="990"/>
                  </a:lnTo>
                  <a:lnTo>
                    <a:pt x="96" y="984"/>
                  </a:lnTo>
                  <a:lnTo>
                    <a:pt x="96" y="982"/>
                  </a:lnTo>
                  <a:lnTo>
                    <a:pt x="94" y="980"/>
                  </a:lnTo>
                  <a:lnTo>
                    <a:pt x="96" y="976"/>
                  </a:lnTo>
                  <a:lnTo>
                    <a:pt x="96" y="970"/>
                  </a:lnTo>
                  <a:lnTo>
                    <a:pt x="92" y="964"/>
                  </a:lnTo>
                  <a:lnTo>
                    <a:pt x="88" y="958"/>
                  </a:lnTo>
                  <a:lnTo>
                    <a:pt x="86" y="952"/>
                  </a:lnTo>
                  <a:lnTo>
                    <a:pt x="88" y="946"/>
                  </a:lnTo>
                  <a:lnTo>
                    <a:pt x="88" y="940"/>
                  </a:lnTo>
                  <a:lnTo>
                    <a:pt x="90" y="934"/>
                  </a:lnTo>
                  <a:lnTo>
                    <a:pt x="92" y="928"/>
                  </a:lnTo>
                  <a:lnTo>
                    <a:pt x="92" y="922"/>
                  </a:lnTo>
                  <a:lnTo>
                    <a:pt x="96" y="916"/>
                  </a:lnTo>
                  <a:lnTo>
                    <a:pt x="100" y="910"/>
                  </a:lnTo>
                  <a:lnTo>
                    <a:pt x="102" y="904"/>
                  </a:lnTo>
                  <a:lnTo>
                    <a:pt x="106" y="898"/>
                  </a:lnTo>
                  <a:lnTo>
                    <a:pt x="110" y="892"/>
                  </a:lnTo>
                  <a:lnTo>
                    <a:pt x="116" y="888"/>
                  </a:lnTo>
                  <a:lnTo>
                    <a:pt x="120" y="882"/>
                  </a:lnTo>
                  <a:lnTo>
                    <a:pt x="122" y="876"/>
                  </a:lnTo>
                  <a:lnTo>
                    <a:pt x="122" y="870"/>
                  </a:lnTo>
                  <a:lnTo>
                    <a:pt x="124" y="864"/>
                  </a:lnTo>
                  <a:lnTo>
                    <a:pt x="124" y="858"/>
                  </a:lnTo>
                  <a:lnTo>
                    <a:pt x="128" y="852"/>
                  </a:lnTo>
                  <a:lnTo>
                    <a:pt x="130" y="846"/>
                  </a:lnTo>
                  <a:lnTo>
                    <a:pt x="128" y="840"/>
                  </a:lnTo>
                  <a:lnTo>
                    <a:pt x="128" y="834"/>
                  </a:lnTo>
                  <a:lnTo>
                    <a:pt x="124" y="828"/>
                  </a:lnTo>
                  <a:lnTo>
                    <a:pt x="124" y="822"/>
                  </a:lnTo>
                  <a:lnTo>
                    <a:pt x="126" y="818"/>
                  </a:lnTo>
                  <a:lnTo>
                    <a:pt x="130" y="812"/>
                  </a:lnTo>
                  <a:lnTo>
                    <a:pt x="134" y="806"/>
                  </a:lnTo>
                  <a:lnTo>
                    <a:pt x="138" y="800"/>
                  </a:lnTo>
                  <a:lnTo>
                    <a:pt x="140" y="794"/>
                  </a:lnTo>
                  <a:lnTo>
                    <a:pt x="144" y="788"/>
                  </a:lnTo>
                  <a:lnTo>
                    <a:pt x="146" y="782"/>
                  </a:lnTo>
                  <a:lnTo>
                    <a:pt x="150" y="776"/>
                  </a:lnTo>
                  <a:lnTo>
                    <a:pt x="154" y="770"/>
                  </a:lnTo>
                  <a:lnTo>
                    <a:pt x="160" y="768"/>
                  </a:lnTo>
                  <a:lnTo>
                    <a:pt x="160" y="774"/>
                  </a:lnTo>
                  <a:lnTo>
                    <a:pt x="160" y="780"/>
                  </a:lnTo>
                  <a:lnTo>
                    <a:pt x="156" y="786"/>
                  </a:lnTo>
                  <a:lnTo>
                    <a:pt x="154" y="792"/>
                  </a:lnTo>
                  <a:lnTo>
                    <a:pt x="154" y="798"/>
                  </a:lnTo>
                  <a:lnTo>
                    <a:pt x="154" y="804"/>
                  </a:lnTo>
                  <a:lnTo>
                    <a:pt x="154" y="810"/>
                  </a:lnTo>
                  <a:lnTo>
                    <a:pt x="152" y="816"/>
                  </a:lnTo>
                  <a:lnTo>
                    <a:pt x="160" y="814"/>
                  </a:lnTo>
                  <a:lnTo>
                    <a:pt x="164" y="812"/>
                  </a:lnTo>
                  <a:lnTo>
                    <a:pt x="170" y="806"/>
                  </a:lnTo>
                  <a:lnTo>
                    <a:pt x="174" y="802"/>
                  </a:lnTo>
                  <a:lnTo>
                    <a:pt x="178" y="794"/>
                  </a:lnTo>
                  <a:lnTo>
                    <a:pt x="180" y="790"/>
                  </a:lnTo>
                  <a:lnTo>
                    <a:pt x="180" y="784"/>
                  </a:lnTo>
                  <a:lnTo>
                    <a:pt x="184" y="784"/>
                  </a:lnTo>
                  <a:lnTo>
                    <a:pt x="188" y="778"/>
                  </a:lnTo>
                  <a:lnTo>
                    <a:pt x="190" y="772"/>
                  </a:lnTo>
                  <a:lnTo>
                    <a:pt x="198" y="768"/>
                  </a:lnTo>
                  <a:lnTo>
                    <a:pt x="202" y="764"/>
                  </a:lnTo>
                  <a:lnTo>
                    <a:pt x="208" y="760"/>
                  </a:lnTo>
                  <a:lnTo>
                    <a:pt x="210" y="760"/>
                  </a:lnTo>
                  <a:lnTo>
                    <a:pt x="216" y="760"/>
                  </a:lnTo>
                  <a:lnTo>
                    <a:pt x="222" y="758"/>
                  </a:lnTo>
                  <a:lnTo>
                    <a:pt x="228" y="754"/>
                  </a:lnTo>
                  <a:lnTo>
                    <a:pt x="234" y="752"/>
                  </a:lnTo>
                  <a:lnTo>
                    <a:pt x="240" y="748"/>
                  </a:lnTo>
                  <a:lnTo>
                    <a:pt x="246" y="746"/>
                  </a:lnTo>
                  <a:lnTo>
                    <a:pt x="250" y="740"/>
                  </a:lnTo>
                  <a:lnTo>
                    <a:pt x="256" y="734"/>
                  </a:lnTo>
                  <a:lnTo>
                    <a:pt x="262" y="730"/>
                  </a:lnTo>
                  <a:lnTo>
                    <a:pt x="268" y="728"/>
                  </a:lnTo>
                  <a:lnTo>
                    <a:pt x="272" y="722"/>
                  </a:lnTo>
                  <a:lnTo>
                    <a:pt x="278" y="716"/>
                  </a:lnTo>
                  <a:lnTo>
                    <a:pt x="284" y="714"/>
                  </a:lnTo>
                  <a:lnTo>
                    <a:pt x="288" y="712"/>
                  </a:lnTo>
                  <a:lnTo>
                    <a:pt x="294" y="708"/>
                  </a:lnTo>
                  <a:lnTo>
                    <a:pt x="296" y="702"/>
                  </a:lnTo>
                  <a:lnTo>
                    <a:pt x="302" y="702"/>
                  </a:lnTo>
                  <a:lnTo>
                    <a:pt x="308" y="700"/>
                  </a:lnTo>
                  <a:lnTo>
                    <a:pt x="314" y="698"/>
                  </a:lnTo>
                  <a:lnTo>
                    <a:pt x="320" y="694"/>
                  </a:lnTo>
                  <a:lnTo>
                    <a:pt x="326" y="690"/>
                  </a:lnTo>
                  <a:lnTo>
                    <a:pt x="328" y="688"/>
                  </a:lnTo>
                  <a:lnTo>
                    <a:pt x="334" y="682"/>
                  </a:lnTo>
                  <a:lnTo>
                    <a:pt x="334" y="688"/>
                  </a:lnTo>
                  <a:lnTo>
                    <a:pt x="340" y="692"/>
                  </a:lnTo>
                  <a:lnTo>
                    <a:pt x="346" y="688"/>
                  </a:lnTo>
                  <a:lnTo>
                    <a:pt x="352" y="686"/>
                  </a:lnTo>
                  <a:lnTo>
                    <a:pt x="358" y="684"/>
                  </a:lnTo>
                  <a:lnTo>
                    <a:pt x="360" y="690"/>
                  </a:lnTo>
                  <a:lnTo>
                    <a:pt x="366" y="692"/>
                  </a:lnTo>
                  <a:lnTo>
                    <a:pt x="372" y="692"/>
                  </a:lnTo>
                  <a:lnTo>
                    <a:pt x="378" y="692"/>
                  </a:lnTo>
                  <a:lnTo>
                    <a:pt x="384" y="688"/>
                  </a:lnTo>
                  <a:lnTo>
                    <a:pt x="390" y="688"/>
                  </a:lnTo>
                  <a:lnTo>
                    <a:pt x="396" y="686"/>
                  </a:lnTo>
                  <a:lnTo>
                    <a:pt x="400" y="680"/>
                  </a:lnTo>
                  <a:lnTo>
                    <a:pt x="408" y="676"/>
                  </a:lnTo>
                  <a:lnTo>
                    <a:pt x="412" y="672"/>
                  </a:lnTo>
                  <a:lnTo>
                    <a:pt x="418" y="668"/>
                  </a:lnTo>
                  <a:lnTo>
                    <a:pt x="422" y="668"/>
                  </a:lnTo>
                  <a:lnTo>
                    <a:pt x="428" y="666"/>
                  </a:lnTo>
                  <a:lnTo>
                    <a:pt x="434" y="666"/>
                  </a:lnTo>
                  <a:lnTo>
                    <a:pt x="440" y="666"/>
                  </a:lnTo>
                  <a:lnTo>
                    <a:pt x="444" y="664"/>
                  </a:lnTo>
                  <a:lnTo>
                    <a:pt x="450" y="666"/>
                  </a:lnTo>
                  <a:lnTo>
                    <a:pt x="456" y="662"/>
                  </a:lnTo>
                  <a:lnTo>
                    <a:pt x="462" y="658"/>
                  </a:lnTo>
                  <a:lnTo>
                    <a:pt x="466" y="654"/>
                  </a:lnTo>
                  <a:lnTo>
                    <a:pt x="472" y="648"/>
                  </a:lnTo>
                  <a:lnTo>
                    <a:pt x="478" y="642"/>
                  </a:lnTo>
                  <a:lnTo>
                    <a:pt x="484" y="642"/>
                  </a:lnTo>
                  <a:lnTo>
                    <a:pt x="490" y="640"/>
                  </a:lnTo>
                  <a:lnTo>
                    <a:pt x="496" y="642"/>
                  </a:lnTo>
                  <a:lnTo>
                    <a:pt x="498" y="642"/>
                  </a:lnTo>
                  <a:lnTo>
                    <a:pt x="504" y="646"/>
                  </a:lnTo>
                  <a:lnTo>
                    <a:pt x="510" y="646"/>
                  </a:lnTo>
                  <a:lnTo>
                    <a:pt x="516" y="644"/>
                  </a:lnTo>
                  <a:lnTo>
                    <a:pt x="518" y="642"/>
                  </a:lnTo>
                  <a:lnTo>
                    <a:pt x="524" y="640"/>
                  </a:lnTo>
                  <a:lnTo>
                    <a:pt x="530" y="638"/>
                  </a:lnTo>
                  <a:lnTo>
                    <a:pt x="536" y="638"/>
                  </a:lnTo>
                  <a:lnTo>
                    <a:pt x="542" y="636"/>
                  </a:lnTo>
                  <a:lnTo>
                    <a:pt x="548" y="636"/>
                  </a:lnTo>
                  <a:lnTo>
                    <a:pt x="552" y="634"/>
                  </a:lnTo>
                  <a:lnTo>
                    <a:pt x="558" y="632"/>
                  </a:lnTo>
                  <a:lnTo>
                    <a:pt x="566" y="630"/>
                  </a:lnTo>
                  <a:lnTo>
                    <a:pt x="570" y="628"/>
                  </a:lnTo>
                  <a:lnTo>
                    <a:pt x="576" y="626"/>
                  </a:lnTo>
                  <a:lnTo>
                    <a:pt x="582" y="622"/>
                  </a:lnTo>
                  <a:lnTo>
                    <a:pt x="588" y="620"/>
                  </a:lnTo>
                  <a:lnTo>
                    <a:pt x="594" y="618"/>
                  </a:lnTo>
                  <a:lnTo>
                    <a:pt x="600" y="614"/>
                  </a:lnTo>
                  <a:lnTo>
                    <a:pt x="606" y="610"/>
                  </a:lnTo>
                  <a:lnTo>
                    <a:pt x="612" y="606"/>
                  </a:lnTo>
                  <a:lnTo>
                    <a:pt x="618" y="600"/>
                  </a:lnTo>
                  <a:lnTo>
                    <a:pt x="624" y="594"/>
                  </a:lnTo>
                  <a:lnTo>
                    <a:pt x="628" y="588"/>
                  </a:lnTo>
                  <a:lnTo>
                    <a:pt x="634" y="582"/>
                  </a:lnTo>
                  <a:lnTo>
                    <a:pt x="638" y="576"/>
                  </a:lnTo>
                  <a:lnTo>
                    <a:pt x="640" y="570"/>
                  </a:lnTo>
                  <a:lnTo>
                    <a:pt x="644" y="564"/>
                  </a:lnTo>
                  <a:lnTo>
                    <a:pt x="648" y="558"/>
                  </a:lnTo>
                  <a:lnTo>
                    <a:pt x="646" y="552"/>
                  </a:lnTo>
                  <a:lnTo>
                    <a:pt x="652" y="552"/>
                  </a:lnTo>
                  <a:lnTo>
                    <a:pt x="656" y="550"/>
                  </a:lnTo>
                  <a:lnTo>
                    <a:pt x="654" y="544"/>
                  </a:lnTo>
                  <a:lnTo>
                    <a:pt x="660" y="538"/>
                  </a:lnTo>
                  <a:lnTo>
                    <a:pt x="666" y="536"/>
                  </a:lnTo>
                  <a:lnTo>
                    <a:pt x="672" y="534"/>
                  </a:lnTo>
                  <a:lnTo>
                    <a:pt x="676" y="528"/>
                  </a:lnTo>
                  <a:lnTo>
                    <a:pt x="684" y="522"/>
                  </a:lnTo>
                  <a:lnTo>
                    <a:pt x="688" y="518"/>
                  </a:lnTo>
                  <a:lnTo>
                    <a:pt x="694" y="514"/>
                  </a:lnTo>
                  <a:lnTo>
                    <a:pt x="700" y="508"/>
                  </a:lnTo>
                  <a:lnTo>
                    <a:pt x="698" y="502"/>
                  </a:lnTo>
                  <a:lnTo>
                    <a:pt x="692" y="502"/>
                  </a:lnTo>
                  <a:lnTo>
                    <a:pt x="692" y="496"/>
                  </a:lnTo>
                  <a:lnTo>
                    <a:pt x="692" y="488"/>
                  </a:lnTo>
                  <a:lnTo>
                    <a:pt x="692" y="484"/>
                  </a:lnTo>
                  <a:lnTo>
                    <a:pt x="692" y="476"/>
                  </a:lnTo>
                  <a:lnTo>
                    <a:pt x="692" y="472"/>
                  </a:lnTo>
                  <a:lnTo>
                    <a:pt x="692" y="464"/>
                  </a:lnTo>
                  <a:lnTo>
                    <a:pt x="694" y="460"/>
                  </a:lnTo>
                  <a:lnTo>
                    <a:pt x="696" y="452"/>
                  </a:lnTo>
                  <a:lnTo>
                    <a:pt x="700" y="446"/>
                  </a:lnTo>
                  <a:lnTo>
                    <a:pt x="704" y="442"/>
                  </a:lnTo>
                  <a:lnTo>
                    <a:pt x="710" y="436"/>
                  </a:lnTo>
                  <a:lnTo>
                    <a:pt x="716" y="432"/>
                  </a:lnTo>
                  <a:lnTo>
                    <a:pt x="718" y="428"/>
                  </a:lnTo>
                  <a:lnTo>
                    <a:pt x="724" y="432"/>
                  </a:lnTo>
                  <a:lnTo>
                    <a:pt x="722" y="426"/>
                  </a:lnTo>
                  <a:lnTo>
                    <a:pt x="724" y="420"/>
                  </a:lnTo>
                  <a:lnTo>
                    <a:pt x="730" y="420"/>
                  </a:lnTo>
                  <a:lnTo>
                    <a:pt x="736" y="418"/>
                  </a:lnTo>
                  <a:lnTo>
                    <a:pt x="736" y="412"/>
                  </a:lnTo>
                  <a:lnTo>
                    <a:pt x="740" y="406"/>
                  </a:lnTo>
                  <a:lnTo>
                    <a:pt x="744" y="404"/>
                  </a:lnTo>
                  <a:lnTo>
                    <a:pt x="748" y="398"/>
                  </a:lnTo>
                  <a:lnTo>
                    <a:pt x="754" y="392"/>
                  </a:lnTo>
                  <a:lnTo>
                    <a:pt x="756" y="398"/>
                  </a:lnTo>
                  <a:lnTo>
                    <a:pt x="752" y="404"/>
                  </a:lnTo>
                  <a:lnTo>
                    <a:pt x="752" y="406"/>
                  </a:lnTo>
                  <a:lnTo>
                    <a:pt x="754" y="412"/>
                  </a:lnTo>
                  <a:lnTo>
                    <a:pt x="760" y="414"/>
                  </a:lnTo>
                  <a:lnTo>
                    <a:pt x="756" y="420"/>
                  </a:lnTo>
                  <a:lnTo>
                    <a:pt x="760" y="426"/>
                  </a:lnTo>
                  <a:lnTo>
                    <a:pt x="762" y="430"/>
                  </a:lnTo>
                  <a:lnTo>
                    <a:pt x="764" y="436"/>
                  </a:lnTo>
                  <a:lnTo>
                    <a:pt x="764" y="442"/>
                  </a:lnTo>
                  <a:lnTo>
                    <a:pt x="768" y="448"/>
                  </a:lnTo>
                  <a:lnTo>
                    <a:pt x="768" y="454"/>
                  </a:lnTo>
                  <a:lnTo>
                    <a:pt x="772" y="460"/>
                  </a:lnTo>
                  <a:lnTo>
                    <a:pt x="774" y="466"/>
                  </a:lnTo>
                  <a:lnTo>
                    <a:pt x="778" y="472"/>
                  </a:lnTo>
                  <a:lnTo>
                    <a:pt x="776" y="476"/>
                  </a:lnTo>
                  <a:lnTo>
                    <a:pt x="780" y="470"/>
                  </a:lnTo>
                  <a:lnTo>
                    <a:pt x="778" y="464"/>
                  </a:lnTo>
                  <a:lnTo>
                    <a:pt x="782" y="458"/>
                  </a:lnTo>
                  <a:lnTo>
                    <a:pt x="782" y="452"/>
                  </a:lnTo>
                  <a:lnTo>
                    <a:pt x="784" y="446"/>
                  </a:lnTo>
                  <a:lnTo>
                    <a:pt x="782" y="440"/>
                  </a:lnTo>
                  <a:lnTo>
                    <a:pt x="786" y="434"/>
                  </a:lnTo>
                  <a:lnTo>
                    <a:pt x="790" y="438"/>
                  </a:lnTo>
                  <a:lnTo>
                    <a:pt x="794" y="444"/>
                  </a:lnTo>
                  <a:lnTo>
                    <a:pt x="798" y="450"/>
                  </a:lnTo>
                  <a:lnTo>
                    <a:pt x="800" y="448"/>
                  </a:lnTo>
                  <a:lnTo>
                    <a:pt x="798" y="442"/>
                  </a:lnTo>
                  <a:lnTo>
                    <a:pt x="796" y="436"/>
                  </a:lnTo>
                  <a:lnTo>
                    <a:pt x="800" y="430"/>
                  </a:lnTo>
                  <a:lnTo>
                    <a:pt x="806" y="426"/>
                  </a:lnTo>
                  <a:lnTo>
                    <a:pt x="800" y="426"/>
                  </a:lnTo>
                  <a:lnTo>
                    <a:pt x="794" y="422"/>
                  </a:lnTo>
                  <a:lnTo>
                    <a:pt x="792" y="416"/>
                  </a:lnTo>
                  <a:lnTo>
                    <a:pt x="786" y="412"/>
                  </a:lnTo>
                  <a:lnTo>
                    <a:pt x="790" y="406"/>
                  </a:lnTo>
                  <a:lnTo>
                    <a:pt x="784" y="404"/>
                  </a:lnTo>
                  <a:lnTo>
                    <a:pt x="782" y="398"/>
                  </a:lnTo>
                  <a:lnTo>
                    <a:pt x="788" y="400"/>
                  </a:lnTo>
                  <a:lnTo>
                    <a:pt x="788" y="396"/>
                  </a:lnTo>
                  <a:lnTo>
                    <a:pt x="794" y="396"/>
                  </a:lnTo>
                  <a:lnTo>
                    <a:pt x="798" y="392"/>
                  </a:lnTo>
                  <a:lnTo>
                    <a:pt x="794" y="386"/>
                  </a:lnTo>
                  <a:lnTo>
                    <a:pt x="790" y="380"/>
                  </a:lnTo>
                  <a:lnTo>
                    <a:pt x="796" y="376"/>
                  </a:lnTo>
                  <a:lnTo>
                    <a:pt x="802" y="376"/>
                  </a:lnTo>
                  <a:lnTo>
                    <a:pt x="806" y="382"/>
                  </a:lnTo>
                  <a:lnTo>
                    <a:pt x="800" y="384"/>
                  </a:lnTo>
                  <a:lnTo>
                    <a:pt x="808" y="388"/>
                  </a:lnTo>
                  <a:lnTo>
                    <a:pt x="806" y="394"/>
                  </a:lnTo>
                  <a:lnTo>
                    <a:pt x="812" y="390"/>
                  </a:lnTo>
                  <a:lnTo>
                    <a:pt x="814" y="384"/>
                  </a:lnTo>
                  <a:lnTo>
                    <a:pt x="820" y="384"/>
                  </a:lnTo>
                  <a:lnTo>
                    <a:pt x="826" y="386"/>
                  </a:lnTo>
                  <a:lnTo>
                    <a:pt x="828" y="392"/>
                  </a:lnTo>
                  <a:lnTo>
                    <a:pt x="834" y="394"/>
                  </a:lnTo>
                  <a:lnTo>
                    <a:pt x="840" y="390"/>
                  </a:lnTo>
                  <a:lnTo>
                    <a:pt x="846" y="392"/>
                  </a:lnTo>
                  <a:lnTo>
                    <a:pt x="852" y="394"/>
                  </a:lnTo>
                  <a:lnTo>
                    <a:pt x="858" y="392"/>
                  </a:lnTo>
                  <a:lnTo>
                    <a:pt x="864" y="394"/>
                  </a:lnTo>
                  <a:lnTo>
                    <a:pt x="858" y="390"/>
                  </a:lnTo>
                  <a:lnTo>
                    <a:pt x="852" y="388"/>
                  </a:lnTo>
                  <a:lnTo>
                    <a:pt x="846" y="388"/>
                  </a:lnTo>
                  <a:lnTo>
                    <a:pt x="840" y="388"/>
                  </a:lnTo>
                  <a:lnTo>
                    <a:pt x="840" y="382"/>
                  </a:lnTo>
                  <a:lnTo>
                    <a:pt x="844" y="376"/>
                  </a:lnTo>
                  <a:lnTo>
                    <a:pt x="844" y="370"/>
                  </a:lnTo>
                  <a:lnTo>
                    <a:pt x="848" y="376"/>
                  </a:lnTo>
                  <a:lnTo>
                    <a:pt x="854" y="370"/>
                  </a:lnTo>
                  <a:lnTo>
                    <a:pt x="854" y="364"/>
                  </a:lnTo>
                  <a:lnTo>
                    <a:pt x="858" y="358"/>
                  </a:lnTo>
                  <a:lnTo>
                    <a:pt x="862" y="354"/>
                  </a:lnTo>
                  <a:lnTo>
                    <a:pt x="858" y="354"/>
                  </a:lnTo>
                  <a:lnTo>
                    <a:pt x="854" y="360"/>
                  </a:lnTo>
                  <a:lnTo>
                    <a:pt x="848" y="354"/>
                  </a:lnTo>
                  <a:lnTo>
                    <a:pt x="846" y="348"/>
                  </a:lnTo>
                  <a:lnTo>
                    <a:pt x="846" y="342"/>
                  </a:lnTo>
                  <a:lnTo>
                    <a:pt x="848" y="340"/>
                  </a:lnTo>
                  <a:lnTo>
                    <a:pt x="848" y="336"/>
                  </a:lnTo>
                  <a:lnTo>
                    <a:pt x="852" y="330"/>
                  </a:lnTo>
                  <a:lnTo>
                    <a:pt x="858" y="330"/>
                  </a:lnTo>
                  <a:lnTo>
                    <a:pt x="864" y="326"/>
                  </a:lnTo>
                  <a:lnTo>
                    <a:pt x="870" y="320"/>
                  </a:lnTo>
                  <a:lnTo>
                    <a:pt x="866" y="316"/>
                  </a:lnTo>
                  <a:lnTo>
                    <a:pt x="872" y="316"/>
                  </a:lnTo>
                  <a:lnTo>
                    <a:pt x="878" y="320"/>
                  </a:lnTo>
                  <a:lnTo>
                    <a:pt x="884" y="324"/>
                  </a:lnTo>
                  <a:lnTo>
                    <a:pt x="886" y="330"/>
                  </a:lnTo>
                  <a:lnTo>
                    <a:pt x="892" y="330"/>
                  </a:lnTo>
                  <a:lnTo>
                    <a:pt x="896" y="332"/>
                  </a:lnTo>
                  <a:lnTo>
                    <a:pt x="890" y="326"/>
                  </a:lnTo>
                  <a:lnTo>
                    <a:pt x="892" y="320"/>
                  </a:lnTo>
                  <a:lnTo>
                    <a:pt x="886" y="318"/>
                  </a:lnTo>
                  <a:lnTo>
                    <a:pt x="880" y="316"/>
                  </a:lnTo>
                  <a:lnTo>
                    <a:pt x="884" y="312"/>
                  </a:lnTo>
                  <a:lnTo>
                    <a:pt x="890" y="308"/>
                  </a:lnTo>
                  <a:lnTo>
                    <a:pt x="884" y="310"/>
                  </a:lnTo>
                  <a:lnTo>
                    <a:pt x="880" y="314"/>
                  </a:lnTo>
                  <a:lnTo>
                    <a:pt x="880" y="308"/>
                  </a:lnTo>
                  <a:lnTo>
                    <a:pt x="886" y="304"/>
                  </a:lnTo>
                  <a:lnTo>
                    <a:pt x="890" y="298"/>
                  </a:lnTo>
                  <a:lnTo>
                    <a:pt x="896" y="298"/>
                  </a:lnTo>
                  <a:lnTo>
                    <a:pt x="896" y="304"/>
                  </a:lnTo>
                  <a:lnTo>
                    <a:pt x="898" y="298"/>
                  </a:lnTo>
                  <a:lnTo>
                    <a:pt x="904" y="302"/>
                  </a:lnTo>
                  <a:lnTo>
                    <a:pt x="908" y="306"/>
                  </a:lnTo>
                  <a:lnTo>
                    <a:pt x="914" y="306"/>
                  </a:lnTo>
                  <a:lnTo>
                    <a:pt x="910" y="300"/>
                  </a:lnTo>
                  <a:lnTo>
                    <a:pt x="906" y="294"/>
                  </a:lnTo>
                  <a:lnTo>
                    <a:pt x="908" y="288"/>
                  </a:lnTo>
                  <a:lnTo>
                    <a:pt x="904" y="286"/>
                  </a:lnTo>
                  <a:lnTo>
                    <a:pt x="902" y="280"/>
                  </a:lnTo>
                  <a:lnTo>
                    <a:pt x="904" y="274"/>
                  </a:lnTo>
                  <a:lnTo>
                    <a:pt x="910" y="272"/>
                  </a:lnTo>
                  <a:lnTo>
                    <a:pt x="912" y="266"/>
                  </a:lnTo>
                  <a:lnTo>
                    <a:pt x="918" y="268"/>
                  </a:lnTo>
                  <a:lnTo>
                    <a:pt x="924" y="264"/>
                  </a:lnTo>
                  <a:lnTo>
                    <a:pt x="930" y="264"/>
                  </a:lnTo>
                  <a:lnTo>
                    <a:pt x="930" y="262"/>
                  </a:lnTo>
                  <a:lnTo>
                    <a:pt x="930" y="256"/>
                  </a:lnTo>
                  <a:lnTo>
                    <a:pt x="930" y="250"/>
                  </a:lnTo>
                  <a:lnTo>
                    <a:pt x="932" y="244"/>
                  </a:lnTo>
                  <a:lnTo>
                    <a:pt x="938" y="246"/>
                  </a:lnTo>
                  <a:lnTo>
                    <a:pt x="936" y="252"/>
                  </a:lnTo>
                  <a:lnTo>
                    <a:pt x="934" y="258"/>
                  </a:lnTo>
                  <a:lnTo>
                    <a:pt x="934" y="264"/>
                  </a:lnTo>
                  <a:lnTo>
                    <a:pt x="932" y="270"/>
                  </a:lnTo>
                  <a:lnTo>
                    <a:pt x="936" y="264"/>
                  </a:lnTo>
                  <a:lnTo>
                    <a:pt x="938" y="258"/>
                  </a:lnTo>
                  <a:lnTo>
                    <a:pt x="944" y="260"/>
                  </a:lnTo>
                  <a:lnTo>
                    <a:pt x="944" y="264"/>
                  </a:lnTo>
                  <a:lnTo>
                    <a:pt x="946" y="270"/>
                  </a:lnTo>
                  <a:lnTo>
                    <a:pt x="948" y="264"/>
                  </a:lnTo>
                  <a:lnTo>
                    <a:pt x="954" y="262"/>
                  </a:lnTo>
                  <a:lnTo>
                    <a:pt x="956" y="256"/>
                  </a:lnTo>
                  <a:lnTo>
                    <a:pt x="960" y="250"/>
                  </a:lnTo>
                  <a:lnTo>
                    <a:pt x="960" y="244"/>
                  </a:lnTo>
                  <a:lnTo>
                    <a:pt x="966" y="240"/>
                  </a:lnTo>
                  <a:lnTo>
                    <a:pt x="966" y="234"/>
                  </a:lnTo>
                  <a:lnTo>
                    <a:pt x="964" y="232"/>
                  </a:lnTo>
                  <a:lnTo>
                    <a:pt x="958" y="232"/>
                  </a:lnTo>
                  <a:lnTo>
                    <a:pt x="958" y="226"/>
                  </a:lnTo>
                  <a:lnTo>
                    <a:pt x="964" y="230"/>
                  </a:lnTo>
                  <a:lnTo>
                    <a:pt x="962" y="224"/>
                  </a:lnTo>
                  <a:lnTo>
                    <a:pt x="968" y="222"/>
                  </a:lnTo>
                  <a:lnTo>
                    <a:pt x="966" y="228"/>
                  </a:lnTo>
                  <a:lnTo>
                    <a:pt x="972" y="224"/>
                  </a:lnTo>
                  <a:lnTo>
                    <a:pt x="970" y="228"/>
                  </a:lnTo>
                  <a:lnTo>
                    <a:pt x="970" y="234"/>
                  </a:lnTo>
                  <a:lnTo>
                    <a:pt x="972" y="240"/>
                  </a:lnTo>
                  <a:lnTo>
                    <a:pt x="978" y="240"/>
                  </a:lnTo>
                  <a:lnTo>
                    <a:pt x="976" y="234"/>
                  </a:lnTo>
                  <a:lnTo>
                    <a:pt x="982" y="228"/>
                  </a:lnTo>
                  <a:lnTo>
                    <a:pt x="988" y="226"/>
                  </a:lnTo>
                  <a:lnTo>
                    <a:pt x="986" y="232"/>
                  </a:lnTo>
                  <a:lnTo>
                    <a:pt x="988" y="234"/>
                  </a:lnTo>
                  <a:lnTo>
                    <a:pt x="992" y="240"/>
                  </a:lnTo>
                  <a:lnTo>
                    <a:pt x="998" y="234"/>
                  </a:lnTo>
                  <a:lnTo>
                    <a:pt x="1004" y="230"/>
                  </a:lnTo>
                  <a:lnTo>
                    <a:pt x="1010" y="226"/>
                  </a:lnTo>
                  <a:lnTo>
                    <a:pt x="1012" y="224"/>
                  </a:lnTo>
                  <a:lnTo>
                    <a:pt x="1006" y="218"/>
                  </a:lnTo>
                  <a:lnTo>
                    <a:pt x="1010" y="212"/>
                  </a:lnTo>
                  <a:lnTo>
                    <a:pt x="1016" y="210"/>
                  </a:lnTo>
                  <a:lnTo>
                    <a:pt x="1018" y="208"/>
                  </a:lnTo>
                  <a:lnTo>
                    <a:pt x="1022" y="214"/>
                  </a:lnTo>
                  <a:lnTo>
                    <a:pt x="1026" y="220"/>
                  </a:lnTo>
                  <a:lnTo>
                    <a:pt x="1032" y="224"/>
                  </a:lnTo>
                  <a:lnTo>
                    <a:pt x="1038" y="224"/>
                  </a:lnTo>
                  <a:lnTo>
                    <a:pt x="1044" y="224"/>
                  </a:lnTo>
                  <a:lnTo>
                    <a:pt x="1046" y="230"/>
                  </a:lnTo>
                  <a:lnTo>
                    <a:pt x="1052" y="234"/>
                  </a:lnTo>
                  <a:lnTo>
                    <a:pt x="1058" y="240"/>
                  </a:lnTo>
                  <a:lnTo>
                    <a:pt x="1062" y="246"/>
                  </a:lnTo>
                  <a:lnTo>
                    <a:pt x="1064" y="252"/>
                  </a:lnTo>
                  <a:lnTo>
                    <a:pt x="1066" y="256"/>
                  </a:lnTo>
                  <a:lnTo>
                    <a:pt x="1072" y="262"/>
                  </a:lnTo>
                  <a:lnTo>
                    <a:pt x="1078" y="268"/>
                  </a:lnTo>
                  <a:lnTo>
                    <a:pt x="1082" y="272"/>
                  </a:lnTo>
                  <a:lnTo>
                    <a:pt x="1084" y="280"/>
                  </a:lnTo>
                  <a:lnTo>
                    <a:pt x="1084" y="282"/>
                  </a:lnTo>
                  <a:lnTo>
                    <a:pt x="1080" y="290"/>
                  </a:lnTo>
                  <a:lnTo>
                    <a:pt x="1078" y="294"/>
                  </a:lnTo>
                  <a:lnTo>
                    <a:pt x="1076" y="300"/>
                  </a:lnTo>
                  <a:lnTo>
                    <a:pt x="1074" y="306"/>
                  </a:lnTo>
                  <a:lnTo>
                    <a:pt x="1074" y="312"/>
                  </a:lnTo>
                  <a:lnTo>
                    <a:pt x="1070" y="318"/>
                  </a:lnTo>
                  <a:lnTo>
                    <a:pt x="1072" y="324"/>
                  </a:lnTo>
                  <a:lnTo>
                    <a:pt x="1068" y="330"/>
                  </a:lnTo>
                  <a:lnTo>
                    <a:pt x="1072" y="326"/>
                  </a:lnTo>
                  <a:lnTo>
                    <a:pt x="1074" y="320"/>
                  </a:lnTo>
                  <a:lnTo>
                    <a:pt x="1074" y="314"/>
                  </a:lnTo>
                  <a:lnTo>
                    <a:pt x="1082" y="314"/>
                  </a:lnTo>
                  <a:lnTo>
                    <a:pt x="1084" y="320"/>
                  </a:lnTo>
                  <a:lnTo>
                    <a:pt x="1084" y="324"/>
                  </a:lnTo>
                  <a:lnTo>
                    <a:pt x="1086" y="318"/>
                  </a:lnTo>
                  <a:lnTo>
                    <a:pt x="1082" y="312"/>
                  </a:lnTo>
                  <a:lnTo>
                    <a:pt x="1082" y="306"/>
                  </a:lnTo>
                  <a:lnTo>
                    <a:pt x="1082" y="300"/>
                  </a:lnTo>
                  <a:lnTo>
                    <a:pt x="1086" y="294"/>
                  </a:lnTo>
                  <a:lnTo>
                    <a:pt x="1092" y="300"/>
                  </a:lnTo>
                  <a:lnTo>
                    <a:pt x="1098" y="298"/>
                  </a:lnTo>
                  <a:lnTo>
                    <a:pt x="1098" y="292"/>
                  </a:lnTo>
                  <a:lnTo>
                    <a:pt x="1096" y="286"/>
                  </a:lnTo>
                  <a:lnTo>
                    <a:pt x="1098" y="286"/>
                  </a:lnTo>
                  <a:lnTo>
                    <a:pt x="1104" y="280"/>
                  </a:lnTo>
                  <a:lnTo>
                    <a:pt x="1110" y="282"/>
                  </a:lnTo>
                  <a:lnTo>
                    <a:pt x="1116" y="282"/>
                  </a:lnTo>
                  <a:lnTo>
                    <a:pt x="1122" y="284"/>
                  </a:lnTo>
                  <a:lnTo>
                    <a:pt x="1128" y="286"/>
                  </a:lnTo>
                  <a:lnTo>
                    <a:pt x="1134" y="288"/>
                  </a:lnTo>
                  <a:lnTo>
                    <a:pt x="1138" y="290"/>
                  </a:lnTo>
                  <a:lnTo>
                    <a:pt x="1142" y="296"/>
                  </a:lnTo>
                  <a:lnTo>
                    <a:pt x="1142" y="302"/>
                  </a:lnTo>
                  <a:lnTo>
                    <a:pt x="1140" y="308"/>
                  </a:lnTo>
                  <a:lnTo>
                    <a:pt x="1146" y="304"/>
                  </a:lnTo>
                  <a:lnTo>
                    <a:pt x="1146" y="298"/>
                  </a:lnTo>
                  <a:lnTo>
                    <a:pt x="1146" y="292"/>
                  </a:lnTo>
                  <a:lnTo>
                    <a:pt x="1146" y="286"/>
                  </a:lnTo>
                  <a:lnTo>
                    <a:pt x="1152" y="286"/>
                  </a:lnTo>
                  <a:lnTo>
                    <a:pt x="1158" y="290"/>
                  </a:lnTo>
                  <a:lnTo>
                    <a:pt x="1162" y="296"/>
                  </a:lnTo>
                  <a:lnTo>
                    <a:pt x="1166" y="302"/>
                  </a:lnTo>
                  <a:lnTo>
                    <a:pt x="1166" y="308"/>
                  </a:lnTo>
                  <a:lnTo>
                    <a:pt x="1172" y="310"/>
                  </a:lnTo>
                  <a:lnTo>
                    <a:pt x="1174" y="310"/>
                  </a:lnTo>
                  <a:lnTo>
                    <a:pt x="1172" y="304"/>
                  </a:lnTo>
                  <a:lnTo>
                    <a:pt x="1170" y="298"/>
                  </a:lnTo>
                  <a:lnTo>
                    <a:pt x="1170" y="292"/>
                  </a:lnTo>
                  <a:lnTo>
                    <a:pt x="1172" y="286"/>
                  </a:lnTo>
                  <a:lnTo>
                    <a:pt x="1178" y="286"/>
                  </a:lnTo>
                  <a:lnTo>
                    <a:pt x="1184" y="286"/>
                  </a:lnTo>
                  <a:lnTo>
                    <a:pt x="1190" y="282"/>
                  </a:lnTo>
                  <a:lnTo>
                    <a:pt x="1184" y="282"/>
                  </a:lnTo>
                  <a:lnTo>
                    <a:pt x="1178" y="282"/>
                  </a:lnTo>
                  <a:lnTo>
                    <a:pt x="1174" y="276"/>
                  </a:lnTo>
                  <a:lnTo>
                    <a:pt x="1170" y="270"/>
                  </a:lnTo>
                  <a:lnTo>
                    <a:pt x="1176" y="268"/>
                  </a:lnTo>
                  <a:lnTo>
                    <a:pt x="1182" y="266"/>
                  </a:lnTo>
                  <a:lnTo>
                    <a:pt x="1176" y="266"/>
                  </a:lnTo>
                  <a:lnTo>
                    <a:pt x="1170" y="266"/>
                  </a:lnTo>
                  <a:lnTo>
                    <a:pt x="1164" y="262"/>
                  </a:lnTo>
                  <a:lnTo>
                    <a:pt x="1158" y="256"/>
                  </a:lnTo>
                  <a:lnTo>
                    <a:pt x="1160" y="250"/>
                  </a:lnTo>
                  <a:lnTo>
                    <a:pt x="1164" y="244"/>
                  </a:lnTo>
                  <a:lnTo>
                    <a:pt x="1168" y="238"/>
                  </a:lnTo>
                  <a:lnTo>
                    <a:pt x="1170" y="232"/>
                  </a:lnTo>
                  <a:lnTo>
                    <a:pt x="1172" y="230"/>
                  </a:lnTo>
                  <a:lnTo>
                    <a:pt x="1178" y="230"/>
                  </a:lnTo>
                  <a:lnTo>
                    <a:pt x="1184" y="228"/>
                  </a:lnTo>
                  <a:lnTo>
                    <a:pt x="1186" y="222"/>
                  </a:lnTo>
                  <a:lnTo>
                    <a:pt x="1186" y="216"/>
                  </a:lnTo>
                  <a:lnTo>
                    <a:pt x="1192" y="210"/>
                  </a:lnTo>
                  <a:lnTo>
                    <a:pt x="1192" y="204"/>
                  </a:lnTo>
                  <a:lnTo>
                    <a:pt x="1194" y="198"/>
                  </a:lnTo>
                  <a:lnTo>
                    <a:pt x="1198" y="192"/>
                  </a:lnTo>
                  <a:lnTo>
                    <a:pt x="1204" y="194"/>
                  </a:lnTo>
                  <a:lnTo>
                    <a:pt x="1206" y="194"/>
                  </a:lnTo>
                  <a:lnTo>
                    <a:pt x="1212" y="190"/>
                  </a:lnTo>
                  <a:lnTo>
                    <a:pt x="1218" y="186"/>
                  </a:lnTo>
                  <a:lnTo>
                    <a:pt x="1224" y="180"/>
                  </a:lnTo>
                  <a:lnTo>
                    <a:pt x="1226" y="182"/>
                  </a:lnTo>
                  <a:lnTo>
                    <a:pt x="1222" y="176"/>
                  </a:lnTo>
                  <a:lnTo>
                    <a:pt x="1218" y="170"/>
                  </a:lnTo>
                  <a:lnTo>
                    <a:pt x="1216" y="164"/>
                  </a:lnTo>
                  <a:lnTo>
                    <a:pt x="1218" y="158"/>
                  </a:lnTo>
                  <a:lnTo>
                    <a:pt x="1218" y="152"/>
                  </a:lnTo>
                  <a:lnTo>
                    <a:pt x="1224" y="154"/>
                  </a:lnTo>
                  <a:lnTo>
                    <a:pt x="1230" y="150"/>
                  </a:lnTo>
                  <a:lnTo>
                    <a:pt x="1232" y="144"/>
                  </a:lnTo>
                  <a:lnTo>
                    <a:pt x="1234" y="138"/>
                  </a:lnTo>
                  <a:lnTo>
                    <a:pt x="1240" y="132"/>
                  </a:lnTo>
                  <a:lnTo>
                    <a:pt x="1244" y="132"/>
                  </a:lnTo>
                  <a:lnTo>
                    <a:pt x="1248" y="138"/>
                  </a:lnTo>
                  <a:lnTo>
                    <a:pt x="1254" y="138"/>
                  </a:lnTo>
                  <a:lnTo>
                    <a:pt x="1248" y="134"/>
                  </a:lnTo>
                  <a:lnTo>
                    <a:pt x="1248" y="126"/>
                  </a:lnTo>
                  <a:lnTo>
                    <a:pt x="1250" y="120"/>
                  </a:lnTo>
                  <a:lnTo>
                    <a:pt x="1252" y="116"/>
                  </a:lnTo>
                  <a:lnTo>
                    <a:pt x="1258" y="118"/>
                  </a:lnTo>
                  <a:lnTo>
                    <a:pt x="1262" y="124"/>
                  </a:lnTo>
                  <a:lnTo>
                    <a:pt x="1266" y="128"/>
                  </a:lnTo>
                  <a:lnTo>
                    <a:pt x="1272" y="132"/>
                  </a:lnTo>
                  <a:lnTo>
                    <a:pt x="1268" y="126"/>
                  </a:lnTo>
                  <a:lnTo>
                    <a:pt x="1268" y="120"/>
                  </a:lnTo>
                  <a:lnTo>
                    <a:pt x="1266" y="120"/>
                  </a:lnTo>
                  <a:lnTo>
                    <a:pt x="1266" y="116"/>
                  </a:lnTo>
                  <a:lnTo>
                    <a:pt x="1272" y="112"/>
                  </a:lnTo>
                  <a:lnTo>
                    <a:pt x="1278" y="112"/>
                  </a:lnTo>
                  <a:lnTo>
                    <a:pt x="1278" y="108"/>
                  </a:lnTo>
                  <a:lnTo>
                    <a:pt x="1278" y="102"/>
                  </a:lnTo>
                  <a:lnTo>
                    <a:pt x="1282" y="100"/>
                  </a:lnTo>
                  <a:lnTo>
                    <a:pt x="1290" y="102"/>
                  </a:lnTo>
                  <a:lnTo>
                    <a:pt x="1294" y="96"/>
                  </a:lnTo>
                  <a:lnTo>
                    <a:pt x="1298" y="104"/>
                  </a:lnTo>
                  <a:lnTo>
                    <a:pt x="1302" y="108"/>
                  </a:lnTo>
                  <a:lnTo>
                    <a:pt x="1310" y="108"/>
                  </a:lnTo>
                  <a:lnTo>
                    <a:pt x="1316" y="108"/>
                  </a:lnTo>
                  <a:lnTo>
                    <a:pt x="1320" y="108"/>
                  </a:lnTo>
                  <a:lnTo>
                    <a:pt x="1328" y="106"/>
                  </a:lnTo>
                  <a:lnTo>
                    <a:pt x="1332" y="106"/>
                  </a:lnTo>
                  <a:lnTo>
                    <a:pt x="1338" y="110"/>
                  </a:lnTo>
                  <a:lnTo>
                    <a:pt x="1344" y="108"/>
                  </a:lnTo>
                  <a:lnTo>
                    <a:pt x="1350" y="104"/>
                  </a:lnTo>
                  <a:lnTo>
                    <a:pt x="1356" y="104"/>
                  </a:lnTo>
                  <a:lnTo>
                    <a:pt x="1360" y="104"/>
                  </a:lnTo>
                  <a:lnTo>
                    <a:pt x="1362" y="110"/>
                  </a:lnTo>
                  <a:lnTo>
                    <a:pt x="1364" y="104"/>
                  </a:lnTo>
                  <a:lnTo>
                    <a:pt x="1368" y="98"/>
                  </a:lnTo>
                  <a:lnTo>
                    <a:pt x="1374" y="96"/>
                  </a:lnTo>
                  <a:lnTo>
                    <a:pt x="1380" y="98"/>
                  </a:lnTo>
                  <a:lnTo>
                    <a:pt x="1378" y="92"/>
                  </a:lnTo>
                  <a:lnTo>
                    <a:pt x="1378" y="86"/>
                  </a:lnTo>
                  <a:lnTo>
                    <a:pt x="1380" y="80"/>
                  </a:lnTo>
                  <a:lnTo>
                    <a:pt x="1378" y="74"/>
                  </a:lnTo>
                  <a:lnTo>
                    <a:pt x="1382" y="68"/>
                  </a:lnTo>
                  <a:lnTo>
                    <a:pt x="1378" y="64"/>
                  </a:lnTo>
                  <a:lnTo>
                    <a:pt x="1380" y="64"/>
                  </a:lnTo>
                  <a:lnTo>
                    <a:pt x="1378" y="64"/>
                  </a:lnTo>
                  <a:lnTo>
                    <a:pt x="1378" y="62"/>
                  </a:lnTo>
                  <a:lnTo>
                    <a:pt x="1374" y="56"/>
                  </a:lnTo>
                  <a:lnTo>
                    <a:pt x="1372" y="50"/>
                  </a:lnTo>
                  <a:lnTo>
                    <a:pt x="1366" y="50"/>
                  </a:lnTo>
                  <a:lnTo>
                    <a:pt x="1360" y="52"/>
                  </a:lnTo>
                  <a:lnTo>
                    <a:pt x="1354" y="52"/>
                  </a:lnTo>
                  <a:lnTo>
                    <a:pt x="1348" y="56"/>
                  </a:lnTo>
                  <a:lnTo>
                    <a:pt x="1346" y="50"/>
                  </a:lnTo>
                  <a:lnTo>
                    <a:pt x="1340" y="48"/>
                  </a:lnTo>
                  <a:lnTo>
                    <a:pt x="1340" y="42"/>
                  </a:lnTo>
                  <a:lnTo>
                    <a:pt x="1334" y="40"/>
                  </a:lnTo>
                  <a:lnTo>
                    <a:pt x="1334" y="36"/>
                  </a:lnTo>
                  <a:lnTo>
                    <a:pt x="1340" y="34"/>
                  </a:lnTo>
                  <a:lnTo>
                    <a:pt x="1344" y="28"/>
                  </a:lnTo>
                  <a:lnTo>
                    <a:pt x="1350" y="34"/>
                  </a:lnTo>
                  <a:lnTo>
                    <a:pt x="1352" y="40"/>
                  </a:lnTo>
                  <a:lnTo>
                    <a:pt x="1354" y="46"/>
                  </a:lnTo>
                  <a:lnTo>
                    <a:pt x="1356" y="40"/>
                  </a:lnTo>
                  <a:lnTo>
                    <a:pt x="1356" y="34"/>
                  </a:lnTo>
                  <a:lnTo>
                    <a:pt x="1354" y="28"/>
                  </a:lnTo>
                  <a:lnTo>
                    <a:pt x="1360" y="34"/>
                  </a:lnTo>
                  <a:lnTo>
                    <a:pt x="1366" y="28"/>
                  </a:lnTo>
                  <a:lnTo>
                    <a:pt x="1368" y="34"/>
                  </a:lnTo>
                  <a:lnTo>
                    <a:pt x="1374" y="36"/>
                  </a:lnTo>
                  <a:lnTo>
                    <a:pt x="1376" y="44"/>
                  </a:lnTo>
                  <a:lnTo>
                    <a:pt x="1378" y="44"/>
                  </a:lnTo>
                  <a:lnTo>
                    <a:pt x="1382" y="48"/>
                  </a:lnTo>
                  <a:lnTo>
                    <a:pt x="1386" y="56"/>
                  </a:lnTo>
                  <a:lnTo>
                    <a:pt x="1392" y="50"/>
                  </a:lnTo>
                  <a:lnTo>
                    <a:pt x="1398" y="48"/>
                  </a:lnTo>
                  <a:lnTo>
                    <a:pt x="1398" y="42"/>
                  </a:lnTo>
                  <a:lnTo>
                    <a:pt x="1404" y="48"/>
                  </a:lnTo>
                  <a:lnTo>
                    <a:pt x="1406" y="54"/>
                  </a:lnTo>
                  <a:lnTo>
                    <a:pt x="1408" y="60"/>
                  </a:lnTo>
                  <a:lnTo>
                    <a:pt x="1410" y="66"/>
                  </a:lnTo>
                  <a:lnTo>
                    <a:pt x="1416" y="70"/>
                  </a:lnTo>
                  <a:lnTo>
                    <a:pt x="1422" y="68"/>
                  </a:lnTo>
                  <a:lnTo>
                    <a:pt x="1428" y="72"/>
                  </a:lnTo>
                  <a:lnTo>
                    <a:pt x="1434" y="72"/>
                  </a:lnTo>
                  <a:lnTo>
                    <a:pt x="1434" y="78"/>
                  </a:lnTo>
                  <a:lnTo>
                    <a:pt x="1440" y="76"/>
                  </a:lnTo>
                  <a:lnTo>
                    <a:pt x="1446" y="74"/>
                  </a:lnTo>
                  <a:lnTo>
                    <a:pt x="1452" y="70"/>
                  </a:lnTo>
                  <a:lnTo>
                    <a:pt x="1458" y="70"/>
                  </a:lnTo>
                  <a:lnTo>
                    <a:pt x="1452" y="76"/>
                  </a:lnTo>
                  <a:lnTo>
                    <a:pt x="1456" y="82"/>
                  </a:lnTo>
                  <a:lnTo>
                    <a:pt x="1462" y="80"/>
                  </a:lnTo>
                  <a:lnTo>
                    <a:pt x="1468" y="82"/>
                  </a:lnTo>
                  <a:lnTo>
                    <a:pt x="1472" y="88"/>
                  </a:lnTo>
                  <a:lnTo>
                    <a:pt x="1472" y="94"/>
                  </a:lnTo>
                  <a:lnTo>
                    <a:pt x="1476" y="88"/>
                  </a:lnTo>
                  <a:lnTo>
                    <a:pt x="1478" y="86"/>
                  </a:lnTo>
                  <a:lnTo>
                    <a:pt x="1484" y="92"/>
                  </a:lnTo>
                  <a:lnTo>
                    <a:pt x="1490" y="94"/>
                  </a:lnTo>
                  <a:lnTo>
                    <a:pt x="1496" y="92"/>
                  </a:lnTo>
                  <a:lnTo>
                    <a:pt x="1502" y="88"/>
                  </a:lnTo>
                  <a:lnTo>
                    <a:pt x="1508" y="86"/>
                  </a:lnTo>
                  <a:lnTo>
                    <a:pt x="1510" y="92"/>
                  </a:lnTo>
                  <a:lnTo>
                    <a:pt x="1512" y="98"/>
                  </a:lnTo>
                  <a:lnTo>
                    <a:pt x="1518" y="100"/>
                  </a:lnTo>
                  <a:lnTo>
                    <a:pt x="1522" y="104"/>
                  </a:lnTo>
                  <a:lnTo>
                    <a:pt x="1528" y="106"/>
                  </a:lnTo>
                  <a:lnTo>
                    <a:pt x="1534" y="104"/>
                  </a:lnTo>
                  <a:lnTo>
                    <a:pt x="1540" y="106"/>
                  </a:lnTo>
                  <a:lnTo>
                    <a:pt x="1538" y="100"/>
                  </a:lnTo>
                  <a:lnTo>
                    <a:pt x="1544" y="96"/>
                  </a:lnTo>
                  <a:lnTo>
                    <a:pt x="1550" y="96"/>
                  </a:lnTo>
                  <a:lnTo>
                    <a:pt x="1556" y="96"/>
                  </a:lnTo>
                  <a:lnTo>
                    <a:pt x="1560" y="92"/>
                  </a:lnTo>
                  <a:lnTo>
                    <a:pt x="1558" y="86"/>
                  </a:lnTo>
                  <a:lnTo>
                    <a:pt x="1564" y="84"/>
                  </a:lnTo>
                  <a:lnTo>
                    <a:pt x="1570" y="82"/>
                  </a:lnTo>
                  <a:lnTo>
                    <a:pt x="1576" y="78"/>
                  </a:lnTo>
                  <a:lnTo>
                    <a:pt x="1576" y="72"/>
                  </a:lnTo>
                  <a:lnTo>
                    <a:pt x="1578" y="78"/>
                  </a:lnTo>
                  <a:lnTo>
                    <a:pt x="1572" y="84"/>
                  </a:lnTo>
                  <a:lnTo>
                    <a:pt x="1566" y="88"/>
                  </a:lnTo>
                  <a:lnTo>
                    <a:pt x="1572" y="88"/>
                  </a:lnTo>
                  <a:lnTo>
                    <a:pt x="1568" y="94"/>
                  </a:lnTo>
                  <a:lnTo>
                    <a:pt x="1562" y="98"/>
                  </a:lnTo>
                  <a:lnTo>
                    <a:pt x="1560" y="104"/>
                  </a:lnTo>
                  <a:lnTo>
                    <a:pt x="1564" y="110"/>
                  </a:lnTo>
                  <a:lnTo>
                    <a:pt x="1568" y="104"/>
                  </a:lnTo>
                  <a:lnTo>
                    <a:pt x="1574" y="100"/>
                  </a:lnTo>
                  <a:lnTo>
                    <a:pt x="1580" y="98"/>
                  </a:lnTo>
                  <a:lnTo>
                    <a:pt x="1576" y="104"/>
                  </a:lnTo>
                  <a:lnTo>
                    <a:pt x="1582" y="104"/>
                  </a:lnTo>
                  <a:lnTo>
                    <a:pt x="1582" y="110"/>
                  </a:lnTo>
                  <a:lnTo>
                    <a:pt x="1580" y="116"/>
                  </a:lnTo>
                  <a:lnTo>
                    <a:pt x="1586" y="120"/>
                  </a:lnTo>
                  <a:lnTo>
                    <a:pt x="1590" y="120"/>
                  </a:lnTo>
                  <a:lnTo>
                    <a:pt x="1596" y="116"/>
                  </a:lnTo>
                  <a:lnTo>
                    <a:pt x="1600" y="112"/>
                  </a:lnTo>
                  <a:lnTo>
                    <a:pt x="1602" y="106"/>
                  </a:lnTo>
                  <a:lnTo>
                    <a:pt x="1596" y="104"/>
                  </a:lnTo>
                  <a:lnTo>
                    <a:pt x="1594" y="98"/>
                  </a:lnTo>
                  <a:lnTo>
                    <a:pt x="1600" y="92"/>
                  </a:lnTo>
                  <a:lnTo>
                    <a:pt x="1608" y="88"/>
                  </a:lnTo>
                  <a:lnTo>
                    <a:pt x="1612" y="86"/>
                  </a:lnTo>
                  <a:lnTo>
                    <a:pt x="1618" y="80"/>
                  </a:lnTo>
                  <a:lnTo>
                    <a:pt x="1612" y="86"/>
                  </a:lnTo>
                  <a:lnTo>
                    <a:pt x="1616" y="92"/>
                  </a:lnTo>
                  <a:lnTo>
                    <a:pt x="1616" y="98"/>
                  </a:lnTo>
                  <a:lnTo>
                    <a:pt x="1620" y="104"/>
                  </a:lnTo>
                  <a:lnTo>
                    <a:pt x="1624" y="108"/>
                  </a:lnTo>
                  <a:lnTo>
                    <a:pt x="1624" y="102"/>
                  </a:lnTo>
                  <a:lnTo>
                    <a:pt x="1628" y="102"/>
                  </a:lnTo>
                  <a:lnTo>
                    <a:pt x="1636" y="106"/>
                  </a:lnTo>
                  <a:lnTo>
                    <a:pt x="1636" y="112"/>
                  </a:lnTo>
                  <a:lnTo>
                    <a:pt x="1632" y="118"/>
                  </a:lnTo>
                  <a:lnTo>
                    <a:pt x="1628" y="124"/>
                  </a:lnTo>
                  <a:lnTo>
                    <a:pt x="1622" y="130"/>
                  </a:lnTo>
                  <a:lnTo>
                    <a:pt x="1618" y="136"/>
                  </a:lnTo>
                  <a:lnTo>
                    <a:pt x="1614" y="142"/>
                  </a:lnTo>
                  <a:lnTo>
                    <a:pt x="1608" y="146"/>
                  </a:lnTo>
                  <a:lnTo>
                    <a:pt x="1604" y="146"/>
                  </a:lnTo>
                  <a:lnTo>
                    <a:pt x="1610" y="152"/>
                  </a:lnTo>
                  <a:lnTo>
                    <a:pt x="1614" y="158"/>
                  </a:lnTo>
                  <a:lnTo>
                    <a:pt x="1608" y="154"/>
                  </a:lnTo>
                  <a:lnTo>
                    <a:pt x="1606" y="160"/>
                  </a:lnTo>
                  <a:lnTo>
                    <a:pt x="1606" y="168"/>
                  </a:lnTo>
                  <a:lnTo>
                    <a:pt x="1600" y="172"/>
                  </a:lnTo>
                  <a:lnTo>
                    <a:pt x="1594" y="176"/>
                  </a:lnTo>
                  <a:lnTo>
                    <a:pt x="1594" y="170"/>
                  </a:lnTo>
                  <a:lnTo>
                    <a:pt x="1596" y="164"/>
                  </a:lnTo>
                  <a:lnTo>
                    <a:pt x="1590" y="168"/>
                  </a:lnTo>
                  <a:lnTo>
                    <a:pt x="1584" y="174"/>
                  </a:lnTo>
                  <a:lnTo>
                    <a:pt x="1582" y="168"/>
                  </a:lnTo>
                  <a:lnTo>
                    <a:pt x="1576" y="174"/>
                  </a:lnTo>
                  <a:lnTo>
                    <a:pt x="1574" y="180"/>
                  </a:lnTo>
                  <a:lnTo>
                    <a:pt x="1572" y="174"/>
                  </a:lnTo>
                  <a:lnTo>
                    <a:pt x="1566" y="178"/>
                  </a:lnTo>
                  <a:lnTo>
                    <a:pt x="1564" y="184"/>
                  </a:lnTo>
                  <a:lnTo>
                    <a:pt x="1568" y="188"/>
                  </a:lnTo>
                  <a:lnTo>
                    <a:pt x="1562" y="188"/>
                  </a:lnTo>
                  <a:lnTo>
                    <a:pt x="1560" y="194"/>
                  </a:lnTo>
                  <a:lnTo>
                    <a:pt x="1560" y="200"/>
                  </a:lnTo>
                  <a:lnTo>
                    <a:pt x="1560" y="206"/>
                  </a:lnTo>
                  <a:lnTo>
                    <a:pt x="1566" y="208"/>
                  </a:lnTo>
                  <a:lnTo>
                    <a:pt x="1572" y="202"/>
                  </a:lnTo>
                  <a:lnTo>
                    <a:pt x="1570" y="210"/>
                  </a:lnTo>
                  <a:lnTo>
                    <a:pt x="1568" y="214"/>
                  </a:lnTo>
                  <a:lnTo>
                    <a:pt x="1566" y="220"/>
                  </a:lnTo>
                  <a:lnTo>
                    <a:pt x="1560" y="226"/>
                  </a:lnTo>
                  <a:lnTo>
                    <a:pt x="1558" y="232"/>
                  </a:lnTo>
                  <a:lnTo>
                    <a:pt x="1556" y="240"/>
                  </a:lnTo>
                  <a:lnTo>
                    <a:pt x="1552" y="244"/>
                  </a:lnTo>
                  <a:lnTo>
                    <a:pt x="1546" y="248"/>
                  </a:lnTo>
                  <a:lnTo>
                    <a:pt x="1542" y="254"/>
                  </a:lnTo>
                  <a:lnTo>
                    <a:pt x="1536" y="260"/>
                  </a:lnTo>
                  <a:lnTo>
                    <a:pt x="1532" y="266"/>
                  </a:lnTo>
                  <a:lnTo>
                    <a:pt x="1530" y="272"/>
                  </a:lnTo>
                  <a:lnTo>
                    <a:pt x="1524" y="278"/>
                  </a:lnTo>
                  <a:lnTo>
                    <a:pt x="1520" y="278"/>
                  </a:lnTo>
                  <a:lnTo>
                    <a:pt x="1520" y="284"/>
                  </a:lnTo>
                  <a:lnTo>
                    <a:pt x="1522" y="290"/>
                  </a:lnTo>
                  <a:lnTo>
                    <a:pt x="1526" y="296"/>
                  </a:lnTo>
                  <a:lnTo>
                    <a:pt x="1532" y="300"/>
                  </a:lnTo>
                  <a:lnTo>
                    <a:pt x="1538" y="304"/>
                  </a:lnTo>
                  <a:lnTo>
                    <a:pt x="1544" y="308"/>
                  </a:lnTo>
                  <a:lnTo>
                    <a:pt x="1548" y="314"/>
                  </a:lnTo>
                  <a:lnTo>
                    <a:pt x="1554" y="318"/>
                  </a:lnTo>
                  <a:lnTo>
                    <a:pt x="1560" y="322"/>
                  </a:lnTo>
                  <a:lnTo>
                    <a:pt x="1566" y="328"/>
                  </a:lnTo>
                  <a:lnTo>
                    <a:pt x="1566" y="334"/>
                  </a:lnTo>
                  <a:lnTo>
                    <a:pt x="1572" y="340"/>
                  </a:lnTo>
                  <a:lnTo>
                    <a:pt x="1578" y="344"/>
                  </a:lnTo>
                  <a:lnTo>
                    <a:pt x="1584" y="344"/>
                  </a:lnTo>
                  <a:lnTo>
                    <a:pt x="1584" y="348"/>
                  </a:lnTo>
                  <a:lnTo>
                    <a:pt x="1588" y="354"/>
                  </a:lnTo>
                  <a:lnTo>
                    <a:pt x="1588" y="360"/>
                  </a:lnTo>
                  <a:lnTo>
                    <a:pt x="1594" y="360"/>
                  </a:lnTo>
                  <a:lnTo>
                    <a:pt x="1600" y="362"/>
                  </a:lnTo>
                  <a:lnTo>
                    <a:pt x="1606" y="356"/>
                  </a:lnTo>
                  <a:lnTo>
                    <a:pt x="1612" y="362"/>
                  </a:lnTo>
                  <a:lnTo>
                    <a:pt x="1618" y="364"/>
                  </a:lnTo>
                  <a:lnTo>
                    <a:pt x="1618" y="366"/>
                  </a:lnTo>
                  <a:lnTo>
                    <a:pt x="1624" y="372"/>
                  </a:lnTo>
                  <a:lnTo>
                    <a:pt x="1628" y="376"/>
                  </a:lnTo>
                  <a:lnTo>
                    <a:pt x="1636" y="378"/>
                  </a:lnTo>
                  <a:lnTo>
                    <a:pt x="1642" y="380"/>
                  </a:lnTo>
                  <a:lnTo>
                    <a:pt x="1648" y="384"/>
                  </a:lnTo>
                  <a:lnTo>
                    <a:pt x="1650" y="390"/>
                  </a:lnTo>
                  <a:lnTo>
                    <a:pt x="1652" y="396"/>
                  </a:lnTo>
                  <a:lnTo>
                    <a:pt x="1658" y="402"/>
                  </a:lnTo>
                  <a:lnTo>
                    <a:pt x="1660" y="404"/>
                  </a:lnTo>
                  <a:lnTo>
                    <a:pt x="1664" y="410"/>
                  </a:lnTo>
                  <a:lnTo>
                    <a:pt x="1670" y="414"/>
                  </a:lnTo>
                  <a:lnTo>
                    <a:pt x="1676" y="418"/>
                  </a:lnTo>
                  <a:lnTo>
                    <a:pt x="1682" y="420"/>
                  </a:lnTo>
                  <a:lnTo>
                    <a:pt x="1688" y="420"/>
                  </a:lnTo>
                  <a:lnTo>
                    <a:pt x="1694" y="420"/>
                  </a:lnTo>
                  <a:lnTo>
                    <a:pt x="1700" y="422"/>
                  </a:lnTo>
                  <a:lnTo>
                    <a:pt x="1706" y="426"/>
                  </a:lnTo>
                  <a:lnTo>
                    <a:pt x="1714" y="426"/>
                  </a:lnTo>
                  <a:lnTo>
                    <a:pt x="1718" y="432"/>
                  </a:lnTo>
                  <a:lnTo>
                    <a:pt x="1722" y="438"/>
                  </a:lnTo>
                  <a:lnTo>
                    <a:pt x="1722" y="446"/>
                  </a:lnTo>
                  <a:lnTo>
                    <a:pt x="1722" y="450"/>
                  </a:lnTo>
                  <a:lnTo>
                    <a:pt x="1726" y="456"/>
                  </a:lnTo>
                  <a:lnTo>
                    <a:pt x="1728" y="460"/>
                  </a:lnTo>
                  <a:lnTo>
                    <a:pt x="1734" y="460"/>
                  </a:lnTo>
                  <a:lnTo>
                    <a:pt x="1740" y="464"/>
                  </a:lnTo>
                  <a:lnTo>
                    <a:pt x="1746" y="470"/>
                  </a:lnTo>
                  <a:lnTo>
                    <a:pt x="1752" y="472"/>
                  </a:lnTo>
                  <a:lnTo>
                    <a:pt x="1754" y="474"/>
                  </a:lnTo>
                  <a:lnTo>
                    <a:pt x="1760" y="476"/>
                  </a:lnTo>
                  <a:lnTo>
                    <a:pt x="1764" y="482"/>
                  </a:lnTo>
                  <a:lnTo>
                    <a:pt x="1766" y="484"/>
                  </a:lnTo>
                  <a:lnTo>
                    <a:pt x="1772" y="484"/>
                  </a:lnTo>
                  <a:lnTo>
                    <a:pt x="1778" y="484"/>
                  </a:lnTo>
                  <a:lnTo>
                    <a:pt x="1784" y="482"/>
                  </a:lnTo>
                  <a:lnTo>
                    <a:pt x="1790" y="482"/>
                  </a:lnTo>
                  <a:lnTo>
                    <a:pt x="1796" y="478"/>
                  </a:lnTo>
                  <a:lnTo>
                    <a:pt x="1802" y="476"/>
                  </a:lnTo>
                  <a:lnTo>
                    <a:pt x="1808" y="472"/>
                  </a:lnTo>
                  <a:lnTo>
                    <a:pt x="1812" y="470"/>
                  </a:lnTo>
                  <a:lnTo>
                    <a:pt x="1820" y="466"/>
                  </a:lnTo>
                  <a:lnTo>
                    <a:pt x="1824" y="460"/>
                  </a:lnTo>
                  <a:lnTo>
                    <a:pt x="1826" y="454"/>
                  </a:lnTo>
                  <a:lnTo>
                    <a:pt x="1828" y="448"/>
                  </a:lnTo>
                  <a:lnTo>
                    <a:pt x="1830" y="442"/>
                  </a:lnTo>
                  <a:lnTo>
                    <a:pt x="1832" y="438"/>
                  </a:lnTo>
                  <a:lnTo>
                    <a:pt x="1836" y="432"/>
                  </a:lnTo>
                  <a:lnTo>
                    <a:pt x="1840" y="426"/>
                  </a:lnTo>
                  <a:lnTo>
                    <a:pt x="1846" y="420"/>
                  </a:lnTo>
                  <a:lnTo>
                    <a:pt x="1850" y="414"/>
                  </a:lnTo>
                  <a:lnTo>
                    <a:pt x="1852" y="412"/>
                  </a:lnTo>
                  <a:lnTo>
                    <a:pt x="1854" y="408"/>
                  </a:lnTo>
                  <a:lnTo>
                    <a:pt x="1858" y="400"/>
                  </a:lnTo>
                  <a:lnTo>
                    <a:pt x="1860" y="396"/>
                  </a:lnTo>
                  <a:lnTo>
                    <a:pt x="1862" y="390"/>
                  </a:lnTo>
                  <a:lnTo>
                    <a:pt x="1866" y="384"/>
                  </a:lnTo>
                  <a:lnTo>
                    <a:pt x="1868" y="378"/>
                  </a:lnTo>
                  <a:lnTo>
                    <a:pt x="1872" y="372"/>
                  </a:lnTo>
                  <a:lnTo>
                    <a:pt x="1872" y="370"/>
                  </a:lnTo>
                  <a:lnTo>
                    <a:pt x="1870" y="364"/>
                  </a:lnTo>
                  <a:lnTo>
                    <a:pt x="1872" y="358"/>
                  </a:lnTo>
                  <a:lnTo>
                    <a:pt x="1874" y="352"/>
                  </a:lnTo>
                  <a:lnTo>
                    <a:pt x="1876" y="346"/>
                  </a:lnTo>
                  <a:lnTo>
                    <a:pt x="1878" y="340"/>
                  </a:lnTo>
                  <a:lnTo>
                    <a:pt x="1880" y="334"/>
                  </a:lnTo>
                  <a:lnTo>
                    <a:pt x="1882" y="328"/>
                  </a:lnTo>
                  <a:lnTo>
                    <a:pt x="1886" y="322"/>
                  </a:lnTo>
                  <a:lnTo>
                    <a:pt x="1888" y="316"/>
                  </a:lnTo>
                  <a:lnTo>
                    <a:pt x="1892" y="310"/>
                  </a:lnTo>
                  <a:lnTo>
                    <a:pt x="1894" y="304"/>
                  </a:lnTo>
                  <a:lnTo>
                    <a:pt x="1898" y="298"/>
                  </a:lnTo>
                  <a:lnTo>
                    <a:pt x="1896" y="292"/>
                  </a:lnTo>
                  <a:lnTo>
                    <a:pt x="1896" y="286"/>
                  </a:lnTo>
                  <a:lnTo>
                    <a:pt x="1896" y="282"/>
                  </a:lnTo>
                  <a:lnTo>
                    <a:pt x="1896" y="276"/>
                  </a:lnTo>
                  <a:lnTo>
                    <a:pt x="1896" y="268"/>
                  </a:lnTo>
                  <a:lnTo>
                    <a:pt x="1896" y="264"/>
                  </a:lnTo>
                  <a:lnTo>
                    <a:pt x="1896" y="256"/>
                  </a:lnTo>
                  <a:lnTo>
                    <a:pt x="1898" y="252"/>
                  </a:lnTo>
                  <a:lnTo>
                    <a:pt x="1902" y="246"/>
                  </a:lnTo>
                  <a:lnTo>
                    <a:pt x="1902" y="240"/>
                  </a:lnTo>
                  <a:lnTo>
                    <a:pt x="1902" y="234"/>
                  </a:lnTo>
                  <a:lnTo>
                    <a:pt x="1900" y="228"/>
                  </a:lnTo>
                  <a:lnTo>
                    <a:pt x="1898" y="222"/>
                  </a:lnTo>
                  <a:lnTo>
                    <a:pt x="1898" y="216"/>
                  </a:lnTo>
                  <a:lnTo>
                    <a:pt x="1900" y="210"/>
                  </a:lnTo>
                  <a:lnTo>
                    <a:pt x="1902" y="204"/>
                  </a:lnTo>
                  <a:lnTo>
                    <a:pt x="1904" y="198"/>
                  </a:lnTo>
                  <a:lnTo>
                    <a:pt x="1908" y="192"/>
                  </a:lnTo>
                  <a:lnTo>
                    <a:pt x="1912" y="186"/>
                  </a:lnTo>
                  <a:lnTo>
                    <a:pt x="1914" y="182"/>
                  </a:lnTo>
                  <a:lnTo>
                    <a:pt x="1916" y="176"/>
                  </a:lnTo>
                  <a:lnTo>
                    <a:pt x="1914" y="170"/>
                  </a:lnTo>
                  <a:lnTo>
                    <a:pt x="1914" y="164"/>
                  </a:lnTo>
                  <a:lnTo>
                    <a:pt x="1914" y="158"/>
                  </a:lnTo>
                  <a:lnTo>
                    <a:pt x="1916" y="152"/>
                  </a:lnTo>
                  <a:lnTo>
                    <a:pt x="1922" y="148"/>
                  </a:lnTo>
                  <a:lnTo>
                    <a:pt x="1926" y="142"/>
                  </a:lnTo>
                  <a:lnTo>
                    <a:pt x="1928" y="136"/>
                  </a:lnTo>
                  <a:lnTo>
                    <a:pt x="1934" y="142"/>
                  </a:lnTo>
                  <a:lnTo>
                    <a:pt x="1934" y="148"/>
                  </a:lnTo>
                  <a:lnTo>
                    <a:pt x="1934" y="142"/>
                  </a:lnTo>
                  <a:lnTo>
                    <a:pt x="1940" y="138"/>
                  </a:lnTo>
                  <a:lnTo>
                    <a:pt x="1934" y="136"/>
                  </a:lnTo>
                  <a:lnTo>
                    <a:pt x="1934" y="130"/>
                  </a:lnTo>
                  <a:lnTo>
                    <a:pt x="1930" y="128"/>
                  </a:lnTo>
                  <a:lnTo>
                    <a:pt x="1926" y="122"/>
                  </a:lnTo>
                  <a:lnTo>
                    <a:pt x="1920" y="128"/>
                  </a:lnTo>
                  <a:lnTo>
                    <a:pt x="1918" y="124"/>
                  </a:lnTo>
                  <a:lnTo>
                    <a:pt x="1922" y="118"/>
                  </a:lnTo>
                  <a:lnTo>
                    <a:pt x="1926" y="112"/>
                  </a:lnTo>
                  <a:lnTo>
                    <a:pt x="1926" y="106"/>
                  </a:lnTo>
                  <a:lnTo>
                    <a:pt x="1934" y="104"/>
                  </a:lnTo>
                  <a:lnTo>
                    <a:pt x="1932" y="100"/>
                  </a:lnTo>
                  <a:lnTo>
                    <a:pt x="1934" y="94"/>
                  </a:lnTo>
                  <a:lnTo>
                    <a:pt x="1938" y="88"/>
                  </a:lnTo>
                  <a:lnTo>
                    <a:pt x="1942" y="94"/>
                  </a:lnTo>
                  <a:lnTo>
                    <a:pt x="1946" y="94"/>
                  </a:lnTo>
                  <a:lnTo>
                    <a:pt x="1946" y="88"/>
                  </a:lnTo>
                  <a:lnTo>
                    <a:pt x="1944" y="82"/>
                  </a:lnTo>
                  <a:lnTo>
                    <a:pt x="1946" y="76"/>
                  </a:lnTo>
                  <a:lnTo>
                    <a:pt x="1950" y="70"/>
                  </a:lnTo>
                  <a:lnTo>
                    <a:pt x="1952" y="64"/>
                  </a:lnTo>
                  <a:lnTo>
                    <a:pt x="1954" y="58"/>
                  </a:lnTo>
                  <a:lnTo>
                    <a:pt x="1956" y="52"/>
                  </a:lnTo>
                  <a:lnTo>
                    <a:pt x="1960" y="46"/>
                  </a:lnTo>
                  <a:lnTo>
                    <a:pt x="1960" y="40"/>
                  </a:lnTo>
                  <a:lnTo>
                    <a:pt x="1962" y="34"/>
                  </a:lnTo>
                  <a:lnTo>
                    <a:pt x="1964" y="28"/>
                  </a:lnTo>
                  <a:lnTo>
                    <a:pt x="1964" y="22"/>
                  </a:lnTo>
                  <a:lnTo>
                    <a:pt x="1964" y="16"/>
                  </a:lnTo>
                  <a:lnTo>
                    <a:pt x="1970" y="14"/>
                  </a:lnTo>
                  <a:lnTo>
                    <a:pt x="1976" y="12"/>
                  </a:lnTo>
                  <a:lnTo>
                    <a:pt x="1980" y="6"/>
                  </a:lnTo>
                  <a:lnTo>
                    <a:pt x="1982" y="2"/>
                  </a:lnTo>
                  <a:lnTo>
                    <a:pt x="1988" y="0"/>
                  </a:lnTo>
                  <a:lnTo>
                    <a:pt x="1994" y="2"/>
                  </a:lnTo>
                  <a:lnTo>
                    <a:pt x="1990" y="8"/>
                  </a:lnTo>
                  <a:lnTo>
                    <a:pt x="1986" y="14"/>
                  </a:lnTo>
                  <a:lnTo>
                    <a:pt x="1992" y="10"/>
                  </a:lnTo>
                  <a:lnTo>
                    <a:pt x="1996" y="16"/>
                  </a:lnTo>
                  <a:lnTo>
                    <a:pt x="2002" y="22"/>
                  </a:lnTo>
                  <a:lnTo>
                    <a:pt x="2002" y="28"/>
                  </a:lnTo>
                  <a:lnTo>
                    <a:pt x="2002" y="34"/>
                  </a:lnTo>
                  <a:lnTo>
                    <a:pt x="2002" y="40"/>
                  </a:lnTo>
                  <a:lnTo>
                    <a:pt x="2004" y="46"/>
                  </a:lnTo>
                  <a:lnTo>
                    <a:pt x="2002" y="52"/>
                  </a:lnTo>
                  <a:lnTo>
                    <a:pt x="2002" y="58"/>
                  </a:lnTo>
                  <a:lnTo>
                    <a:pt x="2002" y="64"/>
                  </a:lnTo>
                  <a:lnTo>
                    <a:pt x="2002" y="70"/>
                  </a:lnTo>
                  <a:lnTo>
                    <a:pt x="2000" y="76"/>
                  </a:lnTo>
                  <a:lnTo>
                    <a:pt x="2006" y="82"/>
                  </a:lnTo>
                  <a:lnTo>
                    <a:pt x="2012" y="84"/>
                  </a:lnTo>
                  <a:lnTo>
                    <a:pt x="2018" y="84"/>
                  </a:lnTo>
                  <a:lnTo>
                    <a:pt x="2022" y="86"/>
                  </a:lnTo>
                  <a:lnTo>
                    <a:pt x="2018" y="92"/>
                  </a:lnTo>
                  <a:lnTo>
                    <a:pt x="2014" y="98"/>
                  </a:lnTo>
                  <a:lnTo>
                    <a:pt x="2010" y="104"/>
                  </a:lnTo>
                  <a:lnTo>
                    <a:pt x="2010" y="110"/>
                  </a:lnTo>
                  <a:lnTo>
                    <a:pt x="2016" y="112"/>
                  </a:lnTo>
                  <a:lnTo>
                    <a:pt x="2020" y="118"/>
                  </a:lnTo>
                  <a:lnTo>
                    <a:pt x="2020" y="124"/>
                  </a:lnTo>
                  <a:lnTo>
                    <a:pt x="2026" y="128"/>
                  </a:lnTo>
                  <a:lnTo>
                    <a:pt x="2026" y="134"/>
                  </a:lnTo>
                  <a:lnTo>
                    <a:pt x="2024" y="140"/>
                  </a:lnTo>
                  <a:lnTo>
                    <a:pt x="2022" y="146"/>
                  </a:lnTo>
                  <a:lnTo>
                    <a:pt x="2028" y="148"/>
                  </a:lnTo>
                  <a:lnTo>
                    <a:pt x="2030" y="154"/>
                  </a:lnTo>
                  <a:lnTo>
                    <a:pt x="2028" y="160"/>
                  </a:lnTo>
                  <a:lnTo>
                    <a:pt x="2028" y="166"/>
                  </a:lnTo>
                  <a:lnTo>
                    <a:pt x="2028" y="172"/>
                  </a:lnTo>
                  <a:lnTo>
                    <a:pt x="2028" y="178"/>
                  </a:lnTo>
                  <a:lnTo>
                    <a:pt x="2030" y="184"/>
                  </a:lnTo>
                  <a:lnTo>
                    <a:pt x="2030" y="190"/>
                  </a:lnTo>
                  <a:lnTo>
                    <a:pt x="2030" y="196"/>
                  </a:lnTo>
                  <a:lnTo>
                    <a:pt x="2026" y="202"/>
                  </a:lnTo>
                  <a:lnTo>
                    <a:pt x="2024" y="208"/>
                  </a:lnTo>
                  <a:lnTo>
                    <a:pt x="2024" y="214"/>
                  </a:lnTo>
                  <a:lnTo>
                    <a:pt x="2026" y="220"/>
                  </a:lnTo>
                  <a:lnTo>
                    <a:pt x="2026" y="222"/>
                  </a:lnTo>
                  <a:lnTo>
                    <a:pt x="2030" y="228"/>
                  </a:lnTo>
                  <a:lnTo>
                    <a:pt x="2030" y="234"/>
                  </a:lnTo>
                  <a:lnTo>
                    <a:pt x="2030" y="240"/>
                  </a:lnTo>
                  <a:lnTo>
                    <a:pt x="2030" y="246"/>
                  </a:lnTo>
                  <a:lnTo>
                    <a:pt x="2032" y="252"/>
                  </a:lnTo>
                  <a:lnTo>
                    <a:pt x="2034" y="258"/>
                  </a:lnTo>
                  <a:lnTo>
                    <a:pt x="2040" y="260"/>
                  </a:lnTo>
                  <a:lnTo>
                    <a:pt x="2046" y="260"/>
                  </a:lnTo>
                  <a:lnTo>
                    <a:pt x="2052" y="256"/>
                  </a:lnTo>
                  <a:lnTo>
                    <a:pt x="2058" y="250"/>
                  </a:lnTo>
                  <a:lnTo>
                    <a:pt x="2060" y="244"/>
                  </a:lnTo>
                  <a:lnTo>
                    <a:pt x="2064" y="248"/>
                  </a:lnTo>
                  <a:lnTo>
                    <a:pt x="2072" y="246"/>
                  </a:lnTo>
                  <a:lnTo>
                    <a:pt x="2076" y="240"/>
                  </a:lnTo>
                  <a:lnTo>
                    <a:pt x="2082" y="244"/>
                  </a:lnTo>
                  <a:lnTo>
                    <a:pt x="2082" y="250"/>
                  </a:lnTo>
                  <a:lnTo>
                    <a:pt x="2082" y="256"/>
                  </a:lnTo>
                  <a:lnTo>
                    <a:pt x="2084" y="262"/>
                  </a:lnTo>
                  <a:lnTo>
                    <a:pt x="2090" y="264"/>
                  </a:lnTo>
                  <a:lnTo>
                    <a:pt x="2096" y="270"/>
                  </a:lnTo>
                  <a:lnTo>
                    <a:pt x="2100" y="276"/>
                  </a:lnTo>
                  <a:lnTo>
                    <a:pt x="2104" y="282"/>
                  </a:lnTo>
                  <a:lnTo>
                    <a:pt x="2110" y="284"/>
                  </a:lnTo>
                  <a:lnTo>
                    <a:pt x="2116" y="284"/>
                  </a:lnTo>
                  <a:lnTo>
                    <a:pt x="2116" y="290"/>
                  </a:lnTo>
                  <a:lnTo>
                    <a:pt x="2122" y="292"/>
                  </a:lnTo>
                  <a:lnTo>
                    <a:pt x="2118" y="298"/>
                  </a:lnTo>
                  <a:lnTo>
                    <a:pt x="2114" y="304"/>
                  </a:lnTo>
                  <a:lnTo>
                    <a:pt x="2112" y="310"/>
                  </a:lnTo>
                  <a:lnTo>
                    <a:pt x="2118" y="314"/>
                  </a:lnTo>
                  <a:lnTo>
                    <a:pt x="2114" y="320"/>
                  </a:lnTo>
                  <a:lnTo>
                    <a:pt x="2110" y="326"/>
                  </a:lnTo>
                  <a:lnTo>
                    <a:pt x="2110" y="332"/>
                  </a:lnTo>
                  <a:lnTo>
                    <a:pt x="2112" y="338"/>
                  </a:lnTo>
                  <a:lnTo>
                    <a:pt x="2112" y="344"/>
                  </a:lnTo>
                  <a:lnTo>
                    <a:pt x="2114" y="350"/>
                  </a:lnTo>
                  <a:lnTo>
                    <a:pt x="2112" y="356"/>
                  </a:lnTo>
                  <a:lnTo>
                    <a:pt x="2114" y="362"/>
                  </a:lnTo>
                  <a:lnTo>
                    <a:pt x="2116" y="368"/>
                  </a:lnTo>
                  <a:lnTo>
                    <a:pt x="2116" y="374"/>
                  </a:lnTo>
                  <a:lnTo>
                    <a:pt x="2112" y="380"/>
                  </a:lnTo>
                  <a:lnTo>
                    <a:pt x="2112" y="386"/>
                  </a:lnTo>
                  <a:lnTo>
                    <a:pt x="2110" y="392"/>
                  </a:lnTo>
                  <a:lnTo>
                    <a:pt x="2108" y="396"/>
                  </a:lnTo>
                  <a:lnTo>
                    <a:pt x="2112" y="402"/>
                  </a:lnTo>
                  <a:lnTo>
                    <a:pt x="2114" y="408"/>
                  </a:lnTo>
                  <a:lnTo>
                    <a:pt x="2118" y="414"/>
                  </a:lnTo>
                  <a:lnTo>
                    <a:pt x="2122" y="420"/>
                  </a:lnTo>
                  <a:lnTo>
                    <a:pt x="2124" y="426"/>
                  </a:lnTo>
                  <a:lnTo>
                    <a:pt x="2124" y="430"/>
                  </a:lnTo>
                  <a:lnTo>
                    <a:pt x="2130" y="426"/>
                  </a:lnTo>
                  <a:lnTo>
                    <a:pt x="2136" y="426"/>
                  </a:lnTo>
                  <a:lnTo>
                    <a:pt x="2132" y="432"/>
                  </a:lnTo>
                  <a:lnTo>
                    <a:pt x="2128" y="438"/>
                  </a:lnTo>
                  <a:lnTo>
                    <a:pt x="2132" y="444"/>
                  </a:lnTo>
                  <a:lnTo>
                    <a:pt x="2132" y="450"/>
                  </a:lnTo>
                  <a:lnTo>
                    <a:pt x="2134" y="456"/>
                  </a:lnTo>
                  <a:lnTo>
                    <a:pt x="2136" y="460"/>
                  </a:lnTo>
                  <a:lnTo>
                    <a:pt x="2136" y="468"/>
                  </a:lnTo>
                  <a:lnTo>
                    <a:pt x="2136" y="472"/>
                  </a:lnTo>
                  <a:lnTo>
                    <a:pt x="2138" y="478"/>
                  </a:lnTo>
                  <a:lnTo>
                    <a:pt x="2134" y="484"/>
                  </a:lnTo>
                  <a:lnTo>
                    <a:pt x="2132" y="490"/>
                  </a:lnTo>
                  <a:lnTo>
                    <a:pt x="2132" y="496"/>
                  </a:lnTo>
                  <a:lnTo>
                    <a:pt x="2130" y="502"/>
                  </a:lnTo>
                  <a:lnTo>
                    <a:pt x="2124" y="508"/>
                  </a:lnTo>
                  <a:lnTo>
                    <a:pt x="2122" y="514"/>
                  </a:lnTo>
                  <a:lnTo>
                    <a:pt x="2122" y="520"/>
                  </a:lnTo>
                  <a:lnTo>
                    <a:pt x="2124" y="526"/>
                  </a:lnTo>
                  <a:lnTo>
                    <a:pt x="2130" y="532"/>
                  </a:lnTo>
                  <a:lnTo>
                    <a:pt x="2130" y="538"/>
                  </a:lnTo>
                  <a:lnTo>
                    <a:pt x="2136" y="540"/>
                  </a:lnTo>
                  <a:lnTo>
                    <a:pt x="2136" y="546"/>
                  </a:lnTo>
                  <a:lnTo>
                    <a:pt x="2132" y="552"/>
                  </a:lnTo>
                  <a:lnTo>
                    <a:pt x="2130" y="558"/>
                  </a:lnTo>
                  <a:lnTo>
                    <a:pt x="2128" y="564"/>
                  </a:lnTo>
                  <a:lnTo>
                    <a:pt x="2132" y="570"/>
                  </a:lnTo>
                  <a:lnTo>
                    <a:pt x="2136" y="576"/>
                  </a:lnTo>
                  <a:lnTo>
                    <a:pt x="2142" y="582"/>
                  </a:lnTo>
                  <a:lnTo>
                    <a:pt x="2148" y="586"/>
                  </a:lnTo>
                  <a:lnTo>
                    <a:pt x="2154" y="586"/>
                  </a:lnTo>
                  <a:lnTo>
                    <a:pt x="2158" y="592"/>
                  </a:lnTo>
                  <a:lnTo>
                    <a:pt x="2162" y="594"/>
                  </a:lnTo>
                  <a:lnTo>
                    <a:pt x="2168" y="588"/>
                  </a:lnTo>
                  <a:lnTo>
                    <a:pt x="2170" y="594"/>
                  </a:lnTo>
                  <a:lnTo>
                    <a:pt x="2172" y="600"/>
                  </a:lnTo>
                  <a:lnTo>
                    <a:pt x="2178" y="602"/>
                  </a:lnTo>
                  <a:lnTo>
                    <a:pt x="2184" y="602"/>
                  </a:lnTo>
                  <a:lnTo>
                    <a:pt x="2190" y="602"/>
                  </a:lnTo>
                  <a:lnTo>
                    <a:pt x="2190" y="596"/>
                  </a:lnTo>
                  <a:lnTo>
                    <a:pt x="2192" y="602"/>
                  </a:lnTo>
                  <a:lnTo>
                    <a:pt x="2196" y="608"/>
                  </a:lnTo>
                  <a:lnTo>
                    <a:pt x="2196" y="614"/>
                  </a:lnTo>
                  <a:lnTo>
                    <a:pt x="2196" y="620"/>
                  </a:lnTo>
                  <a:lnTo>
                    <a:pt x="2196" y="626"/>
                  </a:lnTo>
                  <a:lnTo>
                    <a:pt x="2202" y="630"/>
                  </a:lnTo>
                  <a:lnTo>
                    <a:pt x="2204" y="624"/>
                  </a:lnTo>
                  <a:lnTo>
                    <a:pt x="2210" y="624"/>
                  </a:lnTo>
                  <a:lnTo>
                    <a:pt x="2210" y="630"/>
                  </a:lnTo>
                  <a:lnTo>
                    <a:pt x="2212" y="636"/>
                  </a:lnTo>
                  <a:lnTo>
                    <a:pt x="2218" y="636"/>
                  </a:lnTo>
                  <a:lnTo>
                    <a:pt x="2224" y="638"/>
                  </a:lnTo>
                  <a:lnTo>
                    <a:pt x="2230" y="638"/>
                  </a:lnTo>
                  <a:lnTo>
                    <a:pt x="2232" y="642"/>
                  </a:lnTo>
                  <a:lnTo>
                    <a:pt x="2230" y="648"/>
                  </a:lnTo>
                  <a:lnTo>
                    <a:pt x="2236" y="654"/>
                  </a:lnTo>
                  <a:lnTo>
                    <a:pt x="2242" y="652"/>
                  </a:lnTo>
                  <a:lnTo>
                    <a:pt x="2242" y="646"/>
                  </a:lnTo>
                  <a:lnTo>
                    <a:pt x="2248" y="646"/>
                  </a:lnTo>
                  <a:lnTo>
                    <a:pt x="2248" y="652"/>
                  </a:lnTo>
                  <a:lnTo>
                    <a:pt x="2252" y="658"/>
                  </a:lnTo>
                  <a:lnTo>
                    <a:pt x="2258" y="658"/>
                  </a:lnTo>
                  <a:lnTo>
                    <a:pt x="2260" y="664"/>
                  </a:lnTo>
                  <a:lnTo>
                    <a:pt x="2260" y="670"/>
                  </a:lnTo>
                  <a:lnTo>
                    <a:pt x="2262" y="674"/>
                  </a:lnTo>
                  <a:lnTo>
                    <a:pt x="2264" y="680"/>
                  </a:lnTo>
                  <a:lnTo>
                    <a:pt x="2260" y="674"/>
                  </a:lnTo>
                  <a:lnTo>
                    <a:pt x="2254" y="674"/>
                  </a:lnTo>
                  <a:lnTo>
                    <a:pt x="2250" y="680"/>
                  </a:lnTo>
                  <a:lnTo>
                    <a:pt x="2250" y="686"/>
                  </a:lnTo>
                  <a:lnTo>
                    <a:pt x="2250" y="692"/>
                  </a:lnTo>
                  <a:lnTo>
                    <a:pt x="2254" y="698"/>
                  </a:lnTo>
                  <a:lnTo>
                    <a:pt x="2252" y="704"/>
                  </a:lnTo>
                  <a:lnTo>
                    <a:pt x="2258" y="704"/>
                  </a:lnTo>
                  <a:lnTo>
                    <a:pt x="2264" y="704"/>
                  </a:lnTo>
                  <a:lnTo>
                    <a:pt x="2268" y="710"/>
                  </a:lnTo>
                  <a:lnTo>
                    <a:pt x="2272" y="716"/>
                  </a:lnTo>
                  <a:lnTo>
                    <a:pt x="2270" y="722"/>
                  </a:lnTo>
                  <a:lnTo>
                    <a:pt x="2270" y="728"/>
                  </a:lnTo>
                  <a:lnTo>
                    <a:pt x="2274" y="730"/>
                  </a:lnTo>
                  <a:lnTo>
                    <a:pt x="2274" y="736"/>
                  </a:lnTo>
                  <a:lnTo>
                    <a:pt x="2274" y="742"/>
                  </a:lnTo>
                  <a:lnTo>
                    <a:pt x="2276" y="748"/>
                  </a:lnTo>
                  <a:lnTo>
                    <a:pt x="2282" y="748"/>
                  </a:lnTo>
                  <a:lnTo>
                    <a:pt x="2278" y="754"/>
                  </a:lnTo>
                  <a:lnTo>
                    <a:pt x="2278" y="760"/>
                  </a:lnTo>
                  <a:lnTo>
                    <a:pt x="2276" y="766"/>
                  </a:lnTo>
                  <a:lnTo>
                    <a:pt x="2276" y="772"/>
                  </a:lnTo>
                  <a:lnTo>
                    <a:pt x="2276" y="778"/>
                  </a:lnTo>
                  <a:lnTo>
                    <a:pt x="2276" y="784"/>
                  </a:lnTo>
                  <a:lnTo>
                    <a:pt x="2278" y="790"/>
                  </a:lnTo>
                  <a:lnTo>
                    <a:pt x="2278" y="796"/>
                  </a:lnTo>
                  <a:lnTo>
                    <a:pt x="2280" y="802"/>
                  </a:lnTo>
                  <a:lnTo>
                    <a:pt x="2282" y="808"/>
                  </a:lnTo>
                  <a:lnTo>
                    <a:pt x="2278" y="814"/>
                  </a:lnTo>
                  <a:lnTo>
                    <a:pt x="2284" y="812"/>
                  </a:lnTo>
                  <a:lnTo>
                    <a:pt x="2290" y="810"/>
                  </a:lnTo>
                  <a:lnTo>
                    <a:pt x="2294" y="816"/>
                  </a:lnTo>
                  <a:lnTo>
                    <a:pt x="2296" y="820"/>
                  </a:lnTo>
                  <a:lnTo>
                    <a:pt x="2296" y="822"/>
                  </a:lnTo>
                  <a:lnTo>
                    <a:pt x="2298" y="816"/>
                  </a:lnTo>
                  <a:lnTo>
                    <a:pt x="2296" y="810"/>
                  </a:lnTo>
                  <a:lnTo>
                    <a:pt x="2298" y="804"/>
                  </a:lnTo>
                  <a:lnTo>
                    <a:pt x="2298" y="798"/>
                  </a:lnTo>
                  <a:lnTo>
                    <a:pt x="2304" y="792"/>
                  </a:lnTo>
                  <a:lnTo>
                    <a:pt x="2310" y="798"/>
                  </a:lnTo>
                  <a:lnTo>
                    <a:pt x="2312" y="804"/>
                  </a:lnTo>
                  <a:lnTo>
                    <a:pt x="2318" y="810"/>
                  </a:lnTo>
                  <a:lnTo>
                    <a:pt x="2324" y="816"/>
                  </a:lnTo>
                  <a:lnTo>
                    <a:pt x="2328" y="820"/>
                  </a:lnTo>
                  <a:lnTo>
                    <a:pt x="2332" y="814"/>
                  </a:lnTo>
                  <a:lnTo>
                    <a:pt x="2332" y="806"/>
                  </a:lnTo>
                  <a:lnTo>
                    <a:pt x="2338" y="804"/>
                  </a:lnTo>
                  <a:lnTo>
                    <a:pt x="2340" y="810"/>
                  </a:lnTo>
                  <a:lnTo>
                    <a:pt x="2342" y="816"/>
                  </a:lnTo>
                  <a:lnTo>
                    <a:pt x="2340" y="820"/>
                  </a:lnTo>
                  <a:lnTo>
                    <a:pt x="2342" y="826"/>
                  </a:lnTo>
                  <a:lnTo>
                    <a:pt x="2344" y="832"/>
                  </a:lnTo>
                  <a:lnTo>
                    <a:pt x="2340" y="838"/>
                  </a:lnTo>
                  <a:lnTo>
                    <a:pt x="2338" y="844"/>
                  </a:lnTo>
                  <a:lnTo>
                    <a:pt x="2336" y="850"/>
                  </a:lnTo>
                  <a:lnTo>
                    <a:pt x="2334" y="856"/>
                  </a:lnTo>
                  <a:lnTo>
                    <a:pt x="2334" y="862"/>
                  </a:lnTo>
                  <a:lnTo>
                    <a:pt x="2336" y="868"/>
                  </a:lnTo>
                  <a:lnTo>
                    <a:pt x="2332" y="874"/>
                  </a:lnTo>
                  <a:lnTo>
                    <a:pt x="2332" y="880"/>
                  </a:lnTo>
                  <a:lnTo>
                    <a:pt x="2330" y="886"/>
                  </a:lnTo>
                  <a:lnTo>
                    <a:pt x="2336" y="888"/>
                  </a:lnTo>
                  <a:lnTo>
                    <a:pt x="2342" y="888"/>
                  </a:lnTo>
                  <a:lnTo>
                    <a:pt x="2344" y="892"/>
                  </a:lnTo>
                  <a:lnTo>
                    <a:pt x="2344" y="886"/>
                  </a:lnTo>
                  <a:lnTo>
                    <a:pt x="2346" y="880"/>
                  </a:lnTo>
                  <a:lnTo>
                    <a:pt x="2352" y="884"/>
                  </a:lnTo>
                  <a:lnTo>
                    <a:pt x="2354" y="892"/>
                  </a:lnTo>
                  <a:lnTo>
                    <a:pt x="2356" y="896"/>
                  </a:lnTo>
                  <a:lnTo>
                    <a:pt x="2354" y="904"/>
                  </a:lnTo>
                  <a:lnTo>
                    <a:pt x="2350" y="904"/>
                  </a:lnTo>
                  <a:lnTo>
                    <a:pt x="2348" y="898"/>
                  </a:lnTo>
                  <a:lnTo>
                    <a:pt x="2346" y="894"/>
                  </a:lnTo>
                  <a:lnTo>
                    <a:pt x="2346" y="900"/>
                  </a:lnTo>
                  <a:lnTo>
                    <a:pt x="2348" y="906"/>
                  </a:lnTo>
                  <a:lnTo>
                    <a:pt x="2356" y="910"/>
                  </a:lnTo>
                  <a:lnTo>
                    <a:pt x="2358" y="916"/>
                  </a:lnTo>
                  <a:lnTo>
                    <a:pt x="2360" y="920"/>
                  </a:lnTo>
                  <a:lnTo>
                    <a:pt x="2362" y="918"/>
                  </a:lnTo>
                  <a:lnTo>
                    <a:pt x="2368" y="922"/>
                  </a:lnTo>
                  <a:lnTo>
                    <a:pt x="2374" y="924"/>
                  </a:lnTo>
                  <a:lnTo>
                    <a:pt x="2374" y="918"/>
                  </a:lnTo>
                  <a:lnTo>
                    <a:pt x="2378" y="924"/>
                  </a:lnTo>
                  <a:lnTo>
                    <a:pt x="2384" y="930"/>
                  </a:lnTo>
                  <a:lnTo>
                    <a:pt x="2386" y="934"/>
                  </a:lnTo>
                  <a:lnTo>
                    <a:pt x="2386" y="940"/>
                  </a:lnTo>
                  <a:lnTo>
                    <a:pt x="2386" y="946"/>
                  </a:lnTo>
                  <a:lnTo>
                    <a:pt x="2388" y="952"/>
                  </a:lnTo>
                  <a:lnTo>
                    <a:pt x="2390" y="958"/>
                  </a:lnTo>
                  <a:lnTo>
                    <a:pt x="2392" y="964"/>
                  </a:lnTo>
                  <a:lnTo>
                    <a:pt x="2398" y="968"/>
                  </a:lnTo>
                  <a:lnTo>
                    <a:pt x="2404" y="972"/>
                  </a:lnTo>
                  <a:lnTo>
                    <a:pt x="2406" y="972"/>
                  </a:lnTo>
                  <a:lnTo>
                    <a:pt x="2408" y="978"/>
                  </a:lnTo>
                  <a:lnTo>
                    <a:pt x="2406" y="984"/>
                  </a:lnTo>
                  <a:lnTo>
                    <a:pt x="2406" y="990"/>
                  </a:lnTo>
                  <a:lnTo>
                    <a:pt x="2408" y="996"/>
                  </a:lnTo>
                  <a:lnTo>
                    <a:pt x="2408" y="1002"/>
                  </a:lnTo>
                  <a:lnTo>
                    <a:pt x="2414" y="1006"/>
                  </a:lnTo>
                  <a:lnTo>
                    <a:pt x="2420" y="1006"/>
                  </a:lnTo>
                  <a:lnTo>
                    <a:pt x="2424" y="1012"/>
                  </a:lnTo>
                  <a:lnTo>
                    <a:pt x="2424" y="1018"/>
                  </a:lnTo>
                  <a:lnTo>
                    <a:pt x="2424" y="1024"/>
                  </a:lnTo>
                  <a:lnTo>
                    <a:pt x="2418" y="1030"/>
                  </a:lnTo>
                  <a:lnTo>
                    <a:pt x="2416" y="1036"/>
                  </a:lnTo>
                  <a:lnTo>
                    <a:pt x="2418" y="1042"/>
                  </a:lnTo>
                  <a:lnTo>
                    <a:pt x="2420" y="1044"/>
                  </a:lnTo>
                  <a:lnTo>
                    <a:pt x="2420" y="1048"/>
                  </a:lnTo>
                  <a:lnTo>
                    <a:pt x="2418" y="1054"/>
                  </a:lnTo>
                  <a:lnTo>
                    <a:pt x="2424" y="1048"/>
                  </a:lnTo>
                  <a:lnTo>
                    <a:pt x="2428" y="1054"/>
                  </a:lnTo>
                  <a:lnTo>
                    <a:pt x="2424" y="1060"/>
                  </a:lnTo>
                  <a:lnTo>
                    <a:pt x="2420" y="1066"/>
                  </a:lnTo>
                  <a:lnTo>
                    <a:pt x="2416" y="1072"/>
                  </a:lnTo>
                  <a:lnTo>
                    <a:pt x="2414" y="1078"/>
                  </a:lnTo>
                  <a:lnTo>
                    <a:pt x="2416" y="1084"/>
                  </a:lnTo>
                  <a:lnTo>
                    <a:pt x="2412" y="1090"/>
                  </a:lnTo>
                  <a:lnTo>
                    <a:pt x="2410" y="1096"/>
                  </a:lnTo>
                  <a:lnTo>
                    <a:pt x="2408" y="1102"/>
                  </a:lnTo>
                  <a:lnTo>
                    <a:pt x="2408" y="1108"/>
                  </a:lnTo>
                  <a:lnTo>
                    <a:pt x="2406" y="1114"/>
                  </a:lnTo>
                  <a:lnTo>
                    <a:pt x="2404" y="1120"/>
                  </a:lnTo>
                  <a:lnTo>
                    <a:pt x="2404" y="1126"/>
                  </a:lnTo>
                  <a:lnTo>
                    <a:pt x="2404" y="1132"/>
                  </a:lnTo>
                  <a:lnTo>
                    <a:pt x="2400" y="1132"/>
                  </a:lnTo>
                  <a:lnTo>
                    <a:pt x="2392" y="1138"/>
                  </a:lnTo>
                  <a:lnTo>
                    <a:pt x="2396" y="1144"/>
                  </a:lnTo>
                  <a:lnTo>
                    <a:pt x="2392" y="1150"/>
                  </a:lnTo>
                  <a:lnTo>
                    <a:pt x="2396" y="1156"/>
                  </a:lnTo>
                  <a:lnTo>
                    <a:pt x="2400" y="1162"/>
                  </a:lnTo>
                  <a:lnTo>
                    <a:pt x="2400" y="1168"/>
                  </a:lnTo>
                  <a:lnTo>
                    <a:pt x="2398" y="1174"/>
                  </a:lnTo>
                  <a:lnTo>
                    <a:pt x="2400" y="1180"/>
                  </a:lnTo>
                  <a:lnTo>
                    <a:pt x="2402" y="1186"/>
                  </a:lnTo>
                  <a:lnTo>
                    <a:pt x="2400" y="1192"/>
                  </a:lnTo>
                  <a:lnTo>
                    <a:pt x="2398" y="1198"/>
                  </a:lnTo>
                  <a:lnTo>
                    <a:pt x="2396" y="1204"/>
                  </a:lnTo>
                  <a:lnTo>
                    <a:pt x="2398" y="1206"/>
                  </a:lnTo>
                  <a:lnTo>
                    <a:pt x="2400" y="1212"/>
                  </a:lnTo>
                  <a:lnTo>
                    <a:pt x="2400" y="1218"/>
                  </a:lnTo>
                  <a:lnTo>
                    <a:pt x="2396" y="1222"/>
                  </a:lnTo>
                  <a:lnTo>
                    <a:pt x="2394" y="1230"/>
                  </a:lnTo>
                  <a:lnTo>
                    <a:pt x="2392" y="1234"/>
                  </a:lnTo>
                  <a:lnTo>
                    <a:pt x="2392" y="1242"/>
                  </a:lnTo>
                  <a:lnTo>
                    <a:pt x="2390" y="1248"/>
                  </a:lnTo>
                  <a:lnTo>
                    <a:pt x="2388" y="1254"/>
                  </a:lnTo>
                  <a:lnTo>
                    <a:pt x="2382" y="1260"/>
                  </a:lnTo>
                  <a:lnTo>
                    <a:pt x="2376" y="1264"/>
                  </a:lnTo>
                  <a:lnTo>
                    <a:pt x="2372" y="1270"/>
                  </a:lnTo>
                  <a:lnTo>
                    <a:pt x="2370" y="1276"/>
                  </a:lnTo>
                  <a:lnTo>
                    <a:pt x="2364" y="1280"/>
                  </a:lnTo>
                  <a:lnTo>
                    <a:pt x="2360" y="1288"/>
                  </a:lnTo>
                  <a:lnTo>
                    <a:pt x="2358" y="1294"/>
                  </a:lnTo>
                  <a:lnTo>
                    <a:pt x="2356" y="1298"/>
                  </a:lnTo>
                  <a:lnTo>
                    <a:pt x="2352" y="1306"/>
                  </a:lnTo>
                  <a:lnTo>
                    <a:pt x="2350" y="1310"/>
                  </a:lnTo>
                  <a:lnTo>
                    <a:pt x="2346" y="1316"/>
                  </a:lnTo>
                  <a:lnTo>
                    <a:pt x="2344" y="1324"/>
                  </a:lnTo>
                  <a:lnTo>
                    <a:pt x="2340" y="1328"/>
                  </a:lnTo>
                  <a:lnTo>
                    <a:pt x="2336" y="1334"/>
                  </a:lnTo>
                  <a:lnTo>
                    <a:pt x="2332" y="1336"/>
                  </a:lnTo>
                  <a:lnTo>
                    <a:pt x="2332" y="1342"/>
                  </a:lnTo>
                  <a:lnTo>
                    <a:pt x="2328" y="1348"/>
                  </a:lnTo>
                  <a:lnTo>
                    <a:pt x="2324" y="1354"/>
                  </a:lnTo>
                  <a:lnTo>
                    <a:pt x="2318" y="1360"/>
                  </a:lnTo>
                  <a:lnTo>
                    <a:pt x="2314" y="1366"/>
                  </a:lnTo>
                  <a:lnTo>
                    <a:pt x="2310" y="1372"/>
                  </a:lnTo>
                  <a:lnTo>
                    <a:pt x="2306" y="1378"/>
                  </a:lnTo>
                  <a:lnTo>
                    <a:pt x="2304" y="1384"/>
                  </a:lnTo>
                  <a:lnTo>
                    <a:pt x="2300" y="1390"/>
                  </a:lnTo>
                  <a:lnTo>
                    <a:pt x="2302" y="1396"/>
                  </a:lnTo>
                  <a:lnTo>
                    <a:pt x="2300" y="1402"/>
                  </a:lnTo>
                  <a:lnTo>
                    <a:pt x="2298" y="1408"/>
                  </a:lnTo>
                  <a:lnTo>
                    <a:pt x="2292" y="1412"/>
                  </a:lnTo>
                  <a:lnTo>
                    <a:pt x="2286" y="1420"/>
                  </a:lnTo>
                  <a:lnTo>
                    <a:pt x="2286" y="1426"/>
                  </a:lnTo>
                  <a:lnTo>
                    <a:pt x="2280" y="1432"/>
                  </a:lnTo>
                  <a:lnTo>
                    <a:pt x="2278" y="1438"/>
                  </a:lnTo>
                  <a:lnTo>
                    <a:pt x="2272" y="1442"/>
                  </a:lnTo>
                  <a:lnTo>
                    <a:pt x="2268" y="1448"/>
                  </a:lnTo>
                  <a:lnTo>
                    <a:pt x="2264" y="1454"/>
                  </a:lnTo>
                  <a:lnTo>
                    <a:pt x="2258" y="1458"/>
                  </a:lnTo>
                  <a:lnTo>
                    <a:pt x="2252" y="1464"/>
                  </a:lnTo>
                  <a:lnTo>
                    <a:pt x="2246" y="1468"/>
                  </a:lnTo>
                  <a:lnTo>
                    <a:pt x="2240" y="1474"/>
                  </a:lnTo>
                  <a:lnTo>
                    <a:pt x="2236" y="1480"/>
                  </a:lnTo>
                  <a:lnTo>
                    <a:pt x="2234" y="1486"/>
                  </a:lnTo>
                  <a:lnTo>
                    <a:pt x="2232" y="1492"/>
                  </a:lnTo>
                  <a:lnTo>
                    <a:pt x="2228" y="1498"/>
                  </a:lnTo>
                  <a:lnTo>
                    <a:pt x="2226" y="1504"/>
                  </a:lnTo>
                  <a:lnTo>
                    <a:pt x="2222" y="1506"/>
                  </a:lnTo>
                  <a:lnTo>
                    <a:pt x="2216" y="1508"/>
                  </a:lnTo>
                  <a:lnTo>
                    <a:pt x="2210" y="1512"/>
                  </a:lnTo>
                  <a:lnTo>
                    <a:pt x="2204" y="1516"/>
                  </a:lnTo>
                  <a:lnTo>
                    <a:pt x="2198" y="1520"/>
                  </a:lnTo>
                  <a:lnTo>
                    <a:pt x="2192" y="1522"/>
                  </a:lnTo>
                  <a:lnTo>
                    <a:pt x="2198" y="1522"/>
                  </a:lnTo>
                  <a:lnTo>
                    <a:pt x="2192" y="1528"/>
                  </a:lnTo>
                  <a:lnTo>
                    <a:pt x="2186" y="1528"/>
                  </a:lnTo>
                  <a:lnTo>
                    <a:pt x="2180" y="1530"/>
                  </a:lnTo>
                  <a:lnTo>
                    <a:pt x="2174" y="1532"/>
                  </a:lnTo>
                  <a:lnTo>
                    <a:pt x="2168" y="1538"/>
                  </a:lnTo>
                  <a:lnTo>
                    <a:pt x="2162" y="1544"/>
                  </a:lnTo>
                  <a:lnTo>
                    <a:pt x="2156" y="1548"/>
                  </a:lnTo>
                  <a:lnTo>
                    <a:pt x="2152" y="1552"/>
                  </a:lnTo>
                  <a:lnTo>
                    <a:pt x="2146" y="1558"/>
                  </a:lnTo>
                  <a:lnTo>
                    <a:pt x="2140" y="1562"/>
                  </a:lnTo>
                  <a:lnTo>
                    <a:pt x="2134" y="1566"/>
                  </a:lnTo>
                  <a:lnTo>
                    <a:pt x="2132" y="1572"/>
                  </a:lnTo>
                  <a:lnTo>
                    <a:pt x="2128" y="1578"/>
                  </a:lnTo>
                  <a:lnTo>
                    <a:pt x="2122" y="1580"/>
                  </a:lnTo>
                  <a:lnTo>
                    <a:pt x="2116" y="1580"/>
                  </a:lnTo>
                  <a:lnTo>
                    <a:pt x="2118" y="1586"/>
                  </a:lnTo>
                  <a:lnTo>
                    <a:pt x="2120" y="1586"/>
                  </a:lnTo>
                  <a:lnTo>
                    <a:pt x="2116" y="1590"/>
                  </a:lnTo>
                  <a:lnTo>
                    <a:pt x="2112" y="1596"/>
                  </a:lnTo>
                  <a:lnTo>
                    <a:pt x="2110" y="1602"/>
                  </a:lnTo>
                  <a:lnTo>
                    <a:pt x="2106" y="1608"/>
                  </a:lnTo>
                  <a:lnTo>
                    <a:pt x="2100" y="1610"/>
                  </a:lnTo>
                  <a:lnTo>
                    <a:pt x="2096" y="1616"/>
                  </a:lnTo>
                  <a:lnTo>
                    <a:pt x="2092" y="1620"/>
                  </a:lnTo>
                  <a:lnTo>
                    <a:pt x="2086" y="1624"/>
                  </a:lnTo>
                  <a:lnTo>
                    <a:pt x="2080" y="1628"/>
                  </a:lnTo>
                  <a:lnTo>
                    <a:pt x="2074" y="1634"/>
                  </a:lnTo>
                  <a:lnTo>
                    <a:pt x="2070" y="1640"/>
                  </a:lnTo>
                  <a:lnTo>
                    <a:pt x="2066" y="1646"/>
                  </a:lnTo>
                  <a:lnTo>
                    <a:pt x="2060" y="1648"/>
                  </a:lnTo>
                  <a:lnTo>
                    <a:pt x="2062" y="1654"/>
                  </a:lnTo>
                  <a:lnTo>
                    <a:pt x="2058" y="1660"/>
                  </a:lnTo>
                  <a:lnTo>
                    <a:pt x="2054" y="1666"/>
                  </a:lnTo>
                  <a:lnTo>
                    <a:pt x="2048" y="1668"/>
                  </a:lnTo>
                  <a:lnTo>
                    <a:pt x="2046" y="1674"/>
                  </a:lnTo>
                  <a:lnTo>
                    <a:pt x="2044" y="1680"/>
                  </a:lnTo>
                  <a:lnTo>
                    <a:pt x="2046" y="1682"/>
                  </a:lnTo>
                  <a:lnTo>
                    <a:pt x="2040" y="1688"/>
                  </a:lnTo>
                  <a:lnTo>
                    <a:pt x="2040" y="1682"/>
                  </a:lnTo>
                  <a:lnTo>
                    <a:pt x="2034" y="1688"/>
                  </a:lnTo>
                  <a:lnTo>
                    <a:pt x="2034" y="1694"/>
                  </a:lnTo>
                  <a:lnTo>
                    <a:pt x="2026" y="1694"/>
                  </a:lnTo>
                  <a:lnTo>
                    <a:pt x="2022" y="1696"/>
                  </a:lnTo>
                  <a:lnTo>
                    <a:pt x="2016" y="1702"/>
                  </a:lnTo>
                  <a:lnTo>
                    <a:pt x="2012" y="1708"/>
                  </a:lnTo>
                  <a:lnTo>
                    <a:pt x="2006" y="1712"/>
                  </a:lnTo>
                  <a:lnTo>
                    <a:pt x="2002" y="1718"/>
                  </a:lnTo>
                  <a:lnTo>
                    <a:pt x="1996" y="1724"/>
                  </a:lnTo>
                  <a:lnTo>
                    <a:pt x="1990" y="1730"/>
                  </a:lnTo>
                  <a:lnTo>
                    <a:pt x="1984" y="1734"/>
                  </a:lnTo>
                  <a:lnTo>
                    <a:pt x="1982" y="1740"/>
                  </a:lnTo>
                  <a:lnTo>
                    <a:pt x="1976" y="1744"/>
                  </a:lnTo>
                  <a:lnTo>
                    <a:pt x="1974" y="1750"/>
                  </a:lnTo>
                  <a:lnTo>
                    <a:pt x="1968" y="1756"/>
                  </a:lnTo>
                  <a:lnTo>
                    <a:pt x="1966" y="1762"/>
                  </a:lnTo>
                  <a:lnTo>
                    <a:pt x="1964" y="1768"/>
                  </a:lnTo>
                  <a:lnTo>
                    <a:pt x="1960" y="1772"/>
                  </a:lnTo>
                  <a:lnTo>
                    <a:pt x="1954" y="1778"/>
                  </a:lnTo>
                  <a:lnTo>
                    <a:pt x="1950" y="1784"/>
                  </a:lnTo>
                  <a:lnTo>
                    <a:pt x="1946" y="1790"/>
                  </a:lnTo>
                  <a:lnTo>
                    <a:pt x="1942" y="1796"/>
                  </a:lnTo>
                  <a:lnTo>
                    <a:pt x="1938" y="1798"/>
                  </a:lnTo>
                  <a:lnTo>
                    <a:pt x="1934" y="1806"/>
                  </a:lnTo>
                  <a:lnTo>
                    <a:pt x="1930" y="1810"/>
                  </a:lnTo>
                  <a:lnTo>
                    <a:pt x="1926" y="1816"/>
                  </a:lnTo>
                  <a:lnTo>
                    <a:pt x="1924" y="1822"/>
                  </a:lnTo>
                  <a:lnTo>
                    <a:pt x="1918" y="1826"/>
                  </a:lnTo>
                  <a:lnTo>
                    <a:pt x="1924" y="1830"/>
                  </a:lnTo>
                  <a:lnTo>
                    <a:pt x="1920" y="1836"/>
                  </a:lnTo>
                  <a:lnTo>
                    <a:pt x="1916" y="1842"/>
                  </a:lnTo>
                  <a:lnTo>
                    <a:pt x="1912" y="1848"/>
                  </a:lnTo>
                  <a:lnTo>
                    <a:pt x="1910" y="1854"/>
                  </a:lnTo>
                  <a:lnTo>
                    <a:pt x="1908" y="1856"/>
                  </a:lnTo>
                  <a:lnTo>
                    <a:pt x="1902" y="1856"/>
                  </a:lnTo>
                  <a:lnTo>
                    <a:pt x="1896" y="1856"/>
                  </a:lnTo>
                  <a:lnTo>
                    <a:pt x="1892" y="1862"/>
                  </a:lnTo>
                  <a:lnTo>
                    <a:pt x="1886" y="1866"/>
                  </a:lnTo>
                  <a:lnTo>
                    <a:pt x="1880" y="1870"/>
                  </a:lnTo>
                  <a:lnTo>
                    <a:pt x="1874" y="1872"/>
                  </a:lnTo>
                  <a:lnTo>
                    <a:pt x="1868" y="1874"/>
                  </a:lnTo>
                  <a:lnTo>
                    <a:pt x="1862" y="1874"/>
                  </a:lnTo>
                  <a:lnTo>
                    <a:pt x="1856" y="1874"/>
                  </a:lnTo>
                  <a:lnTo>
                    <a:pt x="1848" y="1874"/>
                  </a:lnTo>
                  <a:lnTo>
                    <a:pt x="1844" y="1874"/>
                  </a:lnTo>
                  <a:lnTo>
                    <a:pt x="1838" y="1874"/>
                  </a:lnTo>
                  <a:lnTo>
                    <a:pt x="1832" y="1874"/>
                  </a:lnTo>
                  <a:lnTo>
                    <a:pt x="1826" y="1874"/>
                  </a:lnTo>
                  <a:lnTo>
                    <a:pt x="1820" y="1874"/>
                  </a:lnTo>
                  <a:lnTo>
                    <a:pt x="1814" y="1874"/>
                  </a:lnTo>
                  <a:lnTo>
                    <a:pt x="1808" y="1876"/>
                  </a:lnTo>
                  <a:lnTo>
                    <a:pt x="1802" y="1876"/>
                  </a:lnTo>
                  <a:lnTo>
                    <a:pt x="1794" y="1878"/>
                  </a:lnTo>
                  <a:lnTo>
                    <a:pt x="1790" y="1878"/>
                  </a:lnTo>
                  <a:lnTo>
                    <a:pt x="1784" y="1880"/>
                  </a:lnTo>
                  <a:lnTo>
                    <a:pt x="1778" y="1882"/>
                  </a:lnTo>
                  <a:lnTo>
                    <a:pt x="1772" y="1884"/>
                  </a:lnTo>
                  <a:lnTo>
                    <a:pt x="1766" y="1886"/>
                  </a:lnTo>
                  <a:lnTo>
                    <a:pt x="1760" y="1890"/>
                  </a:lnTo>
                  <a:lnTo>
                    <a:pt x="1754" y="1892"/>
                  </a:lnTo>
                  <a:lnTo>
                    <a:pt x="1748" y="1896"/>
                  </a:lnTo>
                  <a:lnTo>
                    <a:pt x="1742" y="1900"/>
                  </a:lnTo>
                  <a:lnTo>
                    <a:pt x="1736" y="1904"/>
                  </a:lnTo>
                  <a:lnTo>
                    <a:pt x="1730" y="1908"/>
                  </a:lnTo>
                  <a:lnTo>
                    <a:pt x="1724" y="1912"/>
                  </a:lnTo>
                  <a:lnTo>
                    <a:pt x="1718" y="1916"/>
                  </a:lnTo>
                  <a:lnTo>
                    <a:pt x="1712" y="1920"/>
                  </a:lnTo>
                  <a:lnTo>
                    <a:pt x="1706" y="1922"/>
                  </a:lnTo>
                  <a:lnTo>
                    <a:pt x="1700" y="1928"/>
                  </a:lnTo>
                  <a:lnTo>
                    <a:pt x="1694" y="1930"/>
                  </a:lnTo>
                  <a:lnTo>
                    <a:pt x="1688" y="1936"/>
                  </a:lnTo>
                  <a:lnTo>
                    <a:pt x="1686" y="1934"/>
                  </a:lnTo>
                  <a:lnTo>
                    <a:pt x="1680" y="1934"/>
                  </a:lnTo>
                  <a:lnTo>
                    <a:pt x="1674" y="1936"/>
                  </a:lnTo>
                  <a:lnTo>
                    <a:pt x="1668" y="1936"/>
                  </a:lnTo>
                  <a:lnTo>
                    <a:pt x="1662" y="1938"/>
                  </a:lnTo>
                  <a:lnTo>
                    <a:pt x="1656" y="1936"/>
                  </a:lnTo>
                  <a:lnTo>
                    <a:pt x="1650" y="1938"/>
                  </a:lnTo>
                  <a:lnTo>
                    <a:pt x="1650" y="1944"/>
                  </a:lnTo>
                  <a:lnTo>
                    <a:pt x="1650" y="1950"/>
                  </a:lnTo>
                  <a:lnTo>
                    <a:pt x="1656" y="1946"/>
                  </a:lnTo>
                  <a:lnTo>
                    <a:pt x="1662" y="1944"/>
                  </a:lnTo>
                  <a:lnTo>
                    <a:pt x="1660" y="1950"/>
                  </a:lnTo>
                  <a:lnTo>
                    <a:pt x="1654" y="1956"/>
                  </a:lnTo>
                  <a:lnTo>
                    <a:pt x="1652" y="1962"/>
                  </a:lnTo>
                  <a:lnTo>
                    <a:pt x="1646" y="1966"/>
                  </a:lnTo>
                  <a:lnTo>
                    <a:pt x="1646" y="1962"/>
                  </a:lnTo>
                  <a:lnTo>
                    <a:pt x="1644" y="1956"/>
                  </a:lnTo>
                  <a:lnTo>
                    <a:pt x="1646" y="1950"/>
                  </a:lnTo>
                  <a:lnTo>
                    <a:pt x="1640" y="1944"/>
                  </a:lnTo>
                  <a:lnTo>
                    <a:pt x="1634" y="1948"/>
                  </a:lnTo>
                  <a:lnTo>
                    <a:pt x="1628" y="1950"/>
                  </a:lnTo>
                  <a:lnTo>
                    <a:pt x="1630" y="1944"/>
                  </a:lnTo>
                  <a:lnTo>
                    <a:pt x="1630" y="1938"/>
                  </a:lnTo>
                  <a:lnTo>
                    <a:pt x="1630" y="1932"/>
                  </a:lnTo>
                  <a:lnTo>
                    <a:pt x="1624" y="1934"/>
                  </a:lnTo>
                  <a:lnTo>
                    <a:pt x="1618" y="1934"/>
                  </a:lnTo>
                  <a:lnTo>
                    <a:pt x="1616" y="1928"/>
                  </a:lnTo>
                  <a:lnTo>
                    <a:pt x="1616" y="1922"/>
                  </a:lnTo>
                  <a:lnTo>
                    <a:pt x="1618" y="1916"/>
                  </a:lnTo>
                  <a:lnTo>
                    <a:pt x="1624" y="1916"/>
                  </a:lnTo>
                  <a:lnTo>
                    <a:pt x="1628" y="1910"/>
                  </a:lnTo>
                  <a:lnTo>
                    <a:pt x="1626" y="1904"/>
                  </a:lnTo>
                  <a:lnTo>
                    <a:pt x="1620" y="1904"/>
                  </a:lnTo>
                  <a:lnTo>
                    <a:pt x="1614" y="1906"/>
                  </a:lnTo>
                  <a:lnTo>
                    <a:pt x="1608" y="1910"/>
                  </a:lnTo>
                  <a:lnTo>
                    <a:pt x="1604" y="1916"/>
                  </a:lnTo>
                  <a:lnTo>
                    <a:pt x="1598" y="1918"/>
                  </a:lnTo>
                  <a:lnTo>
                    <a:pt x="1592" y="1922"/>
                  </a:lnTo>
                  <a:lnTo>
                    <a:pt x="1590" y="1922"/>
                  </a:lnTo>
                  <a:lnTo>
                    <a:pt x="1586" y="1922"/>
                  </a:lnTo>
                  <a:lnTo>
                    <a:pt x="1582" y="1916"/>
                  </a:lnTo>
                  <a:lnTo>
                    <a:pt x="1580" y="1910"/>
                  </a:lnTo>
                  <a:lnTo>
                    <a:pt x="1586" y="1914"/>
                  </a:lnTo>
                  <a:lnTo>
                    <a:pt x="1592" y="1912"/>
                  </a:lnTo>
                  <a:lnTo>
                    <a:pt x="1598" y="1908"/>
                  </a:lnTo>
                  <a:lnTo>
                    <a:pt x="1604" y="1904"/>
                  </a:lnTo>
                  <a:lnTo>
                    <a:pt x="1606" y="1902"/>
                  </a:lnTo>
                  <a:lnTo>
                    <a:pt x="1612" y="1896"/>
                  </a:lnTo>
                  <a:lnTo>
                    <a:pt x="1612" y="1890"/>
                  </a:lnTo>
                  <a:lnTo>
                    <a:pt x="1610" y="1884"/>
                  </a:lnTo>
                  <a:lnTo>
                    <a:pt x="1610" y="1878"/>
                  </a:lnTo>
                  <a:lnTo>
                    <a:pt x="1604" y="1880"/>
                  </a:lnTo>
                  <a:lnTo>
                    <a:pt x="1598" y="1884"/>
                  </a:lnTo>
                  <a:lnTo>
                    <a:pt x="1592" y="1888"/>
                  </a:lnTo>
                  <a:lnTo>
                    <a:pt x="1586" y="1890"/>
                  </a:lnTo>
                  <a:lnTo>
                    <a:pt x="1580" y="1892"/>
                  </a:lnTo>
                  <a:lnTo>
                    <a:pt x="1574" y="1896"/>
                  </a:lnTo>
                  <a:lnTo>
                    <a:pt x="1568" y="1900"/>
                  </a:lnTo>
                  <a:lnTo>
                    <a:pt x="1574" y="1900"/>
                  </a:lnTo>
                  <a:lnTo>
                    <a:pt x="1580" y="1900"/>
                  </a:lnTo>
                  <a:lnTo>
                    <a:pt x="1586" y="1902"/>
                  </a:lnTo>
                  <a:lnTo>
                    <a:pt x="1580" y="1908"/>
                  </a:lnTo>
                  <a:lnTo>
                    <a:pt x="1574" y="1908"/>
                  </a:lnTo>
                  <a:lnTo>
                    <a:pt x="1568" y="1908"/>
                  </a:lnTo>
                  <a:lnTo>
                    <a:pt x="1562" y="1910"/>
                  </a:lnTo>
                  <a:lnTo>
                    <a:pt x="1560" y="1910"/>
                  </a:lnTo>
                  <a:lnTo>
                    <a:pt x="1554" y="1914"/>
                  </a:lnTo>
                  <a:lnTo>
                    <a:pt x="1548" y="1916"/>
                  </a:lnTo>
                  <a:lnTo>
                    <a:pt x="1542" y="1920"/>
                  </a:lnTo>
                  <a:lnTo>
                    <a:pt x="1536" y="1922"/>
                  </a:lnTo>
                  <a:lnTo>
                    <a:pt x="1530" y="1928"/>
                  </a:lnTo>
                  <a:lnTo>
                    <a:pt x="1524" y="1932"/>
                  </a:lnTo>
                  <a:lnTo>
                    <a:pt x="1518" y="1936"/>
                  </a:lnTo>
                  <a:lnTo>
                    <a:pt x="1512" y="1938"/>
                  </a:lnTo>
                  <a:lnTo>
                    <a:pt x="1506" y="1940"/>
                  </a:lnTo>
                  <a:lnTo>
                    <a:pt x="1500" y="1944"/>
                  </a:lnTo>
                  <a:lnTo>
                    <a:pt x="1494" y="1946"/>
                  </a:lnTo>
                  <a:lnTo>
                    <a:pt x="1492" y="1942"/>
                  </a:lnTo>
                  <a:lnTo>
                    <a:pt x="1486" y="1940"/>
                  </a:lnTo>
                  <a:lnTo>
                    <a:pt x="1480" y="1938"/>
                  </a:lnTo>
                  <a:lnTo>
                    <a:pt x="1476" y="1932"/>
                  </a:lnTo>
                  <a:lnTo>
                    <a:pt x="1470" y="1930"/>
                  </a:lnTo>
                  <a:lnTo>
                    <a:pt x="1464" y="1928"/>
                  </a:lnTo>
                  <a:lnTo>
                    <a:pt x="1460" y="1922"/>
                  </a:lnTo>
                  <a:lnTo>
                    <a:pt x="1454" y="1916"/>
                  </a:lnTo>
                  <a:lnTo>
                    <a:pt x="1448" y="1912"/>
                  </a:lnTo>
                  <a:lnTo>
                    <a:pt x="1442" y="1914"/>
                  </a:lnTo>
                  <a:lnTo>
                    <a:pt x="1436" y="1916"/>
                  </a:lnTo>
                  <a:lnTo>
                    <a:pt x="1430" y="1912"/>
                  </a:lnTo>
                  <a:lnTo>
                    <a:pt x="1424" y="1908"/>
                  </a:lnTo>
                  <a:lnTo>
                    <a:pt x="1418" y="1906"/>
                  </a:lnTo>
                  <a:lnTo>
                    <a:pt x="1412" y="1906"/>
                  </a:lnTo>
                  <a:lnTo>
                    <a:pt x="1406" y="1908"/>
                  </a:lnTo>
                  <a:lnTo>
                    <a:pt x="1402" y="1916"/>
                  </a:lnTo>
                  <a:lnTo>
                    <a:pt x="1396" y="1914"/>
                  </a:lnTo>
                  <a:lnTo>
                    <a:pt x="1390" y="1914"/>
                  </a:lnTo>
                  <a:lnTo>
                    <a:pt x="1392" y="1908"/>
                  </a:lnTo>
                  <a:lnTo>
                    <a:pt x="1390" y="1902"/>
                  </a:lnTo>
                  <a:lnTo>
                    <a:pt x="1384" y="1896"/>
                  </a:lnTo>
                  <a:lnTo>
                    <a:pt x="1378" y="1892"/>
                  </a:lnTo>
                  <a:lnTo>
                    <a:pt x="1372" y="1892"/>
                  </a:lnTo>
                  <a:lnTo>
                    <a:pt x="1366" y="1892"/>
                  </a:lnTo>
                  <a:lnTo>
                    <a:pt x="1358" y="1890"/>
                  </a:lnTo>
                  <a:lnTo>
                    <a:pt x="1354" y="1884"/>
                  </a:lnTo>
                  <a:lnTo>
                    <a:pt x="1350" y="1876"/>
                  </a:lnTo>
                  <a:lnTo>
                    <a:pt x="1350" y="1870"/>
                  </a:lnTo>
                  <a:lnTo>
                    <a:pt x="1348" y="1864"/>
                  </a:lnTo>
                  <a:lnTo>
                    <a:pt x="1346" y="1858"/>
                  </a:lnTo>
                  <a:lnTo>
                    <a:pt x="1346" y="1852"/>
                  </a:lnTo>
                  <a:lnTo>
                    <a:pt x="1342" y="1852"/>
                  </a:lnTo>
                  <a:lnTo>
                    <a:pt x="1340" y="1850"/>
                  </a:lnTo>
                  <a:lnTo>
                    <a:pt x="1338" y="1844"/>
                  </a:lnTo>
                  <a:lnTo>
                    <a:pt x="1338" y="1838"/>
                  </a:lnTo>
                  <a:lnTo>
                    <a:pt x="1336" y="1832"/>
                  </a:lnTo>
                  <a:lnTo>
                    <a:pt x="1342" y="1826"/>
                  </a:lnTo>
                  <a:lnTo>
                    <a:pt x="1342" y="1820"/>
                  </a:lnTo>
                  <a:lnTo>
                    <a:pt x="1342" y="1814"/>
                  </a:lnTo>
                  <a:lnTo>
                    <a:pt x="1348" y="1812"/>
                  </a:lnTo>
                  <a:lnTo>
                    <a:pt x="1354" y="1808"/>
                  </a:lnTo>
                  <a:lnTo>
                    <a:pt x="1358" y="1804"/>
                  </a:lnTo>
                  <a:lnTo>
                    <a:pt x="1360" y="1798"/>
                  </a:lnTo>
                  <a:lnTo>
                    <a:pt x="1362" y="1792"/>
                  </a:lnTo>
                  <a:lnTo>
                    <a:pt x="1362" y="1786"/>
                  </a:lnTo>
                  <a:lnTo>
                    <a:pt x="1362" y="1780"/>
                  </a:lnTo>
                  <a:lnTo>
                    <a:pt x="1364" y="1774"/>
                  </a:lnTo>
                  <a:lnTo>
                    <a:pt x="1364" y="1768"/>
                  </a:lnTo>
                  <a:lnTo>
                    <a:pt x="1364" y="1762"/>
                  </a:lnTo>
                  <a:lnTo>
                    <a:pt x="1362" y="1756"/>
                  </a:lnTo>
                  <a:lnTo>
                    <a:pt x="1360" y="1750"/>
                  </a:lnTo>
                  <a:lnTo>
                    <a:pt x="1358" y="1744"/>
                  </a:lnTo>
                  <a:lnTo>
                    <a:pt x="1356" y="1738"/>
                  </a:lnTo>
                  <a:lnTo>
                    <a:pt x="1352" y="1732"/>
                  </a:lnTo>
                  <a:lnTo>
                    <a:pt x="1346" y="1726"/>
                  </a:lnTo>
                  <a:lnTo>
                    <a:pt x="1342" y="1720"/>
                  </a:lnTo>
                  <a:lnTo>
                    <a:pt x="1348" y="1726"/>
                  </a:lnTo>
                  <a:lnTo>
                    <a:pt x="1352" y="1730"/>
                  </a:lnTo>
                  <a:lnTo>
                    <a:pt x="1356" y="1736"/>
                  </a:lnTo>
                  <a:lnTo>
                    <a:pt x="1360" y="1742"/>
                  </a:lnTo>
                  <a:lnTo>
                    <a:pt x="1362" y="1748"/>
                  </a:lnTo>
                  <a:lnTo>
                    <a:pt x="1364" y="1756"/>
                  </a:lnTo>
                  <a:lnTo>
                    <a:pt x="1364" y="1758"/>
                  </a:lnTo>
                  <a:lnTo>
                    <a:pt x="1364" y="1764"/>
                  </a:lnTo>
                  <a:lnTo>
                    <a:pt x="1366" y="1758"/>
                  </a:lnTo>
                  <a:lnTo>
                    <a:pt x="1366" y="1752"/>
                  </a:lnTo>
                  <a:lnTo>
                    <a:pt x="1364" y="1746"/>
                  </a:lnTo>
                  <a:lnTo>
                    <a:pt x="1362" y="1740"/>
                  </a:lnTo>
                  <a:lnTo>
                    <a:pt x="1358" y="1734"/>
                  </a:lnTo>
                  <a:lnTo>
                    <a:pt x="1354" y="1730"/>
                  </a:lnTo>
                  <a:lnTo>
                    <a:pt x="1348" y="1724"/>
                  </a:lnTo>
                  <a:lnTo>
                    <a:pt x="1352" y="1718"/>
                  </a:lnTo>
                  <a:lnTo>
                    <a:pt x="1358" y="1716"/>
                  </a:lnTo>
                  <a:lnTo>
                    <a:pt x="1358" y="1722"/>
                  </a:lnTo>
                  <a:lnTo>
                    <a:pt x="1358" y="1728"/>
                  </a:lnTo>
                  <a:lnTo>
                    <a:pt x="1364" y="1726"/>
                  </a:lnTo>
                  <a:lnTo>
                    <a:pt x="1364" y="1720"/>
                  </a:lnTo>
                  <a:lnTo>
                    <a:pt x="1364" y="1714"/>
                  </a:lnTo>
                  <a:lnTo>
                    <a:pt x="1370" y="1712"/>
                  </a:lnTo>
                  <a:lnTo>
                    <a:pt x="1374" y="1706"/>
                  </a:lnTo>
                  <a:lnTo>
                    <a:pt x="1372" y="1706"/>
                  </a:lnTo>
                  <a:lnTo>
                    <a:pt x="1366" y="1702"/>
                  </a:lnTo>
                  <a:lnTo>
                    <a:pt x="1360" y="1706"/>
                  </a:lnTo>
                  <a:lnTo>
                    <a:pt x="1354" y="1708"/>
                  </a:lnTo>
                  <a:lnTo>
                    <a:pt x="1348" y="1710"/>
                  </a:lnTo>
                  <a:lnTo>
                    <a:pt x="1350" y="1716"/>
                  </a:lnTo>
                  <a:lnTo>
                    <a:pt x="1344" y="1716"/>
                  </a:lnTo>
                  <a:lnTo>
                    <a:pt x="1338" y="1716"/>
                  </a:lnTo>
                  <a:lnTo>
                    <a:pt x="1344" y="1718"/>
                  </a:lnTo>
                  <a:lnTo>
                    <a:pt x="1338" y="1718"/>
                  </a:lnTo>
                  <a:lnTo>
                    <a:pt x="1332" y="1718"/>
                  </a:lnTo>
                  <a:lnTo>
                    <a:pt x="1326" y="1720"/>
                  </a:lnTo>
                  <a:lnTo>
                    <a:pt x="1320" y="1724"/>
                  </a:lnTo>
                  <a:lnTo>
                    <a:pt x="1314" y="1726"/>
                  </a:lnTo>
                  <a:lnTo>
                    <a:pt x="1308" y="1726"/>
                  </a:lnTo>
                  <a:lnTo>
                    <a:pt x="1302" y="1726"/>
                  </a:lnTo>
                  <a:lnTo>
                    <a:pt x="1298" y="1726"/>
                  </a:lnTo>
                  <a:lnTo>
                    <a:pt x="1292" y="1724"/>
                  </a:lnTo>
                  <a:lnTo>
                    <a:pt x="1298" y="1718"/>
                  </a:lnTo>
                  <a:lnTo>
                    <a:pt x="1304" y="1716"/>
                  </a:lnTo>
                  <a:lnTo>
                    <a:pt x="1310" y="1712"/>
                  </a:lnTo>
                  <a:lnTo>
                    <a:pt x="1316" y="1706"/>
                  </a:lnTo>
                  <a:lnTo>
                    <a:pt x="1322" y="1704"/>
                  </a:lnTo>
                  <a:lnTo>
                    <a:pt x="1326" y="1698"/>
                  </a:lnTo>
                  <a:lnTo>
                    <a:pt x="1328" y="1692"/>
                  </a:lnTo>
                  <a:lnTo>
                    <a:pt x="1332" y="1686"/>
                  </a:lnTo>
                  <a:lnTo>
                    <a:pt x="1336" y="1680"/>
                  </a:lnTo>
                  <a:lnTo>
                    <a:pt x="1338" y="1674"/>
                  </a:lnTo>
                  <a:lnTo>
                    <a:pt x="1340" y="1668"/>
                  </a:lnTo>
                  <a:lnTo>
                    <a:pt x="1344" y="1662"/>
                  </a:lnTo>
                  <a:lnTo>
                    <a:pt x="1342" y="1656"/>
                  </a:lnTo>
                  <a:lnTo>
                    <a:pt x="1340" y="1650"/>
                  </a:lnTo>
                  <a:lnTo>
                    <a:pt x="1338" y="1644"/>
                  </a:lnTo>
                  <a:lnTo>
                    <a:pt x="1338" y="1638"/>
                  </a:lnTo>
                  <a:lnTo>
                    <a:pt x="1340" y="1632"/>
                  </a:lnTo>
                  <a:lnTo>
                    <a:pt x="1338" y="1626"/>
                  </a:lnTo>
                  <a:lnTo>
                    <a:pt x="1338" y="1620"/>
                  </a:lnTo>
                  <a:lnTo>
                    <a:pt x="1332" y="1626"/>
                  </a:lnTo>
                  <a:lnTo>
                    <a:pt x="1330" y="1632"/>
                  </a:lnTo>
                  <a:lnTo>
                    <a:pt x="1324" y="1638"/>
                  </a:lnTo>
                  <a:lnTo>
                    <a:pt x="1318" y="1642"/>
                  </a:lnTo>
                  <a:lnTo>
                    <a:pt x="1314" y="1648"/>
                  </a:lnTo>
                  <a:lnTo>
                    <a:pt x="1312" y="1654"/>
                  </a:lnTo>
                  <a:lnTo>
                    <a:pt x="1308" y="1662"/>
                  </a:lnTo>
                  <a:lnTo>
                    <a:pt x="1304" y="1666"/>
                  </a:lnTo>
                  <a:lnTo>
                    <a:pt x="1298" y="1672"/>
                  </a:lnTo>
                  <a:lnTo>
                    <a:pt x="1294" y="1680"/>
                  </a:lnTo>
                  <a:lnTo>
                    <a:pt x="1290" y="1684"/>
                  </a:lnTo>
                  <a:lnTo>
                    <a:pt x="1286" y="1692"/>
                  </a:lnTo>
                  <a:lnTo>
                    <a:pt x="1280" y="1692"/>
                  </a:lnTo>
                  <a:lnTo>
                    <a:pt x="1272" y="1690"/>
                  </a:lnTo>
                  <a:lnTo>
                    <a:pt x="1268" y="1690"/>
                  </a:lnTo>
                  <a:lnTo>
                    <a:pt x="1262" y="1692"/>
                  </a:lnTo>
                  <a:lnTo>
                    <a:pt x="1256" y="1694"/>
                  </a:lnTo>
                  <a:lnTo>
                    <a:pt x="1250" y="1698"/>
                  </a:lnTo>
                  <a:lnTo>
                    <a:pt x="1244" y="1696"/>
                  </a:lnTo>
                  <a:lnTo>
                    <a:pt x="1238" y="1700"/>
                  </a:lnTo>
                  <a:lnTo>
                    <a:pt x="1232" y="1700"/>
                  </a:lnTo>
                  <a:lnTo>
                    <a:pt x="1234" y="1694"/>
                  </a:lnTo>
                  <a:lnTo>
                    <a:pt x="1240" y="1692"/>
                  </a:lnTo>
                  <a:lnTo>
                    <a:pt x="1244" y="1684"/>
                  </a:lnTo>
                  <a:lnTo>
                    <a:pt x="1248" y="1680"/>
                  </a:lnTo>
                  <a:lnTo>
                    <a:pt x="1254" y="1674"/>
                  </a:lnTo>
                  <a:lnTo>
                    <a:pt x="1260" y="1674"/>
                  </a:lnTo>
                  <a:lnTo>
                    <a:pt x="1264" y="1674"/>
                  </a:lnTo>
                  <a:lnTo>
                    <a:pt x="1270" y="1676"/>
                  </a:lnTo>
                  <a:lnTo>
                    <a:pt x="1276" y="1674"/>
                  </a:lnTo>
                  <a:lnTo>
                    <a:pt x="1280" y="1668"/>
                  </a:lnTo>
                  <a:lnTo>
                    <a:pt x="1284" y="1662"/>
                  </a:lnTo>
                  <a:lnTo>
                    <a:pt x="1288" y="1656"/>
                  </a:lnTo>
                  <a:lnTo>
                    <a:pt x="1290" y="1650"/>
                  </a:lnTo>
                  <a:lnTo>
                    <a:pt x="1292" y="1644"/>
                  </a:lnTo>
                  <a:lnTo>
                    <a:pt x="1294" y="1640"/>
                  </a:lnTo>
                  <a:lnTo>
                    <a:pt x="1298" y="1634"/>
                  </a:lnTo>
                  <a:lnTo>
                    <a:pt x="1300" y="1628"/>
                  </a:lnTo>
                  <a:lnTo>
                    <a:pt x="1302" y="1622"/>
                  </a:lnTo>
                  <a:lnTo>
                    <a:pt x="1308" y="1616"/>
                  </a:lnTo>
                  <a:lnTo>
                    <a:pt x="1310" y="1610"/>
                  </a:lnTo>
                  <a:lnTo>
                    <a:pt x="1316" y="1606"/>
                  </a:lnTo>
                  <a:lnTo>
                    <a:pt x="1320" y="1600"/>
                  </a:lnTo>
                  <a:lnTo>
                    <a:pt x="1326" y="1596"/>
                  </a:lnTo>
                  <a:lnTo>
                    <a:pt x="1332" y="1590"/>
                  </a:lnTo>
                  <a:lnTo>
                    <a:pt x="1338" y="1586"/>
                  </a:lnTo>
                  <a:lnTo>
                    <a:pt x="1344" y="1584"/>
                  </a:lnTo>
                  <a:lnTo>
                    <a:pt x="1346" y="1578"/>
                  </a:lnTo>
                  <a:lnTo>
                    <a:pt x="1346" y="1572"/>
                  </a:lnTo>
                  <a:lnTo>
                    <a:pt x="1348" y="1566"/>
                  </a:lnTo>
                  <a:lnTo>
                    <a:pt x="1346" y="1560"/>
                  </a:lnTo>
                  <a:lnTo>
                    <a:pt x="1352" y="1554"/>
                  </a:lnTo>
                  <a:lnTo>
                    <a:pt x="1358" y="1552"/>
                  </a:lnTo>
                  <a:lnTo>
                    <a:pt x="1364" y="1548"/>
                  </a:lnTo>
                  <a:lnTo>
                    <a:pt x="1362" y="1542"/>
                  </a:lnTo>
                  <a:lnTo>
                    <a:pt x="1362" y="1536"/>
                  </a:lnTo>
                  <a:lnTo>
                    <a:pt x="1364" y="1530"/>
                  </a:lnTo>
                  <a:lnTo>
                    <a:pt x="1366" y="1524"/>
                  </a:lnTo>
                  <a:lnTo>
                    <a:pt x="1364" y="1518"/>
                  </a:lnTo>
                  <a:lnTo>
                    <a:pt x="1366" y="1512"/>
                  </a:lnTo>
                  <a:lnTo>
                    <a:pt x="1362" y="1512"/>
                  </a:lnTo>
                  <a:lnTo>
                    <a:pt x="1360" y="1518"/>
                  </a:lnTo>
                  <a:lnTo>
                    <a:pt x="1360" y="1524"/>
                  </a:lnTo>
                  <a:lnTo>
                    <a:pt x="1358" y="1530"/>
                  </a:lnTo>
                  <a:lnTo>
                    <a:pt x="1354" y="1536"/>
                  </a:lnTo>
                  <a:lnTo>
                    <a:pt x="1348" y="1540"/>
                  </a:lnTo>
                  <a:lnTo>
                    <a:pt x="1342" y="1542"/>
                  </a:lnTo>
                  <a:lnTo>
                    <a:pt x="1336" y="1548"/>
                  </a:lnTo>
                  <a:lnTo>
                    <a:pt x="1330" y="1552"/>
                  </a:lnTo>
                  <a:lnTo>
                    <a:pt x="1326" y="1556"/>
                  </a:lnTo>
                  <a:lnTo>
                    <a:pt x="1320" y="1564"/>
                  </a:lnTo>
                  <a:lnTo>
                    <a:pt x="1318" y="1568"/>
                  </a:lnTo>
                  <a:lnTo>
                    <a:pt x="1312" y="1574"/>
                  </a:lnTo>
                  <a:lnTo>
                    <a:pt x="1306" y="1580"/>
                  </a:lnTo>
                  <a:lnTo>
                    <a:pt x="1302" y="1586"/>
                  </a:lnTo>
                  <a:lnTo>
                    <a:pt x="1296" y="1590"/>
                  </a:lnTo>
                  <a:lnTo>
                    <a:pt x="1290" y="1592"/>
                  </a:lnTo>
                  <a:lnTo>
                    <a:pt x="1284" y="1590"/>
                  </a:lnTo>
                  <a:lnTo>
                    <a:pt x="1282" y="1596"/>
                  </a:lnTo>
                  <a:lnTo>
                    <a:pt x="1276" y="1598"/>
                  </a:lnTo>
                  <a:lnTo>
                    <a:pt x="1270" y="1600"/>
                  </a:lnTo>
                  <a:lnTo>
                    <a:pt x="1264" y="1602"/>
                  </a:lnTo>
                  <a:lnTo>
                    <a:pt x="1258" y="1606"/>
                  </a:lnTo>
                  <a:lnTo>
                    <a:pt x="1252" y="1610"/>
                  </a:lnTo>
                  <a:lnTo>
                    <a:pt x="1246" y="1612"/>
                  </a:lnTo>
                  <a:lnTo>
                    <a:pt x="1240" y="1616"/>
                  </a:lnTo>
                  <a:lnTo>
                    <a:pt x="1234" y="1622"/>
                  </a:lnTo>
                  <a:lnTo>
                    <a:pt x="1230" y="1628"/>
                  </a:lnTo>
                  <a:lnTo>
                    <a:pt x="1224" y="1634"/>
                  </a:lnTo>
                  <a:lnTo>
                    <a:pt x="1218" y="1636"/>
                  </a:lnTo>
                  <a:lnTo>
                    <a:pt x="1214" y="1642"/>
                  </a:lnTo>
                  <a:lnTo>
                    <a:pt x="1212" y="1648"/>
                  </a:lnTo>
                  <a:lnTo>
                    <a:pt x="1206" y="1646"/>
                  </a:lnTo>
                  <a:lnTo>
                    <a:pt x="1200" y="1650"/>
                  </a:lnTo>
                  <a:lnTo>
                    <a:pt x="1194" y="1656"/>
                  </a:lnTo>
                  <a:lnTo>
                    <a:pt x="1192" y="1662"/>
                  </a:lnTo>
                  <a:lnTo>
                    <a:pt x="1188" y="1668"/>
                  </a:lnTo>
                  <a:lnTo>
                    <a:pt x="1192" y="1666"/>
                  </a:lnTo>
                  <a:lnTo>
                    <a:pt x="1200" y="1664"/>
                  </a:lnTo>
                  <a:lnTo>
                    <a:pt x="1194" y="1670"/>
                  </a:lnTo>
                  <a:lnTo>
                    <a:pt x="1192" y="1676"/>
                  </a:lnTo>
                  <a:lnTo>
                    <a:pt x="1188" y="1682"/>
                  </a:lnTo>
                  <a:lnTo>
                    <a:pt x="1186" y="1676"/>
                  </a:lnTo>
                  <a:lnTo>
                    <a:pt x="1182" y="1670"/>
                  </a:lnTo>
                  <a:lnTo>
                    <a:pt x="1176" y="1674"/>
                  </a:lnTo>
                  <a:lnTo>
                    <a:pt x="1172" y="1672"/>
                  </a:lnTo>
                  <a:lnTo>
                    <a:pt x="1168" y="1666"/>
                  </a:lnTo>
                  <a:lnTo>
                    <a:pt x="1166" y="1660"/>
                  </a:lnTo>
                  <a:lnTo>
                    <a:pt x="1162" y="1654"/>
                  </a:lnTo>
                  <a:lnTo>
                    <a:pt x="1158" y="1650"/>
                  </a:lnTo>
                  <a:lnTo>
                    <a:pt x="1152" y="1652"/>
                  </a:lnTo>
                  <a:lnTo>
                    <a:pt x="1156" y="1646"/>
                  </a:lnTo>
                  <a:lnTo>
                    <a:pt x="1162" y="1640"/>
                  </a:lnTo>
                  <a:lnTo>
                    <a:pt x="1162" y="1648"/>
                  </a:lnTo>
                  <a:lnTo>
                    <a:pt x="1168" y="1650"/>
                  </a:lnTo>
                  <a:lnTo>
                    <a:pt x="1172" y="1644"/>
                  </a:lnTo>
                  <a:lnTo>
                    <a:pt x="1172" y="1638"/>
                  </a:lnTo>
                  <a:lnTo>
                    <a:pt x="1174" y="1632"/>
                  </a:lnTo>
                  <a:lnTo>
                    <a:pt x="1174" y="1626"/>
                  </a:lnTo>
                  <a:lnTo>
                    <a:pt x="1174" y="1620"/>
                  </a:lnTo>
                  <a:lnTo>
                    <a:pt x="1176" y="1614"/>
                  </a:lnTo>
                  <a:lnTo>
                    <a:pt x="1176" y="1608"/>
                  </a:lnTo>
                  <a:lnTo>
                    <a:pt x="1174" y="1600"/>
                  </a:lnTo>
                  <a:lnTo>
                    <a:pt x="1170" y="1594"/>
                  </a:lnTo>
                  <a:lnTo>
                    <a:pt x="1166" y="1590"/>
                  </a:lnTo>
                  <a:lnTo>
                    <a:pt x="1164" y="1584"/>
                  </a:lnTo>
                  <a:lnTo>
                    <a:pt x="1168" y="1578"/>
                  </a:lnTo>
                  <a:lnTo>
                    <a:pt x="1170" y="1572"/>
                  </a:lnTo>
                  <a:lnTo>
                    <a:pt x="1170" y="1566"/>
                  </a:lnTo>
                  <a:lnTo>
                    <a:pt x="1164" y="1560"/>
                  </a:lnTo>
                  <a:lnTo>
                    <a:pt x="1168" y="1554"/>
                  </a:lnTo>
                  <a:lnTo>
                    <a:pt x="1160" y="1556"/>
                  </a:lnTo>
                  <a:lnTo>
                    <a:pt x="1154" y="1554"/>
                  </a:lnTo>
                  <a:lnTo>
                    <a:pt x="1150" y="1554"/>
                  </a:lnTo>
                  <a:lnTo>
                    <a:pt x="1144" y="1552"/>
                  </a:lnTo>
                  <a:lnTo>
                    <a:pt x="1144" y="1546"/>
                  </a:lnTo>
                  <a:lnTo>
                    <a:pt x="1144" y="1540"/>
                  </a:lnTo>
                  <a:lnTo>
                    <a:pt x="1140" y="1534"/>
                  </a:lnTo>
                  <a:lnTo>
                    <a:pt x="1144" y="1528"/>
                  </a:lnTo>
                  <a:lnTo>
                    <a:pt x="1146" y="1522"/>
                  </a:lnTo>
                  <a:lnTo>
                    <a:pt x="1152" y="1524"/>
                  </a:lnTo>
                  <a:lnTo>
                    <a:pt x="1150" y="1528"/>
                  </a:lnTo>
                  <a:lnTo>
                    <a:pt x="1156" y="1522"/>
                  </a:lnTo>
                  <a:lnTo>
                    <a:pt x="1158" y="1516"/>
                  </a:lnTo>
                  <a:lnTo>
                    <a:pt x="1158" y="1510"/>
                  </a:lnTo>
                  <a:lnTo>
                    <a:pt x="1154" y="1504"/>
                  </a:lnTo>
                  <a:lnTo>
                    <a:pt x="1148" y="1506"/>
                  </a:lnTo>
                  <a:lnTo>
                    <a:pt x="1142" y="1508"/>
                  </a:lnTo>
                  <a:lnTo>
                    <a:pt x="1136" y="1510"/>
                  </a:lnTo>
                  <a:lnTo>
                    <a:pt x="1138" y="1504"/>
                  </a:lnTo>
                  <a:lnTo>
                    <a:pt x="1144" y="1498"/>
                  </a:lnTo>
                  <a:lnTo>
                    <a:pt x="1142" y="1492"/>
                  </a:lnTo>
                  <a:lnTo>
                    <a:pt x="1138" y="1488"/>
                  </a:lnTo>
                  <a:lnTo>
                    <a:pt x="1136" y="1482"/>
                  </a:lnTo>
                  <a:lnTo>
                    <a:pt x="1136" y="1480"/>
                  </a:lnTo>
                  <a:lnTo>
                    <a:pt x="1130" y="1484"/>
                  </a:lnTo>
                  <a:lnTo>
                    <a:pt x="1124" y="1480"/>
                  </a:lnTo>
                  <a:lnTo>
                    <a:pt x="1120" y="1486"/>
                  </a:lnTo>
                  <a:lnTo>
                    <a:pt x="1114" y="1486"/>
                  </a:lnTo>
                  <a:lnTo>
                    <a:pt x="1108" y="1486"/>
                  </a:lnTo>
                  <a:lnTo>
                    <a:pt x="1102" y="1484"/>
                  </a:lnTo>
                  <a:lnTo>
                    <a:pt x="1096" y="1480"/>
                  </a:lnTo>
                  <a:lnTo>
                    <a:pt x="1092" y="1474"/>
                  </a:lnTo>
                  <a:lnTo>
                    <a:pt x="1090" y="1470"/>
                  </a:lnTo>
                  <a:lnTo>
                    <a:pt x="1084" y="1470"/>
                  </a:lnTo>
                  <a:lnTo>
                    <a:pt x="1078" y="1468"/>
                  </a:lnTo>
                  <a:lnTo>
                    <a:pt x="1072" y="1470"/>
                  </a:lnTo>
                  <a:lnTo>
                    <a:pt x="1068" y="1476"/>
                  </a:lnTo>
                  <a:lnTo>
                    <a:pt x="1062" y="1474"/>
                  </a:lnTo>
                  <a:lnTo>
                    <a:pt x="1056" y="1476"/>
                  </a:lnTo>
                  <a:lnTo>
                    <a:pt x="1050" y="1472"/>
                  </a:lnTo>
                  <a:lnTo>
                    <a:pt x="1048" y="1466"/>
                  </a:lnTo>
                  <a:lnTo>
                    <a:pt x="1040" y="1460"/>
                  </a:lnTo>
                  <a:lnTo>
                    <a:pt x="1036" y="1454"/>
                  </a:lnTo>
                  <a:lnTo>
                    <a:pt x="1030" y="1450"/>
                  </a:lnTo>
                  <a:lnTo>
                    <a:pt x="1024" y="1446"/>
                  </a:lnTo>
                  <a:lnTo>
                    <a:pt x="1018" y="1442"/>
                  </a:lnTo>
                  <a:lnTo>
                    <a:pt x="1012" y="1440"/>
                  </a:lnTo>
                  <a:lnTo>
                    <a:pt x="1006" y="1436"/>
                  </a:lnTo>
                  <a:lnTo>
                    <a:pt x="1000" y="1438"/>
                  </a:lnTo>
                  <a:lnTo>
                    <a:pt x="994" y="1442"/>
                  </a:lnTo>
                  <a:lnTo>
                    <a:pt x="988" y="1444"/>
                  </a:lnTo>
                  <a:lnTo>
                    <a:pt x="982" y="1446"/>
                  </a:lnTo>
                  <a:lnTo>
                    <a:pt x="976" y="1446"/>
                  </a:lnTo>
                  <a:lnTo>
                    <a:pt x="970" y="1444"/>
                  </a:lnTo>
                  <a:lnTo>
                    <a:pt x="964" y="1446"/>
                  </a:lnTo>
                  <a:lnTo>
                    <a:pt x="958" y="1444"/>
                  </a:lnTo>
                  <a:lnTo>
                    <a:pt x="952" y="1444"/>
                  </a:lnTo>
                  <a:lnTo>
                    <a:pt x="946" y="1444"/>
                  </a:lnTo>
                  <a:lnTo>
                    <a:pt x="942" y="1444"/>
                  </a:lnTo>
                  <a:lnTo>
                    <a:pt x="934" y="1444"/>
                  </a:lnTo>
                  <a:lnTo>
                    <a:pt x="930" y="1446"/>
                  </a:lnTo>
                  <a:lnTo>
                    <a:pt x="924" y="1446"/>
                  </a:lnTo>
                  <a:lnTo>
                    <a:pt x="918" y="1446"/>
                  </a:lnTo>
                  <a:lnTo>
                    <a:pt x="912" y="1446"/>
                  </a:lnTo>
                  <a:lnTo>
                    <a:pt x="906" y="1446"/>
                  </a:lnTo>
                  <a:lnTo>
                    <a:pt x="900" y="1448"/>
                  </a:lnTo>
                  <a:lnTo>
                    <a:pt x="894" y="1448"/>
                  </a:lnTo>
                  <a:lnTo>
                    <a:pt x="888" y="1450"/>
                  </a:lnTo>
                  <a:lnTo>
                    <a:pt x="882" y="1450"/>
                  </a:lnTo>
                  <a:lnTo>
                    <a:pt x="876" y="1450"/>
                  </a:lnTo>
                  <a:lnTo>
                    <a:pt x="874" y="1452"/>
                  </a:lnTo>
                  <a:lnTo>
                    <a:pt x="868" y="1454"/>
                  </a:lnTo>
                  <a:lnTo>
                    <a:pt x="862" y="1456"/>
                  </a:lnTo>
                  <a:lnTo>
                    <a:pt x="856" y="1458"/>
                  </a:lnTo>
                  <a:lnTo>
                    <a:pt x="850" y="1462"/>
                  </a:lnTo>
                  <a:lnTo>
                    <a:pt x="844" y="1464"/>
                  </a:lnTo>
                  <a:lnTo>
                    <a:pt x="838" y="1468"/>
                  </a:lnTo>
                  <a:lnTo>
                    <a:pt x="832" y="1470"/>
                  </a:lnTo>
                  <a:lnTo>
                    <a:pt x="826" y="1472"/>
                  </a:lnTo>
                  <a:lnTo>
                    <a:pt x="820" y="1474"/>
                  </a:lnTo>
                  <a:lnTo>
                    <a:pt x="814" y="1476"/>
                  </a:lnTo>
                  <a:lnTo>
                    <a:pt x="808" y="1478"/>
                  </a:lnTo>
                  <a:lnTo>
                    <a:pt x="802" y="1480"/>
                  </a:lnTo>
                  <a:lnTo>
                    <a:pt x="796" y="1480"/>
                  </a:lnTo>
                  <a:lnTo>
                    <a:pt x="790" y="1482"/>
                  </a:lnTo>
                  <a:lnTo>
                    <a:pt x="784" y="1484"/>
                  </a:lnTo>
                  <a:lnTo>
                    <a:pt x="778" y="1486"/>
                  </a:lnTo>
                  <a:lnTo>
                    <a:pt x="774" y="1488"/>
                  </a:lnTo>
                  <a:lnTo>
                    <a:pt x="768" y="1490"/>
                  </a:lnTo>
                  <a:lnTo>
                    <a:pt x="760" y="1492"/>
                  </a:lnTo>
                  <a:lnTo>
                    <a:pt x="756" y="1492"/>
                  </a:lnTo>
                  <a:lnTo>
                    <a:pt x="750" y="1494"/>
                  </a:lnTo>
                  <a:lnTo>
                    <a:pt x="744" y="1494"/>
                  </a:lnTo>
                  <a:lnTo>
                    <a:pt x="738" y="1494"/>
                  </a:lnTo>
                  <a:lnTo>
                    <a:pt x="732" y="1494"/>
                  </a:lnTo>
                  <a:lnTo>
                    <a:pt x="726" y="1494"/>
                  </a:lnTo>
                  <a:lnTo>
                    <a:pt x="720" y="1494"/>
                  </a:lnTo>
                  <a:lnTo>
                    <a:pt x="714" y="1494"/>
                  </a:lnTo>
                  <a:lnTo>
                    <a:pt x="708" y="1492"/>
                  </a:lnTo>
                  <a:lnTo>
                    <a:pt x="702" y="1490"/>
                  </a:lnTo>
                  <a:lnTo>
                    <a:pt x="696" y="1490"/>
                  </a:lnTo>
                  <a:lnTo>
                    <a:pt x="690" y="1492"/>
                  </a:lnTo>
                  <a:lnTo>
                    <a:pt x="686" y="1492"/>
                  </a:lnTo>
                  <a:lnTo>
                    <a:pt x="680" y="1494"/>
                  </a:lnTo>
                  <a:lnTo>
                    <a:pt x="674" y="1496"/>
                  </a:lnTo>
                  <a:lnTo>
                    <a:pt x="668" y="1500"/>
                  </a:lnTo>
                  <a:lnTo>
                    <a:pt x="662" y="1504"/>
                  </a:lnTo>
                  <a:lnTo>
                    <a:pt x="656" y="1506"/>
                  </a:lnTo>
                  <a:lnTo>
                    <a:pt x="650" y="1510"/>
                  </a:lnTo>
                  <a:lnTo>
                    <a:pt x="644" y="1514"/>
                  </a:lnTo>
                  <a:lnTo>
                    <a:pt x="638" y="1514"/>
                  </a:lnTo>
                  <a:lnTo>
                    <a:pt x="632" y="1516"/>
                  </a:lnTo>
                  <a:lnTo>
                    <a:pt x="626" y="1520"/>
                  </a:lnTo>
                  <a:lnTo>
                    <a:pt x="620" y="1522"/>
                  </a:lnTo>
                  <a:lnTo>
                    <a:pt x="614" y="1526"/>
                  </a:lnTo>
                  <a:lnTo>
                    <a:pt x="608" y="1528"/>
                  </a:lnTo>
                  <a:lnTo>
                    <a:pt x="602" y="1532"/>
                  </a:lnTo>
                  <a:lnTo>
                    <a:pt x="596" y="1536"/>
                  </a:lnTo>
                  <a:lnTo>
                    <a:pt x="590" y="1536"/>
                  </a:lnTo>
                  <a:lnTo>
                    <a:pt x="584" y="1538"/>
                  </a:lnTo>
                  <a:lnTo>
                    <a:pt x="578" y="1538"/>
                  </a:lnTo>
                  <a:lnTo>
                    <a:pt x="572" y="1540"/>
                  </a:lnTo>
                  <a:lnTo>
                    <a:pt x="566" y="1542"/>
                  </a:lnTo>
                  <a:lnTo>
                    <a:pt x="562" y="1546"/>
                  </a:lnTo>
                  <a:lnTo>
                    <a:pt x="554" y="1550"/>
                  </a:lnTo>
                  <a:lnTo>
                    <a:pt x="550" y="1556"/>
                  </a:lnTo>
                  <a:lnTo>
                    <a:pt x="546" y="1562"/>
                  </a:lnTo>
                  <a:lnTo>
                    <a:pt x="542" y="1568"/>
                  </a:lnTo>
                  <a:lnTo>
                    <a:pt x="538" y="1574"/>
                  </a:lnTo>
                  <a:lnTo>
                    <a:pt x="534" y="1580"/>
                  </a:lnTo>
                  <a:lnTo>
                    <a:pt x="528" y="1584"/>
                  </a:lnTo>
                  <a:lnTo>
                    <a:pt x="524" y="1588"/>
                  </a:lnTo>
                  <a:lnTo>
                    <a:pt x="518" y="1594"/>
                  </a:lnTo>
                  <a:lnTo>
                    <a:pt x="512" y="1598"/>
                  </a:lnTo>
                  <a:lnTo>
                    <a:pt x="506" y="1602"/>
                  </a:lnTo>
                  <a:lnTo>
                    <a:pt x="500" y="1608"/>
                  </a:lnTo>
                  <a:lnTo>
                    <a:pt x="494" y="1604"/>
                  </a:lnTo>
                  <a:lnTo>
                    <a:pt x="488" y="1606"/>
                  </a:lnTo>
                  <a:lnTo>
                    <a:pt x="482" y="1610"/>
                  </a:lnTo>
                  <a:lnTo>
                    <a:pt x="476" y="1612"/>
                  </a:lnTo>
                  <a:lnTo>
                    <a:pt x="476" y="1606"/>
                  </a:lnTo>
                  <a:lnTo>
                    <a:pt x="472" y="1602"/>
                  </a:lnTo>
                  <a:lnTo>
                    <a:pt x="464" y="1604"/>
                  </a:lnTo>
                  <a:lnTo>
                    <a:pt x="460" y="1604"/>
                  </a:lnTo>
                  <a:lnTo>
                    <a:pt x="454" y="1604"/>
                  </a:lnTo>
                  <a:lnTo>
                    <a:pt x="448" y="1604"/>
                  </a:lnTo>
                  <a:lnTo>
                    <a:pt x="442" y="1608"/>
                  </a:lnTo>
                  <a:lnTo>
                    <a:pt x="436" y="1606"/>
                  </a:lnTo>
                  <a:lnTo>
                    <a:pt x="430" y="1606"/>
                  </a:lnTo>
                  <a:lnTo>
                    <a:pt x="424" y="1612"/>
                  </a:lnTo>
                  <a:lnTo>
                    <a:pt x="418" y="1612"/>
                  </a:lnTo>
                  <a:lnTo>
                    <a:pt x="418" y="1606"/>
                  </a:lnTo>
                  <a:lnTo>
                    <a:pt x="416" y="1600"/>
                  </a:lnTo>
                  <a:lnTo>
                    <a:pt x="410" y="1600"/>
                  </a:lnTo>
                  <a:lnTo>
                    <a:pt x="404" y="1604"/>
                  </a:lnTo>
                  <a:lnTo>
                    <a:pt x="398" y="1602"/>
                  </a:lnTo>
                  <a:lnTo>
                    <a:pt x="392" y="1602"/>
                  </a:lnTo>
                  <a:lnTo>
                    <a:pt x="386" y="1598"/>
                  </a:lnTo>
                  <a:lnTo>
                    <a:pt x="380" y="1598"/>
                  </a:lnTo>
                  <a:lnTo>
                    <a:pt x="374" y="1598"/>
                  </a:lnTo>
                  <a:lnTo>
                    <a:pt x="368" y="1600"/>
                  </a:lnTo>
                  <a:lnTo>
                    <a:pt x="362" y="1600"/>
                  </a:lnTo>
                  <a:lnTo>
                    <a:pt x="356" y="1602"/>
                  </a:lnTo>
                  <a:lnTo>
                    <a:pt x="350" y="1602"/>
                  </a:lnTo>
                  <a:lnTo>
                    <a:pt x="344" y="1602"/>
                  </a:lnTo>
                  <a:lnTo>
                    <a:pt x="338" y="1604"/>
                  </a:lnTo>
                  <a:lnTo>
                    <a:pt x="332" y="1604"/>
                  </a:lnTo>
                  <a:lnTo>
                    <a:pt x="326" y="1606"/>
                  </a:lnTo>
                  <a:lnTo>
                    <a:pt x="320" y="1610"/>
                  </a:lnTo>
                  <a:lnTo>
                    <a:pt x="314" y="1608"/>
                  </a:lnTo>
                  <a:lnTo>
                    <a:pt x="308" y="1608"/>
                  </a:lnTo>
                  <a:lnTo>
                    <a:pt x="304" y="1608"/>
                  </a:lnTo>
                  <a:lnTo>
                    <a:pt x="296" y="1606"/>
                  </a:lnTo>
                  <a:lnTo>
                    <a:pt x="290" y="1610"/>
                  </a:lnTo>
                  <a:lnTo>
                    <a:pt x="284" y="1610"/>
                  </a:lnTo>
                  <a:lnTo>
                    <a:pt x="278" y="1614"/>
                  </a:lnTo>
                  <a:lnTo>
                    <a:pt x="272" y="1616"/>
                  </a:lnTo>
                  <a:lnTo>
                    <a:pt x="266" y="1620"/>
                  </a:lnTo>
                  <a:lnTo>
                    <a:pt x="260" y="1626"/>
                  </a:lnTo>
                  <a:lnTo>
                    <a:pt x="256" y="1632"/>
                  </a:lnTo>
                  <a:lnTo>
                    <a:pt x="256" y="1638"/>
                  </a:lnTo>
                  <a:lnTo>
                    <a:pt x="250" y="1638"/>
                  </a:lnTo>
                  <a:lnTo>
                    <a:pt x="248" y="1644"/>
                  </a:lnTo>
                  <a:lnTo>
                    <a:pt x="242" y="1642"/>
                  </a:lnTo>
                  <a:lnTo>
                    <a:pt x="236" y="1648"/>
                  </a:lnTo>
                  <a:lnTo>
                    <a:pt x="230" y="1644"/>
                  </a:lnTo>
                  <a:lnTo>
                    <a:pt x="224" y="1642"/>
                  </a:lnTo>
                  <a:lnTo>
                    <a:pt x="218" y="1644"/>
                  </a:lnTo>
                  <a:lnTo>
                    <a:pt x="212" y="1648"/>
                  </a:lnTo>
                  <a:lnTo>
                    <a:pt x="206" y="1650"/>
                  </a:lnTo>
                  <a:lnTo>
                    <a:pt x="202" y="1656"/>
                  </a:lnTo>
                  <a:lnTo>
                    <a:pt x="196" y="1658"/>
                  </a:lnTo>
                  <a:lnTo>
                    <a:pt x="190" y="1660"/>
                  </a:lnTo>
                  <a:lnTo>
                    <a:pt x="184" y="1664"/>
                  </a:lnTo>
                  <a:lnTo>
                    <a:pt x="180" y="1670"/>
                  </a:lnTo>
                  <a:lnTo>
                    <a:pt x="174" y="1674"/>
                  </a:lnTo>
                  <a:lnTo>
                    <a:pt x="168" y="1676"/>
                  </a:lnTo>
                  <a:lnTo>
                    <a:pt x="164" y="1682"/>
                  </a:lnTo>
                  <a:lnTo>
                    <a:pt x="158" y="1680"/>
                  </a:lnTo>
                  <a:lnTo>
                    <a:pt x="152" y="1682"/>
                  </a:lnTo>
                  <a:lnTo>
                    <a:pt x="146" y="1682"/>
                  </a:lnTo>
                  <a:lnTo>
                    <a:pt x="144" y="1682"/>
                  </a:lnTo>
                  <a:lnTo>
                    <a:pt x="150" y="1686"/>
                  </a:lnTo>
                  <a:lnTo>
                    <a:pt x="144" y="1688"/>
                  </a:lnTo>
                  <a:lnTo>
                    <a:pt x="142" y="1688"/>
                  </a:lnTo>
                  <a:lnTo>
                    <a:pt x="136" y="1684"/>
                  </a:lnTo>
                  <a:lnTo>
                    <a:pt x="130" y="1686"/>
                  </a:lnTo>
                  <a:lnTo>
                    <a:pt x="124" y="1686"/>
                  </a:lnTo>
                  <a:lnTo>
                    <a:pt x="118" y="1684"/>
                  </a:lnTo>
                  <a:lnTo>
                    <a:pt x="112" y="1684"/>
                  </a:lnTo>
                  <a:lnTo>
                    <a:pt x="106" y="1682"/>
                  </a:lnTo>
                  <a:lnTo>
                    <a:pt x="100" y="1684"/>
                  </a:lnTo>
                  <a:lnTo>
                    <a:pt x="94" y="1682"/>
                  </a:lnTo>
                  <a:lnTo>
                    <a:pt x="88" y="1684"/>
                  </a:lnTo>
                  <a:lnTo>
                    <a:pt x="82" y="1682"/>
                  </a:lnTo>
                  <a:lnTo>
                    <a:pt x="78" y="1682"/>
                  </a:lnTo>
                  <a:lnTo>
                    <a:pt x="72" y="1682"/>
                  </a:lnTo>
                  <a:lnTo>
                    <a:pt x="66" y="1680"/>
                  </a:lnTo>
                  <a:lnTo>
                    <a:pt x="68" y="1674"/>
                  </a:lnTo>
                  <a:lnTo>
                    <a:pt x="62" y="1674"/>
                  </a:lnTo>
                  <a:lnTo>
                    <a:pt x="56" y="1672"/>
                  </a:lnTo>
                  <a:lnTo>
                    <a:pt x="50" y="1670"/>
                  </a:lnTo>
                  <a:lnTo>
                    <a:pt x="44" y="1668"/>
                  </a:lnTo>
                  <a:lnTo>
                    <a:pt x="40" y="1662"/>
                  </a:lnTo>
                  <a:lnTo>
                    <a:pt x="38" y="1658"/>
                  </a:lnTo>
                  <a:lnTo>
                    <a:pt x="36" y="1652"/>
                  </a:lnTo>
                  <a:lnTo>
                    <a:pt x="32" y="1646"/>
                  </a:lnTo>
                  <a:lnTo>
                    <a:pt x="26" y="1640"/>
                  </a:lnTo>
                  <a:lnTo>
                    <a:pt x="20" y="1636"/>
                  </a:lnTo>
                  <a:lnTo>
                    <a:pt x="16" y="1632"/>
                  </a:lnTo>
                  <a:lnTo>
                    <a:pt x="10" y="1632"/>
                  </a:lnTo>
                  <a:lnTo>
                    <a:pt x="4" y="1636"/>
                  </a:lnTo>
                  <a:lnTo>
                    <a:pt x="0" y="1630"/>
                  </a:lnTo>
                  <a:lnTo>
                    <a:pt x="0" y="1624"/>
                  </a:lnTo>
                  <a:lnTo>
                    <a:pt x="2" y="1618"/>
                  </a:lnTo>
                  <a:lnTo>
                    <a:pt x="2" y="1612"/>
                  </a:lnTo>
                  <a:lnTo>
                    <a:pt x="4" y="1606"/>
                  </a:lnTo>
                  <a:lnTo>
                    <a:pt x="6" y="1600"/>
                  </a:lnTo>
                  <a:lnTo>
                    <a:pt x="8" y="1594"/>
                  </a:lnTo>
                  <a:lnTo>
                    <a:pt x="10" y="1590"/>
                  </a:lnTo>
                  <a:lnTo>
                    <a:pt x="14" y="1584"/>
                  </a:lnTo>
                  <a:lnTo>
                    <a:pt x="20" y="1584"/>
                  </a:lnTo>
                  <a:lnTo>
                    <a:pt x="26" y="158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7" name="Freeform 194"/>
            <p:cNvSpPr>
              <a:spLocks/>
            </p:cNvSpPr>
            <p:nvPr/>
          </p:nvSpPr>
          <p:spPr bwMode="auto">
            <a:xfrm>
              <a:off x="8243888" y="4818063"/>
              <a:ext cx="60325" cy="66675"/>
            </a:xfrm>
            <a:custGeom>
              <a:avLst/>
              <a:gdLst>
                <a:gd name="T0" fmla="*/ 2147483647 w 146"/>
                <a:gd name="T1" fmla="*/ 2147483647 h 160"/>
                <a:gd name="T2" fmla="*/ 2147483647 w 146"/>
                <a:gd name="T3" fmla="*/ 2147483647 h 160"/>
                <a:gd name="T4" fmla="*/ 2147483647 w 146"/>
                <a:gd name="T5" fmla="*/ 2147483647 h 160"/>
                <a:gd name="T6" fmla="*/ 2147483647 w 146"/>
                <a:gd name="T7" fmla="*/ 2147483647 h 160"/>
                <a:gd name="T8" fmla="*/ 2147483647 w 146"/>
                <a:gd name="T9" fmla="*/ 2147483647 h 160"/>
                <a:gd name="T10" fmla="*/ 2147483647 w 146"/>
                <a:gd name="T11" fmla="*/ 2147483647 h 160"/>
                <a:gd name="T12" fmla="*/ 2147483647 w 146"/>
                <a:gd name="T13" fmla="*/ 2147483647 h 160"/>
                <a:gd name="T14" fmla="*/ 2147483647 w 146"/>
                <a:gd name="T15" fmla="*/ 2147483647 h 160"/>
                <a:gd name="T16" fmla="*/ 2147483647 w 146"/>
                <a:gd name="T17" fmla="*/ 2147483647 h 160"/>
                <a:gd name="T18" fmla="*/ 2147483647 w 146"/>
                <a:gd name="T19" fmla="*/ 2147483647 h 160"/>
                <a:gd name="T20" fmla="*/ 2147483647 w 146"/>
                <a:gd name="T21" fmla="*/ 2147483647 h 160"/>
                <a:gd name="T22" fmla="*/ 2147483647 w 146"/>
                <a:gd name="T23" fmla="*/ 2147483647 h 160"/>
                <a:gd name="T24" fmla="*/ 2147483647 w 146"/>
                <a:gd name="T25" fmla="*/ 2147483647 h 160"/>
                <a:gd name="T26" fmla="*/ 2147483647 w 146"/>
                <a:gd name="T27" fmla="*/ 2147483647 h 160"/>
                <a:gd name="T28" fmla="*/ 2147483647 w 146"/>
                <a:gd name="T29" fmla="*/ 2147483647 h 160"/>
                <a:gd name="T30" fmla="*/ 2147483647 w 146"/>
                <a:gd name="T31" fmla="*/ 2147483647 h 160"/>
                <a:gd name="T32" fmla="*/ 2147483647 w 146"/>
                <a:gd name="T33" fmla="*/ 2147483647 h 160"/>
                <a:gd name="T34" fmla="*/ 2147483647 w 146"/>
                <a:gd name="T35" fmla="*/ 2147483647 h 160"/>
                <a:gd name="T36" fmla="*/ 2147483647 w 146"/>
                <a:gd name="T37" fmla="*/ 2147483647 h 160"/>
                <a:gd name="T38" fmla="*/ 2147483647 w 146"/>
                <a:gd name="T39" fmla="*/ 2147483647 h 160"/>
                <a:gd name="T40" fmla="*/ 2147483647 w 146"/>
                <a:gd name="T41" fmla="*/ 2147483647 h 160"/>
                <a:gd name="T42" fmla="*/ 2147483647 w 146"/>
                <a:gd name="T43" fmla="*/ 2147483647 h 160"/>
                <a:gd name="T44" fmla="*/ 2147483647 w 146"/>
                <a:gd name="T45" fmla="*/ 2147483647 h 160"/>
                <a:gd name="T46" fmla="*/ 2147483647 w 146"/>
                <a:gd name="T47" fmla="*/ 2147483647 h 160"/>
                <a:gd name="T48" fmla="*/ 2147483647 w 146"/>
                <a:gd name="T49" fmla="*/ 2147483647 h 160"/>
                <a:gd name="T50" fmla="*/ 2147483647 w 146"/>
                <a:gd name="T51" fmla="*/ 2147483647 h 160"/>
                <a:gd name="T52" fmla="*/ 2147483647 w 146"/>
                <a:gd name="T53" fmla="*/ 2147483647 h 160"/>
                <a:gd name="T54" fmla="*/ 2147483647 w 146"/>
                <a:gd name="T55" fmla="*/ 2147483647 h 160"/>
                <a:gd name="T56" fmla="*/ 2147483647 w 146"/>
                <a:gd name="T57" fmla="*/ 2147483647 h 160"/>
                <a:gd name="T58" fmla="*/ 2147483647 w 146"/>
                <a:gd name="T59" fmla="*/ 2147483647 h 160"/>
                <a:gd name="T60" fmla="*/ 2147483647 w 146"/>
                <a:gd name="T61" fmla="*/ 2147483647 h 160"/>
                <a:gd name="T62" fmla="*/ 2147483647 w 146"/>
                <a:gd name="T63" fmla="*/ 2147483647 h 160"/>
                <a:gd name="T64" fmla="*/ 2147483647 w 146"/>
                <a:gd name="T65" fmla="*/ 2147483647 h 160"/>
                <a:gd name="T66" fmla="*/ 2147483647 w 146"/>
                <a:gd name="T67" fmla="*/ 2147483647 h 160"/>
                <a:gd name="T68" fmla="*/ 2147483647 w 146"/>
                <a:gd name="T69" fmla="*/ 2147483647 h 160"/>
                <a:gd name="T70" fmla="*/ 0 w 146"/>
                <a:gd name="T71" fmla="*/ 0 h 160"/>
                <a:gd name="T72" fmla="*/ 2147483647 w 146"/>
                <a:gd name="T73" fmla="*/ 2147483647 h 160"/>
                <a:gd name="T74" fmla="*/ 2147483647 w 146"/>
                <a:gd name="T75" fmla="*/ 2147483647 h 160"/>
                <a:gd name="T76" fmla="*/ 2147483647 w 146"/>
                <a:gd name="T77" fmla="*/ 2147483647 h 16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46"/>
                <a:gd name="T118" fmla="*/ 0 h 160"/>
                <a:gd name="T119" fmla="*/ 146 w 146"/>
                <a:gd name="T120" fmla="*/ 160 h 16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46" h="160">
                  <a:moveTo>
                    <a:pt x="12" y="42"/>
                  </a:moveTo>
                  <a:lnTo>
                    <a:pt x="16" y="44"/>
                  </a:lnTo>
                  <a:lnTo>
                    <a:pt x="16" y="50"/>
                  </a:lnTo>
                  <a:lnTo>
                    <a:pt x="22" y="56"/>
                  </a:lnTo>
                  <a:lnTo>
                    <a:pt x="26" y="60"/>
                  </a:lnTo>
                  <a:lnTo>
                    <a:pt x="26" y="66"/>
                  </a:lnTo>
                  <a:lnTo>
                    <a:pt x="32" y="70"/>
                  </a:lnTo>
                  <a:lnTo>
                    <a:pt x="34" y="70"/>
                  </a:lnTo>
                  <a:lnTo>
                    <a:pt x="34" y="76"/>
                  </a:lnTo>
                  <a:lnTo>
                    <a:pt x="36" y="82"/>
                  </a:lnTo>
                  <a:lnTo>
                    <a:pt x="42" y="88"/>
                  </a:lnTo>
                  <a:lnTo>
                    <a:pt x="48" y="90"/>
                  </a:lnTo>
                  <a:lnTo>
                    <a:pt x="48" y="96"/>
                  </a:lnTo>
                  <a:lnTo>
                    <a:pt x="52" y="102"/>
                  </a:lnTo>
                  <a:lnTo>
                    <a:pt x="58" y="106"/>
                  </a:lnTo>
                  <a:lnTo>
                    <a:pt x="64" y="106"/>
                  </a:lnTo>
                  <a:lnTo>
                    <a:pt x="64" y="108"/>
                  </a:lnTo>
                  <a:lnTo>
                    <a:pt x="68" y="112"/>
                  </a:lnTo>
                  <a:lnTo>
                    <a:pt x="74" y="116"/>
                  </a:lnTo>
                  <a:lnTo>
                    <a:pt x="78" y="116"/>
                  </a:lnTo>
                  <a:lnTo>
                    <a:pt x="80" y="124"/>
                  </a:lnTo>
                  <a:lnTo>
                    <a:pt x="86" y="128"/>
                  </a:lnTo>
                  <a:lnTo>
                    <a:pt x="92" y="128"/>
                  </a:lnTo>
                  <a:lnTo>
                    <a:pt x="98" y="132"/>
                  </a:lnTo>
                  <a:lnTo>
                    <a:pt x="94" y="138"/>
                  </a:lnTo>
                  <a:lnTo>
                    <a:pt x="100" y="142"/>
                  </a:lnTo>
                  <a:lnTo>
                    <a:pt x="106" y="148"/>
                  </a:lnTo>
                  <a:lnTo>
                    <a:pt x="112" y="146"/>
                  </a:lnTo>
                  <a:lnTo>
                    <a:pt x="110" y="148"/>
                  </a:lnTo>
                  <a:lnTo>
                    <a:pt x="110" y="154"/>
                  </a:lnTo>
                  <a:lnTo>
                    <a:pt x="116" y="148"/>
                  </a:lnTo>
                  <a:lnTo>
                    <a:pt x="122" y="152"/>
                  </a:lnTo>
                  <a:lnTo>
                    <a:pt x="128" y="158"/>
                  </a:lnTo>
                  <a:lnTo>
                    <a:pt x="128" y="160"/>
                  </a:lnTo>
                  <a:lnTo>
                    <a:pt x="134" y="158"/>
                  </a:lnTo>
                  <a:lnTo>
                    <a:pt x="140" y="158"/>
                  </a:lnTo>
                  <a:lnTo>
                    <a:pt x="146" y="152"/>
                  </a:lnTo>
                  <a:lnTo>
                    <a:pt x="146" y="146"/>
                  </a:lnTo>
                  <a:lnTo>
                    <a:pt x="144" y="142"/>
                  </a:lnTo>
                  <a:lnTo>
                    <a:pt x="140" y="134"/>
                  </a:lnTo>
                  <a:lnTo>
                    <a:pt x="134" y="132"/>
                  </a:lnTo>
                  <a:lnTo>
                    <a:pt x="128" y="128"/>
                  </a:lnTo>
                  <a:lnTo>
                    <a:pt x="124" y="122"/>
                  </a:lnTo>
                  <a:lnTo>
                    <a:pt x="122" y="116"/>
                  </a:lnTo>
                  <a:lnTo>
                    <a:pt x="118" y="112"/>
                  </a:lnTo>
                  <a:lnTo>
                    <a:pt x="112" y="108"/>
                  </a:lnTo>
                  <a:lnTo>
                    <a:pt x="106" y="102"/>
                  </a:lnTo>
                  <a:lnTo>
                    <a:pt x="102" y="96"/>
                  </a:lnTo>
                  <a:lnTo>
                    <a:pt x="96" y="94"/>
                  </a:lnTo>
                  <a:lnTo>
                    <a:pt x="90" y="92"/>
                  </a:lnTo>
                  <a:lnTo>
                    <a:pt x="90" y="90"/>
                  </a:lnTo>
                  <a:lnTo>
                    <a:pt x="86" y="84"/>
                  </a:lnTo>
                  <a:lnTo>
                    <a:pt x="80" y="82"/>
                  </a:lnTo>
                  <a:lnTo>
                    <a:pt x="78" y="78"/>
                  </a:lnTo>
                  <a:lnTo>
                    <a:pt x="76" y="72"/>
                  </a:lnTo>
                  <a:lnTo>
                    <a:pt x="70" y="70"/>
                  </a:lnTo>
                  <a:lnTo>
                    <a:pt x="70" y="64"/>
                  </a:lnTo>
                  <a:lnTo>
                    <a:pt x="66" y="56"/>
                  </a:lnTo>
                  <a:lnTo>
                    <a:pt x="64" y="54"/>
                  </a:lnTo>
                  <a:lnTo>
                    <a:pt x="64" y="48"/>
                  </a:lnTo>
                  <a:lnTo>
                    <a:pt x="58" y="46"/>
                  </a:lnTo>
                  <a:lnTo>
                    <a:pt x="52" y="44"/>
                  </a:lnTo>
                  <a:lnTo>
                    <a:pt x="46" y="38"/>
                  </a:lnTo>
                  <a:lnTo>
                    <a:pt x="42" y="32"/>
                  </a:lnTo>
                  <a:lnTo>
                    <a:pt x="36" y="26"/>
                  </a:lnTo>
                  <a:lnTo>
                    <a:pt x="30" y="20"/>
                  </a:lnTo>
                  <a:lnTo>
                    <a:pt x="28" y="14"/>
                  </a:lnTo>
                  <a:lnTo>
                    <a:pt x="22" y="12"/>
                  </a:lnTo>
                  <a:lnTo>
                    <a:pt x="16" y="14"/>
                  </a:lnTo>
                  <a:lnTo>
                    <a:pt x="10" y="12"/>
                  </a:lnTo>
                  <a:lnTo>
                    <a:pt x="6" y="6"/>
                  </a:lnTo>
                  <a:lnTo>
                    <a:pt x="0" y="0"/>
                  </a:lnTo>
                  <a:lnTo>
                    <a:pt x="2" y="6"/>
                  </a:lnTo>
                  <a:lnTo>
                    <a:pt x="2" y="12"/>
                  </a:lnTo>
                  <a:lnTo>
                    <a:pt x="8" y="18"/>
                  </a:lnTo>
                  <a:lnTo>
                    <a:pt x="4" y="24"/>
                  </a:lnTo>
                  <a:lnTo>
                    <a:pt x="6" y="30"/>
                  </a:lnTo>
                  <a:lnTo>
                    <a:pt x="10" y="36"/>
                  </a:lnTo>
                  <a:lnTo>
                    <a:pt x="12"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8" name="Freeform 195"/>
            <p:cNvSpPr>
              <a:spLocks/>
            </p:cNvSpPr>
            <p:nvPr/>
          </p:nvSpPr>
          <p:spPr bwMode="auto">
            <a:xfrm>
              <a:off x="7540625" y="5403850"/>
              <a:ext cx="96838" cy="84138"/>
            </a:xfrm>
            <a:custGeom>
              <a:avLst/>
              <a:gdLst>
                <a:gd name="T0" fmla="*/ 2147483647 w 240"/>
                <a:gd name="T1" fmla="*/ 2147483647 h 204"/>
                <a:gd name="T2" fmla="*/ 2147483647 w 240"/>
                <a:gd name="T3" fmla="*/ 2147483647 h 204"/>
                <a:gd name="T4" fmla="*/ 2147483647 w 240"/>
                <a:gd name="T5" fmla="*/ 2147483647 h 204"/>
                <a:gd name="T6" fmla="*/ 2147483647 w 240"/>
                <a:gd name="T7" fmla="*/ 2147483647 h 204"/>
                <a:gd name="T8" fmla="*/ 2147483647 w 240"/>
                <a:gd name="T9" fmla="*/ 2147483647 h 204"/>
                <a:gd name="T10" fmla="*/ 2147483647 w 240"/>
                <a:gd name="T11" fmla="*/ 2147483647 h 204"/>
                <a:gd name="T12" fmla="*/ 2147483647 w 240"/>
                <a:gd name="T13" fmla="*/ 2147483647 h 204"/>
                <a:gd name="T14" fmla="*/ 2147483647 w 240"/>
                <a:gd name="T15" fmla="*/ 2147483647 h 204"/>
                <a:gd name="T16" fmla="*/ 2147483647 w 240"/>
                <a:gd name="T17" fmla="*/ 2147483647 h 204"/>
                <a:gd name="T18" fmla="*/ 2147483647 w 240"/>
                <a:gd name="T19" fmla="*/ 2147483647 h 204"/>
                <a:gd name="T20" fmla="*/ 2147483647 w 240"/>
                <a:gd name="T21" fmla="*/ 2147483647 h 204"/>
                <a:gd name="T22" fmla="*/ 2147483647 w 240"/>
                <a:gd name="T23" fmla="*/ 2147483647 h 204"/>
                <a:gd name="T24" fmla="*/ 2147483647 w 240"/>
                <a:gd name="T25" fmla="*/ 2147483647 h 204"/>
                <a:gd name="T26" fmla="*/ 2147483647 w 240"/>
                <a:gd name="T27" fmla="*/ 2147483647 h 204"/>
                <a:gd name="T28" fmla="*/ 2147483647 w 240"/>
                <a:gd name="T29" fmla="*/ 2147483647 h 204"/>
                <a:gd name="T30" fmla="*/ 2147483647 w 240"/>
                <a:gd name="T31" fmla="*/ 2147483647 h 204"/>
                <a:gd name="T32" fmla="*/ 2147483647 w 240"/>
                <a:gd name="T33" fmla="*/ 2147483647 h 204"/>
                <a:gd name="T34" fmla="*/ 2147483647 w 240"/>
                <a:gd name="T35" fmla="*/ 2147483647 h 204"/>
                <a:gd name="T36" fmla="*/ 2147483647 w 240"/>
                <a:gd name="T37" fmla="*/ 2147483647 h 204"/>
                <a:gd name="T38" fmla="*/ 2147483647 w 240"/>
                <a:gd name="T39" fmla="*/ 2147483647 h 204"/>
                <a:gd name="T40" fmla="*/ 2147483647 w 240"/>
                <a:gd name="T41" fmla="*/ 2147483647 h 204"/>
                <a:gd name="T42" fmla="*/ 2147483647 w 240"/>
                <a:gd name="T43" fmla="*/ 2147483647 h 204"/>
                <a:gd name="T44" fmla="*/ 2147483647 w 240"/>
                <a:gd name="T45" fmla="*/ 2147483647 h 204"/>
                <a:gd name="T46" fmla="*/ 2147483647 w 240"/>
                <a:gd name="T47" fmla="*/ 2147483647 h 204"/>
                <a:gd name="T48" fmla="*/ 2147483647 w 240"/>
                <a:gd name="T49" fmla="*/ 2147483647 h 204"/>
                <a:gd name="T50" fmla="*/ 2147483647 w 240"/>
                <a:gd name="T51" fmla="*/ 2147483647 h 204"/>
                <a:gd name="T52" fmla="*/ 2147483647 w 240"/>
                <a:gd name="T53" fmla="*/ 2147483647 h 204"/>
                <a:gd name="T54" fmla="*/ 2147483647 w 240"/>
                <a:gd name="T55" fmla="*/ 2147483647 h 204"/>
                <a:gd name="T56" fmla="*/ 2147483647 w 240"/>
                <a:gd name="T57" fmla="*/ 2147483647 h 204"/>
                <a:gd name="T58" fmla="*/ 2147483647 w 240"/>
                <a:gd name="T59" fmla="*/ 2147483647 h 204"/>
                <a:gd name="T60" fmla="*/ 2147483647 w 240"/>
                <a:gd name="T61" fmla="*/ 0 h 204"/>
                <a:gd name="T62" fmla="*/ 2147483647 w 240"/>
                <a:gd name="T63" fmla="*/ 2147483647 h 204"/>
                <a:gd name="T64" fmla="*/ 2147483647 w 240"/>
                <a:gd name="T65" fmla="*/ 2147483647 h 204"/>
                <a:gd name="T66" fmla="*/ 2147483647 w 240"/>
                <a:gd name="T67" fmla="*/ 2147483647 h 204"/>
                <a:gd name="T68" fmla="*/ 2147483647 w 240"/>
                <a:gd name="T69" fmla="*/ 2147483647 h 204"/>
                <a:gd name="T70" fmla="*/ 2147483647 w 240"/>
                <a:gd name="T71" fmla="*/ 2147483647 h 204"/>
                <a:gd name="T72" fmla="*/ 2147483647 w 240"/>
                <a:gd name="T73" fmla="*/ 2147483647 h 204"/>
                <a:gd name="T74" fmla="*/ 2147483647 w 240"/>
                <a:gd name="T75" fmla="*/ 2147483647 h 204"/>
                <a:gd name="T76" fmla="*/ 2147483647 w 240"/>
                <a:gd name="T77" fmla="*/ 2147483647 h 204"/>
                <a:gd name="T78" fmla="*/ 2147483647 w 240"/>
                <a:gd name="T79" fmla="*/ 2147483647 h 204"/>
                <a:gd name="T80" fmla="*/ 2147483647 w 240"/>
                <a:gd name="T81" fmla="*/ 2147483647 h 204"/>
                <a:gd name="T82" fmla="*/ 0 w 240"/>
                <a:gd name="T83" fmla="*/ 2147483647 h 204"/>
                <a:gd name="T84" fmla="*/ 2147483647 w 240"/>
                <a:gd name="T85" fmla="*/ 2147483647 h 204"/>
                <a:gd name="T86" fmla="*/ 2147483647 w 240"/>
                <a:gd name="T87" fmla="*/ 2147483647 h 204"/>
                <a:gd name="T88" fmla="*/ 2147483647 w 240"/>
                <a:gd name="T89" fmla="*/ 2147483647 h 204"/>
                <a:gd name="T90" fmla="*/ 2147483647 w 240"/>
                <a:gd name="T91" fmla="*/ 2147483647 h 204"/>
                <a:gd name="T92" fmla="*/ 2147483647 w 240"/>
                <a:gd name="T93" fmla="*/ 2147483647 h 204"/>
                <a:gd name="T94" fmla="*/ 2147483647 w 240"/>
                <a:gd name="T95" fmla="*/ 2147483647 h 204"/>
                <a:gd name="T96" fmla="*/ 2147483647 w 240"/>
                <a:gd name="T97" fmla="*/ 2147483647 h 204"/>
                <a:gd name="T98" fmla="*/ 2147483647 w 240"/>
                <a:gd name="T99" fmla="*/ 2147483647 h 204"/>
                <a:gd name="T100" fmla="*/ 2147483647 w 240"/>
                <a:gd name="T101" fmla="*/ 2147483647 h 204"/>
                <a:gd name="T102" fmla="*/ 2147483647 w 240"/>
                <a:gd name="T103" fmla="*/ 2147483647 h 204"/>
                <a:gd name="T104" fmla="*/ 2147483647 w 240"/>
                <a:gd name="T105" fmla="*/ 2147483647 h 204"/>
                <a:gd name="T106" fmla="*/ 2147483647 w 240"/>
                <a:gd name="T107" fmla="*/ 2147483647 h 20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0"/>
                <a:gd name="T163" fmla="*/ 0 h 204"/>
                <a:gd name="T164" fmla="*/ 240 w 240"/>
                <a:gd name="T165" fmla="*/ 204 h 20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0" h="204">
                  <a:moveTo>
                    <a:pt x="106" y="146"/>
                  </a:moveTo>
                  <a:lnTo>
                    <a:pt x="106" y="152"/>
                  </a:lnTo>
                  <a:lnTo>
                    <a:pt x="108" y="158"/>
                  </a:lnTo>
                  <a:lnTo>
                    <a:pt x="102" y="162"/>
                  </a:lnTo>
                  <a:lnTo>
                    <a:pt x="108" y="162"/>
                  </a:lnTo>
                  <a:lnTo>
                    <a:pt x="112" y="156"/>
                  </a:lnTo>
                  <a:lnTo>
                    <a:pt x="116" y="152"/>
                  </a:lnTo>
                  <a:lnTo>
                    <a:pt x="122" y="150"/>
                  </a:lnTo>
                  <a:lnTo>
                    <a:pt x="128" y="154"/>
                  </a:lnTo>
                  <a:lnTo>
                    <a:pt x="128" y="160"/>
                  </a:lnTo>
                  <a:lnTo>
                    <a:pt x="122" y="164"/>
                  </a:lnTo>
                  <a:lnTo>
                    <a:pt x="124" y="160"/>
                  </a:lnTo>
                  <a:lnTo>
                    <a:pt x="116" y="160"/>
                  </a:lnTo>
                  <a:lnTo>
                    <a:pt x="114" y="166"/>
                  </a:lnTo>
                  <a:lnTo>
                    <a:pt x="112" y="172"/>
                  </a:lnTo>
                  <a:lnTo>
                    <a:pt x="118" y="176"/>
                  </a:lnTo>
                  <a:lnTo>
                    <a:pt x="124" y="170"/>
                  </a:lnTo>
                  <a:lnTo>
                    <a:pt x="124" y="176"/>
                  </a:lnTo>
                  <a:lnTo>
                    <a:pt x="130" y="172"/>
                  </a:lnTo>
                  <a:lnTo>
                    <a:pt x="130" y="166"/>
                  </a:lnTo>
                  <a:lnTo>
                    <a:pt x="136" y="160"/>
                  </a:lnTo>
                  <a:lnTo>
                    <a:pt x="140" y="154"/>
                  </a:lnTo>
                  <a:lnTo>
                    <a:pt x="134" y="154"/>
                  </a:lnTo>
                  <a:lnTo>
                    <a:pt x="138" y="148"/>
                  </a:lnTo>
                  <a:lnTo>
                    <a:pt x="144" y="142"/>
                  </a:lnTo>
                  <a:lnTo>
                    <a:pt x="148" y="138"/>
                  </a:lnTo>
                  <a:lnTo>
                    <a:pt x="150" y="130"/>
                  </a:lnTo>
                  <a:lnTo>
                    <a:pt x="156" y="128"/>
                  </a:lnTo>
                  <a:lnTo>
                    <a:pt x="160" y="122"/>
                  </a:lnTo>
                  <a:lnTo>
                    <a:pt x="164" y="118"/>
                  </a:lnTo>
                  <a:lnTo>
                    <a:pt x="168" y="112"/>
                  </a:lnTo>
                  <a:lnTo>
                    <a:pt x="174" y="106"/>
                  </a:lnTo>
                  <a:lnTo>
                    <a:pt x="178" y="100"/>
                  </a:lnTo>
                  <a:lnTo>
                    <a:pt x="184" y="100"/>
                  </a:lnTo>
                  <a:lnTo>
                    <a:pt x="188" y="92"/>
                  </a:lnTo>
                  <a:lnTo>
                    <a:pt x="188" y="98"/>
                  </a:lnTo>
                  <a:lnTo>
                    <a:pt x="188" y="104"/>
                  </a:lnTo>
                  <a:lnTo>
                    <a:pt x="184" y="110"/>
                  </a:lnTo>
                  <a:lnTo>
                    <a:pt x="190" y="108"/>
                  </a:lnTo>
                  <a:lnTo>
                    <a:pt x="194" y="102"/>
                  </a:lnTo>
                  <a:lnTo>
                    <a:pt x="194" y="96"/>
                  </a:lnTo>
                  <a:lnTo>
                    <a:pt x="198" y="90"/>
                  </a:lnTo>
                  <a:lnTo>
                    <a:pt x="200" y="84"/>
                  </a:lnTo>
                  <a:lnTo>
                    <a:pt x="204" y="78"/>
                  </a:lnTo>
                  <a:lnTo>
                    <a:pt x="208" y="72"/>
                  </a:lnTo>
                  <a:lnTo>
                    <a:pt x="214" y="66"/>
                  </a:lnTo>
                  <a:lnTo>
                    <a:pt x="214" y="60"/>
                  </a:lnTo>
                  <a:lnTo>
                    <a:pt x="218" y="54"/>
                  </a:lnTo>
                  <a:lnTo>
                    <a:pt x="224" y="48"/>
                  </a:lnTo>
                  <a:lnTo>
                    <a:pt x="228" y="42"/>
                  </a:lnTo>
                  <a:lnTo>
                    <a:pt x="228" y="36"/>
                  </a:lnTo>
                  <a:lnTo>
                    <a:pt x="234" y="30"/>
                  </a:lnTo>
                  <a:lnTo>
                    <a:pt x="240" y="24"/>
                  </a:lnTo>
                  <a:lnTo>
                    <a:pt x="240" y="18"/>
                  </a:lnTo>
                  <a:lnTo>
                    <a:pt x="234" y="12"/>
                  </a:lnTo>
                  <a:lnTo>
                    <a:pt x="228" y="8"/>
                  </a:lnTo>
                  <a:lnTo>
                    <a:pt x="222" y="12"/>
                  </a:lnTo>
                  <a:lnTo>
                    <a:pt x="218" y="16"/>
                  </a:lnTo>
                  <a:lnTo>
                    <a:pt x="210" y="16"/>
                  </a:lnTo>
                  <a:lnTo>
                    <a:pt x="206" y="14"/>
                  </a:lnTo>
                  <a:lnTo>
                    <a:pt x="200" y="18"/>
                  </a:lnTo>
                  <a:lnTo>
                    <a:pt x="194" y="22"/>
                  </a:lnTo>
                  <a:lnTo>
                    <a:pt x="188" y="26"/>
                  </a:lnTo>
                  <a:lnTo>
                    <a:pt x="182" y="20"/>
                  </a:lnTo>
                  <a:lnTo>
                    <a:pt x="176" y="24"/>
                  </a:lnTo>
                  <a:lnTo>
                    <a:pt x="170" y="24"/>
                  </a:lnTo>
                  <a:lnTo>
                    <a:pt x="164" y="24"/>
                  </a:lnTo>
                  <a:lnTo>
                    <a:pt x="158" y="26"/>
                  </a:lnTo>
                  <a:lnTo>
                    <a:pt x="152" y="28"/>
                  </a:lnTo>
                  <a:lnTo>
                    <a:pt x="154" y="34"/>
                  </a:lnTo>
                  <a:lnTo>
                    <a:pt x="156" y="36"/>
                  </a:lnTo>
                  <a:lnTo>
                    <a:pt x="148" y="36"/>
                  </a:lnTo>
                  <a:lnTo>
                    <a:pt x="150" y="30"/>
                  </a:lnTo>
                  <a:lnTo>
                    <a:pt x="142" y="30"/>
                  </a:lnTo>
                  <a:lnTo>
                    <a:pt x="138" y="34"/>
                  </a:lnTo>
                  <a:lnTo>
                    <a:pt x="130" y="34"/>
                  </a:lnTo>
                  <a:lnTo>
                    <a:pt x="128" y="36"/>
                  </a:lnTo>
                  <a:lnTo>
                    <a:pt x="122" y="36"/>
                  </a:lnTo>
                  <a:lnTo>
                    <a:pt x="116" y="36"/>
                  </a:lnTo>
                  <a:lnTo>
                    <a:pt x="110" y="32"/>
                  </a:lnTo>
                  <a:lnTo>
                    <a:pt x="104" y="28"/>
                  </a:lnTo>
                  <a:lnTo>
                    <a:pt x="98" y="26"/>
                  </a:lnTo>
                  <a:lnTo>
                    <a:pt x="96" y="20"/>
                  </a:lnTo>
                  <a:lnTo>
                    <a:pt x="90" y="18"/>
                  </a:lnTo>
                  <a:lnTo>
                    <a:pt x="84" y="16"/>
                  </a:lnTo>
                  <a:lnTo>
                    <a:pt x="78" y="14"/>
                  </a:lnTo>
                  <a:lnTo>
                    <a:pt x="78" y="8"/>
                  </a:lnTo>
                  <a:lnTo>
                    <a:pt x="74" y="10"/>
                  </a:lnTo>
                  <a:lnTo>
                    <a:pt x="66" y="12"/>
                  </a:lnTo>
                  <a:lnTo>
                    <a:pt x="62" y="8"/>
                  </a:lnTo>
                  <a:lnTo>
                    <a:pt x="54" y="6"/>
                  </a:lnTo>
                  <a:lnTo>
                    <a:pt x="50" y="0"/>
                  </a:lnTo>
                  <a:lnTo>
                    <a:pt x="46" y="6"/>
                  </a:lnTo>
                  <a:lnTo>
                    <a:pt x="42" y="12"/>
                  </a:lnTo>
                  <a:lnTo>
                    <a:pt x="36" y="18"/>
                  </a:lnTo>
                  <a:lnTo>
                    <a:pt x="32" y="24"/>
                  </a:lnTo>
                  <a:lnTo>
                    <a:pt x="30" y="30"/>
                  </a:lnTo>
                  <a:lnTo>
                    <a:pt x="28" y="36"/>
                  </a:lnTo>
                  <a:lnTo>
                    <a:pt x="26" y="42"/>
                  </a:lnTo>
                  <a:lnTo>
                    <a:pt x="26" y="46"/>
                  </a:lnTo>
                  <a:lnTo>
                    <a:pt x="22" y="54"/>
                  </a:lnTo>
                  <a:lnTo>
                    <a:pt x="22" y="58"/>
                  </a:lnTo>
                  <a:lnTo>
                    <a:pt x="22" y="64"/>
                  </a:lnTo>
                  <a:lnTo>
                    <a:pt x="20" y="70"/>
                  </a:lnTo>
                  <a:lnTo>
                    <a:pt x="22" y="76"/>
                  </a:lnTo>
                  <a:lnTo>
                    <a:pt x="22" y="82"/>
                  </a:lnTo>
                  <a:lnTo>
                    <a:pt x="24" y="88"/>
                  </a:lnTo>
                  <a:lnTo>
                    <a:pt x="24" y="94"/>
                  </a:lnTo>
                  <a:lnTo>
                    <a:pt x="22" y="100"/>
                  </a:lnTo>
                  <a:lnTo>
                    <a:pt x="16" y="106"/>
                  </a:lnTo>
                  <a:lnTo>
                    <a:pt x="22" y="104"/>
                  </a:lnTo>
                  <a:lnTo>
                    <a:pt x="22" y="110"/>
                  </a:lnTo>
                  <a:lnTo>
                    <a:pt x="24" y="116"/>
                  </a:lnTo>
                  <a:lnTo>
                    <a:pt x="24" y="122"/>
                  </a:lnTo>
                  <a:lnTo>
                    <a:pt x="18" y="126"/>
                  </a:lnTo>
                  <a:lnTo>
                    <a:pt x="20" y="122"/>
                  </a:lnTo>
                  <a:lnTo>
                    <a:pt x="18" y="116"/>
                  </a:lnTo>
                  <a:lnTo>
                    <a:pt x="14" y="110"/>
                  </a:lnTo>
                  <a:lnTo>
                    <a:pt x="10" y="116"/>
                  </a:lnTo>
                  <a:lnTo>
                    <a:pt x="8" y="122"/>
                  </a:lnTo>
                  <a:lnTo>
                    <a:pt x="4" y="128"/>
                  </a:lnTo>
                  <a:lnTo>
                    <a:pt x="2" y="134"/>
                  </a:lnTo>
                  <a:lnTo>
                    <a:pt x="4" y="138"/>
                  </a:lnTo>
                  <a:lnTo>
                    <a:pt x="0" y="144"/>
                  </a:lnTo>
                  <a:lnTo>
                    <a:pt x="0" y="150"/>
                  </a:lnTo>
                  <a:lnTo>
                    <a:pt x="0" y="156"/>
                  </a:lnTo>
                  <a:lnTo>
                    <a:pt x="4" y="162"/>
                  </a:lnTo>
                  <a:lnTo>
                    <a:pt x="2" y="168"/>
                  </a:lnTo>
                  <a:lnTo>
                    <a:pt x="4" y="174"/>
                  </a:lnTo>
                  <a:lnTo>
                    <a:pt x="4" y="180"/>
                  </a:lnTo>
                  <a:lnTo>
                    <a:pt x="10" y="178"/>
                  </a:lnTo>
                  <a:lnTo>
                    <a:pt x="16" y="180"/>
                  </a:lnTo>
                  <a:lnTo>
                    <a:pt x="22" y="180"/>
                  </a:lnTo>
                  <a:lnTo>
                    <a:pt x="22" y="186"/>
                  </a:lnTo>
                  <a:lnTo>
                    <a:pt x="16" y="190"/>
                  </a:lnTo>
                  <a:lnTo>
                    <a:pt x="10" y="186"/>
                  </a:lnTo>
                  <a:lnTo>
                    <a:pt x="6" y="192"/>
                  </a:lnTo>
                  <a:lnTo>
                    <a:pt x="4" y="198"/>
                  </a:lnTo>
                  <a:lnTo>
                    <a:pt x="10" y="196"/>
                  </a:lnTo>
                  <a:lnTo>
                    <a:pt x="16" y="194"/>
                  </a:lnTo>
                  <a:lnTo>
                    <a:pt x="22" y="196"/>
                  </a:lnTo>
                  <a:lnTo>
                    <a:pt x="28" y="198"/>
                  </a:lnTo>
                  <a:lnTo>
                    <a:pt x="34" y="194"/>
                  </a:lnTo>
                  <a:lnTo>
                    <a:pt x="36" y="200"/>
                  </a:lnTo>
                  <a:lnTo>
                    <a:pt x="42" y="202"/>
                  </a:lnTo>
                  <a:lnTo>
                    <a:pt x="48" y="204"/>
                  </a:lnTo>
                  <a:lnTo>
                    <a:pt x="52" y="198"/>
                  </a:lnTo>
                  <a:lnTo>
                    <a:pt x="58" y="194"/>
                  </a:lnTo>
                  <a:lnTo>
                    <a:pt x="64" y="190"/>
                  </a:lnTo>
                  <a:lnTo>
                    <a:pt x="66" y="184"/>
                  </a:lnTo>
                  <a:lnTo>
                    <a:pt x="72" y="182"/>
                  </a:lnTo>
                  <a:lnTo>
                    <a:pt x="70" y="176"/>
                  </a:lnTo>
                  <a:lnTo>
                    <a:pt x="74" y="170"/>
                  </a:lnTo>
                  <a:lnTo>
                    <a:pt x="78" y="172"/>
                  </a:lnTo>
                  <a:lnTo>
                    <a:pt x="78" y="178"/>
                  </a:lnTo>
                  <a:lnTo>
                    <a:pt x="84" y="178"/>
                  </a:lnTo>
                  <a:lnTo>
                    <a:pt x="88" y="172"/>
                  </a:lnTo>
                  <a:lnTo>
                    <a:pt x="92" y="168"/>
                  </a:lnTo>
                  <a:lnTo>
                    <a:pt x="98" y="162"/>
                  </a:lnTo>
                  <a:lnTo>
                    <a:pt x="104" y="156"/>
                  </a:lnTo>
                  <a:lnTo>
                    <a:pt x="106" y="150"/>
                  </a:lnTo>
                  <a:lnTo>
                    <a:pt x="106" y="1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79" name="Freeform 196"/>
            <p:cNvSpPr>
              <a:spLocks/>
            </p:cNvSpPr>
            <p:nvPr/>
          </p:nvSpPr>
          <p:spPr bwMode="auto">
            <a:xfrm>
              <a:off x="7950200" y="5399088"/>
              <a:ext cx="279400" cy="173037"/>
            </a:xfrm>
            <a:custGeom>
              <a:avLst/>
              <a:gdLst>
                <a:gd name="T0" fmla="*/ 2147483647 w 690"/>
                <a:gd name="T1" fmla="*/ 2147483647 h 422"/>
                <a:gd name="T2" fmla="*/ 2147483647 w 690"/>
                <a:gd name="T3" fmla="*/ 2147483647 h 422"/>
                <a:gd name="T4" fmla="*/ 2147483647 w 690"/>
                <a:gd name="T5" fmla="*/ 2147483647 h 422"/>
                <a:gd name="T6" fmla="*/ 2147483647 w 690"/>
                <a:gd name="T7" fmla="*/ 2147483647 h 422"/>
                <a:gd name="T8" fmla="*/ 2147483647 w 690"/>
                <a:gd name="T9" fmla="*/ 2147483647 h 422"/>
                <a:gd name="T10" fmla="*/ 2147483647 w 690"/>
                <a:gd name="T11" fmla="*/ 2147483647 h 422"/>
                <a:gd name="T12" fmla="*/ 2147483647 w 690"/>
                <a:gd name="T13" fmla="*/ 2147483647 h 422"/>
                <a:gd name="T14" fmla="*/ 2147483647 w 690"/>
                <a:gd name="T15" fmla="*/ 2147483647 h 422"/>
                <a:gd name="T16" fmla="*/ 2147483647 w 690"/>
                <a:gd name="T17" fmla="*/ 2147483647 h 422"/>
                <a:gd name="T18" fmla="*/ 2147483647 w 690"/>
                <a:gd name="T19" fmla="*/ 2147483647 h 422"/>
                <a:gd name="T20" fmla="*/ 2147483647 w 690"/>
                <a:gd name="T21" fmla="*/ 2147483647 h 422"/>
                <a:gd name="T22" fmla="*/ 2147483647 w 690"/>
                <a:gd name="T23" fmla="*/ 2147483647 h 422"/>
                <a:gd name="T24" fmla="*/ 2147483647 w 690"/>
                <a:gd name="T25" fmla="*/ 2147483647 h 422"/>
                <a:gd name="T26" fmla="*/ 2147483647 w 690"/>
                <a:gd name="T27" fmla="*/ 2147483647 h 422"/>
                <a:gd name="T28" fmla="*/ 2147483647 w 690"/>
                <a:gd name="T29" fmla="*/ 2147483647 h 422"/>
                <a:gd name="T30" fmla="*/ 2147483647 w 690"/>
                <a:gd name="T31" fmla="*/ 2147483647 h 422"/>
                <a:gd name="T32" fmla="*/ 2147483647 w 690"/>
                <a:gd name="T33" fmla="*/ 2147483647 h 422"/>
                <a:gd name="T34" fmla="*/ 2147483647 w 690"/>
                <a:gd name="T35" fmla="*/ 2147483647 h 422"/>
                <a:gd name="T36" fmla="*/ 2147483647 w 690"/>
                <a:gd name="T37" fmla="*/ 2147483647 h 422"/>
                <a:gd name="T38" fmla="*/ 2147483647 w 690"/>
                <a:gd name="T39" fmla="*/ 2147483647 h 422"/>
                <a:gd name="T40" fmla="*/ 2147483647 w 690"/>
                <a:gd name="T41" fmla="*/ 2147483647 h 422"/>
                <a:gd name="T42" fmla="*/ 2147483647 w 690"/>
                <a:gd name="T43" fmla="*/ 2147483647 h 422"/>
                <a:gd name="T44" fmla="*/ 2147483647 w 690"/>
                <a:gd name="T45" fmla="*/ 2147483647 h 422"/>
                <a:gd name="T46" fmla="*/ 2147483647 w 690"/>
                <a:gd name="T47" fmla="*/ 2147483647 h 422"/>
                <a:gd name="T48" fmla="*/ 2147483647 w 690"/>
                <a:gd name="T49" fmla="*/ 2147483647 h 422"/>
                <a:gd name="T50" fmla="*/ 2147483647 w 690"/>
                <a:gd name="T51" fmla="*/ 2147483647 h 422"/>
                <a:gd name="T52" fmla="*/ 2147483647 w 690"/>
                <a:gd name="T53" fmla="*/ 2147483647 h 422"/>
                <a:gd name="T54" fmla="*/ 2147483647 w 690"/>
                <a:gd name="T55" fmla="*/ 2147483647 h 422"/>
                <a:gd name="T56" fmla="*/ 2147483647 w 690"/>
                <a:gd name="T57" fmla="*/ 2147483647 h 422"/>
                <a:gd name="T58" fmla="*/ 2147483647 w 690"/>
                <a:gd name="T59" fmla="*/ 2147483647 h 422"/>
                <a:gd name="T60" fmla="*/ 2147483647 w 690"/>
                <a:gd name="T61" fmla="*/ 2147483647 h 422"/>
                <a:gd name="T62" fmla="*/ 2147483647 w 690"/>
                <a:gd name="T63" fmla="*/ 2147483647 h 422"/>
                <a:gd name="T64" fmla="*/ 2147483647 w 690"/>
                <a:gd name="T65" fmla="*/ 2147483647 h 422"/>
                <a:gd name="T66" fmla="*/ 2147483647 w 690"/>
                <a:gd name="T67" fmla="*/ 2147483647 h 422"/>
                <a:gd name="T68" fmla="*/ 2147483647 w 690"/>
                <a:gd name="T69" fmla="*/ 2147483647 h 422"/>
                <a:gd name="T70" fmla="*/ 2147483647 w 690"/>
                <a:gd name="T71" fmla="*/ 2147483647 h 422"/>
                <a:gd name="T72" fmla="*/ 2147483647 w 690"/>
                <a:gd name="T73" fmla="*/ 2147483647 h 422"/>
                <a:gd name="T74" fmla="*/ 2147483647 w 690"/>
                <a:gd name="T75" fmla="*/ 2147483647 h 422"/>
                <a:gd name="T76" fmla="*/ 2147483647 w 690"/>
                <a:gd name="T77" fmla="*/ 2147483647 h 422"/>
                <a:gd name="T78" fmla="*/ 2147483647 w 690"/>
                <a:gd name="T79" fmla="*/ 2147483647 h 422"/>
                <a:gd name="T80" fmla="*/ 2147483647 w 690"/>
                <a:gd name="T81" fmla="*/ 2147483647 h 422"/>
                <a:gd name="T82" fmla="*/ 2147483647 w 690"/>
                <a:gd name="T83" fmla="*/ 2147483647 h 422"/>
                <a:gd name="T84" fmla="*/ 2147483647 w 690"/>
                <a:gd name="T85" fmla="*/ 2147483647 h 422"/>
                <a:gd name="T86" fmla="*/ 2147483647 w 690"/>
                <a:gd name="T87" fmla="*/ 2147483647 h 422"/>
                <a:gd name="T88" fmla="*/ 2147483647 w 690"/>
                <a:gd name="T89" fmla="*/ 2147483647 h 422"/>
                <a:gd name="T90" fmla="*/ 2147483647 w 690"/>
                <a:gd name="T91" fmla="*/ 2147483647 h 422"/>
                <a:gd name="T92" fmla="*/ 2147483647 w 690"/>
                <a:gd name="T93" fmla="*/ 2147483647 h 422"/>
                <a:gd name="T94" fmla="*/ 2147483647 w 690"/>
                <a:gd name="T95" fmla="*/ 2147483647 h 422"/>
                <a:gd name="T96" fmla="*/ 2147483647 w 690"/>
                <a:gd name="T97" fmla="*/ 2147483647 h 422"/>
                <a:gd name="T98" fmla="*/ 2147483647 w 690"/>
                <a:gd name="T99" fmla="*/ 2147483647 h 422"/>
                <a:gd name="T100" fmla="*/ 2147483647 w 690"/>
                <a:gd name="T101" fmla="*/ 2147483647 h 422"/>
                <a:gd name="T102" fmla="*/ 2147483647 w 690"/>
                <a:gd name="T103" fmla="*/ 2147483647 h 422"/>
                <a:gd name="T104" fmla="*/ 2147483647 w 690"/>
                <a:gd name="T105" fmla="*/ 2147483647 h 422"/>
                <a:gd name="T106" fmla="*/ 2147483647 w 690"/>
                <a:gd name="T107" fmla="*/ 2147483647 h 422"/>
                <a:gd name="T108" fmla="*/ 2147483647 w 690"/>
                <a:gd name="T109" fmla="*/ 2147483647 h 422"/>
                <a:gd name="T110" fmla="*/ 2147483647 w 690"/>
                <a:gd name="T111" fmla="*/ 2147483647 h 422"/>
                <a:gd name="T112" fmla="*/ 2147483647 w 690"/>
                <a:gd name="T113" fmla="*/ 2147483647 h 42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0"/>
                <a:gd name="T172" fmla="*/ 0 h 422"/>
                <a:gd name="T173" fmla="*/ 690 w 690"/>
                <a:gd name="T174" fmla="*/ 422 h 42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0" h="422">
                  <a:moveTo>
                    <a:pt x="0" y="378"/>
                  </a:moveTo>
                  <a:lnTo>
                    <a:pt x="6" y="376"/>
                  </a:lnTo>
                  <a:lnTo>
                    <a:pt x="14" y="372"/>
                  </a:lnTo>
                  <a:lnTo>
                    <a:pt x="20" y="370"/>
                  </a:lnTo>
                  <a:lnTo>
                    <a:pt x="18" y="374"/>
                  </a:lnTo>
                  <a:lnTo>
                    <a:pt x="10" y="376"/>
                  </a:lnTo>
                  <a:lnTo>
                    <a:pt x="6" y="382"/>
                  </a:lnTo>
                  <a:lnTo>
                    <a:pt x="14" y="380"/>
                  </a:lnTo>
                  <a:lnTo>
                    <a:pt x="18" y="376"/>
                  </a:lnTo>
                  <a:lnTo>
                    <a:pt x="24" y="374"/>
                  </a:lnTo>
                  <a:lnTo>
                    <a:pt x="18" y="378"/>
                  </a:lnTo>
                  <a:lnTo>
                    <a:pt x="14" y="382"/>
                  </a:lnTo>
                  <a:lnTo>
                    <a:pt x="6" y="384"/>
                  </a:lnTo>
                  <a:lnTo>
                    <a:pt x="2" y="392"/>
                  </a:lnTo>
                  <a:lnTo>
                    <a:pt x="8" y="392"/>
                  </a:lnTo>
                  <a:lnTo>
                    <a:pt x="14" y="392"/>
                  </a:lnTo>
                  <a:lnTo>
                    <a:pt x="20" y="394"/>
                  </a:lnTo>
                  <a:lnTo>
                    <a:pt x="22" y="394"/>
                  </a:lnTo>
                  <a:lnTo>
                    <a:pt x="28" y="394"/>
                  </a:lnTo>
                  <a:lnTo>
                    <a:pt x="34" y="394"/>
                  </a:lnTo>
                  <a:lnTo>
                    <a:pt x="40" y="390"/>
                  </a:lnTo>
                  <a:lnTo>
                    <a:pt x="46" y="388"/>
                  </a:lnTo>
                  <a:lnTo>
                    <a:pt x="52" y="390"/>
                  </a:lnTo>
                  <a:lnTo>
                    <a:pt x="54" y="398"/>
                  </a:lnTo>
                  <a:lnTo>
                    <a:pt x="52" y="404"/>
                  </a:lnTo>
                  <a:lnTo>
                    <a:pt x="58" y="404"/>
                  </a:lnTo>
                  <a:lnTo>
                    <a:pt x="64" y="402"/>
                  </a:lnTo>
                  <a:lnTo>
                    <a:pt x="68" y="400"/>
                  </a:lnTo>
                  <a:lnTo>
                    <a:pt x="72" y="402"/>
                  </a:lnTo>
                  <a:lnTo>
                    <a:pt x="72" y="410"/>
                  </a:lnTo>
                  <a:lnTo>
                    <a:pt x="68" y="412"/>
                  </a:lnTo>
                  <a:lnTo>
                    <a:pt x="68" y="418"/>
                  </a:lnTo>
                  <a:lnTo>
                    <a:pt x="72" y="418"/>
                  </a:lnTo>
                  <a:lnTo>
                    <a:pt x="76" y="416"/>
                  </a:lnTo>
                  <a:lnTo>
                    <a:pt x="82" y="418"/>
                  </a:lnTo>
                  <a:lnTo>
                    <a:pt x="90" y="416"/>
                  </a:lnTo>
                  <a:lnTo>
                    <a:pt x="92" y="416"/>
                  </a:lnTo>
                  <a:lnTo>
                    <a:pt x="94" y="422"/>
                  </a:lnTo>
                  <a:lnTo>
                    <a:pt x="100" y="422"/>
                  </a:lnTo>
                  <a:lnTo>
                    <a:pt x="106" y="422"/>
                  </a:lnTo>
                  <a:lnTo>
                    <a:pt x="112" y="422"/>
                  </a:lnTo>
                  <a:lnTo>
                    <a:pt x="118" y="420"/>
                  </a:lnTo>
                  <a:lnTo>
                    <a:pt x="120" y="420"/>
                  </a:lnTo>
                  <a:lnTo>
                    <a:pt x="126" y="420"/>
                  </a:lnTo>
                  <a:lnTo>
                    <a:pt x="132" y="416"/>
                  </a:lnTo>
                  <a:lnTo>
                    <a:pt x="138" y="416"/>
                  </a:lnTo>
                  <a:lnTo>
                    <a:pt x="144" y="414"/>
                  </a:lnTo>
                  <a:lnTo>
                    <a:pt x="150" y="410"/>
                  </a:lnTo>
                  <a:lnTo>
                    <a:pt x="156" y="408"/>
                  </a:lnTo>
                  <a:lnTo>
                    <a:pt x="160" y="402"/>
                  </a:lnTo>
                  <a:lnTo>
                    <a:pt x="166" y="400"/>
                  </a:lnTo>
                  <a:lnTo>
                    <a:pt x="174" y="396"/>
                  </a:lnTo>
                  <a:lnTo>
                    <a:pt x="180" y="394"/>
                  </a:lnTo>
                  <a:lnTo>
                    <a:pt x="182" y="392"/>
                  </a:lnTo>
                  <a:lnTo>
                    <a:pt x="188" y="390"/>
                  </a:lnTo>
                  <a:lnTo>
                    <a:pt x="196" y="388"/>
                  </a:lnTo>
                  <a:lnTo>
                    <a:pt x="200" y="380"/>
                  </a:lnTo>
                  <a:lnTo>
                    <a:pt x="202" y="380"/>
                  </a:lnTo>
                  <a:lnTo>
                    <a:pt x="208" y="376"/>
                  </a:lnTo>
                  <a:lnTo>
                    <a:pt x="216" y="374"/>
                  </a:lnTo>
                  <a:lnTo>
                    <a:pt x="222" y="372"/>
                  </a:lnTo>
                  <a:lnTo>
                    <a:pt x="228" y="370"/>
                  </a:lnTo>
                  <a:lnTo>
                    <a:pt x="234" y="370"/>
                  </a:lnTo>
                  <a:lnTo>
                    <a:pt x="240" y="364"/>
                  </a:lnTo>
                  <a:lnTo>
                    <a:pt x="234" y="366"/>
                  </a:lnTo>
                  <a:lnTo>
                    <a:pt x="228" y="368"/>
                  </a:lnTo>
                  <a:lnTo>
                    <a:pt x="234" y="366"/>
                  </a:lnTo>
                  <a:lnTo>
                    <a:pt x="242" y="362"/>
                  </a:lnTo>
                  <a:lnTo>
                    <a:pt x="242" y="356"/>
                  </a:lnTo>
                  <a:lnTo>
                    <a:pt x="248" y="352"/>
                  </a:lnTo>
                  <a:lnTo>
                    <a:pt x="254" y="350"/>
                  </a:lnTo>
                  <a:lnTo>
                    <a:pt x="262" y="344"/>
                  </a:lnTo>
                  <a:lnTo>
                    <a:pt x="268" y="338"/>
                  </a:lnTo>
                  <a:lnTo>
                    <a:pt x="274" y="332"/>
                  </a:lnTo>
                  <a:lnTo>
                    <a:pt x="280" y="326"/>
                  </a:lnTo>
                  <a:lnTo>
                    <a:pt x="286" y="322"/>
                  </a:lnTo>
                  <a:lnTo>
                    <a:pt x="292" y="318"/>
                  </a:lnTo>
                  <a:lnTo>
                    <a:pt x="298" y="314"/>
                  </a:lnTo>
                  <a:lnTo>
                    <a:pt x="306" y="310"/>
                  </a:lnTo>
                  <a:lnTo>
                    <a:pt x="312" y="306"/>
                  </a:lnTo>
                  <a:lnTo>
                    <a:pt x="316" y="302"/>
                  </a:lnTo>
                  <a:lnTo>
                    <a:pt x="322" y="296"/>
                  </a:lnTo>
                  <a:lnTo>
                    <a:pt x="326" y="288"/>
                  </a:lnTo>
                  <a:lnTo>
                    <a:pt x="332" y="282"/>
                  </a:lnTo>
                  <a:lnTo>
                    <a:pt x="338" y="276"/>
                  </a:lnTo>
                  <a:lnTo>
                    <a:pt x="346" y="270"/>
                  </a:lnTo>
                  <a:lnTo>
                    <a:pt x="352" y="264"/>
                  </a:lnTo>
                  <a:lnTo>
                    <a:pt x="358" y="260"/>
                  </a:lnTo>
                  <a:lnTo>
                    <a:pt x="360" y="260"/>
                  </a:lnTo>
                  <a:lnTo>
                    <a:pt x="366" y="256"/>
                  </a:lnTo>
                  <a:lnTo>
                    <a:pt x="372" y="254"/>
                  </a:lnTo>
                  <a:lnTo>
                    <a:pt x="376" y="252"/>
                  </a:lnTo>
                  <a:lnTo>
                    <a:pt x="382" y="250"/>
                  </a:lnTo>
                  <a:lnTo>
                    <a:pt x="390" y="248"/>
                  </a:lnTo>
                  <a:lnTo>
                    <a:pt x="396" y="246"/>
                  </a:lnTo>
                  <a:lnTo>
                    <a:pt x="400" y="244"/>
                  </a:lnTo>
                  <a:lnTo>
                    <a:pt x="406" y="242"/>
                  </a:lnTo>
                  <a:lnTo>
                    <a:pt x="412" y="240"/>
                  </a:lnTo>
                  <a:lnTo>
                    <a:pt x="418" y="236"/>
                  </a:lnTo>
                  <a:lnTo>
                    <a:pt x="426" y="234"/>
                  </a:lnTo>
                  <a:lnTo>
                    <a:pt x="428" y="234"/>
                  </a:lnTo>
                  <a:lnTo>
                    <a:pt x="432" y="232"/>
                  </a:lnTo>
                  <a:lnTo>
                    <a:pt x="438" y="230"/>
                  </a:lnTo>
                  <a:lnTo>
                    <a:pt x="444" y="224"/>
                  </a:lnTo>
                  <a:lnTo>
                    <a:pt x="450" y="222"/>
                  </a:lnTo>
                  <a:lnTo>
                    <a:pt x="456" y="226"/>
                  </a:lnTo>
                  <a:lnTo>
                    <a:pt x="450" y="228"/>
                  </a:lnTo>
                  <a:lnTo>
                    <a:pt x="444" y="230"/>
                  </a:lnTo>
                  <a:lnTo>
                    <a:pt x="450" y="230"/>
                  </a:lnTo>
                  <a:lnTo>
                    <a:pt x="458" y="230"/>
                  </a:lnTo>
                  <a:lnTo>
                    <a:pt x="464" y="232"/>
                  </a:lnTo>
                  <a:lnTo>
                    <a:pt x="470" y="228"/>
                  </a:lnTo>
                  <a:lnTo>
                    <a:pt x="474" y="232"/>
                  </a:lnTo>
                  <a:lnTo>
                    <a:pt x="480" y="228"/>
                  </a:lnTo>
                  <a:lnTo>
                    <a:pt x="486" y="222"/>
                  </a:lnTo>
                  <a:lnTo>
                    <a:pt x="480" y="216"/>
                  </a:lnTo>
                  <a:lnTo>
                    <a:pt x="474" y="216"/>
                  </a:lnTo>
                  <a:lnTo>
                    <a:pt x="470" y="214"/>
                  </a:lnTo>
                  <a:lnTo>
                    <a:pt x="474" y="212"/>
                  </a:lnTo>
                  <a:lnTo>
                    <a:pt x="478" y="206"/>
                  </a:lnTo>
                  <a:lnTo>
                    <a:pt x="480" y="200"/>
                  </a:lnTo>
                  <a:lnTo>
                    <a:pt x="486" y="192"/>
                  </a:lnTo>
                  <a:lnTo>
                    <a:pt x="492" y="188"/>
                  </a:lnTo>
                  <a:lnTo>
                    <a:pt x="500" y="182"/>
                  </a:lnTo>
                  <a:lnTo>
                    <a:pt x="506" y="180"/>
                  </a:lnTo>
                  <a:lnTo>
                    <a:pt x="512" y="178"/>
                  </a:lnTo>
                  <a:lnTo>
                    <a:pt x="518" y="176"/>
                  </a:lnTo>
                  <a:lnTo>
                    <a:pt x="524" y="172"/>
                  </a:lnTo>
                  <a:lnTo>
                    <a:pt x="530" y="170"/>
                  </a:lnTo>
                  <a:lnTo>
                    <a:pt x="538" y="166"/>
                  </a:lnTo>
                  <a:lnTo>
                    <a:pt x="542" y="162"/>
                  </a:lnTo>
                  <a:lnTo>
                    <a:pt x="550" y="158"/>
                  </a:lnTo>
                  <a:lnTo>
                    <a:pt x="556" y="152"/>
                  </a:lnTo>
                  <a:lnTo>
                    <a:pt x="562" y="148"/>
                  </a:lnTo>
                  <a:lnTo>
                    <a:pt x="568" y="142"/>
                  </a:lnTo>
                  <a:lnTo>
                    <a:pt x="572" y="138"/>
                  </a:lnTo>
                  <a:lnTo>
                    <a:pt x="580" y="134"/>
                  </a:lnTo>
                  <a:lnTo>
                    <a:pt x="586" y="130"/>
                  </a:lnTo>
                  <a:lnTo>
                    <a:pt x="592" y="126"/>
                  </a:lnTo>
                  <a:lnTo>
                    <a:pt x="600" y="122"/>
                  </a:lnTo>
                  <a:lnTo>
                    <a:pt x="606" y="118"/>
                  </a:lnTo>
                  <a:lnTo>
                    <a:pt x="612" y="116"/>
                  </a:lnTo>
                  <a:lnTo>
                    <a:pt x="612" y="114"/>
                  </a:lnTo>
                  <a:lnTo>
                    <a:pt x="618" y="108"/>
                  </a:lnTo>
                  <a:lnTo>
                    <a:pt x="626" y="104"/>
                  </a:lnTo>
                  <a:lnTo>
                    <a:pt x="632" y="100"/>
                  </a:lnTo>
                  <a:lnTo>
                    <a:pt x="638" y="96"/>
                  </a:lnTo>
                  <a:lnTo>
                    <a:pt x="646" y="90"/>
                  </a:lnTo>
                  <a:lnTo>
                    <a:pt x="648" y="84"/>
                  </a:lnTo>
                  <a:lnTo>
                    <a:pt x="652" y="78"/>
                  </a:lnTo>
                  <a:lnTo>
                    <a:pt x="654" y="72"/>
                  </a:lnTo>
                  <a:lnTo>
                    <a:pt x="652" y="66"/>
                  </a:lnTo>
                  <a:lnTo>
                    <a:pt x="660" y="60"/>
                  </a:lnTo>
                  <a:lnTo>
                    <a:pt x="666" y="58"/>
                  </a:lnTo>
                  <a:lnTo>
                    <a:pt x="672" y="54"/>
                  </a:lnTo>
                  <a:lnTo>
                    <a:pt x="678" y="50"/>
                  </a:lnTo>
                  <a:lnTo>
                    <a:pt x="684" y="48"/>
                  </a:lnTo>
                  <a:lnTo>
                    <a:pt x="690" y="42"/>
                  </a:lnTo>
                  <a:lnTo>
                    <a:pt x="684" y="46"/>
                  </a:lnTo>
                  <a:lnTo>
                    <a:pt x="678" y="48"/>
                  </a:lnTo>
                  <a:lnTo>
                    <a:pt x="672" y="52"/>
                  </a:lnTo>
                  <a:lnTo>
                    <a:pt x="666" y="52"/>
                  </a:lnTo>
                  <a:lnTo>
                    <a:pt x="660" y="54"/>
                  </a:lnTo>
                  <a:lnTo>
                    <a:pt x="660" y="52"/>
                  </a:lnTo>
                  <a:lnTo>
                    <a:pt x="666" y="50"/>
                  </a:lnTo>
                  <a:lnTo>
                    <a:pt x="672" y="48"/>
                  </a:lnTo>
                  <a:lnTo>
                    <a:pt x="678" y="44"/>
                  </a:lnTo>
                  <a:lnTo>
                    <a:pt x="684" y="40"/>
                  </a:lnTo>
                  <a:lnTo>
                    <a:pt x="684" y="34"/>
                  </a:lnTo>
                  <a:lnTo>
                    <a:pt x="678" y="36"/>
                  </a:lnTo>
                  <a:lnTo>
                    <a:pt x="674" y="36"/>
                  </a:lnTo>
                  <a:lnTo>
                    <a:pt x="670" y="42"/>
                  </a:lnTo>
                  <a:lnTo>
                    <a:pt x="664" y="42"/>
                  </a:lnTo>
                  <a:lnTo>
                    <a:pt x="660" y="48"/>
                  </a:lnTo>
                  <a:lnTo>
                    <a:pt x="666" y="48"/>
                  </a:lnTo>
                  <a:lnTo>
                    <a:pt x="660" y="50"/>
                  </a:lnTo>
                  <a:lnTo>
                    <a:pt x="654" y="52"/>
                  </a:lnTo>
                  <a:lnTo>
                    <a:pt x="648" y="54"/>
                  </a:lnTo>
                  <a:lnTo>
                    <a:pt x="654" y="48"/>
                  </a:lnTo>
                  <a:lnTo>
                    <a:pt x="660" y="44"/>
                  </a:lnTo>
                  <a:lnTo>
                    <a:pt x="666" y="38"/>
                  </a:lnTo>
                  <a:lnTo>
                    <a:pt x="660" y="38"/>
                  </a:lnTo>
                  <a:lnTo>
                    <a:pt x="666" y="36"/>
                  </a:lnTo>
                  <a:lnTo>
                    <a:pt x="674" y="30"/>
                  </a:lnTo>
                  <a:lnTo>
                    <a:pt x="666" y="32"/>
                  </a:lnTo>
                  <a:lnTo>
                    <a:pt x="660" y="34"/>
                  </a:lnTo>
                  <a:lnTo>
                    <a:pt x="652" y="40"/>
                  </a:lnTo>
                  <a:lnTo>
                    <a:pt x="646" y="40"/>
                  </a:lnTo>
                  <a:lnTo>
                    <a:pt x="642" y="42"/>
                  </a:lnTo>
                  <a:lnTo>
                    <a:pt x="636" y="46"/>
                  </a:lnTo>
                  <a:lnTo>
                    <a:pt x="628" y="48"/>
                  </a:lnTo>
                  <a:lnTo>
                    <a:pt x="622" y="52"/>
                  </a:lnTo>
                  <a:lnTo>
                    <a:pt x="616" y="54"/>
                  </a:lnTo>
                  <a:lnTo>
                    <a:pt x="610" y="54"/>
                  </a:lnTo>
                  <a:lnTo>
                    <a:pt x="612" y="48"/>
                  </a:lnTo>
                  <a:lnTo>
                    <a:pt x="614" y="40"/>
                  </a:lnTo>
                  <a:lnTo>
                    <a:pt x="616" y="38"/>
                  </a:lnTo>
                  <a:lnTo>
                    <a:pt x="622" y="32"/>
                  </a:lnTo>
                  <a:lnTo>
                    <a:pt x="628" y="26"/>
                  </a:lnTo>
                  <a:lnTo>
                    <a:pt x="628" y="20"/>
                  </a:lnTo>
                  <a:lnTo>
                    <a:pt x="620" y="22"/>
                  </a:lnTo>
                  <a:lnTo>
                    <a:pt x="614" y="22"/>
                  </a:lnTo>
                  <a:lnTo>
                    <a:pt x="614" y="20"/>
                  </a:lnTo>
                  <a:lnTo>
                    <a:pt x="614" y="14"/>
                  </a:lnTo>
                  <a:lnTo>
                    <a:pt x="616" y="10"/>
                  </a:lnTo>
                  <a:lnTo>
                    <a:pt x="622" y="6"/>
                  </a:lnTo>
                  <a:lnTo>
                    <a:pt x="628" y="2"/>
                  </a:lnTo>
                  <a:lnTo>
                    <a:pt x="634" y="2"/>
                  </a:lnTo>
                  <a:lnTo>
                    <a:pt x="640" y="4"/>
                  </a:lnTo>
                  <a:lnTo>
                    <a:pt x="634" y="2"/>
                  </a:lnTo>
                  <a:lnTo>
                    <a:pt x="628" y="0"/>
                  </a:lnTo>
                  <a:lnTo>
                    <a:pt x="622" y="2"/>
                  </a:lnTo>
                  <a:lnTo>
                    <a:pt x="616" y="6"/>
                  </a:lnTo>
                  <a:lnTo>
                    <a:pt x="610" y="8"/>
                  </a:lnTo>
                  <a:lnTo>
                    <a:pt x="604" y="10"/>
                  </a:lnTo>
                  <a:lnTo>
                    <a:pt x="598" y="14"/>
                  </a:lnTo>
                  <a:lnTo>
                    <a:pt x="590" y="16"/>
                  </a:lnTo>
                  <a:lnTo>
                    <a:pt x="584" y="20"/>
                  </a:lnTo>
                  <a:lnTo>
                    <a:pt x="580" y="22"/>
                  </a:lnTo>
                  <a:lnTo>
                    <a:pt x="572" y="28"/>
                  </a:lnTo>
                  <a:lnTo>
                    <a:pt x="568" y="34"/>
                  </a:lnTo>
                  <a:lnTo>
                    <a:pt x="564" y="40"/>
                  </a:lnTo>
                  <a:lnTo>
                    <a:pt x="560" y="46"/>
                  </a:lnTo>
                  <a:lnTo>
                    <a:pt x="556" y="54"/>
                  </a:lnTo>
                  <a:lnTo>
                    <a:pt x="552" y="56"/>
                  </a:lnTo>
                  <a:lnTo>
                    <a:pt x="546" y="62"/>
                  </a:lnTo>
                  <a:lnTo>
                    <a:pt x="538" y="66"/>
                  </a:lnTo>
                  <a:lnTo>
                    <a:pt x="532" y="72"/>
                  </a:lnTo>
                  <a:lnTo>
                    <a:pt x="526" y="76"/>
                  </a:lnTo>
                  <a:lnTo>
                    <a:pt x="522" y="78"/>
                  </a:lnTo>
                  <a:lnTo>
                    <a:pt x="514" y="82"/>
                  </a:lnTo>
                  <a:lnTo>
                    <a:pt x="508" y="86"/>
                  </a:lnTo>
                  <a:lnTo>
                    <a:pt x="502" y="86"/>
                  </a:lnTo>
                  <a:lnTo>
                    <a:pt x="500" y="86"/>
                  </a:lnTo>
                  <a:lnTo>
                    <a:pt x="492" y="88"/>
                  </a:lnTo>
                  <a:lnTo>
                    <a:pt x="488" y="96"/>
                  </a:lnTo>
                  <a:lnTo>
                    <a:pt x="482" y="100"/>
                  </a:lnTo>
                  <a:lnTo>
                    <a:pt x="474" y="106"/>
                  </a:lnTo>
                  <a:lnTo>
                    <a:pt x="468" y="112"/>
                  </a:lnTo>
                  <a:lnTo>
                    <a:pt x="462" y="118"/>
                  </a:lnTo>
                  <a:lnTo>
                    <a:pt x="456" y="126"/>
                  </a:lnTo>
                  <a:lnTo>
                    <a:pt x="450" y="130"/>
                  </a:lnTo>
                  <a:lnTo>
                    <a:pt x="444" y="136"/>
                  </a:lnTo>
                  <a:lnTo>
                    <a:pt x="436" y="142"/>
                  </a:lnTo>
                  <a:lnTo>
                    <a:pt x="430" y="146"/>
                  </a:lnTo>
                  <a:lnTo>
                    <a:pt x="424" y="150"/>
                  </a:lnTo>
                  <a:lnTo>
                    <a:pt x="418" y="152"/>
                  </a:lnTo>
                  <a:lnTo>
                    <a:pt x="416" y="154"/>
                  </a:lnTo>
                  <a:lnTo>
                    <a:pt x="410" y="158"/>
                  </a:lnTo>
                  <a:lnTo>
                    <a:pt x="404" y="162"/>
                  </a:lnTo>
                  <a:lnTo>
                    <a:pt x="398" y="166"/>
                  </a:lnTo>
                  <a:lnTo>
                    <a:pt x="390" y="168"/>
                  </a:lnTo>
                  <a:lnTo>
                    <a:pt x="384" y="172"/>
                  </a:lnTo>
                  <a:lnTo>
                    <a:pt x="378" y="174"/>
                  </a:lnTo>
                  <a:lnTo>
                    <a:pt x="372" y="176"/>
                  </a:lnTo>
                  <a:lnTo>
                    <a:pt x="370" y="176"/>
                  </a:lnTo>
                  <a:lnTo>
                    <a:pt x="364" y="180"/>
                  </a:lnTo>
                  <a:lnTo>
                    <a:pt x="358" y="180"/>
                  </a:lnTo>
                  <a:lnTo>
                    <a:pt x="352" y="188"/>
                  </a:lnTo>
                  <a:lnTo>
                    <a:pt x="346" y="190"/>
                  </a:lnTo>
                  <a:lnTo>
                    <a:pt x="340" y="192"/>
                  </a:lnTo>
                  <a:lnTo>
                    <a:pt x="334" y="196"/>
                  </a:lnTo>
                  <a:lnTo>
                    <a:pt x="328" y="198"/>
                  </a:lnTo>
                  <a:lnTo>
                    <a:pt x="322" y="200"/>
                  </a:lnTo>
                  <a:lnTo>
                    <a:pt x="316" y="202"/>
                  </a:lnTo>
                  <a:lnTo>
                    <a:pt x="310" y="208"/>
                  </a:lnTo>
                  <a:lnTo>
                    <a:pt x="304" y="210"/>
                  </a:lnTo>
                  <a:lnTo>
                    <a:pt x="296" y="214"/>
                  </a:lnTo>
                  <a:lnTo>
                    <a:pt x="290" y="216"/>
                  </a:lnTo>
                  <a:lnTo>
                    <a:pt x="284" y="216"/>
                  </a:lnTo>
                  <a:lnTo>
                    <a:pt x="276" y="218"/>
                  </a:lnTo>
                  <a:lnTo>
                    <a:pt x="270" y="222"/>
                  </a:lnTo>
                  <a:lnTo>
                    <a:pt x="262" y="226"/>
                  </a:lnTo>
                  <a:lnTo>
                    <a:pt x="256" y="228"/>
                  </a:lnTo>
                  <a:lnTo>
                    <a:pt x="254" y="230"/>
                  </a:lnTo>
                  <a:lnTo>
                    <a:pt x="248" y="232"/>
                  </a:lnTo>
                  <a:lnTo>
                    <a:pt x="242" y="236"/>
                  </a:lnTo>
                  <a:lnTo>
                    <a:pt x="236" y="238"/>
                  </a:lnTo>
                  <a:lnTo>
                    <a:pt x="230" y="240"/>
                  </a:lnTo>
                  <a:lnTo>
                    <a:pt x="222" y="240"/>
                  </a:lnTo>
                  <a:lnTo>
                    <a:pt x="216" y="242"/>
                  </a:lnTo>
                  <a:lnTo>
                    <a:pt x="210" y="242"/>
                  </a:lnTo>
                  <a:lnTo>
                    <a:pt x="204" y="244"/>
                  </a:lnTo>
                  <a:lnTo>
                    <a:pt x="198" y="250"/>
                  </a:lnTo>
                  <a:lnTo>
                    <a:pt x="190" y="252"/>
                  </a:lnTo>
                  <a:lnTo>
                    <a:pt x="186" y="256"/>
                  </a:lnTo>
                  <a:lnTo>
                    <a:pt x="180" y="258"/>
                  </a:lnTo>
                  <a:lnTo>
                    <a:pt x="178" y="262"/>
                  </a:lnTo>
                  <a:lnTo>
                    <a:pt x="172" y="264"/>
                  </a:lnTo>
                  <a:lnTo>
                    <a:pt x="166" y="268"/>
                  </a:lnTo>
                  <a:lnTo>
                    <a:pt x="158" y="272"/>
                  </a:lnTo>
                  <a:lnTo>
                    <a:pt x="152" y="276"/>
                  </a:lnTo>
                  <a:lnTo>
                    <a:pt x="148" y="282"/>
                  </a:lnTo>
                  <a:lnTo>
                    <a:pt x="148" y="288"/>
                  </a:lnTo>
                  <a:lnTo>
                    <a:pt x="146" y="282"/>
                  </a:lnTo>
                  <a:lnTo>
                    <a:pt x="138" y="284"/>
                  </a:lnTo>
                  <a:lnTo>
                    <a:pt x="132" y="286"/>
                  </a:lnTo>
                  <a:lnTo>
                    <a:pt x="126" y="292"/>
                  </a:lnTo>
                  <a:lnTo>
                    <a:pt x="122" y="296"/>
                  </a:lnTo>
                  <a:lnTo>
                    <a:pt x="116" y="294"/>
                  </a:lnTo>
                  <a:lnTo>
                    <a:pt x="110" y="298"/>
                  </a:lnTo>
                  <a:lnTo>
                    <a:pt x="106" y="304"/>
                  </a:lnTo>
                  <a:lnTo>
                    <a:pt x="100" y="302"/>
                  </a:lnTo>
                  <a:lnTo>
                    <a:pt x="94" y="306"/>
                  </a:lnTo>
                  <a:lnTo>
                    <a:pt x="96" y="312"/>
                  </a:lnTo>
                  <a:lnTo>
                    <a:pt x="90" y="312"/>
                  </a:lnTo>
                  <a:lnTo>
                    <a:pt x="84" y="314"/>
                  </a:lnTo>
                  <a:lnTo>
                    <a:pt x="78" y="320"/>
                  </a:lnTo>
                  <a:lnTo>
                    <a:pt x="72" y="320"/>
                  </a:lnTo>
                  <a:lnTo>
                    <a:pt x="68" y="328"/>
                  </a:lnTo>
                  <a:lnTo>
                    <a:pt x="74" y="328"/>
                  </a:lnTo>
                  <a:lnTo>
                    <a:pt x="68" y="330"/>
                  </a:lnTo>
                  <a:lnTo>
                    <a:pt x="68" y="336"/>
                  </a:lnTo>
                  <a:lnTo>
                    <a:pt x="62" y="342"/>
                  </a:lnTo>
                  <a:lnTo>
                    <a:pt x="66" y="336"/>
                  </a:lnTo>
                  <a:lnTo>
                    <a:pt x="60" y="338"/>
                  </a:lnTo>
                  <a:lnTo>
                    <a:pt x="60" y="332"/>
                  </a:lnTo>
                  <a:lnTo>
                    <a:pt x="54" y="332"/>
                  </a:lnTo>
                  <a:lnTo>
                    <a:pt x="54" y="338"/>
                  </a:lnTo>
                  <a:lnTo>
                    <a:pt x="48" y="336"/>
                  </a:lnTo>
                  <a:lnTo>
                    <a:pt x="42" y="342"/>
                  </a:lnTo>
                  <a:lnTo>
                    <a:pt x="36" y="346"/>
                  </a:lnTo>
                  <a:lnTo>
                    <a:pt x="42" y="348"/>
                  </a:lnTo>
                  <a:lnTo>
                    <a:pt x="48" y="346"/>
                  </a:lnTo>
                  <a:lnTo>
                    <a:pt x="54" y="344"/>
                  </a:lnTo>
                  <a:lnTo>
                    <a:pt x="48" y="346"/>
                  </a:lnTo>
                  <a:lnTo>
                    <a:pt x="42" y="348"/>
                  </a:lnTo>
                  <a:lnTo>
                    <a:pt x="36" y="350"/>
                  </a:lnTo>
                  <a:lnTo>
                    <a:pt x="42" y="352"/>
                  </a:lnTo>
                  <a:lnTo>
                    <a:pt x="48" y="350"/>
                  </a:lnTo>
                  <a:lnTo>
                    <a:pt x="42" y="354"/>
                  </a:lnTo>
                  <a:lnTo>
                    <a:pt x="34" y="354"/>
                  </a:lnTo>
                  <a:lnTo>
                    <a:pt x="42" y="358"/>
                  </a:lnTo>
                  <a:lnTo>
                    <a:pt x="34" y="360"/>
                  </a:lnTo>
                  <a:lnTo>
                    <a:pt x="28" y="362"/>
                  </a:lnTo>
                  <a:lnTo>
                    <a:pt x="22" y="364"/>
                  </a:lnTo>
                  <a:lnTo>
                    <a:pt x="16" y="364"/>
                  </a:lnTo>
                  <a:lnTo>
                    <a:pt x="10" y="366"/>
                  </a:lnTo>
                  <a:lnTo>
                    <a:pt x="4" y="370"/>
                  </a:lnTo>
                  <a:lnTo>
                    <a:pt x="0" y="376"/>
                  </a:lnTo>
                  <a:lnTo>
                    <a:pt x="0" y="3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0" name="Freeform 197"/>
            <p:cNvSpPr>
              <a:spLocks/>
            </p:cNvSpPr>
            <p:nvPr/>
          </p:nvSpPr>
          <p:spPr bwMode="auto">
            <a:xfrm>
              <a:off x="8231188" y="5226050"/>
              <a:ext cx="157162" cy="203200"/>
            </a:xfrm>
            <a:custGeom>
              <a:avLst/>
              <a:gdLst>
                <a:gd name="T0" fmla="*/ 2147483647 w 386"/>
                <a:gd name="T1" fmla="*/ 2147483647 h 496"/>
                <a:gd name="T2" fmla="*/ 2147483647 w 386"/>
                <a:gd name="T3" fmla="*/ 2147483647 h 496"/>
                <a:gd name="T4" fmla="*/ 2147483647 w 386"/>
                <a:gd name="T5" fmla="*/ 2147483647 h 496"/>
                <a:gd name="T6" fmla="*/ 2147483647 w 386"/>
                <a:gd name="T7" fmla="*/ 2147483647 h 496"/>
                <a:gd name="T8" fmla="*/ 2147483647 w 386"/>
                <a:gd name="T9" fmla="*/ 2147483647 h 496"/>
                <a:gd name="T10" fmla="*/ 2147483647 w 386"/>
                <a:gd name="T11" fmla="*/ 2147483647 h 496"/>
                <a:gd name="T12" fmla="*/ 2147483647 w 386"/>
                <a:gd name="T13" fmla="*/ 2147483647 h 496"/>
                <a:gd name="T14" fmla="*/ 2147483647 w 386"/>
                <a:gd name="T15" fmla="*/ 2147483647 h 496"/>
                <a:gd name="T16" fmla="*/ 2147483647 w 386"/>
                <a:gd name="T17" fmla="*/ 2147483647 h 496"/>
                <a:gd name="T18" fmla="*/ 2147483647 w 386"/>
                <a:gd name="T19" fmla="*/ 2147483647 h 496"/>
                <a:gd name="T20" fmla="*/ 2147483647 w 386"/>
                <a:gd name="T21" fmla="*/ 2147483647 h 496"/>
                <a:gd name="T22" fmla="*/ 2147483647 w 386"/>
                <a:gd name="T23" fmla="*/ 2147483647 h 496"/>
                <a:gd name="T24" fmla="*/ 2147483647 w 386"/>
                <a:gd name="T25" fmla="*/ 2147483647 h 496"/>
                <a:gd name="T26" fmla="*/ 2147483647 w 386"/>
                <a:gd name="T27" fmla="*/ 2147483647 h 496"/>
                <a:gd name="T28" fmla="*/ 2147483647 w 386"/>
                <a:gd name="T29" fmla="*/ 2147483647 h 496"/>
                <a:gd name="T30" fmla="*/ 2147483647 w 386"/>
                <a:gd name="T31" fmla="*/ 2147483647 h 496"/>
                <a:gd name="T32" fmla="*/ 2147483647 w 386"/>
                <a:gd name="T33" fmla="*/ 2147483647 h 496"/>
                <a:gd name="T34" fmla="*/ 2147483647 w 386"/>
                <a:gd name="T35" fmla="*/ 2147483647 h 496"/>
                <a:gd name="T36" fmla="*/ 2147483647 w 386"/>
                <a:gd name="T37" fmla="*/ 2147483647 h 496"/>
                <a:gd name="T38" fmla="*/ 2147483647 w 386"/>
                <a:gd name="T39" fmla="*/ 2147483647 h 496"/>
                <a:gd name="T40" fmla="*/ 2147483647 w 386"/>
                <a:gd name="T41" fmla="*/ 2147483647 h 496"/>
                <a:gd name="T42" fmla="*/ 2147483647 w 386"/>
                <a:gd name="T43" fmla="*/ 2147483647 h 496"/>
                <a:gd name="T44" fmla="*/ 2147483647 w 386"/>
                <a:gd name="T45" fmla="*/ 2147483647 h 496"/>
                <a:gd name="T46" fmla="*/ 2147483647 w 386"/>
                <a:gd name="T47" fmla="*/ 2147483647 h 496"/>
                <a:gd name="T48" fmla="*/ 2147483647 w 386"/>
                <a:gd name="T49" fmla="*/ 2147483647 h 496"/>
                <a:gd name="T50" fmla="*/ 2147483647 w 386"/>
                <a:gd name="T51" fmla="*/ 2147483647 h 496"/>
                <a:gd name="T52" fmla="*/ 2147483647 w 386"/>
                <a:gd name="T53" fmla="*/ 2147483647 h 496"/>
                <a:gd name="T54" fmla="*/ 2147483647 w 386"/>
                <a:gd name="T55" fmla="*/ 2147483647 h 496"/>
                <a:gd name="T56" fmla="*/ 2147483647 w 386"/>
                <a:gd name="T57" fmla="*/ 2147483647 h 496"/>
                <a:gd name="T58" fmla="*/ 2147483647 w 386"/>
                <a:gd name="T59" fmla="*/ 2147483647 h 496"/>
                <a:gd name="T60" fmla="*/ 2147483647 w 386"/>
                <a:gd name="T61" fmla="*/ 2147483647 h 496"/>
                <a:gd name="T62" fmla="*/ 2147483647 w 386"/>
                <a:gd name="T63" fmla="*/ 2147483647 h 496"/>
                <a:gd name="T64" fmla="*/ 2147483647 w 386"/>
                <a:gd name="T65" fmla="*/ 2147483647 h 496"/>
                <a:gd name="T66" fmla="*/ 2147483647 w 386"/>
                <a:gd name="T67" fmla="*/ 2147483647 h 496"/>
                <a:gd name="T68" fmla="*/ 2147483647 w 386"/>
                <a:gd name="T69" fmla="*/ 2147483647 h 496"/>
                <a:gd name="T70" fmla="*/ 2147483647 w 386"/>
                <a:gd name="T71" fmla="*/ 2147483647 h 496"/>
                <a:gd name="T72" fmla="*/ 2147483647 w 386"/>
                <a:gd name="T73" fmla="*/ 2147483647 h 496"/>
                <a:gd name="T74" fmla="*/ 2147483647 w 386"/>
                <a:gd name="T75" fmla="*/ 2147483647 h 496"/>
                <a:gd name="T76" fmla="*/ 2147483647 w 386"/>
                <a:gd name="T77" fmla="*/ 2147483647 h 496"/>
                <a:gd name="T78" fmla="*/ 2147483647 w 386"/>
                <a:gd name="T79" fmla="*/ 2147483647 h 496"/>
                <a:gd name="T80" fmla="*/ 2147483647 w 386"/>
                <a:gd name="T81" fmla="*/ 2147483647 h 496"/>
                <a:gd name="T82" fmla="*/ 2147483647 w 386"/>
                <a:gd name="T83" fmla="*/ 2147483647 h 496"/>
                <a:gd name="T84" fmla="*/ 2147483647 w 386"/>
                <a:gd name="T85" fmla="*/ 2147483647 h 496"/>
                <a:gd name="T86" fmla="*/ 2147483647 w 386"/>
                <a:gd name="T87" fmla="*/ 2147483647 h 496"/>
                <a:gd name="T88" fmla="*/ 2147483647 w 386"/>
                <a:gd name="T89" fmla="*/ 2147483647 h 496"/>
                <a:gd name="T90" fmla="*/ 2147483647 w 386"/>
                <a:gd name="T91" fmla="*/ 2147483647 h 496"/>
                <a:gd name="T92" fmla="*/ 2147483647 w 386"/>
                <a:gd name="T93" fmla="*/ 2147483647 h 496"/>
                <a:gd name="T94" fmla="*/ 2147483647 w 386"/>
                <a:gd name="T95" fmla="*/ 2147483647 h 496"/>
                <a:gd name="T96" fmla="*/ 2147483647 w 386"/>
                <a:gd name="T97" fmla="*/ 2147483647 h 496"/>
                <a:gd name="T98" fmla="*/ 2147483647 w 386"/>
                <a:gd name="T99" fmla="*/ 2147483647 h 496"/>
                <a:gd name="T100" fmla="*/ 2147483647 w 386"/>
                <a:gd name="T101" fmla="*/ 2147483647 h 496"/>
                <a:gd name="T102" fmla="*/ 2147483647 w 386"/>
                <a:gd name="T103" fmla="*/ 2147483647 h 496"/>
                <a:gd name="T104" fmla="*/ 2147483647 w 386"/>
                <a:gd name="T105" fmla="*/ 2147483647 h 496"/>
                <a:gd name="T106" fmla="*/ 2147483647 w 386"/>
                <a:gd name="T107" fmla="*/ 2147483647 h 496"/>
                <a:gd name="T108" fmla="*/ 2147483647 w 386"/>
                <a:gd name="T109" fmla="*/ 2147483647 h 49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86"/>
                <a:gd name="T166" fmla="*/ 0 h 496"/>
                <a:gd name="T167" fmla="*/ 386 w 386"/>
                <a:gd name="T168" fmla="*/ 496 h 49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86" h="496">
                  <a:moveTo>
                    <a:pt x="12" y="474"/>
                  </a:moveTo>
                  <a:lnTo>
                    <a:pt x="12" y="474"/>
                  </a:lnTo>
                  <a:lnTo>
                    <a:pt x="12" y="480"/>
                  </a:lnTo>
                  <a:lnTo>
                    <a:pt x="10" y="486"/>
                  </a:lnTo>
                  <a:lnTo>
                    <a:pt x="16" y="484"/>
                  </a:lnTo>
                  <a:lnTo>
                    <a:pt x="22" y="482"/>
                  </a:lnTo>
                  <a:lnTo>
                    <a:pt x="26" y="482"/>
                  </a:lnTo>
                  <a:lnTo>
                    <a:pt x="26" y="486"/>
                  </a:lnTo>
                  <a:lnTo>
                    <a:pt x="22" y="494"/>
                  </a:lnTo>
                  <a:lnTo>
                    <a:pt x="28" y="496"/>
                  </a:lnTo>
                  <a:lnTo>
                    <a:pt x="34" y="494"/>
                  </a:lnTo>
                  <a:lnTo>
                    <a:pt x="40" y="490"/>
                  </a:lnTo>
                  <a:lnTo>
                    <a:pt x="46" y="488"/>
                  </a:lnTo>
                  <a:lnTo>
                    <a:pt x="54" y="484"/>
                  </a:lnTo>
                  <a:lnTo>
                    <a:pt x="60" y="482"/>
                  </a:lnTo>
                  <a:lnTo>
                    <a:pt x="66" y="478"/>
                  </a:lnTo>
                  <a:lnTo>
                    <a:pt x="72" y="476"/>
                  </a:lnTo>
                  <a:lnTo>
                    <a:pt x="80" y="472"/>
                  </a:lnTo>
                  <a:lnTo>
                    <a:pt x="86" y="466"/>
                  </a:lnTo>
                  <a:lnTo>
                    <a:pt x="92" y="462"/>
                  </a:lnTo>
                  <a:lnTo>
                    <a:pt x="100" y="456"/>
                  </a:lnTo>
                  <a:lnTo>
                    <a:pt x="106" y="452"/>
                  </a:lnTo>
                  <a:lnTo>
                    <a:pt x="114" y="446"/>
                  </a:lnTo>
                  <a:lnTo>
                    <a:pt x="120" y="440"/>
                  </a:lnTo>
                  <a:lnTo>
                    <a:pt x="126" y="436"/>
                  </a:lnTo>
                  <a:lnTo>
                    <a:pt x="128" y="434"/>
                  </a:lnTo>
                  <a:lnTo>
                    <a:pt x="134" y="430"/>
                  </a:lnTo>
                  <a:lnTo>
                    <a:pt x="140" y="426"/>
                  </a:lnTo>
                  <a:lnTo>
                    <a:pt x="146" y="422"/>
                  </a:lnTo>
                  <a:lnTo>
                    <a:pt x="152" y="422"/>
                  </a:lnTo>
                  <a:lnTo>
                    <a:pt x="156" y="414"/>
                  </a:lnTo>
                  <a:lnTo>
                    <a:pt x="162" y="410"/>
                  </a:lnTo>
                  <a:lnTo>
                    <a:pt x="168" y="404"/>
                  </a:lnTo>
                  <a:lnTo>
                    <a:pt x="176" y="402"/>
                  </a:lnTo>
                  <a:lnTo>
                    <a:pt x="182" y="398"/>
                  </a:lnTo>
                  <a:lnTo>
                    <a:pt x="188" y="392"/>
                  </a:lnTo>
                  <a:lnTo>
                    <a:pt x="192" y="388"/>
                  </a:lnTo>
                  <a:lnTo>
                    <a:pt x="194" y="384"/>
                  </a:lnTo>
                  <a:lnTo>
                    <a:pt x="200" y="380"/>
                  </a:lnTo>
                  <a:lnTo>
                    <a:pt x="206" y="374"/>
                  </a:lnTo>
                  <a:lnTo>
                    <a:pt x="212" y="368"/>
                  </a:lnTo>
                  <a:lnTo>
                    <a:pt x="218" y="362"/>
                  </a:lnTo>
                  <a:lnTo>
                    <a:pt x="212" y="360"/>
                  </a:lnTo>
                  <a:lnTo>
                    <a:pt x="214" y="356"/>
                  </a:lnTo>
                  <a:lnTo>
                    <a:pt x="214" y="350"/>
                  </a:lnTo>
                  <a:lnTo>
                    <a:pt x="222" y="344"/>
                  </a:lnTo>
                  <a:lnTo>
                    <a:pt x="228" y="340"/>
                  </a:lnTo>
                  <a:lnTo>
                    <a:pt x="234" y="334"/>
                  </a:lnTo>
                  <a:lnTo>
                    <a:pt x="242" y="330"/>
                  </a:lnTo>
                  <a:lnTo>
                    <a:pt x="248" y="326"/>
                  </a:lnTo>
                  <a:lnTo>
                    <a:pt x="252" y="326"/>
                  </a:lnTo>
                  <a:lnTo>
                    <a:pt x="258" y="324"/>
                  </a:lnTo>
                  <a:lnTo>
                    <a:pt x="266" y="322"/>
                  </a:lnTo>
                  <a:lnTo>
                    <a:pt x="270" y="322"/>
                  </a:lnTo>
                  <a:lnTo>
                    <a:pt x="278" y="322"/>
                  </a:lnTo>
                  <a:lnTo>
                    <a:pt x="284" y="322"/>
                  </a:lnTo>
                  <a:lnTo>
                    <a:pt x="284" y="328"/>
                  </a:lnTo>
                  <a:lnTo>
                    <a:pt x="282" y="336"/>
                  </a:lnTo>
                  <a:lnTo>
                    <a:pt x="288" y="330"/>
                  </a:lnTo>
                  <a:lnTo>
                    <a:pt x="294" y="324"/>
                  </a:lnTo>
                  <a:lnTo>
                    <a:pt x="294" y="318"/>
                  </a:lnTo>
                  <a:lnTo>
                    <a:pt x="294" y="316"/>
                  </a:lnTo>
                  <a:lnTo>
                    <a:pt x="300" y="310"/>
                  </a:lnTo>
                  <a:lnTo>
                    <a:pt x="306" y="304"/>
                  </a:lnTo>
                  <a:lnTo>
                    <a:pt x="310" y="298"/>
                  </a:lnTo>
                  <a:lnTo>
                    <a:pt x="316" y="298"/>
                  </a:lnTo>
                  <a:lnTo>
                    <a:pt x="324" y="294"/>
                  </a:lnTo>
                  <a:lnTo>
                    <a:pt x="330" y="290"/>
                  </a:lnTo>
                  <a:lnTo>
                    <a:pt x="338" y="286"/>
                  </a:lnTo>
                  <a:lnTo>
                    <a:pt x="344" y="280"/>
                  </a:lnTo>
                  <a:lnTo>
                    <a:pt x="348" y="274"/>
                  </a:lnTo>
                  <a:lnTo>
                    <a:pt x="352" y="268"/>
                  </a:lnTo>
                  <a:lnTo>
                    <a:pt x="358" y="262"/>
                  </a:lnTo>
                  <a:lnTo>
                    <a:pt x="362" y="256"/>
                  </a:lnTo>
                  <a:lnTo>
                    <a:pt x="366" y="248"/>
                  </a:lnTo>
                  <a:lnTo>
                    <a:pt x="372" y="242"/>
                  </a:lnTo>
                  <a:lnTo>
                    <a:pt x="376" y="236"/>
                  </a:lnTo>
                  <a:lnTo>
                    <a:pt x="380" y="234"/>
                  </a:lnTo>
                  <a:lnTo>
                    <a:pt x="386" y="232"/>
                  </a:lnTo>
                  <a:lnTo>
                    <a:pt x="386" y="224"/>
                  </a:lnTo>
                  <a:lnTo>
                    <a:pt x="380" y="218"/>
                  </a:lnTo>
                  <a:lnTo>
                    <a:pt x="374" y="218"/>
                  </a:lnTo>
                  <a:lnTo>
                    <a:pt x="368" y="218"/>
                  </a:lnTo>
                  <a:lnTo>
                    <a:pt x="360" y="222"/>
                  </a:lnTo>
                  <a:lnTo>
                    <a:pt x="354" y="224"/>
                  </a:lnTo>
                  <a:lnTo>
                    <a:pt x="346" y="228"/>
                  </a:lnTo>
                  <a:lnTo>
                    <a:pt x="342" y="230"/>
                  </a:lnTo>
                  <a:lnTo>
                    <a:pt x="334" y="234"/>
                  </a:lnTo>
                  <a:lnTo>
                    <a:pt x="328" y="240"/>
                  </a:lnTo>
                  <a:lnTo>
                    <a:pt x="320" y="244"/>
                  </a:lnTo>
                  <a:lnTo>
                    <a:pt x="314" y="246"/>
                  </a:lnTo>
                  <a:lnTo>
                    <a:pt x="308" y="248"/>
                  </a:lnTo>
                  <a:lnTo>
                    <a:pt x="300" y="248"/>
                  </a:lnTo>
                  <a:lnTo>
                    <a:pt x="294" y="250"/>
                  </a:lnTo>
                  <a:lnTo>
                    <a:pt x="290" y="246"/>
                  </a:lnTo>
                  <a:lnTo>
                    <a:pt x="284" y="242"/>
                  </a:lnTo>
                  <a:lnTo>
                    <a:pt x="280" y="240"/>
                  </a:lnTo>
                  <a:lnTo>
                    <a:pt x="274" y="238"/>
                  </a:lnTo>
                  <a:lnTo>
                    <a:pt x="268" y="232"/>
                  </a:lnTo>
                  <a:lnTo>
                    <a:pt x="262" y="230"/>
                  </a:lnTo>
                  <a:lnTo>
                    <a:pt x="254" y="228"/>
                  </a:lnTo>
                  <a:lnTo>
                    <a:pt x="252" y="226"/>
                  </a:lnTo>
                  <a:lnTo>
                    <a:pt x="246" y="222"/>
                  </a:lnTo>
                  <a:lnTo>
                    <a:pt x="250" y="216"/>
                  </a:lnTo>
                  <a:lnTo>
                    <a:pt x="252" y="210"/>
                  </a:lnTo>
                  <a:lnTo>
                    <a:pt x="254" y="206"/>
                  </a:lnTo>
                  <a:lnTo>
                    <a:pt x="256" y="200"/>
                  </a:lnTo>
                  <a:lnTo>
                    <a:pt x="258" y="194"/>
                  </a:lnTo>
                  <a:lnTo>
                    <a:pt x="264" y="186"/>
                  </a:lnTo>
                  <a:lnTo>
                    <a:pt x="266" y="180"/>
                  </a:lnTo>
                  <a:lnTo>
                    <a:pt x="268" y="174"/>
                  </a:lnTo>
                  <a:lnTo>
                    <a:pt x="268" y="168"/>
                  </a:lnTo>
                  <a:lnTo>
                    <a:pt x="262" y="168"/>
                  </a:lnTo>
                  <a:lnTo>
                    <a:pt x="268" y="164"/>
                  </a:lnTo>
                  <a:lnTo>
                    <a:pt x="276" y="160"/>
                  </a:lnTo>
                  <a:lnTo>
                    <a:pt x="270" y="160"/>
                  </a:lnTo>
                  <a:lnTo>
                    <a:pt x="262" y="162"/>
                  </a:lnTo>
                  <a:lnTo>
                    <a:pt x="264" y="156"/>
                  </a:lnTo>
                  <a:lnTo>
                    <a:pt x="264" y="150"/>
                  </a:lnTo>
                  <a:lnTo>
                    <a:pt x="262" y="144"/>
                  </a:lnTo>
                  <a:lnTo>
                    <a:pt x="256" y="148"/>
                  </a:lnTo>
                  <a:lnTo>
                    <a:pt x="258" y="156"/>
                  </a:lnTo>
                  <a:lnTo>
                    <a:pt x="252" y="160"/>
                  </a:lnTo>
                  <a:lnTo>
                    <a:pt x="250" y="168"/>
                  </a:lnTo>
                  <a:lnTo>
                    <a:pt x="244" y="172"/>
                  </a:lnTo>
                  <a:lnTo>
                    <a:pt x="246" y="178"/>
                  </a:lnTo>
                  <a:lnTo>
                    <a:pt x="244" y="186"/>
                  </a:lnTo>
                  <a:lnTo>
                    <a:pt x="240" y="192"/>
                  </a:lnTo>
                  <a:lnTo>
                    <a:pt x="234" y="194"/>
                  </a:lnTo>
                  <a:lnTo>
                    <a:pt x="228" y="194"/>
                  </a:lnTo>
                  <a:lnTo>
                    <a:pt x="228" y="188"/>
                  </a:lnTo>
                  <a:lnTo>
                    <a:pt x="232" y="182"/>
                  </a:lnTo>
                  <a:lnTo>
                    <a:pt x="232" y="176"/>
                  </a:lnTo>
                  <a:lnTo>
                    <a:pt x="226" y="172"/>
                  </a:lnTo>
                  <a:lnTo>
                    <a:pt x="220" y="174"/>
                  </a:lnTo>
                  <a:lnTo>
                    <a:pt x="214" y="170"/>
                  </a:lnTo>
                  <a:lnTo>
                    <a:pt x="208" y="170"/>
                  </a:lnTo>
                  <a:lnTo>
                    <a:pt x="206" y="170"/>
                  </a:lnTo>
                  <a:lnTo>
                    <a:pt x="204" y="170"/>
                  </a:lnTo>
                  <a:lnTo>
                    <a:pt x="204" y="168"/>
                  </a:lnTo>
                  <a:lnTo>
                    <a:pt x="210" y="168"/>
                  </a:lnTo>
                  <a:lnTo>
                    <a:pt x="214" y="164"/>
                  </a:lnTo>
                  <a:lnTo>
                    <a:pt x="216" y="158"/>
                  </a:lnTo>
                  <a:lnTo>
                    <a:pt x="218" y="156"/>
                  </a:lnTo>
                  <a:lnTo>
                    <a:pt x="218" y="148"/>
                  </a:lnTo>
                  <a:lnTo>
                    <a:pt x="224" y="144"/>
                  </a:lnTo>
                  <a:lnTo>
                    <a:pt x="228" y="138"/>
                  </a:lnTo>
                  <a:lnTo>
                    <a:pt x="234" y="136"/>
                  </a:lnTo>
                  <a:lnTo>
                    <a:pt x="236" y="130"/>
                  </a:lnTo>
                  <a:lnTo>
                    <a:pt x="232" y="124"/>
                  </a:lnTo>
                  <a:lnTo>
                    <a:pt x="232" y="122"/>
                  </a:lnTo>
                  <a:lnTo>
                    <a:pt x="230" y="116"/>
                  </a:lnTo>
                  <a:lnTo>
                    <a:pt x="228" y="108"/>
                  </a:lnTo>
                  <a:lnTo>
                    <a:pt x="232" y="102"/>
                  </a:lnTo>
                  <a:lnTo>
                    <a:pt x="226" y="100"/>
                  </a:lnTo>
                  <a:lnTo>
                    <a:pt x="228" y="94"/>
                  </a:lnTo>
                  <a:lnTo>
                    <a:pt x="234" y="96"/>
                  </a:lnTo>
                  <a:lnTo>
                    <a:pt x="240" y="100"/>
                  </a:lnTo>
                  <a:lnTo>
                    <a:pt x="242" y="94"/>
                  </a:lnTo>
                  <a:lnTo>
                    <a:pt x="242" y="88"/>
                  </a:lnTo>
                  <a:lnTo>
                    <a:pt x="248" y="82"/>
                  </a:lnTo>
                  <a:lnTo>
                    <a:pt x="246" y="76"/>
                  </a:lnTo>
                  <a:lnTo>
                    <a:pt x="244" y="70"/>
                  </a:lnTo>
                  <a:lnTo>
                    <a:pt x="248" y="64"/>
                  </a:lnTo>
                  <a:lnTo>
                    <a:pt x="248" y="58"/>
                  </a:lnTo>
                  <a:lnTo>
                    <a:pt x="242" y="60"/>
                  </a:lnTo>
                  <a:lnTo>
                    <a:pt x="236" y="60"/>
                  </a:lnTo>
                  <a:lnTo>
                    <a:pt x="240" y="66"/>
                  </a:lnTo>
                  <a:lnTo>
                    <a:pt x="232" y="66"/>
                  </a:lnTo>
                  <a:lnTo>
                    <a:pt x="234" y="60"/>
                  </a:lnTo>
                  <a:lnTo>
                    <a:pt x="234" y="54"/>
                  </a:lnTo>
                  <a:lnTo>
                    <a:pt x="240" y="54"/>
                  </a:lnTo>
                  <a:lnTo>
                    <a:pt x="234" y="50"/>
                  </a:lnTo>
                  <a:lnTo>
                    <a:pt x="234" y="44"/>
                  </a:lnTo>
                  <a:lnTo>
                    <a:pt x="228" y="42"/>
                  </a:lnTo>
                  <a:lnTo>
                    <a:pt x="222" y="46"/>
                  </a:lnTo>
                  <a:lnTo>
                    <a:pt x="224" y="42"/>
                  </a:lnTo>
                  <a:lnTo>
                    <a:pt x="218" y="38"/>
                  </a:lnTo>
                  <a:lnTo>
                    <a:pt x="212" y="42"/>
                  </a:lnTo>
                  <a:lnTo>
                    <a:pt x="208" y="36"/>
                  </a:lnTo>
                  <a:lnTo>
                    <a:pt x="214" y="32"/>
                  </a:lnTo>
                  <a:lnTo>
                    <a:pt x="208" y="32"/>
                  </a:lnTo>
                  <a:lnTo>
                    <a:pt x="204" y="38"/>
                  </a:lnTo>
                  <a:lnTo>
                    <a:pt x="198" y="42"/>
                  </a:lnTo>
                  <a:lnTo>
                    <a:pt x="200" y="36"/>
                  </a:lnTo>
                  <a:lnTo>
                    <a:pt x="198" y="32"/>
                  </a:lnTo>
                  <a:lnTo>
                    <a:pt x="198" y="24"/>
                  </a:lnTo>
                  <a:lnTo>
                    <a:pt x="198" y="20"/>
                  </a:lnTo>
                  <a:lnTo>
                    <a:pt x="198" y="14"/>
                  </a:lnTo>
                  <a:lnTo>
                    <a:pt x="196" y="8"/>
                  </a:lnTo>
                  <a:lnTo>
                    <a:pt x="202" y="6"/>
                  </a:lnTo>
                  <a:lnTo>
                    <a:pt x="206" y="0"/>
                  </a:lnTo>
                  <a:lnTo>
                    <a:pt x="200" y="2"/>
                  </a:lnTo>
                  <a:lnTo>
                    <a:pt x="194" y="4"/>
                  </a:lnTo>
                  <a:lnTo>
                    <a:pt x="188" y="4"/>
                  </a:lnTo>
                  <a:lnTo>
                    <a:pt x="186" y="2"/>
                  </a:lnTo>
                  <a:lnTo>
                    <a:pt x="184" y="8"/>
                  </a:lnTo>
                  <a:lnTo>
                    <a:pt x="186" y="14"/>
                  </a:lnTo>
                  <a:lnTo>
                    <a:pt x="188" y="22"/>
                  </a:lnTo>
                  <a:lnTo>
                    <a:pt x="190" y="28"/>
                  </a:lnTo>
                  <a:lnTo>
                    <a:pt x="190" y="34"/>
                  </a:lnTo>
                  <a:lnTo>
                    <a:pt x="190" y="40"/>
                  </a:lnTo>
                  <a:lnTo>
                    <a:pt x="190" y="46"/>
                  </a:lnTo>
                  <a:lnTo>
                    <a:pt x="186" y="54"/>
                  </a:lnTo>
                  <a:lnTo>
                    <a:pt x="178" y="54"/>
                  </a:lnTo>
                  <a:lnTo>
                    <a:pt x="180" y="60"/>
                  </a:lnTo>
                  <a:lnTo>
                    <a:pt x="180" y="66"/>
                  </a:lnTo>
                  <a:lnTo>
                    <a:pt x="180" y="72"/>
                  </a:lnTo>
                  <a:lnTo>
                    <a:pt x="182" y="78"/>
                  </a:lnTo>
                  <a:lnTo>
                    <a:pt x="186" y="72"/>
                  </a:lnTo>
                  <a:lnTo>
                    <a:pt x="192" y="70"/>
                  </a:lnTo>
                  <a:lnTo>
                    <a:pt x="198" y="66"/>
                  </a:lnTo>
                  <a:lnTo>
                    <a:pt x="202" y="62"/>
                  </a:lnTo>
                  <a:lnTo>
                    <a:pt x="200" y="68"/>
                  </a:lnTo>
                  <a:lnTo>
                    <a:pt x="194" y="72"/>
                  </a:lnTo>
                  <a:lnTo>
                    <a:pt x="188" y="74"/>
                  </a:lnTo>
                  <a:lnTo>
                    <a:pt x="182" y="80"/>
                  </a:lnTo>
                  <a:lnTo>
                    <a:pt x="182" y="86"/>
                  </a:lnTo>
                  <a:lnTo>
                    <a:pt x="184" y="92"/>
                  </a:lnTo>
                  <a:lnTo>
                    <a:pt x="186" y="98"/>
                  </a:lnTo>
                  <a:lnTo>
                    <a:pt x="186" y="108"/>
                  </a:lnTo>
                  <a:lnTo>
                    <a:pt x="188" y="114"/>
                  </a:lnTo>
                  <a:lnTo>
                    <a:pt x="188" y="120"/>
                  </a:lnTo>
                  <a:lnTo>
                    <a:pt x="188" y="126"/>
                  </a:lnTo>
                  <a:lnTo>
                    <a:pt x="188" y="132"/>
                  </a:lnTo>
                  <a:lnTo>
                    <a:pt x="186" y="138"/>
                  </a:lnTo>
                  <a:lnTo>
                    <a:pt x="194" y="138"/>
                  </a:lnTo>
                  <a:lnTo>
                    <a:pt x="196" y="132"/>
                  </a:lnTo>
                  <a:lnTo>
                    <a:pt x="194" y="124"/>
                  </a:lnTo>
                  <a:lnTo>
                    <a:pt x="194" y="120"/>
                  </a:lnTo>
                  <a:lnTo>
                    <a:pt x="200" y="122"/>
                  </a:lnTo>
                  <a:lnTo>
                    <a:pt x="202" y="128"/>
                  </a:lnTo>
                  <a:lnTo>
                    <a:pt x="204" y="122"/>
                  </a:lnTo>
                  <a:lnTo>
                    <a:pt x="210" y="126"/>
                  </a:lnTo>
                  <a:lnTo>
                    <a:pt x="214" y="122"/>
                  </a:lnTo>
                  <a:lnTo>
                    <a:pt x="216" y="122"/>
                  </a:lnTo>
                  <a:lnTo>
                    <a:pt x="210" y="126"/>
                  </a:lnTo>
                  <a:lnTo>
                    <a:pt x="216" y="130"/>
                  </a:lnTo>
                  <a:lnTo>
                    <a:pt x="210" y="132"/>
                  </a:lnTo>
                  <a:lnTo>
                    <a:pt x="204" y="132"/>
                  </a:lnTo>
                  <a:lnTo>
                    <a:pt x="204" y="138"/>
                  </a:lnTo>
                  <a:lnTo>
                    <a:pt x="210" y="136"/>
                  </a:lnTo>
                  <a:lnTo>
                    <a:pt x="206" y="142"/>
                  </a:lnTo>
                  <a:lnTo>
                    <a:pt x="204" y="148"/>
                  </a:lnTo>
                  <a:lnTo>
                    <a:pt x="200" y="154"/>
                  </a:lnTo>
                  <a:lnTo>
                    <a:pt x="196" y="148"/>
                  </a:lnTo>
                  <a:lnTo>
                    <a:pt x="196" y="142"/>
                  </a:lnTo>
                  <a:lnTo>
                    <a:pt x="192" y="142"/>
                  </a:lnTo>
                  <a:lnTo>
                    <a:pt x="190" y="150"/>
                  </a:lnTo>
                  <a:lnTo>
                    <a:pt x="190" y="156"/>
                  </a:lnTo>
                  <a:lnTo>
                    <a:pt x="190" y="162"/>
                  </a:lnTo>
                  <a:lnTo>
                    <a:pt x="190" y="168"/>
                  </a:lnTo>
                  <a:lnTo>
                    <a:pt x="190" y="172"/>
                  </a:lnTo>
                  <a:lnTo>
                    <a:pt x="186" y="180"/>
                  </a:lnTo>
                  <a:lnTo>
                    <a:pt x="192" y="180"/>
                  </a:lnTo>
                  <a:lnTo>
                    <a:pt x="198" y="178"/>
                  </a:lnTo>
                  <a:lnTo>
                    <a:pt x="204" y="176"/>
                  </a:lnTo>
                  <a:lnTo>
                    <a:pt x="206" y="182"/>
                  </a:lnTo>
                  <a:lnTo>
                    <a:pt x="200" y="188"/>
                  </a:lnTo>
                  <a:lnTo>
                    <a:pt x="194" y="190"/>
                  </a:lnTo>
                  <a:lnTo>
                    <a:pt x="192" y="184"/>
                  </a:lnTo>
                  <a:lnTo>
                    <a:pt x="186" y="190"/>
                  </a:lnTo>
                  <a:lnTo>
                    <a:pt x="186" y="196"/>
                  </a:lnTo>
                  <a:lnTo>
                    <a:pt x="184" y="202"/>
                  </a:lnTo>
                  <a:lnTo>
                    <a:pt x="190" y="204"/>
                  </a:lnTo>
                  <a:lnTo>
                    <a:pt x="184" y="206"/>
                  </a:lnTo>
                  <a:lnTo>
                    <a:pt x="180" y="214"/>
                  </a:lnTo>
                  <a:lnTo>
                    <a:pt x="178" y="220"/>
                  </a:lnTo>
                  <a:lnTo>
                    <a:pt x="176" y="228"/>
                  </a:lnTo>
                  <a:lnTo>
                    <a:pt x="174" y="234"/>
                  </a:lnTo>
                  <a:lnTo>
                    <a:pt x="174" y="236"/>
                  </a:lnTo>
                  <a:lnTo>
                    <a:pt x="168" y="238"/>
                  </a:lnTo>
                  <a:lnTo>
                    <a:pt x="164" y="244"/>
                  </a:lnTo>
                  <a:lnTo>
                    <a:pt x="162" y="252"/>
                  </a:lnTo>
                  <a:lnTo>
                    <a:pt x="160" y="258"/>
                  </a:lnTo>
                  <a:lnTo>
                    <a:pt x="154" y="258"/>
                  </a:lnTo>
                  <a:lnTo>
                    <a:pt x="146" y="266"/>
                  </a:lnTo>
                  <a:lnTo>
                    <a:pt x="142" y="272"/>
                  </a:lnTo>
                  <a:lnTo>
                    <a:pt x="136" y="276"/>
                  </a:lnTo>
                  <a:lnTo>
                    <a:pt x="130" y="284"/>
                  </a:lnTo>
                  <a:lnTo>
                    <a:pt x="126" y="290"/>
                  </a:lnTo>
                  <a:lnTo>
                    <a:pt x="122" y="298"/>
                  </a:lnTo>
                  <a:lnTo>
                    <a:pt x="116" y="304"/>
                  </a:lnTo>
                  <a:lnTo>
                    <a:pt x="110" y="308"/>
                  </a:lnTo>
                  <a:lnTo>
                    <a:pt x="102" y="312"/>
                  </a:lnTo>
                  <a:lnTo>
                    <a:pt x="96" y="316"/>
                  </a:lnTo>
                  <a:lnTo>
                    <a:pt x="90" y="316"/>
                  </a:lnTo>
                  <a:lnTo>
                    <a:pt x="86" y="318"/>
                  </a:lnTo>
                  <a:lnTo>
                    <a:pt x="80" y="320"/>
                  </a:lnTo>
                  <a:lnTo>
                    <a:pt x="74" y="322"/>
                  </a:lnTo>
                  <a:lnTo>
                    <a:pt x="66" y="324"/>
                  </a:lnTo>
                  <a:lnTo>
                    <a:pt x="62" y="328"/>
                  </a:lnTo>
                  <a:lnTo>
                    <a:pt x="54" y="330"/>
                  </a:lnTo>
                  <a:lnTo>
                    <a:pt x="48" y="336"/>
                  </a:lnTo>
                  <a:lnTo>
                    <a:pt x="44" y="342"/>
                  </a:lnTo>
                  <a:lnTo>
                    <a:pt x="42" y="348"/>
                  </a:lnTo>
                  <a:lnTo>
                    <a:pt x="42" y="350"/>
                  </a:lnTo>
                  <a:lnTo>
                    <a:pt x="50" y="356"/>
                  </a:lnTo>
                  <a:lnTo>
                    <a:pt x="54" y="358"/>
                  </a:lnTo>
                  <a:lnTo>
                    <a:pt x="62" y="362"/>
                  </a:lnTo>
                  <a:lnTo>
                    <a:pt x="62" y="368"/>
                  </a:lnTo>
                  <a:lnTo>
                    <a:pt x="64" y="370"/>
                  </a:lnTo>
                  <a:lnTo>
                    <a:pt x="70" y="376"/>
                  </a:lnTo>
                  <a:lnTo>
                    <a:pt x="72" y="378"/>
                  </a:lnTo>
                  <a:lnTo>
                    <a:pt x="78" y="378"/>
                  </a:lnTo>
                  <a:lnTo>
                    <a:pt x="84" y="380"/>
                  </a:lnTo>
                  <a:lnTo>
                    <a:pt x="86" y="384"/>
                  </a:lnTo>
                  <a:lnTo>
                    <a:pt x="88" y="388"/>
                  </a:lnTo>
                  <a:lnTo>
                    <a:pt x="88" y="394"/>
                  </a:lnTo>
                  <a:lnTo>
                    <a:pt x="88" y="400"/>
                  </a:lnTo>
                  <a:lnTo>
                    <a:pt x="84" y="406"/>
                  </a:lnTo>
                  <a:lnTo>
                    <a:pt x="80" y="414"/>
                  </a:lnTo>
                  <a:lnTo>
                    <a:pt x="74" y="420"/>
                  </a:lnTo>
                  <a:lnTo>
                    <a:pt x="68" y="426"/>
                  </a:lnTo>
                  <a:lnTo>
                    <a:pt x="64" y="432"/>
                  </a:lnTo>
                  <a:lnTo>
                    <a:pt x="58" y="436"/>
                  </a:lnTo>
                  <a:lnTo>
                    <a:pt x="54" y="440"/>
                  </a:lnTo>
                  <a:lnTo>
                    <a:pt x="48" y="444"/>
                  </a:lnTo>
                  <a:lnTo>
                    <a:pt x="44" y="448"/>
                  </a:lnTo>
                  <a:lnTo>
                    <a:pt x="36" y="452"/>
                  </a:lnTo>
                  <a:lnTo>
                    <a:pt x="30" y="458"/>
                  </a:lnTo>
                  <a:lnTo>
                    <a:pt x="24" y="462"/>
                  </a:lnTo>
                  <a:lnTo>
                    <a:pt x="24" y="464"/>
                  </a:lnTo>
                  <a:lnTo>
                    <a:pt x="18" y="464"/>
                  </a:lnTo>
                  <a:lnTo>
                    <a:pt x="12" y="470"/>
                  </a:lnTo>
                  <a:lnTo>
                    <a:pt x="6" y="472"/>
                  </a:lnTo>
                  <a:lnTo>
                    <a:pt x="0" y="478"/>
                  </a:lnTo>
                  <a:lnTo>
                    <a:pt x="8" y="480"/>
                  </a:lnTo>
                  <a:lnTo>
                    <a:pt x="12" y="47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1" name="Freeform 198"/>
            <p:cNvSpPr>
              <a:spLocks/>
            </p:cNvSpPr>
            <p:nvPr/>
          </p:nvSpPr>
          <p:spPr bwMode="auto">
            <a:xfrm>
              <a:off x="6208713" y="3967163"/>
              <a:ext cx="55562" cy="111125"/>
            </a:xfrm>
            <a:custGeom>
              <a:avLst/>
              <a:gdLst>
                <a:gd name="T0" fmla="*/ 2147483647 w 136"/>
                <a:gd name="T1" fmla="*/ 2147483647 h 270"/>
                <a:gd name="T2" fmla="*/ 2147483647 w 136"/>
                <a:gd name="T3" fmla="*/ 2147483647 h 270"/>
                <a:gd name="T4" fmla="*/ 2147483647 w 136"/>
                <a:gd name="T5" fmla="*/ 2147483647 h 270"/>
                <a:gd name="T6" fmla="*/ 2147483647 w 136"/>
                <a:gd name="T7" fmla="*/ 2147483647 h 270"/>
                <a:gd name="T8" fmla="*/ 2147483647 w 136"/>
                <a:gd name="T9" fmla="*/ 2147483647 h 270"/>
                <a:gd name="T10" fmla="*/ 2147483647 w 136"/>
                <a:gd name="T11" fmla="*/ 2147483647 h 270"/>
                <a:gd name="T12" fmla="*/ 2147483647 w 136"/>
                <a:gd name="T13" fmla="*/ 2147483647 h 270"/>
                <a:gd name="T14" fmla="*/ 2147483647 w 136"/>
                <a:gd name="T15" fmla="*/ 2147483647 h 270"/>
                <a:gd name="T16" fmla="*/ 2147483647 w 136"/>
                <a:gd name="T17" fmla="*/ 2147483647 h 270"/>
                <a:gd name="T18" fmla="*/ 2147483647 w 136"/>
                <a:gd name="T19" fmla="*/ 2147483647 h 270"/>
                <a:gd name="T20" fmla="*/ 2147483647 w 136"/>
                <a:gd name="T21" fmla="*/ 2147483647 h 270"/>
                <a:gd name="T22" fmla="*/ 2147483647 w 136"/>
                <a:gd name="T23" fmla="*/ 2147483647 h 270"/>
                <a:gd name="T24" fmla="*/ 2147483647 w 136"/>
                <a:gd name="T25" fmla="*/ 2147483647 h 270"/>
                <a:gd name="T26" fmla="*/ 2147483647 w 136"/>
                <a:gd name="T27" fmla="*/ 2147483647 h 270"/>
                <a:gd name="T28" fmla="*/ 2147483647 w 136"/>
                <a:gd name="T29" fmla="*/ 2147483647 h 270"/>
                <a:gd name="T30" fmla="*/ 2147483647 w 136"/>
                <a:gd name="T31" fmla="*/ 2147483647 h 270"/>
                <a:gd name="T32" fmla="*/ 2147483647 w 136"/>
                <a:gd name="T33" fmla="*/ 2147483647 h 270"/>
                <a:gd name="T34" fmla="*/ 2147483647 w 136"/>
                <a:gd name="T35" fmla="*/ 2147483647 h 270"/>
                <a:gd name="T36" fmla="*/ 2147483647 w 136"/>
                <a:gd name="T37" fmla="*/ 2147483647 h 270"/>
                <a:gd name="T38" fmla="*/ 2147483647 w 136"/>
                <a:gd name="T39" fmla="*/ 2147483647 h 270"/>
                <a:gd name="T40" fmla="*/ 2147483647 w 136"/>
                <a:gd name="T41" fmla="*/ 2147483647 h 270"/>
                <a:gd name="T42" fmla="*/ 2147483647 w 136"/>
                <a:gd name="T43" fmla="*/ 2147483647 h 270"/>
                <a:gd name="T44" fmla="*/ 2147483647 w 136"/>
                <a:gd name="T45" fmla="*/ 2147483647 h 270"/>
                <a:gd name="T46" fmla="*/ 2147483647 w 136"/>
                <a:gd name="T47" fmla="*/ 2147483647 h 270"/>
                <a:gd name="T48" fmla="*/ 2147483647 w 136"/>
                <a:gd name="T49" fmla="*/ 2147483647 h 270"/>
                <a:gd name="T50" fmla="*/ 2147483647 w 136"/>
                <a:gd name="T51" fmla="*/ 2147483647 h 270"/>
                <a:gd name="T52" fmla="*/ 2147483647 w 136"/>
                <a:gd name="T53" fmla="*/ 2147483647 h 270"/>
                <a:gd name="T54" fmla="*/ 2147483647 w 136"/>
                <a:gd name="T55" fmla="*/ 2147483647 h 270"/>
                <a:gd name="T56" fmla="*/ 2147483647 w 136"/>
                <a:gd name="T57" fmla="*/ 2147483647 h 270"/>
                <a:gd name="T58" fmla="*/ 2147483647 w 136"/>
                <a:gd name="T59" fmla="*/ 2147483647 h 270"/>
                <a:gd name="T60" fmla="*/ 2147483647 w 136"/>
                <a:gd name="T61" fmla="*/ 2147483647 h 270"/>
                <a:gd name="T62" fmla="*/ 2147483647 w 136"/>
                <a:gd name="T63" fmla="*/ 2147483647 h 270"/>
                <a:gd name="T64" fmla="*/ 2147483647 w 136"/>
                <a:gd name="T65" fmla="*/ 0 h 270"/>
                <a:gd name="T66" fmla="*/ 2147483647 w 136"/>
                <a:gd name="T67" fmla="*/ 2147483647 h 270"/>
                <a:gd name="T68" fmla="*/ 2147483647 w 136"/>
                <a:gd name="T69" fmla="*/ 2147483647 h 270"/>
                <a:gd name="T70" fmla="*/ 2147483647 w 136"/>
                <a:gd name="T71" fmla="*/ 2147483647 h 270"/>
                <a:gd name="T72" fmla="*/ 2147483647 w 136"/>
                <a:gd name="T73" fmla="*/ 2147483647 h 270"/>
                <a:gd name="T74" fmla="*/ 2147483647 w 136"/>
                <a:gd name="T75" fmla="*/ 2147483647 h 270"/>
                <a:gd name="T76" fmla="*/ 2147483647 w 136"/>
                <a:gd name="T77" fmla="*/ 2147483647 h 270"/>
                <a:gd name="T78" fmla="*/ 2147483647 w 136"/>
                <a:gd name="T79" fmla="*/ 2147483647 h 270"/>
                <a:gd name="T80" fmla="*/ 2147483647 w 136"/>
                <a:gd name="T81" fmla="*/ 2147483647 h 270"/>
                <a:gd name="T82" fmla="*/ 2147483647 w 136"/>
                <a:gd name="T83" fmla="*/ 2147483647 h 270"/>
                <a:gd name="T84" fmla="*/ 2147483647 w 136"/>
                <a:gd name="T85" fmla="*/ 2147483647 h 270"/>
                <a:gd name="T86" fmla="*/ 2147483647 w 136"/>
                <a:gd name="T87" fmla="*/ 2147483647 h 270"/>
                <a:gd name="T88" fmla="*/ 2147483647 w 136"/>
                <a:gd name="T89" fmla="*/ 2147483647 h 270"/>
                <a:gd name="T90" fmla="*/ 2147483647 w 136"/>
                <a:gd name="T91" fmla="*/ 2147483647 h 270"/>
                <a:gd name="T92" fmla="*/ 2147483647 w 136"/>
                <a:gd name="T93" fmla="*/ 2147483647 h 270"/>
                <a:gd name="T94" fmla="*/ 2147483647 w 136"/>
                <a:gd name="T95" fmla="*/ 2147483647 h 270"/>
                <a:gd name="T96" fmla="*/ 0 w 136"/>
                <a:gd name="T97" fmla="*/ 2147483647 h 270"/>
                <a:gd name="T98" fmla="*/ 2147483647 w 136"/>
                <a:gd name="T99" fmla="*/ 2147483647 h 270"/>
                <a:gd name="T100" fmla="*/ 2147483647 w 136"/>
                <a:gd name="T101" fmla="*/ 2147483647 h 2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36"/>
                <a:gd name="T154" fmla="*/ 0 h 270"/>
                <a:gd name="T155" fmla="*/ 136 w 136"/>
                <a:gd name="T156" fmla="*/ 270 h 27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36" h="270">
                  <a:moveTo>
                    <a:pt x="8" y="154"/>
                  </a:moveTo>
                  <a:lnTo>
                    <a:pt x="8" y="158"/>
                  </a:lnTo>
                  <a:lnTo>
                    <a:pt x="10" y="164"/>
                  </a:lnTo>
                  <a:lnTo>
                    <a:pt x="10" y="170"/>
                  </a:lnTo>
                  <a:lnTo>
                    <a:pt x="10" y="176"/>
                  </a:lnTo>
                  <a:lnTo>
                    <a:pt x="10" y="178"/>
                  </a:lnTo>
                  <a:lnTo>
                    <a:pt x="10" y="184"/>
                  </a:lnTo>
                  <a:lnTo>
                    <a:pt x="12" y="190"/>
                  </a:lnTo>
                  <a:lnTo>
                    <a:pt x="14" y="196"/>
                  </a:lnTo>
                  <a:lnTo>
                    <a:pt x="12" y="202"/>
                  </a:lnTo>
                  <a:lnTo>
                    <a:pt x="14" y="208"/>
                  </a:lnTo>
                  <a:lnTo>
                    <a:pt x="16" y="214"/>
                  </a:lnTo>
                  <a:lnTo>
                    <a:pt x="18" y="218"/>
                  </a:lnTo>
                  <a:lnTo>
                    <a:pt x="20" y="224"/>
                  </a:lnTo>
                  <a:lnTo>
                    <a:pt x="22" y="228"/>
                  </a:lnTo>
                  <a:lnTo>
                    <a:pt x="22" y="234"/>
                  </a:lnTo>
                  <a:lnTo>
                    <a:pt x="24" y="238"/>
                  </a:lnTo>
                  <a:lnTo>
                    <a:pt x="26" y="244"/>
                  </a:lnTo>
                  <a:lnTo>
                    <a:pt x="28" y="250"/>
                  </a:lnTo>
                  <a:lnTo>
                    <a:pt x="30" y="256"/>
                  </a:lnTo>
                  <a:lnTo>
                    <a:pt x="36" y="262"/>
                  </a:lnTo>
                  <a:lnTo>
                    <a:pt x="42" y="264"/>
                  </a:lnTo>
                  <a:lnTo>
                    <a:pt x="48" y="268"/>
                  </a:lnTo>
                  <a:lnTo>
                    <a:pt x="52" y="268"/>
                  </a:lnTo>
                  <a:lnTo>
                    <a:pt x="58" y="268"/>
                  </a:lnTo>
                  <a:lnTo>
                    <a:pt x="60" y="270"/>
                  </a:lnTo>
                  <a:lnTo>
                    <a:pt x="62" y="268"/>
                  </a:lnTo>
                  <a:lnTo>
                    <a:pt x="68" y="266"/>
                  </a:lnTo>
                  <a:lnTo>
                    <a:pt x="74" y="262"/>
                  </a:lnTo>
                  <a:lnTo>
                    <a:pt x="80" y="260"/>
                  </a:lnTo>
                  <a:lnTo>
                    <a:pt x="86" y="258"/>
                  </a:lnTo>
                  <a:lnTo>
                    <a:pt x="90" y="256"/>
                  </a:lnTo>
                  <a:lnTo>
                    <a:pt x="98" y="252"/>
                  </a:lnTo>
                  <a:lnTo>
                    <a:pt x="102" y="250"/>
                  </a:lnTo>
                  <a:lnTo>
                    <a:pt x="104" y="250"/>
                  </a:lnTo>
                  <a:lnTo>
                    <a:pt x="110" y="246"/>
                  </a:lnTo>
                  <a:lnTo>
                    <a:pt x="116" y="240"/>
                  </a:lnTo>
                  <a:lnTo>
                    <a:pt x="122" y="236"/>
                  </a:lnTo>
                  <a:lnTo>
                    <a:pt x="128" y="230"/>
                  </a:lnTo>
                  <a:lnTo>
                    <a:pt x="128" y="226"/>
                  </a:lnTo>
                  <a:lnTo>
                    <a:pt x="132" y="220"/>
                  </a:lnTo>
                  <a:lnTo>
                    <a:pt x="132" y="214"/>
                  </a:lnTo>
                  <a:lnTo>
                    <a:pt x="134" y="210"/>
                  </a:lnTo>
                  <a:lnTo>
                    <a:pt x="136" y="204"/>
                  </a:lnTo>
                  <a:lnTo>
                    <a:pt x="136" y="198"/>
                  </a:lnTo>
                  <a:lnTo>
                    <a:pt x="136" y="192"/>
                  </a:lnTo>
                  <a:lnTo>
                    <a:pt x="136" y="186"/>
                  </a:lnTo>
                  <a:lnTo>
                    <a:pt x="136" y="180"/>
                  </a:lnTo>
                  <a:lnTo>
                    <a:pt x="136" y="174"/>
                  </a:lnTo>
                  <a:lnTo>
                    <a:pt x="134" y="170"/>
                  </a:lnTo>
                  <a:lnTo>
                    <a:pt x="132" y="164"/>
                  </a:lnTo>
                  <a:lnTo>
                    <a:pt x="132" y="162"/>
                  </a:lnTo>
                  <a:lnTo>
                    <a:pt x="132" y="164"/>
                  </a:lnTo>
                  <a:lnTo>
                    <a:pt x="128" y="164"/>
                  </a:lnTo>
                  <a:lnTo>
                    <a:pt x="128" y="160"/>
                  </a:lnTo>
                  <a:lnTo>
                    <a:pt x="128" y="154"/>
                  </a:lnTo>
                  <a:lnTo>
                    <a:pt x="124" y="148"/>
                  </a:lnTo>
                  <a:lnTo>
                    <a:pt x="118" y="142"/>
                  </a:lnTo>
                  <a:lnTo>
                    <a:pt x="124" y="146"/>
                  </a:lnTo>
                  <a:lnTo>
                    <a:pt x="122" y="142"/>
                  </a:lnTo>
                  <a:lnTo>
                    <a:pt x="116" y="136"/>
                  </a:lnTo>
                  <a:lnTo>
                    <a:pt x="114" y="130"/>
                  </a:lnTo>
                  <a:lnTo>
                    <a:pt x="112" y="128"/>
                  </a:lnTo>
                  <a:lnTo>
                    <a:pt x="108" y="120"/>
                  </a:lnTo>
                  <a:lnTo>
                    <a:pt x="106" y="116"/>
                  </a:lnTo>
                  <a:lnTo>
                    <a:pt x="104" y="108"/>
                  </a:lnTo>
                  <a:lnTo>
                    <a:pt x="102" y="104"/>
                  </a:lnTo>
                  <a:lnTo>
                    <a:pt x="102" y="98"/>
                  </a:lnTo>
                  <a:lnTo>
                    <a:pt x="100" y="92"/>
                  </a:lnTo>
                  <a:lnTo>
                    <a:pt x="94" y="94"/>
                  </a:lnTo>
                  <a:lnTo>
                    <a:pt x="88" y="90"/>
                  </a:lnTo>
                  <a:lnTo>
                    <a:pt x="94" y="88"/>
                  </a:lnTo>
                  <a:lnTo>
                    <a:pt x="94" y="86"/>
                  </a:lnTo>
                  <a:lnTo>
                    <a:pt x="92" y="80"/>
                  </a:lnTo>
                  <a:lnTo>
                    <a:pt x="88" y="74"/>
                  </a:lnTo>
                  <a:lnTo>
                    <a:pt x="82" y="68"/>
                  </a:lnTo>
                  <a:lnTo>
                    <a:pt x="78" y="62"/>
                  </a:lnTo>
                  <a:lnTo>
                    <a:pt x="72" y="58"/>
                  </a:lnTo>
                  <a:lnTo>
                    <a:pt x="72" y="54"/>
                  </a:lnTo>
                  <a:lnTo>
                    <a:pt x="68" y="48"/>
                  </a:lnTo>
                  <a:lnTo>
                    <a:pt x="68" y="44"/>
                  </a:lnTo>
                  <a:lnTo>
                    <a:pt x="64" y="38"/>
                  </a:lnTo>
                  <a:lnTo>
                    <a:pt x="60" y="32"/>
                  </a:lnTo>
                  <a:lnTo>
                    <a:pt x="54" y="26"/>
                  </a:lnTo>
                  <a:lnTo>
                    <a:pt x="48" y="22"/>
                  </a:lnTo>
                  <a:lnTo>
                    <a:pt x="42" y="16"/>
                  </a:lnTo>
                  <a:lnTo>
                    <a:pt x="36" y="12"/>
                  </a:lnTo>
                  <a:lnTo>
                    <a:pt x="32" y="6"/>
                  </a:lnTo>
                  <a:lnTo>
                    <a:pt x="28" y="0"/>
                  </a:lnTo>
                  <a:lnTo>
                    <a:pt x="22" y="2"/>
                  </a:lnTo>
                  <a:lnTo>
                    <a:pt x="28" y="6"/>
                  </a:lnTo>
                  <a:lnTo>
                    <a:pt x="34" y="10"/>
                  </a:lnTo>
                  <a:lnTo>
                    <a:pt x="40" y="16"/>
                  </a:lnTo>
                  <a:lnTo>
                    <a:pt x="34" y="12"/>
                  </a:lnTo>
                  <a:lnTo>
                    <a:pt x="28" y="6"/>
                  </a:lnTo>
                  <a:lnTo>
                    <a:pt x="22" y="4"/>
                  </a:lnTo>
                  <a:lnTo>
                    <a:pt x="16" y="0"/>
                  </a:lnTo>
                  <a:lnTo>
                    <a:pt x="14" y="0"/>
                  </a:lnTo>
                  <a:lnTo>
                    <a:pt x="8" y="4"/>
                  </a:lnTo>
                  <a:lnTo>
                    <a:pt x="14" y="10"/>
                  </a:lnTo>
                  <a:lnTo>
                    <a:pt x="20" y="12"/>
                  </a:lnTo>
                  <a:lnTo>
                    <a:pt x="26" y="16"/>
                  </a:lnTo>
                  <a:lnTo>
                    <a:pt x="26" y="12"/>
                  </a:lnTo>
                  <a:lnTo>
                    <a:pt x="26" y="14"/>
                  </a:lnTo>
                  <a:lnTo>
                    <a:pt x="32" y="16"/>
                  </a:lnTo>
                  <a:lnTo>
                    <a:pt x="38" y="20"/>
                  </a:lnTo>
                  <a:lnTo>
                    <a:pt x="40" y="20"/>
                  </a:lnTo>
                  <a:lnTo>
                    <a:pt x="44" y="20"/>
                  </a:lnTo>
                  <a:lnTo>
                    <a:pt x="50" y="26"/>
                  </a:lnTo>
                  <a:lnTo>
                    <a:pt x="44" y="22"/>
                  </a:lnTo>
                  <a:lnTo>
                    <a:pt x="40" y="22"/>
                  </a:lnTo>
                  <a:lnTo>
                    <a:pt x="34" y="24"/>
                  </a:lnTo>
                  <a:lnTo>
                    <a:pt x="28" y="20"/>
                  </a:lnTo>
                  <a:lnTo>
                    <a:pt x="22" y="20"/>
                  </a:lnTo>
                  <a:lnTo>
                    <a:pt x="24" y="26"/>
                  </a:lnTo>
                  <a:lnTo>
                    <a:pt x="18" y="32"/>
                  </a:lnTo>
                  <a:lnTo>
                    <a:pt x="22" y="38"/>
                  </a:lnTo>
                  <a:lnTo>
                    <a:pt x="22" y="44"/>
                  </a:lnTo>
                  <a:lnTo>
                    <a:pt x="22" y="46"/>
                  </a:lnTo>
                  <a:lnTo>
                    <a:pt x="20" y="52"/>
                  </a:lnTo>
                  <a:lnTo>
                    <a:pt x="16" y="58"/>
                  </a:lnTo>
                  <a:lnTo>
                    <a:pt x="12" y="60"/>
                  </a:lnTo>
                  <a:lnTo>
                    <a:pt x="10" y="62"/>
                  </a:lnTo>
                  <a:lnTo>
                    <a:pt x="12" y="64"/>
                  </a:lnTo>
                  <a:lnTo>
                    <a:pt x="12" y="70"/>
                  </a:lnTo>
                  <a:lnTo>
                    <a:pt x="14" y="76"/>
                  </a:lnTo>
                  <a:lnTo>
                    <a:pt x="14" y="82"/>
                  </a:lnTo>
                  <a:lnTo>
                    <a:pt x="12" y="88"/>
                  </a:lnTo>
                  <a:lnTo>
                    <a:pt x="10" y="88"/>
                  </a:lnTo>
                  <a:lnTo>
                    <a:pt x="10" y="94"/>
                  </a:lnTo>
                  <a:lnTo>
                    <a:pt x="8" y="100"/>
                  </a:lnTo>
                  <a:lnTo>
                    <a:pt x="8" y="106"/>
                  </a:lnTo>
                  <a:lnTo>
                    <a:pt x="8" y="112"/>
                  </a:lnTo>
                  <a:lnTo>
                    <a:pt x="8" y="118"/>
                  </a:lnTo>
                  <a:lnTo>
                    <a:pt x="8" y="124"/>
                  </a:lnTo>
                  <a:lnTo>
                    <a:pt x="8" y="128"/>
                  </a:lnTo>
                  <a:lnTo>
                    <a:pt x="2" y="124"/>
                  </a:lnTo>
                  <a:lnTo>
                    <a:pt x="2" y="118"/>
                  </a:lnTo>
                  <a:lnTo>
                    <a:pt x="2" y="112"/>
                  </a:lnTo>
                  <a:lnTo>
                    <a:pt x="2" y="106"/>
                  </a:lnTo>
                  <a:lnTo>
                    <a:pt x="0" y="112"/>
                  </a:lnTo>
                  <a:lnTo>
                    <a:pt x="0" y="118"/>
                  </a:lnTo>
                  <a:lnTo>
                    <a:pt x="0" y="124"/>
                  </a:lnTo>
                  <a:lnTo>
                    <a:pt x="2" y="130"/>
                  </a:lnTo>
                  <a:lnTo>
                    <a:pt x="4" y="136"/>
                  </a:lnTo>
                  <a:lnTo>
                    <a:pt x="6" y="142"/>
                  </a:lnTo>
                  <a:lnTo>
                    <a:pt x="6" y="148"/>
                  </a:lnTo>
                  <a:lnTo>
                    <a:pt x="8" y="1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2" name="Freeform 199"/>
            <p:cNvSpPr>
              <a:spLocks/>
            </p:cNvSpPr>
            <p:nvPr/>
          </p:nvSpPr>
          <p:spPr bwMode="auto">
            <a:xfrm>
              <a:off x="4464050" y="3302000"/>
              <a:ext cx="382588" cy="388938"/>
            </a:xfrm>
            <a:custGeom>
              <a:avLst/>
              <a:gdLst>
                <a:gd name="T0" fmla="*/ 2147483647 w 938"/>
                <a:gd name="T1" fmla="*/ 2147483647 h 946"/>
                <a:gd name="T2" fmla="*/ 2147483647 w 938"/>
                <a:gd name="T3" fmla="*/ 2147483647 h 946"/>
                <a:gd name="T4" fmla="*/ 2147483647 w 938"/>
                <a:gd name="T5" fmla="*/ 2147483647 h 946"/>
                <a:gd name="T6" fmla="*/ 2147483647 w 938"/>
                <a:gd name="T7" fmla="*/ 2147483647 h 946"/>
                <a:gd name="T8" fmla="*/ 2147483647 w 938"/>
                <a:gd name="T9" fmla="*/ 2147483647 h 946"/>
                <a:gd name="T10" fmla="*/ 2147483647 w 938"/>
                <a:gd name="T11" fmla="*/ 2147483647 h 946"/>
                <a:gd name="T12" fmla="*/ 2147483647 w 938"/>
                <a:gd name="T13" fmla="*/ 2147483647 h 946"/>
                <a:gd name="T14" fmla="*/ 2147483647 w 938"/>
                <a:gd name="T15" fmla="*/ 2147483647 h 946"/>
                <a:gd name="T16" fmla="*/ 2147483647 w 938"/>
                <a:gd name="T17" fmla="*/ 2147483647 h 946"/>
                <a:gd name="T18" fmla="*/ 2147483647 w 938"/>
                <a:gd name="T19" fmla="*/ 2147483647 h 946"/>
                <a:gd name="T20" fmla="*/ 2147483647 w 938"/>
                <a:gd name="T21" fmla="*/ 2147483647 h 946"/>
                <a:gd name="T22" fmla="*/ 2147483647 w 938"/>
                <a:gd name="T23" fmla="*/ 2147483647 h 946"/>
                <a:gd name="T24" fmla="*/ 2147483647 w 938"/>
                <a:gd name="T25" fmla="*/ 2147483647 h 946"/>
                <a:gd name="T26" fmla="*/ 2147483647 w 938"/>
                <a:gd name="T27" fmla="*/ 2147483647 h 946"/>
                <a:gd name="T28" fmla="*/ 2147483647 w 938"/>
                <a:gd name="T29" fmla="*/ 2147483647 h 946"/>
                <a:gd name="T30" fmla="*/ 2147483647 w 938"/>
                <a:gd name="T31" fmla="*/ 2147483647 h 946"/>
                <a:gd name="T32" fmla="*/ 2147483647 w 938"/>
                <a:gd name="T33" fmla="*/ 2147483647 h 946"/>
                <a:gd name="T34" fmla="*/ 2147483647 w 938"/>
                <a:gd name="T35" fmla="*/ 2147483647 h 946"/>
                <a:gd name="T36" fmla="*/ 2147483647 w 938"/>
                <a:gd name="T37" fmla="*/ 2147483647 h 946"/>
                <a:gd name="T38" fmla="*/ 2147483647 w 938"/>
                <a:gd name="T39" fmla="*/ 2147483647 h 946"/>
                <a:gd name="T40" fmla="*/ 2147483647 w 938"/>
                <a:gd name="T41" fmla="*/ 2147483647 h 946"/>
                <a:gd name="T42" fmla="*/ 2147483647 w 938"/>
                <a:gd name="T43" fmla="*/ 2147483647 h 946"/>
                <a:gd name="T44" fmla="*/ 2147483647 w 938"/>
                <a:gd name="T45" fmla="*/ 2147483647 h 946"/>
                <a:gd name="T46" fmla="*/ 2147483647 w 938"/>
                <a:gd name="T47" fmla="*/ 2147483647 h 946"/>
                <a:gd name="T48" fmla="*/ 2147483647 w 938"/>
                <a:gd name="T49" fmla="*/ 2147483647 h 946"/>
                <a:gd name="T50" fmla="*/ 2147483647 w 938"/>
                <a:gd name="T51" fmla="*/ 2147483647 h 946"/>
                <a:gd name="T52" fmla="*/ 2147483647 w 938"/>
                <a:gd name="T53" fmla="*/ 2147483647 h 946"/>
                <a:gd name="T54" fmla="*/ 2147483647 w 938"/>
                <a:gd name="T55" fmla="*/ 2147483647 h 946"/>
                <a:gd name="T56" fmla="*/ 2147483647 w 938"/>
                <a:gd name="T57" fmla="*/ 2147483647 h 946"/>
                <a:gd name="T58" fmla="*/ 2147483647 w 938"/>
                <a:gd name="T59" fmla="*/ 2147483647 h 946"/>
                <a:gd name="T60" fmla="*/ 2147483647 w 938"/>
                <a:gd name="T61" fmla="*/ 2147483647 h 946"/>
                <a:gd name="T62" fmla="*/ 2147483647 w 938"/>
                <a:gd name="T63" fmla="*/ 2147483647 h 946"/>
                <a:gd name="T64" fmla="*/ 2147483647 w 938"/>
                <a:gd name="T65" fmla="*/ 2147483647 h 946"/>
                <a:gd name="T66" fmla="*/ 2147483647 w 938"/>
                <a:gd name="T67" fmla="*/ 2147483647 h 946"/>
                <a:gd name="T68" fmla="*/ 2147483647 w 938"/>
                <a:gd name="T69" fmla="*/ 2147483647 h 946"/>
                <a:gd name="T70" fmla="*/ 2147483647 w 938"/>
                <a:gd name="T71" fmla="*/ 2147483647 h 946"/>
                <a:gd name="T72" fmla="*/ 2147483647 w 938"/>
                <a:gd name="T73" fmla="*/ 2147483647 h 946"/>
                <a:gd name="T74" fmla="*/ 2147483647 w 938"/>
                <a:gd name="T75" fmla="*/ 2147483647 h 946"/>
                <a:gd name="T76" fmla="*/ 2147483647 w 938"/>
                <a:gd name="T77" fmla="*/ 2147483647 h 946"/>
                <a:gd name="T78" fmla="*/ 2147483647 w 938"/>
                <a:gd name="T79" fmla="*/ 2147483647 h 946"/>
                <a:gd name="T80" fmla="*/ 2147483647 w 938"/>
                <a:gd name="T81" fmla="*/ 2147483647 h 946"/>
                <a:gd name="T82" fmla="*/ 2147483647 w 938"/>
                <a:gd name="T83" fmla="*/ 2147483647 h 946"/>
                <a:gd name="T84" fmla="*/ 2147483647 w 938"/>
                <a:gd name="T85" fmla="*/ 2147483647 h 946"/>
                <a:gd name="T86" fmla="*/ 2147483647 w 938"/>
                <a:gd name="T87" fmla="*/ 2147483647 h 946"/>
                <a:gd name="T88" fmla="*/ 2147483647 w 938"/>
                <a:gd name="T89" fmla="*/ 2147483647 h 946"/>
                <a:gd name="T90" fmla="*/ 2147483647 w 938"/>
                <a:gd name="T91" fmla="*/ 2147483647 h 946"/>
                <a:gd name="T92" fmla="*/ 2147483647 w 938"/>
                <a:gd name="T93" fmla="*/ 2147483647 h 946"/>
                <a:gd name="T94" fmla="*/ 2147483647 w 938"/>
                <a:gd name="T95" fmla="*/ 2147483647 h 946"/>
                <a:gd name="T96" fmla="*/ 2147483647 w 938"/>
                <a:gd name="T97" fmla="*/ 2147483647 h 946"/>
                <a:gd name="T98" fmla="*/ 2147483647 w 938"/>
                <a:gd name="T99" fmla="*/ 2147483647 h 946"/>
                <a:gd name="T100" fmla="*/ 2147483647 w 938"/>
                <a:gd name="T101" fmla="*/ 2147483647 h 946"/>
                <a:gd name="T102" fmla="*/ 2147483647 w 938"/>
                <a:gd name="T103" fmla="*/ 2147483647 h 946"/>
                <a:gd name="T104" fmla="*/ 2147483647 w 938"/>
                <a:gd name="T105" fmla="*/ 2147483647 h 946"/>
                <a:gd name="T106" fmla="*/ 2147483647 w 938"/>
                <a:gd name="T107" fmla="*/ 2147483647 h 946"/>
                <a:gd name="T108" fmla="*/ 2147483647 w 938"/>
                <a:gd name="T109" fmla="*/ 2147483647 h 946"/>
                <a:gd name="T110" fmla="*/ 2147483647 w 938"/>
                <a:gd name="T111" fmla="*/ 2147483647 h 946"/>
                <a:gd name="T112" fmla="*/ 2147483647 w 938"/>
                <a:gd name="T113" fmla="*/ 2147483647 h 9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38"/>
                <a:gd name="T172" fmla="*/ 0 h 946"/>
                <a:gd name="T173" fmla="*/ 938 w 938"/>
                <a:gd name="T174" fmla="*/ 946 h 9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38" h="946">
                  <a:moveTo>
                    <a:pt x="2" y="216"/>
                  </a:moveTo>
                  <a:lnTo>
                    <a:pt x="0" y="214"/>
                  </a:lnTo>
                  <a:lnTo>
                    <a:pt x="2" y="208"/>
                  </a:lnTo>
                  <a:lnTo>
                    <a:pt x="6" y="206"/>
                  </a:lnTo>
                  <a:lnTo>
                    <a:pt x="10" y="202"/>
                  </a:lnTo>
                  <a:lnTo>
                    <a:pt x="18" y="200"/>
                  </a:lnTo>
                  <a:lnTo>
                    <a:pt x="22" y="198"/>
                  </a:lnTo>
                  <a:lnTo>
                    <a:pt x="28" y="196"/>
                  </a:lnTo>
                  <a:lnTo>
                    <a:pt x="32" y="196"/>
                  </a:lnTo>
                  <a:lnTo>
                    <a:pt x="36" y="190"/>
                  </a:lnTo>
                  <a:lnTo>
                    <a:pt x="38" y="186"/>
                  </a:lnTo>
                  <a:lnTo>
                    <a:pt x="42" y="180"/>
                  </a:lnTo>
                  <a:lnTo>
                    <a:pt x="46" y="174"/>
                  </a:lnTo>
                  <a:lnTo>
                    <a:pt x="52" y="168"/>
                  </a:lnTo>
                  <a:lnTo>
                    <a:pt x="54" y="162"/>
                  </a:lnTo>
                  <a:lnTo>
                    <a:pt x="56" y="156"/>
                  </a:lnTo>
                  <a:lnTo>
                    <a:pt x="54" y="152"/>
                  </a:lnTo>
                  <a:lnTo>
                    <a:pt x="54" y="146"/>
                  </a:lnTo>
                  <a:lnTo>
                    <a:pt x="52" y="140"/>
                  </a:lnTo>
                  <a:lnTo>
                    <a:pt x="50" y="134"/>
                  </a:lnTo>
                  <a:lnTo>
                    <a:pt x="48" y="128"/>
                  </a:lnTo>
                  <a:lnTo>
                    <a:pt x="46" y="122"/>
                  </a:lnTo>
                  <a:lnTo>
                    <a:pt x="46" y="116"/>
                  </a:lnTo>
                  <a:lnTo>
                    <a:pt x="50" y="110"/>
                  </a:lnTo>
                  <a:lnTo>
                    <a:pt x="54" y="104"/>
                  </a:lnTo>
                  <a:lnTo>
                    <a:pt x="56" y="102"/>
                  </a:lnTo>
                  <a:lnTo>
                    <a:pt x="62" y="100"/>
                  </a:lnTo>
                  <a:lnTo>
                    <a:pt x="68" y="100"/>
                  </a:lnTo>
                  <a:lnTo>
                    <a:pt x="70" y="96"/>
                  </a:lnTo>
                  <a:lnTo>
                    <a:pt x="74" y="90"/>
                  </a:lnTo>
                  <a:lnTo>
                    <a:pt x="74" y="84"/>
                  </a:lnTo>
                  <a:lnTo>
                    <a:pt x="78" y="82"/>
                  </a:lnTo>
                  <a:lnTo>
                    <a:pt x="84" y="80"/>
                  </a:lnTo>
                  <a:lnTo>
                    <a:pt x="88" y="74"/>
                  </a:lnTo>
                  <a:lnTo>
                    <a:pt x="94" y="70"/>
                  </a:lnTo>
                  <a:lnTo>
                    <a:pt x="98" y="66"/>
                  </a:lnTo>
                  <a:lnTo>
                    <a:pt x="106" y="64"/>
                  </a:lnTo>
                  <a:lnTo>
                    <a:pt x="106" y="62"/>
                  </a:lnTo>
                  <a:lnTo>
                    <a:pt x="114" y="60"/>
                  </a:lnTo>
                  <a:lnTo>
                    <a:pt x="120" y="56"/>
                  </a:lnTo>
                  <a:lnTo>
                    <a:pt x="126" y="54"/>
                  </a:lnTo>
                  <a:lnTo>
                    <a:pt x="126" y="52"/>
                  </a:lnTo>
                  <a:lnTo>
                    <a:pt x="130" y="46"/>
                  </a:lnTo>
                  <a:lnTo>
                    <a:pt x="126" y="40"/>
                  </a:lnTo>
                  <a:lnTo>
                    <a:pt x="124" y="34"/>
                  </a:lnTo>
                  <a:lnTo>
                    <a:pt x="124" y="28"/>
                  </a:lnTo>
                  <a:lnTo>
                    <a:pt x="124" y="24"/>
                  </a:lnTo>
                  <a:lnTo>
                    <a:pt x="124" y="22"/>
                  </a:lnTo>
                  <a:lnTo>
                    <a:pt x="124" y="18"/>
                  </a:lnTo>
                  <a:lnTo>
                    <a:pt x="124" y="16"/>
                  </a:lnTo>
                  <a:lnTo>
                    <a:pt x="124" y="12"/>
                  </a:lnTo>
                  <a:lnTo>
                    <a:pt x="126" y="6"/>
                  </a:lnTo>
                  <a:lnTo>
                    <a:pt x="126" y="4"/>
                  </a:lnTo>
                  <a:lnTo>
                    <a:pt x="126" y="2"/>
                  </a:lnTo>
                  <a:lnTo>
                    <a:pt x="126" y="0"/>
                  </a:lnTo>
                  <a:lnTo>
                    <a:pt x="128" y="0"/>
                  </a:lnTo>
                  <a:lnTo>
                    <a:pt x="134" y="4"/>
                  </a:lnTo>
                  <a:lnTo>
                    <a:pt x="140" y="4"/>
                  </a:lnTo>
                  <a:lnTo>
                    <a:pt x="146" y="6"/>
                  </a:lnTo>
                  <a:lnTo>
                    <a:pt x="152" y="10"/>
                  </a:lnTo>
                  <a:lnTo>
                    <a:pt x="158" y="14"/>
                  </a:lnTo>
                  <a:lnTo>
                    <a:pt x="162" y="18"/>
                  </a:lnTo>
                  <a:lnTo>
                    <a:pt x="168" y="20"/>
                  </a:lnTo>
                  <a:lnTo>
                    <a:pt x="174" y="24"/>
                  </a:lnTo>
                  <a:lnTo>
                    <a:pt x="176" y="24"/>
                  </a:lnTo>
                  <a:lnTo>
                    <a:pt x="182" y="24"/>
                  </a:lnTo>
                  <a:lnTo>
                    <a:pt x="188" y="26"/>
                  </a:lnTo>
                  <a:lnTo>
                    <a:pt x="192" y="26"/>
                  </a:lnTo>
                  <a:lnTo>
                    <a:pt x="194" y="26"/>
                  </a:lnTo>
                  <a:lnTo>
                    <a:pt x="200" y="26"/>
                  </a:lnTo>
                  <a:lnTo>
                    <a:pt x="206" y="24"/>
                  </a:lnTo>
                  <a:lnTo>
                    <a:pt x="208" y="24"/>
                  </a:lnTo>
                  <a:lnTo>
                    <a:pt x="214" y="22"/>
                  </a:lnTo>
                  <a:lnTo>
                    <a:pt x="218" y="20"/>
                  </a:lnTo>
                  <a:lnTo>
                    <a:pt x="224" y="18"/>
                  </a:lnTo>
                  <a:lnTo>
                    <a:pt x="230" y="18"/>
                  </a:lnTo>
                  <a:lnTo>
                    <a:pt x="232" y="18"/>
                  </a:lnTo>
                  <a:lnTo>
                    <a:pt x="238" y="22"/>
                  </a:lnTo>
                  <a:lnTo>
                    <a:pt x="244" y="24"/>
                  </a:lnTo>
                  <a:lnTo>
                    <a:pt x="248" y="26"/>
                  </a:lnTo>
                  <a:lnTo>
                    <a:pt x="254" y="26"/>
                  </a:lnTo>
                  <a:lnTo>
                    <a:pt x="260" y="26"/>
                  </a:lnTo>
                  <a:lnTo>
                    <a:pt x="266" y="28"/>
                  </a:lnTo>
                  <a:lnTo>
                    <a:pt x="272" y="30"/>
                  </a:lnTo>
                  <a:lnTo>
                    <a:pt x="278" y="32"/>
                  </a:lnTo>
                  <a:lnTo>
                    <a:pt x="284" y="34"/>
                  </a:lnTo>
                  <a:lnTo>
                    <a:pt x="290" y="38"/>
                  </a:lnTo>
                  <a:lnTo>
                    <a:pt x="296" y="44"/>
                  </a:lnTo>
                  <a:lnTo>
                    <a:pt x="302" y="46"/>
                  </a:lnTo>
                  <a:lnTo>
                    <a:pt x="308" y="46"/>
                  </a:lnTo>
                  <a:lnTo>
                    <a:pt x="314" y="50"/>
                  </a:lnTo>
                  <a:lnTo>
                    <a:pt x="318" y="50"/>
                  </a:lnTo>
                  <a:lnTo>
                    <a:pt x="324" y="50"/>
                  </a:lnTo>
                  <a:lnTo>
                    <a:pt x="330" y="52"/>
                  </a:lnTo>
                  <a:lnTo>
                    <a:pt x="332" y="52"/>
                  </a:lnTo>
                  <a:lnTo>
                    <a:pt x="336" y="52"/>
                  </a:lnTo>
                  <a:lnTo>
                    <a:pt x="342" y="56"/>
                  </a:lnTo>
                  <a:lnTo>
                    <a:pt x="348" y="62"/>
                  </a:lnTo>
                  <a:lnTo>
                    <a:pt x="350" y="68"/>
                  </a:lnTo>
                  <a:lnTo>
                    <a:pt x="350" y="74"/>
                  </a:lnTo>
                  <a:lnTo>
                    <a:pt x="350" y="80"/>
                  </a:lnTo>
                  <a:lnTo>
                    <a:pt x="352" y="86"/>
                  </a:lnTo>
                  <a:lnTo>
                    <a:pt x="354" y="92"/>
                  </a:lnTo>
                  <a:lnTo>
                    <a:pt x="356" y="96"/>
                  </a:lnTo>
                  <a:lnTo>
                    <a:pt x="358" y="100"/>
                  </a:lnTo>
                  <a:lnTo>
                    <a:pt x="358" y="104"/>
                  </a:lnTo>
                  <a:lnTo>
                    <a:pt x="362" y="110"/>
                  </a:lnTo>
                  <a:lnTo>
                    <a:pt x="366" y="116"/>
                  </a:lnTo>
                  <a:lnTo>
                    <a:pt x="372" y="122"/>
                  </a:lnTo>
                  <a:lnTo>
                    <a:pt x="378" y="126"/>
                  </a:lnTo>
                  <a:lnTo>
                    <a:pt x="384" y="128"/>
                  </a:lnTo>
                  <a:lnTo>
                    <a:pt x="390" y="130"/>
                  </a:lnTo>
                  <a:lnTo>
                    <a:pt x="396" y="132"/>
                  </a:lnTo>
                  <a:lnTo>
                    <a:pt x="398" y="134"/>
                  </a:lnTo>
                  <a:lnTo>
                    <a:pt x="404" y="134"/>
                  </a:lnTo>
                  <a:lnTo>
                    <a:pt x="410" y="134"/>
                  </a:lnTo>
                  <a:lnTo>
                    <a:pt x="416" y="134"/>
                  </a:lnTo>
                  <a:lnTo>
                    <a:pt x="422" y="134"/>
                  </a:lnTo>
                  <a:lnTo>
                    <a:pt x="428" y="134"/>
                  </a:lnTo>
                  <a:lnTo>
                    <a:pt x="434" y="134"/>
                  </a:lnTo>
                  <a:lnTo>
                    <a:pt x="440" y="136"/>
                  </a:lnTo>
                  <a:lnTo>
                    <a:pt x="446" y="138"/>
                  </a:lnTo>
                  <a:lnTo>
                    <a:pt x="452" y="140"/>
                  </a:lnTo>
                  <a:lnTo>
                    <a:pt x="458" y="142"/>
                  </a:lnTo>
                  <a:lnTo>
                    <a:pt x="464" y="144"/>
                  </a:lnTo>
                  <a:lnTo>
                    <a:pt x="466" y="144"/>
                  </a:lnTo>
                  <a:lnTo>
                    <a:pt x="470" y="146"/>
                  </a:lnTo>
                  <a:lnTo>
                    <a:pt x="476" y="148"/>
                  </a:lnTo>
                  <a:lnTo>
                    <a:pt x="480" y="150"/>
                  </a:lnTo>
                  <a:lnTo>
                    <a:pt x="486" y="152"/>
                  </a:lnTo>
                  <a:lnTo>
                    <a:pt x="492" y="154"/>
                  </a:lnTo>
                  <a:lnTo>
                    <a:pt x="498" y="156"/>
                  </a:lnTo>
                  <a:lnTo>
                    <a:pt x="504" y="160"/>
                  </a:lnTo>
                  <a:lnTo>
                    <a:pt x="510" y="162"/>
                  </a:lnTo>
                  <a:lnTo>
                    <a:pt x="516" y="164"/>
                  </a:lnTo>
                  <a:lnTo>
                    <a:pt x="522" y="170"/>
                  </a:lnTo>
                  <a:lnTo>
                    <a:pt x="526" y="176"/>
                  </a:lnTo>
                  <a:lnTo>
                    <a:pt x="528" y="176"/>
                  </a:lnTo>
                  <a:lnTo>
                    <a:pt x="534" y="180"/>
                  </a:lnTo>
                  <a:lnTo>
                    <a:pt x="540" y="184"/>
                  </a:lnTo>
                  <a:lnTo>
                    <a:pt x="542" y="186"/>
                  </a:lnTo>
                  <a:lnTo>
                    <a:pt x="548" y="192"/>
                  </a:lnTo>
                  <a:lnTo>
                    <a:pt x="554" y="194"/>
                  </a:lnTo>
                  <a:lnTo>
                    <a:pt x="558" y="196"/>
                  </a:lnTo>
                  <a:lnTo>
                    <a:pt x="564" y="200"/>
                  </a:lnTo>
                  <a:lnTo>
                    <a:pt x="570" y="200"/>
                  </a:lnTo>
                  <a:lnTo>
                    <a:pt x="576" y="202"/>
                  </a:lnTo>
                  <a:lnTo>
                    <a:pt x="582" y="200"/>
                  </a:lnTo>
                  <a:lnTo>
                    <a:pt x="588" y="198"/>
                  </a:lnTo>
                  <a:lnTo>
                    <a:pt x="594" y="194"/>
                  </a:lnTo>
                  <a:lnTo>
                    <a:pt x="600" y="190"/>
                  </a:lnTo>
                  <a:lnTo>
                    <a:pt x="606" y="188"/>
                  </a:lnTo>
                  <a:lnTo>
                    <a:pt x="612" y="182"/>
                  </a:lnTo>
                  <a:lnTo>
                    <a:pt x="616" y="176"/>
                  </a:lnTo>
                  <a:lnTo>
                    <a:pt x="620" y="170"/>
                  </a:lnTo>
                  <a:lnTo>
                    <a:pt x="624" y="164"/>
                  </a:lnTo>
                  <a:lnTo>
                    <a:pt x="626" y="160"/>
                  </a:lnTo>
                  <a:lnTo>
                    <a:pt x="630" y="156"/>
                  </a:lnTo>
                  <a:lnTo>
                    <a:pt x="632" y="150"/>
                  </a:lnTo>
                  <a:lnTo>
                    <a:pt x="632" y="142"/>
                  </a:lnTo>
                  <a:lnTo>
                    <a:pt x="632" y="138"/>
                  </a:lnTo>
                  <a:lnTo>
                    <a:pt x="632" y="136"/>
                  </a:lnTo>
                  <a:lnTo>
                    <a:pt x="630" y="130"/>
                  </a:lnTo>
                  <a:lnTo>
                    <a:pt x="624" y="124"/>
                  </a:lnTo>
                  <a:lnTo>
                    <a:pt x="622" y="118"/>
                  </a:lnTo>
                  <a:lnTo>
                    <a:pt x="620" y="112"/>
                  </a:lnTo>
                  <a:lnTo>
                    <a:pt x="620" y="106"/>
                  </a:lnTo>
                  <a:lnTo>
                    <a:pt x="618" y="100"/>
                  </a:lnTo>
                  <a:lnTo>
                    <a:pt x="618" y="94"/>
                  </a:lnTo>
                  <a:lnTo>
                    <a:pt x="618" y="88"/>
                  </a:lnTo>
                  <a:lnTo>
                    <a:pt x="618" y="84"/>
                  </a:lnTo>
                  <a:lnTo>
                    <a:pt x="622" y="76"/>
                  </a:lnTo>
                  <a:lnTo>
                    <a:pt x="624" y="70"/>
                  </a:lnTo>
                  <a:lnTo>
                    <a:pt x="630" y="64"/>
                  </a:lnTo>
                  <a:lnTo>
                    <a:pt x="636" y="58"/>
                  </a:lnTo>
                  <a:lnTo>
                    <a:pt x="640" y="52"/>
                  </a:lnTo>
                  <a:lnTo>
                    <a:pt x="648" y="46"/>
                  </a:lnTo>
                  <a:lnTo>
                    <a:pt x="654" y="42"/>
                  </a:lnTo>
                  <a:lnTo>
                    <a:pt x="658" y="40"/>
                  </a:lnTo>
                  <a:lnTo>
                    <a:pt x="664" y="38"/>
                  </a:lnTo>
                  <a:lnTo>
                    <a:pt x="670" y="34"/>
                  </a:lnTo>
                  <a:lnTo>
                    <a:pt x="676" y="30"/>
                  </a:lnTo>
                  <a:lnTo>
                    <a:pt x="682" y="28"/>
                  </a:lnTo>
                  <a:lnTo>
                    <a:pt x="688" y="28"/>
                  </a:lnTo>
                  <a:lnTo>
                    <a:pt x="694" y="28"/>
                  </a:lnTo>
                  <a:lnTo>
                    <a:pt x="700" y="28"/>
                  </a:lnTo>
                  <a:lnTo>
                    <a:pt x="702" y="26"/>
                  </a:lnTo>
                  <a:lnTo>
                    <a:pt x="708" y="20"/>
                  </a:lnTo>
                  <a:lnTo>
                    <a:pt x="714" y="16"/>
                  </a:lnTo>
                  <a:lnTo>
                    <a:pt x="720" y="16"/>
                  </a:lnTo>
                  <a:lnTo>
                    <a:pt x="724" y="18"/>
                  </a:lnTo>
                  <a:lnTo>
                    <a:pt x="730" y="18"/>
                  </a:lnTo>
                  <a:lnTo>
                    <a:pt x="736" y="18"/>
                  </a:lnTo>
                  <a:lnTo>
                    <a:pt x="738" y="18"/>
                  </a:lnTo>
                  <a:lnTo>
                    <a:pt x="742" y="16"/>
                  </a:lnTo>
                  <a:lnTo>
                    <a:pt x="750" y="20"/>
                  </a:lnTo>
                  <a:lnTo>
                    <a:pt x="754" y="20"/>
                  </a:lnTo>
                  <a:lnTo>
                    <a:pt x="760" y="24"/>
                  </a:lnTo>
                  <a:lnTo>
                    <a:pt x="766" y="26"/>
                  </a:lnTo>
                  <a:lnTo>
                    <a:pt x="772" y="28"/>
                  </a:lnTo>
                  <a:lnTo>
                    <a:pt x="776" y="28"/>
                  </a:lnTo>
                  <a:lnTo>
                    <a:pt x="782" y="30"/>
                  </a:lnTo>
                  <a:lnTo>
                    <a:pt x="788" y="34"/>
                  </a:lnTo>
                  <a:lnTo>
                    <a:pt x="794" y="34"/>
                  </a:lnTo>
                  <a:lnTo>
                    <a:pt x="800" y="38"/>
                  </a:lnTo>
                  <a:lnTo>
                    <a:pt x="800" y="42"/>
                  </a:lnTo>
                  <a:lnTo>
                    <a:pt x="804" y="48"/>
                  </a:lnTo>
                  <a:lnTo>
                    <a:pt x="800" y="54"/>
                  </a:lnTo>
                  <a:lnTo>
                    <a:pt x="806" y="60"/>
                  </a:lnTo>
                  <a:lnTo>
                    <a:pt x="810" y="66"/>
                  </a:lnTo>
                  <a:lnTo>
                    <a:pt x="812" y="66"/>
                  </a:lnTo>
                  <a:lnTo>
                    <a:pt x="818" y="66"/>
                  </a:lnTo>
                  <a:lnTo>
                    <a:pt x="824" y="68"/>
                  </a:lnTo>
                  <a:lnTo>
                    <a:pt x="830" y="68"/>
                  </a:lnTo>
                  <a:lnTo>
                    <a:pt x="836" y="68"/>
                  </a:lnTo>
                  <a:lnTo>
                    <a:pt x="842" y="70"/>
                  </a:lnTo>
                  <a:lnTo>
                    <a:pt x="848" y="72"/>
                  </a:lnTo>
                  <a:lnTo>
                    <a:pt x="854" y="78"/>
                  </a:lnTo>
                  <a:lnTo>
                    <a:pt x="858" y="80"/>
                  </a:lnTo>
                  <a:lnTo>
                    <a:pt x="864" y="80"/>
                  </a:lnTo>
                  <a:lnTo>
                    <a:pt x="870" y="80"/>
                  </a:lnTo>
                  <a:lnTo>
                    <a:pt x="878" y="82"/>
                  </a:lnTo>
                  <a:lnTo>
                    <a:pt x="882" y="82"/>
                  </a:lnTo>
                  <a:lnTo>
                    <a:pt x="888" y="80"/>
                  </a:lnTo>
                  <a:lnTo>
                    <a:pt x="894" y="80"/>
                  </a:lnTo>
                  <a:lnTo>
                    <a:pt x="900" y="80"/>
                  </a:lnTo>
                  <a:lnTo>
                    <a:pt x="908" y="82"/>
                  </a:lnTo>
                  <a:lnTo>
                    <a:pt x="912" y="84"/>
                  </a:lnTo>
                  <a:lnTo>
                    <a:pt x="916" y="88"/>
                  </a:lnTo>
                  <a:lnTo>
                    <a:pt x="916" y="94"/>
                  </a:lnTo>
                  <a:lnTo>
                    <a:pt x="920" y="100"/>
                  </a:lnTo>
                  <a:lnTo>
                    <a:pt x="922" y="104"/>
                  </a:lnTo>
                  <a:lnTo>
                    <a:pt x="918" y="110"/>
                  </a:lnTo>
                  <a:lnTo>
                    <a:pt x="916" y="116"/>
                  </a:lnTo>
                  <a:lnTo>
                    <a:pt x="914" y="118"/>
                  </a:lnTo>
                  <a:lnTo>
                    <a:pt x="908" y="122"/>
                  </a:lnTo>
                  <a:lnTo>
                    <a:pt x="908" y="128"/>
                  </a:lnTo>
                  <a:lnTo>
                    <a:pt x="908" y="134"/>
                  </a:lnTo>
                  <a:lnTo>
                    <a:pt x="908" y="140"/>
                  </a:lnTo>
                  <a:lnTo>
                    <a:pt x="910" y="146"/>
                  </a:lnTo>
                  <a:lnTo>
                    <a:pt x="912" y="152"/>
                  </a:lnTo>
                  <a:lnTo>
                    <a:pt x="914" y="158"/>
                  </a:lnTo>
                  <a:lnTo>
                    <a:pt x="916" y="162"/>
                  </a:lnTo>
                  <a:lnTo>
                    <a:pt x="916" y="168"/>
                  </a:lnTo>
                  <a:lnTo>
                    <a:pt x="916" y="174"/>
                  </a:lnTo>
                  <a:lnTo>
                    <a:pt x="914" y="180"/>
                  </a:lnTo>
                  <a:lnTo>
                    <a:pt x="912" y="186"/>
                  </a:lnTo>
                  <a:lnTo>
                    <a:pt x="908" y="192"/>
                  </a:lnTo>
                  <a:lnTo>
                    <a:pt x="904" y="198"/>
                  </a:lnTo>
                  <a:lnTo>
                    <a:pt x="902" y="204"/>
                  </a:lnTo>
                  <a:lnTo>
                    <a:pt x="902" y="210"/>
                  </a:lnTo>
                  <a:lnTo>
                    <a:pt x="904" y="216"/>
                  </a:lnTo>
                  <a:lnTo>
                    <a:pt x="906" y="220"/>
                  </a:lnTo>
                  <a:lnTo>
                    <a:pt x="908" y="224"/>
                  </a:lnTo>
                  <a:lnTo>
                    <a:pt x="910" y="232"/>
                  </a:lnTo>
                  <a:lnTo>
                    <a:pt x="910" y="238"/>
                  </a:lnTo>
                  <a:lnTo>
                    <a:pt x="912" y="244"/>
                  </a:lnTo>
                  <a:lnTo>
                    <a:pt x="912" y="246"/>
                  </a:lnTo>
                  <a:lnTo>
                    <a:pt x="912" y="252"/>
                  </a:lnTo>
                  <a:lnTo>
                    <a:pt x="916" y="258"/>
                  </a:lnTo>
                  <a:lnTo>
                    <a:pt x="918" y="264"/>
                  </a:lnTo>
                  <a:lnTo>
                    <a:pt x="920" y="270"/>
                  </a:lnTo>
                  <a:lnTo>
                    <a:pt x="920" y="278"/>
                  </a:lnTo>
                  <a:lnTo>
                    <a:pt x="920" y="282"/>
                  </a:lnTo>
                  <a:lnTo>
                    <a:pt x="922" y="288"/>
                  </a:lnTo>
                  <a:lnTo>
                    <a:pt x="922" y="312"/>
                  </a:lnTo>
                  <a:lnTo>
                    <a:pt x="922" y="320"/>
                  </a:lnTo>
                  <a:lnTo>
                    <a:pt x="922" y="326"/>
                  </a:lnTo>
                  <a:lnTo>
                    <a:pt x="924" y="332"/>
                  </a:lnTo>
                  <a:lnTo>
                    <a:pt x="924" y="338"/>
                  </a:lnTo>
                  <a:lnTo>
                    <a:pt x="924" y="344"/>
                  </a:lnTo>
                  <a:lnTo>
                    <a:pt x="924" y="350"/>
                  </a:lnTo>
                  <a:lnTo>
                    <a:pt x="924" y="356"/>
                  </a:lnTo>
                  <a:lnTo>
                    <a:pt x="924" y="358"/>
                  </a:lnTo>
                  <a:lnTo>
                    <a:pt x="924" y="364"/>
                  </a:lnTo>
                  <a:lnTo>
                    <a:pt x="924" y="370"/>
                  </a:lnTo>
                  <a:lnTo>
                    <a:pt x="924" y="376"/>
                  </a:lnTo>
                  <a:lnTo>
                    <a:pt x="924" y="380"/>
                  </a:lnTo>
                  <a:lnTo>
                    <a:pt x="924" y="388"/>
                  </a:lnTo>
                  <a:lnTo>
                    <a:pt x="924" y="394"/>
                  </a:lnTo>
                  <a:lnTo>
                    <a:pt x="926" y="400"/>
                  </a:lnTo>
                  <a:lnTo>
                    <a:pt x="926" y="406"/>
                  </a:lnTo>
                  <a:lnTo>
                    <a:pt x="926" y="412"/>
                  </a:lnTo>
                  <a:lnTo>
                    <a:pt x="926" y="418"/>
                  </a:lnTo>
                  <a:lnTo>
                    <a:pt x="926" y="426"/>
                  </a:lnTo>
                  <a:lnTo>
                    <a:pt x="926" y="432"/>
                  </a:lnTo>
                  <a:lnTo>
                    <a:pt x="926" y="444"/>
                  </a:lnTo>
                  <a:lnTo>
                    <a:pt x="928" y="456"/>
                  </a:lnTo>
                  <a:lnTo>
                    <a:pt x="928" y="472"/>
                  </a:lnTo>
                  <a:lnTo>
                    <a:pt x="928" y="482"/>
                  </a:lnTo>
                  <a:lnTo>
                    <a:pt x="928" y="490"/>
                  </a:lnTo>
                  <a:lnTo>
                    <a:pt x="928" y="500"/>
                  </a:lnTo>
                  <a:lnTo>
                    <a:pt x="928" y="510"/>
                  </a:lnTo>
                  <a:lnTo>
                    <a:pt x="928" y="520"/>
                  </a:lnTo>
                  <a:lnTo>
                    <a:pt x="930" y="530"/>
                  </a:lnTo>
                  <a:lnTo>
                    <a:pt x="930" y="538"/>
                  </a:lnTo>
                  <a:lnTo>
                    <a:pt x="930" y="546"/>
                  </a:lnTo>
                  <a:lnTo>
                    <a:pt x="930" y="552"/>
                  </a:lnTo>
                  <a:lnTo>
                    <a:pt x="930" y="558"/>
                  </a:lnTo>
                  <a:lnTo>
                    <a:pt x="930" y="566"/>
                  </a:lnTo>
                  <a:lnTo>
                    <a:pt x="930" y="574"/>
                  </a:lnTo>
                  <a:lnTo>
                    <a:pt x="932" y="588"/>
                  </a:lnTo>
                  <a:lnTo>
                    <a:pt x="932" y="600"/>
                  </a:lnTo>
                  <a:lnTo>
                    <a:pt x="932" y="610"/>
                  </a:lnTo>
                  <a:lnTo>
                    <a:pt x="932" y="628"/>
                  </a:lnTo>
                  <a:lnTo>
                    <a:pt x="932" y="634"/>
                  </a:lnTo>
                  <a:lnTo>
                    <a:pt x="932" y="642"/>
                  </a:lnTo>
                  <a:lnTo>
                    <a:pt x="932" y="656"/>
                  </a:lnTo>
                  <a:lnTo>
                    <a:pt x="932" y="662"/>
                  </a:lnTo>
                  <a:lnTo>
                    <a:pt x="932" y="668"/>
                  </a:lnTo>
                  <a:lnTo>
                    <a:pt x="934" y="676"/>
                  </a:lnTo>
                  <a:lnTo>
                    <a:pt x="934" y="678"/>
                  </a:lnTo>
                  <a:lnTo>
                    <a:pt x="934" y="704"/>
                  </a:lnTo>
                  <a:lnTo>
                    <a:pt x="934" y="710"/>
                  </a:lnTo>
                  <a:lnTo>
                    <a:pt x="934" y="716"/>
                  </a:lnTo>
                  <a:lnTo>
                    <a:pt x="934" y="724"/>
                  </a:lnTo>
                  <a:lnTo>
                    <a:pt x="934" y="730"/>
                  </a:lnTo>
                  <a:lnTo>
                    <a:pt x="934" y="736"/>
                  </a:lnTo>
                  <a:lnTo>
                    <a:pt x="936" y="742"/>
                  </a:lnTo>
                  <a:lnTo>
                    <a:pt x="936" y="748"/>
                  </a:lnTo>
                  <a:lnTo>
                    <a:pt x="936" y="754"/>
                  </a:lnTo>
                  <a:lnTo>
                    <a:pt x="936" y="760"/>
                  </a:lnTo>
                  <a:lnTo>
                    <a:pt x="936" y="766"/>
                  </a:lnTo>
                  <a:lnTo>
                    <a:pt x="936" y="774"/>
                  </a:lnTo>
                  <a:lnTo>
                    <a:pt x="936" y="792"/>
                  </a:lnTo>
                  <a:lnTo>
                    <a:pt x="936" y="808"/>
                  </a:lnTo>
                  <a:lnTo>
                    <a:pt x="938" y="842"/>
                  </a:lnTo>
                  <a:lnTo>
                    <a:pt x="938" y="876"/>
                  </a:lnTo>
                  <a:lnTo>
                    <a:pt x="938" y="912"/>
                  </a:lnTo>
                  <a:lnTo>
                    <a:pt x="908" y="912"/>
                  </a:lnTo>
                  <a:lnTo>
                    <a:pt x="886" y="912"/>
                  </a:lnTo>
                  <a:lnTo>
                    <a:pt x="878" y="912"/>
                  </a:lnTo>
                  <a:lnTo>
                    <a:pt x="880" y="922"/>
                  </a:lnTo>
                  <a:lnTo>
                    <a:pt x="880" y="930"/>
                  </a:lnTo>
                  <a:lnTo>
                    <a:pt x="880" y="936"/>
                  </a:lnTo>
                  <a:lnTo>
                    <a:pt x="880" y="946"/>
                  </a:lnTo>
                  <a:lnTo>
                    <a:pt x="846" y="926"/>
                  </a:lnTo>
                  <a:lnTo>
                    <a:pt x="822" y="912"/>
                  </a:lnTo>
                  <a:lnTo>
                    <a:pt x="818" y="910"/>
                  </a:lnTo>
                  <a:lnTo>
                    <a:pt x="788" y="892"/>
                  </a:lnTo>
                  <a:lnTo>
                    <a:pt x="778" y="884"/>
                  </a:lnTo>
                  <a:lnTo>
                    <a:pt x="758" y="874"/>
                  </a:lnTo>
                  <a:lnTo>
                    <a:pt x="744" y="866"/>
                  </a:lnTo>
                  <a:lnTo>
                    <a:pt x="722" y="852"/>
                  </a:lnTo>
                  <a:lnTo>
                    <a:pt x="720" y="852"/>
                  </a:lnTo>
                  <a:lnTo>
                    <a:pt x="704" y="842"/>
                  </a:lnTo>
                  <a:lnTo>
                    <a:pt x="696" y="838"/>
                  </a:lnTo>
                  <a:lnTo>
                    <a:pt x="662" y="818"/>
                  </a:lnTo>
                  <a:lnTo>
                    <a:pt x="644" y="808"/>
                  </a:lnTo>
                  <a:lnTo>
                    <a:pt x="636" y="804"/>
                  </a:lnTo>
                  <a:lnTo>
                    <a:pt x="630" y="800"/>
                  </a:lnTo>
                  <a:lnTo>
                    <a:pt x="614" y="790"/>
                  </a:lnTo>
                  <a:lnTo>
                    <a:pt x="606" y="786"/>
                  </a:lnTo>
                  <a:lnTo>
                    <a:pt x="594" y="780"/>
                  </a:lnTo>
                  <a:lnTo>
                    <a:pt x="576" y="770"/>
                  </a:lnTo>
                  <a:lnTo>
                    <a:pt x="562" y="762"/>
                  </a:lnTo>
                  <a:lnTo>
                    <a:pt x="546" y="754"/>
                  </a:lnTo>
                  <a:lnTo>
                    <a:pt x="538" y="748"/>
                  </a:lnTo>
                  <a:lnTo>
                    <a:pt x="516" y="738"/>
                  </a:lnTo>
                  <a:lnTo>
                    <a:pt x="498" y="728"/>
                  </a:lnTo>
                  <a:lnTo>
                    <a:pt x="496" y="726"/>
                  </a:lnTo>
                  <a:lnTo>
                    <a:pt x="492" y="724"/>
                  </a:lnTo>
                  <a:lnTo>
                    <a:pt x="486" y="720"/>
                  </a:lnTo>
                  <a:lnTo>
                    <a:pt x="478" y="716"/>
                  </a:lnTo>
                  <a:lnTo>
                    <a:pt x="470" y="712"/>
                  </a:lnTo>
                  <a:lnTo>
                    <a:pt x="462" y="708"/>
                  </a:lnTo>
                  <a:lnTo>
                    <a:pt x="454" y="704"/>
                  </a:lnTo>
                  <a:lnTo>
                    <a:pt x="448" y="700"/>
                  </a:lnTo>
                  <a:lnTo>
                    <a:pt x="440" y="696"/>
                  </a:lnTo>
                  <a:lnTo>
                    <a:pt x="434" y="692"/>
                  </a:lnTo>
                  <a:lnTo>
                    <a:pt x="426" y="688"/>
                  </a:lnTo>
                  <a:lnTo>
                    <a:pt x="416" y="684"/>
                  </a:lnTo>
                  <a:lnTo>
                    <a:pt x="410" y="680"/>
                  </a:lnTo>
                  <a:lnTo>
                    <a:pt x="402" y="676"/>
                  </a:lnTo>
                  <a:lnTo>
                    <a:pt x="396" y="672"/>
                  </a:lnTo>
                  <a:lnTo>
                    <a:pt x="382" y="680"/>
                  </a:lnTo>
                  <a:lnTo>
                    <a:pt x="378" y="682"/>
                  </a:lnTo>
                  <a:lnTo>
                    <a:pt x="372" y="686"/>
                  </a:lnTo>
                  <a:lnTo>
                    <a:pt x="362" y="690"/>
                  </a:lnTo>
                  <a:lnTo>
                    <a:pt x="356" y="694"/>
                  </a:lnTo>
                  <a:lnTo>
                    <a:pt x="344" y="700"/>
                  </a:lnTo>
                  <a:lnTo>
                    <a:pt x="336" y="704"/>
                  </a:lnTo>
                  <a:lnTo>
                    <a:pt x="330" y="708"/>
                  </a:lnTo>
                  <a:lnTo>
                    <a:pt x="322" y="712"/>
                  </a:lnTo>
                  <a:lnTo>
                    <a:pt x="316" y="716"/>
                  </a:lnTo>
                  <a:lnTo>
                    <a:pt x="310" y="718"/>
                  </a:lnTo>
                  <a:lnTo>
                    <a:pt x="304" y="724"/>
                  </a:lnTo>
                  <a:lnTo>
                    <a:pt x="298" y="726"/>
                  </a:lnTo>
                  <a:lnTo>
                    <a:pt x="292" y="730"/>
                  </a:lnTo>
                  <a:lnTo>
                    <a:pt x="284" y="724"/>
                  </a:lnTo>
                  <a:lnTo>
                    <a:pt x="278" y="718"/>
                  </a:lnTo>
                  <a:lnTo>
                    <a:pt x="272" y="712"/>
                  </a:lnTo>
                  <a:lnTo>
                    <a:pt x="266" y="706"/>
                  </a:lnTo>
                  <a:lnTo>
                    <a:pt x="260" y="702"/>
                  </a:lnTo>
                  <a:lnTo>
                    <a:pt x="254" y="696"/>
                  </a:lnTo>
                  <a:lnTo>
                    <a:pt x="248" y="692"/>
                  </a:lnTo>
                  <a:lnTo>
                    <a:pt x="242" y="690"/>
                  </a:lnTo>
                  <a:lnTo>
                    <a:pt x="238" y="688"/>
                  </a:lnTo>
                  <a:lnTo>
                    <a:pt x="230" y="686"/>
                  </a:lnTo>
                  <a:lnTo>
                    <a:pt x="224" y="684"/>
                  </a:lnTo>
                  <a:lnTo>
                    <a:pt x="218" y="682"/>
                  </a:lnTo>
                  <a:lnTo>
                    <a:pt x="212" y="682"/>
                  </a:lnTo>
                  <a:lnTo>
                    <a:pt x="206" y="680"/>
                  </a:lnTo>
                  <a:lnTo>
                    <a:pt x="200" y="678"/>
                  </a:lnTo>
                  <a:lnTo>
                    <a:pt x="194" y="676"/>
                  </a:lnTo>
                  <a:lnTo>
                    <a:pt x="188" y="676"/>
                  </a:lnTo>
                  <a:lnTo>
                    <a:pt x="182" y="674"/>
                  </a:lnTo>
                  <a:lnTo>
                    <a:pt x="174" y="672"/>
                  </a:lnTo>
                  <a:lnTo>
                    <a:pt x="170" y="670"/>
                  </a:lnTo>
                  <a:lnTo>
                    <a:pt x="162" y="668"/>
                  </a:lnTo>
                  <a:lnTo>
                    <a:pt x="156" y="668"/>
                  </a:lnTo>
                  <a:lnTo>
                    <a:pt x="154" y="664"/>
                  </a:lnTo>
                  <a:lnTo>
                    <a:pt x="152" y="658"/>
                  </a:lnTo>
                  <a:lnTo>
                    <a:pt x="150" y="652"/>
                  </a:lnTo>
                  <a:lnTo>
                    <a:pt x="146" y="646"/>
                  </a:lnTo>
                  <a:lnTo>
                    <a:pt x="144" y="640"/>
                  </a:lnTo>
                  <a:lnTo>
                    <a:pt x="140" y="634"/>
                  </a:lnTo>
                  <a:lnTo>
                    <a:pt x="140" y="632"/>
                  </a:lnTo>
                  <a:lnTo>
                    <a:pt x="138" y="626"/>
                  </a:lnTo>
                  <a:lnTo>
                    <a:pt x="134" y="622"/>
                  </a:lnTo>
                  <a:lnTo>
                    <a:pt x="132" y="616"/>
                  </a:lnTo>
                  <a:lnTo>
                    <a:pt x="126" y="612"/>
                  </a:lnTo>
                  <a:lnTo>
                    <a:pt x="124" y="610"/>
                  </a:lnTo>
                  <a:lnTo>
                    <a:pt x="116" y="608"/>
                  </a:lnTo>
                  <a:lnTo>
                    <a:pt x="110" y="606"/>
                  </a:lnTo>
                  <a:lnTo>
                    <a:pt x="104" y="604"/>
                  </a:lnTo>
                  <a:lnTo>
                    <a:pt x="98" y="602"/>
                  </a:lnTo>
                  <a:lnTo>
                    <a:pt x="96" y="602"/>
                  </a:lnTo>
                  <a:lnTo>
                    <a:pt x="92" y="600"/>
                  </a:lnTo>
                  <a:lnTo>
                    <a:pt x="86" y="598"/>
                  </a:lnTo>
                  <a:lnTo>
                    <a:pt x="80" y="596"/>
                  </a:lnTo>
                  <a:lnTo>
                    <a:pt x="74" y="598"/>
                  </a:lnTo>
                  <a:lnTo>
                    <a:pt x="66" y="602"/>
                  </a:lnTo>
                  <a:lnTo>
                    <a:pt x="60" y="600"/>
                  </a:lnTo>
                  <a:lnTo>
                    <a:pt x="54" y="594"/>
                  </a:lnTo>
                  <a:lnTo>
                    <a:pt x="52" y="588"/>
                  </a:lnTo>
                  <a:lnTo>
                    <a:pt x="50" y="582"/>
                  </a:lnTo>
                  <a:lnTo>
                    <a:pt x="48" y="582"/>
                  </a:lnTo>
                  <a:lnTo>
                    <a:pt x="46" y="580"/>
                  </a:lnTo>
                  <a:lnTo>
                    <a:pt x="44" y="578"/>
                  </a:lnTo>
                  <a:lnTo>
                    <a:pt x="42" y="572"/>
                  </a:lnTo>
                  <a:lnTo>
                    <a:pt x="40" y="566"/>
                  </a:lnTo>
                  <a:lnTo>
                    <a:pt x="40" y="560"/>
                  </a:lnTo>
                  <a:lnTo>
                    <a:pt x="40" y="552"/>
                  </a:lnTo>
                  <a:lnTo>
                    <a:pt x="40" y="546"/>
                  </a:lnTo>
                  <a:lnTo>
                    <a:pt x="38" y="540"/>
                  </a:lnTo>
                  <a:lnTo>
                    <a:pt x="34" y="536"/>
                  </a:lnTo>
                  <a:lnTo>
                    <a:pt x="32" y="530"/>
                  </a:lnTo>
                  <a:lnTo>
                    <a:pt x="28" y="524"/>
                  </a:lnTo>
                  <a:lnTo>
                    <a:pt x="24" y="518"/>
                  </a:lnTo>
                  <a:lnTo>
                    <a:pt x="20" y="512"/>
                  </a:lnTo>
                  <a:lnTo>
                    <a:pt x="16" y="506"/>
                  </a:lnTo>
                  <a:lnTo>
                    <a:pt x="12" y="500"/>
                  </a:lnTo>
                  <a:lnTo>
                    <a:pt x="8" y="494"/>
                  </a:lnTo>
                  <a:lnTo>
                    <a:pt x="4" y="488"/>
                  </a:lnTo>
                  <a:lnTo>
                    <a:pt x="2" y="482"/>
                  </a:lnTo>
                  <a:lnTo>
                    <a:pt x="6" y="476"/>
                  </a:lnTo>
                  <a:lnTo>
                    <a:pt x="12" y="470"/>
                  </a:lnTo>
                  <a:lnTo>
                    <a:pt x="18" y="466"/>
                  </a:lnTo>
                  <a:lnTo>
                    <a:pt x="26" y="464"/>
                  </a:lnTo>
                  <a:lnTo>
                    <a:pt x="30" y="458"/>
                  </a:lnTo>
                  <a:lnTo>
                    <a:pt x="32" y="452"/>
                  </a:lnTo>
                  <a:lnTo>
                    <a:pt x="32" y="446"/>
                  </a:lnTo>
                  <a:lnTo>
                    <a:pt x="34" y="440"/>
                  </a:lnTo>
                  <a:lnTo>
                    <a:pt x="30" y="434"/>
                  </a:lnTo>
                  <a:lnTo>
                    <a:pt x="28" y="426"/>
                  </a:lnTo>
                  <a:lnTo>
                    <a:pt x="26" y="420"/>
                  </a:lnTo>
                  <a:lnTo>
                    <a:pt x="24" y="414"/>
                  </a:lnTo>
                  <a:lnTo>
                    <a:pt x="22" y="406"/>
                  </a:lnTo>
                  <a:lnTo>
                    <a:pt x="24" y="402"/>
                  </a:lnTo>
                  <a:lnTo>
                    <a:pt x="26" y="396"/>
                  </a:lnTo>
                  <a:lnTo>
                    <a:pt x="26" y="388"/>
                  </a:lnTo>
                  <a:lnTo>
                    <a:pt x="32" y="384"/>
                  </a:lnTo>
                  <a:lnTo>
                    <a:pt x="34" y="376"/>
                  </a:lnTo>
                  <a:lnTo>
                    <a:pt x="34" y="370"/>
                  </a:lnTo>
                  <a:lnTo>
                    <a:pt x="34" y="364"/>
                  </a:lnTo>
                  <a:lnTo>
                    <a:pt x="32" y="358"/>
                  </a:lnTo>
                  <a:lnTo>
                    <a:pt x="30" y="352"/>
                  </a:lnTo>
                  <a:lnTo>
                    <a:pt x="28" y="346"/>
                  </a:lnTo>
                  <a:lnTo>
                    <a:pt x="26" y="340"/>
                  </a:lnTo>
                  <a:lnTo>
                    <a:pt x="26" y="334"/>
                  </a:lnTo>
                  <a:lnTo>
                    <a:pt x="28" y="326"/>
                  </a:lnTo>
                  <a:lnTo>
                    <a:pt x="28" y="320"/>
                  </a:lnTo>
                  <a:lnTo>
                    <a:pt x="30" y="314"/>
                  </a:lnTo>
                  <a:lnTo>
                    <a:pt x="30" y="312"/>
                  </a:lnTo>
                  <a:lnTo>
                    <a:pt x="30" y="310"/>
                  </a:lnTo>
                  <a:lnTo>
                    <a:pt x="30" y="304"/>
                  </a:lnTo>
                  <a:lnTo>
                    <a:pt x="30" y="298"/>
                  </a:lnTo>
                  <a:lnTo>
                    <a:pt x="30" y="292"/>
                  </a:lnTo>
                  <a:lnTo>
                    <a:pt x="30" y="286"/>
                  </a:lnTo>
                  <a:lnTo>
                    <a:pt x="30" y="280"/>
                  </a:lnTo>
                  <a:lnTo>
                    <a:pt x="28" y="274"/>
                  </a:lnTo>
                  <a:lnTo>
                    <a:pt x="26" y="268"/>
                  </a:lnTo>
                  <a:lnTo>
                    <a:pt x="26" y="262"/>
                  </a:lnTo>
                  <a:lnTo>
                    <a:pt x="22" y="256"/>
                  </a:lnTo>
                  <a:lnTo>
                    <a:pt x="20" y="248"/>
                  </a:lnTo>
                  <a:lnTo>
                    <a:pt x="18" y="244"/>
                  </a:lnTo>
                  <a:lnTo>
                    <a:pt x="14" y="236"/>
                  </a:lnTo>
                  <a:lnTo>
                    <a:pt x="12" y="232"/>
                  </a:lnTo>
                  <a:lnTo>
                    <a:pt x="8" y="226"/>
                  </a:lnTo>
                  <a:lnTo>
                    <a:pt x="4" y="220"/>
                  </a:lnTo>
                  <a:lnTo>
                    <a:pt x="2" y="2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3" name="Freeform 200"/>
            <p:cNvSpPr>
              <a:spLocks/>
            </p:cNvSpPr>
            <p:nvPr/>
          </p:nvSpPr>
          <p:spPr bwMode="auto">
            <a:xfrm>
              <a:off x="5283200" y="3705225"/>
              <a:ext cx="257175" cy="180975"/>
            </a:xfrm>
            <a:custGeom>
              <a:avLst/>
              <a:gdLst>
                <a:gd name="T0" fmla="*/ 2147483647 w 632"/>
                <a:gd name="T1" fmla="*/ 2147483647 h 442"/>
                <a:gd name="T2" fmla="*/ 2147483647 w 632"/>
                <a:gd name="T3" fmla="*/ 0 h 442"/>
                <a:gd name="T4" fmla="*/ 2147483647 w 632"/>
                <a:gd name="T5" fmla="*/ 2147483647 h 442"/>
                <a:gd name="T6" fmla="*/ 2147483647 w 632"/>
                <a:gd name="T7" fmla="*/ 2147483647 h 442"/>
                <a:gd name="T8" fmla="*/ 2147483647 w 632"/>
                <a:gd name="T9" fmla="*/ 2147483647 h 442"/>
                <a:gd name="T10" fmla="*/ 2147483647 w 632"/>
                <a:gd name="T11" fmla="*/ 2147483647 h 442"/>
                <a:gd name="T12" fmla="*/ 2147483647 w 632"/>
                <a:gd name="T13" fmla="*/ 2147483647 h 442"/>
                <a:gd name="T14" fmla="*/ 2147483647 w 632"/>
                <a:gd name="T15" fmla="*/ 2147483647 h 442"/>
                <a:gd name="T16" fmla="*/ 2147483647 w 632"/>
                <a:gd name="T17" fmla="*/ 2147483647 h 442"/>
                <a:gd name="T18" fmla="*/ 2147483647 w 632"/>
                <a:gd name="T19" fmla="*/ 2147483647 h 442"/>
                <a:gd name="T20" fmla="*/ 2147483647 w 632"/>
                <a:gd name="T21" fmla="*/ 2147483647 h 442"/>
                <a:gd name="T22" fmla="*/ 2147483647 w 632"/>
                <a:gd name="T23" fmla="*/ 2147483647 h 442"/>
                <a:gd name="T24" fmla="*/ 2147483647 w 632"/>
                <a:gd name="T25" fmla="*/ 2147483647 h 442"/>
                <a:gd name="T26" fmla="*/ 2147483647 w 632"/>
                <a:gd name="T27" fmla="*/ 2147483647 h 442"/>
                <a:gd name="T28" fmla="*/ 2147483647 w 632"/>
                <a:gd name="T29" fmla="*/ 2147483647 h 442"/>
                <a:gd name="T30" fmla="*/ 2147483647 w 632"/>
                <a:gd name="T31" fmla="*/ 2147483647 h 442"/>
                <a:gd name="T32" fmla="*/ 2147483647 w 632"/>
                <a:gd name="T33" fmla="*/ 2147483647 h 442"/>
                <a:gd name="T34" fmla="*/ 2147483647 w 632"/>
                <a:gd name="T35" fmla="*/ 2147483647 h 442"/>
                <a:gd name="T36" fmla="*/ 2147483647 w 632"/>
                <a:gd name="T37" fmla="*/ 2147483647 h 442"/>
                <a:gd name="T38" fmla="*/ 2147483647 w 632"/>
                <a:gd name="T39" fmla="*/ 2147483647 h 442"/>
                <a:gd name="T40" fmla="*/ 2147483647 w 632"/>
                <a:gd name="T41" fmla="*/ 2147483647 h 442"/>
                <a:gd name="T42" fmla="*/ 2147483647 w 632"/>
                <a:gd name="T43" fmla="*/ 2147483647 h 442"/>
                <a:gd name="T44" fmla="*/ 2147483647 w 632"/>
                <a:gd name="T45" fmla="*/ 2147483647 h 442"/>
                <a:gd name="T46" fmla="*/ 2147483647 w 632"/>
                <a:gd name="T47" fmla="*/ 2147483647 h 442"/>
                <a:gd name="T48" fmla="*/ 2147483647 w 632"/>
                <a:gd name="T49" fmla="*/ 2147483647 h 442"/>
                <a:gd name="T50" fmla="*/ 2147483647 w 632"/>
                <a:gd name="T51" fmla="*/ 2147483647 h 442"/>
                <a:gd name="T52" fmla="*/ 2147483647 w 632"/>
                <a:gd name="T53" fmla="*/ 2147483647 h 442"/>
                <a:gd name="T54" fmla="*/ 2147483647 w 632"/>
                <a:gd name="T55" fmla="*/ 2147483647 h 442"/>
                <a:gd name="T56" fmla="*/ 2147483647 w 632"/>
                <a:gd name="T57" fmla="*/ 2147483647 h 442"/>
                <a:gd name="T58" fmla="*/ 2147483647 w 632"/>
                <a:gd name="T59" fmla="*/ 2147483647 h 442"/>
                <a:gd name="T60" fmla="*/ 2147483647 w 632"/>
                <a:gd name="T61" fmla="*/ 2147483647 h 442"/>
                <a:gd name="T62" fmla="*/ 2147483647 w 632"/>
                <a:gd name="T63" fmla="*/ 2147483647 h 442"/>
                <a:gd name="T64" fmla="*/ 2147483647 w 632"/>
                <a:gd name="T65" fmla="*/ 2147483647 h 442"/>
                <a:gd name="T66" fmla="*/ 2147483647 w 632"/>
                <a:gd name="T67" fmla="*/ 2147483647 h 442"/>
                <a:gd name="T68" fmla="*/ 2147483647 w 632"/>
                <a:gd name="T69" fmla="*/ 2147483647 h 442"/>
                <a:gd name="T70" fmla="*/ 2147483647 w 632"/>
                <a:gd name="T71" fmla="*/ 2147483647 h 442"/>
                <a:gd name="T72" fmla="*/ 2147483647 w 632"/>
                <a:gd name="T73" fmla="*/ 2147483647 h 442"/>
                <a:gd name="T74" fmla="*/ 2147483647 w 632"/>
                <a:gd name="T75" fmla="*/ 2147483647 h 442"/>
                <a:gd name="T76" fmla="*/ 2147483647 w 632"/>
                <a:gd name="T77" fmla="*/ 2147483647 h 442"/>
                <a:gd name="T78" fmla="*/ 2147483647 w 632"/>
                <a:gd name="T79" fmla="*/ 2147483647 h 442"/>
                <a:gd name="T80" fmla="*/ 2147483647 w 632"/>
                <a:gd name="T81" fmla="*/ 2147483647 h 442"/>
                <a:gd name="T82" fmla="*/ 2147483647 w 632"/>
                <a:gd name="T83" fmla="*/ 2147483647 h 442"/>
                <a:gd name="T84" fmla="*/ 2147483647 w 632"/>
                <a:gd name="T85" fmla="*/ 2147483647 h 442"/>
                <a:gd name="T86" fmla="*/ 2147483647 w 632"/>
                <a:gd name="T87" fmla="*/ 2147483647 h 442"/>
                <a:gd name="T88" fmla="*/ 2147483647 w 632"/>
                <a:gd name="T89" fmla="*/ 2147483647 h 442"/>
                <a:gd name="T90" fmla="*/ 2147483647 w 632"/>
                <a:gd name="T91" fmla="*/ 2147483647 h 442"/>
                <a:gd name="T92" fmla="*/ 2147483647 w 632"/>
                <a:gd name="T93" fmla="*/ 2147483647 h 442"/>
                <a:gd name="T94" fmla="*/ 2147483647 w 632"/>
                <a:gd name="T95" fmla="*/ 2147483647 h 442"/>
                <a:gd name="T96" fmla="*/ 2147483647 w 632"/>
                <a:gd name="T97" fmla="*/ 2147483647 h 442"/>
                <a:gd name="T98" fmla="*/ 2147483647 w 632"/>
                <a:gd name="T99" fmla="*/ 2147483647 h 442"/>
                <a:gd name="T100" fmla="*/ 2147483647 w 632"/>
                <a:gd name="T101" fmla="*/ 2147483647 h 442"/>
                <a:gd name="T102" fmla="*/ 2147483647 w 632"/>
                <a:gd name="T103" fmla="*/ 2147483647 h 442"/>
                <a:gd name="T104" fmla="*/ 2147483647 w 632"/>
                <a:gd name="T105" fmla="*/ 2147483647 h 442"/>
                <a:gd name="T106" fmla="*/ 2147483647 w 632"/>
                <a:gd name="T107" fmla="*/ 2147483647 h 44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32"/>
                <a:gd name="T163" fmla="*/ 0 h 442"/>
                <a:gd name="T164" fmla="*/ 632 w 632"/>
                <a:gd name="T165" fmla="*/ 442 h 44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32" h="442">
                  <a:moveTo>
                    <a:pt x="632" y="160"/>
                  </a:moveTo>
                  <a:lnTo>
                    <a:pt x="628" y="160"/>
                  </a:lnTo>
                  <a:lnTo>
                    <a:pt x="608" y="118"/>
                  </a:lnTo>
                  <a:lnTo>
                    <a:pt x="604" y="118"/>
                  </a:lnTo>
                  <a:lnTo>
                    <a:pt x="602" y="118"/>
                  </a:lnTo>
                  <a:lnTo>
                    <a:pt x="606" y="114"/>
                  </a:lnTo>
                  <a:lnTo>
                    <a:pt x="554" y="2"/>
                  </a:lnTo>
                  <a:lnTo>
                    <a:pt x="554" y="0"/>
                  </a:lnTo>
                  <a:lnTo>
                    <a:pt x="478" y="10"/>
                  </a:lnTo>
                  <a:lnTo>
                    <a:pt x="380" y="24"/>
                  </a:lnTo>
                  <a:lnTo>
                    <a:pt x="326" y="54"/>
                  </a:lnTo>
                  <a:lnTo>
                    <a:pt x="292" y="104"/>
                  </a:lnTo>
                  <a:lnTo>
                    <a:pt x="286" y="128"/>
                  </a:lnTo>
                  <a:lnTo>
                    <a:pt x="268" y="138"/>
                  </a:lnTo>
                  <a:lnTo>
                    <a:pt x="258" y="138"/>
                  </a:lnTo>
                  <a:lnTo>
                    <a:pt x="242" y="116"/>
                  </a:lnTo>
                  <a:lnTo>
                    <a:pt x="218" y="120"/>
                  </a:lnTo>
                  <a:lnTo>
                    <a:pt x="204" y="118"/>
                  </a:lnTo>
                  <a:lnTo>
                    <a:pt x="160" y="112"/>
                  </a:lnTo>
                  <a:lnTo>
                    <a:pt x="148" y="106"/>
                  </a:lnTo>
                  <a:lnTo>
                    <a:pt x="114" y="106"/>
                  </a:lnTo>
                  <a:lnTo>
                    <a:pt x="110" y="108"/>
                  </a:lnTo>
                  <a:lnTo>
                    <a:pt x="104" y="106"/>
                  </a:lnTo>
                  <a:lnTo>
                    <a:pt x="90" y="110"/>
                  </a:lnTo>
                  <a:lnTo>
                    <a:pt x="82" y="114"/>
                  </a:lnTo>
                  <a:lnTo>
                    <a:pt x="78" y="114"/>
                  </a:lnTo>
                  <a:lnTo>
                    <a:pt x="72" y="114"/>
                  </a:lnTo>
                  <a:lnTo>
                    <a:pt x="66" y="114"/>
                  </a:lnTo>
                  <a:lnTo>
                    <a:pt x="60" y="112"/>
                  </a:lnTo>
                  <a:lnTo>
                    <a:pt x="54" y="106"/>
                  </a:lnTo>
                  <a:lnTo>
                    <a:pt x="48" y="104"/>
                  </a:lnTo>
                  <a:lnTo>
                    <a:pt x="44" y="102"/>
                  </a:lnTo>
                  <a:lnTo>
                    <a:pt x="38" y="106"/>
                  </a:lnTo>
                  <a:lnTo>
                    <a:pt x="36" y="106"/>
                  </a:lnTo>
                  <a:lnTo>
                    <a:pt x="32" y="112"/>
                  </a:lnTo>
                  <a:lnTo>
                    <a:pt x="32" y="118"/>
                  </a:lnTo>
                  <a:lnTo>
                    <a:pt x="28" y="122"/>
                  </a:lnTo>
                  <a:lnTo>
                    <a:pt x="28" y="128"/>
                  </a:lnTo>
                  <a:lnTo>
                    <a:pt x="28" y="136"/>
                  </a:lnTo>
                  <a:lnTo>
                    <a:pt x="26" y="140"/>
                  </a:lnTo>
                  <a:lnTo>
                    <a:pt x="28" y="148"/>
                  </a:lnTo>
                  <a:lnTo>
                    <a:pt x="32" y="152"/>
                  </a:lnTo>
                  <a:lnTo>
                    <a:pt x="30" y="160"/>
                  </a:lnTo>
                  <a:lnTo>
                    <a:pt x="24" y="160"/>
                  </a:lnTo>
                  <a:lnTo>
                    <a:pt x="24" y="166"/>
                  </a:lnTo>
                  <a:lnTo>
                    <a:pt x="22" y="170"/>
                  </a:lnTo>
                  <a:lnTo>
                    <a:pt x="18" y="174"/>
                  </a:lnTo>
                  <a:lnTo>
                    <a:pt x="14" y="178"/>
                  </a:lnTo>
                  <a:lnTo>
                    <a:pt x="8" y="182"/>
                  </a:lnTo>
                  <a:lnTo>
                    <a:pt x="6" y="182"/>
                  </a:lnTo>
                  <a:lnTo>
                    <a:pt x="8" y="188"/>
                  </a:lnTo>
                  <a:lnTo>
                    <a:pt x="10" y="194"/>
                  </a:lnTo>
                  <a:lnTo>
                    <a:pt x="10" y="200"/>
                  </a:lnTo>
                  <a:lnTo>
                    <a:pt x="10" y="206"/>
                  </a:lnTo>
                  <a:lnTo>
                    <a:pt x="10" y="212"/>
                  </a:lnTo>
                  <a:lnTo>
                    <a:pt x="10" y="218"/>
                  </a:lnTo>
                  <a:lnTo>
                    <a:pt x="6" y="224"/>
                  </a:lnTo>
                  <a:lnTo>
                    <a:pt x="4" y="230"/>
                  </a:lnTo>
                  <a:lnTo>
                    <a:pt x="6" y="236"/>
                  </a:lnTo>
                  <a:lnTo>
                    <a:pt x="8" y="242"/>
                  </a:lnTo>
                  <a:lnTo>
                    <a:pt x="8" y="248"/>
                  </a:lnTo>
                  <a:lnTo>
                    <a:pt x="10" y="254"/>
                  </a:lnTo>
                  <a:lnTo>
                    <a:pt x="10" y="260"/>
                  </a:lnTo>
                  <a:lnTo>
                    <a:pt x="6" y="256"/>
                  </a:lnTo>
                  <a:lnTo>
                    <a:pt x="0" y="260"/>
                  </a:lnTo>
                  <a:lnTo>
                    <a:pt x="0" y="262"/>
                  </a:lnTo>
                  <a:lnTo>
                    <a:pt x="6" y="262"/>
                  </a:lnTo>
                  <a:lnTo>
                    <a:pt x="12" y="266"/>
                  </a:lnTo>
                  <a:lnTo>
                    <a:pt x="16" y="272"/>
                  </a:lnTo>
                  <a:lnTo>
                    <a:pt x="16" y="278"/>
                  </a:lnTo>
                  <a:lnTo>
                    <a:pt x="20" y="284"/>
                  </a:lnTo>
                  <a:lnTo>
                    <a:pt x="20" y="290"/>
                  </a:lnTo>
                  <a:lnTo>
                    <a:pt x="22" y="294"/>
                  </a:lnTo>
                  <a:lnTo>
                    <a:pt x="24" y="300"/>
                  </a:lnTo>
                  <a:lnTo>
                    <a:pt x="26" y="306"/>
                  </a:lnTo>
                  <a:lnTo>
                    <a:pt x="26" y="312"/>
                  </a:lnTo>
                  <a:lnTo>
                    <a:pt x="26" y="318"/>
                  </a:lnTo>
                  <a:lnTo>
                    <a:pt x="28" y="324"/>
                  </a:lnTo>
                  <a:lnTo>
                    <a:pt x="30" y="330"/>
                  </a:lnTo>
                  <a:lnTo>
                    <a:pt x="32" y="336"/>
                  </a:lnTo>
                  <a:lnTo>
                    <a:pt x="32" y="342"/>
                  </a:lnTo>
                  <a:lnTo>
                    <a:pt x="32" y="348"/>
                  </a:lnTo>
                  <a:lnTo>
                    <a:pt x="38" y="352"/>
                  </a:lnTo>
                  <a:lnTo>
                    <a:pt x="40" y="360"/>
                  </a:lnTo>
                  <a:lnTo>
                    <a:pt x="44" y="364"/>
                  </a:lnTo>
                  <a:lnTo>
                    <a:pt x="44" y="372"/>
                  </a:lnTo>
                  <a:lnTo>
                    <a:pt x="44" y="378"/>
                  </a:lnTo>
                  <a:lnTo>
                    <a:pt x="42" y="384"/>
                  </a:lnTo>
                  <a:lnTo>
                    <a:pt x="42" y="390"/>
                  </a:lnTo>
                  <a:lnTo>
                    <a:pt x="42" y="396"/>
                  </a:lnTo>
                  <a:lnTo>
                    <a:pt x="44" y="402"/>
                  </a:lnTo>
                  <a:lnTo>
                    <a:pt x="48" y="408"/>
                  </a:lnTo>
                  <a:lnTo>
                    <a:pt x="50" y="414"/>
                  </a:lnTo>
                  <a:lnTo>
                    <a:pt x="52" y="420"/>
                  </a:lnTo>
                  <a:lnTo>
                    <a:pt x="56" y="426"/>
                  </a:lnTo>
                  <a:lnTo>
                    <a:pt x="58" y="432"/>
                  </a:lnTo>
                  <a:lnTo>
                    <a:pt x="56" y="436"/>
                  </a:lnTo>
                  <a:lnTo>
                    <a:pt x="60" y="436"/>
                  </a:lnTo>
                  <a:lnTo>
                    <a:pt x="66" y="432"/>
                  </a:lnTo>
                  <a:lnTo>
                    <a:pt x="72" y="434"/>
                  </a:lnTo>
                  <a:lnTo>
                    <a:pt x="78" y="436"/>
                  </a:lnTo>
                  <a:lnTo>
                    <a:pt x="84" y="440"/>
                  </a:lnTo>
                  <a:lnTo>
                    <a:pt x="90" y="442"/>
                  </a:lnTo>
                  <a:lnTo>
                    <a:pt x="96" y="440"/>
                  </a:lnTo>
                  <a:lnTo>
                    <a:pt x="102" y="440"/>
                  </a:lnTo>
                  <a:lnTo>
                    <a:pt x="108" y="440"/>
                  </a:lnTo>
                  <a:lnTo>
                    <a:pt x="114" y="438"/>
                  </a:lnTo>
                  <a:lnTo>
                    <a:pt x="120" y="432"/>
                  </a:lnTo>
                  <a:lnTo>
                    <a:pt x="126" y="428"/>
                  </a:lnTo>
                  <a:lnTo>
                    <a:pt x="132" y="430"/>
                  </a:lnTo>
                  <a:lnTo>
                    <a:pt x="138" y="432"/>
                  </a:lnTo>
                  <a:lnTo>
                    <a:pt x="144" y="434"/>
                  </a:lnTo>
                  <a:lnTo>
                    <a:pt x="144" y="430"/>
                  </a:lnTo>
                  <a:lnTo>
                    <a:pt x="150" y="428"/>
                  </a:lnTo>
                  <a:lnTo>
                    <a:pt x="150" y="430"/>
                  </a:lnTo>
                  <a:lnTo>
                    <a:pt x="150" y="432"/>
                  </a:lnTo>
                  <a:lnTo>
                    <a:pt x="154" y="426"/>
                  </a:lnTo>
                  <a:lnTo>
                    <a:pt x="156" y="420"/>
                  </a:lnTo>
                  <a:lnTo>
                    <a:pt x="162" y="414"/>
                  </a:lnTo>
                  <a:lnTo>
                    <a:pt x="168" y="412"/>
                  </a:lnTo>
                  <a:lnTo>
                    <a:pt x="174" y="410"/>
                  </a:lnTo>
                  <a:lnTo>
                    <a:pt x="178" y="406"/>
                  </a:lnTo>
                  <a:lnTo>
                    <a:pt x="182" y="400"/>
                  </a:lnTo>
                  <a:lnTo>
                    <a:pt x="186" y="394"/>
                  </a:lnTo>
                  <a:lnTo>
                    <a:pt x="192" y="392"/>
                  </a:lnTo>
                  <a:lnTo>
                    <a:pt x="198" y="390"/>
                  </a:lnTo>
                  <a:lnTo>
                    <a:pt x="204" y="388"/>
                  </a:lnTo>
                  <a:lnTo>
                    <a:pt x="210" y="388"/>
                  </a:lnTo>
                  <a:lnTo>
                    <a:pt x="216" y="388"/>
                  </a:lnTo>
                  <a:lnTo>
                    <a:pt x="222" y="386"/>
                  </a:lnTo>
                  <a:lnTo>
                    <a:pt x="228" y="386"/>
                  </a:lnTo>
                  <a:lnTo>
                    <a:pt x="234" y="386"/>
                  </a:lnTo>
                  <a:lnTo>
                    <a:pt x="240" y="386"/>
                  </a:lnTo>
                  <a:lnTo>
                    <a:pt x="244" y="386"/>
                  </a:lnTo>
                  <a:lnTo>
                    <a:pt x="252" y="386"/>
                  </a:lnTo>
                  <a:lnTo>
                    <a:pt x="256" y="382"/>
                  </a:lnTo>
                  <a:lnTo>
                    <a:pt x="262" y="380"/>
                  </a:lnTo>
                  <a:lnTo>
                    <a:pt x="264" y="378"/>
                  </a:lnTo>
                  <a:lnTo>
                    <a:pt x="272" y="376"/>
                  </a:lnTo>
                  <a:lnTo>
                    <a:pt x="278" y="374"/>
                  </a:lnTo>
                  <a:lnTo>
                    <a:pt x="282" y="374"/>
                  </a:lnTo>
                  <a:lnTo>
                    <a:pt x="288" y="372"/>
                  </a:lnTo>
                  <a:lnTo>
                    <a:pt x="294" y="370"/>
                  </a:lnTo>
                  <a:lnTo>
                    <a:pt x="300" y="364"/>
                  </a:lnTo>
                  <a:lnTo>
                    <a:pt x="306" y="356"/>
                  </a:lnTo>
                  <a:lnTo>
                    <a:pt x="312" y="352"/>
                  </a:lnTo>
                  <a:lnTo>
                    <a:pt x="318" y="350"/>
                  </a:lnTo>
                  <a:lnTo>
                    <a:pt x="320" y="348"/>
                  </a:lnTo>
                  <a:lnTo>
                    <a:pt x="326" y="344"/>
                  </a:lnTo>
                  <a:lnTo>
                    <a:pt x="332" y="344"/>
                  </a:lnTo>
                  <a:lnTo>
                    <a:pt x="338" y="346"/>
                  </a:lnTo>
                  <a:lnTo>
                    <a:pt x="344" y="348"/>
                  </a:lnTo>
                  <a:lnTo>
                    <a:pt x="350" y="346"/>
                  </a:lnTo>
                  <a:lnTo>
                    <a:pt x="356" y="346"/>
                  </a:lnTo>
                  <a:lnTo>
                    <a:pt x="362" y="344"/>
                  </a:lnTo>
                  <a:lnTo>
                    <a:pt x="368" y="344"/>
                  </a:lnTo>
                  <a:lnTo>
                    <a:pt x="374" y="340"/>
                  </a:lnTo>
                  <a:lnTo>
                    <a:pt x="380" y="334"/>
                  </a:lnTo>
                  <a:lnTo>
                    <a:pt x="384" y="328"/>
                  </a:lnTo>
                  <a:lnTo>
                    <a:pt x="388" y="322"/>
                  </a:lnTo>
                  <a:lnTo>
                    <a:pt x="390" y="316"/>
                  </a:lnTo>
                  <a:lnTo>
                    <a:pt x="390" y="314"/>
                  </a:lnTo>
                  <a:lnTo>
                    <a:pt x="396" y="310"/>
                  </a:lnTo>
                  <a:lnTo>
                    <a:pt x="402" y="306"/>
                  </a:lnTo>
                  <a:lnTo>
                    <a:pt x="408" y="302"/>
                  </a:lnTo>
                  <a:lnTo>
                    <a:pt x="414" y="300"/>
                  </a:lnTo>
                  <a:lnTo>
                    <a:pt x="420" y="296"/>
                  </a:lnTo>
                  <a:lnTo>
                    <a:pt x="426" y="294"/>
                  </a:lnTo>
                  <a:lnTo>
                    <a:pt x="432" y="292"/>
                  </a:lnTo>
                  <a:lnTo>
                    <a:pt x="438" y="290"/>
                  </a:lnTo>
                  <a:lnTo>
                    <a:pt x="444" y="288"/>
                  </a:lnTo>
                  <a:lnTo>
                    <a:pt x="446" y="288"/>
                  </a:lnTo>
                  <a:lnTo>
                    <a:pt x="450" y="290"/>
                  </a:lnTo>
                  <a:lnTo>
                    <a:pt x="456" y="288"/>
                  </a:lnTo>
                  <a:lnTo>
                    <a:pt x="460" y="286"/>
                  </a:lnTo>
                  <a:lnTo>
                    <a:pt x="468" y="282"/>
                  </a:lnTo>
                  <a:lnTo>
                    <a:pt x="474" y="278"/>
                  </a:lnTo>
                  <a:lnTo>
                    <a:pt x="478" y="274"/>
                  </a:lnTo>
                  <a:lnTo>
                    <a:pt x="484" y="274"/>
                  </a:lnTo>
                  <a:lnTo>
                    <a:pt x="490" y="272"/>
                  </a:lnTo>
                  <a:lnTo>
                    <a:pt x="496" y="270"/>
                  </a:lnTo>
                  <a:lnTo>
                    <a:pt x="502" y="268"/>
                  </a:lnTo>
                  <a:lnTo>
                    <a:pt x="508" y="268"/>
                  </a:lnTo>
                  <a:lnTo>
                    <a:pt x="514" y="266"/>
                  </a:lnTo>
                  <a:lnTo>
                    <a:pt x="516" y="266"/>
                  </a:lnTo>
                  <a:lnTo>
                    <a:pt x="520" y="264"/>
                  </a:lnTo>
                  <a:lnTo>
                    <a:pt x="526" y="260"/>
                  </a:lnTo>
                  <a:lnTo>
                    <a:pt x="532" y="260"/>
                  </a:lnTo>
                  <a:lnTo>
                    <a:pt x="538" y="256"/>
                  </a:lnTo>
                  <a:lnTo>
                    <a:pt x="544" y="254"/>
                  </a:lnTo>
                  <a:lnTo>
                    <a:pt x="548" y="248"/>
                  </a:lnTo>
                  <a:lnTo>
                    <a:pt x="552" y="246"/>
                  </a:lnTo>
                  <a:lnTo>
                    <a:pt x="558" y="242"/>
                  </a:lnTo>
                  <a:lnTo>
                    <a:pt x="564" y="240"/>
                  </a:lnTo>
                  <a:lnTo>
                    <a:pt x="570" y="236"/>
                  </a:lnTo>
                  <a:lnTo>
                    <a:pt x="576" y="236"/>
                  </a:lnTo>
                  <a:lnTo>
                    <a:pt x="578" y="230"/>
                  </a:lnTo>
                  <a:lnTo>
                    <a:pt x="578" y="226"/>
                  </a:lnTo>
                  <a:lnTo>
                    <a:pt x="578" y="220"/>
                  </a:lnTo>
                  <a:lnTo>
                    <a:pt x="574" y="214"/>
                  </a:lnTo>
                  <a:lnTo>
                    <a:pt x="574" y="208"/>
                  </a:lnTo>
                  <a:lnTo>
                    <a:pt x="576" y="202"/>
                  </a:lnTo>
                  <a:lnTo>
                    <a:pt x="576" y="196"/>
                  </a:lnTo>
                  <a:lnTo>
                    <a:pt x="578" y="192"/>
                  </a:lnTo>
                  <a:lnTo>
                    <a:pt x="584" y="186"/>
                  </a:lnTo>
                  <a:lnTo>
                    <a:pt x="590" y="180"/>
                  </a:lnTo>
                  <a:lnTo>
                    <a:pt x="596" y="176"/>
                  </a:lnTo>
                  <a:lnTo>
                    <a:pt x="602" y="174"/>
                  </a:lnTo>
                  <a:lnTo>
                    <a:pt x="608" y="172"/>
                  </a:lnTo>
                  <a:lnTo>
                    <a:pt x="614" y="170"/>
                  </a:lnTo>
                  <a:lnTo>
                    <a:pt x="620" y="166"/>
                  </a:lnTo>
                  <a:lnTo>
                    <a:pt x="626" y="164"/>
                  </a:lnTo>
                  <a:lnTo>
                    <a:pt x="632" y="1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4" name="Freeform 201"/>
            <p:cNvSpPr>
              <a:spLocks/>
            </p:cNvSpPr>
            <p:nvPr/>
          </p:nvSpPr>
          <p:spPr bwMode="auto">
            <a:xfrm>
              <a:off x="4017963" y="3940175"/>
              <a:ext cx="152400" cy="182563"/>
            </a:xfrm>
            <a:custGeom>
              <a:avLst/>
              <a:gdLst>
                <a:gd name="T0" fmla="*/ 2147483647 w 372"/>
                <a:gd name="T1" fmla="*/ 2147483647 h 442"/>
                <a:gd name="T2" fmla="*/ 2147483647 w 372"/>
                <a:gd name="T3" fmla="*/ 2147483647 h 442"/>
                <a:gd name="T4" fmla="*/ 2147483647 w 372"/>
                <a:gd name="T5" fmla="*/ 2147483647 h 442"/>
                <a:gd name="T6" fmla="*/ 2147483647 w 372"/>
                <a:gd name="T7" fmla="*/ 2147483647 h 442"/>
                <a:gd name="T8" fmla="*/ 2147483647 w 372"/>
                <a:gd name="T9" fmla="*/ 2147483647 h 442"/>
                <a:gd name="T10" fmla="*/ 2147483647 w 372"/>
                <a:gd name="T11" fmla="*/ 2147483647 h 442"/>
                <a:gd name="T12" fmla="*/ 2147483647 w 372"/>
                <a:gd name="T13" fmla="*/ 2147483647 h 442"/>
                <a:gd name="T14" fmla="*/ 2147483647 w 372"/>
                <a:gd name="T15" fmla="*/ 2147483647 h 442"/>
                <a:gd name="T16" fmla="*/ 2147483647 w 372"/>
                <a:gd name="T17" fmla="*/ 2147483647 h 442"/>
                <a:gd name="T18" fmla="*/ 2147483647 w 372"/>
                <a:gd name="T19" fmla="*/ 2147483647 h 442"/>
                <a:gd name="T20" fmla="*/ 2147483647 w 372"/>
                <a:gd name="T21" fmla="*/ 2147483647 h 442"/>
                <a:gd name="T22" fmla="*/ 2147483647 w 372"/>
                <a:gd name="T23" fmla="*/ 2147483647 h 442"/>
                <a:gd name="T24" fmla="*/ 2147483647 w 372"/>
                <a:gd name="T25" fmla="*/ 2147483647 h 442"/>
                <a:gd name="T26" fmla="*/ 2147483647 w 372"/>
                <a:gd name="T27" fmla="*/ 2147483647 h 442"/>
                <a:gd name="T28" fmla="*/ 2147483647 w 372"/>
                <a:gd name="T29" fmla="*/ 2147483647 h 442"/>
                <a:gd name="T30" fmla="*/ 2147483647 w 372"/>
                <a:gd name="T31" fmla="*/ 2147483647 h 442"/>
                <a:gd name="T32" fmla="*/ 2147483647 w 372"/>
                <a:gd name="T33" fmla="*/ 2147483647 h 442"/>
                <a:gd name="T34" fmla="*/ 2147483647 w 372"/>
                <a:gd name="T35" fmla="*/ 2147483647 h 442"/>
                <a:gd name="T36" fmla="*/ 2147483647 w 372"/>
                <a:gd name="T37" fmla="*/ 2147483647 h 442"/>
                <a:gd name="T38" fmla="*/ 2147483647 w 372"/>
                <a:gd name="T39" fmla="*/ 2147483647 h 442"/>
                <a:gd name="T40" fmla="*/ 2147483647 w 372"/>
                <a:gd name="T41" fmla="*/ 2147483647 h 442"/>
                <a:gd name="T42" fmla="*/ 2147483647 w 372"/>
                <a:gd name="T43" fmla="*/ 2147483647 h 442"/>
                <a:gd name="T44" fmla="*/ 2147483647 w 372"/>
                <a:gd name="T45" fmla="*/ 2147483647 h 442"/>
                <a:gd name="T46" fmla="*/ 2147483647 w 372"/>
                <a:gd name="T47" fmla="*/ 2147483647 h 442"/>
                <a:gd name="T48" fmla="*/ 2147483647 w 372"/>
                <a:gd name="T49" fmla="*/ 2147483647 h 442"/>
                <a:gd name="T50" fmla="*/ 2147483647 w 372"/>
                <a:gd name="T51" fmla="*/ 2147483647 h 442"/>
                <a:gd name="T52" fmla="*/ 2147483647 w 372"/>
                <a:gd name="T53" fmla="*/ 2147483647 h 442"/>
                <a:gd name="T54" fmla="*/ 2147483647 w 372"/>
                <a:gd name="T55" fmla="*/ 2147483647 h 442"/>
                <a:gd name="T56" fmla="*/ 2147483647 w 372"/>
                <a:gd name="T57" fmla="*/ 2147483647 h 442"/>
                <a:gd name="T58" fmla="*/ 2147483647 w 372"/>
                <a:gd name="T59" fmla="*/ 2147483647 h 442"/>
                <a:gd name="T60" fmla="*/ 2147483647 w 372"/>
                <a:gd name="T61" fmla="*/ 2147483647 h 442"/>
                <a:gd name="T62" fmla="*/ 2147483647 w 372"/>
                <a:gd name="T63" fmla="*/ 2147483647 h 442"/>
                <a:gd name="T64" fmla="*/ 2147483647 w 372"/>
                <a:gd name="T65" fmla="*/ 2147483647 h 442"/>
                <a:gd name="T66" fmla="*/ 2147483647 w 372"/>
                <a:gd name="T67" fmla="*/ 2147483647 h 442"/>
                <a:gd name="T68" fmla="*/ 2147483647 w 372"/>
                <a:gd name="T69" fmla="*/ 2147483647 h 442"/>
                <a:gd name="T70" fmla="*/ 2147483647 w 372"/>
                <a:gd name="T71" fmla="*/ 2147483647 h 442"/>
                <a:gd name="T72" fmla="*/ 2147483647 w 372"/>
                <a:gd name="T73" fmla="*/ 2147483647 h 442"/>
                <a:gd name="T74" fmla="*/ 2147483647 w 372"/>
                <a:gd name="T75" fmla="*/ 2147483647 h 442"/>
                <a:gd name="T76" fmla="*/ 2147483647 w 372"/>
                <a:gd name="T77" fmla="*/ 2147483647 h 442"/>
                <a:gd name="T78" fmla="*/ 2147483647 w 372"/>
                <a:gd name="T79" fmla="*/ 2147483647 h 442"/>
                <a:gd name="T80" fmla="*/ 2147483647 w 372"/>
                <a:gd name="T81" fmla="*/ 2147483647 h 442"/>
                <a:gd name="T82" fmla="*/ 2147483647 w 372"/>
                <a:gd name="T83" fmla="*/ 2147483647 h 442"/>
                <a:gd name="T84" fmla="*/ 2147483647 w 372"/>
                <a:gd name="T85" fmla="*/ 2147483647 h 442"/>
                <a:gd name="T86" fmla="*/ 2147483647 w 372"/>
                <a:gd name="T87" fmla="*/ 2147483647 h 442"/>
                <a:gd name="T88" fmla="*/ 2147483647 w 372"/>
                <a:gd name="T89" fmla="*/ 2147483647 h 442"/>
                <a:gd name="T90" fmla="*/ 2147483647 w 372"/>
                <a:gd name="T91" fmla="*/ 2147483647 h 442"/>
                <a:gd name="T92" fmla="*/ 2147483647 w 372"/>
                <a:gd name="T93" fmla="*/ 2147483647 h 442"/>
                <a:gd name="T94" fmla="*/ 2147483647 w 372"/>
                <a:gd name="T95" fmla="*/ 2147483647 h 442"/>
                <a:gd name="T96" fmla="*/ 2147483647 w 372"/>
                <a:gd name="T97" fmla="*/ 2147483647 h 442"/>
                <a:gd name="T98" fmla="*/ 2147483647 w 372"/>
                <a:gd name="T99" fmla="*/ 2147483647 h 442"/>
                <a:gd name="T100" fmla="*/ 2147483647 w 372"/>
                <a:gd name="T101" fmla="*/ 2147483647 h 442"/>
                <a:gd name="T102" fmla="*/ 2147483647 w 372"/>
                <a:gd name="T103" fmla="*/ 2147483647 h 442"/>
                <a:gd name="T104" fmla="*/ 2147483647 w 372"/>
                <a:gd name="T105" fmla="*/ 2147483647 h 442"/>
                <a:gd name="T106" fmla="*/ 2147483647 w 372"/>
                <a:gd name="T107" fmla="*/ 2147483647 h 442"/>
                <a:gd name="T108" fmla="*/ 2147483647 w 372"/>
                <a:gd name="T109" fmla="*/ 2147483647 h 442"/>
                <a:gd name="T110" fmla="*/ 2147483647 w 372"/>
                <a:gd name="T111" fmla="*/ 2147483647 h 442"/>
                <a:gd name="T112" fmla="*/ 2147483647 w 372"/>
                <a:gd name="T113" fmla="*/ 2147483647 h 442"/>
                <a:gd name="T114" fmla="*/ 2147483647 w 372"/>
                <a:gd name="T115" fmla="*/ 2147483647 h 442"/>
                <a:gd name="T116" fmla="*/ 2147483647 w 372"/>
                <a:gd name="T117" fmla="*/ 2147483647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2"/>
                <a:gd name="T178" fmla="*/ 0 h 442"/>
                <a:gd name="T179" fmla="*/ 372 w 372"/>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2" h="442">
                  <a:moveTo>
                    <a:pt x="0" y="294"/>
                  </a:moveTo>
                  <a:lnTo>
                    <a:pt x="0" y="292"/>
                  </a:lnTo>
                  <a:lnTo>
                    <a:pt x="4" y="286"/>
                  </a:lnTo>
                  <a:lnTo>
                    <a:pt x="10" y="284"/>
                  </a:lnTo>
                  <a:lnTo>
                    <a:pt x="12" y="282"/>
                  </a:lnTo>
                  <a:lnTo>
                    <a:pt x="16" y="276"/>
                  </a:lnTo>
                  <a:lnTo>
                    <a:pt x="16" y="270"/>
                  </a:lnTo>
                  <a:lnTo>
                    <a:pt x="16" y="264"/>
                  </a:lnTo>
                  <a:lnTo>
                    <a:pt x="18" y="258"/>
                  </a:lnTo>
                  <a:lnTo>
                    <a:pt x="18" y="252"/>
                  </a:lnTo>
                  <a:lnTo>
                    <a:pt x="16" y="246"/>
                  </a:lnTo>
                  <a:lnTo>
                    <a:pt x="14" y="240"/>
                  </a:lnTo>
                  <a:lnTo>
                    <a:pt x="12" y="234"/>
                  </a:lnTo>
                  <a:lnTo>
                    <a:pt x="12" y="228"/>
                  </a:lnTo>
                  <a:lnTo>
                    <a:pt x="10" y="222"/>
                  </a:lnTo>
                  <a:lnTo>
                    <a:pt x="8" y="220"/>
                  </a:lnTo>
                  <a:lnTo>
                    <a:pt x="12" y="218"/>
                  </a:lnTo>
                  <a:lnTo>
                    <a:pt x="16" y="218"/>
                  </a:lnTo>
                  <a:lnTo>
                    <a:pt x="22" y="220"/>
                  </a:lnTo>
                  <a:lnTo>
                    <a:pt x="24" y="222"/>
                  </a:lnTo>
                  <a:lnTo>
                    <a:pt x="26" y="216"/>
                  </a:lnTo>
                  <a:lnTo>
                    <a:pt x="30" y="210"/>
                  </a:lnTo>
                  <a:lnTo>
                    <a:pt x="32" y="204"/>
                  </a:lnTo>
                  <a:lnTo>
                    <a:pt x="30" y="200"/>
                  </a:lnTo>
                  <a:lnTo>
                    <a:pt x="32" y="194"/>
                  </a:lnTo>
                  <a:lnTo>
                    <a:pt x="34" y="188"/>
                  </a:lnTo>
                  <a:lnTo>
                    <a:pt x="40" y="188"/>
                  </a:lnTo>
                  <a:lnTo>
                    <a:pt x="38" y="184"/>
                  </a:lnTo>
                  <a:lnTo>
                    <a:pt x="34" y="178"/>
                  </a:lnTo>
                  <a:lnTo>
                    <a:pt x="28" y="176"/>
                  </a:lnTo>
                  <a:lnTo>
                    <a:pt x="22" y="170"/>
                  </a:lnTo>
                  <a:lnTo>
                    <a:pt x="24" y="166"/>
                  </a:lnTo>
                  <a:lnTo>
                    <a:pt x="22" y="160"/>
                  </a:lnTo>
                  <a:lnTo>
                    <a:pt x="28" y="156"/>
                  </a:lnTo>
                  <a:lnTo>
                    <a:pt x="34" y="154"/>
                  </a:lnTo>
                  <a:lnTo>
                    <a:pt x="40" y="156"/>
                  </a:lnTo>
                  <a:lnTo>
                    <a:pt x="46" y="160"/>
                  </a:lnTo>
                  <a:lnTo>
                    <a:pt x="52" y="160"/>
                  </a:lnTo>
                  <a:lnTo>
                    <a:pt x="58" y="164"/>
                  </a:lnTo>
                  <a:lnTo>
                    <a:pt x="60" y="164"/>
                  </a:lnTo>
                  <a:lnTo>
                    <a:pt x="58" y="162"/>
                  </a:lnTo>
                  <a:lnTo>
                    <a:pt x="58" y="158"/>
                  </a:lnTo>
                  <a:lnTo>
                    <a:pt x="56" y="152"/>
                  </a:lnTo>
                  <a:lnTo>
                    <a:pt x="56" y="146"/>
                  </a:lnTo>
                  <a:lnTo>
                    <a:pt x="52" y="140"/>
                  </a:lnTo>
                  <a:lnTo>
                    <a:pt x="46" y="136"/>
                  </a:lnTo>
                  <a:lnTo>
                    <a:pt x="40" y="134"/>
                  </a:lnTo>
                  <a:lnTo>
                    <a:pt x="42" y="128"/>
                  </a:lnTo>
                  <a:lnTo>
                    <a:pt x="42" y="122"/>
                  </a:lnTo>
                  <a:lnTo>
                    <a:pt x="48" y="118"/>
                  </a:lnTo>
                  <a:lnTo>
                    <a:pt x="54" y="116"/>
                  </a:lnTo>
                  <a:lnTo>
                    <a:pt x="50" y="112"/>
                  </a:lnTo>
                  <a:lnTo>
                    <a:pt x="44" y="108"/>
                  </a:lnTo>
                  <a:lnTo>
                    <a:pt x="44" y="102"/>
                  </a:lnTo>
                  <a:lnTo>
                    <a:pt x="46" y="96"/>
                  </a:lnTo>
                  <a:lnTo>
                    <a:pt x="46" y="92"/>
                  </a:lnTo>
                  <a:lnTo>
                    <a:pt x="40" y="94"/>
                  </a:lnTo>
                  <a:lnTo>
                    <a:pt x="34" y="92"/>
                  </a:lnTo>
                  <a:lnTo>
                    <a:pt x="30" y="86"/>
                  </a:lnTo>
                  <a:lnTo>
                    <a:pt x="30" y="80"/>
                  </a:lnTo>
                  <a:lnTo>
                    <a:pt x="30" y="74"/>
                  </a:lnTo>
                  <a:lnTo>
                    <a:pt x="30" y="68"/>
                  </a:lnTo>
                  <a:lnTo>
                    <a:pt x="32" y="64"/>
                  </a:lnTo>
                  <a:lnTo>
                    <a:pt x="30" y="58"/>
                  </a:lnTo>
                  <a:lnTo>
                    <a:pt x="30" y="52"/>
                  </a:lnTo>
                  <a:lnTo>
                    <a:pt x="30" y="50"/>
                  </a:lnTo>
                  <a:lnTo>
                    <a:pt x="36" y="46"/>
                  </a:lnTo>
                  <a:lnTo>
                    <a:pt x="40" y="40"/>
                  </a:lnTo>
                  <a:lnTo>
                    <a:pt x="44" y="40"/>
                  </a:lnTo>
                  <a:lnTo>
                    <a:pt x="50" y="36"/>
                  </a:lnTo>
                  <a:lnTo>
                    <a:pt x="54" y="30"/>
                  </a:lnTo>
                  <a:lnTo>
                    <a:pt x="56" y="24"/>
                  </a:lnTo>
                  <a:lnTo>
                    <a:pt x="60" y="22"/>
                  </a:lnTo>
                  <a:lnTo>
                    <a:pt x="66" y="22"/>
                  </a:lnTo>
                  <a:lnTo>
                    <a:pt x="72" y="20"/>
                  </a:lnTo>
                  <a:lnTo>
                    <a:pt x="72" y="24"/>
                  </a:lnTo>
                  <a:lnTo>
                    <a:pt x="78" y="28"/>
                  </a:lnTo>
                  <a:lnTo>
                    <a:pt x="80" y="34"/>
                  </a:lnTo>
                  <a:lnTo>
                    <a:pt x="84" y="36"/>
                  </a:lnTo>
                  <a:lnTo>
                    <a:pt x="90" y="36"/>
                  </a:lnTo>
                  <a:lnTo>
                    <a:pt x="98" y="40"/>
                  </a:lnTo>
                  <a:lnTo>
                    <a:pt x="102" y="40"/>
                  </a:lnTo>
                  <a:lnTo>
                    <a:pt x="102" y="34"/>
                  </a:lnTo>
                  <a:lnTo>
                    <a:pt x="106" y="28"/>
                  </a:lnTo>
                  <a:lnTo>
                    <a:pt x="112" y="26"/>
                  </a:lnTo>
                  <a:lnTo>
                    <a:pt x="118" y="28"/>
                  </a:lnTo>
                  <a:lnTo>
                    <a:pt x="120" y="26"/>
                  </a:lnTo>
                  <a:lnTo>
                    <a:pt x="122" y="24"/>
                  </a:lnTo>
                  <a:lnTo>
                    <a:pt x="118" y="18"/>
                  </a:lnTo>
                  <a:lnTo>
                    <a:pt x="120" y="12"/>
                  </a:lnTo>
                  <a:lnTo>
                    <a:pt x="122" y="6"/>
                  </a:lnTo>
                  <a:lnTo>
                    <a:pt x="124" y="6"/>
                  </a:lnTo>
                  <a:lnTo>
                    <a:pt x="128" y="12"/>
                  </a:lnTo>
                  <a:lnTo>
                    <a:pt x="134" y="14"/>
                  </a:lnTo>
                  <a:lnTo>
                    <a:pt x="136" y="10"/>
                  </a:lnTo>
                  <a:lnTo>
                    <a:pt x="140" y="4"/>
                  </a:lnTo>
                  <a:lnTo>
                    <a:pt x="146" y="0"/>
                  </a:lnTo>
                  <a:lnTo>
                    <a:pt x="148" y="6"/>
                  </a:lnTo>
                  <a:lnTo>
                    <a:pt x="148" y="12"/>
                  </a:lnTo>
                  <a:lnTo>
                    <a:pt x="150" y="18"/>
                  </a:lnTo>
                  <a:lnTo>
                    <a:pt x="150" y="24"/>
                  </a:lnTo>
                  <a:lnTo>
                    <a:pt x="148" y="30"/>
                  </a:lnTo>
                  <a:lnTo>
                    <a:pt x="148" y="34"/>
                  </a:lnTo>
                  <a:lnTo>
                    <a:pt x="148" y="36"/>
                  </a:lnTo>
                  <a:lnTo>
                    <a:pt x="150" y="36"/>
                  </a:lnTo>
                  <a:lnTo>
                    <a:pt x="156" y="38"/>
                  </a:lnTo>
                  <a:lnTo>
                    <a:pt x="162" y="38"/>
                  </a:lnTo>
                  <a:lnTo>
                    <a:pt x="168" y="32"/>
                  </a:lnTo>
                  <a:lnTo>
                    <a:pt x="168" y="26"/>
                  </a:lnTo>
                  <a:lnTo>
                    <a:pt x="174" y="22"/>
                  </a:lnTo>
                  <a:lnTo>
                    <a:pt x="176" y="22"/>
                  </a:lnTo>
                  <a:lnTo>
                    <a:pt x="182" y="20"/>
                  </a:lnTo>
                  <a:lnTo>
                    <a:pt x="184" y="20"/>
                  </a:lnTo>
                  <a:lnTo>
                    <a:pt x="190" y="22"/>
                  </a:lnTo>
                  <a:lnTo>
                    <a:pt x="192" y="28"/>
                  </a:lnTo>
                  <a:lnTo>
                    <a:pt x="198" y="32"/>
                  </a:lnTo>
                  <a:lnTo>
                    <a:pt x="204" y="30"/>
                  </a:lnTo>
                  <a:lnTo>
                    <a:pt x="210" y="32"/>
                  </a:lnTo>
                  <a:lnTo>
                    <a:pt x="214" y="38"/>
                  </a:lnTo>
                  <a:lnTo>
                    <a:pt x="216" y="40"/>
                  </a:lnTo>
                  <a:lnTo>
                    <a:pt x="218" y="42"/>
                  </a:lnTo>
                  <a:lnTo>
                    <a:pt x="222" y="48"/>
                  </a:lnTo>
                  <a:lnTo>
                    <a:pt x="222" y="52"/>
                  </a:lnTo>
                  <a:lnTo>
                    <a:pt x="224" y="58"/>
                  </a:lnTo>
                  <a:lnTo>
                    <a:pt x="230" y="60"/>
                  </a:lnTo>
                  <a:lnTo>
                    <a:pt x="234" y="66"/>
                  </a:lnTo>
                  <a:lnTo>
                    <a:pt x="238" y="72"/>
                  </a:lnTo>
                  <a:lnTo>
                    <a:pt x="246" y="70"/>
                  </a:lnTo>
                  <a:lnTo>
                    <a:pt x="246" y="72"/>
                  </a:lnTo>
                  <a:lnTo>
                    <a:pt x="252" y="76"/>
                  </a:lnTo>
                  <a:lnTo>
                    <a:pt x="258" y="78"/>
                  </a:lnTo>
                  <a:lnTo>
                    <a:pt x="262" y="80"/>
                  </a:lnTo>
                  <a:lnTo>
                    <a:pt x="262" y="78"/>
                  </a:lnTo>
                  <a:lnTo>
                    <a:pt x="264" y="72"/>
                  </a:lnTo>
                  <a:lnTo>
                    <a:pt x="270" y="68"/>
                  </a:lnTo>
                  <a:lnTo>
                    <a:pt x="276" y="64"/>
                  </a:lnTo>
                  <a:lnTo>
                    <a:pt x="282" y="64"/>
                  </a:lnTo>
                  <a:lnTo>
                    <a:pt x="288" y="60"/>
                  </a:lnTo>
                  <a:lnTo>
                    <a:pt x="294" y="58"/>
                  </a:lnTo>
                  <a:lnTo>
                    <a:pt x="300" y="56"/>
                  </a:lnTo>
                  <a:lnTo>
                    <a:pt x="304" y="56"/>
                  </a:lnTo>
                  <a:lnTo>
                    <a:pt x="310" y="56"/>
                  </a:lnTo>
                  <a:lnTo>
                    <a:pt x="316" y="58"/>
                  </a:lnTo>
                  <a:lnTo>
                    <a:pt x="320" y="58"/>
                  </a:lnTo>
                  <a:lnTo>
                    <a:pt x="326" y="62"/>
                  </a:lnTo>
                  <a:lnTo>
                    <a:pt x="332" y="56"/>
                  </a:lnTo>
                  <a:lnTo>
                    <a:pt x="334" y="62"/>
                  </a:lnTo>
                  <a:lnTo>
                    <a:pt x="338" y="68"/>
                  </a:lnTo>
                  <a:lnTo>
                    <a:pt x="344" y="70"/>
                  </a:lnTo>
                  <a:lnTo>
                    <a:pt x="346" y="76"/>
                  </a:lnTo>
                  <a:lnTo>
                    <a:pt x="348" y="82"/>
                  </a:lnTo>
                  <a:lnTo>
                    <a:pt x="352" y="88"/>
                  </a:lnTo>
                  <a:lnTo>
                    <a:pt x="358" y="94"/>
                  </a:lnTo>
                  <a:lnTo>
                    <a:pt x="362" y="88"/>
                  </a:lnTo>
                  <a:lnTo>
                    <a:pt x="362" y="94"/>
                  </a:lnTo>
                  <a:lnTo>
                    <a:pt x="360" y="100"/>
                  </a:lnTo>
                  <a:lnTo>
                    <a:pt x="362" y="106"/>
                  </a:lnTo>
                  <a:lnTo>
                    <a:pt x="358" y="110"/>
                  </a:lnTo>
                  <a:lnTo>
                    <a:pt x="356" y="116"/>
                  </a:lnTo>
                  <a:lnTo>
                    <a:pt x="362" y="120"/>
                  </a:lnTo>
                  <a:lnTo>
                    <a:pt x="364" y="126"/>
                  </a:lnTo>
                  <a:lnTo>
                    <a:pt x="366" y="132"/>
                  </a:lnTo>
                  <a:lnTo>
                    <a:pt x="366" y="136"/>
                  </a:lnTo>
                  <a:lnTo>
                    <a:pt x="368" y="136"/>
                  </a:lnTo>
                  <a:lnTo>
                    <a:pt x="368" y="140"/>
                  </a:lnTo>
                  <a:lnTo>
                    <a:pt x="368" y="146"/>
                  </a:lnTo>
                  <a:lnTo>
                    <a:pt x="370" y="152"/>
                  </a:lnTo>
                  <a:lnTo>
                    <a:pt x="370" y="158"/>
                  </a:lnTo>
                  <a:lnTo>
                    <a:pt x="372" y="164"/>
                  </a:lnTo>
                  <a:lnTo>
                    <a:pt x="372" y="170"/>
                  </a:lnTo>
                  <a:lnTo>
                    <a:pt x="372" y="178"/>
                  </a:lnTo>
                  <a:lnTo>
                    <a:pt x="366" y="182"/>
                  </a:lnTo>
                  <a:lnTo>
                    <a:pt x="366" y="188"/>
                  </a:lnTo>
                  <a:lnTo>
                    <a:pt x="360" y="190"/>
                  </a:lnTo>
                  <a:lnTo>
                    <a:pt x="360" y="192"/>
                  </a:lnTo>
                  <a:lnTo>
                    <a:pt x="358" y="194"/>
                  </a:lnTo>
                  <a:lnTo>
                    <a:pt x="356" y="196"/>
                  </a:lnTo>
                  <a:lnTo>
                    <a:pt x="354" y="202"/>
                  </a:lnTo>
                  <a:lnTo>
                    <a:pt x="350" y="208"/>
                  </a:lnTo>
                  <a:lnTo>
                    <a:pt x="350" y="210"/>
                  </a:lnTo>
                  <a:lnTo>
                    <a:pt x="346" y="218"/>
                  </a:lnTo>
                  <a:lnTo>
                    <a:pt x="346" y="224"/>
                  </a:lnTo>
                  <a:lnTo>
                    <a:pt x="344" y="230"/>
                  </a:lnTo>
                  <a:lnTo>
                    <a:pt x="344" y="236"/>
                  </a:lnTo>
                  <a:lnTo>
                    <a:pt x="344" y="242"/>
                  </a:lnTo>
                  <a:lnTo>
                    <a:pt x="340" y="248"/>
                  </a:lnTo>
                  <a:lnTo>
                    <a:pt x="336" y="256"/>
                  </a:lnTo>
                  <a:lnTo>
                    <a:pt x="334" y="256"/>
                  </a:lnTo>
                  <a:lnTo>
                    <a:pt x="332" y="264"/>
                  </a:lnTo>
                  <a:lnTo>
                    <a:pt x="328" y="270"/>
                  </a:lnTo>
                  <a:lnTo>
                    <a:pt x="328" y="276"/>
                  </a:lnTo>
                  <a:lnTo>
                    <a:pt x="328" y="280"/>
                  </a:lnTo>
                  <a:lnTo>
                    <a:pt x="326" y="286"/>
                  </a:lnTo>
                  <a:lnTo>
                    <a:pt x="328" y="294"/>
                  </a:lnTo>
                  <a:lnTo>
                    <a:pt x="328" y="298"/>
                  </a:lnTo>
                  <a:lnTo>
                    <a:pt x="330" y="304"/>
                  </a:lnTo>
                  <a:lnTo>
                    <a:pt x="330" y="310"/>
                  </a:lnTo>
                  <a:lnTo>
                    <a:pt x="334" y="316"/>
                  </a:lnTo>
                  <a:lnTo>
                    <a:pt x="336" y="322"/>
                  </a:lnTo>
                  <a:lnTo>
                    <a:pt x="336" y="328"/>
                  </a:lnTo>
                  <a:lnTo>
                    <a:pt x="338" y="334"/>
                  </a:lnTo>
                  <a:lnTo>
                    <a:pt x="340" y="342"/>
                  </a:lnTo>
                  <a:lnTo>
                    <a:pt x="344" y="348"/>
                  </a:lnTo>
                  <a:lnTo>
                    <a:pt x="342" y="354"/>
                  </a:lnTo>
                  <a:lnTo>
                    <a:pt x="348" y="354"/>
                  </a:lnTo>
                  <a:lnTo>
                    <a:pt x="356" y="356"/>
                  </a:lnTo>
                  <a:lnTo>
                    <a:pt x="356" y="362"/>
                  </a:lnTo>
                  <a:lnTo>
                    <a:pt x="356" y="368"/>
                  </a:lnTo>
                  <a:lnTo>
                    <a:pt x="358" y="374"/>
                  </a:lnTo>
                  <a:lnTo>
                    <a:pt x="354" y="378"/>
                  </a:lnTo>
                  <a:lnTo>
                    <a:pt x="356" y="384"/>
                  </a:lnTo>
                  <a:lnTo>
                    <a:pt x="356" y="390"/>
                  </a:lnTo>
                  <a:lnTo>
                    <a:pt x="350" y="390"/>
                  </a:lnTo>
                  <a:lnTo>
                    <a:pt x="348" y="390"/>
                  </a:lnTo>
                  <a:lnTo>
                    <a:pt x="346" y="390"/>
                  </a:lnTo>
                  <a:lnTo>
                    <a:pt x="344" y="390"/>
                  </a:lnTo>
                  <a:lnTo>
                    <a:pt x="348" y="384"/>
                  </a:lnTo>
                  <a:lnTo>
                    <a:pt x="342" y="390"/>
                  </a:lnTo>
                  <a:lnTo>
                    <a:pt x="336" y="388"/>
                  </a:lnTo>
                  <a:lnTo>
                    <a:pt x="330" y="386"/>
                  </a:lnTo>
                  <a:lnTo>
                    <a:pt x="330" y="380"/>
                  </a:lnTo>
                  <a:lnTo>
                    <a:pt x="330" y="374"/>
                  </a:lnTo>
                  <a:lnTo>
                    <a:pt x="326" y="378"/>
                  </a:lnTo>
                  <a:lnTo>
                    <a:pt x="322" y="384"/>
                  </a:lnTo>
                  <a:lnTo>
                    <a:pt x="318" y="390"/>
                  </a:lnTo>
                  <a:lnTo>
                    <a:pt x="314" y="388"/>
                  </a:lnTo>
                  <a:lnTo>
                    <a:pt x="306" y="386"/>
                  </a:lnTo>
                  <a:lnTo>
                    <a:pt x="302" y="386"/>
                  </a:lnTo>
                  <a:lnTo>
                    <a:pt x="296" y="384"/>
                  </a:lnTo>
                  <a:lnTo>
                    <a:pt x="296" y="382"/>
                  </a:lnTo>
                  <a:lnTo>
                    <a:pt x="294" y="384"/>
                  </a:lnTo>
                  <a:lnTo>
                    <a:pt x="288" y="384"/>
                  </a:lnTo>
                  <a:lnTo>
                    <a:pt x="282" y="380"/>
                  </a:lnTo>
                  <a:lnTo>
                    <a:pt x="288" y="378"/>
                  </a:lnTo>
                  <a:lnTo>
                    <a:pt x="294" y="382"/>
                  </a:lnTo>
                  <a:lnTo>
                    <a:pt x="296" y="378"/>
                  </a:lnTo>
                  <a:lnTo>
                    <a:pt x="292" y="374"/>
                  </a:lnTo>
                  <a:lnTo>
                    <a:pt x="292" y="378"/>
                  </a:lnTo>
                  <a:lnTo>
                    <a:pt x="286" y="376"/>
                  </a:lnTo>
                  <a:lnTo>
                    <a:pt x="280" y="376"/>
                  </a:lnTo>
                  <a:lnTo>
                    <a:pt x="282" y="378"/>
                  </a:lnTo>
                  <a:lnTo>
                    <a:pt x="278" y="378"/>
                  </a:lnTo>
                  <a:lnTo>
                    <a:pt x="270" y="376"/>
                  </a:lnTo>
                  <a:lnTo>
                    <a:pt x="266" y="378"/>
                  </a:lnTo>
                  <a:lnTo>
                    <a:pt x="260" y="378"/>
                  </a:lnTo>
                  <a:lnTo>
                    <a:pt x="254" y="378"/>
                  </a:lnTo>
                  <a:lnTo>
                    <a:pt x="248" y="380"/>
                  </a:lnTo>
                  <a:lnTo>
                    <a:pt x="242" y="382"/>
                  </a:lnTo>
                  <a:lnTo>
                    <a:pt x="236" y="378"/>
                  </a:lnTo>
                  <a:lnTo>
                    <a:pt x="230" y="382"/>
                  </a:lnTo>
                  <a:lnTo>
                    <a:pt x="232" y="386"/>
                  </a:lnTo>
                  <a:lnTo>
                    <a:pt x="234" y="386"/>
                  </a:lnTo>
                  <a:lnTo>
                    <a:pt x="240" y="382"/>
                  </a:lnTo>
                  <a:lnTo>
                    <a:pt x="246" y="382"/>
                  </a:lnTo>
                  <a:lnTo>
                    <a:pt x="250" y="382"/>
                  </a:lnTo>
                  <a:lnTo>
                    <a:pt x="258" y="380"/>
                  </a:lnTo>
                  <a:lnTo>
                    <a:pt x="262" y="380"/>
                  </a:lnTo>
                  <a:lnTo>
                    <a:pt x="270" y="378"/>
                  </a:lnTo>
                  <a:lnTo>
                    <a:pt x="276" y="378"/>
                  </a:lnTo>
                  <a:lnTo>
                    <a:pt x="280" y="382"/>
                  </a:lnTo>
                  <a:lnTo>
                    <a:pt x="272" y="382"/>
                  </a:lnTo>
                  <a:lnTo>
                    <a:pt x="266" y="384"/>
                  </a:lnTo>
                  <a:lnTo>
                    <a:pt x="260" y="384"/>
                  </a:lnTo>
                  <a:lnTo>
                    <a:pt x="254" y="384"/>
                  </a:lnTo>
                  <a:lnTo>
                    <a:pt x="250" y="384"/>
                  </a:lnTo>
                  <a:lnTo>
                    <a:pt x="242" y="386"/>
                  </a:lnTo>
                  <a:lnTo>
                    <a:pt x="238" y="386"/>
                  </a:lnTo>
                  <a:lnTo>
                    <a:pt x="232" y="388"/>
                  </a:lnTo>
                  <a:lnTo>
                    <a:pt x="230" y="388"/>
                  </a:lnTo>
                  <a:lnTo>
                    <a:pt x="224" y="388"/>
                  </a:lnTo>
                  <a:lnTo>
                    <a:pt x="218" y="388"/>
                  </a:lnTo>
                  <a:lnTo>
                    <a:pt x="218" y="384"/>
                  </a:lnTo>
                  <a:lnTo>
                    <a:pt x="218" y="382"/>
                  </a:lnTo>
                  <a:lnTo>
                    <a:pt x="214" y="384"/>
                  </a:lnTo>
                  <a:lnTo>
                    <a:pt x="208" y="384"/>
                  </a:lnTo>
                  <a:lnTo>
                    <a:pt x="206" y="384"/>
                  </a:lnTo>
                  <a:lnTo>
                    <a:pt x="202" y="382"/>
                  </a:lnTo>
                  <a:lnTo>
                    <a:pt x="200" y="384"/>
                  </a:lnTo>
                  <a:lnTo>
                    <a:pt x="194" y="388"/>
                  </a:lnTo>
                  <a:lnTo>
                    <a:pt x="200" y="386"/>
                  </a:lnTo>
                  <a:lnTo>
                    <a:pt x="206" y="384"/>
                  </a:lnTo>
                  <a:lnTo>
                    <a:pt x="212" y="386"/>
                  </a:lnTo>
                  <a:lnTo>
                    <a:pt x="218" y="388"/>
                  </a:lnTo>
                  <a:lnTo>
                    <a:pt x="216" y="390"/>
                  </a:lnTo>
                  <a:lnTo>
                    <a:pt x="210" y="390"/>
                  </a:lnTo>
                  <a:lnTo>
                    <a:pt x="204" y="390"/>
                  </a:lnTo>
                  <a:lnTo>
                    <a:pt x="198" y="390"/>
                  </a:lnTo>
                  <a:lnTo>
                    <a:pt x="192" y="390"/>
                  </a:lnTo>
                  <a:lnTo>
                    <a:pt x="190" y="390"/>
                  </a:lnTo>
                  <a:lnTo>
                    <a:pt x="184" y="392"/>
                  </a:lnTo>
                  <a:lnTo>
                    <a:pt x="178" y="394"/>
                  </a:lnTo>
                  <a:lnTo>
                    <a:pt x="172" y="394"/>
                  </a:lnTo>
                  <a:lnTo>
                    <a:pt x="166" y="396"/>
                  </a:lnTo>
                  <a:lnTo>
                    <a:pt x="160" y="398"/>
                  </a:lnTo>
                  <a:lnTo>
                    <a:pt x="154" y="400"/>
                  </a:lnTo>
                  <a:lnTo>
                    <a:pt x="152" y="400"/>
                  </a:lnTo>
                  <a:lnTo>
                    <a:pt x="148" y="404"/>
                  </a:lnTo>
                  <a:lnTo>
                    <a:pt x="142" y="406"/>
                  </a:lnTo>
                  <a:lnTo>
                    <a:pt x="136" y="408"/>
                  </a:lnTo>
                  <a:lnTo>
                    <a:pt x="132" y="412"/>
                  </a:lnTo>
                  <a:lnTo>
                    <a:pt x="126" y="414"/>
                  </a:lnTo>
                  <a:lnTo>
                    <a:pt x="118" y="416"/>
                  </a:lnTo>
                  <a:lnTo>
                    <a:pt x="114" y="420"/>
                  </a:lnTo>
                  <a:lnTo>
                    <a:pt x="108" y="420"/>
                  </a:lnTo>
                  <a:lnTo>
                    <a:pt x="102" y="422"/>
                  </a:lnTo>
                  <a:lnTo>
                    <a:pt x="96" y="428"/>
                  </a:lnTo>
                  <a:lnTo>
                    <a:pt x="90" y="430"/>
                  </a:lnTo>
                  <a:lnTo>
                    <a:pt x="84" y="432"/>
                  </a:lnTo>
                  <a:lnTo>
                    <a:pt x="80" y="434"/>
                  </a:lnTo>
                  <a:lnTo>
                    <a:pt x="76" y="438"/>
                  </a:lnTo>
                  <a:lnTo>
                    <a:pt x="70" y="442"/>
                  </a:lnTo>
                  <a:lnTo>
                    <a:pt x="64" y="442"/>
                  </a:lnTo>
                  <a:lnTo>
                    <a:pt x="62" y="438"/>
                  </a:lnTo>
                  <a:lnTo>
                    <a:pt x="62" y="434"/>
                  </a:lnTo>
                  <a:lnTo>
                    <a:pt x="62" y="428"/>
                  </a:lnTo>
                  <a:lnTo>
                    <a:pt x="62" y="422"/>
                  </a:lnTo>
                  <a:lnTo>
                    <a:pt x="62" y="416"/>
                  </a:lnTo>
                  <a:lnTo>
                    <a:pt x="60" y="410"/>
                  </a:lnTo>
                  <a:lnTo>
                    <a:pt x="60" y="408"/>
                  </a:lnTo>
                  <a:lnTo>
                    <a:pt x="64" y="402"/>
                  </a:lnTo>
                  <a:lnTo>
                    <a:pt x="62" y="396"/>
                  </a:lnTo>
                  <a:lnTo>
                    <a:pt x="66" y="390"/>
                  </a:lnTo>
                  <a:lnTo>
                    <a:pt x="68" y="384"/>
                  </a:lnTo>
                  <a:lnTo>
                    <a:pt x="68" y="378"/>
                  </a:lnTo>
                  <a:lnTo>
                    <a:pt x="72" y="380"/>
                  </a:lnTo>
                  <a:lnTo>
                    <a:pt x="72" y="378"/>
                  </a:lnTo>
                  <a:lnTo>
                    <a:pt x="72" y="372"/>
                  </a:lnTo>
                  <a:lnTo>
                    <a:pt x="72" y="366"/>
                  </a:lnTo>
                  <a:lnTo>
                    <a:pt x="72" y="360"/>
                  </a:lnTo>
                  <a:lnTo>
                    <a:pt x="72" y="354"/>
                  </a:lnTo>
                  <a:lnTo>
                    <a:pt x="70" y="348"/>
                  </a:lnTo>
                  <a:lnTo>
                    <a:pt x="68" y="342"/>
                  </a:lnTo>
                  <a:lnTo>
                    <a:pt x="62" y="336"/>
                  </a:lnTo>
                  <a:lnTo>
                    <a:pt x="56" y="332"/>
                  </a:lnTo>
                  <a:lnTo>
                    <a:pt x="50" y="332"/>
                  </a:lnTo>
                  <a:lnTo>
                    <a:pt x="50" y="326"/>
                  </a:lnTo>
                  <a:lnTo>
                    <a:pt x="44" y="320"/>
                  </a:lnTo>
                  <a:lnTo>
                    <a:pt x="46" y="314"/>
                  </a:lnTo>
                  <a:lnTo>
                    <a:pt x="40" y="310"/>
                  </a:lnTo>
                  <a:lnTo>
                    <a:pt x="34" y="306"/>
                  </a:lnTo>
                  <a:lnTo>
                    <a:pt x="28" y="310"/>
                  </a:lnTo>
                  <a:lnTo>
                    <a:pt x="22" y="308"/>
                  </a:lnTo>
                  <a:lnTo>
                    <a:pt x="16" y="304"/>
                  </a:lnTo>
                  <a:lnTo>
                    <a:pt x="10" y="304"/>
                  </a:lnTo>
                  <a:lnTo>
                    <a:pt x="12" y="298"/>
                  </a:lnTo>
                  <a:lnTo>
                    <a:pt x="6" y="298"/>
                  </a:lnTo>
                  <a:lnTo>
                    <a:pt x="4" y="296"/>
                  </a:lnTo>
                  <a:lnTo>
                    <a:pt x="0" y="29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5" name="Freeform 202"/>
            <p:cNvSpPr>
              <a:spLocks/>
            </p:cNvSpPr>
            <p:nvPr/>
          </p:nvSpPr>
          <p:spPr bwMode="auto">
            <a:xfrm>
              <a:off x="4030663" y="3189288"/>
              <a:ext cx="496887" cy="515937"/>
            </a:xfrm>
            <a:custGeom>
              <a:avLst/>
              <a:gdLst>
                <a:gd name="T0" fmla="*/ 2147483647 w 1222"/>
                <a:gd name="T1" fmla="*/ 2147483647 h 1254"/>
                <a:gd name="T2" fmla="*/ 2147483647 w 1222"/>
                <a:gd name="T3" fmla="*/ 2147483647 h 1254"/>
                <a:gd name="T4" fmla="*/ 2147483647 w 1222"/>
                <a:gd name="T5" fmla="*/ 2147483647 h 1254"/>
                <a:gd name="T6" fmla="*/ 2147483647 w 1222"/>
                <a:gd name="T7" fmla="*/ 2147483647 h 1254"/>
                <a:gd name="T8" fmla="*/ 2147483647 w 1222"/>
                <a:gd name="T9" fmla="*/ 2147483647 h 1254"/>
                <a:gd name="T10" fmla="*/ 2147483647 w 1222"/>
                <a:gd name="T11" fmla="*/ 2147483647 h 1254"/>
                <a:gd name="T12" fmla="*/ 2147483647 w 1222"/>
                <a:gd name="T13" fmla="*/ 2147483647 h 1254"/>
                <a:gd name="T14" fmla="*/ 2147483647 w 1222"/>
                <a:gd name="T15" fmla="*/ 2147483647 h 1254"/>
                <a:gd name="T16" fmla="*/ 2147483647 w 1222"/>
                <a:gd name="T17" fmla="*/ 2147483647 h 1254"/>
                <a:gd name="T18" fmla="*/ 2147483647 w 1222"/>
                <a:gd name="T19" fmla="*/ 2147483647 h 1254"/>
                <a:gd name="T20" fmla="*/ 2147483647 w 1222"/>
                <a:gd name="T21" fmla="*/ 2147483647 h 1254"/>
                <a:gd name="T22" fmla="*/ 2147483647 w 1222"/>
                <a:gd name="T23" fmla="*/ 2147483647 h 1254"/>
                <a:gd name="T24" fmla="*/ 2147483647 w 1222"/>
                <a:gd name="T25" fmla="*/ 2147483647 h 1254"/>
                <a:gd name="T26" fmla="*/ 2147483647 w 1222"/>
                <a:gd name="T27" fmla="*/ 2147483647 h 1254"/>
                <a:gd name="T28" fmla="*/ 2147483647 w 1222"/>
                <a:gd name="T29" fmla="*/ 2147483647 h 1254"/>
                <a:gd name="T30" fmla="*/ 2147483647 w 1222"/>
                <a:gd name="T31" fmla="*/ 2147483647 h 1254"/>
                <a:gd name="T32" fmla="*/ 2147483647 w 1222"/>
                <a:gd name="T33" fmla="*/ 2147483647 h 1254"/>
                <a:gd name="T34" fmla="*/ 2147483647 w 1222"/>
                <a:gd name="T35" fmla="*/ 2147483647 h 1254"/>
                <a:gd name="T36" fmla="*/ 2147483647 w 1222"/>
                <a:gd name="T37" fmla="*/ 2147483647 h 1254"/>
                <a:gd name="T38" fmla="*/ 2147483647 w 1222"/>
                <a:gd name="T39" fmla="*/ 2147483647 h 1254"/>
                <a:gd name="T40" fmla="*/ 2147483647 w 1222"/>
                <a:gd name="T41" fmla="*/ 2147483647 h 1254"/>
                <a:gd name="T42" fmla="*/ 2147483647 w 1222"/>
                <a:gd name="T43" fmla="*/ 2147483647 h 1254"/>
                <a:gd name="T44" fmla="*/ 2147483647 w 1222"/>
                <a:gd name="T45" fmla="*/ 2147483647 h 1254"/>
                <a:gd name="T46" fmla="*/ 2147483647 w 1222"/>
                <a:gd name="T47" fmla="*/ 2147483647 h 1254"/>
                <a:gd name="T48" fmla="*/ 2147483647 w 1222"/>
                <a:gd name="T49" fmla="*/ 2147483647 h 1254"/>
                <a:gd name="T50" fmla="*/ 2147483647 w 1222"/>
                <a:gd name="T51" fmla="*/ 2147483647 h 1254"/>
                <a:gd name="T52" fmla="*/ 2147483647 w 1222"/>
                <a:gd name="T53" fmla="*/ 2147483647 h 1254"/>
                <a:gd name="T54" fmla="*/ 2147483647 w 1222"/>
                <a:gd name="T55" fmla="*/ 2147483647 h 1254"/>
                <a:gd name="T56" fmla="*/ 2147483647 w 1222"/>
                <a:gd name="T57" fmla="*/ 2147483647 h 1254"/>
                <a:gd name="T58" fmla="*/ 2147483647 w 1222"/>
                <a:gd name="T59" fmla="*/ 2147483647 h 1254"/>
                <a:gd name="T60" fmla="*/ 2147483647 w 1222"/>
                <a:gd name="T61" fmla="*/ 2147483647 h 1254"/>
                <a:gd name="T62" fmla="*/ 2147483647 w 1222"/>
                <a:gd name="T63" fmla="*/ 2147483647 h 1254"/>
                <a:gd name="T64" fmla="*/ 2147483647 w 1222"/>
                <a:gd name="T65" fmla="*/ 2147483647 h 1254"/>
                <a:gd name="T66" fmla="*/ 2147483647 w 1222"/>
                <a:gd name="T67" fmla="*/ 2147483647 h 1254"/>
                <a:gd name="T68" fmla="*/ 2147483647 w 1222"/>
                <a:gd name="T69" fmla="*/ 2147483647 h 1254"/>
                <a:gd name="T70" fmla="*/ 2147483647 w 1222"/>
                <a:gd name="T71" fmla="*/ 2147483647 h 1254"/>
                <a:gd name="T72" fmla="*/ 2147483647 w 1222"/>
                <a:gd name="T73" fmla="*/ 2147483647 h 1254"/>
                <a:gd name="T74" fmla="*/ 2147483647 w 1222"/>
                <a:gd name="T75" fmla="*/ 2147483647 h 1254"/>
                <a:gd name="T76" fmla="*/ 2147483647 w 1222"/>
                <a:gd name="T77" fmla="*/ 2147483647 h 1254"/>
                <a:gd name="T78" fmla="*/ 2147483647 w 1222"/>
                <a:gd name="T79" fmla="*/ 2147483647 h 1254"/>
                <a:gd name="T80" fmla="*/ 2147483647 w 1222"/>
                <a:gd name="T81" fmla="*/ 2147483647 h 1254"/>
                <a:gd name="T82" fmla="*/ 2147483647 w 1222"/>
                <a:gd name="T83" fmla="*/ 2147483647 h 1254"/>
                <a:gd name="T84" fmla="*/ 2147483647 w 1222"/>
                <a:gd name="T85" fmla="*/ 2147483647 h 1254"/>
                <a:gd name="T86" fmla="*/ 2147483647 w 1222"/>
                <a:gd name="T87" fmla="*/ 2147483647 h 1254"/>
                <a:gd name="T88" fmla="*/ 2147483647 w 1222"/>
                <a:gd name="T89" fmla="*/ 2147483647 h 1254"/>
                <a:gd name="T90" fmla="*/ 2147483647 w 1222"/>
                <a:gd name="T91" fmla="*/ 2147483647 h 1254"/>
                <a:gd name="T92" fmla="*/ 2147483647 w 1222"/>
                <a:gd name="T93" fmla="*/ 2147483647 h 1254"/>
                <a:gd name="T94" fmla="*/ 2147483647 w 1222"/>
                <a:gd name="T95" fmla="*/ 2147483647 h 1254"/>
                <a:gd name="T96" fmla="*/ 2147483647 w 1222"/>
                <a:gd name="T97" fmla="*/ 2147483647 h 1254"/>
                <a:gd name="T98" fmla="*/ 2147483647 w 1222"/>
                <a:gd name="T99" fmla="*/ 2147483647 h 1254"/>
                <a:gd name="T100" fmla="*/ 2147483647 w 1222"/>
                <a:gd name="T101" fmla="*/ 2147483647 h 1254"/>
                <a:gd name="T102" fmla="*/ 2147483647 w 1222"/>
                <a:gd name="T103" fmla="*/ 2147483647 h 1254"/>
                <a:gd name="T104" fmla="*/ 2147483647 w 1222"/>
                <a:gd name="T105" fmla="*/ 2147483647 h 1254"/>
                <a:gd name="T106" fmla="*/ 2147483647 w 1222"/>
                <a:gd name="T107" fmla="*/ 2147483647 h 1254"/>
                <a:gd name="T108" fmla="*/ 2147483647 w 1222"/>
                <a:gd name="T109" fmla="*/ 2147483647 h 1254"/>
                <a:gd name="T110" fmla="*/ 2147483647 w 1222"/>
                <a:gd name="T111" fmla="*/ 2147483647 h 1254"/>
                <a:gd name="T112" fmla="*/ 2147483647 w 1222"/>
                <a:gd name="T113" fmla="*/ 2147483647 h 1254"/>
                <a:gd name="T114" fmla="*/ 2147483647 w 1222"/>
                <a:gd name="T115" fmla="*/ 2147483647 h 1254"/>
                <a:gd name="T116" fmla="*/ 0 w 1222"/>
                <a:gd name="T117" fmla="*/ 2147483647 h 125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22"/>
                <a:gd name="T178" fmla="*/ 0 h 1254"/>
                <a:gd name="T179" fmla="*/ 1222 w 1222"/>
                <a:gd name="T180" fmla="*/ 1254 h 125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22" h="1254">
                  <a:moveTo>
                    <a:pt x="0" y="678"/>
                  </a:moveTo>
                  <a:lnTo>
                    <a:pt x="0" y="672"/>
                  </a:lnTo>
                  <a:lnTo>
                    <a:pt x="0" y="664"/>
                  </a:lnTo>
                  <a:lnTo>
                    <a:pt x="0" y="658"/>
                  </a:lnTo>
                  <a:lnTo>
                    <a:pt x="0" y="654"/>
                  </a:lnTo>
                  <a:lnTo>
                    <a:pt x="0" y="652"/>
                  </a:lnTo>
                  <a:lnTo>
                    <a:pt x="2" y="646"/>
                  </a:lnTo>
                  <a:lnTo>
                    <a:pt x="2" y="640"/>
                  </a:lnTo>
                  <a:lnTo>
                    <a:pt x="2" y="632"/>
                  </a:lnTo>
                  <a:lnTo>
                    <a:pt x="2" y="626"/>
                  </a:lnTo>
                  <a:lnTo>
                    <a:pt x="2" y="618"/>
                  </a:lnTo>
                  <a:lnTo>
                    <a:pt x="2" y="612"/>
                  </a:lnTo>
                  <a:lnTo>
                    <a:pt x="4" y="604"/>
                  </a:lnTo>
                  <a:lnTo>
                    <a:pt x="4" y="598"/>
                  </a:lnTo>
                  <a:lnTo>
                    <a:pt x="4" y="590"/>
                  </a:lnTo>
                  <a:lnTo>
                    <a:pt x="4" y="586"/>
                  </a:lnTo>
                  <a:lnTo>
                    <a:pt x="4" y="580"/>
                  </a:lnTo>
                  <a:lnTo>
                    <a:pt x="8" y="578"/>
                  </a:lnTo>
                  <a:lnTo>
                    <a:pt x="14" y="574"/>
                  </a:lnTo>
                  <a:lnTo>
                    <a:pt x="20" y="570"/>
                  </a:lnTo>
                  <a:lnTo>
                    <a:pt x="26" y="564"/>
                  </a:lnTo>
                  <a:lnTo>
                    <a:pt x="32" y="558"/>
                  </a:lnTo>
                  <a:lnTo>
                    <a:pt x="38" y="556"/>
                  </a:lnTo>
                  <a:lnTo>
                    <a:pt x="44" y="554"/>
                  </a:lnTo>
                  <a:lnTo>
                    <a:pt x="50" y="548"/>
                  </a:lnTo>
                  <a:lnTo>
                    <a:pt x="56" y="544"/>
                  </a:lnTo>
                  <a:lnTo>
                    <a:pt x="58" y="540"/>
                  </a:lnTo>
                  <a:lnTo>
                    <a:pt x="64" y="536"/>
                  </a:lnTo>
                  <a:lnTo>
                    <a:pt x="70" y="534"/>
                  </a:lnTo>
                  <a:lnTo>
                    <a:pt x="76" y="534"/>
                  </a:lnTo>
                  <a:lnTo>
                    <a:pt x="82" y="530"/>
                  </a:lnTo>
                  <a:lnTo>
                    <a:pt x="86" y="524"/>
                  </a:lnTo>
                  <a:lnTo>
                    <a:pt x="92" y="520"/>
                  </a:lnTo>
                  <a:lnTo>
                    <a:pt x="98" y="516"/>
                  </a:lnTo>
                  <a:lnTo>
                    <a:pt x="104" y="518"/>
                  </a:lnTo>
                  <a:lnTo>
                    <a:pt x="110" y="518"/>
                  </a:lnTo>
                  <a:lnTo>
                    <a:pt x="116" y="518"/>
                  </a:lnTo>
                  <a:lnTo>
                    <a:pt x="122" y="520"/>
                  </a:lnTo>
                  <a:lnTo>
                    <a:pt x="128" y="520"/>
                  </a:lnTo>
                  <a:lnTo>
                    <a:pt x="134" y="516"/>
                  </a:lnTo>
                  <a:lnTo>
                    <a:pt x="136" y="510"/>
                  </a:lnTo>
                  <a:lnTo>
                    <a:pt x="140" y="504"/>
                  </a:lnTo>
                  <a:lnTo>
                    <a:pt x="144" y="504"/>
                  </a:lnTo>
                  <a:lnTo>
                    <a:pt x="150" y="504"/>
                  </a:lnTo>
                  <a:lnTo>
                    <a:pt x="156" y="502"/>
                  </a:lnTo>
                  <a:lnTo>
                    <a:pt x="162" y="502"/>
                  </a:lnTo>
                  <a:lnTo>
                    <a:pt x="164" y="504"/>
                  </a:lnTo>
                  <a:lnTo>
                    <a:pt x="170" y="502"/>
                  </a:lnTo>
                  <a:lnTo>
                    <a:pt x="176" y="500"/>
                  </a:lnTo>
                  <a:lnTo>
                    <a:pt x="182" y="500"/>
                  </a:lnTo>
                  <a:lnTo>
                    <a:pt x="188" y="498"/>
                  </a:lnTo>
                  <a:lnTo>
                    <a:pt x="194" y="496"/>
                  </a:lnTo>
                  <a:lnTo>
                    <a:pt x="200" y="492"/>
                  </a:lnTo>
                  <a:lnTo>
                    <a:pt x="202" y="492"/>
                  </a:lnTo>
                  <a:lnTo>
                    <a:pt x="208" y="486"/>
                  </a:lnTo>
                  <a:lnTo>
                    <a:pt x="214" y="480"/>
                  </a:lnTo>
                  <a:lnTo>
                    <a:pt x="216" y="478"/>
                  </a:lnTo>
                  <a:lnTo>
                    <a:pt x="220" y="474"/>
                  </a:lnTo>
                  <a:lnTo>
                    <a:pt x="222" y="466"/>
                  </a:lnTo>
                  <a:lnTo>
                    <a:pt x="224" y="462"/>
                  </a:lnTo>
                  <a:lnTo>
                    <a:pt x="228" y="456"/>
                  </a:lnTo>
                  <a:lnTo>
                    <a:pt x="234" y="454"/>
                  </a:lnTo>
                  <a:lnTo>
                    <a:pt x="240" y="452"/>
                  </a:lnTo>
                  <a:lnTo>
                    <a:pt x="246" y="450"/>
                  </a:lnTo>
                  <a:lnTo>
                    <a:pt x="254" y="448"/>
                  </a:lnTo>
                  <a:lnTo>
                    <a:pt x="258" y="448"/>
                  </a:lnTo>
                  <a:lnTo>
                    <a:pt x="264" y="444"/>
                  </a:lnTo>
                  <a:lnTo>
                    <a:pt x="270" y="440"/>
                  </a:lnTo>
                  <a:lnTo>
                    <a:pt x="272" y="440"/>
                  </a:lnTo>
                  <a:lnTo>
                    <a:pt x="274" y="438"/>
                  </a:lnTo>
                  <a:lnTo>
                    <a:pt x="280" y="432"/>
                  </a:lnTo>
                  <a:lnTo>
                    <a:pt x="286" y="428"/>
                  </a:lnTo>
                  <a:lnTo>
                    <a:pt x="292" y="426"/>
                  </a:lnTo>
                  <a:lnTo>
                    <a:pt x="298" y="426"/>
                  </a:lnTo>
                  <a:lnTo>
                    <a:pt x="304" y="426"/>
                  </a:lnTo>
                  <a:lnTo>
                    <a:pt x="308" y="420"/>
                  </a:lnTo>
                  <a:lnTo>
                    <a:pt x="304" y="414"/>
                  </a:lnTo>
                  <a:lnTo>
                    <a:pt x="298" y="410"/>
                  </a:lnTo>
                  <a:lnTo>
                    <a:pt x="298" y="406"/>
                  </a:lnTo>
                  <a:lnTo>
                    <a:pt x="298" y="400"/>
                  </a:lnTo>
                  <a:lnTo>
                    <a:pt x="302" y="394"/>
                  </a:lnTo>
                  <a:lnTo>
                    <a:pt x="296" y="390"/>
                  </a:lnTo>
                  <a:lnTo>
                    <a:pt x="296" y="384"/>
                  </a:lnTo>
                  <a:lnTo>
                    <a:pt x="296" y="378"/>
                  </a:lnTo>
                  <a:lnTo>
                    <a:pt x="302" y="372"/>
                  </a:lnTo>
                  <a:lnTo>
                    <a:pt x="308" y="374"/>
                  </a:lnTo>
                  <a:lnTo>
                    <a:pt x="314" y="376"/>
                  </a:lnTo>
                  <a:lnTo>
                    <a:pt x="320" y="374"/>
                  </a:lnTo>
                  <a:lnTo>
                    <a:pt x="326" y="372"/>
                  </a:lnTo>
                  <a:lnTo>
                    <a:pt x="332" y="370"/>
                  </a:lnTo>
                  <a:lnTo>
                    <a:pt x="338" y="368"/>
                  </a:lnTo>
                  <a:lnTo>
                    <a:pt x="340" y="366"/>
                  </a:lnTo>
                  <a:lnTo>
                    <a:pt x="346" y="364"/>
                  </a:lnTo>
                  <a:lnTo>
                    <a:pt x="350" y="358"/>
                  </a:lnTo>
                  <a:lnTo>
                    <a:pt x="350" y="352"/>
                  </a:lnTo>
                  <a:lnTo>
                    <a:pt x="356" y="346"/>
                  </a:lnTo>
                  <a:lnTo>
                    <a:pt x="362" y="346"/>
                  </a:lnTo>
                  <a:lnTo>
                    <a:pt x="368" y="346"/>
                  </a:lnTo>
                  <a:lnTo>
                    <a:pt x="374" y="344"/>
                  </a:lnTo>
                  <a:lnTo>
                    <a:pt x="380" y="342"/>
                  </a:lnTo>
                  <a:lnTo>
                    <a:pt x="384" y="342"/>
                  </a:lnTo>
                  <a:lnTo>
                    <a:pt x="392" y="342"/>
                  </a:lnTo>
                  <a:lnTo>
                    <a:pt x="398" y="342"/>
                  </a:lnTo>
                  <a:lnTo>
                    <a:pt x="402" y="344"/>
                  </a:lnTo>
                  <a:lnTo>
                    <a:pt x="408" y="344"/>
                  </a:lnTo>
                  <a:lnTo>
                    <a:pt x="414" y="344"/>
                  </a:lnTo>
                  <a:lnTo>
                    <a:pt x="420" y="344"/>
                  </a:lnTo>
                  <a:lnTo>
                    <a:pt x="426" y="346"/>
                  </a:lnTo>
                  <a:lnTo>
                    <a:pt x="432" y="346"/>
                  </a:lnTo>
                  <a:lnTo>
                    <a:pt x="438" y="346"/>
                  </a:lnTo>
                  <a:lnTo>
                    <a:pt x="440" y="346"/>
                  </a:lnTo>
                  <a:lnTo>
                    <a:pt x="446" y="346"/>
                  </a:lnTo>
                  <a:lnTo>
                    <a:pt x="452" y="346"/>
                  </a:lnTo>
                  <a:lnTo>
                    <a:pt x="446" y="342"/>
                  </a:lnTo>
                  <a:lnTo>
                    <a:pt x="448" y="338"/>
                  </a:lnTo>
                  <a:lnTo>
                    <a:pt x="448" y="330"/>
                  </a:lnTo>
                  <a:lnTo>
                    <a:pt x="452" y="326"/>
                  </a:lnTo>
                  <a:lnTo>
                    <a:pt x="458" y="322"/>
                  </a:lnTo>
                  <a:lnTo>
                    <a:pt x="462" y="318"/>
                  </a:lnTo>
                  <a:lnTo>
                    <a:pt x="456" y="312"/>
                  </a:lnTo>
                  <a:lnTo>
                    <a:pt x="450" y="308"/>
                  </a:lnTo>
                  <a:lnTo>
                    <a:pt x="444" y="304"/>
                  </a:lnTo>
                  <a:lnTo>
                    <a:pt x="440" y="298"/>
                  </a:lnTo>
                  <a:lnTo>
                    <a:pt x="436" y="290"/>
                  </a:lnTo>
                  <a:lnTo>
                    <a:pt x="436" y="284"/>
                  </a:lnTo>
                  <a:lnTo>
                    <a:pt x="436" y="278"/>
                  </a:lnTo>
                  <a:lnTo>
                    <a:pt x="432" y="272"/>
                  </a:lnTo>
                  <a:lnTo>
                    <a:pt x="428" y="266"/>
                  </a:lnTo>
                  <a:lnTo>
                    <a:pt x="428" y="262"/>
                  </a:lnTo>
                  <a:lnTo>
                    <a:pt x="428" y="254"/>
                  </a:lnTo>
                  <a:lnTo>
                    <a:pt x="432" y="250"/>
                  </a:lnTo>
                  <a:lnTo>
                    <a:pt x="432" y="244"/>
                  </a:lnTo>
                  <a:lnTo>
                    <a:pt x="428" y="238"/>
                  </a:lnTo>
                  <a:lnTo>
                    <a:pt x="424" y="236"/>
                  </a:lnTo>
                  <a:lnTo>
                    <a:pt x="428" y="228"/>
                  </a:lnTo>
                  <a:lnTo>
                    <a:pt x="426" y="224"/>
                  </a:lnTo>
                  <a:lnTo>
                    <a:pt x="428" y="216"/>
                  </a:lnTo>
                  <a:lnTo>
                    <a:pt x="430" y="212"/>
                  </a:lnTo>
                  <a:lnTo>
                    <a:pt x="430" y="208"/>
                  </a:lnTo>
                  <a:lnTo>
                    <a:pt x="428" y="200"/>
                  </a:lnTo>
                  <a:lnTo>
                    <a:pt x="426" y="194"/>
                  </a:lnTo>
                  <a:lnTo>
                    <a:pt x="424" y="188"/>
                  </a:lnTo>
                  <a:lnTo>
                    <a:pt x="428" y="182"/>
                  </a:lnTo>
                  <a:lnTo>
                    <a:pt x="430" y="180"/>
                  </a:lnTo>
                  <a:lnTo>
                    <a:pt x="424" y="176"/>
                  </a:lnTo>
                  <a:lnTo>
                    <a:pt x="422" y="170"/>
                  </a:lnTo>
                  <a:lnTo>
                    <a:pt x="424" y="164"/>
                  </a:lnTo>
                  <a:lnTo>
                    <a:pt x="422" y="160"/>
                  </a:lnTo>
                  <a:lnTo>
                    <a:pt x="414" y="154"/>
                  </a:lnTo>
                  <a:lnTo>
                    <a:pt x="410" y="150"/>
                  </a:lnTo>
                  <a:lnTo>
                    <a:pt x="404" y="146"/>
                  </a:lnTo>
                  <a:lnTo>
                    <a:pt x="400" y="140"/>
                  </a:lnTo>
                  <a:lnTo>
                    <a:pt x="402" y="140"/>
                  </a:lnTo>
                  <a:lnTo>
                    <a:pt x="402" y="138"/>
                  </a:lnTo>
                  <a:lnTo>
                    <a:pt x="408" y="140"/>
                  </a:lnTo>
                  <a:lnTo>
                    <a:pt x="414" y="140"/>
                  </a:lnTo>
                  <a:lnTo>
                    <a:pt x="420" y="138"/>
                  </a:lnTo>
                  <a:lnTo>
                    <a:pt x="426" y="136"/>
                  </a:lnTo>
                  <a:lnTo>
                    <a:pt x="432" y="132"/>
                  </a:lnTo>
                  <a:lnTo>
                    <a:pt x="438" y="128"/>
                  </a:lnTo>
                  <a:lnTo>
                    <a:pt x="444" y="124"/>
                  </a:lnTo>
                  <a:lnTo>
                    <a:pt x="450" y="122"/>
                  </a:lnTo>
                  <a:lnTo>
                    <a:pt x="454" y="120"/>
                  </a:lnTo>
                  <a:lnTo>
                    <a:pt x="456" y="114"/>
                  </a:lnTo>
                  <a:lnTo>
                    <a:pt x="460" y="108"/>
                  </a:lnTo>
                  <a:lnTo>
                    <a:pt x="466" y="102"/>
                  </a:lnTo>
                  <a:lnTo>
                    <a:pt x="472" y="98"/>
                  </a:lnTo>
                  <a:lnTo>
                    <a:pt x="478" y="96"/>
                  </a:lnTo>
                  <a:lnTo>
                    <a:pt x="484" y="92"/>
                  </a:lnTo>
                  <a:lnTo>
                    <a:pt x="490" y="96"/>
                  </a:lnTo>
                  <a:lnTo>
                    <a:pt x="496" y="94"/>
                  </a:lnTo>
                  <a:lnTo>
                    <a:pt x="502" y="88"/>
                  </a:lnTo>
                  <a:lnTo>
                    <a:pt x="508" y="84"/>
                  </a:lnTo>
                  <a:lnTo>
                    <a:pt x="512" y="88"/>
                  </a:lnTo>
                  <a:lnTo>
                    <a:pt x="516" y="90"/>
                  </a:lnTo>
                  <a:lnTo>
                    <a:pt x="524" y="92"/>
                  </a:lnTo>
                  <a:lnTo>
                    <a:pt x="524" y="90"/>
                  </a:lnTo>
                  <a:lnTo>
                    <a:pt x="530" y="88"/>
                  </a:lnTo>
                  <a:lnTo>
                    <a:pt x="534" y="82"/>
                  </a:lnTo>
                  <a:lnTo>
                    <a:pt x="536" y="80"/>
                  </a:lnTo>
                  <a:lnTo>
                    <a:pt x="538" y="74"/>
                  </a:lnTo>
                  <a:lnTo>
                    <a:pt x="538" y="72"/>
                  </a:lnTo>
                  <a:lnTo>
                    <a:pt x="544" y="68"/>
                  </a:lnTo>
                  <a:lnTo>
                    <a:pt x="550" y="64"/>
                  </a:lnTo>
                  <a:lnTo>
                    <a:pt x="556" y="60"/>
                  </a:lnTo>
                  <a:lnTo>
                    <a:pt x="562" y="58"/>
                  </a:lnTo>
                  <a:lnTo>
                    <a:pt x="568" y="54"/>
                  </a:lnTo>
                  <a:lnTo>
                    <a:pt x="574" y="54"/>
                  </a:lnTo>
                  <a:lnTo>
                    <a:pt x="576" y="52"/>
                  </a:lnTo>
                  <a:lnTo>
                    <a:pt x="582" y="50"/>
                  </a:lnTo>
                  <a:lnTo>
                    <a:pt x="588" y="44"/>
                  </a:lnTo>
                  <a:lnTo>
                    <a:pt x="594" y="42"/>
                  </a:lnTo>
                  <a:lnTo>
                    <a:pt x="600" y="40"/>
                  </a:lnTo>
                  <a:lnTo>
                    <a:pt x="606" y="40"/>
                  </a:lnTo>
                  <a:lnTo>
                    <a:pt x="612" y="40"/>
                  </a:lnTo>
                  <a:lnTo>
                    <a:pt x="618" y="40"/>
                  </a:lnTo>
                  <a:lnTo>
                    <a:pt x="622" y="38"/>
                  </a:lnTo>
                  <a:lnTo>
                    <a:pt x="628" y="38"/>
                  </a:lnTo>
                  <a:lnTo>
                    <a:pt x="632" y="38"/>
                  </a:lnTo>
                  <a:lnTo>
                    <a:pt x="638" y="38"/>
                  </a:lnTo>
                  <a:lnTo>
                    <a:pt x="644" y="38"/>
                  </a:lnTo>
                  <a:lnTo>
                    <a:pt x="650" y="36"/>
                  </a:lnTo>
                  <a:lnTo>
                    <a:pt x="656" y="34"/>
                  </a:lnTo>
                  <a:lnTo>
                    <a:pt x="662" y="34"/>
                  </a:lnTo>
                  <a:lnTo>
                    <a:pt x="668" y="34"/>
                  </a:lnTo>
                  <a:lnTo>
                    <a:pt x="674" y="36"/>
                  </a:lnTo>
                  <a:lnTo>
                    <a:pt x="680" y="36"/>
                  </a:lnTo>
                  <a:lnTo>
                    <a:pt x="686" y="32"/>
                  </a:lnTo>
                  <a:lnTo>
                    <a:pt x="692" y="28"/>
                  </a:lnTo>
                  <a:lnTo>
                    <a:pt x="698" y="22"/>
                  </a:lnTo>
                  <a:lnTo>
                    <a:pt x="702" y="20"/>
                  </a:lnTo>
                  <a:lnTo>
                    <a:pt x="708" y="22"/>
                  </a:lnTo>
                  <a:lnTo>
                    <a:pt x="714" y="26"/>
                  </a:lnTo>
                  <a:lnTo>
                    <a:pt x="716" y="20"/>
                  </a:lnTo>
                  <a:lnTo>
                    <a:pt x="722" y="22"/>
                  </a:lnTo>
                  <a:lnTo>
                    <a:pt x="728" y="22"/>
                  </a:lnTo>
                  <a:lnTo>
                    <a:pt x="734" y="22"/>
                  </a:lnTo>
                  <a:lnTo>
                    <a:pt x="740" y="20"/>
                  </a:lnTo>
                  <a:lnTo>
                    <a:pt x="746" y="16"/>
                  </a:lnTo>
                  <a:lnTo>
                    <a:pt x="752" y="14"/>
                  </a:lnTo>
                  <a:lnTo>
                    <a:pt x="758" y="14"/>
                  </a:lnTo>
                  <a:lnTo>
                    <a:pt x="764" y="14"/>
                  </a:lnTo>
                  <a:lnTo>
                    <a:pt x="766" y="14"/>
                  </a:lnTo>
                  <a:lnTo>
                    <a:pt x="772" y="14"/>
                  </a:lnTo>
                  <a:lnTo>
                    <a:pt x="778" y="14"/>
                  </a:lnTo>
                  <a:lnTo>
                    <a:pt x="784" y="14"/>
                  </a:lnTo>
                  <a:lnTo>
                    <a:pt x="790" y="14"/>
                  </a:lnTo>
                  <a:lnTo>
                    <a:pt x="796" y="14"/>
                  </a:lnTo>
                  <a:lnTo>
                    <a:pt x="800" y="14"/>
                  </a:lnTo>
                  <a:lnTo>
                    <a:pt x="806" y="14"/>
                  </a:lnTo>
                  <a:lnTo>
                    <a:pt x="812" y="18"/>
                  </a:lnTo>
                  <a:lnTo>
                    <a:pt x="818" y="20"/>
                  </a:lnTo>
                  <a:lnTo>
                    <a:pt x="820" y="20"/>
                  </a:lnTo>
                  <a:lnTo>
                    <a:pt x="822" y="26"/>
                  </a:lnTo>
                  <a:lnTo>
                    <a:pt x="826" y="28"/>
                  </a:lnTo>
                  <a:lnTo>
                    <a:pt x="830" y="30"/>
                  </a:lnTo>
                  <a:lnTo>
                    <a:pt x="836" y="32"/>
                  </a:lnTo>
                  <a:lnTo>
                    <a:pt x="842" y="30"/>
                  </a:lnTo>
                  <a:lnTo>
                    <a:pt x="848" y="28"/>
                  </a:lnTo>
                  <a:lnTo>
                    <a:pt x="854" y="22"/>
                  </a:lnTo>
                  <a:lnTo>
                    <a:pt x="860" y="18"/>
                  </a:lnTo>
                  <a:lnTo>
                    <a:pt x="866" y="20"/>
                  </a:lnTo>
                  <a:lnTo>
                    <a:pt x="872" y="18"/>
                  </a:lnTo>
                  <a:lnTo>
                    <a:pt x="878" y="16"/>
                  </a:lnTo>
                  <a:lnTo>
                    <a:pt x="884" y="14"/>
                  </a:lnTo>
                  <a:lnTo>
                    <a:pt x="890" y="12"/>
                  </a:lnTo>
                  <a:lnTo>
                    <a:pt x="890" y="8"/>
                  </a:lnTo>
                  <a:lnTo>
                    <a:pt x="894" y="2"/>
                  </a:lnTo>
                  <a:lnTo>
                    <a:pt x="900" y="0"/>
                  </a:lnTo>
                  <a:lnTo>
                    <a:pt x="906" y="4"/>
                  </a:lnTo>
                  <a:lnTo>
                    <a:pt x="912" y="10"/>
                  </a:lnTo>
                  <a:lnTo>
                    <a:pt x="918" y="10"/>
                  </a:lnTo>
                  <a:lnTo>
                    <a:pt x="924" y="12"/>
                  </a:lnTo>
                  <a:lnTo>
                    <a:pt x="930" y="16"/>
                  </a:lnTo>
                  <a:lnTo>
                    <a:pt x="936" y="14"/>
                  </a:lnTo>
                  <a:lnTo>
                    <a:pt x="940" y="12"/>
                  </a:lnTo>
                  <a:lnTo>
                    <a:pt x="946" y="8"/>
                  </a:lnTo>
                  <a:lnTo>
                    <a:pt x="948" y="2"/>
                  </a:lnTo>
                  <a:lnTo>
                    <a:pt x="954" y="2"/>
                  </a:lnTo>
                  <a:lnTo>
                    <a:pt x="960" y="4"/>
                  </a:lnTo>
                  <a:lnTo>
                    <a:pt x="966" y="8"/>
                  </a:lnTo>
                  <a:lnTo>
                    <a:pt x="972" y="8"/>
                  </a:lnTo>
                  <a:lnTo>
                    <a:pt x="978" y="8"/>
                  </a:lnTo>
                  <a:lnTo>
                    <a:pt x="976" y="14"/>
                  </a:lnTo>
                  <a:lnTo>
                    <a:pt x="978" y="16"/>
                  </a:lnTo>
                  <a:lnTo>
                    <a:pt x="984" y="18"/>
                  </a:lnTo>
                  <a:lnTo>
                    <a:pt x="990" y="16"/>
                  </a:lnTo>
                  <a:lnTo>
                    <a:pt x="996" y="14"/>
                  </a:lnTo>
                  <a:lnTo>
                    <a:pt x="1002" y="10"/>
                  </a:lnTo>
                  <a:lnTo>
                    <a:pt x="1008" y="12"/>
                  </a:lnTo>
                  <a:lnTo>
                    <a:pt x="1014" y="14"/>
                  </a:lnTo>
                  <a:lnTo>
                    <a:pt x="1020" y="12"/>
                  </a:lnTo>
                  <a:lnTo>
                    <a:pt x="1026" y="12"/>
                  </a:lnTo>
                  <a:lnTo>
                    <a:pt x="1024" y="14"/>
                  </a:lnTo>
                  <a:lnTo>
                    <a:pt x="1024" y="20"/>
                  </a:lnTo>
                  <a:lnTo>
                    <a:pt x="1022" y="20"/>
                  </a:lnTo>
                  <a:lnTo>
                    <a:pt x="1016" y="26"/>
                  </a:lnTo>
                  <a:lnTo>
                    <a:pt x="1012" y="32"/>
                  </a:lnTo>
                  <a:lnTo>
                    <a:pt x="1006" y="36"/>
                  </a:lnTo>
                  <a:lnTo>
                    <a:pt x="1000" y="42"/>
                  </a:lnTo>
                  <a:lnTo>
                    <a:pt x="1004" y="42"/>
                  </a:lnTo>
                  <a:lnTo>
                    <a:pt x="1012" y="46"/>
                  </a:lnTo>
                  <a:lnTo>
                    <a:pt x="1012" y="48"/>
                  </a:lnTo>
                  <a:lnTo>
                    <a:pt x="1010" y="52"/>
                  </a:lnTo>
                  <a:lnTo>
                    <a:pt x="1010" y="54"/>
                  </a:lnTo>
                  <a:lnTo>
                    <a:pt x="1008" y="60"/>
                  </a:lnTo>
                  <a:lnTo>
                    <a:pt x="1008" y="66"/>
                  </a:lnTo>
                  <a:lnTo>
                    <a:pt x="1006" y="72"/>
                  </a:lnTo>
                  <a:lnTo>
                    <a:pt x="1006" y="78"/>
                  </a:lnTo>
                  <a:lnTo>
                    <a:pt x="1004" y="84"/>
                  </a:lnTo>
                  <a:lnTo>
                    <a:pt x="1004" y="90"/>
                  </a:lnTo>
                  <a:lnTo>
                    <a:pt x="1008" y="96"/>
                  </a:lnTo>
                  <a:lnTo>
                    <a:pt x="1008" y="102"/>
                  </a:lnTo>
                  <a:lnTo>
                    <a:pt x="1010" y="106"/>
                  </a:lnTo>
                  <a:lnTo>
                    <a:pt x="1010" y="108"/>
                  </a:lnTo>
                  <a:lnTo>
                    <a:pt x="1008" y="112"/>
                  </a:lnTo>
                  <a:lnTo>
                    <a:pt x="1006" y="118"/>
                  </a:lnTo>
                  <a:lnTo>
                    <a:pt x="1008" y="124"/>
                  </a:lnTo>
                  <a:lnTo>
                    <a:pt x="1014" y="126"/>
                  </a:lnTo>
                  <a:lnTo>
                    <a:pt x="1012" y="132"/>
                  </a:lnTo>
                  <a:lnTo>
                    <a:pt x="1012" y="134"/>
                  </a:lnTo>
                  <a:lnTo>
                    <a:pt x="1008" y="140"/>
                  </a:lnTo>
                  <a:lnTo>
                    <a:pt x="1006" y="146"/>
                  </a:lnTo>
                  <a:lnTo>
                    <a:pt x="1004" y="152"/>
                  </a:lnTo>
                  <a:lnTo>
                    <a:pt x="1004" y="156"/>
                  </a:lnTo>
                  <a:lnTo>
                    <a:pt x="1004" y="164"/>
                  </a:lnTo>
                  <a:lnTo>
                    <a:pt x="1002" y="166"/>
                  </a:lnTo>
                  <a:lnTo>
                    <a:pt x="1000" y="172"/>
                  </a:lnTo>
                  <a:lnTo>
                    <a:pt x="994" y="178"/>
                  </a:lnTo>
                  <a:lnTo>
                    <a:pt x="988" y="182"/>
                  </a:lnTo>
                  <a:lnTo>
                    <a:pt x="982" y="184"/>
                  </a:lnTo>
                  <a:lnTo>
                    <a:pt x="980" y="186"/>
                  </a:lnTo>
                  <a:lnTo>
                    <a:pt x="978" y="186"/>
                  </a:lnTo>
                  <a:lnTo>
                    <a:pt x="978" y="192"/>
                  </a:lnTo>
                  <a:lnTo>
                    <a:pt x="974" y="198"/>
                  </a:lnTo>
                  <a:lnTo>
                    <a:pt x="968" y="200"/>
                  </a:lnTo>
                  <a:lnTo>
                    <a:pt x="962" y="206"/>
                  </a:lnTo>
                  <a:lnTo>
                    <a:pt x="960" y="208"/>
                  </a:lnTo>
                  <a:lnTo>
                    <a:pt x="960" y="210"/>
                  </a:lnTo>
                  <a:lnTo>
                    <a:pt x="960" y="212"/>
                  </a:lnTo>
                  <a:lnTo>
                    <a:pt x="960" y="218"/>
                  </a:lnTo>
                  <a:lnTo>
                    <a:pt x="960" y="224"/>
                  </a:lnTo>
                  <a:lnTo>
                    <a:pt x="960" y="228"/>
                  </a:lnTo>
                  <a:lnTo>
                    <a:pt x="960" y="230"/>
                  </a:lnTo>
                  <a:lnTo>
                    <a:pt x="962" y="236"/>
                  </a:lnTo>
                  <a:lnTo>
                    <a:pt x="966" y="242"/>
                  </a:lnTo>
                  <a:lnTo>
                    <a:pt x="970" y="248"/>
                  </a:lnTo>
                  <a:lnTo>
                    <a:pt x="972" y="254"/>
                  </a:lnTo>
                  <a:lnTo>
                    <a:pt x="972" y="258"/>
                  </a:lnTo>
                  <a:lnTo>
                    <a:pt x="972" y="264"/>
                  </a:lnTo>
                  <a:lnTo>
                    <a:pt x="976" y="270"/>
                  </a:lnTo>
                  <a:lnTo>
                    <a:pt x="982" y="270"/>
                  </a:lnTo>
                  <a:lnTo>
                    <a:pt x="988" y="276"/>
                  </a:lnTo>
                  <a:lnTo>
                    <a:pt x="994" y="276"/>
                  </a:lnTo>
                  <a:lnTo>
                    <a:pt x="998" y="284"/>
                  </a:lnTo>
                  <a:lnTo>
                    <a:pt x="1002" y="290"/>
                  </a:lnTo>
                  <a:lnTo>
                    <a:pt x="1006" y="296"/>
                  </a:lnTo>
                  <a:lnTo>
                    <a:pt x="1006" y="304"/>
                  </a:lnTo>
                  <a:lnTo>
                    <a:pt x="1008" y="310"/>
                  </a:lnTo>
                  <a:lnTo>
                    <a:pt x="1008" y="316"/>
                  </a:lnTo>
                  <a:lnTo>
                    <a:pt x="1012" y="318"/>
                  </a:lnTo>
                  <a:lnTo>
                    <a:pt x="1016" y="322"/>
                  </a:lnTo>
                  <a:lnTo>
                    <a:pt x="1024" y="326"/>
                  </a:lnTo>
                  <a:lnTo>
                    <a:pt x="1030" y="332"/>
                  </a:lnTo>
                  <a:lnTo>
                    <a:pt x="1036" y="336"/>
                  </a:lnTo>
                  <a:lnTo>
                    <a:pt x="1042" y="342"/>
                  </a:lnTo>
                  <a:lnTo>
                    <a:pt x="1050" y="346"/>
                  </a:lnTo>
                  <a:lnTo>
                    <a:pt x="1050" y="352"/>
                  </a:lnTo>
                  <a:lnTo>
                    <a:pt x="1050" y="354"/>
                  </a:lnTo>
                  <a:lnTo>
                    <a:pt x="1052" y="360"/>
                  </a:lnTo>
                  <a:lnTo>
                    <a:pt x="1054" y="366"/>
                  </a:lnTo>
                  <a:lnTo>
                    <a:pt x="1054" y="372"/>
                  </a:lnTo>
                  <a:lnTo>
                    <a:pt x="1056" y="380"/>
                  </a:lnTo>
                  <a:lnTo>
                    <a:pt x="1058" y="386"/>
                  </a:lnTo>
                  <a:lnTo>
                    <a:pt x="1060" y="394"/>
                  </a:lnTo>
                  <a:lnTo>
                    <a:pt x="1060" y="400"/>
                  </a:lnTo>
                  <a:lnTo>
                    <a:pt x="1062" y="406"/>
                  </a:lnTo>
                  <a:lnTo>
                    <a:pt x="1064" y="414"/>
                  </a:lnTo>
                  <a:lnTo>
                    <a:pt x="1066" y="420"/>
                  </a:lnTo>
                  <a:lnTo>
                    <a:pt x="1066" y="426"/>
                  </a:lnTo>
                  <a:lnTo>
                    <a:pt x="1068" y="432"/>
                  </a:lnTo>
                  <a:lnTo>
                    <a:pt x="1070" y="440"/>
                  </a:lnTo>
                  <a:lnTo>
                    <a:pt x="1072" y="446"/>
                  </a:lnTo>
                  <a:lnTo>
                    <a:pt x="1072" y="454"/>
                  </a:lnTo>
                  <a:lnTo>
                    <a:pt x="1074" y="460"/>
                  </a:lnTo>
                  <a:lnTo>
                    <a:pt x="1076" y="466"/>
                  </a:lnTo>
                  <a:lnTo>
                    <a:pt x="1076" y="474"/>
                  </a:lnTo>
                  <a:lnTo>
                    <a:pt x="1072" y="478"/>
                  </a:lnTo>
                  <a:lnTo>
                    <a:pt x="1068" y="480"/>
                  </a:lnTo>
                  <a:lnTo>
                    <a:pt x="1066" y="486"/>
                  </a:lnTo>
                  <a:lnTo>
                    <a:pt x="1068" y="488"/>
                  </a:lnTo>
                  <a:lnTo>
                    <a:pt x="1070" y="492"/>
                  </a:lnTo>
                  <a:lnTo>
                    <a:pt x="1074" y="498"/>
                  </a:lnTo>
                  <a:lnTo>
                    <a:pt x="1078" y="504"/>
                  </a:lnTo>
                  <a:lnTo>
                    <a:pt x="1080" y="508"/>
                  </a:lnTo>
                  <a:lnTo>
                    <a:pt x="1084" y="516"/>
                  </a:lnTo>
                  <a:lnTo>
                    <a:pt x="1086" y="520"/>
                  </a:lnTo>
                  <a:lnTo>
                    <a:pt x="1088" y="528"/>
                  </a:lnTo>
                  <a:lnTo>
                    <a:pt x="1092" y="534"/>
                  </a:lnTo>
                  <a:lnTo>
                    <a:pt x="1092" y="540"/>
                  </a:lnTo>
                  <a:lnTo>
                    <a:pt x="1094" y="546"/>
                  </a:lnTo>
                  <a:lnTo>
                    <a:pt x="1096" y="552"/>
                  </a:lnTo>
                  <a:lnTo>
                    <a:pt x="1096" y="558"/>
                  </a:lnTo>
                  <a:lnTo>
                    <a:pt x="1096" y="564"/>
                  </a:lnTo>
                  <a:lnTo>
                    <a:pt x="1096" y="570"/>
                  </a:lnTo>
                  <a:lnTo>
                    <a:pt x="1096" y="576"/>
                  </a:lnTo>
                  <a:lnTo>
                    <a:pt x="1096" y="582"/>
                  </a:lnTo>
                  <a:lnTo>
                    <a:pt x="1096" y="584"/>
                  </a:lnTo>
                  <a:lnTo>
                    <a:pt x="1096" y="586"/>
                  </a:lnTo>
                  <a:lnTo>
                    <a:pt x="1094" y="592"/>
                  </a:lnTo>
                  <a:lnTo>
                    <a:pt x="1094" y="598"/>
                  </a:lnTo>
                  <a:lnTo>
                    <a:pt x="1092" y="606"/>
                  </a:lnTo>
                  <a:lnTo>
                    <a:pt x="1092" y="612"/>
                  </a:lnTo>
                  <a:lnTo>
                    <a:pt x="1094" y="618"/>
                  </a:lnTo>
                  <a:lnTo>
                    <a:pt x="1096" y="624"/>
                  </a:lnTo>
                  <a:lnTo>
                    <a:pt x="1098" y="630"/>
                  </a:lnTo>
                  <a:lnTo>
                    <a:pt x="1100" y="636"/>
                  </a:lnTo>
                  <a:lnTo>
                    <a:pt x="1100" y="642"/>
                  </a:lnTo>
                  <a:lnTo>
                    <a:pt x="1100" y="648"/>
                  </a:lnTo>
                  <a:lnTo>
                    <a:pt x="1098" y="656"/>
                  </a:lnTo>
                  <a:lnTo>
                    <a:pt x="1092" y="660"/>
                  </a:lnTo>
                  <a:lnTo>
                    <a:pt x="1092" y="668"/>
                  </a:lnTo>
                  <a:lnTo>
                    <a:pt x="1090" y="674"/>
                  </a:lnTo>
                  <a:lnTo>
                    <a:pt x="1088" y="678"/>
                  </a:lnTo>
                  <a:lnTo>
                    <a:pt x="1090" y="686"/>
                  </a:lnTo>
                  <a:lnTo>
                    <a:pt x="1092" y="692"/>
                  </a:lnTo>
                  <a:lnTo>
                    <a:pt x="1094" y="698"/>
                  </a:lnTo>
                  <a:lnTo>
                    <a:pt x="1096" y="706"/>
                  </a:lnTo>
                  <a:lnTo>
                    <a:pt x="1100" y="712"/>
                  </a:lnTo>
                  <a:lnTo>
                    <a:pt x="1098" y="718"/>
                  </a:lnTo>
                  <a:lnTo>
                    <a:pt x="1098" y="724"/>
                  </a:lnTo>
                  <a:lnTo>
                    <a:pt x="1096" y="730"/>
                  </a:lnTo>
                  <a:lnTo>
                    <a:pt x="1092" y="736"/>
                  </a:lnTo>
                  <a:lnTo>
                    <a:pt x="1084" y="738"/>
                  </a:lnTo>
                  <a:lnTo>
                    <a:pt x="1078" y="742"/>
                  </a:lnTo>
                  <a:lnTo>
                    <a:pt x="1072" y="748"/>
                  </a:lnTo>
                  <a:lnTo>
                    <a:pt x="1068" y="754"/>
                  </a:lnTo>
                  <a:lnTo>
                    <a:pt x="1070" y="760"/>
                  </a:lnTo>
                  <a:lnTo>
                    <a:pt x="1074" y="766"/>
                  </a:lnTo>
                  <a:lnTo>
                    <a:pt x="1078" y="772"/>
                  </a:lnTo>
                  <a:lnTo>
                    <a:pt x="1082" y="778"/>
                  </a:lnTo>
                  <a:lnTo>
                    <a:pt x="1086" y="784"/>
                  </a:lnTo>
                  <a:lnTo>
                    <a:pt x="1090" y="790"/>
                  </a:lnTo>
                  <a:lnTo>
                    <a:pt x="1094" y="796"/>
                  </a:lnTo>
                  <a:lnTo>
                    <a:pt x="1098" y="802"/>
                  </a:lnTo>
                  <a:lnTo>
                    <a:pt x="1100" y="808"/>
                  </a:lnTo>
                  <a:lnTo>
                    <a:pt x="1104" y="812"/>
                  </a:lnTo>
                  <a:lnTo>
                    <a:pt x="1106" y="818"/>
                  </a:lnTo>
                  <a:lnTo>
                    <a:pt x="1106" y="824"/>
                  </a:lnTo>
                  <a:lnTo>
                    <a:pt x="1106" y="832"/>
                  </a:lnTo>
                  <a:lnTo>
                    <a:pt x="1106" y="838"/>
                  </a:lnTo>
                  <a:lnTo>
                    <a:pt x="1108" y="844"/>
                  </a:lnTo>
                  <a:lnTo>
                    <a:pt x="1110" y="850"/>
                  </a:lnTo>
                  <a:lnTo>
                    <a:pt x="1112" y="852"/>
                  </a:lnTo>
                  <a:lnTo>
                    <a:pt x="1114" y="854"/>
                  </a:lnTo>
                  <a:lnTo>
                    <a:pt x="1116" y="854"/>
                  </a:lnTo>
                  <a:lnTo>
                    <a:pt x="1118" y="860"/>
                  </a:lnTo>
                  <a:lnTo>
                    <a:pt x="1120" y="866"/>
                  </a:lnTo>
                  <a:lnTo>
                    <a:pt x="1126" y="872"/>
                  </a:lnTo>
                  <a:lnTo>
                    <a:pt x="1132" y="874"/>
                  </a:lnTo>
                  <a:lnTo>
                    <a:pt x="1140" y="870"/>
                  </a:lnTo>
                  <a:lnTo>
                    <a:pt x="1146" y="868"/>
                  </a:lnTo>
                  <a:lnTo>
                    <a:pt x="1152" y="870"/>
                  </a:lnTo>
                  <a:lnTo>
                    <a:pt x="1158" y="872"/>
                  </a:lnTo>
                  <a:lnTo>
                    <a:pt x="1162" y="874"/>
                  </a:lnTo>
                  <a:lnTo>
                    <a:pt x="1164" y="874"/>
                  </a:lnTo>
                  <a:lnTo>
                    <a:pt x="1170" y="876"/>
                  </a:lnTo>
                  <a:lnTo>
                    <a:pt x="1176" y="878"/>
                  </a:lnTo>
                  <a:lnTo>
                    <a:pt x="1182" y="880"/>
                  </a:lnTo>
                  <a:lnTo>
                    <a:pt x="1190" y="882"/>
                  </a:lnTo>
                  <a:lnTo>
                    <a:pt x="1192" y="884"/>
                  </a:lnTo>
                  <a:lnTo>
                    <a:pt x="1198" y="888"/>
                  </a:lnTo>
                  <a:lnTo>
                    <a:pt x="1200" y="894"/>
                  </a:lnTo>
                  <a:lnTo>
                    <a:pt x="1204" y="898"/>
                  </a:lnTo>
                  <a:lnTo>
                    <a:pt x="1206" y="904"/>
                  </a:lnTo>
                  <a:lnTo>
                    <a:pt x="1206" y="906"/>
                  </a:lnTo>
                  <a:lnTo>
                    <a:pt x="1210" y="912"/>
                  </a:lnTo>
                  <a:lnTo>
                    <a:pt x="1212" y="918"/>
                  </a:lnTo>
                  <a:lnTo>
                    <a:pt x="1216" y="924"/>
                  </a:lnTo>
                  <a:lnTo>
                    <a:pt x="1218" y="930"/>
                  </a:lnTo>
                  <a:lnTo>
                    <a:pt x="1220" y="936"/>
                  </a:lnTo>
                  <a:lnTo>
                    <a:pt x="1222" y="940"/>
                  </a:lnTo>
                  <a:lnTo>
                    <a:pt x="1218" y="942"/>
                  </a:lnTo>
                  <a:lnTo>
                    <a:pt x="1212" y="948"/>
                  </a:lnTo>
                  <a:lnTo>
                    <a:pt x="1206" y="952"/>
                  </a:lnTo>
                  <a:lnTo>
                    <a:pt x="1198" y="956"/>
                  </a:lnTo>
                  <a:lnTo>
                    <a:pt x="1192" y="960"/>
                  </a:lnTo>
                  <a:lnTo>
                    <a:pt x="1186" y="964"/>
                  </a:lnTo>
                  <a:lnTo>
                    <a:pt x="1182" y="966"/>
                  </a:lnTo>
                  <a:lnTo>
                    <a:pt x="1176" y="970"/>
                  </a:lnTo>
                  <a:lnTo>
                    <a:pt x="1170" y="974"/>
                  </a:lnTo>
                  <a:lnTo>
                    <a:pt x="1164" y="978"/>
                  </a:lnTo>
                  <a:lnTo>
                    <a:pt x="1158" y="982"/>
                  </a:lnTo>
                  <a:lnTo>
                    <a:pt x="1152" y="988"/>
                  </a:lnTo>
                  <a:lnTo>
                    <a:pt x="1144" y="992"/>
                  </a:lnTo>
                  <a:lnTo>
                    <a:pt x="1138" y="996"/>
                  </a:lnTo>
                  <a:lnTo>
                    <a:pt x="1132" y="1000"/>
                  </a:lnTo>
                  <a:lnTo>
                    <a:pt x="1126" y="1004"/>
                  </a:lnTo>
                  <a:lnTo>
                    <a:pt x="1124" y="1004"/>
                  </a:lnTo>
                  <a:lnTo>
                    <a:pt x="1118" y="1010"/>
                  </a:lnTo>
                  <a:lnTo>
                    <a:pt x="1112" y="1014"/>
                  </a:lnTo>
                  <a:lnTo>
                    <a:pt x="1110" y="1014"/>
                  </a:lnTo>
                  <a:lnTo>
                    <a:pt x="1104" y="1018"/>
                  </a:lnTo>
                  <a:lnTo>
                    <a:pt x="1102" y="1020"/>
                  </a:lnTo>
                  <a:lnTo>
                    <a:pt x="1096" y="1024"/>
                  </a:lnTo>
                  <a:lnTo>
                    <a:pt x="1088" y="1030"/>
                  </a:lnTo>
                  <a:lnTo>
                    <a:pt x="1086" y="1030"/>
                  </a:lnTo>
                  <a:lnTo>
                    <a:pt x="1084" y="1032"/>
                  </a:lnTo>
                  <a:lnTo>
                    <a:pt x="1084" y="1034"/>
                  </a:lnTo>
                  <a:lnTo>
                    <a:pt x="1082" y="1034"/>
                  </a:lnTo>
                  <a:lnTo>
                    <a:pt x="1076" y="1038"/>
                  </a:lnTo>
                  <a:lnTo>
                    <a:pt x="1072" y="1040"/>
                  </a:lnTo>
                  <a:lnTo>
                    <a:pt x="1072" y="1042"/>
                  </a:lnTo>
                  <a:lnTo>
                    <a:pt x="1064" y="1046"/>
                  </a:lnTo>
                  <a:lnTo>
                    <a:pt x="1058" y="1050"/>
                  </a:lnTo>
                  <a:lnTo>
                    <a:pt x="1052" y="1054"/>
                  </a:lnTo>
                  <a:lnTo>
                    <a:pt x="1046" y="1058"/>
                  </a:lnTo>
                  <a:lnTo>
                    <a:pt x="1040" y="1062"/>
                  </a:lnTo>
                  <a:lnTo>
                    <a:pt x="1034" y="1068"/>
                  </a:lnTo>
                  <a:lnTo>
                    <a:pt x="1028" y="1072"/>
                  </a:lnTo>
                  <a:lnTo>
                    <a:pt x="1020" y="1076"/>
                  </a:lnTo>
                  <a:lnTo>
                    <a:pt x="1014" y="1080"/>
                  </a:lnTo>
                  <a:lnTo>
                    <a:pt x="1008" y="1084"/>
                  </a:lnTo>
                  <a:lnTo>
                    <a:pt x="1002" y="1088"/>
                  </a:lnTo>
                  <a:lnTo>
                    <a:pt x="996" y="1094"/>
                  </a:lnTo>
                  <a:lnTo>
                    <a:pt x="990" y="1098"/>
                  </a:lnTo>
                  <a:lnTo>
                    <a:pt x="984" y="1102"/>
                  </a:lnTo>
                  <a:lnTo>
                    <a:pt x="978" y="1106"/>
                  </a:lnTo>
                  <a:lnTo>
                    <a:pt x="972" y="1110"/>
                  </a:lnTo>
                  <a:lnTo>
                    <a:pt x="966" y="1114"/>
                  </a:lnTo>
                  <a:lnTo>
                    <a:pt x="958" y="1120"/>
                  </a:lnTo>
                  <a:lnTo>
                    <a:pt x="952" y="1124"/>
                  </a:lnTo>
                  <a:lnTo>
                    <a:pt x="950" y="1126"/>
                  </a:lnTo>
                  <a:lnTo>
                    <a:pt x="946" y="1130"/>
                  </a:lnTo>
                  <a:lnTo>
                    <a:pt x="938" y="1138"/>
                  </a:lnTo>
                  <a:lnTo>
                    <a:pt x="932" y="1144"/>
                  </a:lnTo>
                  <a:lnTo>
                    <a:pt x="924" y="1150"/>
                  </a:lnTo>
                  <a:lnTo>
                    <a:pt x="918" y="1156"/>
                  </a:lnTo>
                  <a:lnTo>
                    <a:pt x="918" y="1158"/>
                  </a:lnTo>
                  <a:lnTo>
                    <a:pt x="910" y="1164"/>
                  </a:lnTo>
                  <a:lnTo>
                    <a:pt x="904" y="1170"/>
                  </a:lnTo>
                  <a:lnTo>
                    <a:pt x="898" y="1178"/>
                  </a:lnTo>
                  <a:lnTo>
                    <a:pt x="892" y="1184"/>
                  </a:lnTo>
                  <a:lnTo>
                    <a:pt x="886" y="1190"/>
                  </a:lnTo>
                  <a:lnTo>
                    <a:pt x="878" y="1196"/>
                  </a:lnTo>
                  <a:lnTo>
                    <a:pt x="872" y="1202"/>
                  </a:lnTo>
                  <a:lnTo>
                    <a:pt x="864" y="1210"/>
                  </a:lnTo>
                  <a:lnTo>
                    <a:pt x="858" y="1216"/>
                  </a:lnTo>
                  <a:lnTo>
                    <a:pt x="852" y="1222"/>
                  </a:lnTo>
                  <a:lnTo>
                    <a:pt x="850" y="1222"/>
                  </a:lnTo>
                  <a:lnTo>
                    <a:pt x="842" y="1224"/>
                  </a:lnTo>
                  <a:lnTo>
                    <a:pt x="836" y="1226"/>
                  </a:lnTo>
                  <a:lnTo>
                    <a:pt x="830" y="1226"/>
                  </a:lnTo>
                  <a:lnTo>
                    <a:pt x="824" y="1228"/>
                  </a:lnTo>
                  <a:lnTo>
                    <a:pt x="816" y="1230"/>
                  </a:lnTo>
                  <a:lnTo>
                    <a:pt x="810" y="1232"/>
                  </a:lnTo>
                  <a:lnTo>
                    <a:pt x="804" y="1232"/>
                  </a:lnTo>
                  <a:lnTo>
                    <a:pt x="798" y="1234"/>
                  </a:lnTo>
                  <a:lnTo>
                    <a:pt x="792" y="1236"/>
                  </a:lnTo>
                  <a:lnTo>
                    <a:pt x="784" y="1236"/>
                  </a:lnTo>
                  <a:lnTo>
                    <a:pt x="778" y="1238"/>
                  </a:lnTo>
                  <a:lnTo>
                    <a:pt x="772" y="1240"/>
                  </a:lnTo>
                  <a:lnTo>
                    <a:pt x="764" y="1240"/>
                  </a:lnTo>
                  <a:lnTo>
                    <a:pt x="758" y="1242"/>
                  </a:lnTo>
                  <a:lnTo>
                    <a:pt x="752" y="1244"/>
                  </a:lnTo>
                  <a:lnTo>
                    <a:pt x="744" y="1246"/>
                  </a:lnTo>
                  <a:lnTo>
                    <a:pt x="738" y="1246"/>
                  </a:lnTo>
                  <a:lnTo>
                    <a:pt x="732" y="1248"/>
                  </a:lnTo>
                  <a:lnTo>
                    <a:pt x="730" y="1248"/>
                  </a:lnTo>
                  <a:lnTo>
                    <a:pt x="724" y="1250"/>
                  </a:lnTo>
                  <a:lnTo>
                    <a:pt x="718" y="1252"/>
                  </a:lnTo>
                  <a:lnTo>
                    <a:pt x="710" y="1252"/>
                  </a:lnTo>
                  <a:lnTo>
                    <a:pt x="704" y="1254"/>
                  </a:lnTo>
                  <a:lnTo>
                    <a:pt x="702" y="1254"/>
                  </a:lnTo>
                  <a:lnTo>
                    <a:pt x="698" y="1248"/>
                  </a:lnTo>
                  <a:lnTo>
                    <a:pt x="690" y="1244"/>
                  </a:lnTo>
                  <a:lnTo>
                    <a:pt x="692" y="1238"/>
                  </a:lnTo>
                  <a:lnTo>
                    <a:pt x="694" y="1232"/>
                  </a:lnTo>
                  <a:lnTo>
                    <a:pt x="700" y="1226"/>
                  </a:lnTo>
                  <a:lnTo>
                    <a:pt x="698" y="1220"/>
                  </a:lnTo>
                  <a:lnTo>
                    <a:pt x="696" y="1214"/>
                  </a:lnTo>
                  <a:lnTo>
                    <a:pt x="696" y="1208"/>
                  </a:lnTo>
                  <a:lnTo>
                    <a:pt x="698" y="1202"/>
                  </a:lnTo>
                  <a:lnTo>
                    <a:pt x="698" y="1196"/>
                  </a:lnTo>
                  <a:lnTo>
                    <a:pt x="692" y="1194"/>
                  </a:lnTo>
                  <a:lnTo>
                    <a:pt x="686" y="1190"/>
                  </a:lnTo>
                  <a:lnTo>
                    <a:pt x="682" y="1186"/>
                  </a:lnTo>
                  <a:lnTo>
                    <a:pt x="676" y="1186"/>
                  </a:lnTo>
                  <a:lnTo>
                    <a:pt x="670" y="1184"/>
                  </a:lnTo>
                  <a:lnTo>
                    <a:pt x="666" y="1184"/>
                  </a:lnTo>
                  <a:lnTo>
                    <a:pt x="660" y="1184"/>
                  </a:lnTo>
                  <a:lnTo>
                    <a:pt x="656" y="1182"/>
                  </a:lnTo>
                  <a:lnTo>
                    <a:pt x="648" y="1180"/>
                  </a:lnTo>
                  <a:lnTo>
                    <a:pt x="646" y="1174"/>
                  </a:lnTo>
                  <a:lnTo>
                    <a:pt x="642" y="1168"/>
                  </a:lnTo>
                  <a:lnTo>
                    <a:pt x="636" y="1164"/>
                  </a:lnTo>
                  <a:lnTo>
                    <a:pt x="630" y="1168"/>
                  </a:lnTo>
                  <a:lnTo>
                    <a:pt x="624" y="1166"/>
                  </a:lnTo>
                  <a:lnTo>
                    <a:pt x="618" y="1168"/>
                  </a:lnTo>
                  <a:lnTo>
                    <a:pt x="612" y="1162"/>
                  </a:lnTo>
                  <a:lnTo>
                    <a:pt x="606" y="1156"/>
                  </a:lnTo>
                  <a:lnTo>
                    <a:pt x="604" y="1150"/>
                  </a:lnTo>
                  <a:lnTo>
                    <a:pt x="602" y="1144"/>
                  </a:lnTo>
                  <a:lnTo>
                    <a:pt x="596" y="1140"/>
                  </a:lnTo>
                  <a:lnTo>
                    <a:pt x="590" y="1138"/>
                  </a:lnTo>
                  <a:lnTo>
                    <a:pt x="584" y="1134"/>
                  </a:lnTo>
                  <a:lnTo>
                    <a:pt x="582" y="1132"/>
                  </a:lnTo>
                  <a:lnTo>
                    <a:pt x="576" y="1132"/>
                  </a:lnTo>
                  <a:lnTo>
                    <a:pt x="574" y="1126"/>
                  </a:lnTo>
                  <a:lnTo>
                    <a:pt x="576" y="1120"/>
                  </a:lnTo>
                  <a:lnTo>
                    <a:pt x="576" y="1114"/>
                  </a:lnTo>
                  <a:lnTo>
                    <a:pt x="576" y="1108"/>
                  </a:lnTo>
                  <a:lnTo>
                    <a:pt x="570" y="1104"/>
                  </a:lnTo>
                  <a:lnTo>
                    <a:pt x="564" y="1100"/>
                  </a:lnTo>
                  <a:lnTo>
                    <a:pt x="558" y="1096"/>
                  </a:lnTo>
                  <a:lnTo>
                    <a:pt x="554" y="1092"/>
                  </a:lnTo>
                  <a:lnTo>
                    <a:pt x="546" y="1088"/>
                  </a:lnTo>
                  <a:lnTo>
                    <a:pt x="542" y="1082"/>
                  </a:lnTo>
                  <a:lnTo>
                    <a:pt x="536" y="1078"/>
                  </a:lnTo>
                  <a:lnTo>
                    <a:pt x="528" y="1074"/>
                  </a:lnTo>
                  <a:lnTo>
                    <a:pt x="524" y="1070"/>
                  </a:lnTo>
                  <a:lnTo>
                    <a:pt x="518" y="1066"/>
                  </a:lnTo>
                  <a:lnTo>
                    <a:pt x="512" y="1062"/>
                  </a:lnTo>
                  <a:lnTo>
                    <a:pt x="506" y="1058"/>
                  </a:lnTo>
                  <a:lnTo>
                    <a:pt x="504" y="1054"/>
                  </a:lnTo>
                  <a:lnTo>
                    <a:pt x="500" y="1052"/>
                  </a:lnTo>
                  <a:lnTo>
                    <a:pt x="494" y="1048"/>
                  </a:lnTo>
                  <a:lnTo>
                    <a:pt x="488" y="1044"/>
                  </a:lnTo>
                  <a:lnTo>
                    <a:pt x="482" y="1038"/>
                  </a:lnTo>
                  <a:lnTo>
                    <a:pt x="476" y="1034"/>
                  </a:lnTo>
                  <a:lnTo>
                    <a:pt x="470" y="1030"/>
                  </a:lnTo>
                  <a:lnTo>
                    <a:pt x="464" y="1024"/>
                  </a:lnTo>
                  <a:lnTo>
                    <a:pt x="458" y="1020"/>
                  </a:lnTo>
                  <a:lnTo>
                    <a:pt x="452" y="1014"/>
                  </a:lnTo>
                  <a:lnTo>
                    <a:pt x="448" y="1010"/>
                  </a:lnTo>
                  <a:lnTo>
                    <a:pt x="440" y="1004"/>
                  </a:lnTo>
                  <a:lnTo>
                    <a:pt x="436" y="1000"/>
                  </a:lnTo>
                  <a:lnTo>
                    <a:pt x="430" y="996"/>
                  </a:lnTo>
                  <a:lnTo>
                    <a:pt x="424" y="990"/>
                  </a:lnTo>
                  <a:lnTo>
                    <a:pt x="418" y="986"/>
                  </a:lnTo>
                  <a:lnTo>
                    <a:pt x="412" y="982"/>
                  </a:lnTo>
                  <a:lnTo>
                    <a:pt x="406" y="976"/>
                  </a:lnTo>
                  <a:lnTo>
                    <a:pt x="400" y="972"/>
                  </a:lnTo>
                  <a:lnTo>
                    <a:pt x="394" y="968"/>
                  </a:lnTo>
                  <a:lnTo>
                    <a:pt x="388" y="962"/>
                  </a:lnTo>
                  <a:lnTo>
                    <a:pt x="382" y="958"/>
                  </a:lnTo>
                  <a:lnTo>
                    <a:pt x="376" y="952"/>
                  </a:lnTo>
                  <a:lnTo>
                    <a:pt x="370" y="948"/>
                  </a:lnTo>
                  <a:lnTo>
                    <a:pt x="364" y="944"/>
                  </a:lnTo>
                  <a:lnTo>
                    <a:pt x="358" y="940"/>
                  </a:lnTo>
                  <a:lnTo>
                    <a:pt x="352" y="934"/>
                  </a:lnTo>
                  <a:lnTo>
                    <a:pt x="346" y="930"/>
                  </a:lnTo>
                  <a:lnTo>
                    <a:pt x="338" y="924"/>
                  </a:lnTo>
                  <a:lnTo>
                    <a:pt x="334" y="920"/>
                  </a:lnTo>
                  <a:lnTo>
                    <a:pt x="326" y="916"/>
                  </a:lnTo>
                  <a:lnTo>
                    <a:pt x="322" y="910"/>
                  </a:lnTo>
                  <a:lnTo>
                    <a:pt x="316" y="906"/>
                  </a:lnTo>
                  <a:lnTo>
                    <a:pt x="314" y="906"/>
                  </a:lnTo>
                  <a:lnTo>
                    <a:pt x="308" y="902"/>
                  </a:lnTo>
                  <a:lnTo>
                    <a:pt x="302" y="898"/>
                  </a:lnTo>
                  <a:lnTo>
                    <a:pt x="296" y="892"/>
                  </a:lnTo>
                  <a:lnTo>
                    <a:pt x="290" y="888"/>
                  </a:lnTo>
                  <a:lnTo>
                    <a:pt x="284" y="884"/>
                  </a:lnTo>
                  <a:lnTo>
                    <a:pt x="278" y="878"/>
                  </a:lnTo>
                  <a:lnTo>
                    <a:pt x="272" y="874"/>
                  </a:lnTo>
                  <a:lnTo>
                    <a:pt x="266" y="870"/>
                  </a:lnTo>
                  <a:lnTo>
                    <a:pt x="260" y="864"/>
                  </a:lnTo>
                  <a:lnTo>
                    <a:pt x="254" y="860"/>
                  </a:lnTo>
                  <a:lnTo>
                    <a:pt x="248" y="856"/>
                  </a:lnTo>
                  <a:lnTo>
                    <a:pt x="242" y="852"/>
                  </a:lnTo>
                  <a:lnTo>
                    <a:pt x="236" y="846"/>
                  </a:lnTo>
                  <a:lnTo>
                    <a:pt x="230" y="842"/>
                  </a:lnTo>
                  <a:lnTo>
                    <a:pt x="224" y="838"/>
                  </a:lnTo>
                  <a:lnTo>
                    <a:pt x="218" y="834"/>
                  </a:lnTo>
                  <a:lnTo>
                    <a:pt x="212" y="830"/>
                  </a:lnTo>
                  <a:lnTo>
                    <a:pt x="212" y="828"/>
                  </a:lnTo>
                  <a:lnTo>
                    <a:pt x="206" y="824"/>
                  </a:lnTo>
                  <a:lnTo>
                    <a:pt x="200" y="820"/>
                  </a:lnTo>
                  <a:lnTo>
                    <a:pt x="194" y="816"/>
                  </a:lnTo>
                  <a:lnTo>
                    <a:pt x="186" y="810"/>
                  </a:lnTo>
                  <a:lnTo>
                    <a:pt x="180" y="806"/>
                  </a:lnTo>
                  <a:lnTo>
                    <a:pt x="174" y="802"/>
                  </a:lnTo>
                  <a:lnTo>
                    <a:pt x="170" y="798"/>
                  </a:lnTo>
                  <a:lnTo>
                    <a:pt x="164" y="794"/>
                  </a:lnTo>
                  <a:lnTo>
                    <a:pt x="156" y="788"/>
                  </a:lnTo>
                  <a:lnTo>
                    <a:pt x="150" y="784"/>
                  </a:lnTo>
                  <a:lnTo>
                    <a:pt x="144" y="780"/>
                  </a:lnTo>
                  <a:lnTo>
                    <a:pt x="138" y="776"/>
                  </a:lnTo>
                  <a:lnTo>
                    <a:pt x="132" y="770"/>
                  </a:lnTo>
                  <a:lnTo>
                    <a:pt x="126" y="766"/>
                  </a:lnTo>
                  <a:lnTo>
                    <a:pt x="120" y="762"/>
                  </a:lnTo>
                  <a:lnTo>
                    <a:pt x="114" y="758"/>
                  </a:lnTo>
                  <a:lnTo>
                    <a:pt x="108" y="754"/>
                  </a:lnTo>
                  <a:lnTo>
                    <a:pt x="102" y="750"/>
                  </a:lnTo>
                  <a:lnTo>
                    <a:pt x="94" y="744"/>
                  </a:lnTo>
                  <a:lnTo>
                    <a:pt x="88" y="740"/>
                  </a:lnTo>
                  <a:lnTo>
                    <a:pt x="82" y="736"/>
                  </a:lnTo>
                  <a:lnTo>
                    <a:pt x="76" y="732"/>
                  </a:lnTo>
                  <a:lnTo>
                    <a:pt x="70" y="726"/>
                  </a:lnTo>
                  <a:lnTo>
                    <a:pt x="64" y="722"/>
                  </a:lnTo>
                  <a:lnTo>
                    <a:pt x="56" y="718"/>
                  </a:lnTo>
                  <a:lnTo>
                    <a:pt x="50" y="714"/>
                  </a:lnTo>
                  <a:lnTo>
                    <a:pt x="44" y="710"/>
                  </a:lnTo>
                  <a:lnTo>
                    <a:pt x="38" y="704"/>
                  </a:lnTo>
                  <a:lnTo>
                    <a:pt x="32" y="700"/>
                  </a:lnTo>
                  <a:lnTo>
                    <a:pt x="26" y="696"/>
                  </a:lnTo>
                  <a:lnTo>
                    <a:pt x="20" y="692"/>
                  </a:lnTo>
                  <a:lnTo>
                    <a:pt x="12" y="688"/>
                  </a:lnTo>
                  <a:lnTo>
                    <a:pt x="6" y="684"/>
                  </a:lnTo>
                  <a:lnTo>
                    <a:pt x="0" y="6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6" name="Freeform 203"/>
            <p:cNvSpPr>
              <a:spLocks/>
            </p:cNvSpPr>
            <p:nvPr/>
          </p:nvSpPr>
          <p:spPr bwMode="auto">
            <a:xfrm>
              <a:off x="4441825" y="3873500"/>
              <a:ext cx="192088" cy="325438"/>
            </a:xfrm>
            <a:custGeom>
              <a:avLst/>
              <a:gdLst>
                <a:gd name="T0" fmla="*/ 2147483647 w 472"/>
                <a:gd name="T1" fmla="*/ 2147483647 h 792"/>
                <a:gd name="T2" fmla="*/ 2147483647 w 472"/>
                <a:gd name="T3" fmla="*/ 2147483647 h 792"/>
                <a:gd name="T4" fmla="*/ 2147483647 w 472"/>
                <a:gd name="T5" fmla="*/ 2147483647 h 792"/>
                <a:gd name="T6" fmla="*/ 2147483647 w 472"/>
                <a:gd name="T7" fmla="*/ 2147483647 h 792"/>
                <a:gd name="T8" fmla="*/ 2147483647 w 472"/>
                <a:gd name="T9" fmla="*/ 2147483647 h 792"/>
                <a:gd name="T10" fmla="*/ 2147483647 w 472"/>
                <a:gd name="T11" fmla="*/ 2147483647 h 792"/>
                <a:gd name="T12" fmla="*/ 2147483647 w 472"/>
                <a:gd name="T13" fmla="*/ 2147483647 h 792"/>
                <a:gd name="T14" fmla="*/ 2147483647 w 472"/>
                <a:gd name="T15" fmla="*/ 2147483647 h 792"/>
                <a:gd name="T16" fmla="*/ 2147483647 w 472"/>
                <a:gd name="T17" fmla="*/ 2147483647 h 792"/>
                <a:gd name="T18" fmla="*/ 2147483647 w 472"/>
                <a:gd name="T19" fmla="*/ 2147483647 h 792"/>
                <a:gd name="T20" fmla="*/ 2147483647 w 472"/>
                <a:gd name="T21" fmla="*/ 2147483647 h 792"/>
                <a:gd name="T22" fmla="*/ 2147483647 w 472"/>
                <a:gd name="T23" fmla="*/ 2147483647 h 792"/>
                <a:gd name="T24" fmla="*/ 2147483647 w 472"/>
                <a:gd name="T25" fmla="*/ 2147483647 h 792"/>
                <a:gd name="T26" fmla="*/ 2147483647 w 472"/>
                <a:gd name="T27" fmla="*/ 2147483647 h 792"/>
                <a:gd name="T28" fmla="*/ 2147483647 w 472"/>
                <a:gd name="T29" fmla="*/ 2147483647 h 792"/>
                <a:gd name="T30" fmla="*/ 2147483647 w 472"/>
                <a:gd name="T31" fmla="*/ 2147483647 h 792"/>
                <a:gd name="T32" fmla="*/ 2147483647 w 472"/>
                <a:gd name="T33" fmla="*/ 2147483647 h 792"/>
                <a:gd name="T34" fmla="*/ 2147483647 w 472"/>
                <a:gd name="T35" fmla="*/ 2147483647 h 792"/>
                <a:gd name="T36" fmla="*/ 2147483647 w 472"/>
                <a:gd name="T37" fmla="*/ 2147483647 h 792"/>
                <a:gd name="T38" fmla="*/ 2147483647 w 472"/>
                <a:gd name="T39" fmla="*/ 0 h 792"/>
                <a:gd name="T40" fmla="*/ 2147483647 w 472"/>
                <a:gd name="T41" fmla="*/ 2147483647 h 792"/>
                <a:gd name="T42" fmla="*/ 2147483647 w 472"/>
                <a:gd name="T43" fmla="*/ 2147483647 h 792"/>
                <a:gd name="T44" fmla="*/ 2147483647 w 472"/>
                <a:gd name="T45" fmla="*/ 2147483647 h 792"/>
                <a:gd name="T46" fmla="*/ 2147483647 w 472"/>
                <a:gd name="T47" fmla="*/ 2147483647 h 792"/>
                <a:gd name="T48" fmla="*/ 2147483647 w 472"/>
                <a:gd name="T49" fmla="*/ 2147483647 h 792"/>
                <a:gd name="T50" fmla="*/ 2147483647 w 472"/>
                <a:gd name="T51" fmla="*/ 2147483647 h 792"/>
                <a:gd name="T52" fmla="*/ 2147483647 w 472"/>
                <a:gd name="T53" fmla="*/ 2147483647 h 792"/>
                <a:gd name="T54" fmla="*/ 2147483647 w 472"/>
                <a:gd name="T55" fmla="*/ 2147483647 h 792"/>
                <a:gd name="T56" fmla="*/ 2147483647 w 472"/>
                <a:gd name="T57" fmla="*/ 2147483647 h 792"/>
                <a:gd name="T58" fmla="*/ 2147483647 w 472"/>
                <a:gd name="T59" fmla="*/ 2147483647 h 792"/>
                <a:gd name="T60" fmla="*/ 2147483647 w 472"/>
                <a:gd name="T61" fmla="*/ 2147483647 h 792"/>
                <a:gd name="T62" fmla="*/ 2147483647 w 472"/>
                <a:gd name="T63" fmla="*/ 2147483647 h 792"/>
                <a:gd name="T64" fmla="*/ 2147483647 w 472"/>
                <a:gd name="T65" fmla="*/ 2147483647 h 792"/>
                <a:gd name="T66" fmla="*/ 2147483647 w 472"/>
                <a:gd name="T67" fmla="*/ 2147483647 h 792"/>
                <a:gd name="T68" fmla="*/ 2147483647 w 472"/>
                <a:gd name="T69" fmla="*/ 2147483647 h 792"/>
                <a:gd name="T70" fmla="*/ 2147483647 w 472"/>
                <a:gd name="T71" fmla="*/ 2147483647 h 792"/>
                <a:gd name="T72" fmla="*/ 2147483647 w 472"/>
                <a:gd name="T73" fmla="*/ 2147483647 h 792"/>
                <a:gd name="T74" fmla="*/ 2147483647 w 472"/>
                <a:gd name="T75" fmla="*/ 2147483647 h 792"/>
                <a:gd name="T76" fmla="*/ 2147483647 w 472"/>
                <a:gd name="T77" fmla="*/ 2147483647 h 792"/>
                <a:gd name="T78" fmla="*/ 2147483647 w 472"/>
                <a:gd name="T79" fmla="*/ 2147483647 h 792"/>
                <a:gd name="T80" fmla="*/ 2147483647 w 472"/>
                <a:gd name="T81" fmla="*/ 2147483647 h 792"/>
                <a:gd name="T82" fmla="*/ 2147483647 w 472"/>
                <a:gd name="T83" fmla="*/ 2147483647 h 792"/>
                <a:gd name="T84" fmla="*/ 2147483647 w 472"/>
                <a:gd name="T85" fmla="*/ 2147483647 h 792"/>
                <a:gd name="T86" fmla="*/ 2147483647 w 472"/>
                <a:gd name="T87" fmla="*/ 2147483647 h 792"/>
                <a:gd name="T88" fmla="*/ 2147483647 w 472"/>
                <a:gd name="T89" fmla="*/ 2147483647 h 792"/>
                <a:gd name="T90" fmla="*/ 2147483647 w 472"/>
                <a:gd name="T91" fmla="*/ 2147483647 h 792"/>
                <a:gd name="T92" fmla="*/ 2147483647 w 472"/>
                <a:gd name="T93" fmla="*/ 2147483647 h 792"/>
                <a:gd name="T94" fmla="*/ 2147483647 w 472"/>
                <a:gd name="T95" fmla="*/ 2147483647 h 792"/>
                <a:gd name="T96" fmla="*/ 2147483647 w 472"/>
                <a:gd name="T97" fmla="*/ 2147483647 h 792"/>
                <a:gd name="T98" fmla="*/ 2147483647 w 472"/>
                <a:gd name="T99" fmla="*/ 2147483647 h 792"/>
                <a:gd name="T100" fmla="*/ 2147483647 w 472"/>
                <a:gd name="T101" fmla="*/ 2147483647 h 792"/>
                <a:gd name="T102" fmla="*/ 2147483647 w 472"/>
                <a:gd name="T103" fmla="*/ 2147483647 h 792"/>
                <a:gd name="T104" fmla="*/ 2147483647 w 472"/>
                <a:gd name="T105" fmla="*/ 2147483647 h 792"/>
                <a:gd name="T106" fmla="*/ 2147483647 w 472"/>
                <a:gd name="T107" fmla="*/ 2147483647 h 792"/>
                <a:gd name="T108" fmla="*/ 2147483647 w 472"/>
                <a:gd name="T109" fmla="*/ 2147483647 h 792"/>
                <a:gd name="T110" fmla="*/ 2147483647 w 472"/>
                <a:gd name="T111" fmla="*/ 2147483647 h 792"/>
                <a:gd name="T112" fmla="*/ 2147483647 w 472"/>
                <a:gd name="T113" fmla="*/ 2147483647 h 792"/>
                <a:gd name="T114" fmla="*/ 2147483647 w 472"/>
                <a:gd name="T115" fmla="*/ 2147483647 h 792"/>
                <a:gd name="T116" fmla="*/ 2147483647 w 472"/>
                <a:gd name="T117" fmla="*/ 2147483647 h 792"/>
                <a:gd name="T118" fmla="*/ 2147483647 w 472"/>
                <a:gd name="T119" fmla="*/ 2147483647 h 792"/>
                <a:gd name="T120" fmla="*/ 2147483647 w 472"/>
                <a:gd name="T121" fmla="*/ 2147483647 h 792"/>
                <a:gd name="T122" fmla="*/ 2147483647 w 472"/>
                <a:gd name="T123" fmla="*/ 2147483647 h 7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72"/>
                <a:gd name="T187" fmla="*/ 0 h 792"/>
                <a:gd name="T188" fmla="*/ 472 w 472"/>
                <a:gd name="T189" fmla="*/ 792 h 7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72" h="792">
                  <a:moveTo>
                    <a:pt x="6" y="572"/>
                  </a:moveTo>
                  <a:lnTo>
                    <a:pt x="8" y="570"/>
                  </a:lnTo>
                  <a:lnTo>
                    <a:pt x="10" y="564"/>
                  </a:lnTo>
                  <a:lnTo>
                    <a:pt x="14" y="558"/>
                  </a:lnTo>
                  <a:lnTo>
                    <a:pt x="16" y="552"/>
                  </a:lnTo>
                  <a:lnTo>
                    <a:pt x="20" y="546"/>
                  </a:lnTo>
                  <a:lnTo>
                    <a:pt x="20" y="542"/>
                  </a:lnTo>
                  <a:lnTo>
                    <a:pt x="20" y="536"/>
                  </a:lnTo>
                  <a:lnTo>
                    <a:pt x="22" y="530"/>
                  </a:lnTo>
                  <a:lnTo>
                    <a:pt x="24" y="524"/>
                  </a:lnTo>
                  <a:lnTo>
                    <a:pt x="26" y="518"/>
                  </a:lnTo>
                  <a:lnTo>
                    <a:pt x="20" y="512"/>
                  </a:lnTo>
                  <a:lnTo>
                    <a:pt x="22" y="508"/>
                  </a:lnTo>
                  <a:lnTo>
                    <a:pt x="22" y="502"/>
                  </a:lnTo>
                  <a:lnTo>
                    <a:pt x="26" y="500"/>
                  </a:lnTo>
                  <a:lnTo>
                    <a:pt x="32" y="496"/>
                  </a:lnTo>
                  <a:lnTo>
                    <a:pt x="34" y="490"/>
                  </a:lnTo>
                  <a:lnTo>
                    <a:pt x="40" y="486"/>
                  </a:lnTo>
                  <a:lnTo>
                    <a:pt x="46" y="480"/>
                  </a:lnTo>
                  <a:lnTo>
                    <a:pt x="50" y="474"/>
                  </a:lnTo>
                  <a:lnTo>
                    <a:pt x="54" y="468"/>
                  </a:lnTo>
                  <a:lnTo>
                    <a:pt x="60" y="462"/>
                  </a:lnTo>
                  <a:lnTo>
                    <a:pt x="64" y="460"/>
                  </a:lnTo>
                  <a:lnTo>
                    <a:pt x="70" y="454"/>
                  </a:lnTo>
                  <a:lnTo>
                    <a:pt x="74" y="454"/>
                  </a:lnTo>
                  <a:lnTo>
                    <a:pt x="76" y="448"/>
                  </a:lnTo>
                  <a:lnTo>
                    <a:pt x="78" y="442"/>
                  </a:lnTo>
                  <a:lnTo>
                    <a:pt x="82" y="436"/>
                  </a:lnTo>
                  <a:lnTo>
                    <a:pt x="88" y="432"/>
                  </a:lnTo>
                  <a:lnTo>
                    <a:pt x="92" y="430"/>
                  </a:lnTo>
                  <a:lnTo>
                    <a:pt x="98" y="424"/>
                  </a:lnTo>
                  <a:lnTo>
                    <a:pt x="104" y="424"/>
                  </a:lnTo>
                  <a:lnTo>
                    <a:pt x="110" y="430"/>
                  </a:lnTo>
                  <a:lnTo>
                    <a:pt x="114" y="430"/>
                  </a:lnTo>
                  <a:lnTo>
                    <a:pt x="122" y="430"/>
                  </a:lnTo>
                  <a:lnTo>
                    <a:pt x="124" y="430"/>
                  </a:lnTo>
                  <a:lnTo>
                    <a:pt x="126" y="424"/>
                  </a:lnTo>
                  <a:lnTo>
                    <a:pt x="126" y="418"/>
                  </a:lnTo>
                  <a:lnTo>
                    <a:pt x="128" y="412"/>
                  </a:lnTo>
                  <a:lnTo>
                    <a:pt x="132" y="418"/>
                  </a:lnTo>
                  <a:lnTo>
                    <a:pt x="138" y="422"/>
                  </a:lnTo>
                  <a:lnTo>
                    <a:pt x="144" y="424"/>
                  </a:lnTo>
                  <a:lnTo>
                    <a:pt x="146" y="430"/>
                  </a:lnTo>
                  <a:lnTo>
                    <a:pt x="148" y="436"/>
                  </a:lnTo>
                  <a:lnTo>
                    <a:pt x="154" y="436"/>
                  </a:lnTo>
                  <a:lnTo>
                    <a:pt x="156" y="440"/>
                  </a:lnTo>
                  <a:lnTo>
                    <a:pt x="158" y="446"/>
                  </a:lnTo>
                  <a:lnTo>
                    <a:pt x="158" y="452"/>
                  </a:lnTo>
                  <a:lnTo>
                    <a:pt x="160" y="458"/>
                  </a:lnTo>
                  <a:lnTo>
                    <a:pt x="166" y="460"/>
                  </a:lnTo>
                  <a:lnTo>
                    <a:pt x="170" y="460"/>
                  </a:lnTo>
                  <a:lnTo>
                    <a:pt x="176" y="460"/>
                  </a:lnTo>
                  <a:lnTo>
                    <a:pt x="178" y="454"/>
                  </a:lnTo>
                  <a:lnTo>
                    <a:pt x="182" y="448"/>
                  </a:lnTo>
                  <a:lnTo>
                    <a:pt x="188" y="444"/>
                  </a:lnTo>
                  <a:lnTo>
                    <a:pt x="188" y="438"/>
                  </a:lnTo>
                  <a:lnTo>
                    <a:pt x="186" y="434"/>
                  </a:lnTo>
                  <a:lnTo>
                    <a:pt x="190" y="428"/>
                  </a:lnTo>
                  <a:lnTo>
                    <a:pt x="196" y="422"/>
                  </a:lnTo>
                  <a:lnTo>
                    <a:pt x="202" y="418"/>
                  </a:lnTo>
                  <a:lnTo>
                    <a:pt x="206" y="412"/>
                  </a:lnTo>
                  <a:lnTo>
                    <a:pt x="202" y="406"/>
                  </a:lnTo>
                  <a:lnTo>
                    <a:pt x="202" y="400"/>
                  </a:lnTo>
                  <a:lnTo>
                    <a:pt x="206" y="394"/>
                  </a:lnTo>
                  <a:lnTo>
                    <a:pt x="210" y="390"/>
                  </a:lnTo>
                  <a:lnTo>
                    <a:pt x="214" y="384"/>
                  </a:lnTo>
                  <a:lnTo>
                    <a:pt x="216" y="378"/>
                  </a:lnTo>
                  <a:lnTo>
                    <a:pt x="216" y="372"/>
                  </a:lnTo>
                  <a:lnTo>
                    <a:pt x="218" y="366"/>
                  </a:lnTo>
                  <a:lnTo>
                    <a:pt x="222" y="360"/>
                  </a:lnTo>
                  <a:lnTo>
                    <a:pt x="228" y="354"/>
                  </a:lnTo>
                  <a:lnTo>
                    <a:pt x="226" y="352"/>
                  </a:lnTo>
                  <a:lnTo>
                    <a:pt x="226" y="346"/>
                  </a:lnTo>
                  <a:lnTo>
                    <a:pt x="228" y="340"/>
                  </a:lnTo>
                  <a:lnTo>
                    <a:pt x="228" y="334"/>
                  </a:lnTo>
                  <a:lnTo>
                    <a:pt x="228" y="328"/>
                  </a:lnTo>
                  <a:lnTo>
                    <a:pt x="232" y="322"/>
                  </a:lnTo>
                  <a:lnTo>
                    <a:pt x="236" y="320"/>
                  </a:lnTo>
                  <a:lnTo>
                    <a:pt x="240" y="316"/>
                  </a:lnTo>
                  <a:lnTo>
                    <a:pt x="238" y="312"/>
                  </a:lnTo>
                  <a:lnTo>
                    <a:pt x="240" y="310"/>
                  </a:lnTo>
                  <a:lnTo>
                    <a:pt x="246" y="310"/>
                  </a:lnTo>
                  <a:lnTo>
                    <a:pt x="252" y="308"/>
                  </a:lnTo>
                  <a:lnTo>
                    <a:pt x="258" y="304"/>
                  </a:lnTo>
                  <a:lnTo>
                    <a:pt x="262" y="298"/>
                  </a:lnTo>
                  <a:lnTo>
                    <a:pt x="264" y="292"/>
                  </a:lnTo>
                  <a:lnTo>
                    <a:pt x="264" y="286"/>
                  </a:lnTo>
                  <a:lnTo>
                    <a:pt x="266" y="282"/>
                  </a:lnTo>
                  <a:lnTo>
                    <a:pt x="266" y="274"/>
                  </a:lnTo>
                  <a:lnTo>
                    <a:pt x="266" y="272"/>
                  </a:lnTo>
                  <a:lnTo>
                    <a:pt x="270" y="266"/>
                  </a:lnTo>
                  <a:lnTo>
                    <a:pt x="270" y="260"/>
                  </a:lnTo>
                  <a:lnTo>
                    <a:pt x="266" y="258"/>
                  </a:lnTo>
                  <a:lnTo>
                    <a:pt x="272" y="252"/>
                  </a:lnTo>
                  <a:lnTo>
                    <a:pt x="278" y="248"/>
                  </a:lnTo>
                  <a:lnTo>
                    <a:pt x="284" y="248"/>
                  </a:lnTo>
                  <a:lnTo>
                    <a:pt x="290" y="242"/>
                  </a:lnTo>
                  <a:lnTo>
                    <a:pt x="290" y="240"/>
                  </a:lnTo>
                  <a:lnTo>
                    <a:pt x="290" y="234"/>
                  </a:lnTo>
                  <a:lnTo>
                    <a:pt x="292" y="228"/>
                  </a:lnTo>
                  <a:lnTo>
                    <a:pt x="288" y="222"/>
                  </a:lnTo>
                  <a:lnTo>
                    <a:pt x="290" y="216"/>
                  </a:lnTo>
                  <a:lnTo>
                    <a:pt x="290" y="214"/>
                  </a:lnTo>
                  <a:lnTo>
                    <a:pt x="290" y="212"/>
                  </a:lnTo>
                  <a:lnTo>
                    <a:pt x="294" y="206"/>
                  </a:lnTo>
                  <a:lnTo>
                    <a:pt x="298" y="206"/>
                  </a:lnTo>
                  <a:lnTo>
                    <a:pt x="300" y="204"/>
                  </a:lnTo>
                  <a:lnTo>
                    <a:pt x="304" y="200"/>
                  </a:lnTo>
                  <a:lnTo>
                    <a:pt x="304" y="194"/>
                  </a:lnTo>
                  <a:lnTo>
                    <a:pt x="304" y="188"/>
                  </a:lnTo>
                  <a:lnTo>
                    <a:pt x="306" y="182"/>
                  </a:lnTo>
                  <a:lnTo>
                    <a:pt x="306" y="176"/>
                  </a:lnTo>
                  <a:lnTo>
                    <a:pt x="308" y="170"/>
                  </a:lnTo>
                  <a:lnTo>
                    <a:pt x="312" y="164"/>
                  </a:lnTo>
                  <a:lnTo>
                    <a:pt x="316" y="158"/>
                  </a:lnTo>
                  <a:lnTo>
                    <a:pt x="318" y="152"/>
                  </a:lnTo>
                  <a:lnTo>
                    <a:pt x="322" y="148"/>
                  </a:lnTo>
                  <a:lnTo>
                    <a:pt x="322" y="142"/>
                  </a:lnTo>
                  <a:lnTo>
                    <a:pt x="326" y="136"/>
                  </a:lnTo>
                  <a:lnTo>
                    <a:pt x="330" y="130"/>
                  </a:lnTo>
                  <a:lnTo>
                    <a:pt x="336" y="126"/>
                  </a:lnTo>
                  <a:lnTo>
                    <a:pt x="338" y="126"/>
                  </a:lnTo>
                  <a:lnTo>
                    <a:pt x="344" y="128"/>
                  </a:lnTo>
                  <a:lnTo>
                    <a:pt x="350" y="124"/>
                  </a:lnTo>
                  <a:lnTo>
                    <a:pt x="356" y="120"/>
                  </a:lnTo>
                  <a:lnTo>
                    <a:pt x="362" y="116"/>
                  </a:lnTo>
                  <a:lnTo>
                    <a:pt x="368" y="112"/>
                  </a:lnTo>
                  <a:lnTo>
                    <a:pt x="374" y="106"/>
                  </a:lnTo>
                  <a:lnTo>
                    <a:pt x="374" y="100"/>
                  </a:lnTo>
                  <a:lnTo>
                    <a:pt x="370" y="94"/>
                  </a:lnTo>
                  <a:lnTo>
                    <a:pt x="372" y="88"/>
                  </a:lnTo>
                  <a:lnTo>
                    <a:pt x="374" y="82"/>
                  </a:lnTo>
                  <a:lnTo>
                    <a:pt x="374" y="76"/>
                  </a:lnTo>
                  <a:lnTo>
                    <a:pt x="374" y="70"/>
                  </a:lnTo>
                  <a:lnTo>
                    <a:pt x="376" y="64"/>
                  </a:lnTo>
                  <a:lnTo>
                    <a:pt x="370" y="60"/>
                  </a:lnTo>
                  <a:lnTo>
                    <a:pt x="366" y="54"/>
                  </a:lnTo>
                  <a:lnTo>
                    <a:pt x="364" y="52"/>
                  </a:lnTo>
                  <a:lnTo>
                    <a:pt x="360" y="50"/>
                  </a:lnTo>
                  <a:lnTo>
                    <a:pt x="356" y="50"/>
                  </a:lnTo>
                  <a:lnTo>
                    <a:pt x="348" y="50"/>
                  </a:lnTo>
                  <a:lnTo>
                    <a:pt x="346" y="50"/>
                  </a:lnTo>
                  <a:lnTo>
                    <a:pt x="346" y="44"/>
                  </a:lnTo>
                  <a:lnTo>
                    <a:pt x="348" y="42"/>
                  </a:lnTo>
                  <a:lnTo>
                    <a:pt x="346" y="36"/>
                  </a:lnTo>
                  <a:lnTo>
                    <a:pt x="346" y="30"/>
                  </a:lnTo>
                  <a:lnTo>
                    <a:pt x="344" y="24"/>
                  </a:lnTo>
                  <a:lnTo>
                    <a:pt x="342" y="18"/>
                  </a:lnTo>
                  <a:lnTo>
                    <a:pt x="342" y="12"/>
                  </a:lnTo>
                  <a:lnTo>
                    <a:pt x="340" y="6"/>
                  </a:lnTo>
                  <a:lnTo>
                    <a:pt x="340" y="0"/>
                  </a:lnTo>
                  <a:lnTo>
                    <a:pt x="342" y="0"/>
                  </a:lnTo>
                  <a:lnTo>
                    <a:pt x="348" y="0"/>
                  </a:lnTo>
                  <a:lnTo>
                    <a:pt x="350" y="0"/>
                  </a:lnTo>
                  <a:lnTo>
                    <a:pt x="356" y="0"/>
                  </a:lnTo>
                  <a:lnTo>
                    <a:pt x="362" y="0"/>
                  </a:lnTo>
                  <a:lnTo>
                    <a:pt x="366" y="6"/>
                  </a:lnTo>
                  <a:lnTo>
                    <a:pt x="366" y="8"/>
                  </a:lnTo>
                  <a:lnTo>
                    <a:pt x="366" y="12"/>
                  </a:lnTo>
                  <a:lnTo>
                    <a:pt x="368" y="18"/>
                  </a:lnTo>
                  <a:lnTo>
                    <a:pt x="368" y="22"/>
                  </a:lnTo>
                  <a:lnTo>
                    <a:pt x="376" y="26"/>
                  </a:lnTo>
                  <a:lnTo>
                    <a:pt x="378" y="30"/>
                  </a:lnTo>
                  <a:lnTo>
                    <a:pt x="384" y="32"/>
                  </a:lnTo>
                  <a:lnTo>
                    <a:pt x="386" y="32"/>
                  </a:lnTo>
                  <a:lnTo>
                    <a:pt x="386" y="38"/>
                  </a:lnTo>
                  <a:lnTo>
                    <a:pt x="386" y="44"/>
                  </a:lnTo>
                  <a:lnTo>
                    <a:pt x="390" y="48"/>
                  </a:lnTo>
                  <a:lnTo>
                    <a:pt x="390" y="52"/>
                  </a:lnTo>
                  <a:lnTo>
                    <a:pt x="390" y="58"/>
                  </a:lnTo>
                  <a:lnTo>
                    <a:pt x="390" y="64"/>
                  </a:lnTo>
                  <a:lnTo>
                    <a:pt x="390" y="66"/>
                  </a:lnTo>
                  <a:lnTo>
                    <a:pt x="396" y="68"/>
                  </a:lnTo>
                  <a:lnTo>
                    <a:pt x="398" y="68"/>
                  </a:lnTo>
                  <a:lnTo>
                    <a:pt x="398" y="70"/>
                  </a:lnTo>
                  <a:lnTo>
                    <a:pt x="398" y="74"/>
                  </a:lnTo>
                  <a:lnTo>
                    <a:pt x="400" y="80"/>
                  </a:lnTo>
                  <a:lnTo>
                    <a:pt x="402" y="86"/>
                  </a:lnTo>
                  <a:lnTo>
                    <a:pt x="402" y="92"/>
                  </a:lnTo>
                  <a:lnTo>
                    <a:pt x="400" y="98"/>
                  </a:lnTo>
                  <a:lnTo>
                    <a:pt x="402" y="104"/>
                  </a:lnTo>
                  <a:lnTo>
                    <a:pt x="404" y="110"/>
                  </a:lnTo>
                  <a:lnTo>
                    <a:pt x="400" y="116"/>
                  </a:lnTo>
                  <a:lnTo>
                    <a:pt x="398" y="120"/>
                  </a:lnTo>
                  <a:lnTo>
                    <a:pt x="398" y="128"/>
                  </a:lnTo>
                  <a:lnTo>
                    <a:pt x="398" y="134"/>
                  </a:lnTo>
                  <a:lnTo>
                    <a:pt x="398" y="138"/>
                  </a:lnTo>
                  <a:lnTo>
                    <a:pt x="398" y="142"/>
                  </a:lnTo>
                  <a:lnTo>
                    <a:pt x="400" y="148"/>
                  </a:lnTo>
                  <a:lnTo>
                    <a:pt x="400" y="154"/>
                  </a:lnTo>
                  <a:lnTo>
                    <a:pt x="400" y="160"/>
                  </a:lnTo>
                  <a:lnTo>
                    <a:pt x="404" y="166"/>
                  </a:lnTo>
                  <a:lnTo>
                    <a:pt x="406" y="172"/>
                  </a:lnTo>
                  <a:lnTo>
                    <a:pt x="406" y="178"/>
                  </a:lnTo>
                  <a:lnTo>
                    <a:pt x="410" y="182"/>
                  </a:lnTo>
                  <a:lnTo>
                    <a:pt x="414" y="188"/>
                  </a:lnTo>
                  <a:lnTo>
                    <a:pt x="418" y="194"/>
                  </a:lnTo>
                  <a:lnTo>
                    <a:pt x="420" y="198"/>
                  </a:lnTo>
                  <a:lnTo>
                    <a:pt x="426" y="204"/>
                  </a:lnTo>
                  <a:lnTo>
                    <a:pt x="432" y="210"/>
                  </a:lnTo>
                  <a:lnTo>
                    <a:pt x="436" y="214"/>
                  </a:lnTo>
                  <a:lnTo>
                    <a:pt x="438" y="214"/>
                  </a:lnTo>
                  <a:lnTo>
                    <a:pt x="434" y="216"/>
                  </a:lnTo>
                  <a:lnTo>
                    <a:pt x="428" y="218"/>
                  </a:lnTo>
                  <a:lnTo>
                    <a:pt x="422" y="218"/>
                  </a:lnTo>
                  <a:lnTo>
                    <a:pt x="416" y="216"/>
                  </a:lnTo>
                  <a:lnTo>
                    <a:pt x="410" y="214"/>
                  </a:lnTo>
                  <a:lnTo>
                    <a:pt x="404" y="214"/>
                  </a:lnTo>
                  <a:lnTo>
                    <a:pt x="402" y="216"/>
                  </a:lnTo>
                  <a:lnTo>
                    <a:pt x="396" y="216"/>
                  </a:lnTo>
                  <a:lnTo>
                    <a:pt x="394" y="216"/>
                  </a:lnTo>
                  <a:lnTo>
                    <a:pt x="388" y="218"/>
                  </a:lnTo>
                  <a:lnTo>
                    <a:pt x="380" y="218"/>
                  </a:lnTo>
                  <a:lnTo>
                    <a:pt x="376" y="216"/>
                  </a:lnTo>
                  <a:lnTo>
                    <a:pt x="370" y="214"/>
                  </a:lnTo>
                  <a:lnTo>
                    <a:pt x="364" y="214"/>
                  </a:lnTo>
                  <a:lnTo>
                    <a:pt x="360" y="214"/>
                  </a:lnTo>
                  <a:lnTo>
                    <a:pt x="354" y="214"/>
                  </a:lnTo>
                  <a:lnTo>
                    <a:pt x="348" y="214"/>
                  </a:lnTo>
                  <a:lnTo>
                    <a:pt x="348" y="216"/>
                  </a:lnTo>
                  <a:lnTo>
                    <a:pt x="344" y="222"/>
                  </a:lnTo>
                  <a:lnTo>
                    <a:pt x="342" y="228"/>
                  </a:lnTo>
                  <a:lnTo>
                    <a:pt x="336" y="234"/>
                  </a:lnTo>
                  <a:lnTo>
                    <a:pt x="334" y="234"/>
                  </a:lnTo>
                  <a:lnTo>
                    <a:pt x="336" y="240"/>
                  </a:lnTo>
                  <a:lnTo>
                    <a:pt x="340" y="244"/>
                  </a:lnTo>
                  <a:lnTo>
                    <a:pt x="344" y="250"/>
                  </a:lnTo>
                  <a:lnTo>
                    <a:pt x="348" y="256"/>
                  </a:lnTo>
                  <a:lnTo>
                    <a:pt x="354" y="262"/>
                  </a:lnTo>
                  <a:lnTo>
                    <a:pt x="356" y="268"/>
                  </a:lnTo>
                  <a:lnTo>
                    <a:pt x="356" y="270"/>
                  </a:lnTo>
                  <a:lnTo>
                    <a:pt x="362" y="276"/>
                  </a:lnTo>
                  <a:lnTo>
                    <a:pt x="368" y="282"/>
                  </a:lnTo>
                  <a:lnTo>
                    <a:pt x="374" y="286"/>
                  </a:lnTo>
                  <a:lnTo>
                    <a:pt x="380" y="290"/>
                  </a:lnTo>
                  <a:lnTo>
                    <a:pt x="386" y="296"/>
                  </a:lnTo>
                  <a:lnTo>
                    <a:pt x="392" y="300"/>
                  </a:lnTo>
                  <a:lnTo>
                    <a:pt x="396" y="306"/>
                  </a:lnTo>
                  <a:lnTo>
                    <a:pt x="398" y="306"/>
                  </a:lnTo>
                  <a:lnTo>
                    <a:pt x="402" y="312"/>
                  </a:lnTo>
                  <a:lnTo>
                    <a:pt x="408" y="316"/>
                  </a:lnTo>
                  <a:lnTo>
                    <a:pt x="410" y="322"/>
                  </a:lnTo>
                  <a:lnTo>
                    <a:pt x="410" y="324"/>
                  </a:lnTo>
                  <a:lnTo>
                    <a:pt x="414" y="330"/>
                  </a:lnTo>
                  <a:lnTo>
                    <a:pt x="416" y="336"/>
                  </a:lnTo>
                  <a:lnTo>
                    <a:pt x="418" y="342"/>
                  </a:lnTo>
                  <a:lnTo>
                    <a:pt x="420" y="348"/>
                  </a:lnTo>
                  <a:lnTo>
                    <a:pt x="422" y="354"/>
                  </a:lnTo>
                  <a:lnTo>
                    <a:pt x="424" y="360"/>
                  </a:lnTo>
                  <a:lnTo>
                    <a:pt x="426" y="366"/>
                  </a:lnTo>
                  <a:lnTo>
                    <a:pt x="428" y="368"/>
                  </a:lnTo>
                  <a:lnTo>
                    <a:pt x="432" y="368"/>
                  </a:lnTo>
                  <a:lnTo>
                    <a:pt x="432" y="372"/>
                  </a:lnTo>
                  <a:lnTo>
                    <a:pt x="432" y="380"/>
                  </a:lnTo>
                  <a:lnTo>
                    <a:pt x="428" y="384"/>
                  </a:lnTo>
                  <a:lnTo>
                    <a:pt x="424" y="390"/>
                  </a:lnTo>
                  <a:lnTo>
                    <a:pt x="420" y="396"/>
                  </a:lnTo>
                  <a:lnTo>
                    <a:pt x="414" y="402"/>
                  </a:lnTo>
                  <a:lnTo>
                    <a:pt x="412" y="404"/>
                  </a:lnTo>
                  <a:lnTo>
                    <a:pt x="410" y="408"/>
                  </a:lnTo>
                  <a:lnTo>
                    <a:pt x="410" y="414"/>
                  </a:lnTo>
                  <a:lnTo>
                    <a:pt x="406" y="420"/>
                  </a:lnTo>
                  <a:lnTo>
                    <a:pt x="404" y="426"/>
                  </a:lnTo>
                  <a:lnTo>
                    <a:pt x="402" y="432"/>
                  </a:lnTo>
                  <a:lnTo>
                    <a:pt x="400" y="438"/>
                  </a:lnTo>
                  <a:lnTo>
                    <a:pt x="398" y="438"/>
                  </a:lnTo>
                  <a:lnTo>
                    <a:pt x="394" y="442"/>
                  </a:lnTo>
                  <a:lnTo>
                    <a:pt x="390" y="448"/>
                  </a:lnTo>
                  <a:lnTo>
                    <a:pt x="390" y="456"/>
                  </a:lnTo>
                  <a:lnTo>
                    <a:pt x="386" y="464"/>
                  </a:lnTo>
                  <a:lnTo>
                    <a:pt x="384" y="470"/>
                  </a:lnTo>
                  <a:lnTo>
                    <a:pt x="376" y="474"/>
                  </a:lnTo>
                  <a:lnTo>
                    <a:pt x="370" y="476"/>
                  </a:lnTo>
                  <a:lnTo>
                    <a:pt x="364" y="484"/>
                  </a:lnTo>
                  <a:lnTo>
                    <a:pt x="362" y="484"/>
                  </a:lnTo>
                  <a:lnTo>
                    <a:pt x="362" y="486"/>
                  </a:lnTo>
                  <a:lnTo>
                    <a:pt x="362" y="488"/>
                  </a:lnTo>
                  <a:lnTo>
                    <a:pt x="364" y="494"/>
                  </a:lnTo>
                  <a:lnTo>
                    <a:pt x="370" y="496"/>
                  </a:lnTo>
                  <a:lnTo>
                    <a:pt x="372" y="496"/>
                  </a:lnTo>
                  <a:lnTo>
                    <a:pt x="374" y="502"/>
                  </a:lnTo>
                  <a:lnTo>
                    <a:pt x="374" y="508"/>
                  </a:lnTo>
                  <a:lnTo>
                    <a:pt x="374" y="514"/>
                  </a:lnTo>
                  <a:lnTo>
                    <a:pt x="372" y="520"/>
                  </a:lnTo>
                  <a:lnTo>
                    <a:pt x="374" y="526"/>
                  </a:lnTo>
                  <a:lnTo>
                    <a:pt x="372" y="532"/>
                  </a:lnTo>
                  <a:lnTo>
                    <a:pt x="370" y="538"/>
                  </a:lnTo>
                  <a:lnTo>
                    <a:pt x="368" y="540"/>
                  </a:lnTo>
                  <a:lnTo>
                    <a:pt x="374" y="544"/>
                  </a:lnTo>
                  <a:lnTo>
                    <a:pt x="376" y="546"/>
                  </a:lnTo>
                  <a:lnTo>
                    <a:pt x="378" y="552"/>
                  </a:lnTo>
                  <a:lnTo>
                    <a:pt x="378" y="558"/>
                  </a:lnTo>
                  <a:lnTo>
                    <a:pt x="378" y="560"/>
                  </a:lnTo>
                  <a:lnTo>
                    <a:pt x="380" y="566"/>
                  </a:lnTo>
                  <a:lnTo>
                    <a:pt x="380" y="572"/>
                  </a:lnTo>
                  <a:lnTo>
                    <a:pt x="380" y="578"/>
                  </a:lnTo>
                  <a:lnTo>
                    <a:pt x="380" y="584"/>
                  </a:lnTo>
                  <a:lnTo>
                    <a:pt x="384" y="590"/>
                  </a:lnTo>
                  <a:lnTo>
                    <a:pt x="390" y="594"/>
                  </a:lnTo>
                  <a:lnTo>
                    <a:pt x="396" y="598"/>
                  </a:lnTo>
                  <a:lnTo>
                    <a:pt x="398" y="600"/>
                  </a:lnTo>
                  <a:lnTo>
                    <a:pt x="400" y="606"/>
                  </a:lnTo>
                  <a:lnTo>
                    <a:pt x="402" y="612"/>
                  </a:lnTo>
                  <a:lnTo>
                    <a:pt x="404" y="618"/>
                  </a:lnTo>
                  <a:lnTo>
                    <a:pt x="406" y="622"/>
                  </a:lnTo>
                  <a:lnTo>
                    <a:pt x="410" y="626"/>
                  </a:lnTo>
                  <a:lnTo>
                    <a:pt x="404" y="628"/>
                  </a:lnTo>
                  <a:lnTo>
                    <a:pt x="402" y="634"/>
                  </a:lnTo>
                  <a:lnTo>
                    <a:pt x="406" y="640"/>
                  </a:lnTo>
                  <a:lnTo>
                    <a:pt x="410" y="646"/>
                  </a:lnTo>
                  <a:lnTo>
                    <a:pt x="414" y="652"/>
                  </a:lnTo>
                  <a:lnTo>
                    <a:pt x="420" y="658"/>
                  </a:lnTo>
                  <a:lnTo>
                    <a:pt x="424" y="664"/>
                  </a:lnTo>
                  <a:lnTo>
                    <a:pt x="430" y="670"/>
                  </a:lnTo>
                  <a:lnTo>
                    <a:pt x="436" y="676"/>
                  </a:lnTo>
                  <a:lnTo>
                    <a:pt x="440" y="682"/>
                  </a:lnTo>
                  <a:lnTo>
                    <a:pt x="444" y="688"/>
                  </a:lnTo>
                  <a:lnTo>
                    <a:pt x="450" y="690"/>
                  </a:lnTo>
                  <a:lnTo>
                    <a:pt x="456" y="690"/>
                  </a:lnTo>
                  <a:lnTo>
                    <a:pt x="458" y="696"/>
                  </a:lnTo>
                  <a:lnTo>
                    <a:pt x="464" y="702"/>
                  </a:lnTo>
                  <a:lnTo>
                    <a:pt x="466" y="710"/>
                  </a:lnTo>
                  <a:lnTo>
                    <a:pt x="464" y="714"/>
                  </a:lnTo>
                  <a:lnTo>
                    <a:pt x="466" y="718"/>
                  </a:lnTo>
                  <a:lnTo>
                    <a:pt x="466" y="724"/>
                  </a:lnTo>
                  <a:lnTo>
                    <a:pt x="464" y="730"/>
                  </a:lnTo>
                  <a:lnTo>
                    <a:pt x="466" y="736"/>
                  </a:lnTo>
                  <a:lnTo>
                    <a:pt x="466" y="742"/>
                  </a:lnTo>
                  <a:lnTo>
                    <a:pt x="470" y="748"/>
                  </a:lnTo>
                  <a:lnTo>
                    <a:pt x="472" y="752"/>
                  </a:lnTo>
                  <a:lnTo>
                    <a:pt x="466" y="754"/>
                  </a:lnTo>
                  <a:lnTo>
                    <a:pt x="464" y="760"/>
                  </a:lnTo>
                  <a:lnTo>
                    <a:pt x="464" y="764"/>
                  </a:lnTo>
                  <a:lnTo>
                    <a:pt x="466" y="772"/>
                  </a:lnTo>
                  <a:lnTo>
                    <a:pt x="466" y="778"/>
                  </a:lnTo>
                  <a:lnTo>
                    <a:pt x="468" y="784"/>
                  </a:lnTo>
                  <a:lnTo>
                    <a:pt x="464" y="790"/>
                  </a:lnTo>
                  <a:lnTo>
                    <a:pt x="464" y="792"/>
                  </a:lnTo>
                  <a:lnTo>
                    <a:pt x="462" y="790"/>
                  </a:lnTo>
                  <a:lnTo>
                    <a:pt x="458" y="782"/>
                  </a:lnTo>
                  <a:lnTo>
                    <a:pt x="452" y="780"/>
                  </a:lnTo>
                  <a:lnTo>
                    <a:pt x="446" y="774"/>
                  </a:lnTo>
                  <a:lnTo>
                    <a:pt x="440" y="772"/>
                  </a:lnTo>
                  <a:lnTo>
                    <a:pt x="434" y="770"/>
                  </a:lnTo>
                  <a:lnTo>
                    <a:pt x="428" y="768"/>
                  </a:lnTo>
                  <a:lnTo>
                    <a:pt x="422" y="772"/>
                  </a:lnTo>
                  <a:lnTo>
                    <a:pt x="416" y="768"/>
                  </a:lnTo>
                  <a:lnTo>
                    <a:pt x="410" y="764"/>
                  </a:lnTo>
                  <a:lnTo>
                    <a:pt x="410" y="766"/>
                  </a:lnTo>
                  <a:lnTo>
                    <a:pt x="404" y="768"/>
                  </a:lnTo>
                  <a:lnTo>
                    <a:pt x="398" y="766"/>
                  </a:lnTo>
                  <a:lnTo>
                    <a:pt x="392" y="766"/>
                  </a:lnTo>
                  <a:lnTo>
                    <a:pt x="390" y="760"/>
                  </a:lnTo>
                  <a:lnTo>
                    <a:pt x="384" y="760"/>
                  </a:lnTo>
                  <a:lnTo>
                    <a:pt x="378" y="758"/>
                  </a:lnTo>
                  <a:lnTo>
                    <a:pt x="372" y="754"/>
                  </a:lnTo>
                  <a:lnTo>
                    <a:pt x="366" y="756"/>
                  </a:lnTo>
                  <a:lnTo>
                    <a:pt x="360" y="756"/>
                  </a:lnTo>
                  <a:lnTo>
                    <a:pt x="352" y="756"/>
                  </a:lnTo>
                  <a:lnTo>
                    <a:pt x="348" y="756"/>
                  </a:lnTo>
                  <a:lnTo>
                    <a:pt x="342" y="756"/>
                  </a:lnTo>
                  <a:lnTo>
                    <a:pt x="334" y="756"/>
                  </a:lnTo>
                  <a:lnTo>
                    <a:pt x="328" y="756"/>
                  </a:lnTo>
                  <a:lnTo>
                    <a:pt x="322" y="756"/>
                  </a:lnTo>
                  <a:lnTo>
                    <a:pt x="316" y="756"/>
                  </a:lnTo>
                  <a:lnTo>
                    <a:pt x="310" y="756"/>
                  </a:lnTo>
                  <a:lnTo>
                    <a:pt x="304" y="756"/>
                  </a:lnTo>
                  <a:lnTo>
                    <a:pt x="298" y="756"/>
                  </a:lnTo>
                  <a:lnTo>
                    <a:pt x="294" y="756"/>
                  </a:lnTo>
                  <a:lnTo>
                    <a:pt x="294" y="754"/>
                  </a:lnTo>
                  <a:lnTo>
                    <a:pt x="292" y="748"/>
                  </a:lnTo>
                  <a:lnTo>
                    <a:pt x="284" y="748"/>
                  </a:lnTo>
                  <a:lnTo>
                    <a:pt x="280" y="750"/>
                  </a:lnTo>
                  <a:lnTo>
                    <a:pt x="274" y="750"/>
                  </a:lnTo>
                  <a:lnTo>
                    <a:pt x="266" y="750"/>
                  </a:lnTo>
                  <a:lnTo>
                    <a:pt x="262" y="752"/>
                  </a:lnTo>
                  <a:lnTo>
                    <a:pt x="256" y="750"/>
                  </a:lnTo>
                  <a:lnTo>
                    <a:pt x="250" y="748"/>
                  </a:lnTo>
                  <a:lnTo>
                    <a:pt x="244" y="746"/>
                  </a:lnTo>
                  <a:lnTo>
                    <a:pt x="238" y="748"/>
                  </a:lnTo>
                  <a:lnTo>
                    <a:pt x="234" y="746"/>
                  </a:lnTo>
                  <a:lnTo>
                    <a:pt x="228" y="748"/>
                  </a:lnTo>
                  <a:lnTo>
                    <a:pt x="224" y="748"/>
                  </a:lnTo>
                  <a:lnTo>
                    <a:pt x="218" y="748"/>
                  </a:lnTo>
                  <a:lnTo>
                    <a:pt x="212" y="748"/>
                  </a:lnTo>
                  <a:lnTo>
                    <a:pt x="206" y="748"/>
                  </a:lnTo>
                  <a:lnTo>
                    <a:pt x="200" y="748"/>
                  </a:lnTo>
                  <a:lnTo>
                    <a:pt x="194" y="744"/>
                  </a:lnTo>
                  <a:lnTo>
                    <a:pt x="192" y="746"/>
                  </a:lnTo>
                  <a:lnTo>
                    <a:pt x="186" y="746"/>
                  </a:lnTo>
                  <a:lnTo>
                    <a:pt x="180" y="746"/>
                  </a:lnTo>
                  <a:lnTo>
                    <a:pt x="176" y="746"/>
                  </a:lnTo>
                  <a:lnTo>
                    <a:pt x="174" y="752"/>
                  </a:lnTo>
                  <a:lnTo>
                    <a:pt x="174" y="754"/>
                  </a:lnTo>
                  <a:lnTo>
                    <a:pt x="174" y="756"/>
                  </a:lnTo>
                  <a:lnTo>
                    <a:pt x="168" y="756"/>
                  </a:lnTo>
                  <a:lnTo>
                    <a:pt x="162" y="756"/>
                  </a:lnTo>
                  <a:lnTo>
                    <a:pt x="156" y="756"/>
                  </a:lnTo>
                  <a:lnTo>
                    <a:pt x="150" y="756"/>
                  </a:lnTo>
                  <a:lnTo>
                    <a:pt x="144" y="756"/>
                  </a:lnTo>
                  <a:lnTo>
                    <a:pt x="138" y="756"/>
                  </a:lnTo>
                  <a:lnTo>
                    <a:pt x="132" y="756"/>
                  </a:lnTo>
                  <a:lnTo>
                    <a:pt x="126" y="756"/>
                  </a:lnTo>
                  <a:lnTo>
                    <a:pt x="120" y="756"/>
                  </a:lnTo>
                  <a:lnTo>
                    <a:pt x="114" y="756"/>
                  </a:lnTo>
                  <a:lnTo>
                    <a:pt x="110" y="756"/>
                  </a:lnTo>
                  <a:lnTo>
                    <a:pt x="104" y="756"/>
                  </a:lnTo>
                  <a:lnTo>
                    <a:pt x="102" y="756"/>
                  </a:lnTo>
                  <a:lnTo>
                    <a:pt x="96" y="756"/>
                  </a:lnTo>
                  <a:lnTo>
                    <a:pt x="94" y="756"/>
                  </a:lnTo>
                  <a:lnTo>
                    <a:pt x="92" y="756"/>
                  </a:lnTo>
                  <a:lnTo>
                    <a:pt x="86" y="752"/>
                  </a:lnTo>
                  <a:lnTo>
                    <a:pt x="82" y="748"/>
                  </a:lnTo>
                  <a:lnTo>
                    <a:pt x="80" y="744"/>
                  </a:lnTo>
                  <a:lnTo>
                    <a:pt x="80" y="740"/>
                  </a:lnTo>
                  <a:lnTo>
                    <a:pt x="80" y="734"/>
                  </a:lnTo>
                  <a:lnTo>
                    <a:pt x="82" y="728"/>
                  </a:lnTo>
                  <a:lnTo>
                    <a:pt x="82" y="722"/>
                  </a:lnTo>
                  <a:lnTo>
                    <a:pt x="84" y="716"/>
                  </a:lnTo>
                  <a:lnTo>
                    <a:pt x="84" y="710"/>
                  </a:lnTo>
                  <a:lnTo>
                    <a:pt x="86" y="704"/>
                  </a:lnTo>
                  <a:lnTo>
                    <a:pt x="88" y="698"/>
                  </a:lnTo>
                  <a:lnTo>
                    <a:pt x="90" y="692"/>
                  </a:lnTo>
                  <a:lnTo>
                    <a:pt x="88" y="686"/>
                  </a:lnTo>
                  <a:lnTo>
                    <a:pt x="88" y="680"/>
                  </a:lnTo>
                  <a:lnTo>
                    <a:pt x="84" y="676"/>
                  </a:lnTo>
                  <a:lnTo>
                    <a:pt x="80" y="670"/>
                  </a:lnTo>
                  <a:lnTo>
                    <a:pt x="74" y="664"/>
                  </a:lnTo>
                  <a:lnTo>
                    <a:pt x="76" y="658"/>
                  </a:lnTo>
                  <a:lnTo>
                    <a:pt x="80" y="654"/>
                  </a:lnTo>
                  <a:lnTo>
                    <a:pt x="76" y="656"/>
                  </a:lnTo>
                  <a:lnTo>
                    <a:pt x="68" y="656"/>
                  </a:lnTo>
                  <a:lnTo>
                    <a:pt x="68" y="650"/>
                  </a:lnTo>
                  <a:lnTo>
                    <a:pt x="68" y="644"/>
                  </a:lnTo>
                  <a:lnTo>
                    <a:pt x="72" y="640"/>
                  </a:lnTo>
                  <a:lnTo>
                    <a:pt x="74" y="640"/>
                  </a:lnTo>
                  <a:lnTo>
                    <a:pt x="76" y="638"/>
                  </a:lnTo>
                  <a:lnTo>
                    <a:pt x="76" y="632"/>
                  </a:lnTo>
                  <a:lnTo>
                    <a:pt x="70" y="630"/>
                  </a:lnTo>
                  <a:lnTo>
                    <a:pt x="72" y="624"/>
                  </a:lnTo>
                  <a:lnTo>
                    <a:pt x="74" y="624"/>
                  </a:lnTo>
                  <a:lnTo>
                    <a:pt x="74" y="620"/>
                  </a:lnTo>
                  <a:lnTo>
                    <a:pt x="72" y="624"/>
                  </a:lnTo>
                  <a:lnTo>
                    <a:pt x="70" y="624"/>
                  </a:lnTo>
                  <a:lnTo>
                    <a:pt x="64" y="628"/>
                  </a:lnTo>
                  <a:lnTo>
                    <a:pt x="62" y="622"/>
                  </a:lnTo>
                  <a:lnTo>
                    <a:pt x="58" y="624"/>
                  </a:lnTo>
                  <a:lnTo>
                    <a:pt x="60" y="624"/>
                  </a:lnTo>
                  <a:lnTo>
                    <a:pt x="60" y="626"/>
                  </a:lnTo>
                  <a:lnTo>
                    <a:pt x="62" y="628"/>
                  </a:lnTo>
                  <a:lnTo>
                    <a:pt x="60" y="628"/>
                  </a:lnTo>
                  <a:lnTo>
                    <a:pt x="58" y="626"/>
                  </a:lnTo>
                  <a:lnTo>
                    <a:pt x="60" y="630"/>
                  </a:lnTo>
                  <a:lnTo>
                    <a:pt x="58" y="636"/>
                  </a:lnTo>
                  <a:lnTo>
                    <a:pt x="52" y="634"/>
                  </a:lnTo>
                  <a:lnTo>
                    <a:pt x="50" y="630"/>
                  </a:lnTo>
                  <a:lnTo>
                    <a:pt x="50" y="626"/>
                  </a:lnTo>
                  <a:lnTo>
                    <a:pt x="48" y="630"/>
                  </a:lnTo>
                  <a:lnTo>
                    <a:pt x="42" y="628"/>
                  </a:lnTo>
                  <a:lnTo>
                    <a:pt x="36" y="626"/>
                  </a:lnTo>
                  <a:lnTo>
                    <a:pt x="30" y="620"/>
                  </a:lnTo>
                  <a:lnTo>
                    <a:pt x="30" y="614"/>
                  </a:lnTo>
                  <a:lnTo>
                    <a:pt x="26" y="608"/>
                  </a:lnTo>
                  <a:lnTo>
                    <a:pt x="26" y="602"/>
                  </a:lnTo>
                  <a:lnTo>
                    <a:pt x="26" y="596"/>
                  </a:lnTo>
                  <a:lnTo>
                    <a:pt x="26" y="590"/>
                  </a:lnTo>
                  <a:lnTo>
                    <a:pt x="22" y="584"/>
                  </a:lnTo>
                  <a:lnTo>
                    <a:pt x="18" y="588"/>
                  </a:lnTo>
                  <a:lnTo>
                    <a:pt x="14" y="590"/>
                  </a:lnTo>
                  <a:lnTo>
                    <a:pt x="12" y="582"/>
                  </a:lnTo>
                  <a:lnTo>
                    <a:pt x="10" y="582"/>
                  </a:lnTo>
                  <a:lnTo>
                    <a:pt x="12" y="588"/>
                  </a:lnTo>
                  <a:lnTo>
                    <a:pt x="12" y="594"/>
                  </a:lnTo>
                  <a:lnTo>
                    <a:pt x="6" y="594"/>
                  </a:lnTo>
                  <a:lnTo>
                    <a:pt x="0" y="592"/>
                  </a:lnTo>
                  <a:lnTo>
                    <a:pt x="2" y="584"/>
                  </a:lnTo>
                  <a:lnTo>
                    <a:pt x="4" y="578"/>
                  </a:lnTo>
                  <a:lnTo>
                    <a:pt x="6" y="57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7" name="Freeform 204"/>
            <p:cNvSpPr>
              <a:spLocks/>
            </p:cNvSpPr>
            <p:nvPr/>
          </p:nvSpPr>
          <p:spPr bwMode="auto">
            <a:xfrm>
              <a:off x="5075238" y="4114800"/>
              <a:ext cx="198437" cy="265113"/>
            </a:xfrm>
            <a:custGeom>
              <a:avLst/>
              <a:gdLst>
                <a:gd name="T0" fmla="*/ 0 w 488"/>
                <a:gd name="T1" fmla="*/ 2147483647 h 644"/>
                <a:gd name="T2" fmla="*/ 2147483647 w 488"/>
                <a:gd name="T3" fmla="*/ 2147483647 h 644"/>
                <a:gd name="T4" fmla="*/ 2147483647 w 488"/>
                <a:gd name="T5" fmla="*/ 2147483647 h 644"/>
                <a:gd name="T6" fmla="*/ 2147483647 w 488"/>
                <a:gd name="T7" fmla="*/ 2147483647 h 644"/>
                <a:gd name="T8" fmla="*/ 2147483647 w 488"/>
                <a:gd name="T9" fmla="*/ 2147483647 h 644"/>
                <a:gd name="T10" fmla="*/ 2147483647 w 488"/>
                <a:gd name="T11" fmla="*/ 2147483647 h 644"/>
                <a:gd name="T12" fmla="*/ 2147483647 w 488"/>
                <a:gd name="T13" fmla="*/ 2147483647 h 644"/>
                <a:gd name="T14" fmla="*/ 2147483647 w 488"/>
                <a:gd name="T15" fmla="*/ 2147483647 h 644"/>
                <a:gd name="T16" fmla="*/ 2147483647 w 488"/>
                <a:gd name="T17" fmla="*/ 2147483647 h 644"/>
                <a:gd name="T18" fmla="*/ 2147483647 w 488"/>
                <a:gd name="T19" fmla="*/ 2147483647 h 644"/>
                <a:gd name="T20" fmla="*/ 2147483647 w 488"/>
                <a:gd name="T21" fmla="*/ 2147483647 h 644"/>
                <a:gd name="T22" fmla="*/ 2147483647 w 488"/>
                <a:gd name="T23" fmla="*/ 2147483647 h 644"/>
                <a:gd name="T24" fmla="*/ 2147483647 w 488"/>
                <a:gd name="T25" fmla="*/ 2147483647 h 644"/>
                <a:gd name="T26" fmla="*/ 2147483647 w 488"/>
                <a:gd name="T27" fmla="*/ 2147483647 h 644"/>
                <a:gd name="T28" fmla="*/ 2147483647 w 488"/>
                <a:gd name="T29" fmla="*/ 0 h 644"/>
                <a:gd name="T30" fmla="*/ 2147483647 w 488"/>
                <a:gd name="T31" fmla="*/ 0 h 644"/>
                <a:gd name="T32" fmla="*/ 2147483647 w 488"/>
                <a:gd name="T33" fmla="*/ 0 h 644"/>
                <a:gd name="T34" fmla="*/ 2147483647 w 488"/>
                <a:gd name="T35" fmla="*/ 2147483647 h 644"/>
                <a:gd name="T36" fmla="*/ 2147483647 w 488"/>
                <a:gd name="T37" fmla="*/ 2147483647 h 644"/>
                <a:gd name="T38" fmla="*/ 2147483647 w 488"/>
                <a:gd name="T39" fmla="*/ 2147483647 h 644"/>
                <a:gd name="T40" fmla="*/ 2147483647 w 488"/>
                <a:gd name="T41" fmla="*/ 2147483647 h 644"/>
                <a:gd name="T42" fmla="*/ 2147483647 w 488"/>
                <a:gd name="T43" fmla="*/ 2147483647 h 644"/>
                <a:gd name="T44" fmla="*/ 2147483647 w 488"/>
                <a:gd name="T45" fmla="*/ 2147483647 h 644"/>
                <a:gd name="T46" fmla="*/ 2147483647 w 488"/>
                <a:gd name="T47" fmla="*/ 2147483647 h 644"/>
                <a:gd name="T48" fmla="*/ 2147483647 w 488"/>
                <a:gd name="T49" fmla="*/ 2147483647 h 644"/>
                <a:gd name="T50" fmla="*/ 2147483647 w 488"/>
                <a:gd name="T51" fmla="*/ 2147483647 h 644"/>
                <a:gd name="T52" fmla="*/ 2147483647 w 488"/>
                <a:gd name="T53" fmla="*/ 2147483647 h 644"/>
                <a:gd name="T54" fmla="*/ 2147483647 w 488"/>
                <a:gd name="T55" fmla="*/ 2147483647 h 644"/>
                <a:gd name="T56" fmla="*/ 2147483647 w 488"/>
                <a:gd name="T57" fmla="*/ 2147483647 h 644"/>
                <a:gd name="T58" fmla="*/ 2147483647 w 488"/>
                <a:gd name="T59" fmla="*/ 2147483647 h 644"/>
                <a:gd name="T60" fmla="*/ 2147483647 w 488"/>
                <a:gd name="T61" fmla="*/ 2147483647 h 644"/>
                <a:gd name="T62" fmla="*/ 2147483647 w 488"/>
                <a:gd name="T63" fmla="*/ 2147483647 h 644"/>
                <a:gd name="T64" fmla="*/ 2147483647 w 488"/>
                <a:gd name="T65" fmla="*/ 2147483647 h 644"/>
                <a:gd name="T66" fmla="*/ 2147483647 w 488"/>
                <a:gd name="T67" fmla="*/ 2147483647 h 644"/>
                <a:gd name="T68" fmla="*/ 2147483647 w 488"/>
                <a:gd name="T69" fmla="*/ 2147483647 h 644"/>
                <a:gd name="T70" fmla="*/ 2147483647 w 488"/>
                <a:gd name="T71" fmla="*/ 2147483647 h 644"/>
                <a:gd name="T72" fmla="*/ 2147483647 w 488"/>
                <a:gd name="T73" fmla="*/ 2147483647 h 644"/>
                <a:gd name="T74" fmla="*/ 2147483647 w 488"/>
                <a:gd name="T75" fmla="*/ 2147483647 h 644"/>
                <a:gd name="T76" fmla="*/ 2147483647 w 488"/>
                <a:gd name="T77" fmla="*/ 2147483647 h 644"/>
                <a:gd name="T78" fmla="*/ 2147483647 w 488"/>
                <a:gd name="T79" fmla="*/ 2147483647 h 644"/>
                <a:gd name="T80" fmla="*/ 2147483647 w 488"/>
                <a:gd name="T81" fmla="*/ 2147483647 h 644"/>
                <a:gd name="T82" fmla="*/ 2147483647 w 488"/>
                <a:gd name="T83" fmla="*/ 2147483647 h 644"/>
                <a:gd name="T84" fmla="*/ 2147483647 w 488"/>
                <a:gd name="T85" fmla="*/ 2147483647 h 644"/>
                <a:gd name="T86" fmla="*/ 2147483647 w 488"/>
                <a:gd name="T87" fmla="*/ 2147483647 h 644"/>
                <a:gd name="T88" fmla="*/ 2147483647 w 488"/>
                <a:gd name="T89" fmla="*/ 2147483647 h 644"/>
                <a:gd name="T90" fmla="*/ 2147483647 w 488"/>
                <a:gd name="T91" fmla="*/ 2147483647 h 644"/>
                <a:gd name="T92" fmla="*/ 2147483647 w 488"/>
                <a:gd name="T93" fmla="*/ 2147483647 h 644"/>
                <a:gd name="T94" fmla="*/ 2147483647 w 488"/>
                <a:gd name="T95" fmla="*/ 2147483647 h 644"/>
                <a:gd name="T96" fmla="*/ 2147483647 w 488"/>
                <a:gd name="T97" fmla="*/ 2147483647 h 644"/>
                <a:gd name="T98" fmla="*/ 2147483647 w 488"/>
                <a:gd name="T99" fmla="*/ 2147483647 h 644"/>
                <a:gd name="T100" fmla="*/ 2147483647 w 488"/>
                <a:gd name="T101" fmla="*/ 2147483647 h 644"/>
                <a:gd name="T102" fmla="*/ 2147483647 w 488"/>
                <a:gd name="T103" fmla="*/ 2147483647 h 644"/>
                <a:gd name="T104" fmla="*/ 2147483647 w 488"/>
                <a:gd name="T105" fmla="*/ 2147483647 h 644"/>
                <a:gd name="T106" fmla="*/ 2147483647 w 488"/>
                <a:gd name="T107" fmla="*/ 2147483647 h 644"/>
                <a:gd name="T108" fmla="*/ 2147483647 w 488"/>
                <a:gd name="T109" fmla="*/ 2147483647 h 644"/>
                <a:gd name="T110" fmla="*/ 2147483647 w 488"/>
                <a:gd name="T111" fmla="*/ 2147483647 h 6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88"/>
                <a:gd name="T169" fmla="*/ 0 h 644"/>
                <a:gd name="T170" fmla="*/ 488 w 488"/>
                <a:gd name="T171" fmla="*/ 644 h 6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88" h="644">
                  <a:moveTo>
                    <a:pt x="0" y="390"/>
                  </a:moveTo>
                  <a:lnTo>
                    <a:pt x="0" y="384"/>
                  </a:lnTo>
                  <a:lnTo>
                    <a:pt x="0" y="378"/>
                  </a:lnTo>
                  <a:lnTo>
                    <a:pt x="0" y="372"/>
                  </a:lnTo>
                  <a:lnTo>
                    <a:pt x="0" y="366"/>
                  </a:lnTo>
                  <a:lnTo>
                    <a:pt x="0" y="360"/>
                  </a:lnTo>
                  <a:lnTo>
                    <a:pt x="0" y="354"/>
                  </a:lnTo>
                  <a:lnTo>
                    <a:pt x="0" y="348"/>
                  </a:lnTo>
                  <a:lnTo>
                    <a:pt x="2" y="342"/>
                  </a:lnTo>
                  <a:lnTo>
                    <a:pt x="4" y="336"/>
                  </a:lnTo>
                  <a:lnTo>
                    <a:pt x="4" y="330"/>
                  </a:lnTo>
                  <a:lnTo>
                    <a:pt x="2" y="322"/>
                  </a:lnTo>
                  <a:lnTo>
                    <a:pt x="2" y="320"/>
                  </a:lnTo>
                  <a:lnTo>
                    <a:pt x="0" y="318"/>
                  </a:lnTo>
                  <a:lnTo>
                    <a:pt x="0" y="312"/>
                  </a:lnTo>
                  <a:lnTo>
                    <a:pt x="4" y="306"/>
                  </a:lnTo>
                  <a:lnTo>
                    <a:pt x="6" y="304"/>
                  </a:lnTo>
                  <a:lnTo>
                    <a:pt x="8" y="300"/>
                  </a:lnTo>
                  <a:lnTo>
                    <a:pt x="12" y="294"/>
                  </a:lnTo>
                  <a:lnTo>
                    <a:pt x="12" y="288"/>
                  </a:lnTo>
                  <a:lnTo>
                    <a:pt x="14" y="284"/>
                  </a:lnTo>
                  <a:lnTo>
                    <a:pt x="16" y="278"/>
                  </a:lnTo>
                  <a:lnTo>
                    <a:pt x="22" y="276"/>
                  </a:lnTo>
                  <a:lnTo>
                    <a:pt x="24" y="270"/>
                  </a:lnTo>
                  <a:lnTo>
                    <a:pt x="26" y="266"/>
                  </a:lnTo>
                  <a:lnTo>
                    <a:pt x="28" y="264"/>
                  </a:lnTo>
                  <a:lnTo>
                    <a:pt x="30" y="260"/>
                  </a:lnTo>
                  <a:lnTo>
                    <a:pt x="34" y="254"/>
                  </a:lnTo>
                  <a:lnTo>
                    <a:pt x="34" y="250"/>
                  </a:lnTo>
                  <a:lnTo>
                    <a:pt x="38" y="244"/>
                  </a:lnTo>
                  <a:lnTo>
                    <a:pt x="38" y="242"/>
                  </a:lnTo>
                  <a:lnTo>
                    <a:pt x="40" y="244"/>
                  </a:lnTo>
                  <a:lnTo>
                    <a:pt x="42" y="244"/>
                  </a:lnTo>
                  <a:lnTo>
                    <a:pt x="46" y="238"/>
                  </a:lnTo>
                  <a:lnTo>
                    <a:pt x="52" y="236"/>
                  </a:lnTo>
                  <a:lnTo>
                    <a:pt x="54" y="236"/>
                  </a:lnTo>
                  <a:lnTo>
                    <a:pt x="56" y="230"/>
                  </a:lnTo>
                  <a:lnTo>
                    <a:pt x="56" y="228"/>
                  </a:lnTo>
                  <a:lnTo>
                    <a:pt x="54" y="222"/>
                  </a:lnTo>
                  <a:lnTo>
                    <a:pt x="58" y="216"/>
                  </a:lnTo>
                  <a:lnTo>
                    <a:pt x="64" y="210"/>
                  </a:lnTo>
                  <a:lnTo>
                    <a:pt x="66" y="204"/>
                  </a:lnTo>
                  <a:lnTo>
                    <a:pt x="66" y="200"/>
                  </a:lnTo>
                  <a:lnTo>
                    <a:pt x="66" y="198"/>
                  </a:lnTo>
                  <a:lnTo>
                    <a:pt x="66" y="192"/>
                  </a:lnTo>
                  <a:lnTo>
                    <a:pt x="66" y="190"/>
                  </a:lnTo>
                  <a:lnTo>
                    <a:pt x="66" y="184"/>
                  </a:lnTo>
                  <a:lnTo>
                    <a:pt x="64" y="178"/>
                  </a:lnTo>
                  <a:lnTo>
                    <a:pt x="66" y="172"/>
                  </a:lnTo>
                  <a:lnTo>
                    <a:pt x="64" y="166"/>
                  </a:lnTo>
                  <a:lnTo>
                    <a:pt x="60" y="160"/>
                  </a:lnTo>
                  <a:lnTo>
                    <a:pt x="60" y="154"/>
                  </a:lnTo>
                  <a:lnTo>
                    <a:pt x="60" y="152"/>
                  </a:lnTo>
                  <a:lnTo>
                    <a:pt x="62" y="146"/>
                  </a:lnTo>
                  <a:lnTo>
                    <a:pt x="60" y="144"/>
                  </a:lnTo>
                  <a:lnTo>
                    <a:pt x="56" y="138"/>
                  </a:lnTo>
                  <a:lnTo>
                    <a:pt x="54" y="132"/>
                  </a:lnTo>
                  <a:lnTo>
                    <a:pt x="52" y="126"/>
                  </a:lnTo>
                  <a:lnTo>
                    <a:pt x="46" y="122"/>
                  </a:lnTo>
                  <a:lnTo>
                    <a:pt x="42" y="116"/>
                  </a:lnTo>
                  <a:lnTo>
                    <a:pt x="40" y="110"/>
                  </a:lnTo>
                  <a:lnTo>
                    <a:pt x="38" y="104"/>
                  </a:lnTo>
                  <a:lnTo>
                    <a:pt x="38" y="102"/>
                  </a:lnTo>
                  <a:lnTo>
                    <a:pt x="32" y="98"/>
                  </a:lnTo>
                  <a:lnTo>
                    <a:pt x="32" y="92"/>
                  </a:lnTo>
                  <a:lnTo>
                    <a:pt x="30" y="86"/>
                  </a:lnTo>
                  <a:lnTo>
                    <a:pt x="30" y="80"/>
                  </a:lnTo>
                  <a:lnTo>
                    <a:pt x="32" y="74"/>
                  </a:lnTo>
                  <a:lnTo>
                    <a:pt x="34" y="68"/>
                  </a:lnTo>
                  <a:lnTo>
                    <a:pt x="28" y="62"/>
                  </a:lnTo>
                  <a:lnTo>
                    <a:pt x="22" y="60"/>
                  </a:lnTo>
                  <a:lnTo>
                    <a:pt x="16" y="56"/>
                  </a:lnTo>
                  <a:lnTo>
                    <a:pt x="16" y="50"/>
                  </a:lnTo>
                  <a:lnTo>
                    <a:pt x="10" y="52"/>
                  </a:lnTo>
                  <a:lnTo>
                    <a:pt x="12" y="46"/>
                  </a:lnTo>
                  <a:lnTo>
                    <a:pt x="10" y="40"/>
                  </a:lnTo>
                  <a:lnTo>
                    <a:pt x="8" y="34"/>
                  </a:lnTo>
                  <a:lnTo>
                    <a:pt x="4" y="28"/>
                  </a:lnTo>
                  <a:lnTo>
                    <a:pt x="8" y="22"/>
                  </a:lnTo>
                  <a:lnTo>
                    <a:pt x="14" y="16"/>
                  </a:lnTo>
                  <a:lnTo>
                    <a:pt x="20" y="10"/>
                  </a:lnTo>
                  <a:lnTo>
                    <a:pt x="24" y="4"/>
                  </a:lnTo>
                  <a:lnTo>
                    <a:pt x="28" y="0"/>
                  </a:lnTo>
                  <a:lnTo>
                    <a:pt x="34" y="0"/>
                  </a:lnTo>
                  <a:lnTo>
                    <a:pt x="40" y="0"/>
                  </a:lnTo>
                  <a:lnTo>
                    <a:pt x="46" y="0"/>
                  </a:lnTo>
                  <a:lnTo>
                    <a:pt x="50" y="0"/>
                  </a:lnTo>
                  <a:lnTo>
                    <a:pt x="56" y="0"/>
                  </a:lnTo>
                  <a:lnTo>
                    <a:pt x="62" y="0"/>
                  </a:lnTo>
                  <a:lnTo>
                    <a:pt x="64" y="0"/>
                  </a:lnTo>
                  <a:lnTo>
                    <a:pt x="72" y="0"/>
                  </a:lnTo>
                  <a:lnTo>
                    <a:pt x="76" y="0"/>
                  </a:lnTo>
                  <a:lnTo>
                    <a:pt x="82" y="0"/>
                  </a:lnTo>
                  <a:lnTo>
                    <a:pt x="88" y="0"/>
                  </a:lnTo>
                  <a:lnTo>
                    <a:pt x="94" y="0"/>
                  </a:lnTo>
                  <a:lnTo>
                    <a:pt x="96" y="0"/>
                  </a:lnTo>
                  <a:lnTo>
                    <a:pt x="102" y="0"/>
                  </a:lnTo>
                  <a:lnTo>
                    <a:pt x="108" y="0"/>
                  </a:lnTo>
                  <a:lnTo>
                    <a:pt x="114" y="0"/>
                  </a:lnTo>
                  <a:lnTo>
                    <a:pt x="120" y="0"/>
                  </a:lnTo>
                  <a:lnTo>
                    <a:pt x="122" y="0"/>
                  </a:lnTo>
                  <a:lnTo>
                    <a:pt x="122" y="2"/>
                  </a:lnTo>
                  <a:lnTo>
                    <a:pt x="122" y="6"/>
                  </a:lnTo>
                  <a:lnTo>
                    <a:pt x="128" y="12"/>
                  </a:lnTo>
                  <a:lnTo>
                    <a:pt x="140" y="12"/>
                  </a:lnTo>
                  <a:lnTo>
                    <a:pt x="142" y="12"/>
                  </a:lnTo>
                  <a:lnTo>
                    <a:pt x="156" y="12"/>
                  </a:lnTo>
                  <a:lnTo>
                    <a:pt x="170" y="14"/>
                  </a:lnTo>
                  <a:lnTo>
                    <a:pt x="180" y="14"/>
                  </a:lnTo>
                  <a:lnTo>
                    <a:pt x="190" y="18"/>
                  </a:lnTo>
                  <a:lnTo>
                    <a:pt x="196" y="22"/>
                  </a:lnTo>
                  <a:lnTo>
                    <a:pt x="204" y="30"/>
                  </a:lnTo>
                  <a:lnTo>
                    <a:pt x="224" y="44"/>
                  </a:lnTo>
                  <a:lnTo>
                    <a:pt x="232" y="48"/>
                  </a:lnTo>
                  <a:lnTo>
                    <a:pt x="248" y="62"/>
                  </a:lnTo>
                  <a:lnTo>
                    <a:pt x="252" y="68"/>
                  </a:lnTo>
                  <a:lnTo>
                    <a:pt x="260" y="68"/>
                  </a:lnTo>
                  <a:lnTo>
                    <a:pt x="268" y="70"/>
                  </a:lnTo>
                  <a:lnTo>
                    <a:pt x="276" y="70"/>
                  </a:lnTo>
                  <a:lnTo>
                    <a:pt x="284" y="70"/>
                  </a:lnTo>
                  <a:lnTo>
                    <a:pt x="290" y="68"/>
                  </a:lnTo>
                  <a:lnTo>
                    <a:pt x="298" y="74"/>
                  </a:lnTo>
                  <a:lnTo>
                    <a:pt x="308" y="76"/>
                  </a:lnTo>
                  <a:lnTo>
                    <a:pt x="314" y="76"/>
                  </a:lnTo>
                  <a:lnTo>
                    <a:pt x="316" y="76"/>
                  </a:lnTo>
                  <a:lnTo>
                    <a:pt x="322" y="78"/>
                  </a:lnTo>
                  <a:lnTo>
                    <a:pt x="328" y="80"/>
                  </a:lnTo>
                  <a:lnTo>
                    <a:pt x="330" y="80"/>
                  </a:lnTo>
                  <a:lnTo>
                    <a:pt x="338" y="80"/>
                  </a:lnTo>
                  <a:lnTo>
                    <a:pt x="344" y="84"/>
                  </a:lnTo>
                  <a:lnTo>
                    <a:pt x="346" y="78"/>
                  </a:lnTo>
                  <a:lnTo>
                    <a:pt x="358" y="64"/>
                  </a:lnTo>
                  <a:lnTo>
                    <a:pt x="362" y="52"/>
                  </a:lnTo>
                  <a:lnTo>
                    <a:pt x="370" y="48"/>
                  </a:lnTo>
                  <a:lnTo>
                    <a:pt x="372" y="48"/>
                  </a:lnTo>
                  <a:lnTo>
                    <a:pt x="382" y="40"/>
                  </a:lnTo>
                  <a:lnTo>
                    <a:pt x="388" y="38"/>
                  </a:lnTo>
                  <a:lnTo>
                    <a:pt x="394" y="34"/>
                  </a:lnTo>
                  <a:lnTo>
                    <a:pt x="402" y="30"/>
                  </a:lnTo>
                  <a:lnTo>
                    <a:pt x="412" y="26"/>
                  </a:lnTo>
                  <a:lnTo>
                    <a:pt x="418" y="22"/>
                  </a:lnTo>
                  <a:lnTo>
                    <a:pt x="424" y="28"/>
                  </a:lnTo>
                  <a:lnTo>
                    <a:pt x="430" y="34"/>
                  </a:lnTo>
                  <a:lnTo>
                    <a:pt x="436" y="40"/>
                  </a:lnTo>
                  <a:lnTo>
                    <a:pt x="440" y="46"/>
                  </a:lnTo>
                  <a:lnTo>
                    <a:pt x="446" y="46"/>
                  </a:lnTo>
                  <a:lnTo>
                    <a:pt x="452" y="46"/>
                  </a:lnTo>
                  <a:lnTo>
                    <a:pt x="458" y="46"/>
                  </a:lnTo>
                  <a:lnTo>
                    <a:pt x="464" y="44"/>
                  </a:lnTo>
                  <a:lnTo>
                    <a:pt x="470" y="44"/>
                  </a:lnTo>
                  <a:lnTo>
                    <a:pt x="476" y="44"/>
                  </a:lnTo>
                  <a:lnTo>
                    <a:pt x="482" y="46"/>
                  </a:lnTo>
                  <a:lnTo>
                    <a:pt x="488" y="44"/>
                  </a:lnTo>
                  <a:lnTo>
                    <a:pt x="486" y="48"/>
                  </a:lnTo>
                  <a:lnTo>
                    <a:pt x="482" y="54"/>
                  </a:lnTo>
                  <a:lnTo>
                    <a:pt x="478" y="60"/>
                  </a:lnTo>
                  <a:lnTo>
                    <a:pt x="474" y="68"/>
                  </a:lnTo>
                  <a:lnTo>
                    <a:pt x="470" y="74"/>
                  </a:lnTo>
                  <a:lnTo>
                    <a:pt x="464" y="82"/>
                  </a:lnTo>
                  <a:lnTo>
                    <a:pt x="460" y="88"/>
                  </a:lnTo>
                  <a:lnTo>
                    <a:pt x="456" y="94"/>
                  </a:lnTo>
                  <a:lnTo>
                    <a:pt x="452" y="102"/>
                  </a:lnTo>
                  <a:lnTo>
                    <a:pt x="446" y="108"/>
                  </a:lnTo>
                  <a:lnTo>
                    <a:pt x="440" y="116"/>
                  </a:lnTo>
                  <a:lnTo>
                    <a:pt x="434" y="122"/>
                  </a:lnTo>
                  <a:lnTo>
                    <a:pt x="432" y="132"/>
                  </a:lnTo>
                  <a:lnTo>
                    <a:pt x="432" y="142"/>
                  </a:lnTo>
                  <a:lnTo>
                    <a:pt x="432" y="152"/>
                  </a:lnTo>
                  <a:lnTo>
                    <a:pt x="432" y="158"/>
                  </a:lnTo>
                  <a:lnTo>
                    <a:pt x="432" y="160"/>
                  </a:lnTo>
                  <a:lnTo>
                    <a:pt x="432" y="170"/>
                  </a:lnTo>
                  <a:lnTo>
                    <a:pt x="432" y="176"/>
                  </a:lnTo>
                  <a:lnTo>
                    <a:pt x="432" y="182"/>
                  </a:lnTo>
                  <a:lnTo>
                    <a:pt x="432" y="188"/>
                  </a:lnTo>
                  <a:lnTo>
                    <a:pt x="432" y="192"/>
                  </a:lnTo>
                  <a:lnTo>
                    <a:pt x="432" y="198"/>
                  </a:lnTo>
                  <a:lnTo>
                    <a:pt x="432" y="204"/>
                  </a:lnTo>
                  <a:lnTo>
                    <a:pt x="432" y="210"/>
                  </a:lnTo>
                  <a:lnTo>
                    <a:pt x="432" y="216"/>
                  </a:lnTo>
                  <a:lnTo>
                    <a:pt x="432" y="222"/>
                  </a:lnTo>
                  <a:lnTo>
                    <a:pt x="432" y="228"/>
                  </a:lnTo>
                  <a:lnTo>
                    <a:pt x="432" y="230"/>
                  </a:lnTo>
                  <a:lnTo>
                    <a:pt x="432" y="238"/>
                  </a:lnTo>
                  <a:lnTo>
                    <a:pt x="432" y="244"/>
                  </a:lnTo>
                  <a:lnTo>
                    <a:pt x="432" y="248"/>
                  </a:lnTo>
                  <a:lnTo>
                    <a:pt x="432" y="256"/>
                  </a:lnTo>
                  <a:lnTo>
                    <a:pt x="432" y="262"/>
                  </a:lnTo>
                  <a:lnTo>
                    <a:pt x="432" y="274"/>
                  </a:lnTo>
                  <a:lnTo>
                    <a:pt x="432" y="284"/>
                  </a:lnTo>
                  <a:lnTo>
                    <a:pt x="432" y="288"/>
                  </a:lnTo>
                  <a:lnTo>
                    <a:pt x="432" y="292"/>
                  </a:lnTo>
                  <a:lnTo>
                    <a:pt x="432" y="308"/>
                  </a:lnTo>
                  <a:lnTo>
                    <a:pt x="432" y="320"/>
                  </a:lnTo>
                  <a:lnTo>
                    <a:pt x="434" y="380"/>
                  </a:lnTo>
                  <a:lnTo>
                    <a:pt x="438" y="386"/>
                  </a:lnTo>
                  <a:lnTo>
                    <a:pt x="442" y="392"/>
                  </a:lnTo>
                  <a:lnTo>
                    <a:pt x="446" y="400"/>
                  </a:lnTo>
                  <a:lnTo>
                    <a:pt x="452" y="406"/>
                  </a:lnTo>
                  <a:lnTo>
                    <a:pt x="456" y="412"/>
                  </a:lnTo>
                  <a:lnTo>
                    <a:pt x="460" y="420"/>
                  </a:lnTo>
                  <a:lnTo>
                    <a:pt x="464" y="426"/>
                  </a:lnTo>
                  <a:lnTo>
                    <a:pt x="468" y="432"/>
                  </a:lnTo>
                  <a:lnTo>
                    <a:pt x="468" y="436"/>
                  </a:lnTo>
                  <a:lnTo>
                    <a:pt x="464" y="438"/>
                  </a:lnTo>
                  <a:lnTo>
                    <a:pt x="460" y="446"/>
                  </a:lnTo>
                  <a:lnTo>
                    <a:pt x="456" y="450"/>
                  </a:lnTo>
                  <a:lnTo>
                    <a:pt x="450" y="454"/>
                  </a:lnTo>
                  <a:lnTo>
                    <a:pt x="444" y="458"/>
                  </a:lnTo>
                  <a:lnTo>
                    <a:pt x="438" y="460"/>
                  </a:lnTo>
                  <a:lnTo>
                    <a:pt x="432" y="456"/>
                  </a:lnTo>
                  <a:lnTo>
                    <a:pt x="428" y="462"/>
                  </a:lnTo>
                  <a:lnTo>
                    <a:pt x="424" y="456"/>
                  </a:lnTo>
                  <a:lnTo>
                    <a:pt x="426" y="462"/>
                  </a:lnTo>
                  <a:lnTo>
                    <a:pt x="428" y="468"/>
                  </a:lnTo>
                  <a:lnTo>
                    <a:pt x="432" y="474"/>
                  </a:lnTo>
                  <a:lnTo>
                    <a:pt x="428" y="480"/>
                  </a:lnTo>
                  <a:lnTo>
                    <a:pt x="426" y="474"/>
                  </a:lnTo>
                  <a:lnTo>
                    <a:pt x="420" y="480"/>
                  </a:lnTo>
                  <a:lnTo>
                    <a:pt x="422" y="486"/>
                  </a:lnTo>
                  <a:lnTo>
                    <a:pt x="416" y="490"/>
                  </a:lnTo>
                  <a:lnTo>
                    <a:pt x="410" y="496"/>
                  </a:lnTo>
                  <a:lnTo>
                    <a:pt x="404" y="496"/>
                  </a:lnTo>
                  <a:lnTo>
                    <a:pt x="400" y="496"/>
                  </a:lnTo>
                  <a:lnTo>
                    <a:pt x="394" y="498"/>
                  </a:lnTo>
                  <a:lnTo>
                    <a:pt x="388" y="502"/>
                  </a:lnTo>
                  <a:lnTo>
                    <a:pt x="384" y="508"/>
                  </a:lnTo>
                  <a:lnTo>
                    <a:pt x="382" y="514"/>
                  </a:lnTo>
                  <a:lnTo>
                    <a:pt x="382" y="520"/>
                  </a:lnTo>
                  <a:lnTo>
                    <a:pt x="386" y="526"/>
                  </a:lnTo>
                  <a:lnTo>
                    <a:pt x="382" y="532"/>
                  </a:lnTo>
                  <a:lnTo>
                    <a:pt x="380" y="538"/>
                  </a:lnTo>
                  <a:lnTo>
                    <a:pt x="378" y="542"/>
                  </a:lnTo>
                  <a:lnTo>
                    <a:pt x="378" y="548"/>
                  </a:lnTo>
                  <a:lnTo>
                    <a:pt x="372" y="552"/>
                  </a:lnTo>
                  <a:lnTo>
                    <a:pt x="368" y="552"/>
                  </a:lnTo>
                  <a:lnTo>
                    <a:pt x="368" y="558"/>
                  </a:lnTo>
                  <a:lnTo>
                    <a:pt x="364" y="564"/>
                  </a:lnTo>
                  <a:lnTo>
                    <a:pt x="362" y="570"/>
                  </a:lnTo>
                  <a:lnTo>
                    <a:pt x="362" y="572"/>
                  </a:lnTo>
                  <a:lnTo>
                    <a:pt x="364" y="574"/>
                  </a:lnTo>
                  <a:lnTo>
                    <a:pt x="362" y="580"/>
                  </a:lnTo>
                  <a:lnTo>
                    <a:pt x="360" y="586"/>
                  </a:lnTo>
                  <a:lnTo>
                    <a:pt x="354" y="594"/>
                  </a:lnTo>
                  <a:lnTo>
                    <a:pt x="352" y="600"/>
                  </a:lnTo>
                  <a:lnTo>
                    <a:pt x="350" y="598"/>
                  </a:lnTo>
                  <a:lnTo>
                    <a:pt x="348" y="598"/>
                  </a:lnTo>
                  <a:lnTo>
                    <a:pt x="348" y="602"/>
                  </a:lnTo>
                  <a:lnTo>
                    <a:pt x="350" y="604"/>
                  </a:lnTo>
                  <a:lnTo>
                    <a:pt x="348" y="610"/>
                  </a:lnTo>
                  <a:lnTo>
                    <a:pt x="344" y="618"/>
                  </a:lnTo>
                  <a:lnTo>
                    <a:pt x="344" y="624"/>
                  </a:lnTo>
                  <a:lnTo>
                    <a:pt x="340" y="628"/>
                  </a:lnTo>
                  <a:lnTo>
                    <a:pt x="334" y="636"/>
                  </a:lnTo>
                  <a:lnTo>
                    <a:pt x="334" y="640"/>
                  </a:lnTo>
                  <a:lnTo>
                    <a:pt x="328" y="638"/>
                  </a:lnTo>
                  <a:lnTo>
                    <a:pt x="322" y="644"/>
                  </a:lnTo>
                  <a:lnTo>
                    <a:pt x="316" y="638"/>
                  </a:lnTo>
                  <a:lnTo>
                    <a:pt x="314" y="636"/>
                  </a:lnTo>
                  <a:lnTo>
                    <a:pt x="308" y="632"/>
                  </a:lnTo>
                  <a:lnTo>
                    <a:pt x="302" y="626"/>
                  </a:lnTo>
                  <a:lnTo>
                    <a:pt x="296" y="622"/>
                  </a:lnTo>
                  <a:lnTo>
                    <a:pt x="290" y="616"/>
                  </a:lnTo>
                  <a:lnTo>
                    <a:pt x="284" y="612"/>
                  </a:lnTo>
                  <a:lnTo>
                    <a:pt x="278" y="608"/>
                  </a:lnTo>
                  <a:lnTo>
                    <a:pt x="278" y="606"/>
                  </a:lnTo>
                  <a:lnTo>
                    <a:pt x="272" y="602"/>
                  </a:lnTo>
                  <a:lnTo>
                    <a:pt x="266" y="598"/>
                  </a:lnTo>
                  <a:lnTo>
                    <a:pt x="260" y="592"/>
                  </a:lnTo>
                  <a:lnTo>
                    <a:pt x="254" y="588"/>
                  </a:lnTo>
                  <a:lnTo>
                    <a:pt x="248" y="582"/>
                  </a:lnTo>
                  <a:lnTo>
                    <a:pt x="242" y="578"/>
                  </a:lnTo>
                  <a:lnTo>
                    <a:pt x="236" y="572"/>
                  </a:lnTo>
                  <a:lnTo>
                    <a:pt x="234" y="570"/>
                  </a:lnTo>
                  <a:lnTo>
                    <a:pt x="234" y="564"/>
                  </a:lnTo>
                  <a:lnTo>
                    <a:pt x="232" y="564"/>
                  </a:lnTo>
                  <a:lnTo>
                    <a:pt x="226" y="564"/>
                  </a:lnTo>
                  <a:lnTo>
                    <a:pt x="224" y="558"/>
                  </a:lnTo>
                  <a:lnTo>
                    <a:pt x="228" y="552"/>
                  </a:lnTo>
                  <a:lnTo>
                    <a:pt x="230" y="550"/>
                  </a:lnTo>
                  <a:lnTo>
                    <a:pt x="232" y="548"/>
                  </a:lnTo>
                  <a:lnTo>
                    <a:pt x="230" y="540"/>
                  </a:lnTo>
                  <a:lnTo>
                    <a:pt x="230" y="536"/>
                  </a:lnTo>
                  <a:lnTo>
                    <a:pt x="228" y="530"/>
                  </a:lnTo>
                  <a:lnTo>
                    <a:pt x="226" y="528"/>
                  </a:lnTo>
                  <a:lnTo>
                    <a:pt x="220" y="524"/>
                  </a:lnTo>
                  <a:lnTo>
                    <a:pt x="214" y="520"/>
                  </a:lnTo>
                  <a:lnTo>
                    <a:pt x="208" y="518"/>
                  </a:lnTo>
                  <a:lnTo>
                    <a:pt x="202" y="514"/>
                  </a:lnTo>
                  <a:lnTo>
                    <a:pt x="196" y="510"/>
                  </a:lnTo>
                  <a:lnTo>
                    <a:pt x="190" y="506"/>
                  </a:lnTo>
                  <a:lnTo>
                    <a:pt x="186" y="504"/>
                  </a:lnTo>
                  <a:lnTo>
                    <a:pt x="182" y="500"/>
                  </a:lnTo>
                  <a:lnTo>
                    <a:pt x="174" y="496"/>
                  </a:lnTo>
                  <a:lnTo>
                    <a:pt x="168" y="492"/>
                  </a:lnTo>
                  <a:lnTo>
                    <a:pt x="162" y="488"/>
                  </a:lnTo>
                  <a:lnTo>
                    <a:pt x="156" y="484"/>
                  </a:lnTo>
                  <a:lnTo>
                    <a:pt x="150" y="480"/>
                  </a:lnTo>
                  <a:lnTo>
                    <a:pt x="144" y="476"/>
                  </a:lnTo>
                  <a:lnTo>
                    <a:pt x="138" y="472"/>
                  </a:lnTo>
                  <a:lnTo>
                    <a:pt x="132" y="468"/>
                  </a:lnTo>
                  <a:lnTo>
                    <a:pt x="130" y="468"/>
                  </a:lnTo>
                  <a:lnTo>
                    <a:pt x="128" y="466"/>
                  </a:lnTo>
                  <a:lnTo>
                    <a:pt x="124" y="464"/>
                  </a:lnTo>
                  <a:lnTo>
                    <a:pt x="118" y="460"/>
                  </a:lnTo>
                  <a:lnTo>
                    <a:pt x="112" y="456"/>
                  </a:lnTo>
                  <a:lnTo>
                    <a:pt x="106" y="454"/>
                  </a:lnTo>
                  <a:lnTo>
                    <a:pt x="100" y="450"/>
                  </a:lnTo>
                  <a:lnTo>
                    <a:pt x="94" y="446"/>
                  </a:lnTo>
                  <a:lnTo>
                    <a:pt x="90" y="442"/>
                  </a:lnTo>
                  <a:lnTo>
                    <a:pt x="82" y="438"/>
                  </a:lnTo>
                  <a:lnTo>
                    <a:pt x="78" y="436"/>
                  </a:lnTo>
                  <a:lnTo>
                    <a:pt x="72" y="432"/>
                  </a:lnTo>
                  <a:lnTo>
                    <a:pt x="66" y="428"/>
                  </a:lnTo>
                  <a:lnTo>
                    <a:pt x="62" y="424"/>
                  </a:lnTo>
                  <a:lnTo>
                    <a:pt x="56" y="420"/>
                  </a:lnTo>
                  <a:lnTo>
                    <a:pt x="50" y="416"/>
                  </a:lnTo>
                  <a:lnTo>
                    <a:pt x="46" y="414"/>
                  </a:lnTo>
                  <a:lnTo>
                    <a:pt x="40" y="410"/>
                  </a:lnTo>
                  <a:lnTo>
                    <a:pt x="34" y="406"/>
                  </a:lnTo>
                  <a:lnTo>
                    <a:pt x="28" y="402"/>
                  </a:lnTo>
                  <a:lnTo>
                    <a:pt x="22" y="398"/>
                  </a:lnTo>
                  <a:lnTo>
                    <a:pt x="16" y="394"/>
                  </a:lnTo>
                  <a:lnTo>
                    <a:pt x="10" y="392"/>
                  </a:lnTo>
                  <a:lnTo>
                    <a:pt x="6" y="390"/>
                  </a:lnTo>
                  <a:lnTo>
                    <a:pt x="0" y="3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8" name="Freeform 205"/>
            <p:cNvSpPr>
              <a:spLocks/>
            </p:cNvSpPr>
            <p:nvPr/>
          </p:nvSpPr>
          <p:spPr bwMode="auto">
            <a:xfrm>
              <a:off x="5487988" y="3503613"/>
              <a:ext cx="115887" cy="98425"/>
            </a:xfrm>
            <a:custGeom>
              <a:avLst/>
              <a:gdLst>
                <a:gd name="T0" fmla="*/ 2147483647 w 284"/>
                <a:gd name="T1" fmla="*/ 2147483647 h 238"/>
                <a:gd name="T2" fmla="*/ 2147483647 w 284"/>
                <a:gd name="T3" fmla="*/ 2147483647 h 238"/>
                <a:gd name="T4" fmla="*/ 2147483647 w 284"/>
                <a:gd name="T5" fmla="*/ 2147483647 h 238"/>
                <a:gd name="T6" fmla="*/ 2147483647 w 284"/>
                <a:gd name="T7" fmla="*/ 2147483647 h 238"/>
                <a:gd name="T8" fmla="*/ 2147483647 w 284"/>
                <a:gd name="T9" fmla="*/ 2147483647 h 238"/>
                <a:gd name="T10" fmla="*/ 2147483647 w 284"/>
                <a:gd name="T11" fmla="*/ 2147483647 h 238"/>
                <a:gd name="T12" fmla="*/ 2147483647 w 284"/>
                <a:gd name="T13" fmla="*/ 2147483647 h 238"/>
                <a:gd name="T14" fmla="*/ 2147483647 w 284"/>
                <a:gd name="T15" fmla="*/ 2147483647 h 238"/>
                <a:gd name="T16" fmla="*/ 2147483647 w 284"/>
                <a:gd name="T17" fmla="*/ 2147483647 h 238"/>
                <a:gd name="T18" fmla="*/ 2147483647 w 284"/>
                <a:gd name="T19" fmla="*/ 2147483647 h 238"/>
                <a:gd name="T20" fmla="*/ 2147483647 w 284"/>
                <a:gd name="T21" fmla="*/ 2147483647 h 238"/>
                <a:gd name="T22" fmla="*/ 2147483647 w 284"/>
                <a:gd name="T23" fmla="*/ 2147483647 h 238"/>
                <a:gd name="T24" fmla="*/ 2147483647 w 284"/>
                <a:gd name="T25" fmla="*/ 2147483647 h 238"/>
                <a:gd name="T26" fmla="*/ 2147483647 w 284"/>
                <a:gd name="T27" fmla="*/ 2147483647 h 238"/>
                <a:gd name="T28" fmla="*/ 2147483647 w 284"/>
                <a:gd name="T29" fmla="*/ 2147483647 h 238"/>
                <a:gd name="T30" fmla="*/ 2147483647 w 284"/>
                <a:gd name="T31" fmla="*/ 2147483647 h 238"/>
                <a:gd name="T32" fmla="*/ 2147483647 w 284"/>
                <a:gd name="T33" fmla="*/ 2147483647 h 238"/>
                <a:gd name="T34" fmla="*/ 2147483647 w 284"/>
                <a:gd name="T35" fmla="*/ 2147483647 h 238"/>
                <a:gd name="T36" fmla="*/ 2147483647 w 284"/>
                <a:gd name="T37" fmla="*/ 2147483647 h 238"/>
                <a:gd name="T38" fmla="*/ 2147483647 w 284"/>
                <a:gd name="T39" fmla="*/ 2147483647 h 238"/>
                <a:gd name="T40" fmla="*/ 2147483647 w 284"/>
                <a:gd name="T41" fmla="*/ 2147483647 h 238"/>
                <a:gd name="T42" fmla="*/ 2147483647 w 284"/>
                <a:gd name="T43" fmla="*/ 2147483647 h 238"/>
                <a:gd name="T44" fmla="*/ 2147483647 w 284"/>
                <a:gd name="T45" fmla="*/ 2147483647 h 238"/>
                <a:gd name="T46" fmla="*/ 2147483647 w 284"/>
                <a:gd name="T47" fmla="*/ 0 h 238"/>
                <a:gd name="T48" fmla="*/ 2147483647 w 284"/>
                <a:gd name="T49" fmla="*/ 2147483647 h 238"/>
                <a:gd name="T50" fmla="*/ 2147483647 w 284"/>
                <a:gd name="T51" fmla="*/ 2147483647 h 238"/>
                <a:gd name="T52" fmla="*/ 2147483647 w 284"/>
                <a:gd name="T53" fmla="*/ 2147483647 h 238"/>
                <a:gd name="T54" fmla="*/ 2147483647 w 284"/>
                <a:gd name="T55" fmla="*/ 2147483647 h 238"/>
                <a:gd name="T56" fmla="*/ 2147483647 w 284"/>
                <a:gd name="T57" fmla="*/ 2147483647 h 238"/>
                <a:gd name="T58" fmla="*/ 2147483647 w 284"/>
                <a:gd name="T59" fmla="*/ 2147483647 h 238"/>
                <a:gd name="T60" fmla="*/ 2147483647 w 284"/>
                <a:gd name="T61" fmla="*/ 2147483647 h 238"/>
                <a:gd name="T62" fmla="*/ 2147483647 w 284"/>
                <a:gd name="T63" fmla="*/ 2147483647 h 238"/>
                <a:gd name="T64" fmla="*/ 2147483647 w 284"/>
                <a:gd name="T65" fmla="*/ 2147483647 h 238"/>
                <a:gd name="T66" fmla="*/ 2147483647 w 284"/>
                <a:gd name="T67" fmla="*/ 2147483647 h 238"/>
                <a:gd name="T68" fmla="*/ 2147483647 w 284"/>
                <a:gd name="T69" fmla="*/ 2147483647 h 238"/>
                <a:gd name="T70" fmla="*/ 2147483647 w 284"/>
                <a:gd name="T71" fmla="*/ 2147483647 h 238"/>
                <a:gd name="T72" fmla="*/ 2147483647 w 284"/>
                <a:gd name="T73" fmla="*/ 2147483647 h 238"/>
                <a:gd name="T74" fmla="*/ 2147483647 w 284"/>
                <a:gd name="T75" fmla="*/ 2147483647 h 238"/>
                <a:gd name="T76" fmla="*/ 2147483647 w 284"/>
                <a:gd name="T77" fmla="*/ 2147483647 h 238"/>
                <a:gd name="T78" fmla="*/ 2147483647 w 284"/>
                <a:gd name="T79" fmla="*/ 2147483647 h 238"/>
                <a:gd name="T80" fmla="*/ 2147483647 w 284"/>
                <a:gd name="T81" fmla="*/ 2147483647 h 238"/>
                <a:gd name="T82" fmla="*/ 2147483647 w 284"/>
                <a:gd name="T83" fmla="*/ 2147483647 h 238"/>
                <a:gd name="T84" fmla="*/ 2147483647 w 284"/>
                <a:gd name="T85" fmla="*/ 2147483647 h 238"/>
                <a:gd name="T86" fmla="*/ 2147483647 w 284"/>
                <a:gd name="T87" fmla="*/ 2147483647 h 238"/>
                <a:gd name="T88" fmla="*/ 2147483647 w 284"/>
                <a:gd name="T89" fmla="*/ 2147483647 h 238"/>
                <a:gd name="T90" fmla="*/ 2147483647 w 284"/>
                <a:gd name="T91" fmla="*/ 2147483647 h 238"/>
                <a:gd name="T92" fmla="*/ 2147483647 w 284"/>
                <a:gd name="T93" fmla="*/ 2147483647 h 238"/>
                <a:gd name="T94" fmla="*/ 2147483647 w 284"/>
                <a:gd name="T95" fmla="*/ 2147483647 h 238"/>
                <a:gd name="T96" fmla="*/ 2147483647 w 284"/>
                <a:gd name="T97" fmla="*/ 2147483647 h 238"/>
                <a:gd name="T98" fmla="*/ 2147483647 w 284"/>
                <a:gd name="T99" fmla="*/ 2147483647 h 238"/>
                <a:gd name="T100" fmla="*/ 2147483647 w 284"/>
                <a:gd name="T101" fmla="*/ 2147483647 h 238"/>
                <a:gd name="T102" fmla="*/ 2147483647 w 284"/>
                <a:gd name="T103" fmla="*/ 2147483647 h 238"/>
                <a:gd name="T104" fmla="*/ 2147483647 w 284"/>
                <a:gd name="T105" fmla="*/ 2147483647 h 238"/>
                <a:gd name="T106" fmla="*/ 0 w 284"/>
                <a:gd name="T107" fmla="*/ 2147483647 h 23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84"/>
                <a:gd name="T163" fmla="*/ 0 h 238"/>
                <a:gd name="T164" fmla="*/ 284 w 284"/>
                <a:gd name="T165" fmla="*/ 238 h 23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84" h="238">
                  <a:moveTo>
                    <a:pt x="0" y="124"/>
                  </a:moveTo>
                  <a:lnTo>
                    <a:pt x="4" y="122"/>
                  </a:lnTo>
                  <a:lnTo>
                    <a:pt x="6" y="128"/>
                  </a:lnTo>
                  <a:lnTo>
                    <a:pt x="12" y="122"/>
                  </a:lnTo>
                  <a:lnTo>
                    <a:pt x="14" y="128"/>
                  </a:lnTo>
                  <a:lnTo>
                    <a:pt x="14" y="134"/>
                  </a:lnTo>
                  <a:lnTo>
                    <a:pt x="16" y="142"/>
                  </a:lnTo>
                  <a:lnTo>
                    <a:pt x="22" y="144"/>
                  </a:lnTo>
                  <a:lnTo>
                    <a:pt x="28" y="144"/>
                  </a:lnTo>
                  <a:lnTo>
                    <a:pt x="34" y="144"/>
                  </a:lnTo>
                  <a:lnTo>
                    <a:pt x="40" y="144"/>
                  </a:lnTo>
                  <a:lnTo>
                    <a:pt x="48" y="142"/>
                  </a:lnTo>
                  <a:lnTo>
                    <a:pt x="52" y="140"/>
                  </a:lnTo>
                  <a:lnTo>
                    <a:pt x="58" y="134"/>
                  </a:lnTo>
                  <a:lnTo>
                    <a:pt x="62" y="128"/>
                  </a:lnTo>
                  <a:lnTo>
                    <a:pt x="68" y="132"/>
                  </a:lnTo>
                  <a:lnTo>
                    <a:pt x="74" y="134"/>
                  </a:lnTo>
                  <a:lnTo>
                    <a:pt x="76" y="132"/>
                  </a:lnTo>
                  <a:lnTo>
                    <a:pt x="82" y="132"/>
                  </a:lnTo>
                  <a:lnTo>
                    <a:pt x="88" y="134"/>
                  </a:lnTo>
                  <a:lnTo>
                    <a:pt x="96" y="134"/>
                  </a:lnTo>
                  <a:lnTo>
                    <a:pt x="100" y="136"/>
                  </a:lnTo>
                  <a:lnTo>
                    <a:pt x="108" y="136"/>
                  </a:lnTo>
                  <a:lnTo>
                    <a:pt x="114" y="134"/>
                  </a:lnTo>
                  <a:lnTo>
                    <a:pt x="120" y="138"/>
                  </a:lnTo>
                  <a:lnTo>
                    <a:pt x="126" y="138"/>
                  </a:lnTo>
                  <a:lnTo>
                    <a:pt x="132" y="138"/>
                  </a:lnTo>
                  <a:lnTo>
                    <a:pt x="138" y="138"/>
                  </a:lnTo>
                  <a:lnTo>
                    <a:pt x="144" y="136"/>
                  </a:lnTo>
                  <a:lnTo>
                    <a:pt x="150" y="134"/>
                  </a:lnTo>
                  <a:lnTo>
                    <a:pt x="156" y="130"/>
                  </a:lnTo>
                  <a:lnTo>
                    <a:pt x="152" y="124"/>
                  </a:lnTo>
                  <a:lnTo>
                    <a:pt x="150" y="122"/>
                  </a:lnTo>
                  <a:lnTo>
                    <a:pt x="156" y="122"/>
                  </a:lnTo>
                  <a:lnTo>
                    <a:pt x="160" y="128"/>
                  </a:lnTo>
                  <a:lnTo>
                    <a:pt x="166" y="124"/>
                  </a:lnTo>
                  <a:lnTo>
                    <a:pt x="172" y="120"/>
                  </a:lnTo>
                  <a:lnTo>
                    <a:pt x="174" y="114"/>
                  </a:lnTo>
                  <a:lnTo>
                    <a:pt x="178" y="110"/>
                  </a:lnTo>
                  <a:lnTo>
                    <a:pt x="180" y="104"/>
                  </a:lnTo>
                  <a:lnTo>
                    <a:pt x="182" y="102"/>
                  </a:lnTo>
                  <a:lnTo>
                    <a:pt x="182" y="96"/>
                  </a:lnTo>
                  <a:lnTo>
                    <a:pt x="184" y="90"/>
                  </a:lnTo>
                  <a:lnTo>
                    <a:pt x="188" y="84"/>
                  </a:lnTo>
                  <a:lnTo>
                    <a:pt x="196" y="80"/>
                  </a:lnTo>
                  <a:lnTo>
                    <a:pt x="202" y="74"/>
                  </a:lnTo>
                  <a:lnTo>
                    <a:pt x="204" y="74"/>
                  </a:lnTo>
                  <a:lnTo>
                    <a:pt x="208" y="68"/>
                  </a:lnTo>
                  <a:lnTo>
                    <a:pt x="212" y="62"/>
                  </a:lnTo>
                  <a:lnTo>
                    <a:pt x="218" y="56"/>
                  </a:lnTo>
                  <a:lnTo>
                    <a:pt x="218" y="52"/>
                  </a:lnTo>
                  <a:lnTo>
                    <a:pt x="222" y="48"/>
                  </a:lnTo>
                  <a:lnTo>
                    <a:pt x="224" y="46"/>
                  </a:lnTo>
                  <a:lnTo>
                    <a:pt x="226" y="46"/>
                  </a:lnTo>
                  <a:lnTo>
                    <a:pt x="228" y="42"/>
                  </a:lnTo>
                  <a:lnTo>
                    <a:pt x="228" y="38"/>
                  </a:lnTo>
                  <a:lnTo>
                    <a:pt x="230" y="34"/>
                  </a:lnTo>
                  <a:lnTo>
                    <a:pt x="236" y="34"/>
                  </a:lnTo>
                  <a:lnTo>
                    <a:pt x="242" y="28"/>
                  </a:lnTo>
                  <a:lnTo>
                    <a:pt x="244" y="26"/>
                  </a:lnTo>
                  <a:lnTo>
                    <a:pt x="248" y="22"/>
                  </a:lnTo>
                  <a:lnTo>
                    <a:pt x="254" y="16"/>
                  </a:lnTo>
                  <a:lnTo>
                    <a:pt x="256" y="12"/>
                  </a:lnTo>
                  <a:lnTo>
                    <a:pt x="258" y="6"/>
                  </a:lnTo>
                  <a:lnTo>
                    <a:pt x="258" y="0"/>
                  </a:lnTo>
                  <a:lnTo>
                    <a:pt x="264" y="2"/>
                  </a:lnTo>
                  <a:lnTo>
                    <a:pt x="266" y="8"/>
                  </a:lnTo>
                  <a:lnTo>
                    <a:pt x="266" y="14"/>
                  </a:lnTo>
                  <a:lnTo>
                    <a:pt x="266" y="20"/>
                  </a:lnTo>
                  <a:lnTo>
                    <a:pt x="266" y="26"/>
                  </a:lnTo>
                  <a:lnTo>
                    <a:pt x="266" y="28"/>
                  </a:lnTo>
                  <a:lnTo>
                    <a:pt x="272" y="30"/>
                  </a:lnTo>
                  <a:lnTo>
                    <a:pt x="274" y="30"/>
                  </a:lnTo>
                  <a:lnTo>
                    <a:pt x="278" y="32"/>
                  </a:lnTo>
                  <a:lnTo>
                    <a:pt x="280" y="38"/>
                  </a:lnTo>
                  <a:lnTo>
                    <a:pt x="280" y="44"/>
                  </a:lnTo>
                  <a:lnTo>
                    <a:pt x="280" y="46"/>
                  </a:lnTo>
                  <a:lnTo>
                    <a:pt x="282" y="52"/>
                  </a:lnTo>
                  <a:lnTo>
                    <a:pt x="282" y="54"/>
                  </a:lnTo>
                  <a:lnTo>
                    <a:pt x="282" y="56"/>
                  </a:lnTo>
                  <a:lnTo>
                    <a:pt x="282" y="62"/>
                  </a:lnTo>
                  <a:lnTo>
                    <a:pt x="282" y="68"/>
                  </a:lnTo>
                  <a:lnTo>
                    <a:pt x="282" y="74"/>
                  </a:lnTo>
                  <a:lnTo>
                    <a:pt x="284" y="74"/>
                  </a:lnTo>
                  <a:lnTo>
                    <a:pt x="282" y="74"/>
                  </a:lnTo>
                  <a:lnTo>
                    <a:pt x="282" y="76"/>
                  </a:lnTo>
                  <a:lnTo>
                    <a:pt x="282" y="78"/>
                  </a:lnTo>
                  <a:lnTo>
                    <a:pt x="278" y="82"/>
                  </a:lnTo>
                  <a:lnTo>
                    <a:pt x="274" y="86"/>
                  </a:lnTo>
                  <a:lnTo>
                    <a:pt x="274" y="88"/>
                  </a:lnTo>
                  <a:lnTo>
                    <a:pt x="272" y="88"/>
                  </a:lnTo>
                  <a:lnTo>
                    <a:pt x="266" y="92"/>
                  </a:lnTo>
                  <a:lnTo>
                    <a:pt x="264" y="88"/>
                  </a:lnTo>
                  <a:lnTo>
                    <a:pt x="264" y="86"/>
                  </a:lnTo>
                  <a:lnTo>
                    <a:pt x="264" y="82"/>
                  </a:lnTo>
                  <a:lnTo>
                    <a:pt x="264" y="80"/>
                  </a:lnTo>
                  <a:lnTo>
                    <a:pt x="260" y="74"/>
                  </a:lnTo>
                  <a:lnTo>
                    <a:pt x="256" y="74"/>
                  </a:lnTo>
                  <a:lnTo>
                    <a:pt x="252" y="80"/>
                  </a:lnTo>
                  <a:lnTo>
                    <a:pt x="250" y="82"/>
                  </a:lnTo>
                  <a:lnTo>
                    <a:pt x="252" y="88"/>
                  </a:lnTo>
                  <a:lnTo>
                    <a:pt x="252" y="94"/>
                  </a:lnTo>
                  <a:lnTo>
                    <a:pt x="254" y="98"/>
                  </a:lnTo>
                  <a:lnTo>
                    <a:pt x="250" y="104"/>
                  </a:lnTo>
                  <a:lnTo>
                    <a:pt x="252" y="110"/>
                  </a:lnTo>
                  <a:lnTo>
                    <a:pt x="254" y="116"/>
                  </a:lnTo>
                  <a:lnTo>
                    <a:pt x="252" y="122"/>
                  </a:lnTo>
                  <a:lnTo>
                    <a:pt x="256" y="128"/>
                  </a:lnTo>
                  <a:lnTo>
                    <a:pt x="262" y="128"/>
                  </a:lnTo>
                  <a:lnTo>
                    <a:pt x="264" y="132"/>
                  </a:lnTo>
                  <a:lnTo>
                    <a:pt x="264" y="138"/>
                  </a:lnTo>
                  <a:lnTo>
                    <a:pt x="258" y="142"/>
                  </a:lnTo>
                  <a:lnTo>
                    <a:pt x="252" y="140"/>
                  </a:lnTo>
                  <a:lnTo>
                    <a:pt x="248" y="140"/>
                  </a:lnTo>
                  <a:lnTo>
                    <a:pt x="242" y="142"/>
                  </a:lnTo>
                  <a:lnTo>
                    <a:pt x="236" y="148"/>
                  </a:lnTo>
                  <a:lnTo>
                    <a:pt x="240" y="150"/>
                  </a:lnTo>
                  <a:lnTo>
                    <a:pt x="240" y="154"/>
                  </a:lnTo>
                  <a:lnTo>
                    <a:pt x="240" y="160"/>
                  </a:lnTo>
                  <a:lnTo>
                    <a:pt x="238" y="166"/>
                  </a:lnTo>
                  <a:lnTo>
                    <a:pt x="238" y="172"/>
                  </a:lnTo>
                  <a:lnTo>
                    <a:pt x="234" y="178"/>
                  </a:lnTo>
                  <a:lnTo>
                    <a:pt x="232" y="184"/>
                  </a:lnTo>
                  <a:lnTo>
                    <a:pt x="232" y="190"/>
                  </a:lnTo>
                  <a:lnTo>
                    <a:pt x="230" y="196"/>
                  </a:lnTo>
                  <a:lnTo>
                    <a:pt x="226" y="202"/>
                  </a:lnTo>
                  <a:lnTo>
                    <a:pt x="226" y="208"/>
                  </a:lnTo>
                  <a:lnTo>
                    <a:pt x="226" y="214"/>
                  </a:lnTo>
                  <a:lnTo>
                    <a:pt x="226" y="220"/>
                  </a:lnTo>
                  <a:lnTo>
                    <a:pt x="226" y="226"/>
                  </a:lnTo>
                  <a:lnTo>
                    <a:pt x="226" y="230"/>
                  </a:lnTo>
                  <a:lnTo>
                    <a:pt x="226" y="232"/>
                  </a:lnTo>
                  <a:lnTo>
                    <a:pt x="224" y="236"/>
                  </a:lnTo>
                  <a:lnTo>
                    <a:pt x="222" y="238"/>
                  </a:lnTo>
                  <a:lnTo>
                    <a:pt x="162" y="228"/>
                  </a:lnTo>
                  <a:lnTo>
                    <a:pt x="146" y="226"/>
                  </a:lnTo>
                  <a:lnTo>
                    <a:pt x="128" y="224"/>
                  </a:lnTo>
                  <a:lnTo>
                    <a:pt x="114" y="222"/>
                  </a:lnTo>
                  <a:lnTo>
                    <a:pt x="100" y="220"/>
                  </a:lnTo>
                  <a:lnTo>
                    <a:pt x="86" y="218"/>
                  </a:lnTo>
                  <a:lnTo>
                    <a:pt x="68" y="216"/>
                  </a:lnTo>
                  <a:lnTo>
                    <a:pt x="60" y="206"/>
                  </a:lnTo>
                  <a:lnTo>
                    <a:pt x="52" y="196"/>
                  </a:lnTo>
                  <a:lnTo>
                    <a:pt x="44" y="186"/>
                  </a:lnTo>
                  <a:lnTo>
                    <a:pt x="40" y="182"/>
                  </a:lnTo>
                  <a:lnTo>
                    <a:pt x="30" y="168"/>
                  </a:lnTo>
                  <a:lnTo>
                    <a:pt x="24" y="162"/>
                  </a:lnTo>
                  <a:lnTo>
                    <a:pt x="14" y="148"/>
                  </a:lnTo>
                  <a:lnTo>
                    <a:pt x="8" y="142"/>
                  </a:lnTo>
                  <a:lnTo>
                    <a:pt x="2" y="134"/>
                  </a:lnTo>
                  <a:lnTo>
                    <a:pt x="2" y="128"/>
                  </a:lnTo>
                  <a:lnTo>
                    <a:pt x="0" y="1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89" name="Freeform 206"/>
            <p:cNvSpPr>
              <a:spLocks/>
            </p:cNvSpPr>
            <p:nvPr/>
          </p:nvSpPr>
          <p:spPr bwMode="auto">
            <a:xfrm>
              <a:off x="3902075" y="3960813"/>
              <a:ext cx="76200" cy="87312"/>
            </a:xfrm>
            <a:custGeom>
              <a:avLst/>
              <a:gdLst>
                <a:gd name="T0" fmla="*/ 2147483647 w 184"/>
                <a:gd name="T1" fmla="*/ 2147483647 h 212"/>
                <a:gd name="T2" fmla="*/ 2147483647 w 184"/>
                <a:gd name="T3" fmla="*/ 2147483647 h 212"/>
                <a:gd name="T4" fmla="*/ 2147483647 w 184"/>
                <a:gd name="T5" fmla="*/ 2147483647 h 212"/>
                <a:gd name="T6" fmla="*/ 2147483647 w 184"/>
                <a:gd name="T7" fmla="*/ 2147483647 h 212"/>
                <a:gd name="T8" fmla="*/ 2147483647 w 184"/>
                <a:gd name="T9" fmla="*/ 2147483647 h 212"/>
                <a:gd name="T10" fmla="*/ 2147483647 w 184"/>
                <a:gd name="T11" fmla="*/ 2147483647 h 212"/>
                <a:gd name="T12" fmla="*/ 2147483647 w 184"/>
                <a:gd name="T13" fmla="*/ 2147483647 h 212"/>
                <a:gd name="T14" fmla="*/ 2147483647 w 184"/>
                <a:gd name="T15" fmla="*/ 0 h 212"/>
                <a:gd name="T16" fmla="*/ 2147483647 w 184"/>
                <a:gd name="T17" fmla="*/ 0 h 212"/>
                <a:gd name="T18" fmla="*/ 2147483647 w 184"/>
                <a:gd name="T19" fmla="*/ 2147483647 h 212"/>
                <a:gd name="T20" fmla="*/ 2147483647 w 184"/>
                <a:gd name="T21" fmla="*/ 2147483647 h 212"/>
                <a:gd name="T22" fmla="*/ 2147483647 w 184"/>
                <a:gd name="T23" fmla="*/ 2147483647 h 212"/>
                <a:gd name="T24" fmla="*/ 2147483647 w 184"/>
                <a:gd name="T25" fmla="*/ 2147483647 h 212"/>
                <a:gd name="T26" fmla="*/ 2147483647 w 184"/>
                <a:gd name="T27" fmla="*/ 2147483647 h 212"/>
                <a:gd name="T28" fmla="*/ 2147483647 w 184"/>
                <a:gd name="T29" fmla="*/ 2147483647 h 212"/>
                <a:gd name="T30" fmla="*/ 2147483647 w 184"/>
                <a:gd name="T31" fmla="*/ 2147483647 h 212"/>
                <a:gd name="T32" fmla="*/ 2147483647 w 184"/>
                <a:gd name="T33" fmla="*/ 2147483647 h 212"/>
                <a:gd name="T34" fmla="*/ 2147483647 w 184"/>
                <a:gd name="T35" fmla="*/ 2147483647 h 212"/>
                <a:gd name="T36" fmla="*/ 2147483647 w 184"/>
                <a:gd name="T37" fmla="*/ 2147483647 h 212"/>
                <a:gd name="T38" fmla="*/ 2147483647 w 184"/>
                <a:gd name="T39" fmla="*/ 2147483647 h 212"/>
                <a:gd name="T40" fmla="*/ 2147483647 w 184"/>
                <a:gd name="T41" fmla="*/ 2147483647 h 212"/>
                <a:gd name="T42" fmla="*/ 2147483647 w 184"/>
                <a:gd name="T43" fmla="*/ 2147483647 h 212"/>
                <a:gd name="T44" fmla="*/ 2147483647 w 184"/>
                <a:gd name="T45" fmla="*/ 2147483647 h 212"/>
                <a:gd name="T46" fmla="*/ 2147483647 w 184"/>
                <a:gd name="T47" fmla="*/ 2147483647 h 212"/>
                <a:gd name="T48" fmla="*/ 2147483647 w 184"/>
                <a:gd name="T49" fmla="*/ 2147483647 h 212"/>
                <a:gd name="T50" fmla="*/ 2147483647 w 184"/>
                <a:gd name="T51" fmla="*/ 2147483647 h 212"/>
                <a:gd name="T52" fmla="*/ 2147483647 w 184"/>
                <a:gd name="T53" fmla="*/ 2147483647 h 212"/>
                <a:gd name="T54" fmla="*/ 2147483647 w 184"/>
                <a:gd name="T55" fmla="*/ 2147483647 h 212"/>
                <a:gd name="T56" fmla="*/ 2147483647 w 184"/>
                <a:gd name="T57" fmla="*/ 2147483647 h 212"/>
                <a:gd name="T58" fmla="*/ 2147483647 w 184"/>
                <a:gd name="T59" fmla="*/ 2147483647 h 212"/>
                <a:gd name="T60" fmla="*/ 2147483647 w 184"/>
                <a:gd name="T61" fmla="*/ 2147483647 h 212"/>
                <a:gd name="T62" fmla="*/ 2147483647 w 184"/>
                <a:gd name="T63" fmla="*/ 2147483647 h 212"/>
                <a:gd name="T64" fmla="*/ 2147483647 w 184"/>
                <a:gd name="T65" fmla="*/ 2147483647 h 212"/>
                <a:gd name="T66" fmla="*/ 2147483647 w 184"/>
                <a:gd name="T67" fmla="*/ 2147483647 h 212"/>
                <a:gd name="T68" fmla="*/ 2147483647 w 184"/>
                <a:gd name="T69" fmla="*/ 2147483647 h 212"/>
                <a:gd name="T70" fmla="*/ 2147483647 w 184"/>
                <a:gd name="T71" fmla="*/ 2147483647 h 212"/>
                <a:gd name="T72" fmla="*/ 2147483647 w 184"/>
                <a:gd name="T73" fmla="*/ 2147483647 h 212"/>
                <a:gd name="T74" fmla="*/ 2147483647 w 184"/>
                <a:gd name="T75" fmla="*/ 2147483647 h 212"/>
                <a:gd name="T76" fmla="*/ 2147483647 w 184"/>
                <a:gd name="T77" fmla="*/ 2147483647 h 212"/>
                <a:gd name="T78" fmla="*/ 2147483647 w 184"/>
                <a:gd name="T79" fmla="*/ 2147483647 h 212"/>
                <a:gd name="T80" fmla="*/ 2147483647 w 184"/>
                <a:gd name="T81" fmla="*/ 2147483647 h 212"/>
                <a:gd name="T82" fmla="*/ 2147483647 w 184"/>
                <a:gd name="T83" fmla="*/ 2147483647 h 212"/>
                <a:gd name="T84" fmla="*/ 2147483647 w 184"/>
                <a:gd name="T85" fmla="*/ 2147483647 h 212"/>
                <a:gd name="T86" fmla="*/ 2147483647 w 184"/>
                <a:gd name="T87" fmla="*/ 2147483647 h 212"/>
                <a:gd name="T88" fmla="*/ 2147483647 w 184"/>
                <a:gd name="T89" fmla="*/ 2147483647 h 212"/>
                <a:gd name="T90" fmla="*/ 2147483647 w 184"/>
                <a:gd name="T91" fmla="*/ 2147483647 h 212"/>
                <a:gd name="T92" fmla="*/ 2147483647 w 184"/>
                <a:gd name="T93" fmla="*/ 2147483647 h 212"/>
                <a:gd name="T94" fmla="*/ 2147483647 w 184"/>
                <a:gd name="T95" fmla="*/ 2147483647 h 2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84"/>
                <a:gd name="T145" fmla="*/ 0 h 212"/>
                <a:gd name="T146" fmla="*/ 184 w 184"/>
                <a:gd name="T147" fmla="*/ 212 h 2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84" h="212">
                  <a:moveTo>
                    <a:pt x="0" y="66"/>
                  </a:moveTo>
                  <a:lnTo>
                    <a:pt x="4" y="64"/>
                  </a:lnTo>
                  <a:lnTo>
                    <a:pt x="10" y="66"/>
                  </a:lnTo>
                  <a:lnTo>
                    <a:pt x="16" y="62"/>
                  </a:lnTo>
                  <a:lnTo>
                    <a:pt x="20" y="56"/>
                  </a:lnTo>
                  <a:lnTo>
                    <a:pt x="22" y="56"/>
                  </a:lnTo>
                  <a:lnTo>
                    <a:pt x="24" y="50"/>
                  </a:lnTo>
                  <a:lnTo>
                    <a:pt x="30" y="48"/>
                  </a:lnTo>
                  <a:lnTo>
                    <a:pt x="32" y="42"/>
                  </a:lnTo>
                  <a:lnTo>
                    <a:pt x="38" y="38"/>
                  </a:lnTo>
                  <a:lnTo>
                    <a:pt x="38" y="30"/>
                  </a:lnTo>
                  <a:lnTo>
                    <a:pt x="42" y="26"/>
                  </a:lnTo>
                  <a:lnTo>
                    <a:pt x="44" y="22"/>
                  </a:lnTo>
                  <a:lnTo>
                    <a:pt x="48" y="16"/>
                  </a:lnTo>
                  <a:lnTo>
                    <a:pt x="48" y="10"/>
                  </a:lnTo>
                  <a:lnTo>
                    <a:pt x="54" y="6"/>
                  </a:lnTo>
                  <a:lnTo>
                    <a:pt x="60" y="4"/>
                  </a:lnTo>
                  <a:lnTo>
                    <a:pt x="66" y="6"/>
                  </a:lnTo>
                  <a:lnTo>
                    <a:pt x="72" y="8"/>
                  </a:lnTo>
                  <a:lnTo>
                    <a:pt x="74" y="8"/>
                  </a:lnTo>
                  <a:lnTo>
                    <a:pt x="80" y="6"/>
                  </a:lnTo>
                  <a:lnTo>
                    <a:pt x="86" y="0"/>
                  </a:lnTo>
                  <a:lnTo>
                    <a:pt x="94" y="0"/>
                  </a:lnTo>
                  <a:lnTo>
                    <a:pt x="98" y="0"/>
                  </a:lnTo>
                  <a:lnTo>
                    <a:pt x="106" y="0"/>
                  </a:lnTo>
                  <a:lnTo>
                    <a:pt x="110" y="0"/>
                  </a:lnTo>
                  <a:lnTo>
                    <a:pt x="118" y="0"/>
                  </a:lnTo>
                  <a:lnTo>
                    <a:pt x="124" y="0"/>
                  </a:lnTo>
                  <a:lnTo>
                    <a:pt x="130" y="2"/>
                  </a:lnTo>
                  <a:lnTo>
                    <a:pt x="130" y="8"/>
                  </a:lnTo>
                  <a:lnTo>
                    <a:pt x="136" y="12"/>
                  </a:lnTo>
                  <a:lnTo>
                    <a:pt x="140" y="18"/>
                  </a:lnTo>
                  <a:lnTo>
                    <a:pt x="144" y="24"/>
                  </a:lnTo>
                  <a:lnTo>
                    <a:pt x="148" y="30"/>
                  </a:lnTo>
                  <a:lnTo>
                    <a:pt x="150" y="36"/>
                  </a:lnTo>
                  <a:lnTo>
                    <a:pt x="152" y="42"/>
                  </a:lnTo>
                  <a:lnTo>
                    <a:pt x="158" y="46"/>
                  </a:lnTo>
                  <a:lnTo>
                    <a:pt x="160" y="52"/>
                  </a:lnTo>
                  <a:lnTo>
                    <a:pt x="156" y="58"/>
                  </a:lnTo>
                  <a:lnTo>
                    <a:pt x="160" y="64"/>
                  </a:lnTo>
                  <a:lnTo>
                    <a:pt x="166" y="64"/>
                  </a:lnTo>
                  <a:lnTo>
                    <a:pt x="166" y="66"/>
                  </a:lnTo>
                  <a:lnTo>
                    <a:pt x="164" y="72"/>
                  </a:lnTo>
                  <a:lnTo>
                    <a:pt x="164" y="78"/>
                  </a:lnTo>
                  <a:lnTo>
                    <a:pt x="166" y="84"/>
                  </a:lnTo>
                  <a:lnTo>
                    <a:pt x="170" y="90"/>
                  </a:lnTo>
                  <a:lnTo>
                    <a:pt x="166" y="96"/>
                  </a:lnTo>
                  <a:lnTo>
                    <a:pt x="162" y="102"/>
                  </a:lnTo>
                  <a:lnTo>
                    <a:pt x="160" y="108"/>
                  </a:lnTo>
                  <a:lnTo>
                    <a:pt x="156" y="114"/>
                  </a:lnTo>
                  <a:lnTo>
                    <a:pt x="156" y="118"/>
                  </a:lnTo>
                  <a:lnTo>
                    <a:pt x="158" y="116"/>
                  </a:lnTo>
                  <a:lnTo>
                    <a:pt x="164" y="116"/>
                  </a:lnTo>
                  <a:lnTo>
                    <a:pt x="170" y="114"/>
                  </a:lnTo>
                  <a:lnTo>
                    <a:pt x="174" y="108"/>
                  </a:lnTo>
                  <a:lnTo>
                    <a:pt x="180" y="102"/>
                  </a:lnTo>
                  <a:lnTo>
                    <a:pt x="184" y="104"/>
                  </a:lnTo>
                  <a:lnTo>
                    <a:pt x="184" y="106"/>
                  </a:lnTo>
                  <a:lnTo>
                    <a:pt x="182" y="110"/>
                  </a:lnTo>
                  <a:lnTo>
                    <a:pt x="182" y="116"/>
                  </a:lnTo>
                  <a:lnTo>
                    <a:pt x="180" y="122"/>
                  </a:lnTo>
                  <a:lnTo>
                    <a:pt x="178" y="128"/>
                  </a:lnTo>
                  <a:lnTo>
                    <a:pt x="174" y="128"/>
                  </a:lnTo>
                  <a:lnTo>
                    <a:pt x="168" y="130"/>
                  </a:lnTo>
                  <a:lnTo>
                    <a:pt x="162" y="136"/>
                  </a:lnTo>
                  <a:lnTo>
                    <a:pt x="162" y="142"/>
                  </a:lnTo>
                  <a:lnTo>
                    <a:pt x="162" y="148"/>
                  </a:lnTo>
                  <a:lnTo>
                    <a:pt x="162" y="154"/>
                  </a:lnTo>
                  <a:lnTo>
                    <a:pt x="156" y="156"/>
                  </a:lnTo>
                  <a:lnTo>
                    <a:pt x="152" y="162"/>
                  </a:lnTo>
                  <a:lnTo>
                    <a:pt x="148" y="168"/>
                  </a:lnTo>
                  <a:lnTo>
                    <a:pt x="146" y="170"/>
                  </a:lnTo>
                  <a:lnTo>
                    <a:pt x="140" y="172"/>
                  </a:lnTo>
                  <a:lnTo>
                    <a:pt x="136" y="178"/>
                  </a:lnTo>
                  <a:lnTo>
                    <a:pt x="134" y="178"/>
                  </a:lnTo>
                  <a:lnTo>
                    <a:pt x="130" y="184"/>
                  </a:lnTo>
                  <a:lnTo>
                    <a:pt x="126" y="190"/>
                  </a:lnTo>
                  <a:lnTo>
                    <a:pt x="120" y="192"/>
                  </a:lnTo>
                  <a:lnTo>
                    <a:pt x="116" y="198"/>
                  </a:lnTo>
                  <a:lnTo>
                    <a:pt x="114" y="204"/>
                  </a:lnTo>
                  <a:lnTo>
                    <a:pt x="114" y="206"/>
                  </a:lnTo>
                  <a:lnTo>
                    <a:pt x="110" y="212"/>
                  </a:lnTo>
                  <a:lnTo>
                    <a:pt x="108" y="212"/>
                  </a:lnTo>
                  <a:lnTo>
                    <a:pt x="102" y="210"/>
                  </a:lnTo>
                  <a:lnTo>
                    <a:pt x="102" y="208"/>
                  </a:lnTo>
                  <a:lnTo>
                    <a:pt x="96" y="204"/>
                  </a:lnTo>
                  <a:lnTo>
                    <a:pt x="90" y="200"/>
                  </a:lnTo>
                  <a:lnTo>
                    <a:pt x="84" y="196"/>
                  </a:lnTo>
                  <a:lnTo>
                    <a:pt x="78" y="194"/>
                  </a:lnTo>
                  <a:lnTo>
                    <a:pt x="72" y="192"/>
                  </a:lnTo>
                  <a:lnTo>
                    <a:pt x="66" y="190"/>
                  </a:lnTo>
                  <a:lnTo>
                    <a:pt x="60" y="186"/>
                  </a:lnTo>
                  <a:lnTo>
                    <a:pt x="54" y="184"/>
                  </a:lnTo>
                  <a:lnTo>
                    <a:pt x="48" y="178"/>
                  </a:lnTo>
                  <a:lnTo>
                    <a:pt x="54" y="180"/>
                  </a:lnTo>
                  <a:lnTo>
                    <a:pt x="48" y="174"/>
                  </a:lnTo>
                  <a:lnTo>
                    <a:pt x="54" y="170"/>
                  </a:lnTo>
                  <a:lnTo>
                    <a:pt x="60" y="170"/>
                  </a:lnTo>
                  <a:lnTo>
                    <a:pt x="66" y="166"/>
                  </a:lnTo>
                  <a:lnTo>
                    <a:pt x="62" y="166"/>
                  </a:lnTo>
                  <a:lnTo>
                    <a:pt x="56" y="168"/>
                  </a:lnTo>
                  <a:lnTo>
                    <a:pt x="50" y="170"/>
                  </a:lnTo>
                  <a:lnTo>
                    <a:pt x="46" y="164"/>
                  </a:lnTo>
                  <a:lnTo>
                    <a:pt x="46" y="158"/>
                  </a:lnTo>
                  <a:lnTo>
                    <a:pt x="48" y="152"/>
                  </a:lnTo>
                  <a:lnTo>
                    <a:pt x="44" y="158"/>
                  </a:lnTo>
                  <a:lnTo>
                    <a:pt x="38" y="160"/>
                  </a:lnTo>
                  <a:lnTo>
                    <a:pt x="32" y="156"/>
                  </a:lnTo>
                  <a:lnTo>
                    <a:pt x="30" y="150"/>
                  </a:lnTo>
                  <a:lnTo>
                    <a:pt x="24" y="150"/>
                  </a:lnTo>
                  <a:lnTo>
                    <a:pt x="18" y="144"/>
                  </a:lnTo>
                  <a:lnTo>
                    <a:pt x="22" y="138"/>
                  </a:lnTo>
                  <a:lnTo>
                    <a:pt x="22" y="132"/>
                  </a:lnTo>
                  <a:lnTo>
                    <a:pt x="20" y="128"/>
                  </a:lnTo>
                  <a:lnTo>
                    <a:pt x="18" y="120"/>
                  </a:lnTo>
                  <a:lnTo>
                    <a:pt x="12" y="122"/>
                  </a:lnTo>
                  <a:lnTo>
                    <a:pt x="6" y="122"/>
                  </a:lnTo>
                  <a:lnTo>
                    <a:pt x="4" y="116"/>
                  </a:lnTo>
                  <a:lnTo>
                    <a:pt x="0" y="110"/>
                  </a:lnTo>
                  <a:lnTo>
                    <a:pt x="2" y="104"/>
                  </a:lnTo>
                  <a:lnTo>
                    <a:pt x="8" y="108"/>
                  </a:lnTo>
                  <a:lnTo>
                    <a:pt x="14" y="112"/>
                  </a:lnTo>
                  <a:lnTo>
                    <a:pt x="10" y="108"/>
                  </a:lnTo>
                  <a:lnTo>
                    <a:pt x="12" y="104"/>
                  </a:lnTo>
                  <a:lnTo>
                    <a:pt x="18" y="100"/>
                  </a:lnTo>
                  <a:lnTo>
                    <a:pt x="24" y="98"/>
                  </a:lnTo>
                  <a:lnTo>
                    <a:pt x="22" y="98"/>
                  </a:lnTo>
                  <a:lnTo>
                    <a:pt x="24" y="92"/>
                  </a:lnTo>
                  <a:lnTo>
                    <a:pt x="20" y="98"/>
                  </a:lnTo>
                  <a:lnTo>
                    <a:pt x="14" y="98"/>
                  </a:lnTo>
                  <a:lnTo>
                    <a:pt x="12" y="94"/>
                  </a:lnTo>
                  <a:lnTo>
                    <a:pt x="8" y="92"/>
                  </a:lnTo>
                  <a:lnTo>
                    <a:pt x="4" y="98"/>
                  </a:lnTo>
                  <a:lnTo>
                    <a:pt x="2" y="94"/>
                  </a:lnTo>
                  <a:lnTo>
                    <a:pt x="2" y="92"/>
                  </a:lnTo>
                  <a:lnTo>
                    <a:pt x="2" y="86"/>
                  </a:lnTo>
                  <a:lnTo>
                    <a:pt x="4" y="80"/>
                  </a:lnTo>
                  <a:lnTo>
                    <a:pt x="8" y="80"/>
                  </a:lnTo>
                  <a:lnTo>
                    <a:pt x="14" y="78"/>
                  </a:lnTo>
                  <a:lnTo>
                    <a:pt x="8" y="74"/>
                  </a:lnTo>
                  <a:lnTo>
                    <a:pt x="4" y="72"/>
                  </a:lnTo>
                  <a:lnTo>
                    <a:pt x="0" y="6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0" name="Freeform 207"/>
            <p:cNvSpPr>
              <a:spLocks/>
            </p:cNvSpPr>
            <p:nvPr/>
          </p:nvSpPr>
          <p:spPr bwMode="auto">
            <a:xfrm>
              <a:off x="3932238" y="3533775"/>
              <a:ext cx="406400" cy="422275"/>
            </a:xfrm>
            <a:custGeom>
              <a:avLst/>
              <a:gdLst>
                <a:gd name="T0" fmla="*/ 2147483647 w 1000"/>
                <a:gd name="T1" fmla="*/ 2147483647 h 1026"/>
                <a:gd name="T2" fmla="*/ 2147483647 w 1000"/>
                <a:gd name="T3" fmla="*/ 2147483647 h 1026"/>
                <a:gd name="T4" fmla="*/ 2147483647 w 1000"/>
                <a:gd name="T5" fmla="*/ 2147483647 h 1026"/>
                <a:gd name="T6" fmla="*/ 2147483647 w 1000"/>
                <a:gd name="T7" fmla="*/ 2147483647 h 1026"/>
                <a:gd name="T8" fmla="*/ 2147483647 w 1000"/>
                <a:gd name="T9" fmla="*/ 2147483647 h 1026"/>
                <a:gd name="T10" fmla="*/ 2147483647 w 1000"/>
                <a:gd name="T11" fmla="*/ 2147483647 h 1026"/>
                <a:gd name="T12" fmla="*/ 2147483647 w 1000"/>
                <a:gd name="T13" fmla="*/ 2147483647 h 1026"/>
                <a:gd name="T14" fmla="*/ 2147483647 w 1000"/>
                <a:gd name="T15" fmla="*/ 2147483647 h 1026"/>
                <a:gd name="T16" fmla="*/ 2147483647 w 1000"/>
                <a:gd name="T17" fmla="*/ 2147483647 h 1026"/>
                <a:gd name="T18" fmla="*/ 2147483647 w 1000"/>
                <a:gd name="T19" fmla="*/ 2147483647 h 1026"/>
                <a:gd name="T20" fmla="*/ 2147483647 w 1000"/>
                <a:gd name="T21" fmla="*/ 2147483647 h 1026"/>
                <a:gd name="T22" fmla="*/ 2147483647 w 1000"/>
                <a:gd name="T23" fmla="*/ 2147483647 h 1026"/>
                <a:gd name="T24" fmla="*/ 2147483647 w 1000"/>
                <a:gd name="T25" fmla="*/ 2147483647 h 1026"/>
                <a:gd name="T26" fmla="*/ 2147483647 w 1000"/>
                <a:gd name="T27" fmla="*/ 2147483647 h 1026"/>
                <a:gd name="T28" fmla="*/ 2147483647 w 1000"/>
                <a:gd name="T29" fmla="*/ 2147483647 h 1026"/>
                <a:gd name="T30" fmla="*/ 2147483647 w 1000"/>
                <a:gd name="T31" fmla="*/ 2147483647 h 1026"/>
                <a:gd name="T32" fmla="*/ 2147483647 w 1000"/>
                <a:gd name="T33" fmla="*/ 2147483647 h 1026"/>
                <a:gd name="T34" fmla="*/ 2147483647 w 1000"/>
                <a:gd name="T35" fmla="*/ 2147483647 h 1026"/>
                <a:gd name="T36" fmla="*/ 2147483647 w 1000"/>
                <a:gd name="T37" fmla="*/ 0 h 1026"/>
                <a:gd name="T38" fmla="*/ 2147483647 w 1000"/>
                <a:gd name="T39" fmla="*/ 2147483647 h 1026"/>
                <a:gd name="T40" fmla="*/ 2147483647 w 1000"/>
                <a:gd name="T41" fmla="*/ 2147483647 h 1026"/>
                <a:gd name="T42" fmla="*/ 2147483647 w 1000"/>
                <a:gd name="T43" fmla="*/ 2147483647 h 1026"/>
                <a:gd name="T44" fmla="*/ 2147483647 w 1000"/>
                <a:gd name="T45" fmla="*/ 2147483647 h 1026"/>
                <a:gd name="T46" fmla="*/ 2147483647 w 1000"/>
                <a:gd name="T47" fmla="*/ 2147483647 h 1026"/>
                <a:gd name="T48" fmla="*/ 2147483647 w 1000"/>
                <a:gd name="T49" fmla="*/ 2147483647 h 1026"/>
                <a:gd name="T50" fmla="*/ 2147483647 w 1000"/>
                <a:gd name="T51" fmla="*/ 2147483647 h 1026"/>
                <a:gd name="T52" fmla="*/ 2147483647 w 1000"/>
                <a:gd name="T53" fmla="*/ 2147483647 h 1026"/>
                <a:gd name="T54" fmla="*/ 2147483647 w 1000"/>
                <a:gd name="T55" fmla="*/ 2147483647 h 1026"/>
                <a:gd name="T56" fmla="*/ 2147483647 w 1000"/>
                <a:gd name="T57" fmla="*/ 2147483647 h 1026"/>
                <a:gd name="T58" fmla="*/ 2147483647 w 1000"/>
                <a:gd name="T59" fmla="*/ 2147483647 h 1026"/>
                <a:gd name="T60" fmla="*/ 2147483647 w 1000"/>
                <a:gd name="T61" fmla="*/ 2147483647 h 1026"/>
                <a:gd name="T62" fmla="*/ 2147483647 w 1000"/>
                <a:gd name="T63" fmla="*/ 2147483647 h 1026"/>
                <a:gd name="T64" fmla="*/ 2147483647 w 1000"/>
                <a:gd name="T65" fmla="*/ 2147483647 h 1026"/>
                <a:gd name="T66" fmla="*/ 2147483647 w 1000"/>
                <a:gd name="T67" fmla="*/ 2147483647 h 1026"/>
                <a:gd name="T68" fmla="*/ 2147483647 w 1000"/>
                <a:gd name="T69" fmla="*/ 2147483647 h 1026"/>
                <a:gd name="T70" fmla="*/ 2147483647 w 1000"/>
                <a:gd name="T71" fmla="*/ 2147483647 h 1026"/>
                <a:gd name="T72" fmla="*/ 2147483647 w 1000"/>
                <a:gd name="T73" fmla="*/ 2147483647 h 1026"/>
                <a:gd name="T74" fmla="*/ 2147483647 w 1000"/>
                <a:gd name="T75" fmla="*/ 2147483647 h 1026"/>
                <a:gd name="T76" fmla="*/ 2147483647 w 1000"/>
                <a:gd name="T77" fmla="*/ 2147483647 h 1026"/>
                <a:gd name="T78" fmla="*/ 2147483647 w 1000"/>
                <a:gd name="T79" fmla="*/ 2147483647 h 1026"/>
                <a:gd name="T80" fmla="*/ 2147483647 w 1000"/>
                <a:gd name="T81" fmla="*/ 2147483647 h 1026"/>
                <a:gd name="T82" fmla="*/ 2147483647 w 1000"/>
                <a:gd name="T83" fmla="*/ 2147483647 h 1026"/>
                <a:gd name="T84" fmla="*/ 2147483647 w 1000"/>
                <a:gd name="T85" fmla="*/ 2147483647 h 1026"/>
                <a:gd name="T86" fmla="*/ 2147483647 w 1000"/>
                <a:gd name="T87" fmla="*/ 2147483647 h 1026"/>
                <a:gd name="T88" fmla="*/ 2147483647 w 1000"/>
                <a:gd name="T89" fmla="*/ 2147483647 h 1026"/>
                <a:gd name="T90" fmla="*/ 2147483647 w 1000"/>
                <a:gd name="T91" fmla="*/ 2147483647 h 1026"/>
                <a:gd name="T92" fmla="*/ 2147483647 w 1000"/>
                <a:gd name="T93" fmla="*/ 2147483647 h 1026"/>
                <a:gd name="T94" fmla="*/ 2147483647 w 1000"/>
                <a:gd name="T95" fmla="*/ 2147483647 h 1026"/>
                <a:gd name="T96" fmla="*/ 2147483647 w 1000"/>
                <a:gd name="T97" fmla="*/ 2147483647 h 1026"/>
                <a:gd name="T98" fmla="*/ 2147483647 w 1000"/>
                <a:gd name="T99" fmla="*/ 2147483647 h 1026"/>
                <a:gd name="T100" fmla="*/ 2147483647 w 1000"/>
                <a:gd name="T101" fmla="*/ 2147483647 h 1026"/>
                <a:gd name="T102" fmla="*/ 2147483647 w 1000"/>
                <a:gd name="T103" fmla="*/ 2147483647 h 1026"/>
                <a:gd name="T104" fmla="*/ 2147483647 w 1000"/>
                <a:gd name="T105" fmla="*/ 2147483647 h 1026"/>
                <a:gd name="T106" fmla="*/ 2147483647 w 1000"/>
                <a:gd name="T107" fmla="*/ 2147483647 h 1026"/>
                <a:gd name="T108" fmla="*/ 2147483647 w 1000"/>
                <a:gd name="T109" fmla="*/ 2147483647 h 1026"/>
                <a:gd name="T110" fmla="*/ 2147483647 w 1000"/>
                <a:gd name="T111" fmla="*/ 2147483647 h 1026"/>
                <a:gd name="T112" fmla="*/ 2147483647 w 1000"/>
                <a:gd name="T113" fmla="*/ 2147483647 h 1026"/>
                <a:gd name="T114" fmla="*/ 2147483647 w 1000"/>
                <a:gd name="T115" fmla="*/ 2147483647 h 1026"/>
                <a:gd name="T116" fmla="*/ 2147483647 w 1000"/>
                <a:gd name="T117" fmla="*/ 2147483647 h 1026"/>
                <a:gd name="T118" fmla="*/ 2147483647 w 1000"/>
                <a:gd name="T119" fmla="*/ 2147483647 h 1026"/>
                <a:gd name="T120" fmla="*/ 2147483647 w 1000"/>
                <a:gd name="T121" fmla="*/ 2147483647 h 1026"/>
                <a:gd name="T122" fmla="*/ 2147483647 w 1000"/>
                <a:gd name="T123" fmla="*/ 2147483647 h 1026"/>
                <a:gd name="T124" fmla="*/ 0 w 1000"/>
                <a:gd name="T125" fmla="*/ 2147483647 h 10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00"/>
                <a:gd name="T190" fmla="*/ 0 h 1026"/>
                <a:gd name="T191" fmla="*/ 1000 w 1000"/>
                <a:gd name="T192" fmla="*/ 1026 h 102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00" h="1026">
                  <a:moveTo>
                    <a:pt x="0" y="708"/>
                  </a:moveTo>
                  <a:lnTo>
                    <a:pt x="4" y="708"/>
                  </a:lnTo>
                  <a:lnTo>
                    <a:pt x="10" y="710"/>
                  </a:lnTo>
                  <a:lnTo>
                    <a:pt x="14" y="708"/>
                  </a:lnTo>
                  <a:lnTo>
                    <a:pt x="20" y="704"/>
                  </a:lnTo>
                  <a:lnTo>
                    <a:pt x="26" y="698"/>
                  </a:lnTo>
                  <a:lnTo>
                    <a:pt x="26" y="692"/>
                  </a:lnTo>
                  <a:lnTo>
                    <a:pt x="26" y="690"/>
                  </a:lnTo>
                  <a:lnTo>
                    <a:pt x="24" y="682"/>
                  </a:lnTo>
                  <a:lnTo>
                    <a:pt x="26" y="678"/>
                  </a:lnTo>
                  <a:lnTo>
                    <a:pt x="26" y="672"/>
                  </a:lnTo>
                  <a:lnTo>
                    <a:pt x="30" y="666"/>
                  </a:lnTo>
                  <a:lnTo>
                    <a:pt x="30" y="660"/>
                  </a:lnTo>
                  <a:lnTo>
                    <a:pt x="32" y="654"/>
                  </a:lnTo>
                  <a:lnTo>
                    <a:pt x="38" y="654"/>
                  </a:lnTo>
                  <a:lnTo>
                    <a:pt x="44" y="650"/>
                  </a:lnTo>
                  <a:lnTo>
                    <a:pt x="50" y="648"/>
                  </a:lnTo>
                  <a:lnTo>
                    <a:pt x="54" y="654"/>
                  </a:lnTo>
                  <a:lnTo>
                    <a:pt x="58" y="660"/>
                  </a:lnTo>
                  <a:lnTo>
                    <a:pt x="64" y="664"/>
                  </a:lnTo>
                  <a:lnTo>
                    <a:pt x="70" y="670"/>
                  </a:lnTo>
                  <a:lnTo>
                    <a:pt x="76" y="676"/>
                  </a:lnTo>
                  <a:lnTo>
                    <a:pt x="80" y="682"/>
                  </a:lnTo>
                  <a:lnTo>
                    <a:pt x="80" y="684"/>
                  </a:lnTo>
                  <a:lnTo>
                    <a:pt x="84" y="678"/>
                  </a:lnTo>
                  <a:lnTo>
                    <a:pt x="86" y="672"/>
                  </a:lnTo>
                  <a:lnTo>
                    <a:pt x="92" y="666"/>
                  </a:lnTo>
                  <a:lnTo>
                    <a:pt x="94" y="662"/>
                  </a:lnTo>
                  <a:lnTo>
                    <a:pt x="96" y="662"/>
                  </a:lnTo>
                  <a:lnTo>
                    <a:pt x="102" y="662"/>
                  </a:lnTo>
                  <a:lnTo>
                    <a:pt x="104" y="662"/>
                  </a:lnTo>
                  <a:lnTo>
                    <a:pt x="110" y="662"/>
                  </a:lnTo>
                  <a:lnTo>
                    <a:pt x="116" y="662"/>
                  </a:lnTo>
                  <a:lnTo>
                    <a:pt x="122" y="662"/>
                  </a:lnTo>
                  <a:lnTo>
                    <a:pt x="128" y="664"/>
                  </a:lnTo>
                  <a:lnTo>
                    <a:pt x="134" y="666"/>
                  </a:lnTo>
                  <a:lnTo>
                    <a:pt x="136" y="666"/>
                  </a:lnTo>
                  <a:lnTo>
                    <a:pt x="142" y="664"/>
                  </a:lnTo>
                  <a:lnTo>
                    <a:pt x="148" y="666"/>
                  </a:lnTo>
                  <a:lnTo>
                    <a:pt x="152" y="662"/>
                  </a:lnTo>
                  <a:lnTo>
                    <a:pt x="154" y="662"/>
                  </a:lnTo>
                  <a:lnTo>
                    <a:pt x="160" y="662"/>
                  </a:lnTo>
                  <a:lnTo>
                    <a:pt x="166" y="662"/>
                  </a:lnTo>
                  <a:lnTo>
                    <a:pt x="170" y="654"/>
                  </a:lnTo>
                  <a:lnTo>
                    <a:pt x="172" y="648"/>
                  </a:lnTo>
                  <a:lnTo>
                    <a:pt x="176" y="654"/>
                  </a:lnTo>
                  <a:lnTo>
                    <a:pt x="182" y="656"/>
                  </a:lnTo>
                  <a:lnTo>
                    <a:pt x="186" y="656"/>
                  </a:lnTo>
                  <a:lnTo>
                    <a:pt x="190" y="656"/>
                  </a:lnTo>
                  <a:lnTo>
                    <a:pt x="196" y="656"/>
                  </a:lnTo>
                  <a:lnTo>
                    <a:pt x="198" y="656"/>
                  </a:lnTo>
                  <a:lnTo>
                    <a:pt x="204" y="656"/>
                  </a:lnTo>
                  <a:lnTo>
                    <a:pt x="210" y="656"/>
                  </a:lnTo>
                  <a:lnTo>
                    <a:pt x="216" y="656"/>
                  </a:lnTo>
                  <a:lnTo>
                    <a:pt x="222" y="656"/>
                  </a:lnTo>
                  <a:lnTo>
                    <a:pt x="226" y="656"/>
                  </a:lnTo>
                  <a:lnTo>
                    <a:pt x="234" y="656"/>
                  </a:lnTo>
                  <a:lnTo>
                    <a:pt x="240" y="656"/>
                  </a:lnTo>
                  <a:lnTo>
                    <a:pt x="246" y="656"/>
                  </a:lnTo>
                  <a:lnTo>
                    <a:pt x="252" y="656"/>
                  </a:lnTo>
                  <a:lnTo>
                    <a:pt x="260" y="656"/>
                  </a:lnTo>
                  <a:lnTo>
                    <a:pt x="266" y="656"/>
                  </a:lnTo>
                  <a:lnTo>
                    <a:pt x="272" y="656"/>
                  </a:lnTo>
                  <a:lnTo>
                    <a:pt x="280" y="656"/>
                  </a:lnTo>
                  <a:lnTo>
                    <a:pt x="286" y="656"/>
                  </a:lnTo>
                  <a:lnTo>
                    <a:pt x="292" y="656"/>
                  </a:lnTo>
                  <a:lnTo>
                    <a:pt x="298" y="656"/>
                  </a:lnTo>
                  <a:lnTo>
                    <a:pt x="306" y="656"/>
                  </a:lnTo>
                  <a:lnTo>
                    <a:pt x="312" y="656"/>
                  </a:lnTo>
                  <a:lnTo>
                    <a:pt x="314" y="656"/>
                  </a:lnTo>
                  <a:lnTo>
                    <a:pt x="318" y="656"/>
                  </a:lnTo>
                  <a:lnTo>
                    <a:pt x="326" y="656"/>
                  </a:lnTo>
                  <a:lnTo>
                    <a:pt x="332" y="656"/>
                  </a:lnTo>
                  <a:lnTo>
                    <a:pt x="338" y="656"/>
                  </a:lnTo>
                  <a:lnTo>
                    <a:pt x="344" y="656"/>
                  </a:lnTo>
                  <a:lnTo>
                    <a:pt x="352" y="656"/>
                  </a:lnTo>
                  <a:lnTo>
                    <a:pt x="358" y="656"/>
                  </a:lnTo>
                  <a:lnTo>
                    <a:pt x="360" y="656"/>
                  </a:lnTo>
                  <a:lnTo>
                    <a:pt x="366" y="656"/>
                  </a:lnTo>
                  <a:lnTo>
                    <a:pt x="372" y="656"/>
                  </a:lnTo>
                  <a:lnTo>
                    <a:pt x="378" y="656"/>
                  </a:lnTo>
                  <a:lnTo>
                    <a:pt x="386" y="656"/>
                  </a:lnTo>
                  <a:lnTo>
                    <a:pt x="392" y="656"/>
                  </a:lnTo>
                  <a:lnTo>
                    <a:pt x="398" y="656"/>
                  </a:lnTo>
                  <a:lnTo>
                    <a:pt x="402" y="656"/>
                  </a:lnTo>
                  <a:lnTo>
                    <a:pt x="408" y="656"/>
                  </a:lnTo>
                  <a:lnTo>
                    <a:pt x="410" y="652"/>
                  </a:lnTo>
                  <a:lnTo>
                    <a:pt x="410" y="644"/>
                  </a:lnTo>
                  <a:lnTo>
                    <a:pt x="412" y="640"/>
                  </a:lnTo>
                  <a:lnTo>
                    <a:pt x="414" y="634"/>
                  </a:lnTo>
                  <a:lnTo>
                    <a:pt x="414" y="628"/>
                  </a:lnTo>
                  <a:lnTo>
                    <a:pt x="416" y="622"/>
                  </a:lnTo>
                  <a:lnTo>
                    <a:pt x="416" y="616"/>
                  </a:lnTo>
                  <a:lnTo>
                    <a:pt x="418" y="610"/>
                  </a:lnTo>
                  <a:lnTo>
                    <a:pt x="420" y="604"/>
                  </a:lnTo>
                  <a:lnTo>
                    <a:pt x="416" y="598"/>
                  </a:lnTo>
                  <a:lnTo>
                    <a:pt x="410" y="592"/>
                  </a:lnTo>
                  <a:lnTo>
                    <a:pt x="404" y="588"/>
                  </a:lnTo>
                  <a:lnTo>
                    <a:pt x="404" y="580"/>
                  </a:lnTo>
                  <a:lnTo>
                    <a:pt x="402" y="576"/>
                  </a:lnTo>
                  <a:lnTo>
                    <a:pt x="402" y="570"/>
                  </a:lnTo>
                  <a:lnTo>
                    <a:pt x="402" y="564"/>
                  </a:lnTo>
                  <a:lnTo>
                    <a:pt x="402" y="558"/>
                  </a:lnTo>
                  <a:lnTo>
                    <a:pt x="402" y="552"/>
                  </a:lnTo>
                  <a:lnTo>
                    <a:pt x="400" y="546"/>
                  </a:lnTo>
                  <a:lnTo>
                    <a:pt x="400" y="540"/>
                  </a:lnTo>
                  <a:lnTo>
                    <a:pt x="400" y="534"/>
                  </a:lnTo>
                  <a:lnTo>
                    <a:pt x="400" y="528"/>
                  </a:lnTo>
                  <a:lnTo>
                    <a:pt x="398" y="522"/>
                  </a:lnTo>
                  <a:lnTo>
                    <a:pt x="398" y="516"/>
                  </a:lnTo>
                  <a:lnTo>
                    <a:pt x="398" y="510"/>
                  </a:lnTo>
                  <a:lnTo>
                    <a:pt x="398" y="504"/>
                  </a:lnTo>
                  <a:lnTo>
                    <a:pt x="398" y="498"/>
                  </a:lnTo>
                  <a:lnTo>
                    <a:pt x="396" y="492"/>
                  </a:lnTo>
                  <a:lnTo>
                    <a:pt x="396" y="486"/>
                  </a:lnTo>
                  <a:lnTo>
                    <a:pt x="396" y="480"/>
                  </a:lnTo>
                  <a:lnTo>
                    <a:pt x="396" y="474"/>
                  </a:lnTo>
                  <a:lnTo>
                    <a:pt x="394" y="468"/>
                  </a:lnTo>
                  <a:lnTo>
                    <a:pt x="394" y="462"/>
                  </a:lnTo>
                  <a:lnTo>
                    <a:pt x="394" y="456"/>
                  </a:lnTo>
                  <a:lnTo>
                    <a:pt x="394" y="450"/>
                  </a:lnTo>
                  <a:lnTo>
                    <a:pt x="394" y="444"/>
                  </a:lnTo>
                  <a:lnTo>
                    <a:pt x="392" y="438"/>
                  </a:lnTo>
                  <a:lnTo>
                    <a:pt x="392" y="432"/>
                  </a:lnTo>
                  <a:lnTo>
                    <a:pt x="392" y="426"/>
                  </a:lnTo>
                  <a:lnTo>
                    <a:pt x="392" y="420"/>
                  </a:lnTo>
                  <a:lnTo>
                    <a:pt x="390" y="414"/>
                  </a:lnTo>
                  <a:lnTo>
                    <a:pt x="390" y="408"/>
                  </a:lnTo>
                  <a:lnTo>
                    <a:pt x="390" y="402"/>
                  </a:lnTo>
                  <a:lnTo>
                    <a:pt x="390" y="396"/>
                  </a:lnTo>
                  <a:lnTo>
                    <a:pt x="390" y="390"/>
                  </a:lnTo>
                  <a:lnTo>
                    <a:pt x="388" y="384"/>
                  </a:lnTo>
                  <a:lnTo>
                    <a:pt x="388" y="378"/>
                  </a:lnTo>
                  <a:lnTo>
                    <a:pt x="388" y="372"/>
                  </a:lnTo>
                  <a:lnTo>
                    <a:pt x="388" y="366"/>
                  </a:lnTo>
                  <a:lnTo>
                    <a:pt x="386" y="360"/>
                  </a:lnTo>
                  <a:lnTo>
                    <a:pt x="386" y="354"/>
                  </a:lnTo>
                  <a:lnTo>
                    <a:pt x="386" y="348"/>
                  </a:lnTo>
                  <a:lnTo>
                    <a:pt x="386" y="346"/>
                  </a:lnTo>
                  <a:lnTo>
                    <a:pt x="386" y="340"/>
                  </a:lnTo>
                  <a:lnTo>
                    <a:pt x="386" y="332"/>
                  </a:lnTo>
                  <a:lnTo>
                    <a:pt x="384" y="326"/>
                  </a:lnTo>
                  <a:lnTo>
                    <a:pt x="384" y="322"/>
                  </a:lnTo>
                  <a:lnTo>
                    <a:pt x="384" y="314"/>
                  </a:lnTo>
                  <a:lnTo>
                    <a:pt x="384" y="310"/>
                  </a:lnTo>
                  <a:lnTo>
                    <a:pt x="382" y="304"/>
                  </a:lnTo>
                  <a:lnTo>
                    <a:pt x="382" y="296"/>
                  </a:lnTo>
                  <a:lnTo>
                    <a:pt x="382" y="292"/>
                  </a:lnTo>
                  <a:lnTo>
                    <a:pt x="382" y="286"/>
                  </a:lnTo>
                  <a:lnTo>
                    <a:pt x="382" y="280"/>
                  </a:lnTo>
                  <a:lnTo>
                    <a:pt x="380" y="272"/>
                  </a:lnTo>
                  <a:lnTo>
                    <a:pt x="380" y="268"/>
                  </a:lnTo>
                  <a:lnTo>
                    <a:pt x="380" y="260"/>
                  </a:lnTo>
                  <a:lnTo>
                    <a:pt x="378" y="254"/>
                  </a:lnTo>
                  <a:lnTo>
                    <a:pt x="378" y="250"/>
                  </a:lnTo>
                  <a:lnTo>
                    <a:pt x="378" y="244"/>
                  </a:lnTo>
                  <a:lnTo>
                    <a:pt x="378" y="238"/>
                  </a:lnTo>
                  <a:lnTo>
                    <a:pt x="378" y="232"/>
                  </a:lnTo>
                  <a:lnTo>
                    <a:pt x="378" y="226"/>
                  </a:lnTo>
                  <a:lnTo>
                    <a:pt x="376" y="220"/>
                  </a:lnTo>
                  <a:lnTo>
                    <a:pt x="376" y="214"/>
                  </a:lnTo>
                  <a:lnTo>
                    <a:pt x="376" y="208"/>
                  </a:lnTo>
                  <a:lnTo>
                    <a:pt x="376" y="202"/>
                  </a:lnTo>
                  <a:lnTo>
                    <a:pt x="374" y="196"/>
                  </a:lnTo>
                  <a:lnTo>
                    <a:pt x="374" y="190"/>
                  </a:lnTo>
                  <a:lnTo>
                    <a:pt x="374" y="184"/>
                  </a:lnTo>
                  <a:lnTo>
                    <a:pt x="374" y="178"/>
                  </a:lnTo>
                  <a:lnTo>
                    <a:pt x="372" y="172"/>
                  </a:lnTo>
                  <a:lnTo>
                    <a:pt x="372" y="166"/>
                  </a:lnTo>
                  <a:lnTo>
                    <a:pt x="372" y="160"/>
                  </a:lnTo>
                  <a:lnTo>
                    <a:pt x="372" y="154"/>
                  </a:lnTo>
                  <a:lnTo>
                    <a:pt x="372" y="148"/>
                  </a:lnTo>
                  <a:lnTo>
                    <a:pt x="370" y="144"/>
                  </a:lnTo>
                  <a:lnTo>
                    <a:pt x="370" y="138"/>
                  </a:lnTo>
                  <a:lnTo>
                    <a:pt x="370" y="132"/>
                  </a:lnTo>
                  <a:lnTo>
                    <a:pt x="370" y="128"/>
                  </a:lnTo>
                  <a:lnTo>
                    <a:pt x="370" y="124"/>
                  </a:lnTo>
                  <a:lnTo>
                    <a:pt x="368" y="120"/>
                  </a:lnTo>
                  <a:lnTo>
                    <a:pt x="368" y="112"/>
                  </a:lnTo>
                  <a:lnTo>
                    <a:pt x="368" y="106"/>
                  </a:lnTo>
                  <a:lnTo>
                    <a:pt x="368" y="100"/>
                  </a:lnTo>
                  <a:lnTo>
                    <a:pt x="368" y="94"/>
                  </a:lnTo>
                  <a:lnTo>
                    <a:pt x="366" y="88"/>
                  </a:lnTo>
                  <a:lnTo>
                    <a:pt x="366" y="82"/>
                  </a:lnTo>
                  <a:lnTo>
                    <a:pt x="366" y="76"/>
                  </a:lnTo>
                  <a:lnTo>
                    <a:pt x="364" y="68"/>
                  </a:lnTo>
                  <a:lnTo>
                    <a:pt x="364" y="62"/>
                  </a:lnTo>
                  <a:lnTo>
                    <a:pt x="364" y="56"/>
                  </a:lnTo>
                  <a:lnTo>
                    <a:pt x="364" y="50"/>
                  </a:lnTo>
                  <a:lnTo>
                    <a:pt x="364" y="48"/>
                  </a:lnTo>
                  <a:lnTo>
                    <a:pt x="364" y="42"/>
                  </a:lnTo>
                  <a:lnTo>
                    <a:pt x="362" y="36"/>
                  </a:lnTo>
                  <a:lnTo>
                    <a:pt x="362" y="30"/>
                  </a:lnTo>
                  <a:lnTo>
                    <a:pt x="362" y="24"/>
                  </a:lnTo>
                  <a:lnTo>
                    <a:pt x="362" y="18"/>
                  </a:lnTo>
                  <a:lnTo>
                    <a:pt x="360" y="12"/>
                  </a:lnTo>
                  <a:lnTo>
                    <a:pt x="360" y="6"/>
                  </a:lnTo>
                  <a:lnTo>
                    <a:pt x="360" y="0"/>
                  </a:lnTo>
                  <a:lnTo>
                    <a:pt x="366" y="0"/>
                  </a:lnTo>
                  <a:lnTo>
                    <a:pt x="372" y="0"/>
                  </a:lnTo>
                  <a:lnTo>
                    <a:pt x="378" y="0"/>
                  </a:lnTo>
                  <a:lnTo>
                    <a:pt x="384" y="0"/>
                  </a:lnTo>
                  <a:lnTo>
                    <a:pt x="390" y="0"/>
                  </a:lnTo>
                  <a:lnTo>
                    <a:pt x="398" y="0"/>
                  </a:lnTo>
                  <a:lnTo>
                    <a:pt x="404" y="0"/>
                  </a:lnTo>
                  <a:lnTo>
                    <a:pt x="410" y="0"/>
                  </a:lnTo>
                  <a:lnTo>
                    <a:pt x="416" y="0"/>
                  </a:lnTo>
                  <a:lnTo>
                    <a:pt x="424" y="0"/>
                  </a:lnTo>
                  <a:lnTo>
                    <a:pt x="430" y="0"/>
                  </a:lnTo>
                  <a:lnTo>
                    <a:pt x="436" y="0"/>
                  </a:lnTo>
                  <a:lnTo>
                    <a:pt x="442" y="0"/>
                  </a:lnTo>
                  <a:lnTo>
                    <a:pt x="448" y="0"/>
                  </a:lnTo>
                  <a:lnTo>
                    <a:pt x="454" y="0"/>
                  </a:lnTo>
                  <a:lnTo>
                    <a:pt x="460" y="0"/>
                  </a:lnTo>
                  <a:lnTo>
                    <a:pt x="466" y="0"/>
                  </a:lnTo>
                  <a:lnTo>
                    <a:pt x="472" y="4"/>
                  </a:lnTo>
                  <a:lnTo>
                    <a:pt x="478" y="8"/>
                  </a:lnTo>
                  <a:lnTo>
                    <a:pt x="484" y="14"/>
                  </a:lnTo>
                  <a:lnTo>
                    <a:pt x="490" y="18"/>
                  </a:lnTo>
                  <a:lnTo>
                    <a:pt x="496" y="22"/>
                  </a:lnTo>
                  <a:lnTo>
                    <a:pt x="502" y="26"/>
                  </a:lnTo>
                  <a:lnTo>
                    <a:pt x="508" y="32"/>
                  </a:lnTo>
                  <a:lnTo>
                    <a:pt x="514" y="36"/>
                  </a:lnTo>
                  <a:lnTo>
                    <a:pt x="520" y="40"/>
                  </a:lnTo>
                  <a:lnTo>
                    <a:pt x="526" y="46"/>
                  </a:lnTo>
                  <a:lnTo>
                    <a:pt x="532" y="50"/>
                  </a:lnTo>
                  <a:lnTo>
                    <a:pt x="538" y="54"/>
                  </a:lnTo>
                  <a:lnTo>
                    <a:pt x="544" y="60"/>
                  </a:lnTo>
                  <a:lnTo>
                    <a:pt x="550" y="64"/>
                  </a:lnTo>
                  <a:lnTo>
                    <a:pt x="556" y="68"/>
                  </a:lnTo>
                  <a:lnTo>
                    <a:pt x="558" y="68"/>
                  </a:lnTo>
                  <a:lnTo>
                    <a:pt x="564" y="72"/>
                  </a:lnTo>
                  <a:lnTo>
                    <a:pt x="568" y="78"/>
                  </a:lnTo>
                  <a:lnTo>
                    <a:pt x="576" y="82"/>
                  </a:lnTo>
                  <a:lnTo>
                    <a:pt x="580" y="86"/>
                  </a:lnTo>
                  <a:lnTo>
                    <a:pt x="588" y="92"/>
                  </a:lnTo>
                  <a:lnTo>
                    <a:pt x="594" y="96"/>
                  </a:lnTo>
                  <a:lnTo>
                    <a:pt x="600" y="102"/>
                  </a:lnTo>
                  <a:lnTo>
                    <a:pt x="606" y="106"/>
                  </a:lnTo>
                  <a:lnTo>
                    <a:pt x="612" y="110"/>
                  </a:lnTo>
                  <a:lnTo>
                    <a:pt x="618" y="114"/>
                  </a:lnTo>
                  <a:lnTo>
                    <a:pt x="624" y="120"/>
                  </a:lnTo>
                  <a:lnTo>
                    <a:pt x="630" y="124"/>
                  </a:lnTo>
                  <a:lnTo>
                    <a:pt x="636" y="130"/>
                  </a:lnTo>
                  <a:lnTo>
                    <a:pt x="642" y="134"/>
                  </a:lnTo>
                  <a:lnTo>
                    <a:pt x="648" y="138"/>
                  </a:lnTo>
                  <a:lnTo>
                    <a:pt x="654" y="144"/>
                  </a:lnTo>
                  <a:lnTo>
                    <a:pt x="660" y="148"/>
                  </a:lnTo>
                  <a:lnTo>
                    <a:pt x="666" y="152"/>
                  </a:lnTo>
                  <a:lnTo>
                    <a:pt x="672" y="158"/>
                  </a:lnTo>
                  <a:lnTo>
                    <a:pt x="678" y="162"/>
                  </a:lnTo>
                  <a:lnTo>
                    <a:pt x="682" y="166"/>
                  </a:lnTo>
                  <a:lnTo>
                    <a:pt x="690" y="172"/>
                  </a:lnTo>
                  <a:lnTo>
                    <a:pt x="694" y="176"/>
                  </a:lnTo>
                  <a:lnTo>
                    <a:pt x="700" y="182"/>
                  </a:lnTo>
                  <a:lnTo>
                    <a:pt x="706" y="186"/>
                  </a:lnTo>
                  <a:lnTo>
                    <a:pt x="712" y="192"/>
                  </a:lnTo>
                  <a:lnTo>
                    <a:pt x="718" y="196"/>
                  </a:lnTo>
                  <a:lnTo>
                    <a:pt x="724" y="200"/>
                  </a:lnTo>
                  <a:lnTo>
                    <a:pt x="730" y="206"/>
                  </a:lnTo>
                  <a:lnTo>
                    <a:pt x="736" y="210"/>
                  </a:lnTo>
                  <a:lnTo>
                    <a:pt x="742" y="214"/>
                  </a:lnTo>
                  <a:lnTo>
                    <a:pt x="746" y="216"/>
                  </a:lnTo>
                  <a:lnTo>
                    <a:pt x="748" y="220"/>
                  </a:lnTo>
                  <a:lnTo>
                    <a:pt x="754" y="224"/>
                  </a:lnTo>
                  <a:lnTo>
                    <a:pt x="760" y="228"/>
                  </a:lnTo>
                  <a:lnTo>
                    <a:pt x="766" y="232"/>
                  </a:lnTo>
                  <a:lnTo>
                    <a:pt x="770" y="236"/>
                  </a:lnTo>
                  <a:lnTo>
                    <a:pt x="778" y="240"/>
                  </a:lnTo>
                  <a:lnTo>
                    <a:pt x="784" y="244"/>
                  </a:lnTo>
                  <a:lnTo>
                    <a:pt x="788" y="250"/>
                  </a:lnTo>
                  <a:lnTo>
                    <a:pt x="796" y="254"/>
                  </a:lnTo>
                  <a:lnTo>
                    <a:pt x="800" y="258"/>
                  </a:lnTo>
                  <a:lnTo>
                    <a:pt x="806" y="262"/>
                  </a:lnTo>
                  <a:lnTo>
                    <a:pt x="812" y="266"/>
                  </a:lnTo>
                  <a:lnTo>
                    <a:pt x="818" y="270"/>
                  </a:lnTo>
                  <a:lnTo>
                    <a:pt x="818" y="276"/>
                  </a:lnTo>
                  <a:lnTo>
                    <a:pt x="818" y="282"/>
                  </a:lnTo>
                  <a:lnTo>
                    <a:pt x="816" y="288"/>
                  </a:lnTo>
                  <a:lnTo>
                    <a:pt x="818" y="294"/>
                  </a:lnTo>
                  <a:lnTo>
                    <a:pt x="824" y="294"/>
                  </a:lnTo>
                  <a:lnTo>
                    <a:pt x="826" y="296"/>
                  </a:lnTo>
                  <a:lnTo>
                    <a:pt x="832" y="300"/>
                  </a:lnTo>
                  <a:lnTo>
                    <a:pt x="838" y="302"/>
                  </a:lnTo>
                  <a:lnTo>
                    <a:pt x="844" y="306"/>
                  </a:lnTo>
                  <a:lnTo>
                    <a:pt x="846" y="312"/>
                  </a:lnTo>
                  <a:lnTo>
                    <a:pt x="848" y="318"/>
                  </a:lnTo>
                  <a:lnTo>
                    <a:pt x="854" y="324"/>
                  </a:lnTo>
                  <a:lnTo>
                    <a:pt x="860" y="330"/>
                  </a:lnTo>
                  <a:lnTo>
                    <a:pt x="866" y="328"/>
                  </a:lnTo>
                  <a:lnTo>
                    <a:pt x="872" y="330"/>
                  </a:lnTo>
                  <a:lnTo>
                    <a:pt x="878" y="326"/>
                  </a:lnTo>
                  <a:lnTo>
                    <a:pt x="884" y="330"/>
                  </a:lnTo>
                  <a:lnTo>
                    <a:pt x="888" y="336"/>
                  </a:lnTo>
                  <a:lnTo>
                    <a:pt x="890" y="342"/>
                  </a:lnTo>
                  <a:lnTo>
                    <a:pt x="898" y="344"/>
                  </a:lnTo>
                  <a:lnTo>
                    <a:pt x="902" y="346"/>
                  </a:lnTo>
                  <a:lnTo>
                    <a:pt x="908" y="346"/>
                  </a:lnTo>
                  <a:lnTo>
                    <a:pt x="912" y="346"/>
                  </a:lnTo>
                  <a:lnTo>
                    <a:pt x="918" y="348"/>
                  </a:lnTo>
                  <a:lnTo>
                    <a:pt x="924" y="348"/>
                  </a:lnTo>
                  <a:lnTo>
                    <a:pt x="928" y="352"/>
                  </a:lnTo>
                  <a:lnTo>
                    <a:pt x="934" y="356"/>
                  </a:lnTo>
                  <a:lnTo>
                    <a:pt x="940" y="358"/>
                  </a:lnTo>
                  <a:lnTo>
                    <a:pt x="940" y="364"/>
                  </a:lnTo>
                  <a:lnTo>
                    <a:pt x="938" y="370"/>
                  </a:lnTo>
                  <a:lnTo>
                    <a:pt x="938" y="376"/>
                  </a:lnTo>
                  <a:lnTo>
                    <a:pt x="940" y="382"/>
                  </a:lnTo>
                  <a:lnTo>
                    <a:pt x="942" y="388"/>
                  </a:lnTo>
                  <a:lnTo>
                    <a:pt x="936" y="394"/>
                  </a:lnTo>
                  <a:lnTo>
                    <a:pt x="934" y="400"/>
                  </a:lnTo>
                  <a:lnTo>
                    <a:pt x="932" y="406"/>
                  </a:lnTo>
                  <a:lnTo>
                    <a:pt x="940" y="410"/>
                  </a:lnTo>
                  <a:lnTo>
                    <a:pt x="944" y="416"/>
                  </a:lnTo>
                  <a:lnTo>
                    <a:pt x="946" y="416"/>
                  </a:lnTo>
                  <a:lnTo>
                    <a:pt x="952" y="414"/>
                  </a:lnTo>
                  <a:lnTo>
                    <a:pt x="960" y="414"/>
                  </a:lnTo>
                  <a:lnTo>
                    <a:pt x="966" y="412"/>
                  </a:lnTo>
                  <a:lnTo>
                    <a:pt x="972" y="410"/>
                  </a:lnTo>
                  <a:lnTo>
                    <a:pt x="974" y="410"/>
                  </a:lnTo>
                  <a:lnTo>
                    <a:pt x="980" y="408"/>
                  </a:lnTo>
                  <a:lnTo>
                    <a:pt x="986" y="408"/>
                  </a:lnTo>
                  <a:lnTo>
                    <a:pt x="994" y="406"/>
                  </a:lnTo>
                  <a:lnTo>
                    <a:pt x="1000" y="404"/>
                  </a:lnTo>
                  <a:lnTo>
                    <a:pt x="1000" y="410"/>
                  </a:lnTo>
                  <a:lnTo>
                    <a:pt x="1000" y="416"/>
                  </a:lnTo>
                  <a:lnTo>
                    <a:pt x="1000" y="422"/>
                  </a:lnTo>
                  <a:lnTo>
                    <a:pt x="1000" y="428"/>
                  </a:lnTo>
                  <a:lnTo>
                    <a:pt x="1000" y="434"/>
                  </a:lnTo>
                  <a:lnTo>
                    <a:pt x="1000" y="440"/>
                  </a:lnTo>
                  <a:lnTo>
                    <a:pt x="1000" y="444"/>
                  </a:lnTo>
                  <a:lnTo>
                    <a:pt x="1000" y="450"/>
                  </a:lnTo>
                  <a:lnTo>
                    <a:pt x="1000" y="456"/>
                  </a:lnTo>
                  <a:lnTo>
                    <a:pt x="1000" y="462"/>
                  </a:lnTo>
                  <a:lnTo>
                    <a:pt x="1000" y="468"/>
                  </a:lnTo>
                  <a:lnTo>
                    <a:pt x="1000" y="474"/>
                  </a:lnTo>
                  <a:lnTo>
                    <a:pt x="1000" y="480"/>
                  </a:lnTo>
                  <a:lnTo>
                    <a:pt x="1000" y="486"/>
                  </a:lnTo>
                  <a:lnTo>
                    <a:pt x="1000" y="492"/>
                  </a:lnTo>
                  <a:lnTo>
                    <a:pt x="1000" y="498"/>
                  </a:lnTo>
                  <a:lnTo>
                    <a:pt x="1000" y="504"/>
                  </a:lnTo>
                  <a:lnTo>
                    <a:pt x="1000" y="510"/>
                  </a:lnTo>
                  <a:lnTo>
                    <a:pt x="1000" y="516"/>
                  </a:lnTo>
                  <a:lnTo>
                    <a:pt x="1000" y="522"/>
                  </a:lnTo>
                  <a:lnTo>
                    <a:pt x="1000" y="528"/>
                  </a:lnTo>
                  <a:lnTo>
                    <a:pt x="1000" y="530"/>
                  </a:lnTo>
                  <a:lnTo>
                    <a:pt x="1000" y="534"/>
                  </a:lnTo>
                  <a:lnTo>
                    <a:pt x="1000" y="538"/>
                  </a:lnTo>
                  <a:lnTo>
                    <a:pt x="1000" y="544"/>
                  </a:lnTo>
                  <a:lnTo>
                    <a:pt x="1000" y="550"/>
                  </a:lnTo>
                  <a:lnTo>
                    <a:pt x="998" y="556"/>
                  </a:lnTo>
                  <a:lnTo>
                    <a:pt x="996" y="564"/>
                  </a:lnTo>
                  <a:lnTo>
                    <a:pt x="996" y="568"/>
                  </a:lnTo>
                  <a:lnTo>
                    <a:pt x="996" y="574"/>
                  </a:lnTo>
                  <a:lnTo>
                    <a:pt x="996" y="580"/>
                  </a:lnTo>
                  <a:lnTo>
                    <a:pt x="996" y="586"/>
                  </a:lnTo>
                  <a:lnTo>
                    <a:pt x="996" y="594"/>
                  </a:lnTo>
                  <a:lnTo>
                    <a:pt x="994" y="596"/>
                  </a:lnTo>
                  <a:lnTo>
                    <a:pt x="988" y="602"/>
                  </a:lnTo>
                  <a:lnTo>
                    <a:pt x="986" y="608"/>
                  </a:lnTo>
                  <a:lnTo>
                    <a:pt x="984" y="614"/>
                  </a:lnTo>
                  <a:lnTo>
                    <a:pt x="982" y="618"/>
                  </a:lnTo>
                  <a:lnTo>
                    <a:pt x="982" y="624"/>
                  </a:lnTo>
                  <a:lnTo>
                    <a:pt x="978" y="632"/>
                  </a:lnTo>
                  <a:lnTo>
                    <a:pt x="978" y="636"/>
                  </a:lnTo>
                  <a:lnTo>
                    <a:pt x="976" y="642"/>
                  </a:lnTo>
                  <a:lnTo>
                    <a:pt x="970" y="646"/>
                  </a:lnTo>
                  <a:lnTo>
                    <a:pt x="964" y="648"/>
                  </a:lnTo>
                  <a:lnTo>
                    <a:pt x="958" y="656"/>
                  </a:lnTo>
                  <a:lnTo>
                    <a:pt x="956" y="662"/>
                  </a:lnTo>
                  <a:lnTo>
                    <a:pt x="954" y="666"/>
                  </a:lnTo>
                  <a:lnTo>
                    <a:pt x="952" y="666"/>
                  </a:lnTo>
                  <a:lnTo>
                    <a:pt x="948" y="666"/>
                  </a:lnTo>
                  <a:lnTo>
                    <a:pt x="940" y="664"/>
                  </a:lnTo>
                  <a:lnTo>
                    <a:pt x="938" y="664"/>
                  </a:lnTo>
                  <a:lnTo>
                    <a:pt x="932" y="662"/>
                  </a:lnTo>
                  <a:lnTo>
                    <a:pt x="924" y="662"/>
                  </a:lnTo>
                  <a:lnTo>
                    <a:pt x="922" y="668"/>
                  </a:lnTo>
                  <a:lnTo>
                    <a:pt x="916" y="668"/>
                  </a:lnTo>
                  <a:lnTo>
                    <a:pt x="910" y="668"/>
                  </a:lnTo>
                  <a:lnTo>
                    <a:pt x="904" y="668"/>
                  </a:lnTo>
                  <a:lnTo>
                    <a:pt x="898" y="668"/>
                  </a:lnTo>
                  <a:lnTo>
                    <a:pt x="890" y="668"/>
                  </a:lnTo>
                  <a:lnTo>
                    <a:pt x="884" y="668"/>
                  </a:lnTo>
                  <a:lnTo>
                    <a:pt x="878" y="668"/>
                  </a:lnTo>
                  <a:lnTo>
                    <a:pt x="872" y="670"/>
                  </a:lnTo>
                  <a:lnTo>
                    <a:pt x="866" y="670"/>
                  </a:lnTo>
                  <a:lnTo>
                    <a:pt x="860" y="670"/>
                  </a:lnTo>
                  <a:lnTo>
                    <a:pt x="852" y="670"/>
                  </a:lnTo>
                  <a:lnTo>
                    <a:pt x="846" y="670"/>
                  </a:lnTo>
                  <a:lnTo>
                    <a:pt x="840" y="670"/>
                  </a:lnTo>
                  <a:lnTo>
                    <a:pt x="834" y="670"/>
                  </a:lnTo>
                  <a:lnTo>
                    <a:pt x="826" y="672"/>
                  </a:lnTo>
                  <a:lnTo>
                    <a:pt x="820" y="672"/>
                  </a:lnTo>
                  <a:lnTo>
                    <a:pt x="818" y="674"/>
                  </a:lnTo>
                  <a:lnTo>
                    <a:pt x="814" y="678"/>
                  </a:lnTo>
                  <a:lnTo>
                    <a:pt x="808" y="684"/>
                  </a:lnTo>
                  <a:lnTo>
                    <a:pt x="802" y="692"/>
                  </a:lnTo>
                  <a:lnTo>
                    <a:pt x="798" y="694"/>
                  </a:lnTo>
                  <a:lnTo>
                    <a:pt x="792" y="694"/>
                  </a:lnTo>
                  <a:lnTo>
                    <a:pt x="786" y="694"/>
                  </a:lnTo>
                  <a:lnTo>
                    <a:pt x="784" y="696"/>
                  </a:lnTo>
                  <a:lnTo>
                    <a:pt x="778" y="694"/>
                  </a:lnTo>
                  <a:lnTo>
                    <a:pt x="772" y="692"/>
                  </a:lnTo>
                  <a:lnTo>
                    <a:pt x="766" y="694"/>
                  </a:lnTo>
                  <a:lnTo>
                    <a:pt x="762" y="694"/>
                  </a:lnTo>
                  <a:lnTo>
                    <a:pt x="756" y="692"/>
                  </a:lnTo>
                  <a:lnTo>
                    <a:pt x="754" y="692"/>
                  </a:lnTo>
                  <a:lnTo>
                    <a:pt x="754" y="698"/>
                  </a:lnTo>
                  <a:lnTo>
                    <a:pt x="742" y="692"/>
                  </a:lnTo>
                  <a:lnTo>
                    <a:pt x="740" y="692"/>
                  </a:lnTo>
                  <a:lnTo>
                    <a:pt x="726" y="686"/>
                  </a:lnTo>
                  <a:lnTo>
                    <a:pt x="716" y="690"/>
                  </a:lnTo>
                  <a:lnTo>
                    <a:pt x="710" y="686"/>
                  </a:lnTo>
                  <a:lnTo>
                    <a:pt x="698" y="686"/>
                  </a:lnTo>
                  <a:lnTo>
                    <a:pt x="696" y="686"/>
                  </a:lnTo>
                  <a:lnTo>
                    <a:pt x="690" y="692"/>
                  </a:lnTo>
                  <a:lnTo>
                    <a:pt x="688" y="694"/>
                  </a:lnTo>
                  <a:lnTo>
                    <a:pt x="678" y="706"/>
                  </a:lnTo>
                  <a:lnTo>
                    <a:pt x="676" y="706"/>
                  </a:lnTo>
                  <a:lnTo>
                    <a:pt x="670" y="708"/>
                  </a:lnTo>
                  <a:lnTo>
                    <a:pt x="664" y="710"/>
                  </a:lnTo>
                  <a:lnTo>
                    <a:pt x="658" y="712"/>
                  </a:lnTo>
                  <a:lnTo>
                    <a:pt x="656" y="714"/>
                  </a:lnTo>
                  <a:lnTo>
                    <a:pt x="650" y="718"/>
                  </a:lnTo>
                  <a:lnTo>
                    <a:pt x="638" y="726"/>
                  </a:lnTo>
                  <a:lnTo>
                    <a:pt x="632" y="728"/>
                  </a:lnTo>
                  <a:lnTo>
                    <a:pt x="620" y="732"/>
                  </a:lnTo>
                  <a:lnTo>
                    <a:pt x="620" y="736"/>
                  </a:lnTo>
                  <a:lnTo>
                    <a:pt x="618" y="742"/>
                  </a:lnTo>
                  <a:lnTo>
                    <a:pt x="618" y="748"/>
                  </a:lnTo>
                  <a:lnTo>
                    <a:pt x="612" y="750"/>
                  </a:lnTo>
                  <a:lnTo>
                    <a:pt x="606" y="746"/>
                  </a:lnTo>
                  <a:lnTo>
                    <a:pt x="598" y="744"/>
                  </a:lnTo>
                  <a:lnTo>
                    <a:pt x="592" y="742"/>
                  </a:lnTo>
                  <a:lnTo>
                    <a:pt x="586" y="744"/>
                  </a:lnTo>
                  <a:lnTo>
                    <a:pt x="580" y="750"/>
                  </a:lnTo>
                  <a:lnTo>
                    <a:pt x="574" y="754"/>
                  </a:lnTo>
                  <a:lnTo>
                    <a:pt x="568" y="760"/>
                  </a:lnTo>
                  <a:lnTo>
                    <a:pt x="566" y="768"/>
                  </a:lnTo>
                  <a:lnTo>
                    <a:pt x="564" y="774"/>
                  </a:lnTo>
                  <a:lnTo>
                    <a:pt x="564" y="780"/>
                  </a:lnTo>
                  <a:lnTo>
                    <a:pt x="560" y="786"/>
                  </a:lnTo>
                  <a:lnTo>
                    <a:pt x="558" y="786"/>
                  </a:lnTo>
                  <a:lnTo>
                    <a:pt x="552" y="782"/>
                  </a:lnTo>
                  <a:lnTo>
                    <a:pt x="546" y="782"/>
                  </a:lnTo>
                  <a:lnTo>
                    <a:pt x="542" y="782"/>
                  </a:lnTo>
                  <a:lnTo>
                    <a:pt x="542" y="786"/>
                  </a:lnTo>
                  <a:lnTo>
                    <a:pt x="542" y="792"/>
                  </a:lnTo>
                  <a:lnTo>
                    <a:pt x="542" y="798"/>
                  </a:lnTo>
                  <a:lnTo>
                    <a:pt x="542" y="804"/>
                  </a:lnTo>
                  <a:lnTo>
                    <a:pt x="542" y="810"/>
                  </a:lnTo>
                  <a:lnTo>
                    <a:pt x="536" y="810"/>
                  </a:lnTo>
                  <a:lnTo>
                    <a:pt x="530" y="810"/>
                  </a:lnTo>
                  <a:lnTo>
                    <a:pt x="532" y="814"/>
                  </a:lnTo>
                  <a:lnTo>
                    <a:pt x="530" y="818"/>
                  </a:lnTo>
                  <a:lnTo>
                    <a:pt x="528" y="818"/>
                  </a:lnTo>
                  <a:lnTo>
                    <a:pt x="522" y="816"/>
                  </a:lnTo>
                  <a:lnTo>
                    <a:pt x="516" y="810"/>
                  </a:lnTo>
                  <a:lnTo>
                    <a:pt x="510" y="806"/>
                  </a:lnTo>
                  <a:lnTo>
                    <a:pt x="506" y="804"/>
                  </a:lnTo>
                  <a:lnTo>
                    <a:pt x="500" y="800"/>
                  </a:lnTo>
                  <a:lnTo>
                    <a:pt x="500" y="796"/>
                  </a:lnTo>
                  <a:lnTo>
                    <a:pt x="496" y="800"/>
                  </a:lnTo>
                  <a:lnTo>
                    <a:pt x="490" y="806"/>
                  </a:lnTo>
                  <a:lnTo>
                    <a:pt x="484" y="812"/>
                  </a:lnTo>
                  <a:lnTo>
                    <a:pt x="484" y="818"/>
                  </a:lnTo>
                  <a:lnTo>
                    <a:pt x="478" y="818"/>
                  </a:lnTo>
                  <a:lnTo>
                    <a:pt x="478" y="824"/>
                  </a:lnTo>
                  <a:lnTo>
                    <a:pt x="478" y="826"/>
                  </a:lnTo>
                  <a:lnTo>
                    <a:pt x="482" y="832"/>
                  </a:lnTo>
                  <a:lnTo>
                    <a:pt x="484" y="838"/>
                  </a:lnTo>
                  <a:lnTo>
                    <a:pt x="484" y="844"/>
                  </a:lnTo>
                  <a:lnTo>
                    <a:pt x="480" y="850"/>
                  </a:lnTo>
                  <a:lnTo>
                    <a:pt x="474" y="848"/>
                  </a:lnTo>
                  <a:lnTo>
                    <a:pt x="468" y="848"/>
                  </a:lnTo>
                  <a:lnTo>
                    <a:pt x="468" y="854"/>
                  </a:lnTo>
                  <a:lnTo>
                    <a:pt x="472" y="860"/>
                  </a:lnTo>
                  <a:lnTo>
                    <a:pt x="472" y="866"/>
                  </a:lnTo>
                  <a:lnTo>
                    <a:pt x="470" y="872"/>
                  </a:lnTo>
                  <a:lnTo>
                    <a:pt x="466" y="878"/>
                  </a:lnTo>
                  <a:lnTo>
                    <a:pt x="464" y="884"/>
                  </a:lnTo>
                  <a:lnTo>
                    <a:pt x="462" y="890"/>
                  </a:lnTo>
                  <a:lnTo>
                    <a:pt x="458" y="894"/>
                  </a:lnTo>
                  <a:lnTo>
                    <a:pt x="456" y="894"/>
                  </a:lnTo>
                  <a:lnTo>
                    <a:pt x="454" y="894"/>
                  </a:lnTo>
                  <a:lnTo>
                    <a:pt x="450" y="898"/>
                  </a:lnTo>
                  <a:lnTo>
                    <a:pt x="442" y="898"/>
                  </a:lnTo>
                  <a:lnTo>
                    <a:pt x="436" y="900"/>
                  </a:lnTo>
                  <a:lnTo>
                    <a:pt x="434" y="900"/>
                  </a:lnTo>
                  <a:lnTo>
                    <a:pt x="428" y="902"/>
                  </a:lnTo>
                  <a:lnTo>
                    <a:pt x="422" y="906"/>
                  </a:lnTo>
                  <a:lnTo>
                    <a:pt x="416" y="910"/>
                  </a:lnTo>
                  <a:lnTo>
                    <a:pt x="410" y="912"/>
                  </a:lnTo>
                  <a:lnTo>
                    <a:pt x="416" y="914"/>
                  </a:lnTo>
                  <a:lnTo>
                    <a:pt x="418" y="920"/>
                  </a:lnTo>
                  <a:lnTo>
                    <a:pt x="416" y="926"/>
                  </a:lnTo>
                  <a:lnTo>
                    <a:pt x="422" y="932"/>
                  </a:lnTo>
                  <a:lnTo>
                    <a:pt x="422" y="936"/>
                  </a:lnTo>
                  <a:lnTo>
                    <a:pt x="420" y="944"/>
                  </a:lnTo>
                  <a:lnTo>
                    <a:pt x="420" y="950"/>
                  </a:lnTo>
                  <a:lnTo>
                    <a:pt x="416" y="956"/>
                  </a:lnTo>
                  <a:lnTo>
                    <a:pt x="414" y="962"/>
                  </a:lnTo>
                  <a:lnTo>
                    <a:pt x="410" y="962"/>
                  </a:lnTo>
                  <a:lnTo>
                    <a:pt x="404" y="964"/>
                  </a:lnTo>
                  <a:lnTo>
                    <a:pt x="406" y="970"/>
                  </a:lnTo>
                  <a:lnTo>
                    <a:pt x="406" y="976"/>
                  </a:lnTo>
                  <a:lnTo>
                    <a:pt x="408" y="982"/>
                  </a:lnTo>
                  <a:lnTo>
                    <a:pt x="406" y="988"/>
                  </a:lnTo>
                  <a:lnTo>
                    <a:pt x="406" y="994"/>
                  </a:lnTo>
                  <a:lnTo>
                    <a:pt x="404" y="1000"/>
                  </a:lnTo>
                  <a:lnTo>
                    <a:pt x="402" y="1004"/>
                  </a:lnTo>
                  <a:lnTo>
                    <a:pt x="402" y="1008"/>
                  </a:lnTo>
                  <a:lnTo>
                    <a:pt x="396" y="1006"/>
                  </a:lnTo>
                  <a:lnTo>
                    <a:pt x="394" y="1006"/>
                  </a:lnTo>
                  <a:lnTo>
                    <a:pt x="388" y="1008"/>
                  </a:lnTo>
                  <a:lnTo>
                    <a:pt x="386" y="1008"/>
                  </a:lnTo>
                  <a:lnTo>
                    <a:pt x="380" y="1012"/>
                  </a:lnTo>
                  <a:lnTo>
                    <a:pt x="380" y="1018"/>
                  </a:lnTo>
                  <a:lnTo>
                    <a:pt x="374" y="1024"/>
                  </a:lnTo>
                  <a:lnTo>
                    <a:pt x="368" y="1024"/>
                  </a:lnTo>
                  <a:lnTo>
                    <a:pt x="362" y="1022"/>
                  </a:lnTo>
                  <a:lnTo>
                    <a:pt x="360" y="1022"/>
                  </a:lnTo>
                  <a:lnTo>
                    <a:pt x="360" y="1020"/>
                  </a:lnTo>
                  <a:lnTo>
                    <a:pt x="360" y="1016"/>
                  </a:lnTo>
                  <a:lnTo>
                    <a:pt x="362" y="1010"/>
                  </a:lnTo>
                  <a:lnTo>
                    <a:pt x="362" y="1004"/>
                  </a:lnTo>
                  <a:lnTo>
                    <a:pt x="360" y="998"/>
                  </a:lnTo>
                  <a:lnTo>
                    <a:pt x="360" y="992"/>
                  </a:lnTo>
                  <a:lnTo>
                    <a:pt x="358" y="986"/>
                  </a:lnTo>
                  <a:lnTo>
                    <a:pt x="352" y="990"/>
                  </a:lnTo>
                  <a:lnTo>
                    <a:pt x="348" y="996"/>
                  </a:lnTo>
                  <a:lnTo>
                    <a:pt x="346" y="1000"/>
                  </a:lnTo>
                  <a:lnTo>
                    <a:pt x="340" y="998"/>
                  </a:lnTo>
                  <a:lnTo>
                    <a:pt x="336" y="992"/>
                  </a:lnTo>
                  <a:lnTo>
                    <a:pt x="334" y="992"/>
                  </a:lnTo>
                  <a:lnTo>
                    <a:pt x="332" y="998"/>
                  </a:lnTo>
                  <a:lnTo>
                    <a:pt x="330" y="1004"/>
                  </a:lnTo>
                  <a:lnTo>
                    <a:pt x="334" y="1010"/>
                  </a:lnTo>
                  <a:lnTo>
                    <a:pt x="332" y="1012"/>
                  </a:lnTo>
                  <a:lnTo>
                    <a:pt x="330" y="1014"/>
                  </a:lnTo>
                  <a:lnTo>
                    <a:pt x="324" y="1012"/>
                  </a:lnTo>
                  <a:lnTo>
                    <a:pt x="318" y="1014"/>
                  </a:lnTo>
                  <a:lnTo>
                    <a:pt x="314" y="1020"/>
                  </a:lnTo>
                  <a:lnTo>
                    <a:pt x="314" y="1026"/>
                  </a:lnTo>
                  <a:lnTo>
                    <a:pt x="310" y="1026"/>
                  </a:lnTo>
                  <a:lnTo>
                    <a:pt x="302" y="1022"/>
                  </a:lnTo>
                  <a:lnTo>
                    <a:pt x="296" y="1022"/>
                  </a:lnTo>
                  <a:lnTo>
                    <a:pt x="292" y="1020"/>
                  </a:lnTo>
                  <a:lnTo>
                    <a:pt x="290" y="1014"/>
                  </a:lnTo>
                  <a:lnTo>
                    <a:pt x="284" y="1010"/>
                  </a:lnTo>
                  <a:lnTo>
                    <a:pt x="284" y="1006"/>
                  </a:lnTo>
                  <a:lnTo>
                    <a:pt x="278" y="1008"/>
                  </a:lnTo>
                  <a:lnTo>
                    <a:pt x="272" y="1008"/>
                  </a:lnTo>
                  <a:lnTo>
                    <a:pt x="268" y="1010"/>
                  </a:lnTo>
                  <a:lnTo>
                    <a:pt x="266" y="1016"/>
                  </a:lnTo>
                  <a:lnTo>
                    <a:pt x="262" y="1022"/>
                  </a:lnTo>
                  <a:lnTo>
                    <a:pt x="256" y="1026"/>
                  </a:lnTo>
                  <a:lnTo>
                    <a:pt x="252" y="1026"/>
                  </a:lnTo>
                  <a:lnTo>
                    <a:pt x="254" y="1020"/>
                  </a:lnTo>
                  <a:lnTo>
                    <a:pt x="252" y="1014"/>
                  </a:lnTo>
                  <a:lnTo>
                    <a:pt x="246" y="1014"/>
                  </a:lnTo>
                  <a:lnTo>
                    <a:pt x="244" y="1008"/>
                  </a:lnTo>
                  <a:lnTo>
                    <a:pt x="242" y="1008"/>
                  </a:lnTo>
                  <a:lnTo>
                    <a:pt x="240" y="1008"/>
                  </a:lnTo>
                  <a:lnTo>
                    <a:pt x="234" y="1004"/>
                  </a:lnTo>
                  <a:lnTo>
                    <a:pt x="234" y="996"/>
                  </a:lnTo>
                  <a:lnTo>
                    <a:pt x="234" y="992"/>
                  </a:lnTo>
                  <a:lnTo>
                    <a:pt x="234" y="984"/>
                  </a:lnTo>
                  <a:lnTo>
                    <a:pt x="234" y="978"/>
                  </a:lnTo>
                  <a:lnTo>
                    <a:pt x="234" y="972"/>
                  </a:lnTo>
                  <a:lnTo>
                    <a:pt x="234" y="968"/>
                  </a:lnTo>
                  <a:lnTo>
                    <a:pt x="228" y="966"/>
                  </a:lnTo>
                  <a:lnTo>
                    <a:pt x="222" y="964"/>
                  </a:lnTo>
                  <a:lnTo>
                    <a:pt x="218" y="970"/>
                  </a:lnTo>
                  <a:lnTo>
                    <a:pt x="214" y="970"/>
                  </a:lnTo>
                  <a:lnTo>
                    <a:pt x="210" y="972"/>
                  </a:lnTo>
                  <a:lnTo>
                    <a:pt x="212" y="966"/>
                  </a:lnTo>
                  <a:lnTo>
                    <a:pt x="214" y="960"/>
                  </a:lnTo>
                  <a:lnTo>
                    <a:pt x="218" y="954"/>
                  </a:lnTo>
                  <a:lnTo>
                    <a:pt x="224" y="948"/>
                  </a:lnTo>
                  <a:lnTo>
                    <a:pt x="230" y="948"/>
                  </a:lnTo>
                  <a:lnTo>
                    <a:pt x="230" y="942"/>
                  </a:lnTo>
                  <a:lnTo>
                    <a:pt x="226" y="940"/>
                  </a:lnTo>
                  <a:lnTo>
                    <a:pt x="220" y="934"/>
                  </a:lnTo>
                  <a:lnTo>
                    <a:pt x="218" y="936"/>
                  </a:lnTo>
                  <a:lnTo>
                    <a:pt x="212" y="932"/>
                  </a:lnTo>
                  <a:lnTo>
                    <a:pt x="210" y="926"/>
                  </a:lnTo>
                  <a:lnTo>
                    <a:pt x="210" y="924"/>
                  </a:lnTo>
                  <a:lnTo>
                    <a:pt x="210" y="922"/>
                  </a:lnTo>
                  <a:lnTo>
                    <a:pt x="208" y="924"/>
                  </a:lnTo>
                  <a:lnTo>
                    <a:pt x="206" y="924"/>
                  </a:lnTo>
                  <a:lnTo>
                    <a:pt x="202" y="920"/>
                  </a:lnTo>
                  <a:lnTo>
                    <a:pt x="204" y="916"/>
                  </a:lnTo>
                  <a:lnTo>
                    <a:pt x="204" y="910"/>
                  </a:lnTo>
                  <a:lnTo>
                    <a:pt x="204" y="902"/>
                  </a:lnTo>
                  <a:lnTo>
                    <a:pt x="204" y="898"/>
                  </a:lnTo>
                  <a:lnTo>
                    <a:pt x="198" y="896"/>
                  </a:lnTo>
                  <a:lnTo>
                    <a:pt x="198" y="890"/>
                  </a:lnTo>
                  <a:lnTo>
                    <a:pt x="194" y="886"/>
                  </a:lnTo>
                  <a:lnTo>
                    <a:pt x="194" y="884"/>
                  </a:lnTo>
                  <a:lnTo>
                    <a:pt x="194" y="878"/>
                  </a:lnTo>
                  <a:lnTo>
                    <a:pt x="194" y="872"/>
                  </a:lnTo>
                  <a:lnTo>
                    <a:pt x="188" y="868"/>
                  </a:lnTo>
                  <a:lnTo>
                    <a:pt x="184" y="868"/>
                  </a:lnTo>
                  <a:lnTo>
                    <a:pt x="180" y="866"/>
                  </a:lnTo>
                  <a:lnTo>
                    <a:pt x="174" y="864"/>
                  </a:lnTo>
                  <a:lnTo>
                    <a:pt x="170" y="866"/>
                  </a:lnTo>
                  <a:lnTo>
                    <a:pt x="172" y="872"/>
                  </a:lnTo>
                  <a:lnTo>
                    <a:pt x="174" y="878"/>
                  </a:lnTo>
                  <a:lnTo>
                    <a:pt x="172" y="882"/>
                  </a:lnTo>
                  <a:lnTo>
                    <a:pt x="170" y="882"/>
                  </a:lnTo>
                  <a:lnTo>
                    <a:pt x="166" y="882"/>
                  </a:lnTo>
                  <a:lnTo>
                    <a:pt x="160" y="886"/>
                  </a:lnTo>
                  <a:lnTo>
                    <a:pt x="152" y="888"/>
                  </a:lnTo>
                  <a:lnTo>
                    <a:pt x="152" y="894"/>
                  </a:lnTo>
                  <a:lnTo>
                    <a:pt x="146" y="898"/>
                  </a:lnTo>
                  <a:lnTo>
                    <a:pt x="140" y="896"/>
                  </a:lnTo>
                  <a:lnTo>
                    <a:pt x="138" y="894"/>
                  </a:lnTo>
                  <a:lnTo>
                    <a:pt x="132" y="890"/>
                  </a:lnTo>
                  <a:lnTo>
                    <a:pt x="128" y="888"/>
                  </a:lnTo>
                  <a:lnTo>
                    <a:pt x="122" y="886"/>
                  </a:lnTo>
                  <a:lnTo>
                    <a:pt x="118" y="886"/>
                  </a:lnTo>
                  <a:lnTo>
                    <a:pt x="112" y="884"/>
                  </a:lnTo>
                  <a:lnTo>
                    <a:pt x="106" y="890"/>
                  </a:lnTo>
                  <a:lnTo>
                    <a:pt x="100" y="894"/>
                  </a:lnTo>
                  <a:lnTo>
                    <a:pt x="96" y="900"/>
                  </a:lnTo>
                  <a:lnTo>
                    <a:pt x="92" y="906"/>
                  </a:lnTo>
                  <a:lnTo>
                    <a:pt x="86" y="902"/>
                  </a:lnTo>
                  <a:lnTo>
                    <a:pt x="82" y="896"/>
                  </a:lnTo>
                  <a:lnTo>
                    <a:pt x="80" y="890"/>
                  </a:lnTo>
                  <a:lnTo>
                    <a:pt x="76" y="884"/>
                  </a:lnTo>
                  <a:lnTo>
                    <a:pt x="70" y="884"/>
                  </a:lnTo>
                  <a:lnTo>
                    <a:pt x="68" y="886"/>
                  </a:lnTo>
                  <a:lnTo>
                    <a:pt x="64" y="892"/>
                  </a:lnTo>
                  <a:lnTo>
                    <a:pt x="60" y="898"/>
                  </a:lnTo>
                  <a:lnTo>
                    <a:pt x="56" y="900"/>
                  </a:lnTo>
                  <a:lnTo>
                    <a:pt x="50" y="896"/>
                  </a:lnTo>
                  <a:lnTo>
                    <a:pt x="44" y="890"/>
                  </a:lnTo>
                  <a:lnTo>
                    <a:pt x="42" y="888"/>
                  </a:lnTo>
                  <a:lnTo>
                    <a:pt x="42" y="882"/>
                  </a:lnTo>
                  <a:lnTo>
                    <a:pt x="44" y="878"/>
                  </a:lnTo>
                  <a:lnTo>
                    <a:pt x="48" y="870"/>
                  </a:lnTo>
                  <a:lnTo>
                    <a:pt x="50" y="866"/>
                  </a:lnTo>
                  <a:lnTo>
                    <a:pt x="46" y="860"/>
                  </a:lnTo>
                  <a:lnTo>
                    <a:pt x="46" y="856"/>
                  </a:lnTo>
                  <a:lnTo>
                    <a:pt x="46" y="850"/>
                  </a:lnTo>
                  <a:lnTo>
                    <a:pt x="48" y="844"/>
                  </a:lnTo>
                  <a:lnTo>
                    <a:pt x="46" y="838"/>
                  </a:lnTo>
                  <a:lnTo>
                    <a:pt x="50" y="832"/>
                  </a:lnTo>
                  <a:lnTo>
                    <a:pt x="46" y="826"/>
                  </a:lnTo>
                  <a:lnTo>
                    <a:pt x="40" y="820"/>
                  </a:lnTo>
                  <a:lnTo>
                    <a:pt x="38" y="814"/>
                  </a:lnTo>
                  <a:lnTo>
                    <a:pt x="38" y="810"/>
                  </a:lnTo>
                  <a:lnTo>
                    <a:pt x="34" y="802"/>
                  </a:lnTo>
                  <a:lnTo>
                    <a:pt x="28" y="802"/>
                  </a:lnTo>
                  <a:lnTo>
                    <a:pt x="24" y="808"/>
                  </a:lnTo>
                  <a:lnTo>
                    <a:pt x="18" y="804"/>
                  </a:lnTo>
                  <a:lnTo>
                    <a:pt x="20" y="798"/>
                  </a:lnTo>
                  <a:lnTo>
                    <a:pt x="14" y="794"/>
                  </a:lnTo>
                  <a:lnTo>
                    <a:pt x="10" y="788"/>
                  </a:lnTo>
                  <a:lnTo>
                    <a:pt x="8" y="782"/>
                  </a:lnTo>
                  <a:lnTo>
                    <a:pt x="8" y="780"/>
                  </a:lnTo>
                  <a:lnTo>
                    <a:pt x="14" y="776"/>
                  </a:lnTo>
                  <a:lnTo>
                    <a:pt x="16" y="772"/>
                  </a:lnTo>
                  <a:lnTo>
                    <a:pt x="14" y="764"/>
                  </a:lnTo>
                  <a:lnTo>
                    <a:pt x="12" y="758"/>
                  </a:lnTo>
                  <a:lnTo>
                    <a:pt x="14" y="754"/>
                  </a:lnTo>
                  <a:lnTo>
                    <a:pt x="14" y="746"/>
                  </a:lnTo>
                  <a:lnTo>
                    <a:pt x="10" y="742"/>
                  </a:lnTo>
                  <a:lnTo>
                    <a:pt x="6" y="736"/>
                  </a:lnTo>
                  <a:lnTo>
                    <a:pt x="0" y="734"/>
                  </a:lnTo>
                  <a:lnTo>
                    <a:pt x="0" y="732"/>
                  </a:lnTo>
                  <a:lnTo>
                    <a:pt x="0" y="728"/>
                  </a:lnTo>
                  <a:lnTo>
                    <a:pt x="0" y="724"/>
                  </a:lnTo>
                  <a:lnTo>
                    <a:pt x="4" y="718"/>
                  </a:lnTo>
                  <a:lnTo>
                    <a:pt x="0" y="712"/>
                  </a:lnTo>
                  <a:lnTo>
                    <a:pt x="0" y="7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1" name="Freeform 208"/>
            <p:cNvSpPr>
              <a:spLocks/>
            </p:cNvSpPr>
            <p:nvPr/>
          </p:nvSpPr>
          <p:spPr bwMode="auto">
            <a:xfrm>
              <a:off x="4535488" y="4092575"/>
              <a:ext cx="474662" cy="536575"/>
            </a:xfrm>
            <a:custGeom>
              <a:avLst/>
              <a:gdLst>
                <a:gd name="T0" fmla="*/ 2147483647 w 1166"/>
                <a:gd name="T1" fmla="*/ 2147483647 h 1302"/>
                <a:gd name="T2" fmla="*/ 2147483647 w 1166"/>
                <a:gd name="T3" fmla="*/ 2147483647 h 1302"/>
                <a:gd name="T4" fmla="*/ 2147483647 w 1166"/>
                <a:gd name="T5" fmla="*/ 2147483647 h 1302"/>
                <a:gd name="T6" fmla="*/ 2147483647 w 1166"/>
                <a:gd name="T7" fmla="*/ 2147483647 h 1302"/>
                <a:gd name="T8" fmla="*/ 2147483647 w 1166"/>
                <a:gd name="T9" fmla="*/ 2147483647 h 1302"/>
                <a:gd name="T10" fmla="*/ 2147483647 w 1166"/>
                <a:gd name="T11" fmla="*/ 2147483647 h 1302"/>
                <a:gd name="T12" fmla="*/ 2147483647 w 1166"/>
                <a:gd name="T13" fmla="*/ 2147483647 h 1302"/>
                <a:gd name="T14" fmla="*/ 2147483647 w 1166"/>
                <a:gd name="T15" fmla="*/ 2147483647 h 1302"/>
                <a:gd name="T16" fmla="*/ 2147483647 w 1166"/>
                <a:gd name="T17" fmla="*/ 2147483647 h 1302"/>
                <a:gd name="T18" fmla="*/ 2147483647 w 1166"/>
                <a:gd name="T19" fmla="*/ 2147483647 h 1302"/>
                <a:gd name="T20" fmla="*/ 2147483647 w 1166"/>
                <a:gd name="T21" fmla="*/ 2147483647 h 1302"/>
                <a:gd name="T22" fmla="*/ 2147483647 w 1166"/>
                <a:gd name="T23" fmla="*/ 2147483647 h 1302"/>
                <a:gd name="T24" fmla="*/ 2147483647 w 1166"/>
                <a:gd name="T25" fmla="*/ 2147483647 h 1302"/>
                <a:gd name="T26" fmla="*/ 2147483647 w 1166"/>
                <a:gd name="T27" fmla="*/ 2147483647 h 1302"/>
                <a:gd name="T28" fmla="*/ 2147483647 w 1166"/>
                <a:gd name="T29" fmla="*/ 2147483647 h 1302"/>
                <a:gd name="T30" fmla="*/ 2147483647 w 1166"/>
                <a:gd name="T31" fmla="*/ 2147483647 h 1302"/>
                <a:gd name="T32" fmla="*/ 2147483647 w 1166"/>
                <a:gd name="T33" fmla="*/ 2147483647 h 1302"/>
                <a:gd name="T34" fmla="*/ 2147483647 w 1166"/>
                <a:gd name="T35" fmla="*/ 2147483647 h 1302"/>
                <a:gd name="T36" fmla="*/ 2147483647 w 1166"/>
                <a:gd name="T37" fmla="*/ 2147483647 h 1302"/>
                <a:gd name="T38" fmla="*/ 2147483647 w 1166"/>
                <a:gd name="T39" fmla="*/ 2147483647 h 1302"/>
                <a:gd name="T40" fmla="*/ 2147483647 w 1166"/>
                <a:gd name="T41" fmla="*/ 2147483647 h 1302"/>
                <a:gd name="T42" fmla="*/ 2147483647 w 1166"/>
                <a:gd name="T43" fmla="*/ 2147483647 h 1302"/>
                <a:gd name="T44" fmla="*/ 2147483647 w 1166"/>
                <a:gd name="T45" fmla="*/ 2147483647 h 1302"/>
                <a:gd name="T46" fmla="*/ 2147483647 w 1166"/>
                <a:gd name="T47" fmla="*/ 2147483647 h 1302"/>
                <a:gd name="T48" fmla="*/ 2147483647 w 1166"/>
                <a:gd name="T49" fmla="*/ 2147483647 h 1302"/>
                <a:gd name="T50" fmla="*/ 2147483647 w 1166"/>
                <a:gd name="T51" fmla="*/ 2147483647 h 1302"/>
                <a:gd name="T52" fmla="*/ 2147483647 w 1166"/>
                <a:gd name="T53" fmla="*/ 2147483647 h 1302"/>
                <a:gd name="T54" fmla="*/ 2147483647 w 1166"/>
                <a:gd name="T55" fmla="*/ 2147483647 h 1302"/>
                <a:gd name="T56" fmla="*/ 2147483647 w 1166"/>
                <a:gd name="T57" fmla="*/ 2147483647 h 1302"/>
                <a:gd name="T58" fmla="*/ 2147483647 w 1166"/>
                <a:gd name="T59" fmla="*/ 2147483647 h 1302"/>
                <a:gd name="T60" fmla="*/ 2147483647 w 1166"/>
                <a:gd name="T61" fmla="*/ 2147483647 h 1302"/>
                <a:gd name="T62" fmla="*/ 2147483647 w 1166"/>
                <a:gd name="T63" fmla="*/ 2147483647 h 1302"/>
                <a:gd name="T64" fmla="*/ 2147483647 w 1166"/>
                <a:gd name="T65" fmla="*/ 2147483647 h 1302"/>
                <a:gd name="T66" fmla="*/ 2147483647 w 1166"/>
                <a:gd name="T67" fmla="*/ 2147483647 h 1302"/>
                <a:gd name="T68" fmla="*/ 2147483647 w 1166"/>
                <a:gd name="T69" fmla="*/ 2147483647 h 1302"/>
                <a:gd name="T70" fmla="*/ 2147483647 w 1166"/>
                <a:gd name="T71" fmla="*/ 2147483647 h 1302"/>
                <a:gd name="T72" fmla="*/ 2147483647 w 1166"/>
                <a:gd name="T73" fmla="*/ 2147483647 h 1302"/>
                <a:gd name="T74" fmla="*/ 2147483647 w 1166"/>
                <a:gd name="T75" fmla="*/ 2147483647 h 1302"/>
                <a:gd name="T76" fmla="*/ 2147483647 w 1166"/>
                <a:gd name="T77" fmla="*/ 2147483647 h 1302"/>
                <a:gd name="T78" fmla="*/ 2147483647 w 1166"/>
                <a:gd name="T79" fmla="*/ 2147483647 h 1302"/>
                <a:gd name="T80" fmla="*/ 2147483647 w 1166"/>
                <a:gd name="T81" fmla="*/ 2147483647 h 1302"/>
                <a:gd name="T82" fmla="*/ 2147483647 w 1166"/>
                <a:gd name="T83" fmla="*/ 2147483647 h 1302"/>
                <a:gd name="T84" fmla="*/ 2147483647 w 1166"/>
                <a:gd name="T85" fmla="*/ 2147483647 h 1302"/>
                <a:gd name="T86" fmla="*/ 2147483647 w 1166"/>
                <a:gd name="T87" fmla="*/ 2147483647 h 1302"/>
                <a:gd name="T88" fmla="*/ 2147483647 w 1166"/>
                <a:gd name="T89" fmla="*/ 2147483647 h 1302"/>
                <a:gd name="T90" fmla="*/ 2147483647 w 1166"/>
                <a:gd name="T91" fmla="*/ 2147483647 h 1302"/>
                <a:gd name="T92" fmla="*/ 2147483647 w 1166"/>
                <a:gd name="T93" fmla="*/ 2147483647 h 1302"/>
                <a:gd name="T94" fmla="*/ 2147483647 w 1166"/>
                <a:gd name="T95" fmla="*/ 2147483647 h 1302"/>
                <a:gd name="T96" fmla="*/ 2147483647 w 1166"/>
                <a:gd name="T97" fmla="*/ 2147483647 h 1302"/>
                <a:gd name="T98" fmla="*/ 2147483647 w 1166"/>
                <a:gd name="T99" fmla="*/ 2147483647 h 1302"/>
                <a:gd name="T100" fmla="*/ 2147483647 w 1166"/>
                <a:gd name="T101" fmla="*/ 2147483647 h 1302"/>
                <a:gd name="T102" fmla="*/ 2147483647 w 1166"/>
                <a:gd name="T103" fmla="*/ 2147483647 h 1302"/>
                <a:gd name="T104" fmla="*/ 2147483647 w 1166"/>
                <a:gd name="T105" fmla="*/ 2147483647 h 1302"/>
                <a:gd name="T106" fmla="*/ 2147483647 w 1166"/>
                <a:gd name="T107" fmla="*/ 2147483647 h 1302"/>
                <a:gd name="T108" fmla="*/ 2147483647 w 1166"/>
                <a:gd name="T109" fmla="*/ 2147483647 h 1302"/>
                <a:gd name="T110" fmla="*/ 2147483647 w 1166"/>
                <a:gd name="T111" fmla="*/ 2147483647 h 1302"/>
                <a:gd name="T112" fmla="*/ 2147483647 w 1166"/>
                <a:gd name="T113" fmla="*/ 2147483647 h 1302"/>
                <a:gd name="T114" fmla="*/ 2147483647 w 1166"/>
                <a:gd name="T115" fmla="*/ 2147483647 h 1302"/>
                <a:gd name="T116" fmla="*/ 2147483647 w 1166"/>
                <a:gd name="T117" fmla="*/ 2147483647 h 1302"/>
                <a:gd name="T118" fmla="*/ 2147483647 w 1166"/>
                <a:gd name="T119" fmla="*/ 2147483647 h 1302"/>
                <a:gd name="T120" fmla="*/ 2147483647 w 1166"/>
                <a:gd name="T121" fmla="*/ 2147483647 h 13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1302"/>
                <a:gd name="T185" fmla="*/ 1166 w 1166"/>
                <a:gd name="T186" fmla="*/ 1302 h 13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1302">
                  <a:moveTo>
                    <a:pt x="0" y="772"/>
                  </a:moveTo>
                  <a:lnTo>
                    <a:pt x="0" y="770"/>
                  </a:lnTo>
                  <a:lnTo>
                    <a:pt x="6" y="768"/>
                  </a:lnTo>
                  <a:lnTo>
                    <a:pt x="12" y="768"/>
                  </a:lnTo>
                  <a:lnTo>
                    <a:pt x="18" y="766"/>
                  </a:lnTo>
                  <a:lnTo>
                    <a:pt x="18" y="760"/>
                  </a:lnTo>
                  <a:lnTo>
                    <a:pt x="18" y="754"/>
                  </a:lnTo>
                  <a:lnTo>
                    <a:pt x="18" y="748"/>
                  </a:lnTo>
                  <a:lnTo>
                    <a:pt x="18" y="742"/>
                  </a:lnTo>
                  <a:lnTo>
                    <a:pt x="18" y="736"/>
                  </a:lnTo>
                  <a:lnTo>
                    <a:pt x="20" y="730"/>
                  </a:lnTo>
                  <a:lnTo>
                    <a:pt x="14" y="724"/>
                  </a:lnTo>
                  <a:lnTo>
                    <a:pt x="14" y="722"/>
                  </a:lnTo>
                  <a:lnTo>
                    <a:pt x="18" y="722"/>
                  </a:lnTo>
                  <a:lnTo>
                    <a:pt x="22" y="718"/>
                  </a:lnTo>
                  <a:lnTo>
                    <a:pt x="24" y="714"/>
                  </a:lnTo>
                  <a:lnTo>
                    <a:pt x="30" y="710"/>
                  </a:lnTo>
                  <a:lnTo>
                    <a:pt x="34" y="704"/>
                  </a:lnTo>
                  <a:lnTo>
                    <a:pt x="34" y="702"/>
                  </a:lnTo>
                  <a:lnTo>
                    <a:pt x="42" y="698"/>
                  </a:lnTo>
                  <a:lnTo>
                    <a:pt x="48" y="696"/>
                  </a:lnTo>
                  <a:lnTo>
                    <a:pt x="52" y="692"/>
                  </a:lnTo>
                  <a:lnTo>
                    <a:pt x="56" y="690"/>
                  </a:lnTo>
                  <a:lnTo>
                    <a:pt x="58" y="696"/>
                  </a:lnTo>
                  <a:lnTo>
                    <a:pt x="64" y="700"/>
                  </a:lnTo>
                  <a:lnTo>
                    <a:pt x="70" y="704"/>
                  </a:lnTo>
                  <a:lnTo>
                    <a:pt x="72" y="710"/>
                  </a:lnTo>
                  <a:lnTo>
                    <a:pt x="76" y="706"/>
                  </a:lnTo>
                  <a:lnTo>
                    <a:pt x="82" y="702"/>
                  </a:lnTo>
                  <a:lnTo>
                    <a:pt x="86" y="700"/>
                  </a:lnTo>
                  <a:lnTo>
                    <a:pt x="92" y="696"/>
                  </a:lnTo>
                  <a:lnTo>
                    <a:pt x="92" y="690"/>
                  </a:lnTo>
                  <a:lnTo>
                    <a:pt x="92" y="684"/>
                  </a:lnTo>
                  <a:lnTo>
                    <a:pt x="96" y="678"/>
                  </a:lnTo>
                  <a:lnTo>
                    <a:pt x="102" y="682"/>
                  </a:lnTo>
                  <a:lnTo>
                    <a:pt x="104" y="682"/>
                  </a:lnTo>
                  <a:lnTo>
                    <a:pt x="110" y="678"/>
                  </a:lnTo>
                  <a:lnTo>
                    <a:pt x="116" y="676"/>
                  </a:lnTo>
                  <a:lnTo>
                    <a:pt x="122" y="674"/>
                  </a:lnTo>
                  <a:lnTo>
                    <a:pt x="128" y="670"/>
                  </a:lnTo>
                  <a:lnTo>
                    <a:pt x="134" y="672"/>
                  </a:lnTo>
                  <a:lnTo>
                    <a:pt x="138" y="678"/>
                  </a:lnTo>
                  <a:lnTo>
                    <a:pt x="134" y="684"/>
                  </a:lnTo>
                  <a:lnTo>
                    <a:pt x="132" y="686"/>
                  </a:lnTo>
                  <a:lnTo>
                    <a:pt x="132" y="692"/>
                  </a:lnTo>
                  <a:lnTo>
                    <a:pt x="134" y="698"/>
                  </a:lnTo>
                  <a:lnTo>
                    <a:pt x="134" y="704"/>
                  </a:lnTo>
                  <a:lnTo>
                    <a:pt x="134" y="710"/>
                  </a:lnTo>
                  <a:lnTo>
                    <a:pt x="138" y="706"/>
                  </a:lnTo>
                  <a:lnTo>
                    <a:pt x="144" y="710"/>
                  </a:lnTo>
                  <a:lnTo>
                    <a:pt x="150" y="712"/>
                  </a:lnTo>
                  <a:lnTo>
                    <a:pt x="156" y="708"/>
                  </a:lnTo>
                  <a:lnTo>
                    <a:pt x="162" y="702"/>
                  </a:lnTo>
                  <a:lnTo>
                    <a:pt x="164" y="696"/>
                  </a:lnTo>
                  <a:lnTo>
                    <a:pt x="170" y="690"/>
                  </a:lnTo>
                  <a:lnTo>
                    <a:pt x="170" y="688"/>
                  </a:lnTo>
                  <a:lnTo>
                    <a:pt x="174" y="684"/>
                  </a:lnTo>
                  <a:lnTo>
                    <a:pt x="178" y="678"/>
                  </a:lnTo>
                  <a:lnTo>
                    <a:pt x="180" y="676"/>
                  </a:lnTo>
                  <a:lnTo>
                    <a:pt x="184" y="672"/>
                  </a:lnTo>
                  <a:lnTo>
                    <a:pt x="186" y="670"/>
                  </a:lnTo>
                  <a:lnTo>
                    <a:pt x="190" y="668"/>
                  </a:lnTo>
                  <a:lnTo>
                    <a:pt x="192" y="668"/>
                  </a:lnTo>
                  <a:lnTo>
                    <a:pt x="198" y="666"/>
                  </a:lnTo>
                  <a:lnTo>
                    <a:pt x="200" y="660"/>
                  </a:lnTo>
                  <a:lnTo>
                    <a:pt x="200" y="656"/>
                  </a:lnTo>
                  <a:lnTo>
                    <a:pt x="206" y="650"/>
                  </a:lnTo>
                  <a:lnTo>
                    <a:pt x="212" y="648"/>
                  </a:lnTo>
                  <a:lnTo>
                    <a:pt x="218" y="648"/>
                  </a:lnTo>
                  <a:lnTo>
                    <a:pt x="224" y="644"/>
                  </a:lnTo>
                  <a:lnTo>
                    <a:pt x="226" y="640"/>
                  </a:lnTo>
                  <a:lnTo>
                    <a:pt x="230" y="634"/>
                  </a:lnTo>
                  <a:lnTo>
                    <a:pt x="232" y="628"/>
                  </a:lnTo>
                  <a:lnTo>
                    <a:pt x="234" y="622"/>
                  </a:lnTo>
                  <a:lnTo>
                    <a:pt x="238" y="616"/>
                  </a:lnTo>
                  <a:lnTo>
                    <a:pt x="240" y="610"/>
                  </a:lnTo>
                  <a:lnTo>
                    <a:pt x="244" y="604"/>
                  </a:lnTo>
                  <a:lnTo>
                    <a:pt x="244" y="598"/>
                  </a:lnTo>
                  <a:lnTo>
                    <a:pt x="242" y="592"/>
                  </a:lnTo>
                  <a:lnTo>
                    <a:pt x="242" y="590"/>
                  </a:lnTo>
                  <a:lnTo>
                    <a:pt x="242" y="584"/>
                  </a:lnTo>
                  <a:lnTo>
                    <a:pt x="242" y="582"/>
                  </a:lnTo>
                  <a:lnTo>
                    <a:pt x="242" y="576"/>
                  </a:lnTo>
                  <a:lnTo>
                    <a:pt x="242" y="570"/>
                  </a:lnTo>
                  <a:lnTo>
                    <a:pt x="242" y="566"/>
                  </a:lnTo>
                  <a:lnTo>
                    <a:pt x="244" y="560"/>
                  </a:lnTo>
                  <a:lnTo>
                    <a:pt x="246" y="554"/>
                  </a:lnTo>
                  <a:lnTo>
                    <a:pt x="244" y="548"/>
                  </a:lnTo>
                  <a:lnTo>
                    <a:pt x="244" y="542"/>
                  </a:lnTo>
                  <a:lnTo>
                    <a:pt x="242" y="536"/>
                  </a:lnTo>
                  <a:lnTo>
                    <a:pt x="242" y="530"/>
                  </a:lnTo>
                  <a:lnTo>
                    <a:pt x="242" y="522"/>
                  </a:lnTo>
                  <a:lnTo>
                    <a:pt x="246" y="516"/>
                  </a:lnTo>
                  <a:lnTo>
                    <a:pt x="252" y="512"/>
                  </a:lnTo>
                  <a:lnTo>
                    <a:pt x="258" y="506"/>
                  </a:lnTo>
                  <a:lnTo>
                    <a:pt x="264" y="500"/>
                  </a:lnTo>
                  <a:lnTo>
                    <a:pt x="268" y="494"/>
                  </a:lnTo>
                  <a:lnTo>
                    <a:pt x="270" y="488"/>
                  </a:lnTo>
                  <a:lnTo>
                    <a:pt x="272" y="482"/>
                  </a:lnTo>
                  <a:lnTo>
                    <a:pt x="274" y="478"/>
                  </a:lnTo>
                  <a:lnTo>
                    <a:pt x="276" y="472"/>
                  </a:lnTo>
                  <a:lnTo>
                    <a:pt x="278" y="466"/>
                  </a:lnTo>
                  <a:lnTo>
                    <a:pt x="282" y="460"/>
                  </a:lnTo>
                  <a:lnTo>
                    <a:pt x="288" y="454"/>
                  </a:lnTo>
                  <a:lnTo>
                    <a:pt x="294" y="450"/>
                  </a:lnTo>
                  <a:lnTo>
                    <a:pt x="300" y="446"/>
                  </a:lnTo>
                  <a:lnTo>
                    <a:pt x="306" y="444"/>
                  </a:lnTo>
                  <a:lnTo>
                    <a:pt x="312" y="442"/>
                  </a:lnTo>
                  <a:lnTo>
                    <a:pt x="318" y="436"/>
                  </a:lnTo>
                  <a:lnTo>
                    <a:pt x="322" y="430"/>
                  </a:lnTo>
                  <a:lnTo>
                    <a:pt x="326" y="424"/>
                  </a:lnTo>
                  <a:lnTo>
                    <a:pt x="330" y="420"/>
                  </a:lnTo>
                  <a:lnTo>
                    <a:pt x="334" y="414"/>
                  </a:lnTo>
                  <a:lnTo>
                    <a:pt x="336" y="408"/>
                  </a:lnTo>
                  <a:lnTo>
                    <a:pt x="336" y="406"/>
                  </a:lnTo>
                  <a:lnTo>
                    <a:pt x="338" y="400"/>
                  </a:lnTo>
                  <a:lnTo>
                    <a:pt x="338" y="394"/>
                  </a:lnTo>
                  <a:lnTo>
                    <a:pt x="336" y="390"/>
                  </a:lnTo>
                  <a:lnTo>
                    <a:pt x="336" y="384"/>
                  </a:lnTo>
                  <a:lnTo>
                    <a:pt x="338" y="378"/>
                  </a:lnTo>
                  <a:lnTo>
                    <a:pt x="340" y="372"/>
                  </a:lnTo>
                  <a:lnTo>
                    <a:pt x="340" y="370"/>
                  </a:lnTo>
                  <a:lnTo>
                    <a:pt x="340" y="366"/>
                  </a:lnTo>
                  <a:lnTo>
                    <a:pt x="342" y="358"/>
                  </a:lnTo>
                  <a:lnTo>
                    <a:pt x="346" y="354"/>
                  </a:lnTo>
                  <a:lnTo>
                    <a:pt x="350" y="348"/>
                  </a:lnTo>
                  <a:lnTo>
                    <a:pt x="350" y="346"/>
                  </a:lnTo>
                  <a:lnTo>
                    <a:pt x="352" y="340"/>
                  </a:lnTo>
                  <a:lnTo>
                    <a:pt x="350" y="334"/>
                  </a:lnTo>
                  <a:lnTo>
                    <a:pt x="348" y="328"/>
                  </a:lnTo>
                  <a:lnTo>
                    <a:pt x="348" y="322"/>
                  </a:lnTo>
                  <a:lnTo>
                    <a:pt x="348" y="316"/>
                  </a:lnTo>
                  <a:lnTo>
                    <a:pt x="348" y="314"/>
                  </a:lnTo>
                  <a:lnTo>
                    <a:pt x="346" y="306"/>
                  </a:lnTo>
                  <a:lnTo>
                    <a:pt x="346" y="298"/>
                  </a:lnTo>
                  <a:lnTo>
                    <a:pt x="350" y="294"/>
                  </a:lnTo>
                  <a:lnTo>
                    <a:pt x="352" y="286"/>
                  </a:lnTo>
                  <a:lnTo>
                    <a:pt x="352" y="284"/>
                  </a:lnTo>
                  <a:lnTo>
                    <a:pt x="354" y="278"/>
                  </a:lnTo>
                  <a:lnTo>
                    <a:pt x="356" y="272"/>
                  </a:lnTo>
                  <a:lnTo>
                    <a:pt x="358" y="266"/>
                  </a:lnTo>
                  <a:lnTo>
                    <a:pt x="358" y="260"/>
                  </a:lnTo>
                  <a:lnTo>
                    <a:pt x="358" y="254"/>
                  </a:lnTo>
                  <a:lnTo>
                    <a:pt x="358" y="248"/>
                  </a:lnTo>
                  <a:lnTo>
                    <a:pt x="356" y="242"/>
                  </a:lnTo>
                  <a:lnTo>
                    <a:pt x="358" y="236"/>
                  </a:lnTo>
                  <a:lnTo>
                    <a:pt x="358" y="234"/>
                  </a:lnTo>
                  <a:lnTo>
                    <a:pt x="358" y="228"/>
                  </a:lnTo>
                  <a:lnTo>
                    <a:pt x="360" y="222"/>
                  </a:lnTo>
                  <a:lnTo>
                    <a:pt x="360" y="216"/>
                  </a:lnTo>
                  <a:lnTo>
                    <a:pt x="364" y="210"/>
                  </a:lnTo>
                  <a:lnTo>
                    <a:pt x="366" y="204"/>
                  </a:lnTo>
                  <a:lnTo>
                    <a:pt x="368" y="198"/>
                  </a:lnTo>
                  <a:lnTo>
                    <a:pt x="368" y="196"/>
                  </a:lnTo>
                  <a:lnTo>
                    <a:pt x="374" y="190"/>
                  </a:lnTo>
                  <a:lnTo>
                    <a:pt x="374" y="188"/>
                  </a:lnTo>
                  <a:lnTo>
                    <a:pt x="378" y="182"/>
                  </a:lnTo>
                  <a:lnTo>
                    <a:pt x="378" y="180"/>
                  </a:lnTo>
                  <a:lnTo>
                    <a:pt x="380" y="174"/>
                  </a:lnTo>
                  <a:lnTo>
                    <a:pt x="382" y="168"/>
                  </a:lnTo>
                  <a:lnTo>
                    <a:pt x="386" y="162"/>
                  </a:lnTo>
                  <a:lnTo>
                    <a:pt x="386" y="158"/>
                  </a:lnTo>
                  <a:lnTo>
                    <a:pt x="390" y="154"/>
                  </a:lnTo>
                  <a:lnTo>
                    <a:pt x="392" y="148"/>
                  </a:lnTo>
                  <a:lnTo>
                    <a:pt x="392" y="142"/>
                  </a:lnTo>
                  <a:lnTo>
                    <a:pt x="392" y="138"/>
                  </a:lnTo>
                  <a:lnTo>
                    <a:pt x="390" y="130"/>
                  </a:lnTo>
                  <a:lnTo>
                    <a:pt x="390" y="126"/>
                  </a:lnTo>
                  <a:lnTo>
                    <a:pt x="390" y="120"/>
                  </a:lnTo>
                  <a:lnTo>
                    <a:pt x="390" y="118"/>
                  </a:lnTo>
                  <a:lnTo>
                    <a:pt x="390" y="116"/>
                  </a:lnTo>
                  <a:lnTo>
                    <a:pt x="390" y="110"/>
                  </a:lnTo>
                  <a:lnTo>
                    <a:pt x="390" y="104"/>
                  </a:lnTo>
                  <a:lnTo>
                    <a:pt x="390" y="102"/>
                  </a:lnTo>
                  <a:lnTo>
                    <a:pt x="392" y="96"/>
                  </a:lnTo>
                  <a:lnTo>
                    <a:pt x="392" y="90"/>
                  </a:lnTo>
                  <a:lnTo>
                    <a:pt x="390" y="84"/>
                  </a:lnTo>
                  <a:lnTo>
                    <a:pt x="390" y="78"/>
                  </a:lnTo>
                  <a:lnTo>
                    <a:pt x="386" y="74"/>
                  </a:lnTo>
                  <a:lnTo>
                    <a:pt x="388" y="70"/>
                  </a:lnTo>
                  <a:lnTo>
                    <a:pt x="394" y="70"/>
                  </a:lnTo>
                  <a:lnTo>
                    <a:pt x="400" y="66"/>
                  </a:lnTo>
                  <a:lnTo>
                    <a:pt x="402" y="60"/>
                  </a:lnTo>
                  <a:lnTo>
                    <a:pt x="404" y="54"/>
                  </a:lnTo>
                  <a:lnTo>
                    <a:pt x="410" y="48"/>
                  </a:lnTo>
                  <a:lnTo>
                    <a:pt x="414" y="42"/>
                  </a:lnTo>
                  <a:lnTo>
                    <a:pt x="416" y="36"/>
                  </a:lnTo>
                  <a:lnTo>
                    <a:pt x="420" y="30"/>
                  </a:lnTo>
                  <a:lnTo>
                    <a:pt x="422" y="30"/>
                  </a:lnTo>
                  <a:lnTo>
                    <a:pt x="428" y="26"/>
                  </a:lnTo>
                  <a:lnTo>
                    <a:pt x="430" y="24"/>
                  </a:lnTo>
                  <a:lnTo>
                    <a:pt x="436" y="18"/>
                  </a:lnTo>
                  <a:lnTo>
                    <a:pt x="442" y="16"/>
                  </a:lnTo>
                  <a:lnTo>
                    <a:pt x="448" y="16"/>
                  </a:lnTo>
                  <a:lnTo>
                    <a:pt x="454" y="16"/>
                  </a:lnTo>
                  <a:lnTo>
                    <a:pt x="460" y="18"/>
                  </a:lnTo>
                  <a:lnTo>
                    <a:pt x="466" y="22"/>
                  </a:lnTo>
                  <a:lnTo>
                    <a:pt x="468" y="26"/>
                  </a:lnTo>
                  <a:lnTo>
                    <a:pt x="474" y="28"/>
                  </a:lnTo>
                  <a:lnTo>
                    <a:pt x="480" y="32"/>
                  </a:lnTo>
                  <a:lnTo>
                    <a:pt x="488" y="36"/>
                  </a:lnTo>
                  <a:lnTo>
                    <a:pt x="492" y="40"/>
                  </a:lnTo>
                  <a:lnTo>
                    <a:pt x="498" y="46"/>
                  </a:lnTo>
                  <a:lnTo>
                    <a:pt x="502" y="52"/>
                  </a:lnTo>
                  <a:lnTo>
                    <a:pt x="502" y="58"/>
                  </a:lnTo>
                  <a:lnTo>
                    <a:pt x="508" y="64"/>
                  </a:lnTo>
                  <a:lnTo>
                    <a:pt x="514" y="66"/>
                  </a:lnTo>
                  <a:lnTo>
                    <a:pt x="520" y="66"/>
                  </a:lnTo>
                  <a:lnTo>
                    <a:pt x="526" y="64"/>
                  </a:lnTo>
                  <a:lnTo>
                    <a:pt x="532" y="64"/>
                  </a:lnTo>
                  <a:lnTo>
                    <a:pt x="538" y="66"/>
                  </a:lnTo>
                  <a:lnTo>
                    <a:pt x="544" y="72"/>
                  </a:lnTo>
                  <a:lnTo>
                    <a:pt x="550" y="74"/>
                  </a:lnTo>
                  <a:lnTo>
                    <a:pt x="556" y="74"/>
                  </a:lnTo>
                  <a:lnTo>
                    <a:pt x="560" y="76"/>
                  </a:lnTo>
                  <a:lnTo>
                    <a:pt x="564" y="76"/>
                  </a:lnTo>
                  <a:lnTo>
                    <a:pt x="570" y="78"/>
                  </a:lnTo>
                  <a:lnTo>
                    <a:pt x="576" y="74"/>
                  </a:lnTo>
                  <a:lnTo>
                    <a:pt x="582" y="74"/>
                  </a:lnTo>
                  <a:lnTo>
                    <a:pt x="588" y="78"/>
                  </a:lnTo>
                  <a:lnTo>
                    <a:pt x="594" y="78"/>
                  </a:lnTo>
                  <a:lnTo>
                    <a:pt x="600" y="80"/>
                  </a:lnTo>
                  <a:lnTo>
                    <a:pt x="604" y="80"/>
                  </a:lnTo>
                  <a:lnTo>
                    <a:pt x="606" y="82"/>
                  </a:lnTo>
                  <a:lnTo>
                    <a:pt x="610" y="84"/>
                  </a:lnTo>
                  <a:lnTo>
                    <a:pt x="618" y="86"/>
                  </a:lnTo>
                  <a:lnTo>
                    <a:pt x="624" y="86"/>
                  </a:lnTo>
                  <a:lnTo>
                    <a:pt x="624" y="84"/>
                  </a:lnTo>
                  <a:lnTo>
                    <a:pt x="626" y="84"/>
                  </a:lnTo>
                  <a:lnTo>
                    <a:pt x="630" y="80"/>
                  </a:lnTo>
                  <a:lnTo>
                    <a:pt x="632" y="74"/>
                  </a:lnTo>
                  <a:lnTo>
                    <a:pt x="634" y="68"/>
                  </a:lnTo>
                  <a:lnTo>
                    <a:pt x="634" y="62"/>
                  </a:lnTo>
                  <a:lnTo>
                    <a:pt x="640" y="58"/>
                  </a:lnTo>
                  <a:lnTo>
                    <a:pt x="642" y="52"/>
                  </a:lnTo>
                  <a:lnTo>
                    <a:pt x="642" y="50"/>
                  </a:lnTo>
                  <a:lnTo>
                    <a:pt x="648" y="46"/>
                  </a:lnTo>
                  <a:lnTo>
                    <a:pt x="650" y="44"/>
                  </a:lnTo>
                  <a:lnTo>
                    <a:pt x="652" y="38"/>
                  </a:lnTo>
                  <a:lnTo>
                    <a:pt x="656" y="38"/>
                  </a:lnTo>
                  <a:lnTo>
                    <a:pt x="662" y="44"/>
                  </a:lnTo>
                  <a:lnTo>
                    <a:pt x="666" y="44"/>
                  </a:lnTo>
                  <a:lnTo>
                    <a:pt x="670" y="48"/>
                  </a:lnTo>
                  <a:lnTo>
                    <a:pt x="676" y="52"/>
                  </a:lnTo>
                  <a:lnTo>
                    <a:pt x="682" y="54"/>
                  </a:lnTo>
                  <a:lnTo>
                    <a:pt x="688" y="48"/>
                  </a:lnTo>
                  <a:lnTo>
                    <a:pt x="694" y="44"/>
                  </a:lnTo>
                  <a:lnTo>
                    <a:pt x="700" y="42"/>
                  </a:lnTo>
                  <a:lnTo>
                    <a:pt x="706" y="40"/>
                  </a:lnTo>
                  <a:lnTo>
                    <a:pt x="712" y="38"/>
                  </a:lnTo>
                  <a:lnTo>
                    <a:pt x="714" y="38"/>
                  </a:lnTo>
                  <a:lnTo>
                    <a:pt x="720" y="34"/>
                  </a:lnTo>
                  <a:lnTo>
                    <a:pt x="724" y="32"/>
                  </a:lnTo>
                  <a:lnTo>
                    <a:pt x="730" y="30"/>
                  </a:lnTo>
                  <a:lnTo>
                    <a:pt x="738" y="26"/>
                  </a:lnTo>
                  <a:lnTo>
                    <a:pt x="742" y="24"/>
                  </a:lnTo>
                  <a:lnTo>
                    <a:pt x="742" y="18"/>
                  </a:lnTo>
                  <a:lnTo>
                    <a:pt x="748" y="18"/>
                  </a:lnTo>
                  <a:lnTo>
                    <a:pt x="750" y="20"/>
                  </a:lnTo>
                  <a:lnTo>
                    <a:pt x="756" y="26"/>
                  </a:lnTo>
                  <a:lnTo>
                    <a:pt x="762" y="32"/>
                  </a:lnTo>
                  <a:lnTo>
                    <a:pt x="768" y="30"/>
                  </a:lnTo>
                  <a:lnTo>
                    <a:pt x="774" y="28"/>
                  </a:lnTo>
                  <a:lnTo>
                    <a:pt x="780" y="28"/>
                  </a:lnTo>
                  <a:lnTo>
                    <a:pt x="782" y="28"/>
                  </a:lnTo>
                  <a:lnTo>
                    <a:pt x="788" y="26"/>
                  </a:lnTo>
                  <a:lnTo>
                    <a:pt x="790" y="26"/>
                  </a:lnTo>
                  <a:lnTo>
                    <a:pt x="792" y="26"/>
                  </a:lnTo>
                  <a:lnTo>
                    <a:pt x="794" y="26"/>
                  </a:lnTo>
                  <a:lnTo>
                    <a:pt x="800" y="22"/>
                  </a:lnTo>
                  <a:lnTo>
                    <a:pt x="802" y="16"/>
                  </a:lnTo>
                  <a:lnTo>
                    <a:pt x="800" y="10"/>
                  </a:lnTo>
                  <a:lnTo>
                    <a:pt x="804" y="4"/>
                  </a:lnTo>
                  <a:lnTo>
                    <a:pt x="810" y="2"/>
                  </a:lnTo>
                  <a:lnTo>
                    <a:pt x="814" y="0"/>
                  </a:lnTo>
                  <a:lnTo>
                    <a:pt x="820" y="4"/>
                  </a:lnTo>
                  <a:lnTo>
                    <a:pt x="824" y="8"/>
                  </a:lnTo>
                  <a:lnTo>
                    <a:pt x="830" y="12"/>
                  </a:lnTo>
                  <a:lnTo>
                    <a:pt x="836" y="12"/>
                  </a:lnTo>
                  <a:lnTo>
                    <a:pt x="842" y="12"/>
                  </a:lnTo>
                  <a:lnTo>
                    <a:pt x="848" y="10"/>
                  </a:lnTo>
                  <a:lnTo>
                    <a:pt x="854" y="12"/>
                  </a:lnTo>
                  <a:lnTo>
                    <a:pt x="860" y="16"/>
                  </a:lnTo>
                  <a:lnTo>
                    <a:pt x="866" y="16"/>
                  </a:lnTo>
                  <a:lnTo>
                    <a:pt x="872" y="22"/>
                  </a:lnTo>
                  <a:lnTo>
                    <a:pt x="878" y="20"/>
                  </a:lnTo>
                  <a:lnTo>
                    <a:pt x="884" y="20"/>
                  </a:lnTo>
                  <a:lnTo>
                    <a:pt x="890" y="22"/>
                  </a:lnTo>
                  <a:lnTo>
                    <a:pt x="894" y="22"/>
                  </a:lnTo>
                  <a:lnTo>
                    <a:pt x="900" y="14"/>
                  </a:lnTo>
                  <a:lnTo>
                    <a:pt x="906" y="12"/>
                  </a:lnTo>
                  <a:lnTo>
                    <a:pt x="912" y="12"/>
                  </a:lnTo>
                  <a:lnTo>
                    <a:pt x="918" y="16"/>
                  </a:lnTo>
                  <a:lnTo>
                    <a:pt x="924" y="18"/>
                  </a:lnTo>
                  <a:lnTo>
                    <a:pt x="930" y="24"/>
                  </a:lnTo>
                  <a:lnTo>
                    <a:pt x="932" y="26"/>
                  </a:lnTo>
                  <a:lnTo>
                    <a:pt x="936" y="32"/>
                  </a:lnTo>
                  <a:lnTo>
                    <a:pt x="942" y="32"/>
                  </a:lnTo>
                  <a:lnTo>
                    <a:pt x="944" y="38"/>
                  </a:lnTo>
                  <a:lnTo>
                    <a:pt x="944" y="40"/>
                  </a:lnTo>
                  <a:lnTo>
                    <a:pt x="950" y="46"/>
                  </a:lnTo>
                  <a:lnTo>
                    <a:pt x="950" y="52"/>
                  </a:lnTo>
                  <a:lnTo>
                    <a:pt x="956" y="56"/>
                  </a:lnTo>
                  <a:lnTo>
                    <a:pt x="962" y="56"/>
                  </a:lnTo>
                  <a:lnTo>
                    <a:pt x="966" y="62"/>
                  </a:lnTo>
                  <a:lnTo>
                    <a:pt x="972" y="64"/>
                  </a:lnTo>
                  <a:lnTo>
                    <a:pt x="974" y="70"/>
                  </a:lnTo>
                  <a:lnTo>
                    <a:pt x="982" y="70"/>
                  </a:lnTo>
                  <a:lnTo>
                    <a:pt x="988" y="76"/>
                  </a:lnTo>
                  <a:lnTo>
                    <a:pt x="994" y="70"/>
                  </a:lnTo>
                  <a:lnTo>
                    <a:pt x="1000" y="66"/>
                  </a:lnTo>
                  <a:lnTo>
                    <a:pt x="1006" y="62"/>
                  </a:lnTo>
                  <a:lnTo>
                    <a:pt x="1012" y="56"/>
                  </a:lnTo>
                  <a:lnTo>
                    <a:pt x="1016" y="62"/>
                  </a:lnTo>
                  <a:lnTo>
                    <a:pt x="1024" y="62"/>
                  </a:lnTo>
                  <a:lnTo>
                    <a:pt x="1030" y="64"/>
                  </a:lnTo>
                  <a:lnTo>
                    <a:pt x="1034" y="68"/>
                  </a:lnTo>
                  <a:lnTo>
                    <a:pt x="1042" y="68"/>
                  </a:lnTo>
                  <a:lnTo>
                    <a:pt x="1046" y="62"/>
                  </a:lnTo>
                  <a:lnTo>
                    <a:pt x="1050" y="56"/>
                  </a:lnTo>
                  <a:lnTo>
                    <a:pt x="1052" y="50"/>
                  </a:lnTo>
                  <a:lnTo>
                    <a:pt x="1058" y="48"/>
                  </a:lnTo>
                  <a:lnTo>
                    <a:pt x="1064" y="52"/>
                  </a:lnTo>
                  <a:lnTo>
                    <a:pt x="1070" y="54"/>
                  </a:lnTo>
                  <a:lnTo>
                    <a:pt x="1074" y="62"/>
                  </a:lnTo>
                  <a:lnTo>
                    <a:pt x="1074" y="68"/>
                  </a:lnTo>
                  <a:lnTo>
                    <a:pt x="1080" y="70"/>
                  </a:lnTo>
                  <a:lnTo>
                    <a:pt x="1082" y="76"/>
                  </a:lnTo>
                  <a:lnTo>
                    <a:pt x="1086" y="80"/>
                  </a:lnTo>
                  <a:lnTo>
                    <a:pt x="1088" y="86"/>
                  </a:lnTo>
                  <a:lnTo>
                    <a:pt x="1096" y="88"/>
                  </a:lnTo>
                  <a:lnTo>
                    <a:pt x="1098" y="94"/>
                  </a:lnTo>
                  <a:lnTo>
                    <a:pt x="1104" y="98"/>
                  </a:lnTo>
                  <a:lnTo>
                    <a:pt x="1108" y="100"/>
                  </a:lnTo>
                  <a:lnTo>
                    <a:pt x="1114" y="104"/>
                  </a:lnTo>
                  <a:lnTo>
                    <a:pt x="1120" y="104"/>
                  </a:lnTo>
                  <a:lnTo>
                    <a:pt x="1120" y="110"/>
                  </a:lnTo>
                  <a:lnTo>
                    <a:pt x="1122" y="116"/>
                  </a:lnTo>
                  <a:lnTo>
                    <a:pt x="1120" y="122"/>
                  </a:lnTo>
                  <a:lnTo>
                    <a:pt x="1122" y="122"/>
                  </a:lnTo>
                  <a:lnTo>
                    <a:pt x="1128" y="120"/>
                  </a:lnTo>
                  <a:lnTo>
                    <a:pt x="1134" y="122"/>
                  </a:lnTo>
                  <a:lnTo>
                    <a:pt x="1138" y="128"/>
                  </a:lnTo>
                  <a:lnTo>
                    <a:pt x="1138" y="130"/>
                  </a:lnTo>
                  <a:lnTo>
                    <a:pt x="1144" y="136"/>
                  </a:lnTo>
                  <a:lnTo>
                    <a:pt x="1140" y="142"/>
                  </a:lnTo>
                  <a:lnTo>
                    <a:pt x="1136" y="148"/>
                  </a:lnTo>
                  <a:lnTo>
                    <a:pt x="1136" y="154"/>
                  </a:lnTo>
                  <a:lnTo>
                    <a:pt x="1132" y="160"/>
                  </a:lnTo>
                  <a:lnTo>
                    <a:pt x="1138" y="166"/>
                  </a:lnTo>
                  <a:lnTo>
                    <a:pt x="1140" y="172"/>
                  </a:lnTo>
                  <a:lnTo>
                    <a:pt x="1140" y="174"/>
                  </a:lnTo>
                  <a:lnTo>
                    <a:pt x="1138" y="180"/>
                  </a:lnTo>
                  <a:lnTo>
                    <a:pt x="1136" y="184"/>
                  </a:lnTo>
                  <a:lnTo>
                    <a:pt x="1134" y="188"/>
                  </a:lnTo>
                  <a:lnTo>
                    <a:pt x="1132" y="194"/>
                  </a:lnTo>
                  <a:lnTo>
                    <a:pt x="1132" y="200"/>
                  </a:lnTo>
                  <a:lnTo>
                    <a:pt x="1136" y="206"/>
                  </a:lnTo>
                  <a:lnTo>
                    <a:pt x="1144" y="210"/>
                  </a:lnTo>
                  <a:lnTo>
                    <a:pt x="1148" y="206"/>
                  </a:lnTo>
                  <a:lnTo>
                    <a:pt x="1150" y="208"/>
                  </a:lnTo>
                  <a:lnTo>
                    <a:pt x="1156" y="214"/>
                  </a:lnTo>
                  <a:lnTo>
                    <a:pt x="1162" y="218"/>
                  </a:lnTo>
                  <a:lnTo>
                    <a:pt x="1166" y="222"/>
                  </a:lnTo>
                  <a:lnTo>
                    <a:pt x="1164" y="228"/>
                  </a:lnTo>
                  <a:lnTo>
                    <a:pt x="1160" y="234"/>
                  </a:lnTo>
                  <a:lnTo>
                    <a:pt x="1158" y="238"/>
                  </a:lnTo>
                  <a:lnTo>
                    <a:pt x="1152" y="244"/>
                  </a:lnTo>
                  <a:lnTo>
                    <a:pt x="1148" y="252"/>
                  </a:lnTo>
                  <a:lnTo>
                    <a:pt x="1142" y="256"/>
                  </a:lnTo>
                  <a:lnTo>
                    <a:pt x="1136" y="262"/>
                  </a:lnTo>
                  <a:lnTo>
                    <a:pt x="1130" y="268"/>
                  </a:lnTo>
                  <a:lnTo>
                    <a:pt x="1126" y="274"/>
                  </a:lnTo>
                  <a:lnTo>
                    <a:pt x="1122" y="280"/>
                  </a:lnTo>
                  <a:lnTo>
                    <a:pt x="1120" y="280"/>
                  </a:lnTo>
                  <a:lnTo>
                    <a:pt x="1116" y="286"/>
                  </a:lnTo>
                  <a:lnTo>
                    <a:pt x="1112" y="288"/>
                  </a:lnTo>
                  <a:lnTo>
                    <a:pt x="1106" y="292"/>
                  </a:lnTo>
                  <a:lnTo>
                    <a:pt x="1102" y="294"/>
                  </a:lnTo>
                  <a:lnTo>
                    <a:pt x="1100" y="300"/>
                  </a:lnTo>
                  <a:lnTo>
                    <a:pt x="1098" y="304"/>
                  </a:lnTo>
                  <a:lnTo>
                    <a:pt x="1094" y="310"/>
                  </a:lnTo>
                  <a:lnTo>
                    <a:pt x="1086" y="312"/>
                  </a:lnTo>
                  <a:lnTo>
                    <a:pt x="1086" y="314"/>
                  </a:lnTo>
                  <a:lnTo>
                    <a:pt x="1084" y="314"/>
                  </a:lnTo>
                  <a:lnTo>
                    <a:pt x="1084" y="320"/>
                  </a:lnTo>
                  <a:lnTo>
                    <a:pt x="1084" y="326"/>
                  </a:lnTo>
                  <a:lnTo>
                    <a:pt x="1084" y="332"/>
                  </a:lnTo>
                  <a:lnTo>
                    <a:pt x="1084" y="338"/>
                  </a:lnTo>
                  <a:lnTo>
                    <a:pt x="1082" y="342"/>
                  </a:lnTo>
                  <a:lnTo>
                    <a:pt x="1078" y="348"/>
                  </a:lnTo>
                  <a:lnTo>
                    <a:pt x="1076" y="354"/>
                  </a:lnTo>
                  <a:lnTo>
                    <a:pt x="1076" y="360"/>
                  </a:lnTo>
                  <a:lnTo>
                    <a:pt x="1070" y="366"/>
                  </a:lnTo>
                  <a:lnTo>
                    <a:pt x="1070" y="368"/>
                  </a:lnTo>
                  <a:lnTo>
                    <a:pt x="1070" y="372"/>
                  </a:lnTo>
                  <a:lnTo>
                    <a:pt x="1070" y="376"/>
                  </a:lnTo>
                  <a:lnTo>
                    <a:pt x="1068" y="382"/>
                  </a:lnTo>
                  <a:lnTo>
                    <a:pt x="1068" y="386"/>
                  </a:lnTo>
                  <a:lnTo>
                    <a:pt x="1068" y="392"/>
                  </a:lnTo>
                  <a:lnTo>
                    <a:pt x="1066" y="400"/>
                  </a:lnTo>
                  <a:lnTo>
                    <a:pt x="1066" y="404"/>
                  </a:lnTo>
                  <a:lnTo>
                    <a:pt x="1068" y="412"/>
                  </a:lnTo>
                  <a:lnTo>
                    <a:pt x="1064" y="418"/>
                  </a:lnTo>
                  <a:lnTo>
                    <a:pt x="1064" y="422"/>
                  </a:lnTo>
                  <a:lnTo>
                    <a:pt x="1064" y="424"/>
                  </a:lnTo>
                  <a:lnTo>
                    <a:pt x="1064" y="430"/>
                  </a:lnTo>
                  <a:lnTo>
                    <a:pt x="1060" y="436"/>
                  </a:lnTo>
                  <a:lnTo>
                    <a:pt x="1060" y="442"/>
                  </a:lnTo>
                  <a:lnTo>
                    <a:pt x="1062" y="446"/>
                  </a:lnTo>
                  <a:lnTo>
                    <a:pt x="1060" y="452"/>
                  </a:lnTo>
                  <a:lnTo>
                    <a:pt x="1062" y="458"/>
                  </a:lnTo>
                  <a:lnTo>
                    <a:pt x="1062" y="464"/>
                  </a:lnTo>
                  <a:lnTo>
                    <a:pt x="1062" y="468"/>
                  </a:lnTo>
                  <a:lnTo>
                    <a:pt x="1056" y="472"/>
                  </a:lnTo>
                  <a:lnTo>
                    <a:pt x="1050" y="476"/>
                  </a:lnTo>
                  <a:lnTo>
                    <a:pt x="1046" y="482"/>
                  </a:lnTo>
                  <a:lnTo>
                    <a:pt x="1040" y="488"/>
                  </a:lnTo>
                  <a:lnTo>
                    <a:pt x="1040" y="490"/>
                  </a:lnTo>
                  <a:lnTo>
                    <a:pt x="1036" y="496"/>
                  </a:lnTo>
                  <a:lnTo>
                    <a:pt x="1034" y="502"/>
                  </a:lnTo>
                  <a:lnTo>
                    <a:pt x="1034" y="506"/>
                  </a:lnTo>
                  <a:lnTo>
                    <a:pt x="1036" y="512"/>
                  </a:lnTo>
                  <a:lnTo>
                    <a:pt x="1036" y="518"/>
                  </a:lnTo>
                  <a:lnTo>
                    <a:pt x="1034" y="524"/>
                  </a:lnTo>
                  <a:lnTo>
                    <a:pt x="1028" y="530"/>
                  </a:lnTo>
                  <a:lnTo>
                    <a:pt x="1022" y="536"/>
                  </a:lnTo>
                  <a:lnTo>
                    <a:pt x="1016" y="538"/>
                  </a:lnTo>
                  <a:lnTo>
                    <a:pt x="1018" y="544"/>
                  </a:lnTo>
                  <a:lnTo>
                    <a:pt x="1018" y="550"/>
                  </a:lnTo>
                  <a:lnTo>
                    <a:pt x="1020" y="556"/>
                  </a:lnTo>
                  <a:lnTo>
                    <a:pt x="1024" y="558"/>
                  </a:lnTo>
                  <a:lnTo>
                    <a:pt x="1026" y="562"/>
                  </a:lnTo>
                  <a:lnTo>
                    <a:pt x="1028" y="568"/>
                  </a:lnTo>
                  <a:lnTo>
                    <a:pt x="1030" y="574"/>
                  </a:lnTo>
                  <a:lnTo>
                    <a:pt x="1034" y="580"/>
                  </a:lnTo>
                  <a:lnTo>
                    <a:pt x="1040" y="586"/>
                  </a:lnTo>
                  <a:lnTo>
                    <a:pt x="1038" y="592"/>
                  </a:lnTo>
                  <a:lnTo>
                    <a:pt x="1038" y="598"/>
                  </a:lnTo>
                  <a:lnTo>
                    <a:pt x="1040" y="598"/>
                  </a:lnTo>
                  <a:lnTo>
                    <a:pt x="1038" y="602"/>
                  </a:lnTo>
                  <a:lnTo>
                    <a:pt x="1038" y="604"/>
                  </a:lnTo>
                  <a:lnTo>
                    <a:pt x="1040" y="608"/>
                  </a:lnTo>
                  <a:lnTo>
                    <a:pt x="1040" y="614"/>
                  </a:lnTo>
                  <a:lnTo>
                    <a:pt x="1040" y="620"/>
                  </a:lnTo>
                  <a:lnTo>
                    <a:pt x="1040" y="626"/>
                  </a:lnTo>
                  <a:lnTo>
                    <a:pt x="1038" y="632"/>
                  </a:lnTo>
                  <a:lnTo>
                    <a:pt x="1038" y="638"/>
                  </a:lnTo>
                  <a:lnTo>
                    <a:pt x="1040" y="644"/>
                  </a:lnTo>
                  <a:lnTo>
                    <a:pt x="1044" y="650"/>
                  </a:lnTo>
                  <a:lnTo>
                    <a:pt x="1046" y="656"/>
                  </a:lnTo>
                  <a:lnTo>
                    <a:pt x="1048" y="662"/>
                  </a:lnTo>
                  <a:lnTo>
                    <a:pt x="1048" y="668"/>
                  </a:lnTo>
                  <a:lnTo>
                    <a:pt x="1050" y="674"/>
                  </a:lnTo>
                  <a:lnTo>
                    <a:pt x="1050" y="680"/>
                  </a:lnTo>
                  <a:lnTo>
                    <a:pt x="1050" y="686"/>
                  </a:lnTo>
                  <a:lnTo>
                    <a:pt x="1050" y="692"/>
                  </a:lnTo>
                  <a:lnTo>
                    <a:pt x="1046" y="698"/>
                  </a:lnTo>
                  <a:lnTo>
                    <a:pt x="1046" y="704"/>
                  </a:lnTo>
                  <a:lnTo>
                    <a:pt x="1046" y="710"/>
                  </a:lnTo>
                  <a:lnTo>
                    <a:pt x="1046" y="716"/>
                  </a:lnTo>
                  <a:lnTo>
                    <a:pt x="1046" y="718"/>
                  </a:lnTo>
                  <a:lnTo>
                    <a:pt x="1048" y="724"/>
                  </a:lnTo>
                  <a:lnTo>
                    <a:pt x="1052" y="730"/>
                  </a:lnTo>
                  <a:lnTo>
                    <a:pt x="1054" y="736"/>
                  </a:lnTo>
                  <a:lnTo>
                    <a:pt x="1056" y="742"/>
                  </a:lnTo>
                  <a:lnTo>
                    <a:pt x="1056" y="748"/>
                  </a:lnTo>
                  <a:lnTo>
                    <a:pt x="1060" y="754"/>
                  </a:lnTo>
                  <a:lnTo>
                    <a:pt x="1060" y="760"/>
                  </a:lnTo>
                  <a:lnTo>
                    <a:pt x="1062" y="766"/>
                  </a:lnTo>
                  <a:lnTo>
                    <a:pt x="1062" y="772"/>
                  </a:lnTo>
                  <a:lnTo>
                    <a:pt x="1058" y="778"/>
                  </a:lnTo>
                  <a:lnTo>
                    <a:pt x="1054" y="782"/>
                  </a:lnTo>
                  <a:lnTo>
                    <a:pt x="1054" y="790"/>
                  </a:lnTo>
                  <a:lnTo>
                    <a:pt x="1056" y="794"/>
                  </a:lnTo>
                  <a:lnTo>
                    <a:pt x="1056" y="800"/>
                  </a:lnTo>
                  <a:lnTo>
                    <a:pt x="1056" y="806"/>
                  </a:lnTo>
                  <a:lnTo>
                    <a:pt x="1060" y="812"/>
                  </a:lnTo>
                  <a:lnTo>
                    <a:pt x="1064" y="818"/>
                  </a:lnTo>
                  <a:lnTo>
                    <a:pt x="1066" y="824"/>
                  </a:lnTo>
                  <a:lnTo>
                    <a:pt x="1068" y="830"/>
                  </a:lnTo>
                  <a:lnTo>
                    <a:pt x="1074" y="836"/>
                  </a:lnTo>
                  <a:lnTo>
                    <a:pt x="1080" y="840"/>
                  </a:lnTo>
                  <a:lnTo>
                    <a:pt x="1084" y="842"/>
                  </a:lnTo>
                  <a:lnTo>
                    <a:pt x="1088" y="846"/>
                  </a:lnTo>
                  <a:lnTo>
                    <a:pt x="1094" y="852"/>
                  </a:lnTo>
                  <a:lnTo>
                    <a:pt x="1098" y="858"/>
                  </a:lnTo>
                  <a:lnTo>
                    <a:pt x="1102" y="864"/>
                  </a:lnTo>
                  <a:lnTo>
                    <a:pt x="1104" y="870"/>
                  </a:lnTo>
                  <a:lnTo>
                    <a:pt x="1106" y="876"/>
                  </a:lnTo>
                  <a:lnTo>
                    <a:pt x="1108" y="882"/>
                  </a:lnTo>
                  <a:lnTo>
                    <a:pt x="1110" y="888"/>
                  </a:lnTo>
                  <a:lnTo>
                    <a:pt x="1110" y="894"/>
                  </a:lnTo>
                  <a:lnTo>
                    <a:pt x="1112" y="900"/>
                  </a:lnTo>
                  <a:lnTo>
                    <a:pt x="1116" y="904"/>
                  </a:lnTo>
                  <a:lnTo>
                    <a:pt x="1118" y="910"/>
                  </a:lnTo>
                  <a:lnTo>
                    <a:pt x="1122" y="916"/>
                  </a:lnTo>
                  <a:lnTo>
                    <a:pt x="1126" y="922"/>
                  </a:lnTo>
                  <a:lnTo>
                    <a:pt x="1128" y="928"/>
                  </a:lnTo>
                  <a:lnTo>
                    <a:pt x="1128" y="934"/>
                  </a:lnTo>
                  <a:lnTo>
                    <a:pt x="1130" y="938"/>
                  </a:lnTo>
                  <a:lnTo>
                    <a:pt x="1124" y="940"/>
                  </a:lnTo>
                  <a:lnTo>
                    <a:pt x="1118" y="940"/>
                  </a:lnTo>
                  <a:lnTo>
                    <a:pt x="1118" y="942"/>
                  </a:lnTo>
                  <a:lnTo>
                    <a:pt x="1112" y="942"/>
                  </a:lnTo>
                  <a:lnTo>
                    <a:pt x="1106" y="942"/>
                  </a:lnTo>
                  <a:lnTo>
                    <a:pt x="1100" y="944"/>
                  </a:lnTo>
                  <a:lnTo>
                    <a:pt x="1094" y="946"/>
                  </a:lnTo>
                  <a:lnTo>
                    <a:pt x="1088" y="946"/>
                  </a:lnTo>
                  <a:lnTo>
                    <a:pt x="1084" y="946"/>
                  </a:lnTo>
                  <a:lnTo>
                    <a:pt x="1076" y="948"/>
                  </a:lnTo>
                  <a:lnTo>
                    <a:pt x="1072" y="950"/>
                  </a:lnTo>
                  <a:lnTo>
                    <a:pt x="1066" y="950"/>
                  </a:lnTo>
                  <a:lnTo>
                    <a:pt x="1060" y="950"/>
                  </a:lnTo>
                  <a:lnTo>
                    <a:pt x="1058" y="952"/>
                  </a:lnTo>
                  <a:lnTo>
                    <a:pt x="1050" y="952"/>
                  </a:lnTo>
                  <a:lnTo>
                    <a:pt x="1046" y="954"/>
                  </a:lnTo>
                  <a:lnTo>
                    <a:pt x="1040" y="954"/>
                  </a:lnTo>
                  <a:lnTo>
                    <a:pt x="1034" y="956"/>
                  </a:lnTo>
                  <a:lnTo>
                    <a:pt x="1028" y="956"/>
                  </a:lnTo>
                  <a:lnTo>
                    <a:pt x="1022" y="958"/>
                  </a:lnTo>
                  <a:lnTo>
                    <a:pt x="1016" y="960"/>
                  </a:lnTo>
                  <a:lnTo>
                    <a:pt x="1018" y="966"/>
                  </a:lnTo>
                  <a:lnTo>
                    <a:pt x="1020" y="972"/>
                  </a:lnTo>
                  <a:lnTo>
                    <a:pt x="1016" y="978"/>
                  </a:lnTo>
                  <a:lnTo>
                    <a:pt x="1014" y="984"/>
                  </a:lnTo>
                  <a:lnTo>
                    <a:pt x="1008" y="988"/>
                  </a:lnTo>
                  <a:lnTo>
                    <a:pt x="1004" y="994"/>
                  </a:lnTo>
                  <a:lnTo>
                    <a:pt x="998" y="1000"/>
                  </a:lnTo>
                  <a:lnTo>
                    <a:pt x="992" y="1006"/>
                  </a:lnTo>
                  <a:lnTo>
                    <a:pt x="988" y="1010"/>
                  </a:lnTo>
                  <a:lnTo>
                    <a:pt x="984" y="1014"/>
                  </a:lnTo>
                  <a:lnTo>
                    <a:pt x="990" y="1018"/>
                  </a:lnTo>
                  <a:lnTo>
                    <a:pt x="992" y="1020"/>
                  </a:lnTo>
                  <a:lnTo>
                    <a:pt x="992" y="1022"/>
                  </a:lnTo>
                  <a:lnTo>
                    <a:pt x="994" y="1028"/>
                  </a:lnTo>
                  <a:lnTo>
                    <a:pt x="996" y="1034"/>
                  </a:lnTo>
                  <a:lnTo>
                    <a:pt x="998" y="1040"/>
                  </a:lnTo>
                  <a:lnTo>
                    <a:pt x="1000" y="1046"/>
                  </a:lnTo>
                  <a:lnTo>
                    <a:pt x="1000" y="1052"/>
                  </a:lnTo>
                  <a:lnTo>
                    <a:pt x="998" y="1058"/>
                  </a:lnTo>
                  <a:lnTo>
                    <a:pt x="998" y="1064"/>
                  </a:lnTo>
                  <a:lnTo>
                    <a:pt x="998" y="1070"/>
                  </a:lnTo>
                  <a:lnTo>
                    <a:pt x="996" y="1076"/>
                  </a:lnTo>
                  <a:lnTo>
                    <a:pt x="996" y="1082"/>
                  </a:lnTo>
                  <a:lnTo>
                    <a:pt x="996" y="1088"/>
                  </a:lnTo>
                  <a:lnTo>
                    <a:pt x="998" y="1094"/>
                  </a:lnTo>
                  <a:lnTo>
                    <a:pt x="998" y="1100"/>
                  </a:lnTo>
                  <a:lnTo>
                    <a:pt x="1000" y="1106"/>
                  </a:lnTo>
                  <a:lnTo>
                    <a:pt x="1000" y="1112"/>
                  </a:lnTo>
                  <a:lnTo>
                    <a:pt x="996" y="1118"/>
                  </a:lnTo>
                  <a:lnTo>
                    <a:pt x="992" y="1124"/>
                  </a:lnTo>
                  <a:lnTo>
                    <a:pt x="992" y="1130"/>
                  </a:lnTo>
                  <a:lnTo>
                    <a:pt x="990" y="1136"/>
                  </a:lnTo>
                  <a:lnTo>
                    <a:pt x="988" y="1142"/>
                  </a:lnTo>
                  <a:lnTo>
                    <a:pt x="988" y="1148"/>
                  </a:lnTo>
                  <a:lnTo>
                    <a:pt x="984" y="1154"/>
                  </a:lnTo>
                  <a:lnTo>
                    <a:pt x="984" y="1158"/>
                  </a:lnTo>
                  <a:lnTo>
                    <a:pt x="980" y="1164"/>
                  </a:lnTo>
                  <a:lnTo>
                    <a:pt x="980" y="1170"/>
                  </a:lnTo>
                  <a:lnTo>
                    <a:pt x="984" y="1176"/>
                  </a:lnTo>
                  <a:lnTo>
                    <a:pt x="984" y="1182"/>
                  </a:lnTo>
                  <a:lnTo>
                    <a:pt x="986" y="1188"/>
                  </a:lnTo>
                  <a:lnTo>
                    <a:pt x="992" y="1194"/>
                  </a:lnTo>
                  <a:lnTo>
                    <a:pt x="996" y="1200"/>
                  </a:lnTo>
                  <a:lnTo>
                    <a:pt x="1002" y="1200"/>
                  </a:lnTo>
                  <a:lnTo>
                    <a:pt x="1004" y="1206"/>
                  </a:lnTo>
                  <a:lnTo>
                    <a:pt x="1008" y="1212"/>
                  </a:lnTo>
                  <a:lnTo>
                    <a:pt x="1014" y="1218"/>
                  </a:lnTo>
                  <a:lnTo>
                    <a:pt x="1018" y="1224"/>
                  </a:lnTo>
                  <a:lnTo>
                    <a:pt x="1024" y="1228"/>
                  </a:lnTo>
                  <a:lnTo>
                    <a:pt x="1030" y="1228"/>
                  </a:lnTo>
                  <a:lnTo>
                    <a:pt x="1036" y="1230"/>
                  </a:lnTo>
                  <a:lnTo>
                    <a:pt x="1042" y="1232"/>
                  </a:lnTo>
                  <a:lnTo>
                    <a:pt x="1046" y="1230"/>
                  </a:lnTo>
                  <a:lnTo>
                    <a:pt x="1046" y="1224"/>
                  </a:lnTo>
                  <a:lnTo>
                    <a:pt x="1050" y="1218"/>
                  </a:lnTo>
                  <a:lnTo>
                    <a:pt x="1056" y="1218"/>
                  </a:lnTo>
                  <a:lnTo>
                    <a:pt x="1060" y="1216"/>
                  </a:lnTo>
                  <a:lnTo>
                    <a:pt x="1066" y="1214"/>
                  </a:lnTo>
                  <a:lnTo>
                    <a:pt x="1068" y="1214"/>
                  </a:lnTo>
                  <a:lnTo>
                    <a:pt x="1068" y="1218"/>
                  </a:lnTo>
                  <a:lnTo>
                    <a:pt x="1068" y="1226"/>
                  </a:lnTo>
                  <a:lnTo>
                    <a:pt x="1066" y="1232"/>
                  </a:lnTo>
                  <a:lnTo>
                    <a:pt x="1066" y="1234"/>
                  </a:lnTo>
                  <a:lnTo>
                    <a:pt x="1066" y="1240"/>
                  </a:lnTo>
                  <a:lnTo>
                    <a:pt x="1066" y="1246"/>
                  </a:lnTo>
                  <a:lnTo>
                    <a:pt x="1066" y="1252"/>
                  </a:lnTo>
                  <a:lnTo>
                    <a:pt x="1066" y="1260"/>
                  </a:lnTo>
                  <a:lnTo>
                    <a:pt x="1066" y="1264"/>
                  </a:lnTo>
                  <a:lnTo>
                    <a:pt x="1066" y="1272"/>
                  </a:lnTo>
                  <a:lnTo>
                    <a:pt x="1066" y="1278"/>
                  </a:lnTo>
                  <a:lnTo>
                    <a:pt x="1066" y="1284"/>
                  </a:lnTo>
                  <a:lnTo>
                    <a:pt x="1066" y="1290"/>
                  </a:lnTo>
                  <a:lnTo>
                    <a:pt x="1066" y="1296"/>
                  </a:lnTo>
                  <a:lnTo>
                    <a:pt x="1066" y="1302"/>
                  </a:lnTo>
                  <a:lnTo>
                    <a:pt x="1060" y="1302"/>
                  </a:lnTo>
                  <a:lnTo>
                    <a:pt x="1054" y="1296"/>
                  </a:lnTo>
                  <a:lnTo>
                    <a:pt x="1058" y="1290"/>
                  </a:lnTo>
                  <a:lnTo>
                    <a:pt x="1052" y="1286"/>
                  </a:lnTo>
                  <a:lnTo>
                    <a:pt x="1046" y="1292"/>
                  </a:lnTo>
                  <a:lnTo>
                    <a:pt x="1040" y="1294"/>
                  </a:lnTo>
                  <a:lnTo>
                    <a:pt x="1034" y="1298"/>
                  </a:lnTo>
                  <a:lnTo>
                    <a:pt x="1030" y="1302"/>
                  </a:lnTo>
                  <a:lnTo>
                    <a:pt x="1024" y="1298"/>
                  </a:lnTo>
                  <a:lnTo>
                    <a:pt x="1020" y="1298"/>
                  </a:lnTo>
                  <a:lnTo>
                    <a:pt x="1014" y="1296"/>
                  </a:lnTo>
                  <a:lnTo>
                    <a:pt x="1014" y="1290"/>
                  </a:lnTo>
                  <a:lnTo>
                    <a:pt x="1012" y="1284"/>
                  </a:lnTo>
                  <a:lnTo>
                    <a:pt x="1008" y="1278"/>
                  </a:lnTo>
                  <a:lnTo>
                    <a:pt x="1006" y="1272"/>
                  </a:lnTo>
                  <a:lnTo>
                    <a:pt x="1006" y="1270"/>
                  </a:lnTo>
                  <a:lnTo>
                    <a:pt x="1002" y="1264"/>
                  </a:lnTo>
                  <a:lnTo>
                    <a:pt x="996" y="1260"/>
                  </a:lnTo>
                  <a:lnTo>
                    <a:pt x="994" y="1262"/>
                  </a:lnTo>
                  <a:lnTo>
                    <a:pt x="988" y="1258"/>
                  </a:lnTo>
                  <a:lnTo>
                    <a:pt x="988" y="1252"/>
                  </a:lnTo>
                  <a:lnTo>
                    <a:pt x="988" y="1246"/>
                  </a:lnTo>
                  <a:lnTo>
                    <a:pt x="984" y="1240"/>
                  </a:lnTo>
                  <a:lnTo>
                    <a:pt x="980" y="1234"/>
                  </a:lnTo>
                  <a:lnTo>
                    <a:pt x="978" y="1234"/>
                  </a:lnTo>
                  <a:lnTo>
                    <a:pt x="978" y="1232"/>
                  </a:lnTo>
                  <a:lnTo>
                    <a:pt x="972" y="1232"/>
                  </a:lnTo>
                  <a:lnTo>
                    <a:pt x="966" y="1232"/>
                  </a:lnTo>
                  <a:lnTo>
                    <a:pt x="960" y="1228"/>
                  </a:lnTo>
                  <a:lnTo>
                    <a:pt x="954" y="1224"/>
                  </a:lnTo>
                  <a:lnTo>
                    <a:pt x="950" y="1220"/>
                  </a:lnTo>
                  <a:lnTo>
                    <a:pt x="944" y="1222"/>
                  </a:lnTo>
                  <a:lnTo>
                    <a:pt x="940" y="1224"/>
                  </a:lnTo>
                  <a:lnTo>
                    <a:pt x="932" y="1218"/>
                  </a:lnTo>
                  <a:lnTo>
                    <a:pt x="928" y="1212"/>
                  </a:lnTo>
                  <a:lnTo>
                    <a:pt x="928" y="1206"/>
                  </a:lnTo>
                  <a:lnTo>
                    <a:pt x="926" y="1200"/>
                  </a:lnTo>
                  <a:lnTo>
                    <a:pt x="920" y="1196"/>
                  </a:lnTo>
                  <a:lnTo>
                    <a:pt x="914" y="1190"/>
                  </a:lnTo>
                  <a:lnTo>
                    <a:pt x="912" y="1184"/>
                  </a:lnTo>
                  <a:lnTo>
                    <a:pt x="912" y="1178"/>
                  </a:lnTo>
                  <a:lnTo>
                    <a:pt x="910" y="1172"/>
                  </a:lnTo>
                  <a:lnTo>
                    <a:pt x="904" y="1174"/>
                  </a:lnTo>
                  <a:lnTo>
                    <a:pt x="900" y="1180"/>
                  </a:lnTo>
                  <a:lnTo>
                    <a:pt x="898" y="1186"/>
                  </a:lnTo>
                  <a:lnTo>
                    <a:pt x="896" y="1192"/>
                  </a:lnTo>
                  <a:lnTo>
                    <a:pt x="894" y="1196"/>
                  </a:lnTo>
                  <a:lnTo>
                    <a:pt x="888" y="1200"/>
                  </a:lnTo>
                  <a:lnTo>
                    <a:pt x="882" y="1202"/>
                  </a:lnTo>
                  <a:lnTo>
                    <a:pt x="876" y="1202"/>
                  </a:lnTo>
                  <a:lnTo>
                    <a:pt x="870" y="1200"/>
                  </a:lnTo>
                  <a:lnTo>
                    <a:pt x="864" y="1196"/>
                  </a:lnTo>
                  <a:lnTo>
                    <a:pt x="858" y="1196"/>
                  </a:lnTo>
                  <a:lnTo>
                    <a:pt x="852" y="1198"/>
                  </a:lnTo>
                  <a:lnTo>
                    <a:pt x="846" y="1196"/>
                  </a:lnTo>
                  <a:lnTo>
                    <a:pt x="840" y="1196"/>
                  </a:lnTo>
                  <a:lnTo>
                    <a:pt x="834" y="1192"/>
                  </a:lnTo>
                  <a:lnTo>
                    <a:pt x="828" y="1188"/>
                  </a:lnTo>
                  <a:lnTo>
                    <a:pt x="822" y="1188"/>
                  </a:lnTo>
                  <a:lnTo>
                    <a:pt x="816" y="1184"/>
                  </a:lnTo>
                  <a:lnTo>
                    <a:pt x="810" y="1186"/>
                  </a:lnTo>
                  <a:lnTo>
                    <a:pt x="804" y="1180"/>
                  </a:lnTo>
                  <a:lnTo>
                    <a:pt x="798" y="1178"/>
                  </a:lnTo>
                  <a:lnTo>
                    <a:pt x="796" y="1172"/>
                  </a:lnTo>
                  <a:lnTo>
                    <a:pt x="796" y="1166"/>
                  </a:lnTo>
                  <a:lnTo>
                    <a:pt x="794" y="1160"/>
                  </a:lnTo>
                  <a:lnTo>
                    <a:pt x="794" y="1154"/>
                  </a:lnTo>
                  <a:lnTo>
                    <a:pt x="796" y="1148"/>
                  </a:lnTo>
                  <a:lnTo>
                    <a:pt x="792" y="1150"/>
                  </a:lnTo>
                  <a:lnTo>
                    <a:pt x="786" y="1150"/>
                  </a:lnTo>
                  <a:lnTo>
                    <a:pt x="780" y="1152"/>
                  </a:lnTo>
                  <a:lnTo>
                    <a:pt x="776" y="1152"/>
                  </a:lnTo>
                  <a:lnTo>
                    <a:pt x="770" y="1154"/>
                  </a:lnTo>
                  <a:lnTo>
                    <a:pt x="764" y="1156"/>
                  </a:lnTo>
                  <a:lnTo>
                    <a:pt x="758" y="1156"/>
                  </a:lnTo>
                  <a:lnTo>
                    <a:pt x="752" y="1160"/>
                  </a:lnTo>
                  <a:lnTo>
                    <a:pt x="746" y="1166"/>
                  </a:lnTo>
                  <a:lnTo>
                    <a:pt x="740" y="1162"/>
                  </a:lnTo>
                  <a:lnTo>
                    <a:pt x="734" y="1160"/>
                  </a:lnTo>
                  <a:lnTo>
                    <a:pt x="738" y="1154"/>
                  </a:lnTo>
                  <a:lnTo>
                    <a:pt x="740" y="1148"/>
                  </a:lnTo>
                  <a:lnTo>
                    <a:pt x="738" y="1142"/>
                  </a:lnTo>
                  <a:lnTo>
                    <a:pt x="736" y="1138"/>
                  </a:lnTo>
                  <a:lnTo>
                    <a:pt x="730" y="1136"/>
                  </a:lnTo>
                  <a:lnTo>
                    <a:pt x="724" y="1136"/>
                  </a:lnTo>
                  <a:lnTo>
                    <a:pt x="724" y="1128"/>
                  </a:lnTo>
                  <a:lnTo>
                    <a:pt x="718" y="1124"/>
                  </a:lnTo>
                  <a:lnTo>
                    <a:pt x="714" y="1124"/>
                  </a:lnTo>
                  <a:lnTo>
                    <a:pt x="712" y="1130"/>
                  </a:lnTo>
                  <a:lnTo>
                    <a:pt x="706" y="1134"/>
                  </a:lnTo>
                  <a:lnTo>
                    <a:pt x="700" y="1132"/>
                  </a:lnTo>
                  <a:lnTo>
                    <a:pt x="694" y="1134"/>
                  </a:lnTo>
                  <a:lnTo>
                    <a:pt x="688" y="1132"/>
                  </a:lnTo>
                  <a:lnTo>
                    <a:pt x="682" y="1130"/>
                  </a:lnTo>
                  <a:lnTo>
                    <a:pt x="676" y="1132"/>
                  </a:lnTo>
                  <a:lnTo>
                    <a:pt x="670" y="1136"/>
                  </a:lnTo>
                  <a:lnTo>
                    <a:pt x="664" y="1138"/>
                  </a:lnTo>
                  <a:lnTo>
                    <a:pt x="658" y="1140"/>
                  </a:lnTo>
                  <a:lnTo>
                    <a:pt x="652" y="1140"/>
                  </a:lnTo>
                  <a:lnTo>
                    <a:pt x="646" y="1136"/>
                  </a:lnTo>
                  <a:lnTo>
                    <a:pt x="640" y="1140"/>
                  </a:lnTo>
                  <a:lnTo>
                    <a:pt x="634" y="1138"/>
                  </a:lnTo>
                  <a:lnTo>
                    <a:pt x="628" y="1136"/>
                  </a:lnTo>
                  <a:lnTo>
                    <a:pt x="624" y="1142"/>
                  </a:lnTo>
                  <a:lnTo>
                    <a:pt x="618" y="1146"/>
                  </a:lnTo>
                  <a:lnTo>
                    <a:pt x="612" y="1150"/>
                  </a:lnTo>
                  <a:lnTo>
                    <a:pt x="608" y="1150"/>
                  </a:lnTo>
                  <a:lnTo>
                    <a:pt x="610" y="1144"/>
                  </a:lnTo>
                  <a:lnTo>
                    <a:pt x="608" y="1138"/>
                  </a:lnTo>
                  <a:lnTo>
                    <a:pt x="606" y="1132"/>
                  </a:lnTo>
                  <a:lnTo>
                    <a:pt x="604" y="1126"/>
                  </a:lnTo>
                  <a:lnTo>
                    <a:pt x="606" y="1120"/>
                  </a:lnTo>
                  <a:lnTo>
                    <a:pt x="612" y="1118"/>
                  </a:lnTo>
                  <a:lnTo>
                    <a:pt x="614" y="1112"/>
                  </a:lnTo>
                  <a:lnTo>
                    <a:pt x="612" y="1106"/>
                  </a:lnTo>
                  <a:lnTo>
                    <a:pt x="612" y="1100"/>
                  </a:lnTo>
                  <a:lnTo>
                    <a:pt x="612" y="1094"/>
                  </a:lnTo>
                  <a:lnTo>
                    <a:pt x="614" y="1088"/>
                  </a:lnTo>
                  <a:lnTo>
                    <a:pt x="610" y="1082"/>
                  </a:lnTo>
                  <a:lnTo>
                    <a:pt x="608" y="1078"/>
                  </a:lnTo>
                  <a:lnTo>
                    <a:pt x="606" y="1070"/>
                  </a:lnTo>
                  <a:lnTo>
                    <a:pt x="606" y="1066"/>
                  </a:lnTo>
                  <a:lnTo>
                    <a:pt x="606" y="1064"/>
                  </a:lnTo>
                  <a:lnTo>
                    <a:pt x="604" y="1058"/>
                  </a:lnTo>
                  <a:lnTo>
                    <a:pt x="598" y="1056"/>
                  </a:lnTo>
                  <a:lnTo>
                    <a:pt x="594" y="1050"/>
                  </a:lnTo>
                  <a:lnTo>
                    <a:pt x="590" y="1044"/>
                  </a:lnTo>
                  <a:lnTo>
                    <a:pt x="586" y="1038"/>
                  </a:lnTo>
                  <a:lnTo>
                    <a:pt x="584" y="1032"/>
                  </a:lnTo>
                  <a:lnTo>
                    <a:pt x="584" y="1026"/>
                  </a:lnTo>
                  <a:lnTo>
                    <a:pt x="584" y="1020"/>
                  </a:lnTo>
                  <a:lnTo>
                    <a:pt x="584" y="1014"/>
                  </a:lnTo>
                  <a:lnTo>
                    <a:pt x="586" y="1008"/>
                  </a:lnTo>
                  <a:lnTo>
                    <a:pt x="584" y="1004"/>
                  </a:lnTo>
                  <a:lnTo>
                    <a:pt x="586" y="998"/>
                  </a:lnTo>
                  <a:lnTo>
                    <a:pt x="586" y="992"/>
                  </a:lnTo>
                  <a:lnTo>
                    <a:pt x="586" y="986"/>
                  </a:lnTo>
                  <a:lnTo>
                    <a:pt x="588" y="980"/>
                  </a:lnTo>
                  <a:lnTo>
                    <a:pt x="588" y="974"/>
                  </a:lnTo>
                  <a:lnTo>
                    <a:pt x="590" y="968"/>
                  </a:lnTo>
                  <a:lnTo>
                    <a:pt x="592" y="962"/>
                  </a:lnTo>
                  <a:lnTo>
                    <a:pt x="592" y="956"/>
                  </a:lnTo>
                  <a:lnTo>
                    <a:pt x="590" y="950"/>
                  </a:lnTo>
                  <a:lnTo>
                    <a:pt x="590" y="948"/>
                  </a:lnTo>
                  <a:lnTo>
                    <a:pt x="588" y="942"/>
                  </a:lnTo>
                  <a:lnTo>
                    <a:pt x="586" y="936"/>
                  </a:lnTo>
                  <a:lnTo>
                    <a:pt x="584" y="930"/>
                  </a:lnTo>
                  <a:lnTo>
                    <a:pt x="580" y="924"/>
                  </a:lnTo>
                  <a:lnTo>
                    <a:pt x="582" y="918"/>
                  </a:lnTo>
                  <a:lnTo>
                    <a:pt x="582" y="912"/>
                  </a:lnTo>
                  <a:lnTo>
                    <a:pt x="584" y="906"/>
                  </a:lnTo>
                  <a:lnTo>
                    <a:pt x="584" y="900"/>
                  </a:lnTo>
                  <a:lnTo>
                    <a:pt x="586" y="896"/>
                  </a:lnTo>
                  <a:lnTo>
                    <a:pt x="588" y="890"/>
                  </a:lnTo>
                  <a:lnTo>
                    <a:pt x="586" y="884"/>
                  </a:lnTo>
                  <a:lnTo>
                    <a:pt x="584" y="878"/>
                  </a:lnTo>
                  <a:lnTo>
                    <a:pt x="582" y="876"/>
                  </a:lnTo>
                  <a:lnTo>
                    <a:pt x="576" y="876"/>
                  </a:lnTo>
                  <a:lnTo>
                    <a:pt x="570" y="876"/>
                  </a:lnTo>
                  <a:lnTo>
                    <a:pt x="564" y="876"/>
                  </a:lnTo>
                  <a:lnTo>
                    <a:pt x="560" y="876"/>
                  </a:lnTo>
                  <a:lnTo>
                    <a:pt x="554" y="876"/>
                  </a:lnTo>
                  <a:lnTo>
                    <a:pt x="548" y="876"/>
                  </a:lnTo>
                  <a:lnTo>
                    <a:pt x="542" y="876"/>
                  </a:lnTo>
                  <a:lnTo>
                    <a:pt x="536" y="876"/>
                  </a:lnTo>
                  <a:lnTo>
                    <a:pt x="530" y="876"/>
                  </a:lnTo>
                  <a:lnTo>
                    <a:pt x="524" y="876"/>
                  </a:lnTo>
                  <a:lnTo>
                    <a:pt x="518" y="876"/>
                  </a:lnTo>
                  <a:lnTo>
                    <a:pt x="512" y="876"/>
                  </a:lnTo>
                  <a:lnTo>
                    <a:pt x="506" y="876"/>
                  </a:lnTo>
                  <a:lnTo>
                    <a:pt x="506" y="870"/>
                  </a:lnTo>
                  <a:lnTo>
                    <a:pt x="508" y="864"/>
                  </a:lnTo>
                  <a:lnTo>
                    <a:pt x="510" y="858"/>
                  </a:lnTo>
                  <a:lnTo>
                    <a:pt x="512" y="852"/>
                  </a:lnTo>
                  <a:lnTo>
                    <a:pt x="512" y="850"/>
                  </a:lnTo>
                  <a:lnTo>
                    <a:pt x="506" y="850"/>
                  </a:lnTo>
                  <a:lnTo>
                    <a:pt x="500" y="850"/>
                  </a:lnTo>
                  <a:lnTo>
                    <a:pt x="494" y="850"/>
                  </a:lnTo>
                  <a:lnTo>
                    <a:pt x="494" y="856"/>
                  </a:lnTo>
                  <a:lnTo>
                    <a:pt x="488" y="856"/>
                  </a:lnTo>
                  <a:lnTo>
                    <a:pt x="480" y="856"/>
                  </a:lnTo>
                  <a:lnTo>
                    <a:pt x="474" y="856"/>
                  </a:lnTo>
                  <a:lnTo>
                    <a:pt x="472" y="856"/>
                  </a:lnTo>
                  <a:lnTo>
                    <a:pt x="464" y="856"/>
                  </a:lnTo>
                  <a:lnTo>
                    <a:pt x="458" y="856"/>
                  </a:lnTo>
                  <a:lnTo>
                    <a:pt x="452" y="856"/>
                  </a:lnTo>
                  <a:lnTo>
                    <a:pt x="446" y="856"/>
                  </a:lnTo>
                  <a:lnTo>
                    <a:pt x="448" y="860"/>
                  </a:lnTo>
                  <a:lnTo>
                    <a:pt x="444" y="866"/>
                  </a:lnTo>
                  <a:lnTo>
                    <a:pt x="444" y="872"/>
                  </a:lnTo>
                  <a:lnTo>
                    <a:pt x="442" y="878"/>
                  </a:lnTo>
                  <a:lnTo>
                    <a:pt x="444" y="884"/>
                  </a:lnTo>
                  <a:lnTo>
                    <a:pt x="446" y="890"/>
                  </a:lnTo>
                  <a:lnTo>
                    <a:pt x="442" y="896"/>
                  </a:lnTo>
                  <a:lnTo>
                    <a:pt x="436" y="896"/>
                  </a:lnTo>
                  <a:lnTo>
                    <a:pt x="436" y="902"/>
                  </a:lnTo>
                  <a:lnTo>
                    <a:pt x="438" y="904"/>
                  </a:lnTo>
                  <a:lnTo>
                    <a:pt x="436" y="910"/>
                  </a:lnTo>
                  <a:lnTo>
                    <a:pt x="434" y="916"/>
                  </a:lnTo>
                  <a:lnTo>
                    <a:pt x="434" y="922"/>
                  </a:lnTo>
                  <a:lnTo>
                    <a:pt x="436" y="926"/>
                  </a:lnTo>
                  <a:lnTo>
                    <a:pt x="430" y="926"/>
                  </a:lnTo>
                  <a:lnTo>
                    <a:pt x="424" y="926"/>
                  </a:lnTo>
                  <a:lnTo>
                    <a:pt x="416" y="926"/>
                  </a:lnTo>
                  <a:lnTo>
                    <a:pt x="410" y="926"/>
                  </a:lnTo>
                  <a:lnTo>
                    <a:pt x="402" y="926"/>
                  </a:lnTo>
                  <a:lnTo>
                    <a:pt x="400" y="926"/>
                  </a:lnTo>
                  <a:lnTo>
                    <a:pt x="398" y="920"/>
                  </a:lnTo>
                  <a:lnTo>
                    <a:pt x="392" y="922"/>
                  </a:lnTo>
                  <a:lnTo>
                    <a:pt x="390" y="920"/>
                  </a:lnTo>
                  <a:lnTo>
                    <a:pt x="382" y="926"/>
                  </a:lnTo>
                  <a:lnTo>
                    <a:pt x="378" y="926"/>
                  </a:lnTo>
                  <a:lnTo>
                    <a:pt x="370" y="926"/>
                  </a:lnTo>
                  <a:lnTo>
                    <a:pt x="364" y="926"/>
                  </a:lnTo>
                  <a:lnTo>
                    <a:pt x="360" y="928"/>
                  </a:lnTo>
                  <a:lnTo>
                    <a:pt x="358" y="928"/>
                  </a:lnTo>
                  <a:lnTo>
                    <a:pt x="358" y="934"/>
                  </a:lnTo>
                  <a:lnTo>
                    <a:pt x="352" y="934"/>
                  </a:lnTo>
                  <a:lnTo>
                    <a:pt x="348" y="928"/>
                  </a:lnTo>
                  <a:lnTo>
                    <a:pt x="342" y="930"/>
                  </a:lnTo>
                  <a:lnTo>
                    <a:pt x="336" y="930"/>
                  </a:lnTo>
                  <a:lnTo>
                    <a:pt x="330" y="932"/>
                  </a:lnTo>
                  <a:lnTo>
                    <a:pt x="324" y="932"/>
                  </a:lnTo>
                  <a:lnTo>
                    <a:pt x="322" y="926"/>
                  </a:lnTo>
                  <a:lnTo>
                    <a:pt x="318" y="920"/>
                  </a:lnTo>
                  <a:lnTo>
                    <a:pt x="314" y="914"/>
                  </a:lnTo>
                  <a:lnTo>
                    <a:pt x="310" y="908"/>
                  </a:lnTo>
                  <a:lnTo>
                    <a:pt x="308" y="902"/>
                  </a:lnTo>
                  <a:lnTo>
                    <a:pt x="308" y="898"/>
                  </a:lnTo>
                  <a:lnTo>
                    <a:pt x="302" y="892"/>
                  </a:lnTo>
                  <a:lnTo>
                    <a:pt x="302" y="888"/>
                  </a:lnTo>
                  <a:lnTo>
                    <a:pt x="296" y="882"/>
                  </a:lnTo>
                  <a:lnTo>
                    <a:pt x="292" y="878"/>
                  </a:lnTo>
                  <a:lnTo>
                    <a:pt x="288" y="872"/>
                  </a:lnTo>
                  <a:lnTo>
                    <a:pt x="288" y="866"/>
                  </a:lnTo>
                  <a:lnTo>
                    <a:pt x="288" y="860"/>
                  </a:lnTo>
                  <a:lnTo>
                    <a:pt x="286" y="854"/>
                  </a:lnTo>
                  <a:lnTo>
                    <a:pt x="286" y="848"/>
                  </a:lnTo>
                  <a:lnTo>
                    <a:pt x="280" y="842"/>
                  </a:lnTo>
                  <a:lnTo>
                    <a:pt x="280" y="836"/>
                  </a:lnTo>
                  <a:lnTo>
                    <a:pt x="278" y="836"/>
                  </a:lnTo>
                  <a:lnTo>
                    <a:pt x="276" y="830"/>
                  </a:lnTo>
                  <a:lnTo>
                    <a:pt x="276" y="824"/>
                  </a:lnTo>
                  <a:lnTo>
                    <a:pt x="274" y="818"/>
                  </a:lnTo>
                  <a:lnTo>
                    <a:pt x="272" y="812"/>
                  </a:lnTo>
                  <a:lnTo>
                    <a:pt x="274" y="806"/>
                  </a:lnTo>
                  <a:lnTo>
                    <a:pt x="274" y="800"/>
                  </a:lnTo>
                  <a:lnTo>
                    <a:pt x="270" y="794"/>
                  </a:lnTo>
                  <a:lnTo>
                    <a:pt x="268" y="788"/>
                  </a:lnTo>
                  <a:lnTo>
                    <a:pt x="266" y="782"/>
                  </a:lnTo>
                  <a:lnTo>
                    <a:pt x="266" y="780"/>
                  </a:lnTo>
                  <a:lnTo>
                    <a:pt x="260" y="778"/>
                  </a:lnTo>
                  <a:lnTo>
                    <a:pt x="258" y="780"/>
                  </a:lnTo>
                  <a:lnTo>
                    <a:pt x="250" y="778"/>
                  </a:lnTo>
                  <a:lnTo>
                    <a:pt x="246" y="778"/>
                  </a:lnTo>
                  <a:lnTo>
                    <a:pt x="238" y="778"/>
                  </a:lnTo>
                  <a:lnTo>
                    <a:pt x="236" y="778"/>
                  </a:lnTo>
                  <a:lnTo>
                    <a:pt x="230" y="778"/>
                  </a:lnTo>
                  <a:lnTo>
                    <a:pt x="224" y="778"/>
                  </a:lnTo>
                  <a:lnTo>
                    <a:pt x="218" y="778"/>
                  </a:lnTo>
                  <a:lnTo>
                    <a:pt x="212" y="778"/>
                  </a:lnTo>
                  <a:lnTo>
                    <a:pt x="208" y="778"/>
                  </a:lnTo>
                  <a:lnTo>
                    <a:pt x="200" y="778"/>
                  </a:lnTo>
                  <a:lnTo>
                    <a:pt x="196" y="778"/>
                  </a:lnTo>
                  <a:lnTo>
                    <a:pt x="190" y="778"/>
                  </a:lnTo>
                  <a:lnTo>
                    <a:pt x="186" y="778"/>
                  </a:lnTo>
                  <a:lnTo>
                    <a:pt x="180" y="778"/>
                  </a:lnTo>
                  <a:lnTo>
                    <a:pt x="174" y="778"/>
                  </a:lnTo>
                  <a:lnTo>
                    <a:pt x="170" y="778"/>
                  </a:lnTo>
                  <a:lnTo>
                    <a:pt x="164" y="778"/>
                  </a:lnTo>
                  <a:lnTo>
                    <a:pt x="158" y="778"/>
                  </a:lnTo>
                  <a:lnTo>
                    <a:pt x="154" y="778"/>
                  </a:lnTo>
                  <a:lnTo>
                    <a:pt x="148" y="780"/>
                  </a:lnTo>
                  <a:lnTo>
                    <a:pt x="142" y="780"/>
                  </a:lnTo>
                  <a:lnTo>
                    <a:pt x="136" y="780"/>
                  </a:lnTo>
                  <a:lnTo>
                    <a:pt x="132" y="780"/>
                  </a:lnTo>
                  <a:lnTo>
                    <a:pt x="126" y="778"/>
                  </a:lnTo>
                  <a:lnTo>
                    <a:pt x="120" y="778"/>
                  </a:lnTo>
                  <a:lnTo>
                    <a:pt x="114" y="778"/>
                  </a:lnTo>
                  <a:lnTo>
                    <a:pt x="108" y="778"/>
                  </a:lnTo>
                  <a:lnTo>
                    <a:pt x="102" y="776"/>
                  </a:lnTo>
                  <a:lnTo>
                    <a:pt x="96" y="778"/>
                  </a:lnTo>
                  <a:lnTo>
                    <a:pt x="90" y="778"/>
                  </a:lnTo>
                  <a:lnTo>
                    <a:pt x="84" y="778"/>
                  </a:lnTo>
                  <a:lnTo>
                    <a:pt x="78" y="778"/>
                  </a:lnTo>
                  <a:lnTo>
                    <a:pt x="72" y="778"/>
                  </a:lnTo>
                  <a:lnTo>
                    <a:pt x="70" y="778"/>
                  </a:lnTo>
                  <a:lnTo>
                    <a:pt x="64" y="778"/>
                  </a:lnTo>
                  <a:lnTo>
                    <a:pt x="58" y="778"/>
                  </a:lnTo>
                  <a:lnTo>
                    <a:pt x="52" y="778"/>
                  </a:lnTo>
                  <a:lnTo>
                    <a:pt x="46" y="774"/>
                  </a:lnTo>
                  <a:lnTo>
                    <a:pt x="40" y="774"/>
                  </a:lnTo>
                  <a:lnTo>
                    <a:pt x="34" y="778"/>
                  </a:lnTo>
                  <a:lnTo>
                    <a:pt x="30" y="784"/>
                  </a:lnTo>
                  <a:lnTo>
                    <a:pt x="24" y="786"/>
                  </a:lnTo>
                  <a:lnTo>
                    <a:pt x="18" y="788"/>
                  </a:lnTo>
                  <a:lnTo>
                    <a:pt x="12" y="790"/>
                  </a:lnTo>
                  <a:lnTo>
                    <a:pt x="8" y="784"/>
                  </a:lnTo>
                  <a:lnTo>
                    <a:pt x="2" y="778"/>
                  </a:lnTo>
                  <a:lnTo>
                    <a:pt x="0" y="77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2" name="Freeform 209"/>
            <p:cNvSpPr>
              <a:spLocks/>
            </p:cNvSpPr>
            <p:nvPr/>
          </p:nvSpPr>
          <p:spPr bwMode="auto">
            <a:xfrm>
              <a:off x="5251450" y="3905250"/>
              <a:ext cx="254000" cy="388938"/>
            </a:xfrm>
            <a:custGeom>
              <a:avLst/>
              <a:gdLst>
                <a:gd name="T0" fmla="*/ 2147483647 w 626"/>
                <a:gd name="T1" fmla="*/ 2147483647 h 944"/>
                <a:gd name="T2" fmla="*/ 2147483647 w 626"/>
                <a:gd name="T3" fmla="*/ 2147483647 h 944"/>
                <a:gd name="T4" fmla="*/ 2147483647 w 626"/>
                <a:gd name="T5" fmla="*/ 2147483647 h 944"/>
                <a:gd name="T6" fmla="*/ 2147483647 w 626"/>
                <a:gd name="T7" fmla="*/ 2147483647 h 944"/>
                <a:gd name="T8" fmla="*/ 2147483647 w 626"/>
                <a:gd name="T9" fmla="*/ 2147483647 h 944"/>
                <a:gd name="T10" fmla="*/ 2147483647 w 626"/>
                <a:gd name="T11" fmla="*/ 2147483647 h 944"/>
                <a:gd name="T12" fmla="*/ 2147483647 w 626"/>
                <a:gd name="T13" fmla="*/ 2147483647 h 944"/>
                <a:gd name="T14" fmla="*/ 2147483647 w 626"/>
                <a:gd name="T15" fmla="*/ 2147483647 h 944"/>
                <a:gd name="T16" fmla="*/ 2147483647 w 626"/>
                <a:gd name="T17" fmla="*/ 2147483647 h 944"/>
                <a:gd name="T18" fmla="*/ 2147483647 w 626"/>
                <a:gd name="T19" fmla="*/ 2147483647 h 944"/>
                <a:gd name="T20" fmla="*/ 2147483647 w 626"/>
                <a:gd name="T21" fmla="*/ 2147483647 h 944"/>
                <a:gd name="T22" fmla="*/ 2147483647 w 626"/>
                <a:gd name="T23" fmla="*/ 2147483647 h 944"/>
                <a:gd name="T24" fmla="*/ 2147483647 w 626"/>
                <a:gd name="T25" fmla="*/ 2147483647 h 944"/>
                <a:gd name="T26" fmla="*/ 2147483647 w 626"/>
                <a:gd name="T27" fmla="*/ 2147483647 h 944"/>
                <a:gd name="T28" fmla="*/ 2147483647 w 626"/>
                <a:gd name="T29" fmla="*/ 2147483647 h 944"/>
                <a:gd name="T30" fmla="*/ 2147483647 w 626"/>
                <a:gd name="T31" fmla="*/ 2147483647 h 944"/>
                <a:gd name="T32" fmla="*/ 2147483647 w 626"/>
                <a:gd name="T33" fmla="*/ 2147483647 h 944"/>
                <a:gd name="T34" fmla="*/ 2147483647 w 626"/>
                <a:gd name="T35" fmla="*/ 2147483647 h 944"/>
                <a:gd name="T36" fmla="*/ 2147483647 w 626"/>
                <a:gd name="T37" fmla="*/ 2147483647 h 944"/>
                <a:gd name="T38" fmla="*/ 2147483647 w 626"/>
                <a:gd name="T39" fmla="*/ 2147483647 h 944"/>
                <a:gd name="T40" fmla="*/ 2147483647 w 626"/>
                <a:gd name="T41" fmla="*/ 2147483647 h 944"/>
                <a:gd name="T42" fmla="*/ 2147483647 w 626"/>
                <a:gd name="T43" fmla="*/ 2147483647 h 944"/>
                <a:gd name="T44" fmla="*/ 2147483647 w 626"/>
                <a:gd name="T45" fmla="*/ 2147483647 h 944"/>
                <a:gd name="T46" fmla="*/ 2147483647 w 626"/>
                <a:gd name="T47" fmla="*/ 2147483647 h 944"/>
                <a:gd name="T48" fmla="*/ 2147483647 w 626"/>
                <a:gd name="T49" fmla="*/ 2147483647 h 944"/>
                <a:gd name="T50" fmla="*/ 2147483647 w 626"/>
                <a:gd name="T51" fmla="*/ 2147483647 h 944"/>
                <a:gd name="T52" fmla="*/ 2147483647 w 626"/>
                <a:gd name="T53" fmla="*/ 2147483647 h 944"/>
                <a:gd name="T54" fmla="*/ 2147483647 w 626"/>
                <a:gd name="T55" fmla="*/ 2147483647 h 944"/>
                <a:gd name="T56" fmla="*/ 2147483647 w 626"/>
                <a:gd name="T57" fmla="*/ 2147483647 h 944"/>
                <a:gd name="T58" fmla="*/ 2147483647 w 626"/>
                <a:gd name="T59" fmla="*/ 2147483647 h 944"/>
                <a:gd name="T60" fmla="*/ 2147483647 w 626"/>
                <a:gd name="T61" fmla="*/ 2147483647 h 944"/>
                <a:gd name="T62" fmla="*/ 2147483647 w 626"/>
                <a:gd name="T63" fmla="*/ 2147483647 h 944"/>
                <a:gd name="T64" fmla="*/ 2147483647 w 626"/>
                <a:gd name="T65" fmla="*/ 2147483647 h 944"/>
                <a:gd name="T66" fmla="*/ 2147483647 w 626"/>
                <a:gd name="T67" fmla="*/ 2147483647 h 944"/>
                <a:gd name="T68" fmla="*/ 2147483647 w 626"/>
                <a:gd name="T69" fmla="*/ 2147483647 h 944"/>
                <a:gd name="T70" fmla="*/ 2147483647 w 626"/>
                <a:gd name="T71" fmla="*/ 2147483647 h 944"/>
                <a:gd name="T72" fmla="*/ 2147483647 w 626"/>
                <a:gd name="T73" fmla="*/ 2147483647 h 944"/>
                <a:gd name="T74" fmla="*/ 2147483647 w 626"/>
                <a:gd name="T75" fmla="*/ 2147483647 h 944"/>
                <a:gd name="T76" fmla="*/ 2147483647 w 626"/>
                <a:gd name="T77" fmla="*/ 2147483647 h 944"/>
                <a:gd name="T78" fmla="*/ 2147483647 w 626"/>
                <a:gd name="T79" fmla="*/ 2147483647 h 944"/>
                <a:gd name="T80" fmla="*/ 2147483647 w 626"/>
                <a:gd name="T81" fmla="*/ 2147483647 h 944"/>
                <a:gd name="T82" fmla="*/ 2147483647 w 626"/>
                <a:gd name="T83" fmla="*/ 2147483647 h 944"/>
                <a:gd name="T84" fmla="*/ 2147483647 w 626"/>
                <a:gd name="T85" fmla="*/ 2147483647 h 944"/>
                <a:gd name="T86" fmla="*/ 2147483647 w 626"/>
                <a:gd name="T87" fmla="*/ 2147483647 h 944"/>
                <a:gd name="T88" fmla="*/ 2147483647 w 626"/>
                <a:gd name="T89" fmla="*/ 2147483647 h 944"/>
                <a:gd name="T90" fmla="*/ 2147483647 w 626"/>
                <a:gd name="T91" fmla="*/ 2147483647 h 944"/>
                <a:gd name="T92" fmla="*/ 2147483647 w 626"/>
                <a:gd name="T93" fmla="*/ 2147483647 h 944"/>
                <a:gd name="T94" fmla="*/ 2147483647 w 626"/>
                <a:gd name="T95" fmla="*/ 2147483647 h 944"/>
                <a:gd name="T96" fmla="*/ 2147483647 w 626"/>
                <a:gd name="T97" fmla="*/ 2147483647 h 944"/>
                <a:gd name="T98" fmla="*/ 2147483647 w 626"/>
                <a:gd name="T99" fmla="*/ 2147483647 h 944"/>
                <a:gd name="T100" fmla="*/ 2147483647 w 626"/>
                <a:gd name="T101" fmla="*/ 2147483647 h 944"/>
                <a:gd name="T102" fmla="*/ 2147483647 w 626"/>
                <a:gd name="T103" fmla="*/ 2147483647 h 944"/>
                <a:gd name="T104" fmla="*/ 2147483647 w 626"/>
                <a:gd name="T105" fmla="*/ 2147483647 h 944"/>
                <a:gd name="T106" fmla="*/ 2147483647 w 626"/>
                <a:gd name="T107" fmla="*/ 2147483647 h 944"/>
                <a:gd name="T108" fmla="*/ 2147483647 w 626"/>
                <a:gd name="T109" fmla="*/ 2147483647 h 944"/>
                <a:gd name="T110" fmla="*/ 0 w 626"/>
                <a:gd name="T111" fmla="*/ 2147483647 h 944"/>
                <a:gd name="T112" fmla="*/ 0 w 626"/>
                <a:gd name="T113" fmla="*/ 2147483647 h 944"/>
                <a:gd name="T114" fmla="*/ 0 w 626"/>
                <a:gd name="T115" fmla="*/ 2147483647 h 944"/>
                <a:gd name="T116" fmla="*/ 0 w 626"/>
                <a:gd name="T117" fmla="*/ 2147483647 h 9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26"/>
                <a:gd name="T178" fmla="*/ 0 h 944"/>
                <a:gd name="T179" fmla="*/ 626 w 626"/>
                <a:gd name="T180" fmla="*/ 944 h 94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26" h="944">
                  <a:moveTo>
                    <a:pt x="0" y="668"/>
                  </a:moveTo>
                  <a:lnTo>
                    <a:pt x="0" y="666"/>
                  </a:lnTo>
                  <a:lnTo>
                    <a:pt x="0" y="660"/>
                  </a:lnTo>
                  <a:lnTo>
                    <a:pt x="0" y="650"/>
                  </a:lnTo>
                  <a:lnTo>
                    <a:pt x="0" y="640"/>
                  </a:lnTo>
                  <a:lnTo>
                    <a:pt x="2" y="630"/>
                  </a:lnTo>
                  <a:lnTo>
                    <a:pt x="8" y="624"/>
                  </a:lnTo>
                  <a:lnTo>
                    <a:pt x="14" y="616"/>
                  </a:lnTo>
                  <a:lnTo>
                    <a:pt x="20" y="610"/>
                  </a:lnTo>
                  <a:lnTo>
                    <a:pt x="24" y="602"/>
                  </a:lnTo>
                  <a:lnTo>
                    <a:pt x="28" y="596"/>
                  </a:lnTo>
                  <a:lnTo>
                    <a:pt x="32" y="590"/>
                  </a:lnTo>
                  <a:lnTo>
                    <a:pt x="38" y="582"/>
                  </a:lnTo>
                  <a:lnTo>
                    <a:pt x="42" y="576"/>
                  </a:lnTo>
                  <a:lnTo>
                    <a:pt x="46" y="568"/>
                  </a:lnTo>
                  <a:lnTo>
                    <a:pt x="50" y="562"/>
                  </a:lnTo>
                  <a:lnTo>
                    <a:pt x="54" y="556"/>
                  </a:lnTo>
                  <a:lnTo>
                    <a:pt x="56" y="552"/>
                  </a:lnTo>
                  <a:lnTo>
                    <a:pt x="58" y="546"/>
                  </a:lnTo>
                  <a:lnTo>
                    <a:pt x="64" y="542"/>
                  </a:lnTo>
                  <a:lnTo>
                    <a:pt x="66" y="538"/>
                  </a:lnTo>
                  <a:lnTo>
                    <a:pt x="72" y="536"/>
                  </a:lnTo>
                  <a:lnTo>
                    <a:pt x="78" y="536"/>
                  </a:lnTo>
                  <a:lnTo>
                    <a:pt x="84" y="536"/>
                  </a:lnTo>
                  <a:lnTo>
                    <a:pt x="90" y="536"/>
                  </a:lnTo>
                  <a:lnTo>
                    <a:pt x="96" y="534"/>
                  </a:lnTo>
                  <a:lnTo>
                    <a:pt x="102" y="532"/>
                  </a:lnTo>
                  <a:lnTo>
                    <a:pt x="106" y="532"/>
                  </a:lnTo>
                  <a:lnTo>
                    <a:pt x="112" y="530"/>
                  </a:lnTo>
                  <a:lnTo>
                    <a:pt x="118" y="524"/>
                  </a:lnTo>
                  <a:lnTo>
                    <a:pt x="118" y="518"/>
                  </a:lnTo>
                  <a:lnTo>
                    <a:pt x="122" y="514"/>
                  </a:lnTo>
                  <a:lnTo>
                    <a:pt x="128" y="508"/>
                  </a:lnTo>
                  <a:lnTo>
                    <a:pt x="134" y="502"/>
                  </a:lnTo>
                  <a:lnTo>
                    <a:pt x="140" y="500"/>
                  </a:lnTo>
                  <a:lnTo>
                    <a:pt x="146" y="496"/>
                  </a:lnTo>
                  <a:lnTo>
                    <a:pt x="152" y="494"/>
                  </a:lnTo>
                  <a:lnTo>
                    <a:pt x="158" y="492"/>
                  </a:lnTo>
                  <a:lnTo>
                    <a:pt x="164" y="490"/>
                  </a:lnTo>
                  <a:lnTo>
                    <a:pt x="170" y="488"/>
                  </a:lnTo>
                  <a:lnTo>
                    <a:pt x="176" y="488"/>
                  </a:lnTo>
                  <a:lnTo>
                    <a:pt x="182" y="484"/>
                  </a:lnTo>
                  <a:lnTo>
                    <a:pt x="188" y="484"/>
                  </a:lnTo>
                  <a:lnTo>
                    <a:pt x="194" y="486"/>
                  </a:lnTo>
                  <a:lnTo>
                    <a:pt x="200" y="486"/>
                  </a:lnTo>
                  <a:lnTo>
                    <a:pt x="208" y="486"/>
                  </a:lnTo>
                  <a:lnTo>
                    <a:pt x="214" y="486"/>
                  </a:lnTo>
                  <a:lnTo>
                    <a:pt x="220" y="488"/>
                  </a:lnTo>
                  <a:lnTo>
                    <a:pt x="228" y="488"/>
                  </a:lnTo>
                  <a:lnTo>
                    <a:pt x="234" y="488"/>
                  </a:lnTo>
                  <a:lnTo>
                    <a:pt x="240" y="488"/>
                  </a:lnTo>
                  <a:lnTo>
                    <a:pt x="244" y="484"/>
                  </a:lnTo>
                  <a:lnTo>
                    <a:pt x="246" y="482"/>
                  </a:lnTo>
                  <a:lnTo>
                    <a:pt x="250" y="474"/>
                  </a:lnTo>
                  <a:lnTo>
                    <a:pt x="252" y="474"/>
                  </a:lnTo>
                  <a:lnTo>
                    <a:pt x="256" y="468"/>
                  </a:lnTo>
                  <a:lnTo>
                    <a:pt x="262" y="462"/>
                  </a:lnTo>
                  <a:lnTo>
                    <a:pt x="266" y="456"/>
                  </a:lnTo>
                  <a:lnTo>
                    <a:pt x="272" y="448"/>
                  </a:lnTo>
                  <a:lnTo>
                    <a:pt x="278" y="442"/>
                  </a:lnTo>
                  <a:lnTo>
                    <a:pt x="282" y="436"/>
                  </a:lnTo>
                  <a:lnTo>
                    <a:pt x="288" y="428"/>
                  </a:lnTo>
                  <a:lnTo>
                    <a:pt x="294" y="422"/>
                  </a:lnTo>
                  <a:lnTo>
                    <a:pt x="298" y="416"/>
                  </a:lnTo>
                  <a:lnTo>
                    <a:pt x="304" y="408"/>
                  </a:lnTo>
                  <a:lnTo>
                    <a:pt x="310" y="402"/>
                  </a:lnTo>
                  <a:lnTo>
                    <a:pt x="312" y="400"/>
                  </a:lnTo>
                  <a:lnTo>
                    <a:pt x="312" y="398"/>
                  </a:lnTo>
                  <a:lnTo>
                    <a:pt x="318" y="392"/>
                  </a:lnTo>
                  <a:lnTo>
                    <a:pt x="324" y="386"/>
                  </a:lnTo>
                  <a:lnTo>
                    <a:pt x="330" y="378"/>
                  </a:lnTo>
                  <a:lnTo>
                    <a:pt x="334" y="372"/>
                  </a:lnTo>
                  <a:lnTo>
                    <a:pt x="340" y="364"/>
                  </a:lnTo>
                  <a:lnTo>
                    <a:pt x="346" y="358"/>
                  </a:lnTo>
                  <a:lnTo>
                    <a:pt x="352" y="352"/>
                  </a:lnTo>
                  <a:lnTo>
                    <a:pt x="358" y="344"/>
                  </a:lnTo>
                  <a:lnTo>
                    <a:pt x="362" y="340"/>
                  </a:lnTo>
                  <a:lnTo>
                    <a:pt x="368" y="332"/>
                  </a:lnTo>
                  <a:lnTo>
                    <a:pt x="374" y="326"/>
                  </a:lnTo>
                  <a:lnTo>
                    <a:pt x="380" y="318"/>
                  </a:lnTo>
                  <a:lnTo>
                    <a:pt x="386" y="312"/>
                  </a:lnTo>
                  <a:lnTo>
                    <a:pt x="392" y="306"/>
                  </a:lnTo>
                  <a:lnTo>
                    <a:pt x="398" y="300"/>
                  </a:lnTo>
                  <a:lnTo>
                    <a:pt x="404" y="294"/>
                  </a:lnTo>
                  <a:lnTo>
                    <a:pt x="410" y="288"/>
                  </a:lnTo>
                  <a:lnTo>
                    <a:pt x="410" y="286"/>
                  </a:lnTo>
                  <a:lnTo>
                    <a:pt x="416" y="280"/>
                  </a:lnTo>
                  <a:lnTo>
                    <a:pt x="422" y="274"/>
                  </a:lnTo>
                  <a:lnTo>
                    <a:pt x="392" y="274"/>
                  </a:lnTo>
                  <a:lnTo>
                    <a:pt x="362" y="274"/>
                  </a:lnTo>
                  <a:lnTo>
                    <a:pt x="360" y="274"/>
                  </a:lnTo>
                  <a:lnTo>
                    <a:pt x="358" y="272"/>
                  </a:lnTo>
                  <a:lnTo>
                    <a:pt x="352" y="270"/>
                  </a:lnTo>
                  <a:lnTo>
                    <a:pt x="346" y="268"/>
                  </a:lnTo>
                  <a:lnTo>
                    <a:pt x="338" y="266"/>
                  </a:lnTo>
                  <a:lnTo>
                    <a:pt x="332" y="264"/>
                  </a:lnTo>
                  <a:lnTo>
                    <a:pt x="326" y="260"/>
                  </a:lnTo>
                  <a:lnTo>
                    <a:pt x="320" y="258"/>
                  </a:lnTo>
                  <a:lnTo>
                    <a:pt x="314" y="256"/>
                  </a:lnTo>
                  <a:lnTo>
                    <a:pt x="308" y="254"/>
                  </a:lnTo>
                  <a:lnTo>
                    <a:pt x="302" y="250"/>
                  </a:lnTo>
                  <a:lnTo>
                    <a:pt x="296" y="248"/>
                  </a:lnTo>
                  <a:lnTo>
                    <a:pt x="288" y="246"/>
                  </a:lnTo>
                  <a:lnTo>
                    <a:pt x="282" y="244"/>
                  </a:lnTo>
                  <a:lnTo>
                    <a:pt x="276" y="242"/>
                  </a:lnTo>
                  <a:lnTo>
                    <a:pt x="270" y="238"/>
                  </a:lnTo>
                  <a:lnTo>
                    <a:pt x="264" y="236"/>
                  </a:lnTo>
                  <a:lnTo>
                    <a:pt x="258" y="234"/>
                  </a:lnTo>
                  <a:lnTo>
                    <a:pt x="252" y="232"/>
                  </a:lnTo>
                  <a:lnTo>
                    <a:pt x="246" y="230"/>
                  </a:lnTo>
                  <a:lnTo>
                    <a:pt x="238" y="226"/>
                  </a:lnTo>
                  <a:lnTo>
                    <a:pt x="232" y="224"/>
                  </a:lnTo>
                  <a:lnTo>
                    <a:pt x="226" y="222"/>
                  </a:lnTo>
                  <a:lnTo>
                    <a:pt x="220" y="220"/>
                  </a:lnTo>
                  <a:lnTo>
                    <a:pt x="216" y="218"/>
                  </a:lnTo>
                  <a:lnTo>
                    <a:pt x="210" y="216"/>
                  </a:lnTo>
                  <a:lnTo>
                    <a:pt x="204" y="214"/>
                  </a:lnTo>
                  <a:lnTo>
                    <a:pt x="198" y="212"/>
                  </a:lnTo>
                  <a:lnTo>
                    <a:pt x="192" y="210"/>
                  </a:lnTo>
                  <a:lnTo>
                    <a:pt x="186" y="208"/>
                  </a:lnTo>
                  <a:lnTo>
                    <a:pt x="178" y="204"/>
                  </a:lnTo>
                  <a:lnTo>
                    <a:pt x="172" y="200"/>
                  </a:lnTo>
                  <a:lnTo>
                    <a:pt x="166" y="192"/>
                  </a:lnTo>
                  <a:lnTo>
                    <a:pt x="160" y="186"/>
                  </a:lnTo>
                  <a:lnTo>
                    <a:pt x="154" y="180"/>
                  </a:lnTo>
                  <a:lnTo>
                    <a:pt x="148" y="180"/>
                  </a:lnTo>
                  <a:lnTo>
                    <a:pt x="142" y="176"/>
                  </a:lnTo>
                  <a:lnTo>
                    <a:pt x="140" y="170"/>
                  </a:lnTo>
                  <a:lnTo>
                    <a:pt x="136" y="164"/>
                  </a:lnTo>
                  <a:lnTo>
                    <a:pt x="136" y="162"/>
                  </a:lnTo>
                  <a:lnTo>
                    <a:pt x="132" y="156"/>
                  </a:lnTo>
                  <a:lnTo>
                    <a:pt x="130" y="150"/>
                  </a:lnTo>
                  <a:lnTo>
                    <a:pt x="128" y="144"/>
                  </a:lnTo>
                  <a:lnTo>
                    <a:pt x="122" y="142"/>
                  </a:lnTo>
                  <a:lnTo>
                    <a:pt x="118" y="136"/>
                  </a:lnTo>
                  <a:lnTo>
                    <a:pt x="114" y="130"/>
                  </a:lnTo>
                  <a:lnTo>
                    <a:pt x="110" y="124"/>
                  </a:lnTo>
                  <a:lnTo>
                    <a:pt x="104" y="120"/>
                  </a:lnTo>
                  <a:lnTo>
                    <a:pt x="102" y="114"/>
                  </a:lnTo>
                  <a:lnTo>
                    <a:pt x="102" y="108"/>
                  </a:lnTo>
                  <a:lnTo>
                    <a:pt x="98" y="102"/>
                  </a:lnTo>
                  <a:lnTo>
                    <a:pt x="94" y="96"/>
                  </a:lnTo>
                  <a:lnTo>
                    <a:pt x="94" y="94"/>
                  </a:lnTo>
                  <a:lnTo>
                    <a:pt x="98" y="88"/>
                  </a:lnTo>
                  <a:lnTo>
                    <a:pt x="98" y="82"/>
                  </a:lnTo>
                  <a:lnTo>
                    <a:pt x="102" y="76"/>
                  </a:lnTo>
                  <a:lnTo>
                    <a:pt x="108" y="72"/>
                  </a:lnTo>
                  <a:lnTo>
                    <a:pt x="110" y="66"/>
                  </a:lnTo>
                  <a:lnTo>
                    <a:pt x="112" y="60"/>
                  </a:lnTo>
                  <a:lnTo>
                    <a:pt x="116" y="54"/>
                  </a:lnTo>
                  <a:lnTo>
                    <a:pt x="118" y="48"/>
                  </a:lnTo>
                  <a:lnTo>
                    <a:pt x="122" y="42"/>
                  </a:lnTo>
                  <a:lnTo>
                    <a:pt x="124" y="38"/>
                  </a:lnTo>
                  <a:lnTo>
                    <a:pt x="126" y="34"/>
                  </a:lnTo>
                  <a:lnTo>
                    <a:pt x="128" y="34"/>
                  </a:lnTo>
                  <a:lnTo>
                    <a:pt x="132" y="38"/>
                  </a:lnTo>
                  <a:lnTo>
                    <a:pt x="140" y="42"/>
                  </a:lnTo>
                  <a:lnTo>
                    <a:pt x="142" y="44"/>
                  </a:lnTo>
                  <a:lnTo>
                    <a:pt x="142" y="52"/>
                  </a:lnTo>
                  <a:lnTo>
                    <a:pt x="148" y="58"/>
                  </a:lnTo>
                  <a:lnTo>
                    <a:pt x="150" y="64"/>
                  </a:lnTo>
                  <a:lnTo>
                    <a:pt x="152" y="66"/>
                  </a:lnTo>
                  <a:lnTo>
                    <a:pt x="156" y="72"/>
                  </a:lnTo>
                  <a:lnTo>
                    <a:pt x="162" y="76"/>
                  </a:lnTo>
                  <a:lnTo>
                    <a:pt x="166" y="84"/>
                  </a:lnTo>
                  <a:lnTo>
                    <a:pt x="174" y="90"/>
                  </a:lnTo>
                  <a:lnTo>
                    <a:pt x="180" y="94"/>
                  </a:lnTo>
                  <a:lnTo>
                    <a:pt x="182" y="96"/>
                  </a:lnTo>
                  <a:lnTo>
                    <a:pt x="188" y="100"/>
                  </a:lnTo>
                  <a:lnTo>
                    <a:pt x="190" y="102"/>
                  </a:lnTo>
                  <a:lnTo>
                    <a:pt x="196" y="106"/>
                  </a:lnTo>
                  <a:lnTo>
                    <a:pt x="202" y="106"/>
                  </a:lnTo>
                  <a:lnTo>
                    <a:pt x="208" y="106"/>
                  </a:lnTo>
                  <a:lnTo>
                    <a:pt x="212" y="106"/>
                  </a:lnTo>
                  <a:lnTo>
                    <a:pt x="218" y="104"/>
                  </a:lnTo>
                  <a:lnTo>
                    <a:pt x="224" y="104"/>
                  </a:lnTo>
                  <a:lnTo>
                    <a:pt x="230" y="106"/>
                  </a:lnTo>
                  <a:lnTo>
                    <a:pt x="236" y="104"/>
                  </a:lnTo>
                  <a:lnTo>
                    <a:pt x="240" y="100"/>
                  </a:lnTo>
                  <a:lnTo>
                    <a:pt x="246" y="98"/>
                  </a:lnTo>
                  <a:lnTo>
                    <a:pt x="252" y="92"/>
                  </a:lnTo>
                  <a:lnTo>
                    <a:pt x="258" y="90"/>
                  </a:lnTo>
                  <a:lnTo>
                    <a:pt x="264" y="88"/>
                  </a:lnTo>
                  <a:lnTo>
                    <a:pt x="270" y="82"/>
                  </a:lnTo>
                  <a:lnTo>
                    <a:pt x="276" y="80"/>
                  </a:lnTo>
                  <a:lnTo>
                    <a:pt x="282" y="76"/>
                  </a:lnTo>
                  <a:lnTo>
                    <a:pt x="288" y="78"/>
                  </a:lnTo>
                  <a:lnTo>
                    <a:pt x="294" y="82"/>
                  </a:lnTo>
                  <a:lnTo>
                    <a:pt x="302" y="82"/>
                  </a:lnTo>
                  <a:lnTo>
                    <a:pt x="308" y="82"/>
                  </a:lnTo>
                  <a:lnTo>
                    <a:pt x="314" y="84"/>
                  </a:lnTo>
                  <a:lnTo>
                    <a:pt x="320" y="88"/>
                  </a:lnTo>
                  <a:lnTo>
                    <a:pt x="326" y="86"/>
                  </a:lnTo>
                  <a:lnTo>
                    <a:pt x="332" y="84"/>
                  </a:lnTo>
                  <a:lnTo>
                    <a:pt x="338" y="82"/>
                  </a:lnTo>
                  <a:lnTo>
                    <a:pt x="344" y="78"/>
                  </a:lnTo>
                  <a:lnTo>
                    <a:pt x="350" y="74"/>
                  </a:lnTo>
                  <a:lnTo>
                    <a:pt x="356" y="70"/>
                  </a:lnTo>
                  <a:lnTo>
                    <a:pt x="362" y="68"/>
                  </a:lnTo>
                  <a:lnTo>
                    <a:pt x="366" y="60"/>
                  </a:lnTo>
                  <a:lnTo>
                    <a:pt x="372" y="58"/>
                  </a:lnTo>
                  <a:lnTo>
                    <a:pt x="378" y="54"/>
                  </a:lnTo>
                  <a:lnTo>
                    <a:pt x="386" y="54"/>
                  </a:lnTo>
                  <a:lnTo>
                    <a:pt x="392" y="56"/>
                  </a:lnTo>
                  <a:lnTo>
                    <a:pt x="398" y="60"/>
                  </a:lnTo>
                  <a:lnTo>
                    <a:pt x="402" y="58"/>
                  </a:lnTo>
                  <a:lnTo>
                    <a:pt x="410" y="58"/>
                  </a:lnTo>
                  <a:lnTo>
                    <a:pt x="416" y="58"/>
                  </a:lnTo>
                  <a:lnTo>
                    <a:pt x="422" y="56"/>
                  </a:lnTo>
                  <a:lnTo>
                    <a:pt x="428" y="54"/>
                  </a:lnTo>
                  <a:lnTo>
                    <a:pt x="434" y="52"/>
                  </a:lnTo>
                  <a:lnTo>
                    <a:pt x="440" y="46"/>
                  </a:lnTo>
                  <a:lnTo>
                    <a:pt x="446" y="46"/>
                  </a:lnTo>
                  <a:lnTo>
                    <a:pt x="452" y="44"/>
                  </a:lnTo>
                  <a:lnTo>
                    <a:pt x="458" y="44"/>
                  </a:lnTo>
                  <a:lnTo>
                    <a:pt x="464" y="46"/>
                  </a:lnTo>
                  <a:lnTo>
                    <a:pt x="470" y="50"/>
                  </a:lnTo>
                  <a:lnTo>
                    <a:pt x="472" y="50"/>
                  </a:lnTo>
                  <a:lnTo>
                    <a:pt x="478" y="48"/>
                  </a:lnTo>
                  <a:lnTo>
                    <a:pt x="484" y="48"/>
                  </a:lnTo>
                  <a:lnTo>
                    <a:pt x="492" y="46"/>
                  </a:lnTo>
                  <a:lnTo>
                    <a:pt x="496" y="44"/>
                  </a:lnTo>
                  <a:lnTo>
                    <a:pt x="502" y="42"/>
                  </a:lnTo>
                  <a:lnTo>
                    <a:pt x="508" y="40"/>
                  </a:lnTo>
                  <a:lnTo>
                    <a:pt x="514" y="34"/>
                  </a:lnTo>
                  <a:lnTo>
                    <a:pt x="520" y="34"/>
                  </a:lnTo>
                  <a:lnTo>
                    <a:pt x="526" y="34"/>
                  </a:lnTo>
                  <a:lnTo>
                    <a:pt x="532" y="32"/>
                  </a:lnTo>
                  <a:lnTo>
                    <a:pt x="538" y="32"/>
                  </a:lnTo>
                  <a:lnTo>
                    <a:pt x="542" y="30"/>
                  </a:lnTo>
                  <a:lnTo>
                    <a:pt x="548" y="28"/>
                  </a:lnTo>
                  <a:lnTo>
                    <a:pt x="554" y="26"/>
                  </a:lnTo>
                  <a:lnTo>
                    <a:pt x="560" y="20"/>
                  </a:lnTo>
                  <a:lnTo>
                    <a:pt x="566" y="16"/>
                  </a:lnTo>
                  <a:lnTo>
                    <a:pt x="568" y="10"/>
                  </a:lnTo>
                  <a:lnTo>
                    <a:pt x="570" y="4"/>
                  </a:lnTo>
                  <a:lnTo>
                    <a:pt x="576" y="0"/>
                  </a:lnTo>
                  <a:lnTo>
                    <a:pt x="582" y="0"/>
                  </a:lnTo>
                  <a:lnTo>
                    <a:pt x="588" y="0"/>
                  </a:lnTo>
                  <a:lnTo>
                    <a:pt x="592" y="2"/>
                  </a:lnTo>
                  <a:lnTo>
                    <a:pt x="598" y="4"/>
                  </a:lnTo>
                  <a:lnTo>
                    <a:pt x="604" y="6"/>
                  </a:lnTo>
                  <a:lnTo>
                    <a:pt x="610" y="8"/>
                  </a:lnTo>
                  <a:lnTo>
                    <a:pt x="612" y="14"/>
                  </a:lnTo>
                  <a:lnTo>
                    <a:pt x="612" y="20"/>
                  </a:lnTo>
                  <a:lnTo>
                    <a:pt x="608" y="26"/>
                  </a:lnTo>
                  <a:lnTo>
                    <a:pt x="606" y="32"/>
                  </a:lnTo>
                  <a:lnTo>
                    <a:pt x="606" y="38"/>
                  </a:lnTo>
                  <a:lnTo>
                    <a:pt x="604" y="42"/>
                  </a:lnTo>
                  <a:lnTo>
                    <a:pt x="604" y="48"/>
                  </a:lnTo>
                  <a:lnTo>
                    <a:pt x="606" y="54"/>
                  </a:lnTo>
                  <a:lnTo>
                    <a:pt x="608" y="60"/>
                  </a:lnTo>
                  <a:lnTo>
                    <a:pt x="606" y="66"/>
                  </a:lnTo>
                  <a:lnTo>
                    <a:pt x="606" y="70"/>
                  </a:lnTo>
                  <a:lnTo>
                    <a:pt x="606" y="76"/>
                  </a:lnTo>
                  <a:lnTo>
                    <a:pt x="608" y="82"/>
                  </a:lnTo>
                  <a:lnTo>
                    <a:pt x="608" y="88"/>
                  </a:lnTo>
                  <a:lnTo>
                    <a:pt x="610" y="94"/>
                  </a:lnTo>
                  <a:lnTo>
                    <a:pt x="606" y="100"/>
                  </a:lnTo>
                  <a:lnTo>
                    <a:pt x="602" y="106"/>
                  </a:lnTo>
                  <a:lnTo>
                    <a:pt x="608" y="106"/>
                  </a:lnTo>
                  <a:lnTo>
                    <a:pt x="614" y="104"/>
                  </a:lnTo>
                  <a:lnTo>
                    <a:pt x="614" y="98"/>
                  </a:lnTo>
                  <a:lnTo>
                    <a:pt x="620" y="102"/>
                  </a:lnTo>
                  <a:lnTo>
                    <a:pt x="626" y="104"/>
                  </a:lnTo>
                  <a:lnTo>
                    <a:pt x="622" y="110"/>
                  </a:lnTo>
                  <a:lnTo>
                    <a:pt x="616" y="106"/>
                  </a:lnTo>
                  <a:lnTo>
                    <a:pt x="610" y="106"/>
                  </a:lnTo>
                  <a:lnTo>
                    <a:pt x="606" y="108"/>
                  </a:lnTo>
                  <a:lnTo>
                    <a:pt x="600" y="110"/>
                  </a:lnTo>
                  <a:lnTo>
                    <a:pt x="596" y="112"/>
                  </a:lnTo>
                  <a:lnTo>
                    <a:pt x="594" y="118"/>
                  </a:lnTo>
                  <a:lnTo>
                    <a:pt x="594" y="124"/>
                  </a:lnTo>
                  <a:lnTo>
                    <a:pt x="594" y="130"/>
                  </a:lnTo>
                  <a:lnTo>
                    <a:pt x="596" y="136"/>
                  </a:lnTo>
                  <a:lnTo>
                    <a:pt x="594" y="140"/>
                  </a:lnTo>
                  <a:lnTo>
                    <a:pt x="594" y="146"/>
                  </a:lnTo>
                  <a:lnTo>
                    <a:pt x="592" y="152"/>
                  </a:lnTo>
                  <a:lnTo>
                    <a:pt x="592" y="158"/>
                  </a:lnTo>
                  <a:lnTo>
                    <a:pt x="590" y="164"/>
                  </a:lnTo>
                  <a:lnTo>
                    <a:pt x="590" y="166"/>
                  </a:lnTo>
                  <a:lnTo>
                    <a:pt x="592" y="172"/>
                  </a:lnTo>
                  <a:lnTo>
                    <a:pt x="592" y="178"/>
                  </a:lnTo>
                  <a:lnTo>
                    <a:pt x="588" y="184"/>
                  </a:lnTo>
                  <a:lnTo>
                    <a:pt x="582" y="188"/>
                  </a:lnTo>
                  <a:lnTo>
                    <a:pt x="582" y="194"/>
                  </a:lnTo>
                  <a:lnTo>
                    <a:pt x="582" y="200"/>
                  </a:lnTo>
                  <a:lnTo>
                    <a:pt x="576" y="206"/>
                  </a:lnTo>
                  <a:lnTo>
                    <a:pt x="570" y="212"/>
                  </a:lnTo>
                  <a:lnTo>
                    <a:pt x="568" y="216"/>
                  </a:lnTo>
                  <a:lnTo>
                    <a:pt x="568" y="220"/>
                  </a:lnTo>
                  <a:lnTo>
                    <a:pt x="564" y="228"/>
                  </a:lnTo>
                  <a:lnTo>
                    <a:pt x="564" y="234"/>
                  </a:lnTo>
                  <a:lnTo>
                    <a:pt x="562" y="238"/>
                  </a:lnTo>
                  <a:lnTo>
                    <a:pt x="558" y="244"/>
                  </a:lnTo>
                  <a:lnTo>
                    <a:pt x="554" y="250"/>
                  </a:lnTo>
                  <a:lnTo>
                    <a:pt x="552" y="254"/>
                  </a:lnTo>
                  <a:lnTo>
                    <a:pt x="552" y="258"/>
                  </a:lnTo>
                  <a:lnTo>
                    <a:pt x="548" y="266"/>
                  </a:lnTo>
                  <a:lnTo>
                    <a:pt x="544" y="268"/>
                  </a:lnTo>
                  <a:lnTo>
                    <a:pt x="538" y="272"/>
                  </a:lnTo>
                  <a:lnTo>
                    <a:pt x="534" y="278"/>
                  </a:lnTo>
                  <a:lnTo>
                    <a:pt x="532" y="284"/>
                  </a:lnTo>
                  <a:lnTo>
                    <a:pt x="532" y="286"/>
                  </a:lnTo>
                  <a:lnTo>
                    <a:pt x="534" y="292"/>
                  </a:lnTo>
                  <a:lnTo>
                    <a:pt x="530" y="298"/>
                  </a:lnTo>
                  <a:lnTo>
                    <a:pt x="530" y="304"/>
                  </a:lnTo>
                  <a:lnTo>
                    <a:pt x="526" y="310"/>
                  </a:lnTo>
                  <a:lnTo>
                    <a:pt x="524" y="314"/>
                  </a:lnTo>
                  <a:lnTo>
                    <a:pt x="522" y="316"/>
                  </a:lnTo>
                  <a:lnTo>
                    <a:pt x="520" y="322"/>
                  </a:lnTo>
                  <a:lnTo>
                    <a:pt x="516" y="328"/>
                  </a:lnTo>
                  <a:lnTo>
                    <a:pt x="512" y="334"/>
                  </a:lnTo>
                  <a:lnTo>
                    <a:pt x="508" y="340"/>
                  </a:lnTo>
                  <a:lnTo>
                    <a:pt x="504" y="346"/>
                  </a:lnTo>
                  <a:lnTo>
                    <a:pt x="502" y="352"/>
                  </a:lnTo>
                  <a:lnTo>
                    <a:pt x="500" y="358"/>
                  </a:lnTo>
                  <a:lnTo>
                    <a:pt x="498" y="364"/>
                  </a:lnTo>
                  <a:lnTo>
                    <a:pt x="496" y="370"/>
                  </a:lnTo>
                  <a:lnTo>
                    <a:pt x="494" y="376"/>
                  </a:lnTo>
                  <a:lnTo>
                    <a:pt x="492" y="382"/>
                  </a:lnTo>
                  <a:lnTo>
                    <a:pt x="490" y="386"/>
                  </a:lnTo>
                  <a:lnTo>
                    <a:pt x="492" y="394"/>
                  </a:lnTo>
                  <a:lnTo>
                    <a:pt x="490" y="398"/>
                  </a:lnTo>
                  <a:lnTo>
                    <a:pt x="488" y="406"/>
                  </a:lnTo>
                  <a:lnTo>
                    <a:pt x="484" y="412"/>
                  </a:lnTo>
                  <a:lnTo>
                    <a:pt x="482" y="416"/>
                  </a:lnTo>
                  <a:lnTo>
                    <a:pt x="478" y="422"/>
                  </a:lnTo>
                  <a:lnTo>
                    <a:pt x="476" y="428"/>
                  </a:lnTo>
                  <a:lnTo>
                    <a:pt x="472" y="434"/>
                  </a:lnTo>
                  <a:lnTo>
                    <a:pt x="468" y="440"/>
                  </a:lnTo>
                  <a:lnTo>
                    <a:pt x="466" y="446"/>
                  </a:lnTo>
                  <a:lnTo>
                    <a:pt x="462" y="452"/>
                  </a:lnTo>
                  <a:lnTo>
                    <a:pt x="458" y="458"/>
                  </a:lnTo>
                  <a:lnTo>
                    <a:pt x="454" y="464"/>
                  </a:lnTo>
                  <a:lnTo>
                    <a:pt x="450" y="470"/>
                  </a:lnTo>
                  <a:lnTo>
                    <a:pt x="446" y="476"/>
                  </a:lnTo>
                  <a:lnTo>
                    <a:pt x="442" y="482"/>
                  </a:lnTo>
                  <a:lnTo>
                    <a:pt x="442" y="484"/>
                  </a:lnTo>
                  <a:lnTo>
                    <a:pt x="438" y="490"/>
                  </a:lnTo>
                  <a:lnTo>
                    <a:pt x="436" y="496"/>
                  </a:lnTo>
                  <a:lnTo>
                    <a:pt x="432" y="502"/>
                  </a:lnTo>
                  <a:lnTo>
                    <a:pt x="430" y="508"/>
                  </a:lnTo>
                  <a:lnTo>
                    <a:pt x="428" y="514"/>
                  </a:lnTo>
                  <a:lnTo>
                    <a:pt x="424" y="520"/>
                  </a:lnTo>
                  <a:lnTo>
                    <a:pt x="420" y="524"/>
                  </a:lnTo>
                  <a:lnTo>
                    <a:pt x="416" y="530"/>
                  </a:lnTo>
                  <a:lnTo>
                    <a:pt x="410" y="536"/>
                  </a:lnTo>
                  <a:lnTo>
                    <a:pt x="406" y="542"/>
                  </a:lnTo>
                  <a:lnTo>
                    <a:pt x="402" y="548"/>
                  </a:lnTo>
                  <a:lnTo>
                    <a:pt x="398" y="554"/>
                  </a:lnTo>
                  <a:lnTo>
                    <a:pt x="394" y="560"/>
                  </a:lnTo>
                  <a:lnTo>
                    <a:pt x="388" y="564"/>
                  </a:lnTo>
                  <a:lnTo>
                    <a:pt x="382" y="570"/>
                  </a:lnTo>
                  <a:lnTo>
                    <a:pt x="378" y="576"/>
                  </a:lnTo>
                  <a:lnTo>
                    <a:pt x="374" y="582"/>
                  </a:lnTo>
                  <a:lnTo>
                    <a:pt x="370" y="586"/>
                  </a:lnTo>
                  <a:lnTo>
                    <a:pt x="366" y="592"/>
                  </a:lnTo>
                  <a:lnTo>
                    <a:pt x="362" y="598"/>
                  </a:lnTo>
                  <a:lnTo>
                    <a:pt x="358" y="604"/>
                  </a:lnTo>
                  <a:lnTo>
                    <a:pt x="352" y="610"/>
                  </a:lnTo>
                  <a:lnTo>
                    <a:pt x="348" y="616"/>
                  </a:lnTo>
                  <a:lnTo>
                    <a:pt x="342" y="622"/>
                  </a:lnTo>
                  <a:lnTo>
                    <a:pt x="336" y="626"/>
                  </a:lnTo>
                  <a:lnTo>
                    <a:pt x="330" y="632"/>
                  </a:lnTo>
                  <a:lnTo>
                    <a:pt x="326" y="638"/>
                  </a:lnTo>
                  <a:lnTo>
                    <a:pt x="320" y="644"/>
                  </a:lnTo>
                  <a:lnTo>
                    <a:pt x="314" y="650"/>
                  </a:lnTo>
                  <a:lnTo>
                    <a:pt x="310" y="656"/>
                  </a:lnTo>
                  <a:lnTo>
                    <a:pt x="306" y="662"/>
                  </a:lnTo>
                  <a:lnTo>
                    <a:pt x="298" y="666"/>
                  </a:lnTo>
                  <a:lnTo>
                    <a:pt x="292" y="670"/>
                  </a:lnTo>
                  <a:lnTo>
                    <a:pt x="288" y="674"/>
                  </a:lnTo>
                  <a:lnTo>
                    <a:pt x="282" y="678"/>
                  </a:lnTo>
                  <a:lnTo>
                    <a:pt x="278" y="680"/>
                  </a:lnTo>
                  <a:lnTo>
                    <a:pt x="272" y="684"/>
                  </a:lnTo>
                  <a:lnTo>
                    <a:pt x="266" y="688"/>
                  </a:lnTo>
                  <a:lnTo>
                    <a:pt x="260" y="692"/>
                  </a:lnTo>
                  <a:lnTo>
                    <a:pt x="254" y="696"/>
                  </a:lnTo>
                  <a:lnTo>
                    <a:pt x="252" y="696"/>
                  </a:lnTo>
                  <a:lnTo>
                    <a:pt x="246" y="700"/>
                  </a:lnTo>
                  <a:lnTo>
                    <a:pt x="244" y="700"/>
                  </a:lnTo>
                  <a:lnTo>
                    <a:pt x="238" y="704"/>
                  </a:lnTo>
                  <a:lnTo>
                    <a:pt x="232" y="708"/>
                  </a:lnTo>
                  <a:lnTo>
                    <a:pt x="226" y="714"/>
                  </a:lnTo>
                  <a:lnTo>
                    <a:pt x="220" y="718"/>
                  </a:lnTo>
                  <a:lnTo>
                    <a:pt x="214" y="724"/>
                  </a:lnTo>
                  <a:lnTo>
                    <a:pt x="208" y="730"/>
                  </a:lnTo>
                  <a:lnTo>
                    <a:pt x="204" y="734"/>
                  </a:lnTo>
                  <a:lnTo>
                    <a:pt x="198" y="740"/>
                  </a:lnTo>
                  <a:lnTo>
                    <a:pt x="192" y="746"/>
                  </a:lnTo>
                  <a:lnTo>
                    <a:pt x="186" y="752"/>
                  </a:lnTo>
                  <a:lnTo>
                    <a:pt x="182" y="756"/>
                  </a:lnTo>
                  <a:lnTo>
                    <a:pt x="176" y="760"/>
                  </a:lnTo>
                  <a:lnTo>
                    <a:pt x="170" y="766"/>
                  </a:lnTo>
                  <a:lnTo>
                    <a:pt x="166" y="772"/>
                  </a:lnTo>
                  <a:lnTo>
                    <a:pt x="160" y="778"/>
                  </a:lnTo>
                  <a:lnTo>
                    <a:pt x="154" y="784"/>
                  </a:lnTo>
                  <a:lnTo>
                    <a:pt x="152" y="784"/>
                  </a:lnTo>
                  <a:lnTo>
                    <a:pt x="148" y="790"/>
                  </a:lnTo>
                  <a:lnTo>
                    <a:pt x="142" y="796"/>
                  </a:lnTo>
                  <a:lnTo>
                    <a:pt x="138" y="802"/>
                  </a:lnTo>
                  <a:lnTo>
                    <a:pt x="136" y="804"/>
                  </a:lnTo>
                  <a:lnTo>
                    <a:pt x="132" y="810"/>
                  </a:lnTo>
                  <a:lnTo>
                    <a:pt x="128" y="816"/>
                  </a:lnTo>
                  <a:lnTo>
                    <a:pt x="122" y="822"/>
                  </a:lnTo>
                  <a:lnTo>
                    <a:pt x="118" y="828"/>
                  </a:lnTo>
                  <a:lnTo>
                    <a:pt x="114" y="834"/>
                  </a:lnTo>
                  <a:lnTo>
                    <a:pt x="108" y="840"/>
                  </a:lnTo>
                  <a:lnTo>
                    <a:pt x="102" y="844"/>
                  </a:lnTo>
                  <a:lnTo>
                    <a:pt x="98" y="848"/>
                  </a:lnTo>
                  <a:lnTo>
                    <a:pt x="94" y="854"/>
                  </a:lnTo>
                  <a:lnTo>
                    <a:pt x="90" y="860"/>
                  </a:lnTo>
                  <a:lnTo>
                    <a:pt x="84" y="866"/>
                  </a:lnTo>
                  <a:lnTo>
                    <a:pt x="80" y="872"/>
                  </a:lnTo>
                  <a:lnTo>
                    <a:pt x="76" y="878"/>
                  </a:lnTo>
                  <a:lnTo>
                    <a:pt x="72" y="884"/>
                  </a:lnTo>
                  <a:lnTo>
                    <a:pt x="66" y="890"/>
                  </a:lnTo>
                  <a:lnTo>
                    <a:pt x="60" y="896"/>
                  </a:lnTo>
                  <a:lnTo>
                    <a:pt x="60" y="890"/>
                  </a:lnTo>
                  <a:lnTo>
                    <a:pt x="60" y="896"/>
                  </a:lnTo>
                  <a:lnTo>
                    <a:pt x="60" y="902"/>
                  </a:lnTo>
                  <a:lnTo>
                    <a:pt x="56" y="908"/>
                  </a:lnTo>
                  <a:lnTo>
                    <a:pt x="52" y="914"/>
                  </a:lnTo>
                  <a:lnTo>
                    <a:pt x="50" y="920"/>
                  </a:lnTo>
                  <a:lnTo>
                    <a:pt x="46" y="926"/>
                  </a:lnTo>
                  <a:lnTo>
                    <a:pt x="44" y="932"/>
                  </a:lnTo>
                  <a:lnTo>
                    <a:pt x="40" y="938"/>
                  </a:lnTo>
                  <a:lnTo>
                    <a:pt x="36" y="944"/>
                  </a:lnTo>
                  <a:lnTo>
                    <a:pt x="36" y="940"/>
                  </a:lnTo>
                  <a:lnTo>
                    <a:pt x="32" y="934"/>
                  </a:lnTo>
                  <a:lnTo>
                    <a:pt x="28" y="928"/>
                  </a:lnTo>
                  <a:lnTo>
                    <a:pt x="24" y="920"/>
                  </a:lnTo>
                  <a:lnTo>
                    <a:pt x="20" y="914"/>
                  </a:lnTo>
                  <a:lnTo>
                    <a:pt x="14" y="908"/>
                  </a:lnTo>
                  <a:lnTo>
                    <a:pt x="10" y="900"/>
                  </a:lnTo>
                  <a:lnTo>
                    <a:pt x="6" y="894"/>
                  </a:lnTo>
                  <a:lnTo>
                    <a:pt x="2" y="888"/>
                  </a:lnTo>
                  <a:lnTo>
                    <a:pt x="0" y="828"/>
                  </a:lnTo>
                  <a:lnTo>
                    <a:pt x="0" y="816"/>
                  </a:lnTo>
                  <a:lnTo>
                    <a:pt x="0" y="800"/>
                  </a:lnTo>
                  <a:lnTo>
                    <a:pt x="0" y="796"/>
                  </a:lnTo>
                  <a:lnTo>
                    <a:pt x="0" y="792"/>
                  </a:lnTo>
                  <a:lnTo>
                    <a:pt x="0" y="782"/>
                  </a:lnTo>
                  <a:lnTo>
                    <a:pt x="0" y="770"/>
                  </a:lnTo>
                  <a:lnTo>
                    <a:pt x="0" y="764"/>
                  </a:lnTo>
                  <a:lnTo>
                    <a:pt x="0" y="756"/>
                  </a:lnTo>
                  <a:lnTo>
                    <a:pt x="0" y="752"/>
                  </a:lnTo>
                  <a:lnTo>
                    <a:pt x="0" y="746"/>
                  </a:lnTo>
                  <a:lnTo>
                    <a:pt x="0" y="738"/>
                  </a:lnTo>
                  <a:lnTo>
                    <a:pt x="0" y="736"/>
                  </a:lnTo>
                  <a:lnTo>
                    <a:pt x="0" y="730"/>
                  </a:lnTo>
                  <a:lnTo>
                    <a:pt x="0" y="724"/>
                  </a:lnTo>
                  <a:lnTo>
                    <a:pt x="0" y="718"/>
                  </a:lnTo>
                  <a:lnTo>
                    <a:pt x="0" y="712"/>
                  </a:lnTo>
                  <a:lnTo>
                    <a:pt x="0" y="706"/>
                  </a:lnTo>
                  <a:lnTo>
                    <a:pt x="0" y="700"/>
                  </a:lnTo>
                  <a:lnTo>
                    <a:pt x="0" y="696"/>
                  </a:lnTo>
                  <a:lnTo>
                    <a:pt x="0" y="690"/>
                  </a:lnTo>
                  <a:lnTo>
                    <a:pt x="0" y="684"/>
                  </a:lnTo>
                  <a:lnTo>
                    <a:pt x="0" y="678"/>
                  </a:lnTo>
                  <a:lnTo>
                    <a:pt x="0" y="6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3" name="Freeform 210"/>
            <p:cNvSpPr>
              <a:spLocks/>
            </p:cNvSpPr>
            <p:nvPr/>
          </p:nvSpPr>
          <p:spPr bwMode="auto">
            <a:xfrm>
              <a:off x="5070475" y="3330575"/>
              <a:ext cx="522288" cy="449263"/>
            </a:xfrm>
            <a:custGeom>
              <a:avLst/>
              <a:gdLst>
                <a:gd name="T0" fmla="*/ 2147483647 w 1282"/>
                <a:gd name="T1" fmla="*/ 2147483647 h 1092"/>
                <a:gd name="T2" fmla="*/ 2147483647 w 1282"/>
                <a:gd name="T3" fmla="*/ 2147483647 h 1092"/>
                <a:gd name="T4" fmla="*/ 2147483647 w 1282"/>
                <a:gd name="T5" fmla="*/ 2147483647 h 1092"/>
                <a:gd name="T6" fmla="*/ 2147483647 w 1282"/>
                <a:gd name="T7" fmla="*/ 2147483647 h 1092"/>
                <a:gd name="T8" fmla="*/ 2147483647 w 1282"/>
                <a:gd name="T9" fmla="*/ 2147483647 h 1092"/>
                <a:gd name="T10" fmla="*/ 2147483647 w 1282"/>
                <a:gd name="T11" fmla="*/ 2147483647 h 1092"/>
                <a:gd name="T12" fmla="*/ 2147483647 w 1282"/>
                <a:gd name="T13" fmla="*/ 2147483647 h 1092"/>
                <a:gd name="T14" fmla="*/ 2147483647 w 1282"/>
                <a:gd name="T15" fmla="*/ 2147483647 h 1092"/>
                <a:gd name="T16" fmla="*/ 2147483647 w 1282"/>
                <a:gd name="T17" fmla="*/ 2147483647 h 1092"/>
                <a:gd name="T18" fmla="*/ 2147483647 w 1282"/>
                <a:gd name="T19" fmla="*/ 2147483647 h 1092"/>
                <a:gd name="T20" fmla="*/ 2147483647 w 1282"/>
                <a:gd name="T21" fmla="*/ 2147483647 h 1092"/>
                <a:gd name="T22" fmla="*/ 2147483647 w 1282"/>
                <a:gd name="T23" fmla="*/ 2147483647 h 1092"/>
                <a:gd name="T24" fmla="*/ 2147483647 w 1282"/>
                <a:gd name="T25" fmla="*/ 2147483647 h 1092"/>
                <a:gd name="T26" fmla="*/ 2147483647 w 1282"/>
                <a:gd name="T27" fmla="*/ 2147483647 h 1092"/>
                <a:gd name="T28" fmla="*/ 2147483647 w 1282"/>
                <a:gd name="T29" fmla="*/ 2147483647 h 1092"/>
                <a:gd name="T30" fmla="*/ 2147483647 w 1282"/>
                <a:gd name="T31" fmla="*/ 2147483647 h 1092"/>
                <a:gd name="T32" fmla="*/ 2147483647 w 1282"/>
                <a:gd name="T33" fmla="*/ 2147483647 h 1092"/>
                <a:gd name="T34" fmla="*/ 2147483647 w 1282"/>
                <a:gd name="T35" fmla="*/ 2147483647 h 1092"/>
                <a:gd name="T36" fmla="*/ 2147483647 w 1282"/>
                <a:gd name="T37" fmla="*/ 2147483647 h 1092"/>
                <a:gd name="T38" fmla="*/ 2147483647 w 1282"/>
                <a:gd name="T39" fmla="*/ 2147483647 h 1092"/>
                <a:gd name="T40" fmla="*/ 2147483647 w 1282"/>
                <a:gd name="T41" fmla="*/ 2147483647 h 1092"/>
                <a:gd name="T42" fmla="*/ 2147483647 w 1282"/>
                <a:gd name="T43" fmla="*/ 2147483647 h 1092"/>
                <a:gd name="T44" fmla="*/ 2147483647 w 1282"/>
                <a:gd name="T45" fmla="*/ 2147483647 h 1092"/>
                <a:gd name="T46" fmla="*/ 2147483647 w 1282"/>
                <a:gd name="T47" fmla="*/ 2147483647 h 1092"/>
                <a:gd name="T48" fmla="*/ 2147483647 w 1282"/>
                <a:gd name="T49" fmla="*/ 2147483647 h 1092"/>
                <a:gd name="T50" fmla="*/ 2147483647 w 1282"/>
                <a:gd name="T51" fmla="*/ 2147483647 h 1092"/>
                <a:gd name="T52" fmla="*/ 2147483647 w 1282"/>
                <a:gd name="T53" fmla="*/ 2147483647 h 1092"/>
                <a:gd name="T54" fmla="*/ 2147483647 w 1282"/>
                <a:gd name="T55" fmla="*/ 2147483647 h 1092"/>
                <a:gd name="T56" fmla="*/ 2147483647 w 1282"/>
                <a:gd name="T57" fmla="*/ 2147483647 h 1092"/>
                <a:gd name="T58" fmla="*/ 2147483647 w 1282"/>
                <a:gd name="T59" fmla="*/ 2147483647 h 1092"/>
                <a:gd name="T60" fmla="*/ 2147483647 w 1282"/>
                <a:gd name="T61" fmla="*/ 2147483647 h 1092"/>
                <a:gd name="T62" fmla="*/ 2147483647 w 1282"/>
                <a:gd name="T63" fmla="*/ 2147483647 h 1092"/>
                <a:gd name="T64" fmla="*/ 2147483647 w 1282"/>
                <a:gd name="T65" fmla="*/ 2147483647 h 1092"/>
                <a:gd name="T66" fmla="*/ 2147483647 w 1282"/>
                <a:gd name="T67" fmla="*/ 2147483647 h 1092"/>
                <a:gd name="T68" fmla="*/ 2147483647 w 1282"/>
                <a:gd name="T69" fmla="*/ 2147483647 h 1092"/>
                <a:gd name="T70" fmla="*/ 2147483647 w 1282"/>
                <a:gd name="T71" fmla="*/ 2147483647 h 1092"/>
                <a:gd name="T72" fmla="*/ 2147483647 w 1282"/>
                <a:gd name="T73" fmla="*/ 2147483647 h 1092"/>
                <a:gd name="T74" fmla="*/ 2147483647 w 1282"/>
                <a:gd name="T75" fmla="*/ 2147483647 h 1092"/>
                <a:gd name="T76" fmla="*/ 2147483647 w 1282"/>
                <a:gd name="T77" fmla="*/ 2147483647 h 1092"/>
                <a:gd name="T78" fmla="*/ 2147483647 w 1282"/>
                <a:gd name="T79" fmla="*/ 2147483647 h 1092"/>
                <a:gd name="T80" fmla="*/ 2147483647 w 1282"/>
                <a:gd name="T81" fmla="*/ 2147483647 h 1092"/>
                <a:gd name="T82" fmla="*/ 2147483647 w 1282"/>
                <a:gd name="T83" fmla="*/ 2147483647 h 1092"/>
                <a:gd name="T84" fmla="*/ 2147483647 w 1282"/>
                <a:gd name="T85" fmla="*/ 2147483647 h 1092"/>
                <a:gd name="T86" fmla="*/ 2147483647 w 1282"/>
                <a:gd name="T87" fmla="*/ 2147483647 h 1092"/>
                <a:gd name="T88" fmla="*/ 2147483647 w 1282"/>
                <a:gd name="T89" fmla="*/ 2147483647 h 1092"/>
                <a:gd name="T90" fmla="*/ 2147483647 w 1282"/>
                <a:gd name="T91" fmla="*/ 2147483647 h 1092"/>
                <a:gd name="T92" fmla="*/ 2147483647 w 1282"/>
                <a:gd name="T93" fmla="*/ 2147483647 h 1092"/>
                <a:gd name="T94" fmla="*/ 2147483647 w 1282"/>
                <a:gd name="T95" fmla="*/ 2147483647 h 1092"/>
                <a:gd name="T96" fmla="*/ 2147483647 w 1282"/>
                <a:gd name="T97" fmla="*/ 2147483647 h 1092"/>
                <a:gd name="T98" fmla="*/ 2147483647 w 1282"/>
                <a:gd name="T99" fmla="*/ 2147483647 h 1092"/>
                <a:gd name="T100" fmla="*/ 2147483647 w 1282"/>
                <a:gd name="T101" fmla="*/ 2147483647 h 1092"/>
                <a:gd name="T102" fmla="*/ 2147483647 w 1282"/>
                <a:gd name="T103" fmla="*/ 2147483647 h 1092"/>
                <a:gd name="T104" fmla="*/ 2147483647 w 1282"/>
                <a:gd name="T105" fmla="*/ 2147483647 h 1092"/>
                <a:gd name="T106" fmla="*/ 2147483647 w 1282"/>
                <a:gd name="T107" fmla="*/ 2147483647 h 1092"/>
                <a:gd name="T108" fmla="*/ 2147483647 w 1282"/>
                <a:gd name="T109" fmla="*/ 2147483647 h 1092"/>
                <a:gd name="T110" fmla="*/ 2147483647 w 1282"/>
                <a:gd name="T111" fmla="*/ 2147483647 h 1092"/>
                <a:gd name="T112" fmla="*/ 2147483647 w 1282"/>
                <a:gd name="T113" fmla="*/ 2147483647 h 10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82"/>
                <a:gd name="T172" fmla="*/ 0 h 1092"/>
                <a:gd name="T173" fmla="*/ 1282 w 1282"/>
                <a:gd name="T174" fmla="*/ 1092 h 10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82" h="1092">
                  <a:moveTo>
                    <a:pt x="530" y="1088"/>
                  </a:moveTo>
                  <a:lnTo>
                    <a:pt x="530" y="1084"/>
                  </a:lnTo>
                  <a:lnTo>
                    <a:pt x="526" y="1078"/>
                  </a:lnTo>
                  <a:lnTo>
                    <a:pt x="526" y="1072"/>
                  </a:lnTo>
                  <a:lnTo>
                    <a:pt x="524" y="1066"/>
                  </a:lnTo>
                  <a:lnTo>
                    <a:pt x="522" y="1060"/>
                  </a:lnTo>
                  <a:lnTo>
                    <a:pt x="516" y="1056"/>
                  </a:lnTo>
                  <a:lnTo>
                    <a:pt x="514" y="1050"/>
                  </a:lnTo>
                  <a:lnTo>
                    <a:pt x="512" y="1044"/>
                  </a:lnTo>
                  <a:lnTo>
                    <a:pt x="506" y="1042"/>
                  </a:lnTo>
                  <a:lnTo>
                    <a:pt x="506" y="1040"/>
                  </a:lnTo>
                  <a:lnTo>
                    <a:pt x="502" y="1034"/>
                  </a:lnTo>
                  <a:lnTo>
                    <a:pt x="502" y="1040"/>
                  </a:lnTo>
                  <a:lnTo>
                    <a:pt x="500" y="1034"/>
                  </a:lnTo>
                  <a:lnTo>
                    <a:pt x="500" y="1028"/>
                  </a:lnTo>
                  <a:lnTo>
                    <a:pt x="498" y="1022"/>
                  </a:lnTo>
                  <a:lnTo>
                    <a:pt x="498" y="1016"/>
                  </a:lnTo>
                  <a:lnTo>
                    <a:pt x="492" y="1010"/>
                  </a:lnTo>
                  <a:lnTo>
                    <a:pt x="486" y="1006"/>
                  </a:lnTo>
                  <a:lnTo>
                    <a:pt x="482" y="1000"/>
                  </a:lnTo>
                  <a:lnTo>
                    <a:pt x="476" y="994"/>
                  </a:lnTo>
                  <a:lnTo>
                    <a:pt x="470" y="990"/>
                  </a:lnTo>
                  <a:lnTo>
                    <a:pt x="464" y="986"/>
                  </a:lnTo>
                  <a:lnTo>
                    <a:pt x="458" y="980"/>
                  </a:lnTo>
                  <a:lnTo>
                    <a:pt x="456" y="974"/>
                  </a:lnTo>
                  <a:lnTo>
                    <a:pt x="452" y="968"/>
                  </a:lnTo>
                  <a:lnTo>
                    <a:pt x="452" y="966"/>
                  </a:lnTo>
                  <a:lnTo>
                    <a:pt x="446" y="960"/>
                  </a:lnTo>
                  <a:lnTo>
                    <a:pt x="444" y="956"/>
                  </a:lnTo>
                  <a:lnTo>
                    <a:pt x="442" y="948"/>
                  </a:lnTo>
                  <a:lnTo>
                    <a:pt x="440" y="944"/>
                  </a:lnTo>
                  <a:lnTo>
                    <a:pt x="436" y="938"/>
                  </a:lnTo>
                  <a:lnTo>
                    <a:pt x="432" y="934"/>
                  </a:lnTo>
                  <a:lnTo>
                    <a:pt x="430" y="930"/>
                  </a:lnTo>
                  <a:lnTo>
                    <a:pt x="428" y="924"/>
                  </a:lnTo>
                  <a:lnTo>
                    <a:pt x="430" y="918"/>
                  </a:lnTo>
                  <a:lnTo>
                    <a:pt x="424" y="912"/>
                  </a:lnTo>
                  <a:lnTo>
                    <a:pt x="424" y="906"/>
                  </a:lnTo>
                  <a:lnTo>
                    <a:pt x="422" y="900"/>
                  </a:lnTo>
                  <a:lnTo>
                    <a:pt x="416" y="896"/>
                  </a:lnTo>
                  <a:lnTo>
                    <a:pt x="416" y="890"/>
                  </a:lnTo>
                  <a:lnTo>
                    <a:pt x="410" y="884"/>
                  </a:lnTo>
                  <a:lnTo>
                    <a:pt x="410" y="878"/>
                  </a:lnTo>
                  <a:lnTo>
                    <a:pt x="408" y="872"/>
                  </a:lnTo>
                  <a:lnTo>
                    <a:pt x="402" y="870"/>
                  </a:lnTo>
                  <a:lnTo>
                    <a:pt x="400" y="864"/>
                  </a:lnTo>
                  <a:lnTo>
                    <a:pt x="400" y="858"/>
                  </a:lnTo>
                  <a:lnTo>
                    <a:pt x="394" y="852"/>
                  </a:lnTo>
                  <a:lnTo>
                    <a:pt x="388" y="850"/>
                  </a:lnTo>
                  <a:lnTo>
                    <a:pt x="382" y="844"/>
                  </a:lnTo>
                  <a:lnTo>
                    <a:pt x="378" y="838"/>
                  </a:lnTo>
                  <a:lnTo>
                    <a:pt x="374" y="834"/>
                  </a:lnTo>
                  <a:lnTo>
                    <a:pt x="368" y="830"/>
                  </a:lnTo>
                  <a:lnTo>
                    <a:pt x="362" y="824"/>
                  </a:lnTo>
                  <a:lnTo>
                    <a:pt x="356" y="820"/>
                  </a:lnTo>
                  <a:lnTo>
                    <a:pt x="350" y="818"/>
                  </a:lnTo>
                  <a:lnTo>
                    <a:pt x="348" y="818"/>
                  </a:lnTo>
                  <a:lnTo>
                    <a:pt x="342" y="818"/>
                  </a:lnTo>
                  <a:lnTo>
                    <a:pt x="336" y="814"/>
                  </a:lnTo>
                  <a:lnTo>
                    <a:pt x="332" y="808"/>
                  </a:lnTo>
                  <a:lnTo>
                    <a:pt x="326" y="802"/>
                  </a:lnTo>
                  <a:lnTo>
                    <a:pt x="322" y="796"/>
                  </a:lnTo>
                  <a:lnTo>
                    <a:pt x="320" y="790"/>
                  </a:lnTo>
                  <a:lnTo>
                    <a:pt x="314" y="786"/>
                  </a:lnTo>
                  <a:lnTo>
                    <a:pt x="310" y="780"/>
                  </a:lnTo>
                  <a:lnTo>
                    <a:pt x="310" y="774"/>
                  </a:lnTo>
                  <a:lnTo>
                    <a:pt x="302" y="768"/>
                  </a:lnTo>
                  <a:lnTo>
                    <a:pt x="298" y="762"/>
                  </a:lnTo>
                  <a:lnTo>
                    <a:pt x="298" y="756"/>
                  </a:lnTo>
                  <a:lnTo>
                    <a:pt x="294" y="750"/>
                  </a:lnTo>
                  <a:lnTo>
                    <a:pt x="294" y="744"/>
                  </a:lnTo>
                  <a:lnTo>
                    <a:pt x="296" y="740"/>
                  </a:lnTo>
                  <a:lnTo>
                    <a:pt x="292" y="734"/>
                  </a:lnTo>
                  <a:lnTo>
                    <a:pt x="292" y="726"/>
                  </a:lnTo>
                  <a:lnTo>
                    <a:pt x="290" y="722"/>
                  </a:lnTo>
                  <a:lnTo>
                    <a:pt x="288" y="716"/>
                  </a:lnTo>
                  <a:lnTo>
                    <a:pt x="286" y="710"/>
                  </a:lnTo>
                  <a:lnTo>
                    <a:pt x="286" y="704"/>
                  </a:lnTo>
                  <a:lnTo>
                    <a:pt x="286" y="698"/>
                  </a:lnTo>
                  <a:lnTo>
                    <a:pt x="286" y="692"/>
                  </a:lnTo>
                  <a:lnTo>
                    <a:pt x="286" y="686"/>
                  </a:lnTo>
                  <a:lnTo>
                    <a:pt x="288" y="680"/>
                  </a:lnTo>
                  <a:lnTo>
                    <a:pt x="288" y="674"/>
                  </a:lnTo>
                  <a:lnTo>
                    <a:pt x="288" y="668"/>
                  </a:lnTo>
                  <a:lnTo>
                    <a:pt x="288" y="662"/>
                  </a:lnTo>
                  <a:lnTo>
                    <a:pt x="286" y="660"/>
                  </a:lnTo>
                  <a:lnTo>
                    <a:pt x="284" y="654"/>
                  </a:lnTo>
                  <a:lnTo>
                    <a:pt x="280" y="648"/>
                  </a:lnTo>
                  <a:lnTo>
                    <a:pt x="276" y="642"/>
                  </a:lnTo>
                  <a:lnTo>
                    <a:pt x="274" y="636"/>
                  </a:lnTo>
                  <a:lnTo>
                    <a:pt x="280" y="640"/>
                  </a:lnTo>
                  <a:lnTo>
                    <a:pt x="276" y="634"/>
                  </a:lnTo>
                  <a:lnTo>
                    <a:pt x="270" y="630"/>
                  </a:lnTo>
                  <a:lnTo>
                    <a:pt x="270" y="624"/>
                  </a:lnTo>
                  <a:lnTo>
                    <a:pt x="266" y="618"/>
                  </a:lnTo>
                  <a:lnTo>
                    <a:pt x="262" y="614"/>
                  </a:lnTo>
                  <a:lnTo>
                    <a:pt x="262" y="608"/>
                  </a:lnTo>
                  <a:lnTo>
                    <a:pt x="260" y="602"/>
                  </a:lnTo>
                  <a:lnTo>
                    <a:pt x="256" y="596"/>
                  </a:lnTo>
                  <a:lnTo>
                    <a:pt x="252" y="590"/>
                  </a:lnTo>
                  <a:lnTo>
                    <a:pt x="248" y="584"/>
                  </a:lnTo>
                  <a:lnTo>
                    <a:pt x="246" y="578"/>
                  </a:lnTo>
                  <a:lnTo>
                    <a:pt x="240" y="572"/>
                  </a:lnTo>
                  <a:lnTo>
                    <a:pt x="236" y="566"/>
                  </a:lnTo>
                  <a:lnTo>
                    <a:pt x="228" y="562"/>
                  </a:lnTo>
                  <a:lnTo>
                    <a:pt x="224" y="558"/>
                  </a:lnTo>
                  <a:lnTo>
                    <a:pt x="218" y="554"/>
                  </a:lnTo>
                  <a:lnTo>
                    <a:pt x="214" y="548"/>
                  </a:lnTo>
                  <a:lnTo>
                    <a:pt x="208" y="550"/>
                  </a:lnTo>
                  <a:lnTo>
                    <a:pt x="202" y="544"/>
                  </a:lnTo>
                  <a:lnTo>
                    <a:pt x="196" y="544"/>
                  </a:lnTo>
                  <a:lnTo>
                    <a:pt x="190" y="542"/>
                  </a:lnTo>
                  <a:lnTo>
                    <a:pt x="186" y="536"/>
                  </a:lnTo>
                  <a:lnTo>
                    <a:pt x="184" y="530"/>
                  </a:lnTo>
                  <a:lnTo>
                    <a:pt x="180" y="524"/>
                  </a:lnTo>
                  <a:lnTo>
                    <a:pt x="180" y="522"/>
                  </a:lnTo>
                  <a:lnTo>
                    <a:pt x="174" y="516"/>
                  </a:lnTo>
                  <a:lnTo>
                    <a:pt x="170" y="510"/>
                  </a:lnTo>
                  <a:lnTo>
                    <a:pt x="166" y="504"/>
                  </a:lnTo>
                  <a:lnTo>
                    <a:pt x="172" y="500"/>
                  </a:lnTo>
                  <a:lnTo>
                    <a:pt x="172" y="492"/>
                  </a:lnTo>
                  <a:lnTo>
                    <a:pt x="170" y="488"/>
                  </a:lnTo>
                  <a:lnTo>
                    <a:pt x="170" y="482"/>
                  </a:lnTo>
                  <a:lnTo>
                    <a:pt x="166" y="476"/>
                  </a:lnTo>
                  <a:lnTo>
                    <a:pt x="162" y="472"/>
                  </a:lnTo>
                  <a:lnTo>
                    <a:pt x="158" y="464"/>
                  </a:lnTo>
                  <a:lnTo>
                    <a:pt x="156" y="458"/>
                  </a:lnTo>
                  <a:lnTo>
                    <a:pt x="152" y="452"/>
                  </a:lnTo>
                  <a:lnTo>
                    <a:pt x="148" y="446"/>
                  </a:lnTo>
                  <a:lnTo>
                    <a:pt x="140" y="444"/>
                  </a:lnTo>
                  <a:lnTo>
                    <a:pt x="136" y="436"/>
                  </a:lnTo>
                  <a:lnTo>
                    <a:pt x="134" y="430"/>
                  </a:lnTo>
                  <a:lnTo>
                    <a:pt x="136" y="426"/>
                  </a:lnTo>
                  <a:lnTo>
                    <a:pt x="132" y="420"/>
                  </a:lnTo>
                  <a:lnTo>
                    <a:pt x="126" y="418"/>
                  </a:lnTo>
                  <a:lnTo>
                    <a:pt x="122" y="414"/>
                  </a:lnTo>
                  <a:lnTo>
                    <a:pt x="118" y="406"/>
                  </a:lnTo>
                  <a:lnTo>
                    <a:pt x="114" y="400"/>
                  </a:lnTo>
                  <a:lnTo>
                    <a:pt x="112" y="394"/>
                  </a:lnTo>
                  <a:lnTo>
                    <a:pt x="108" y="388"/>
                  </a:lnTo>
                  <a:lnTo>
                    <a:pt x="106" y="382"/>
                  </a:lnTo>
                  <a:lnTo>
                    <a:pt x="100" y="376"/>
                  </a:lnTo>
                  <a:lnTo>
                    <a:pt x="96" y="370"/>
                  </a:lnTo>
                  <a:lnTo>
                    <a:pt x="92" y="364"/>
                  </a:lnTo>
                  <a:lnTo>
                    <a:pt x="88" y="358"/>
                  </a:lnTo>
                  <a:lnTo>
                    <a:pt x="82" y="352"/>
                  </a:lnTo>
                  <a:lnTo>
                    <a:pt x="78" y="346"/>
                  </a:lnTo>
                  <a:lnTo>
                    <a:pt x="78" y="340"/>
                  </a:lnTo>
                  <a:lnTo>
                    <a:pt x="72" y="334"/>
                  </a:lnTo>
                  <a:lnTo>
                    <a:pt x="66" y="330"/>
                  </a:lnTo>
                  <a:lnTo>
                    <a:pt x="62" y="324"/>
                  </a:lnTo>
                  <a:lnTo>
                    <a:pt x="58" y="318"/>
                  </a:lnTo>
                  <a:lnTo>
                    <a:pt x="56" y="312"/>
                  </a:lnTo>
                  <a:lnTo>
                    <a:pt x="52" y="306"/>
                  </a:lnTo>
                  <a:lnTo>
                    <a:pt x="48" y="300"/>
                  </a:lnTo>
                  <a:lnTo>
                    <a:pt x="46" y="294"/>
                  </a:lnTo>
                  <a:lnTo>
                    <a:pt x="40" y="288"/>
                  </a:lnTo>
                  <a:lnTo>
                    <a:pt x="38" y="282"/>
                  </a:lnTo>
                  <a:lnTo>
                    <a:pt x="32" y="280"/>
                  </a:lnTo>
                  <a:lnTo>
                    <a:pt x="26" y="278"/>
                  </a:lnTo>
                  <a:lnTo>
                    <a:pt x="24" y="278"/>
                  </a:lnTo>
                  <a:lnTo>
                    <a:pt x="18" y="278"/>
                  </a:lnTo>
                  <a:lnTo>
                    <a:pt x="12" y="278"/>
                  </a:lnTo>
                  <a:lnTo>
                    <a:pt x="6" y="278"/>
                  </a:lnTo>
                  <a:lnTo>
                    <a:pt x="4" y="284"/>
                  </a:lnTo>
                  <a:lnTo>
                    <a:pt x="0" y="278"/>
                  </a:lnTo>
                  <a:lnTo>
                    <a:pt x="2" y="274"/>
                  </a:lnTo>
                  <a:lnTo>
                    <a:pt x="6" y="268"/>
                  </a:lnTo>
                  <a:lnTo>
                    <a:pt x="8" y="264"/>
                  </a:lnTo>
                  <a:lnTo>
                    <a:pt x="10" y="258"/>
                  </a:lnTo>
                  <a:lnTo>
                    <a:pt x="10" y="252"/>
                  </a:lnTo>
                  <a:lnTo>
                    <a:pt x="12" y="246"/>
                  </a:lnTo>
                  <a:lnTo>
                    <a:pt x="12" y="242"/>
                  </a:lnTo>
                  <a:lnTo>
                    <a:pt x="10" y="236"/>
                  </a:lnTo>
                  <a:lnTo>
                    <a:pt x="12" y="230"/>
                  </a:lnTo>
                  <a:lnTo>
                    <a:pt x="14" y="224"/>
                  </a:lnTo>
                  <a:lnTo>
                    <a:pt x="14" y="220"/>
                  </a:lnTo>
                  <a:lnTo>
                    <a:pt x="14" y="214"/>
                  </a:lnTo>
                  <a:lnTo>
                    <a:pt x="14" y="208"/>
                  </a:lnTo>
                  <a:lnTo>
                    <a:pt x="14" y="202"/>
                  </a:lnTo>
                  <a:lnTo>
                    <a:pt x="16" y="196"/>
                  </a:lnTo>
                  <a:lnTo>
                    <a:pt x="18" y="192"/>
                  </a:lnTo>
                  <a:lnTo>
                    <a:pt x="20" y="192"/>
                  </a:lnTo>
                  <a:lnTo>
                    <a:pt x="26" y="192"/>
                  </a:lnTo>
                  <a:lnTo>
                    <a:pt x="32" y="194"/>
                  </a:lnTo>
                  <a:lnTo>
                    <a:pt x="38" y="194"/>
                  </a:lnTo>
                  <a:lnTo>
                    <a:pt x="44" y="196"/>
                  </a:lnTo>
                  <a:lnTo>
                    <a:pt x="48" y="196"/>
                  </a:lnTo>
                  <a:lnTo>
                    <a:pt x="54" y="198"/>
                  </a:lnTo>
                  <a:lnTo>
                    <a:pt x="60" y="198"/>
                  </a:lnTo>
                  <a:lnTo>
                    <a:pt x="66" y="200"/>
                  </a:lnTo>
                  <a:lnTo>
                    <a:pt x="72" y="202"/>
                  </a:lnTo>
                  <a:lnTo>
                    <a:pt x="78" y="202"/>
                  </a:lnTo>
                  <a:lnTo>
                    <a:pt x="84" y="204"/>
                  </a:lnTo>
                  <a:lnTo>
                    <a:pt x="90" y="198"/>
                  </a:lnTo>
                  <a:lnTo>
                    <a:pt x="94" y="192"/>
                  </a:lnTo>
                  <a:lnTo>
                    <a:pt x="100" y="188"/>
                  </a:lnTo>
                  <a:lnTo>
                    <a:pt x="106" y="182"/>
                  </a:lnTo>
                  <a:lnTo>
                    <a:pt x="110" y="176"/>
                  </a:lnTo>
                  <a:lnTo>
                    <a:pt x="114" y="170"/>
                  </a:lnTo>
                  <a:lnTo>
                    <a:pt x="116" y="164"/>
                  </a:lnTo>
                  <a:lnTo>
                    <a:pt x="118" y="160"/>
                  </a:lnTo>
                  <a:lnTo>
                    <a:pt x="124" y="156"/>
                  </a:lnTo>
                  <a:lnTo>
                    <a:pt x="130" y="154"/>
                  </a:lnTo>
                  <a:lnTo>
                    <a:pt x="136" y="152"/>
                  </a:lnTo>
                  <a:lnTo>
                    <a:pt x="142" y="152"/>
                  </a:lnTo>
                  <a:lnTo>
                    <a:pt x="148" y="150"/>
                  </a:lnTo>
                  <a:lnTo>
                    <a:pt x="154" y="150"/>
                  </a:lnTo>
                  <a:lnTo>
                    <a:pt x="160" y="148"/>
                  </a:lnTo>
                  <a:lnTo>
                    <a:pt x="166" y="144"/>
                  </a:lnTo>
                  <a:lnTo>
                    <a:pt x="170" y="124"/>
                  </a:lnTo>
                  <a:lnTo>
                    <a:pt x="188" y="112"/>
                  </a:lnTo>
                  <a:lnTo>
                    <a:pt x="160" y="80"/>
                  </a:lnTo>
                  <a:lnTo>
                    <a:pt x="162" y="82"/>
                  </a:lnTo>
                  <a:lnTo>
                    <a:pt x="156" y="76"/>
                  </a:lnTo>
                  <a:lnTo>
                    <a:pt x="152" y="72"/>
                  </a:lnTo>
                  <a:lnTo>
                    <a:pt x="148" y="66"/>
                  </a:lnTo>
                  <a:lnTo>
                    <a:pt x="128" y="44"/>
                  </a:lnTo>
                  <a:lnTo>
                    <a:pt x="188" y="24"/>
                  </a:lnTo>
                  <a:lnTo>
                    <a:pt x="194" y="22"/>
                  </a:lnTo>
                  <a:lnTo>
                    <a:pt x="196" y="22"/>
                  </a:lnTo>
                  <a:lnTo>
                    <a:pt x="202" y="20"/>
                  </a:lnTo>
                  <a:lnTo>
                    <a:pt x="208" y="18"/>
                  </a:lnTo>
                  <a:lnTo>
                    <a:pt x="214" y="16"/>
                  </a:lnTo>
                  <a:lnTo>
                    <a:pt x="220" y="14"/>
                  </a:lnTo>
                  <a:lnTo>
                    <a:pt x="226" y="14"/>
                  </a:lnTo>
                  <a:lnTo>
                    <a:pt x="232" y="12"/>
                  </a:lnTo>
                  <a:lnTo>
                    <a:pt x="234" y="10"/>
                  </a:lnTo>
                  <a:lnTo>
                    <a:pt x="240" y="10"/>
                  </a:lnTo>
                  <a:lnTo>
                    <a:pt x="244" y="4"/>
                  </a:lnTo>
                  <a:lnTo>
                    <a:pt x="250" y="0"/>
                  </a:lnTo>
                  <a:lnTo>
                    <a:pt x="258" y="2"/>
                  </a:lnTo>
                  <a:lnTo>
                    <a:pt x="266" y="2"/>
                  </a:lnTo>
                  <a:lnTo>
                    <a:pt x="268" y="4"/>
                  </a:lnTo>
                  <a:lnTo>
                    <a:pt x="276" y="4"/>
                  </a:lnTo>
                  <a:lnTo>
                    <a:pt x="282" y="6"/>
                  </a:lnTo>
                  <a:lnTo>
                    <a:pt x="288" y="6"/>
                  </a:lnTo>
                  <a:lnTo>
                    <a:pt x="298" y="8"/>
                  </a:lnTo>
                  <a:lnTo>
                    <a:pt x="302" y="10"/>
                  </a:lnTo>
                  <a:lnTo>
                    <a:pt x="308" y="10"/>
                  </a:lnTo>
                  <a:lnTo>
                    <a:pt x="318" y="12"/>
                  </a:lnTo>
                  <a:lnTo>
                    <a:pt x="324" y="14"/>
                  </a:lnTo>
                  <a:lnTo>
                    <a:pt x="334" y="20"/>
                  </a:lnTo>
                  <a:lnTo>
                    <a:pt x="342" y="26"/>
                  </a:lnTo>
                  <a:lnTo>
                    <a:pt x="354" y="32"/>
                  </a:lnTo>
                  <a:lnTo>
                    <a:pt x="362" y="38"/>
                  </a:lnTo>
                  <a:lnTo>
                    <a:pt x="374" y="46"/>
                  </a:lnTo>
                  <a:lnTo>
                    <a:pt x="386" y="52"/>
                  </a:lnTo>
                  <a:lnTo>
                    <a:pt x="392" y="56"/>
                  </a:lnTo>
                  <a:lnTo>
                    <a:pt x="398" y="58"/>
                  </a:lnTo>
                  <a:lnTo>
                    <a:pt x="400" y="60"/>
                  </a:lnTo>
                  <a:lnTo>
                    <a:pt x="406" y="62"/>
                  </a:lnTo>
                  <a:lnTo>
                    <a:pt x="412" y="64"/>
                  </a:lnTo>
                  <a:lnTo>
                    <a:pt x="418" y="68"/>
                  </a:lnTo>
                  <a:lnTo>
                    <a:pt x="424" y="70"/>
                  </a:lnTo>
                  <a:lnTo>
                    <a:pt x="434" y="78"/>
                  </a:lnTo>
                  <a:lnTo>
                    <a:pt x="444" y="86"/>
                  </a:lnTo>
                  <a:lnTo>
                    <a:pt x="452" y="92"/>
                  </a:lnTo>
                  <a:lnTo>
                    <a:pt x="460" y="100"/>
                  </a:lnTo>
                  <a:lnTo>
                    <a:pt x="472" y="110"/>
                  </a:lnTo>
                  <a:lnTo>
                    <a:pt x="478" y="114"/>
                  </a:lnTo>
                  <a:lnTo>
                    <a:pt x="484" y="118"/>
                  </a:lnTo>
                  <a:lnTo>
                    <a:pt x="492" y="126"/>
                  </a:lnTo>
                  <a:lnTo>
                    <a:pt x="500" y="130"/>
                  </a:lnTo>
                  <a:lnTo>
                    <a:pt x="506" y="134"/>
                  </a:lnTo>
                  <a:lnTo>
                    <a:pt x="512" y="140"/>
                  </a:lnTo>
                  <a:lnTo>
                    <a:pt x="520" y="146"/>
                  </a:lnTo>
                  <a:lnTo>
                    <a:pt x="522" y="148"/>
                  </a:lnTo>
                  <a:lnTo>
                    <a:pt x="528" y="152"/>
                  </a:lnTo>
                  <a:lnTo>
                    <a:pt x="534" y="156"/>
                  </a:lnTo>
                  <a:lnTo>
                    <a:pt x="534" y="158"/>
                  </a:lnTo>
                  <a:lnTo>
                    <a:pt x="542" y="164"/>
                  </a:lnTo>
                  <a:lnTo>
                    <a:pt x="550" y="170"/>
                  </a:lnTo>
                  <a:lnTo>
                    <a:pt x="562" y="178"/>
                  </a:lnTo>
                  <a:lnTo>
                    <a:pt x="570" y="186"/>
                  </a:lnTo>
                  <a:lnTo>
                    <a:pt x="578" y="192"/>
                  </a:lnTo>
                  <a:lnTo>
                    <a:pt x="586" y="196"/>
                  </a:lnTo>
                  <a:lnTo>
                    <a:pt x="592" y="202"/>
                  </a:lnTo>
                  <a:lnTo>
                    <a:pt x="598" y="202"/>
                  </a:lnTo>
                  <a:lnTo>
                    <a:pt x="606" y="204"/>
                  </a:lnTo>
                  <a:lnTo>
                    <a:pt x="608" y="204"/>
                  </a:lnTo>
                  <a:lnTo>
                    <a:pt x="614" y="204"/>
                  </a:lnTo>
                  <a:lnTo>
                    <a:pt x="624" y="206"/>
                  </a:lnTo>
                  <a:lnTo>
                    <a:pt x="636" y="206"/>
                  </a:lnTo>
                  <a:lnTo>
                    <a:pt x="644" y="208"/>
                  </a:lnTo>
                  <a:lnTo>
                    <a:pt x="654" y="208"/>
                  </a:lnTo>
                  <a:lnTo>
                    <a:pt x="664" y="210"/>
                  </a:lnTo>
                  <a:lnTo>
                    <a:pt x="674" y="210"/>
                  </a:lnTo>
                  <a:lnTo>
                    <a:pt x="686" y="212"/>
                  </a:lnTo>
                  <a:lnTo>
                    <a:pt x="692" y="212"/>
                  </a:lnTo>
                  <a:lnTo>
                    <a:pt x="698" y="210"/>
                  </a:lnTo>
                  <a:lnTo>
                    <a:pt x="700" y="210"/>
                  </a:lnTo>
                  <a:lnTo>
                    <a:pt x="700" y="208"/>
                  </a:lnTo>
                  <a:lnTo>
                    <a:pt x="710" y="210"/>
                  </a:lnTo>
                  <a:lnTo>
                    <a:pt x="712" y="210"/>
                  </a:lnTo>
                  <a:lnTo>
                    <a:pt x="718" y="212"/>
                  </a:lnTo>
                  <a:lnTo>
                    <a:pt x="724" y="212"/>
                  </a:lnTo>
                  <a:lnTo>
                    <a:pt x="730" y="214"/>
                  </a:lnTo>
                  <a:lnTo>
                    <a:pt x="736" y="214"/>
                  </a:lnTo>
                  <a:lnTo>
                    <a:pt x="742" y="214"/>
                  </a:lnTo>
                  <a:lnTo>
                    <a:pt x="748" y="216"/>
                  </a:lnTo>
                  <a:lnTo>
                    <a:pt x="754" y="216"/>
                  </a:lnTo>
                  <a:lnTo>
                    <a:pt x="758" y="224"/>
                  </a:lnTo>
                  <a:lnTo>
                    <a:pt x="762" y="230"/>
                  </a:lnTo>
                  <a:lnTo>
                    <a:pt x="762" y="236"/>
                  </a:lnTo>
                  <a:lnTo>
                    <a:pt x="766" y="242"/>
                  </a:lnTo>
                  <a:lnTo>
                    <a:pt x="770" y="248"/>
                  </a:lnTo>
                  <a:lnTo>
                    <a:pt x="774" y="248"/>
                  </a:lnTo>
                  <a:lnTo>
                    <a:pt x="780" y="248"/>
                  </a:lnTo>
                  <a:lnTo>
                    <a:pt x="786" y="248"/>
                  </a:lnTo>
                  <a:lnTo>
                    <a:pt x="788" y="248"/>
                  </a:lnTo>
                  <a:lnTo>
                    <a:pt x="794" y="248"/>
                  </a:lnTo>
                  <a:lnTo>
                    <a:pt x="800" y="248"/>
                  </a:lnTo>
                  <a:lnTo>
                    <a:pt x="806" y="248"/>
                  </a:lnTo>
                  <a:lnTo>
                    <a:pt x="812" y="248"/>
                  </a:lnTo>
                  <a:lnTo>
                    <a:pt x="818" y="252"/>
                  </a:lnTo>
                  <a:lnTo>
                    <a:pt x="820" y="258"/>
                  </a:lnTo>
                  <a:lnTo>
                    <a:pt x="820" y="264"/>
                  </a:lnTo>
                  <a:lnTo>
                    <a:pt x="826" y="270"/>
                  </a:lnTo>
                  <a:lnTo>
                    <a:pt x="826" y="274"/>
                  </a:lnTo>
                  <a:lnTo>
                    <a:pt x="828" y="280"/>
                  </a:lnTo>
                  <a:lnTo>
                    <a:pt x="834" y="284"/>
                  </a:lnTo>
                  <a:lnTo>
                    <a:pt x="836" y="284"/>
                  </a:lnTo>
                  <a:lnTo>
                    <a:pt x="836" y="288"/>
                  </a:lnTo>
                  <a:lnTo>
                    <a:pt x="838" y="290"/>
                  </a:lnTo>
                  <a:lnTo>
                    <a:pt x="844" y="296"/>
                  </a:lnTo>
                  <a:lnTo>
                    <a:pt x="844" y="298"/>
                  </a:lnTo>
                  <a:lnTo>
                    <a:pt x="844" y="302"/>
                  </a:lnTo>
                  <a:lnTo>
                    <a:pt x="842" y="298"/>
                  </a:lnTo>
                  <a:lnTo>
                    <a:pt x="840" y="298"/>
                  </a:lnTo>
                  <a:lnTo>
                    <a:pt x="840" y="304"/>
                  </a:lnTo>
                  <a:lnTo>
                    <a:pt x="840" y="306"/>
                  </a:lnTo>
                  <a:lnTo>
                    <a:pt x="844" y="306"/>
                  </a:lnTo>
                  <a:lnTo>
                    <a:pt x="844" y="312"/>
                  </a:lnTo>
                  <a:lnTo>
                    <a:pt x="844" y="314"/>
                  </a:lnTo>
                  <a:lnTo>
                    <a:pt x="844" y="312"/>
                  </a:lnTo>
                  <a:lnTo>
                    <a:pt x="844" y="314"/>
                  </a:lnTo>
                  <a:lnTo>
                    <a:pt x="846" y="314"/>
                  </a:lnTo>
                  <a:lnTo>
                    <a:pt x="846" y="312"/>
                  </a:lnTo>
                  <a:lnTo>
                    <a:pt x="852" y="312"/>
                  </a:lnTo>
                  <a:lnTo>
                    <a:pt x="856" y="314"/>
                  </a:lnTo>
                  <a:lnTo>
                    <a:pt x="858" y="316"/>
                  </a:lnTo>
                  <a:lnTo>
                    <a:pt x="858" y="318"/>
                  </a:lnTo>
                  <a:lnTo>
                    <a:pt x="860" y="318"/>
                  </a:lnTo>
                  <a:lnTo>
                    <a:pt x="866" y="316"/>
                  </a:lnTo>
                  <a:lnTo>
                    <a:pt x="872" y="322"/>
                  </a:lnTo>
                  <a:lnTo>
                    <a:pt x="868" y="328"/>
                  </a:lnTo>
                  <a:lnTo>
                    <a:pt x="874" y="330"/>
                  </a:lnTo>
                  <a:lnTo>
                    <a:pt x="874" y="336"/>
                  </a:lnTo>
                  <a:lnTo>
                    <a:pt x="874" y="338"/>
                  </a:lnTo>
                  <a:lnTo>
                    <a:pt x="880" y="340"/>
                  </a:lnTo>
                  <a:lnTo>
                    <a:pt x="880" y="344"/>
                  </a:lnTo>
                  <a:lnTo>
                    <a:pt x="882" y="346"/>
                  </a:lnTo>
                  <a:lnTo>
                    <a:pt x="886" y="346"/>
                  </a:lnTo>
                  <a:lnTo>
                    <a:pt x="890" y="342"/>
                  </a:lnTo>
                  <a:lnTo>
                    <a:pt x="888" y="344"/>
                  </a:lnTo>
                  <a:lnTo>
                    <a:pt x="892" y="350"/>
                  </a:lnTo>
                  <a:lnTo>
                    <a:pt x="896" y="354"/>
                  </a:lnTo>
                  <a:lnTo>
                    <a:pt x="902" y="360"/>
                  </a:lnTo>
                  <a:lnTo>
                    <a:pt x="904" y="360"/>
                  </a:lnTo>
                  <a:lnTo>
                    <a:pt x="910" y="364"/>
                  </a:lnTo>
                  <a:lnTo>
                    <a:pt x="914" y="364"/>
                  </a:lnTo>
                  <a:lnTo>
                    <a:pt x="916" y="366"/>
                  </a:lnTo>
                  <a:lnTo>
                    <a:pt x="916" y="368"/>
                  </a:lnTo>
                  <a:lnTo>
                    <a:pt x="918" y="368"/>
                  </a:lnTo>
                  <a:lnTo>
                    <a:pt x="922" y="374"/>
                  </a:lnTo>
                  <a:lnTo>
                    <a:pt x="928" y="380"/>
                  </a:lnTo>
                  <a:lnTo>
                    <a:pt x="922" y="376"/>
                  </a:lnTo>
                  <a:lnTo>
                    <a:pt x="920" y="376"/>
                  </a:lnTo>
                  <a:lnTo>
                    <a:pt x="918" y="372"/>
                  </a:lnTo>
                  <a:lnTo>
                    <a:pt x="918" y="376"/>
                  </a:lnTo>
                  <a:lnTo>
                    <a:pt x="918" y="378"/>
                  </a:lnTo>
                  <a:lnTo>
                    <a:pt x="920" y="378"/>
                  </a:lnTo>
                  <a:lnTo>
                    <a:pt x="918" y="382"/>
                  </a:lnTo>
                  <a:lnTo>
                    <a:pt x="918" y="384"/>
                  </a:lnTo>
                  <a:lnTo>
                    <a:pt x="920" y="386"/>
                  </a:lnTo>
                  <a:lnTo>
                    <a:pt x="922" y="392"/>
                  </a:lnTo>
                  <a:lnTo>
                    <a:pt x="928" y="394"/>
                  </a:lnTo>
                  <a:lnTo>
                    <a:pt x="930" y="394"/>
                  </a:lnTo>
                  <a:lnTo>
                    <a:pt x="930" y="396"/>
                  </a:lnTo>
                  <a:lnTo>
                    <a:pt x="932" y="402"/>
                  </a:lnTo>
                  <a:lnTo>
                    <a:pt x="934" y="406"/>
                  </a:lnTo>
                  <a:lnTo>
                    <a:pt x="934" y="408"/>
                  </a:lnTo>
                  <a:lnTo>
                    <a:pt x="932" y="412"/>
                  </a:lnTo>
                  <a:lnTo>
                    <a:pt x="928" y="416"/>
                  </a:lnTo>
                  <a:lnTo>
                    <a:pt x="922" y="412"/>
                  </a:lnTo>
                  <a:lnTo>
                    <a:pt x="922" y="416"/>
                  </a:lnTo>
                  <a:lnTo>
                    <a:pt x="922" y="418"/>
                  </a:lnTo>
                  <a:lnTo>
                    <a:pt x="922" y="424"/>
                  </a:lnTo>
                  <a:lnTo>
                    <a:pt x="928" y="424"/>
                  </a:lnTo>
                  <a:lnTo>
                    <a:pt x="928" y="430"/>
                  </a:lnTo>
                  <a:lnTo>
                    <a:pt x="932" y="436"/>
                  </a:lnTo>
                  <a:lnTo>
                    <a:pt x="936" y="442"/>
                  </a:lnTo>
                  <a:lnTo>
                    <a:pt x="938" y="448"/>
                  </a:lnTo>
                  <a:lnTo>
                    <a:pt x="932" y="442"/>
                  </a:lnTo>
                  <a:lnTo>
                    <a:pt x="936" y="448"/>
                  </a:lnTo>
                  <a:lnTo>
                    <a:pt x="940" y="454"/>
                  </a:lnTo>
                  <a:lnTo>
                    <a:pt x="948" y="458"/>
                  </a:lnTo>
                  <a:lnTo>
                    <a:pt x="954" y="462"/>
                  </a:lnTo>
                  <a:lnTo>
                    <a:pt x="956" y="468"/>
                  </a:lnTo>
                  <a:lnTo>
                    <a:pt x="958" y="474"/>
                  </a:lnTo>
                  <a:lnTo>
                    <a:pt x="960" y="480"/>
                  </a:lnTo>
                  <a:lnTo>
                    <a:pt x="960" y="486"/>
                  </a:lnTo>
                  <a:lnTo>
                    <a:pt x="966" y="492"/>
                  </a:lnTo>
                  <a:lnTo>
                    <a:pt x="968" y="498"/>
                  </a:lnTo>
                  <a:lnTo>
                    <a:pt x="972" y="502"/>
                  </a:lnTo>
                  <a:lnTo>
                    <a:pt x="974" y="510"/>
                  </a:lnTo>
                  <a:lnTo>
                    <a:pt x="978" y="510"/>
                  </a:lnTo>
                  <a:lnTo>
                    <a:pt x="980" y="514"/>
                  </a:lnTo>
                  <a:lnTo>
                    <a:pt x="984" y="518"/>
                  </a:lnTo>
                  <a:lnTo>
                    <a:pt x="990" y="522"/>
                  </a:lnTo>
                  <a:lnTo>
                    <a:pt x="996" y="524"/>
                  </a:lnTo>
                  <a:lnTo>
                    <a:pt x="998" y="522"/>
                  </a:lnTo>
                  <a:lnTo>
                    <a:pt x="1002" y="518"/>
                  </a:lnTo>
                  <a:lnTo>
                    <a:pt x="1008" y="520"/>
                  </a:lnTo>
                  <a:lnTo>
                    <a:pt x="1008" y="526"/>
                  </a:lnTo>
                  <a:lnTo>
                    <a:pt x="1012" y="522"/>
                  </a:lnTo>
                  <a:lnTo>
                    <a:pt x="1018" y="522"/>
                  </a:lnTo>
                  <a:lnTo>
                    <a:pt x="1012" y="528"/>
                  </a:lnTo>
                  <a:lnTo>
                    <a:pt x="1008" y="534"/>
                  </a:lnTo>
                  <a:lnTo>
                    <a:pt x="1012" y="542"/>
                  </a:lnTo>
                  <a:lnTo>
                    <a:pt x="1016" y="540"/>
                  </a:lnTo>
                  <a:lnTo>
                    <a:pt x="1022" y="544"/>
                  </a:lnTo>
                  <a:lnTo>
                    <a:pt x="1024" y="544"/>
                  </a:lnTo>
                  <a:lnTo>
                    <a:pt x="1026" y="548"/>
                  </a:lnTo>
                  <a:lnTo>
                    <a:pt x="1026" y="554"/>
                  </a:lnTo>
                  <a:lnTo>
                    <a:pt x="1032" y="562"/>
                  </a:lnTo>
                  <a:lnTo>
                    <a:pt x="1044" y="576"/>
                  </a:lnTo>
                  <a:lnTo>
                    <a:pt x="1048" y="580"/>
                  </a:lnTo>
                  <a:lnTo>
                    <a:pt x="1054" y="588"/>
                  </a:lnTo>
                  <a:lnTo>
                    <a:pt x="1070" y="610"/>
                  </a:lnTo>
                  <a:lnTo>
                    <a:pt x="1076" y="614"/>
                  </a:lnTo>
                  <a:lnTo>
                    <a:pt x="1082" y="624"/>
                  </a:lnTo>
                  <a:lnTo>
                    <a:pt x="1094" y="634"/>
                  </a:lnTo>
                  <a:lnTo>
                    <a:pt x="1110" y="638"/>
                  </a:lnTo>
                  <a:lnTo>
                    <a:pt x="1138" y="640"/>
                  </a:lnTo>
                  <a:lnTo>
                    <a:pt x="1150" y="642"/>
                  </a:lnTo>
                  <a:lnTo>
                    <a:pt x="1170" y="646"/>
                  </a:lnTo>
                  <a:lnTo>
                    <a:pt x="1188" y="648"/>
                  </a:lnTo>
                  <a:lnTo>
                    <a:pt x="1190" y="648"/>
                  </a:lnTo>
                  <a:lnTo>
                    <a:pt x="1206" y="650"/>
                  </a:lnTo>
                  <a:lnTo>
                    <a:pt x="1232" y="654"/>
                  </a:lnTo>
                  <a:lnTo>
                    <a:pt x="1236" y="656"/>
                  </a:lnTo>
                  <a:lnTo>
                    <a:pt x="1246" y="656"/>
                  </a:lnTo>
                  <a:lnTo>
                    <a:pt x="1248" y="652"/>
                  </a:lnTo>
                  <a:lnTo>
                    <a:pt x="1282" y="698"/>
                  </a:lnTo>
                  <a:lnTo>
                    <a:pt x="1252" y="838"/>
                  </a:lnTo>
                  <a:lnTo>
                    <a:pt x="1076" y="906"/>
                  </a:lnTo>
                  <a:lnTo>
                    <a:pt x="1078" y="910"/>
                  </a:lnTo>
                  <a:lnTo>
                    <a:pt x="1004" y="920"/>
                  </a:lnTo>
                  <a:lnTo>
                    <a:pt x="904" y="932"/>
                  </a:lnTo>
                  <a:lnTo>
                    <a:pt x="850" y="964"/>
                  </a:lnTo>
                  <a:lnTo>
                    <a:pt x="818" y="1014"/>
                  </a:lnTo>
                  <a:lnTo>
                    <a:pt x="812" y="1036"/>
                  </a:lnTo>
                  <a:lnTo>
                    <a:pt x="794" y="1048"/>
                  </a:lnTo>
                  <a:lnTo>
                    <a:pt x="784" y="1048"/>
                  </a:lnTo>
                  <a:lnTo>
                    <a:pt x="766" y="1024"/>
                  </a:lnTo>
                  <a:lnTo>
                    <a:pt x="744" y="1028"/>
                  </a:lnTo>
                  <a:lnTo>
                    <a:pt x="728" y="1028"/>
                  </a:lnTo>
                  <a:lnTo>
                    <a:pt x="686" y="1022"/>
                  </a:lnTo>
                  <a:lnTo>
                    <a:pt x="674" y="1014"/>
                  </a:lnTo>
                  <a:lnTo>
                    <a:pt x="640" y="1014"/>
                  </a:lnTo>
                  <a:lnTo>
                    <a:pt x="636" y="1018"/>
                  </a:lnTo>
                  <a:lnTo>
                    <a:pt x="630" y="1016"/>
                  </a:lnTo>
                  <a:lnTo>
                    <a:pt x="614" y="1020"/>
                  </a:lnTo>
                  <a:lnTo>
                    <a:pt x="614" y="1022"/>
                  </a:lnTo>
                  <a:lnTo>
                    <a:pt x="610" y="1024"/>
                  </a:lnTo>
                  <a:lnTo>
                    <a:pt x="604" y="1024"/>
                  </a:lnTo>
                  <a:lnTo>
                    <a:pt x="598" y="1024"/>
                  </a:lnTo>
                  <a:lnTo>
                    <a:pt x="592" y="1024"/>
                  </a:lnTo>
                  <a:lnTo>
                    <a:pt x="586" y="1022"/>
                  </a:lnTo>
                  <a:lnTo>
                    <a:pt x="582" y="1016"/>
                  </a:lnTo>
                  <a:lnTo>
                    <a:pt x="576" y="1014"/>
                  </a:lnTo>
                  <a:lnTo>
                    <a:pt x="570" y="1012"/>
                  </a:lnTo>
                  <a:lnTo>
                    <a:pt x="564" y="1016"/>
                  </a:lnTo>
                  <a:lnTo>
                    <a:pt x="558" y="1022"/>
                  </a:lnTo>
                  <a:lnTo>
                    <a:pt x="558" y="1028"/>
                  </a:lnTo>
                  <a:lnTo>
                    <a:pt x="556" y="1032"/>
                  </a:lnTo>
                  <a:lnTo>
                    <a:pt x="554" y="1038"/>
                  </a:lnTo>
                  <a:lnTo>
                    <a:pt x="554" y="1046"/>
                  </a:lnTo>
                  <a:lnTo>
                    <a:pt x="552" y="1050"/>
                  </a:lnTo>
                  <a:lnTo>
                    <a:pt x="554" y="1058"/>
                  </a:lnTo>
                  <a:lnTo>
                    <a:pt x="558" y="1062"/>
                  </a:lnTo>
                  <a:lnTo>
                    <a:pt x="556" y="1070"/>
                  </a:lnTo>
                  <a:lnTo>
                    <a:pt x="552" y="1070"/>
                  </a:lnTo>
                  <a:lnTo>
                    <a:pt x="550" y="1076"/>
                  </a:lnTo>
                  <a:lnTo>
                    <a:pt x="550" y="1080"/>
                  </a:lnTo>
                  <a:lnTo>
                    <a:pt x="546" y="1084"/>
                  </a:lnTo>
                  <a:lnTo>
                    <a:pt x="540" y="1088"/>
                  </a:lnTo>
                  <a:lnTo>
                    <a:pt x="534" y="1092"/>
                  </a:lnTo>
                  <a:lnTo>
                    <a:pt x="530" y="1092"/>
                  </a:lnTo>
                  <a:lnTo>
                    <a:pt x="530" y="108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4" name="Freeform 211"/>
            <p:cNvSpPr>
              <a:spLocks/>
            </p:cNvSpPr>
            <p:nvPr/>
          </p:nvSpPr>
          <p:spPr bwMode="auto">
            <a:xfrm>
              <a:off x="4151313" y="3929063"/>
              <a:ext cx="111125" cy="182562"/>
            </a:xfrm>
            <a:custGeom>
              <a:avLst/>
              <a:gdLst>
                <a:gd name="T0" fmla="*/ 0 w 272"/>
                <a:gd name="T1" fmla="*/ 2147483647 h 444"/>
                <a:gd name="T2" fmla="*/ 2147483647 w 272"/>
                <a:gd name="T3" fmla="*/ 2147483647 h 444"/>
                <a:gd name="T4" fmla="*/ 2147483647 w 272"/>
                <a:gd name="T5" fmla="*/ 2147483647 h 444"/>
                <a:gd name="T6" fmla="*/ 2147483647 w 272"/>
                <a:gd name="T7" fmla="*/ 2147483647 h 444"/>
                <a:gd name="T8" fmla="*/ 2147483647 w 272"/>
                <a:gd name="T9" fmla="*/ 2147483647 h 444"/>
                <a:gd name="T10" fmla="*/ 2147483647 w 272"/>
                <a:gd name="T11" fmla="*/ 2147483647 h 444"/>
                <a:gd name="T12" fmla="*/ 2147483647 w 272"/>
                <a:gd name="T13" fmla="*/ 2147483647 h 444"/>
                <a:gd name="T14" fmla="*/ 2147483647 w 272"/>
                <a:gd name="T15" fmla="*/ 2147483647 h 444"/>
                <a:gd name="T16" fmla="*/ 2147483647 w 272"/>
                <a:gd name="T17" fmla="*/ 2147483647 h 444"/>
                <a:gd name="T18" fmla="*/ 2147483647 w 272"/>
                <a:gd name="T19" fmla="*/ 2147483647 h 444"/>
                <a:gd name="T20" fmla="*/ 2147483647 w 272"/>
                <a:gd name="T21" fmla="*/ 2147483647 h 444"/>
                <a:gd name="T22" fmla="*/ 2147483647 w 272"/>
                <a:gd name="T23" fmla="*/ 2147483647 h 444"/>
                <a:gd name="T24" fmla="*/ 2147483647 w 272"/>
                <a:gd name="T25" fmla="*/ 2147483647 h 444"/>
                <a:gd name="T26" fmla="*/ 2147483647 w 272"/>
                <a:gd name="T27" fmla="*/ 2147483647 h 444"/>
                <a:gd name="T28" fmla="*/ 2147483647 w 272"/>
                <a:gd name="T29" fmla="*/ 2147483647 h 444"/>
                <a:gd name="T30" fmla="*/ 2147483647 w 272"/>
                <a:gd name="T31" fmla="*/ 2147483647 h 444"/>
                <a:gd name="T32" fmla="*/ 2147483647 w 272"/>
                <a:gd name="T33" fmla="*/ 2147483647 h 444"/>
                <a:gd name="T34" fmla="*/ 2147483647 w 272"/>
                <a:gd name="T35" fmla="*/ 2147483647 h 444"/>
                <a:gd name="T36" fmla="*/ 2147483647 w 272"/>
                <a:gd name="T37" fmla="*/ 0 h 444"/>
                <a:gd name="T38" fmla="*/ 2147483647 w 272"/>
                <a:gd name="T39" fmla="*/ 2147483647 h 444"/>
                <a:gd name="T40" fmla="*/ 2147483647 w 272"/>
                <a:gd name="T41" fmla="*/ 2147483647 h 444"/>
                <a:gd name="T42" fmla="*/ 2147483647 w 272"/>
                <a:gd name="T43" fmla="*/ 2147483647 h 444"/>
                <a:gd name="T44" fmla="*/ 2147483647 w 272"/>
                <a:gd name="T45" fmla="*/ 2147483647 h 444"/>
                <a:gd name="T46" fmla="*/ 2147483647 w 272"/>
                <a:gd name="T47" fmla="*/ 2147483647 h 444"/>
                <a:gd name="T48" fmla="*/ 2147483647 w 272"/>
                <a:gd name="T49" fmla="*/ 2147483647 h 444"/>
                <a:gd name="T50" fmla="*/ 2147483647 w 272"/>
                <a:gd name="T51" fmla="*/ 2147483647 h 444"/>
                <a:gd name="T52" fmla="*/ 2147483647 w 272"/>
                <a:gd name="T53" fmla="*/ 2147483647 h 444"/>
                <a:gd name="T54" fmla="*/ 2147483647 w 272"/>
                <a:gd name="T55" fmla="*/ 2147483647 h 444"/>
                <a:gd name="T56" fmla="*/ 2147483647 w 272"/>
                <a:gd name="T57" fmla="*/ 2147483647 h 444"/>
                <a:gd name="T58" fmla="*/ 2147483647 w 272"/>
                <a:gd name="T59" fmla="*/ 2147483647 h 444"/>
                <a:gd name="T60" fmla="*/ 2147483647 w 272"/>
                <a:gd name="T61" fmla="*/ 2147483647 h 444"/>
                <a:gd name="T62" fmla="*/ 2147483647 w 272"/>
                <a:gd name="T63" fmla="*/ 2147483647 h 444"/>
                <a:gd name="T64" fmla="*/ 2147483647 w 272"/>
                <a:gd name="T65" fmla="*/ 2147483647 h 444"/>
                <a:gd name="T66" fmla="*/ 2147483647 w 272"/>
                <a:gd name="T67" fmla="*/ 2147483647 h 444"/>
                <a:gd name="T68" fmla="*/ 2147483647 w 272"/>
                <a:gd name="T69" fmla="*/ 2147483647 h 444"/>
                <a:gd name="T70" fmla="*/ 2147483647 w 272"/>
                <a:gd name="T71" fmla="*/ 2147483647 h 444"/>
                <a:gd name="T72" fmla="*/ 2147483647 w 272"/>
                <a:gd name="T73" fmla="*/ 2147483647 h 444"/>
                <a:gd name="T74" fmla="*/ 2147483647 w 272"/>
                <a:gd name="T75" fmla="*/ 2147483647 h 444"/>
                <a:gd name="T76" fmla="*/ 2147483647 w 272"/>
                <a:gd name="T77" fmla="*/ 2147483647 h 444"/>
                <a:gd name="T78" fmla="*/ 2147483647 w 272"/>
                <a:gd name="T79" fmla="*/ 2147483647 h 444"/>
                <a:gd name="T80" fmla="*/ 2147483647 w 272"/>
                <a:gd name="T81" fmla="*/ 2147483647 h 444"/>
                <a:gd name="T82" fmla="*/ 2147483647 w 272"/>
                <a:gd name="T83" fmla="*/ 2147483647 h 444"/>
                <a:gd name="T84" fmla="*/ 2147483647 w 272"/>
                <a:gd name="T85" fmla="*/ 2147483647 h 444"/>
                <a:gd name="T86" fmla="*/ 2147483647 w 272"/>
                <a:gd name="T87" fmla="*/ 2147483647 h 444"/>
                <a:gd name="T88" fmla="*/ 2147483647 w 272"/>
                <a:gd name="T89" fmla="*/ 2147483647 h 444"/>
                <a:gd name="T90" fmla="*/ 2147483647 w 272"/>
                <a:gd name="T91" fmla="*/ 2147483647 h 444"/>
                <a:gd name="T92" fmla="*/ 2147483647 w 272"/>
                <a:gd name="T93" fmla="*/ 2147483647 h 444"/>
                <a:gd name="T94" fmla="*/ 2147483647 w 272"/>
                <a:gd name="T95" fmla="*/ 2147483647 h 444"/>
                <a:gd name="T96" fmla="*/ 2147483647 w 272"/>
                <a:gd name="T97" fmla="*/ 2147483647 h 444"/>
                <a:gd name="T98" fmla="*/ 2147483647 w 272"/>
                <a:gd name="T99" fmla="*/ 2147483647 h 444"/>
                <a:gd name="T100" fmla="*/ 2147483647 w 272"/>
                <a:gd name="T101" fmla="*/ 2147483647 h 444"/>
                <a:gd name="T102" fmla="*/ 2147483647 w 272"/>
                <a:gd name="T103" fmla="*/ 2147483647 h 444"/>
                <a:gd name="T104" fmla="*/ 2147483647 w 272"/>
                <a:gd name="T105" fmla="*/ 2147483647 h 4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72"/>
                <a:gd name="T160" fmla="*/ 0 h 444"/>
                <a:gd name="T161" fmla="*/ 272 w 272"/>
                <a:gd name="T162" fmla="*/ 444 h 44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72" h="444">
                  <a:moveTo>
                    <a:pt x="4" y="338"/>
                  </a:moveTo>
                  <a:lnTo>
                    <a:pt x="4" y="332"/>
                  </a:lnTo>
                  <a:lnTo>
                    <a:pt x="2" y="326"/>
                  </a:lnTo>
                  <a:lnTo>
                    <a:pt x="2" y="322"/>
                  </a:lnTo>
                  <a:lnTo>
                    <a:pt x="0" y="314"/>
                  </a:lnTo>
                  <a:lnTo>
                    <a:pt x="2" y="308"/>
                  </a:lnTo>
                  <a:lnTo>
                    <a:pt x="2" y="304"/>
                  </a:lnTo>
                  <a:lnTo>
                    <a:pt x="2" y="298"/>
                  </a:lnTo>
                  <a:lnTo>
                    <a:pt x="6" y="292"/>
                  </a:lnTo>
                  <a:lnTo>
                    <a:pt x="8" y="284"/>
                  </a:lnTo>
                  <a:lnTo>
                    <a:pt x="10" y="284"/>
                  </a:lnTo>
                  <a:lnTo>
                    <a:pt x="14" y="276"/>
                  </a:lnTo>
                  <a:lnTo>
                    <a:pt x="18" y="270"/>
                  </a:lnTo>
                  <a:lnTo>
                    <a:pt x="18" y="264"/>
                  </a:lnTo>
                  <a:lnTo>
                    <a:pt x="18" y="258"/>
                  </a:lnTo>
                  <a:lnTo>
                    <a:pt x="20" y="252"/>
                  </a:lnTo>
                  <a:lnTo>
                    <a:pt x="20" y="246"/>
                  </a:lnTo>
                  <a:lnTo>
                    <a:pt x="24" y="238"/>
                  </a:lnTo>
                  <a:lnTo>
                    <a:pt x="24" y="236"/>
                  </a:lnTo>
                  <a:lnTo>
                    <a:pt x="28" y="230"/>
                  </a:lnTo>
                  <a:lnTo>
                    <a:pt x="30" y="224"/>
                  </a:lnTo>
                  <a:lnTo>
                    <a:pt x="32" y="222"/>
                  </a:lnTo>
                  <a:lnTo>
                    <a:pt x="34" y="220"/>
                  </a:lnTo>
                  <a:lnTo>
                    <a:pt x="34" y="218"/>
                  </a:lnTo>
                  <a:lnTo>
                    <a:pt x="40" y="216"/>
                  </a:lnTo>
                  <a:lnTo>
                    <a:pt x="40" y="210"/>
                  </a:lnTo>
                  <a:lnTo>
                    <a:pt x="46" y="206"/>
                  </a:lnTo>
                  <a:lnTo>
                    <a:pt x="46" y="198"/>
                  </a:lnTo>
                  <a:lnTo>
                    <a:pt x="46" y="192"/>
                  </a:lnTo>
                  <a:lnTo>
                    <a:pt x="44" y="186"/>
                  </a:lnTo>
                  <a:lnTo>
                    <a:pt x="44" y="180"/>
                  </a:lnTo>
                  <a:lnTo>
                    <a:pt x="42" y="174"/>
                  </a:lnTo>
                  <a:lnTo>
                    <a:pt x="42" y="168"/>
                  </a:lnTo>
                  <a:lnTo>
                    <a:pt x="42" y="164"/>
                  </a:lnTo>
                  <a:lnTo>
                    <a:pt x="40" y="164"/>
                  </a:lnTo>
                  <a:lnTo>
                    <a:pt x="40" y="160"/>
                  </a:lnTo>
                  <a:lnTo>
                    <a:pt x="38" y="154"/>
                  </a:lnTo>
                  <a:lnTo>
                    <a:pt x="36" y="148"/>
                  </a:lnTo>
                  <a:lnTo>
                    <a:pt x="30" y="144"/>
                  </a:lnTo>
                  <a:lnTo>
                    <a:pt x="32" y="138"/>
                  </a:lnTo>
                  <a:lnTo>
                    <a:pt x="36" y="134"/>
                  </a:lnTo>
                  <a:lnTo>
                    <a:pt x="34" y="128"/>
                  </a:lnTo>
                  <a:lnTo>
                    <a:pt x="36" y="122"/>
                  </a:lnTo>
                  <a:lnTo>
                    <a:pt x="36" y="116"/>
                  </a:lnTo>
                  <a:lnTo>
                    <a:pt x="30" y="110"/>
                  </a:lnTo>
                  <a:lnTo>
                    <a:pt x="32" y="104"/>
                  </a:lnTo>
                  <a:lnTo>
                    <a:pt x="30" y="98"/>
                  </a:lnTo>
                  <a:lnTo>
                    <a:pt x="32" y="92"/>
                  </a:lnTo>
                  <a:lnTo>
                    <a:pt x="32" y="86"/>
                  </a:lnTo>
                  <a:lnTo>
                    <a:pt x="30" y="80"/>
                  </a:lnTo>
                  <a:lnTo>
                    <a:pt x="30" y="78"/>
                  </a:lnTo>
                  <a:lnTo>
                    <a:pt x="30" y="72"/>
                  </a:lnTo>
                  <a:lnTo>
                    <a:pt x="30" y="66"/>
                  </a:lnTo>
                  <a:lnTo>
                    <a:pt x="30" y="60"/>
                  </a:lnTo>
                  <a:lnTo>
                    <a:pt x="28" y="54"/>
                  </a:lnTo>
                  <a:lnTo>
                    <a:pt x="26" y="48"/>
                  </a:lnTo>
                  <a:lnTo>
                    <a:pt x="24" y="42"/>
                  </a:lnTo>
                  <a:lnTo>
                    <a:pt x="22" y="36"/>
                  </a:lnTo>
                  <a:lnTo>
                    <a:pt x="22" y="30"/>
                  </a:lnTo>
                  <a:lnTo>
                    <a:pt x="24" y="28"/>
                  </a:lnTo>
                  <a:lnTo>
                    <a:pt x="26" y="22"/>
                  </a:lnTo>
                  <a:lnTo>
                    <a:pt x="28" y="16"/>
                  </a:lnTo>
                  <a:lnTo>
                    <a:pt x="28" y="10"/>
                  </a:lnTo>
                  <a:lnTo>
                    <a:pt x="34" y="10"/>
                  </a:lnTo>
                  <a:lnTo>
                    <a:pt x="38" y="12"/>
                  </a:lnTo>
                  <a:lnTo>
                    <a:pt x="44" y="10"/>
                  </a:lnTo>
                  <a:lnTo>
                    <a:pt x="50" y="10"/>
                  </a:lnTo>
                  <a:lnTo>
                    <a:pt x="56" y="10"/>
                  </a:lnTo>
                  <a:lnTo>
                    <a:pt x="62" y="10"/>
                  </a:lnTo>
                  <a:lnTo>
                    <a:pt x="68" y="10"/>
                  </a:lnTo>
                  <a:lnTo>
                    <a:pt x="74" y="10"/>
                  </a:lnTo>
                  <a:lnTo>
                    <a:pt x="78" y="10"/>
                  </a:lnTo>
                  <a:lnTo>
                    <a:pt x="84" y="10"/>
                  </a:lnTo>
                  <a:lnTo>
                    <a:pt x="88" y="10"/>
                  </a:lnTo>
                  <a:lnTo>
                    <a:pt x="94" y="10"/>
                  </a:lnTo>
                  <a:lnTo>
                    <a:pt x="102" y="10"/>
                  </a:lnTo>
                  <a:lnTo>
                    <a:pt x="108" y="8"/>
                  </a:lnTo>
                  <a:lnTo>
                    <a:pt x="114" y="8"/>
                  </a:lnTo>
                  <a:lnTo>
                    <a:pt x="120" y="10"/>
                  </a:lnTo>
                  <a:lnTo>
                    <a:pt x="126" y="10"/>
                  </a:lnTo>
                  <a:lnTo>
                    <a:pt x="132" y="10"/>
                  </a:lnTo>
                  <a:lnTo>
                    <a:pt x="134" y="10"/>
                  </a:lnTo>
                  <a:lnTo>
                    <a:pt x="140" y="10"/>
                  </a:lnTo>
                  <a:lnTo>
                    <a:pt x="146" y="12"/>
                  </a:lnTo>
                  <a:lnTo>
                    <a:pt x="152" y="10"/>
                  </a:lnTo>
                  <a:lnTo>
                    <a:pt x="158" y="10"/>
                  </a:lnTo>
                  <a:lnTo>
                    <a:pt x="162" y="16"/>
                  </a:lnTo>
                  <a:lnTo>
                    <a:pt x="170" y="10"/>
                  </a:lnTo>
                  <a:lnTo>
                    <a:pt x="172" y="8"/>
                  </a:lnTo>
                  <a:lnTo>
                    <a:pt x="178" y="6"/>
                  </a:lnTo>
                  <a:lnTo>
                    <a:pt x="182" y="2"/>
                  </a:lnTo>
                  <a:lnTo>
                    <a:pt x="186" y="0"/>
                  </a:lnTo>
                  <a:lnTo>
                    <a:pt x="190" y="0"/>
                  </a:lnTo>
                  <a:lnTo>
                    <a:pt x="194" y="4"/>
                  </a:lnTo>
                  <a:lnTo>
                    <a:pt x="200" y="4"/>
                  </a:lnTo>
                  <a:lnTo>
                    <a:pt x="202" y="6"/>
                  </a:lnTo>
                  <a:lnTo>
                    <a:pt x="202" y="12"/>
                  </a:lnTo>
                  <a:lnTo>
                    <a:pt x="200" y="12"/>
                  </a:lnTo>
                  <a:lnTo>
                    <a:pt x="200" y="20"/>
                  </a:lnTo>
                  <a:lnTo>
                    <a:pt x="196" y="26"/>
                  </a:lnTo>
                  <a:lnTo>
                    <a:pt x="194" y="30"/>
                  </a:lnTo>
                  <a:lnTo>
                    <a:pt x="194" y="32"/>
                  </a:lnTo>
                  <a:lnTo>
                    <a:pt x="200" y="38"/>
                  </a:lnTo>
                  <a:lnTo>
                    <a:pt x="202" y="38"/>
                  </a:lnTo>
                  <a:lnTo>
                    <a:pt x="208" y="44"/>
                  </a:lnTo>
                  <a:lnTo>
                    <a:pt x="208" y="46"/>
                  </a:lnTo>
                  <a:lnTo>
                    <a:pt x="212" y="52"/>
                  </a:lnTo>
                  <a:lnTo>
                    <a:pt x="218" y="54"/>
                  </a:lnTo>
                  <a:lnTo>
                    <a:pt x="224" y="58"/>
                  </a:lnTo>
                  <a:lnTo>
                    <a:pt x="222" y="60"/>
                  </a:lnTo>
                  <a:lnTo>
                    <a:pt x="220" y="66"/>
                  </a:lnTo>
                  <a:lnTo>
                    <a:pt x="222" y="72"/>
                  </a:lnTo>
                  <a:lnTo>
                    <a:pt x="224" y="76"/>
                  </a:lnTo>
                  <a:lnTo>
                    <a:pt x="224" y="78"/>
                  </a:lnTo>
                  <a:lnTo>
                    <a:pt x="220" y="80"/>
                  </a:lnTo>
                  <a:lnTo>
                    <a:pt x="220" y="86"/>
                  </a:lnTo>
                  <a:lnTo>
                    <a:pt x="220" y="92"/>
                  </a:lnTo>
                  <a:lnTo>
                    <a:pt x="220" y="98"/>
                  </a:lnTo>
                  <a:lnTo>
                    <a:pt x="220" y="104"/>
                  </a:lnTo>
                  <a:lnTo>
                    <a:pt x="222" y="110"/>
                  </a:lnTo>
                  <a:lnTo>
                    <a:pt x="216" y="110"/>
                  </a:lnTo>
                  <a:lnTo>
                    <a:pt x="216" y="116"/>
                  </a:lnTo>
                  <a:lnTo>
                    <a:pt x="212" y="118"/>
                  </a:lnTo>
                  <a:lnTo>
                    <a:pt x="218" y="118"/>
                  </a:lnTo>
                  <a:lnTo>
                    <a:pt x="224" y="114"/>
                  </a:lnTo>
                  <a:lnTo>
                    <a:pt x="230" y="118"/>
                  </a:lnTo>
                  <a:lnTo>
                    <a:pt x="232" y="124"/>
                  </a:lnTo>
                  <a:lnTo>
                    <a:pt x="230" y="130"/>
                  </a:lnTo>
                  <a:lnTo>
                    <a:pt x="232" y="136"/>
                  </a:lnTo>
                  <a:lnTo>
                    <a:pt x="228" y="142"/>
                  </a:lnTo>
                  <a:lnTo>
                    <a:pt x="226" y="148"/>
                  </a:lnTo>
                  <a:lnTo>
                    <a:pt x="230" y="152"/>
                  </a:lnTo>
                  <a:lnTo>
                    <a:pt x="230" y="160"/>
                  </a:lnTo>
                  <a:lnTo>
                    <a:pt x="228" y="162"/>
                  </a:lnTo>
                  <a:lnTo>
                    <a:pt x="228" y="164"/>
                  </a:lnTo>
                  <a:lnTo>
                    <a:pt x="222" y="166"/>
                  </a:lnTo>
                  <a:lnTo>
                    <a:pt x="224" y="168"/>
                  </a:lnTo>
                  <a:lnTo>
                    <a:pt x="226" y="174"/>
                  </a:lnTo>
                  <a:lnTo>
                    <a:pt x="230" y="180"/>
                  </a:lnTo>
                  <a:lnTo>
                    <a:pt x="238" y="184"/>
                  </a:lnTo>
                  <a:lnTo>
                    <a:pt x="240" y="190"/>
                  </a:lnTo>
                  <a:lnTo>
                    <a:pt x="242" y="196"/>
                  </a:lnTo>
                  <a:lnTo>
                    <a:pt x="238" y="202"/>
                  </a:lnTo>
                  <a:lnTo>
                    <a:pt x="236" y="208"/>
                  </a:lnTo>
                  <a:lnTo>
                    <a:pt x="236" y="212"/>
                  </a:lnTo>
                  <a:lnTo>
                    <a:pt x="236" y="220"/>
                  </a:lnTo>
                  <a:lnTo>
                    <a:pt x="236" y="226"/>
                  </a:lnTo>
                  <a:lnTo>
                    <a:pt x="236" y="228"/>
                  </a:lnTo>
                  <a:lnTo>
                    <a:pt x="236" y="236"/>
                  </a:lnTo>
                  <a:lnTo>
                    <a:pt x="234" y="242"/>
                  </a:lnTo>
                  <a:lnTo>
                    <a:pt x="230" y="246"/>
                  </a:lnTo>
                  <a:lnTo>
                    <a:pt x="230" y="248"/>
                  </a:lnTo>
                  <a:lnTo>
                    <a:pt x="230" y="254"/>
                  </a:lnTo>
                  <a:lnTo>
                    <a:pt x="232" y="260"/>
                  </a:lnTo>
                  <a:lnTo>
                    <a:pt x="238" y="262"/>
                  </a:lnTo>
                  <a:lnTo>
                    <a:pt x="238" y="268"/>
                  </a:lnTo>
                  <a:lnTo>
                    <a:pt x="238" y="274"/>
                  </a:lnTo>
                  <a:lnTo>
                    <a:pt x="236" y="280"/>
                  </a:lnTo>
                  <a:lnTo>
                    <a:pt x="236" y="284"/>
                  </a:lnTo>
                  <a:lnTo>
                    <a:pt x="230" y="290"/>
                  </a:lnTo>
                  <a:lnTo>
                    <a:pt x="232" y="294"/>
                  </a:lnTo>
                  <a:lnTo>
                    <a:pt x="230" y="300"/>
                  </a:lnTo>
                  <a:lnTo>
                    <a:pt x="234" y="304"/>
                  </a:lnTo>
                  <a:lnTo>
                    <a:pt x="238" y="310"/>
                  </a:lnTo>
                  <a:lnTo>
                    <a:pt x="240" y="316"/>
                  </a:lnTo>
                  <a:lnTo>
                    <a:pt x="242" y="320"/>
                  </a:lnTo>
                  <a:lnTo>
                    <a:pt x="242" y="322"/>
                  </a:lnTo>
                  <a:lnTo>
                    <a:pt x="248" y="328"/>
                  </a:lnTo>
                  <a:lnTo>
                    <a:pt x="254" y="334"/>
                  </a:lnTo>
                  <a:lnTo>
                    <a:pt x="260" y="340"/>
                  </a:lnTo>
                  <a:lnTo>
                    <a:pt x="266" y="346"/>
                  </a:lnTo>
                  <a:lnTo>
                    <a:pt x="272" y="346"/>
                  </a:lnTo>
                  <a:lnTo>
                    <a:pt x="272" y="348"/>
                  </a:lnTo>
                  <a:lnTo>
                    <a:pt x="272" y="350"/>
                  </a:lnTo>
                  <a:lnTo>
                    <a:pt x="266" y="354"/>
                  </a:lnTo>
                  <a:lnTo>
                    <a:pt x="260" y="360"/>
                  </a:lnTo>
                  <a:lnTo>
                    <a:pt x="258" y="364"/>
                  </a:lnTo>
                  <a:lnTo>
                    <a:pt x="256" y="372"/>
                  </a:lnTo>
                  <a:lnTo>
                    <a:pt x="250" y="372"/>
                  </a:lnTo>
                  <a:lnTo>
                    <a:pt x="246" y="374"/>
                  </a:lnTo>
                  <a:lnTo>
                    <a:pt x="240" y="372"/>
                  </a:lnTo>
                  <a:lnTo>
                    <a:pt x="238" y="368"/>
                  </a:lnTo>
                  <a:lnTo>
                    <a:pt x="238" y="364"/>
                  </a:lnTo>
                  <a:lnTo>
                    <a:pt x="236" y="360"/>
                  </a:lnTo>
                  <a:lnTo>
                    <a:pt x="234" y="358"/>
                  </a:lnTo>
                  <a:lnTo>
                    <a:pt x="228" y="352"/>
                  </a:lnTo>
                  <a:lnTo>
                    <a:pt x="224" y="352"/>
                  </a:lnTo>
                  <a:lnTo>
                    <a:pt x="222" y="352"/>
                  </a:lnTo>
                  <a:lnTo>
                    <a:pt x="216" y="352"/>
                  </a:lnTo>
                  <a:lnTo>
                    <a:pt x="212" y="352"/>
                  </a:lnTo>
                  <a:lnTo>
                    <a:pt x="212" y="350"/>
                  </a:lnTo>
                  <a:lnTo>
                    <a:pt x="210" y="350"/>
                  </a:lnTo>
                  <a:lnTo>
                    <a:pt x="212" y="352"/>
                  </a:lnTo>
                  <a:lnTo>
                    <a:pt x="218" y="354"/>
                  </a:lnTo>
                  <a:lnTo>
                    <a:pt x="224" y="352"/>
                  </a:lnTo>
                  <a:lnTo>
                    <a:pt x="230" y="356"/>
                  </a:lnTo>
                  <a:lnTo>
                    <a:pt x="236" y="362"/>
                  </a:lnTo>
                  <a:lnTo>
                    <a:pt x="238" y="368"/>
                  </a:lnTo>
                  <a:lnTo>
                    <a:pt x="232" y="372"/>
                  </a:lnTo>
                  <a:lnTo>
                    <a:pt x="228" y="372"/>
                  </a:lnTo>
                  <a:lnTo>
                    <a:pt x="220" y="372"/>
                  </a:lnTo>
                  <a:lnTo>
                    <a:pt x="216" y="372"/>
                  </a:lnTo>
                  <a:lnTo>
                    <a:pt x="210" y="376"/>
                  </a:lnTo>
                  <a:lnTo>
                    <a:pt x="204" y="378"/>
                  </a:lnTo>
                  <a:lnTo>
                    <a:pt x="198" y="384"/>
                  </a:lnTo>
                  <a:lnTo>
                    <a:pt x="194" y="386"/>
                  </a:lnTo>
                  <a:lnTo>
                    <a:pt x="188" y="388"/>
                  </a:lnTo>
                  <a:lnTo>
                    <a:pt x="182" y="390"/>
                  </a:lnTo>
                  <a:lnTo>
                    <a:pt x="176" y="392"/>
                  </a:lnTo>
                  <a:lnTo>
                    <a:pt x="174" y="392"/>
                  </a:lnTo>
                  <a:lnTo>
                    <a:pt x="170" y="398"/>
                  </a:lnTo>
                  <a:lnTo>
                    <a:pt x="164" y="402"/>
                  </a:lnTo>
                  <a:lnTo>
                    <a:pt x="158" y="404"/>
                  </a:lnTo>
                  <a:lnTo>
                    <a:pt x="152" y="408"/>
                  </a:lnTo>
                  <a:lnTo>
                    <a:pt x="148" y="412"/>
                  </a:lnTo>
                  <a:lnTo>
                    <a:pt x="144" y="412"/>
                  </a:lnTo>
                  <a:lnTo>
                    <a:pt x="136" y="412"/>
                  </a:lnTo>
                  <a:lnTo>
                    <a:pt x="132" y="414"/>
                  </a:lnTo>
                  <a:lnTo>
                    <a:pt x="126" y="418"/>
                  </a:lnTo>
                  <a:lnTo>
                    <a:pt x="120" y="420"/>
                  </a:lnTo>
                  <a:lnTo>
                    <a:pt x="114" y="420"/>
                  </a:lnTo>
                  <a:lnTo>
                    <a:pt x="108" y="422"/>
                  </a:lnTo>
                  <a:lnTo>
                    <a:pt x="102" y="424"/>
                  </a:lnTo>
                  <a:lnTo>
                    <a:pt x="98" y="424"/>
                  </a:lnTo>
                  <a:lnTo>
                    <a:pt x="94" y="430"/>
                  </a:lnTo>
                  <a:lnTo>
                    <a:pt x="88" y="436"/>
                  </a:lnTo>
                  <a:lnTo>
                    <a:pt x="82" y="438"/>
                  </a:lnTo>
                  <a:lnTo>
                    <a:pt x="76" y="444"/>
                  </a:lnTo>
                  <a:lnTo>
                    <a:pt x="70" y="444"/>
                  </a:lnTo>
                  <a:lnTo>
                    <a:pt x="64" y="438"/>
                  </a:lnTo>
                  <a:lnTo>
                    <a:pt x="58" y="434"/>
                  </a:lnTo>
                  <a:lnTo>
                    <a:pt x="56" y="432"/>
                  </a:lnTo>
                  <a:lnTo>
                    <a:pt x="50" y="430"/>
                  </a:lnTo>
                  <a:lnTo>
                    <a:pt x="44" y="428"/>
                  </a:lnTo>
                  <a:lnTo>
                    <a:pt x="38" y="428"/>
                  </a:lnTo>
                  <a:lnTo>
                    <a:pt x="32" y="426"/>
                  </a:lnTo>
                  <a:lnTo>
                    <a:pt x="26" y="424"/>
                  </a:lnTo>
                  <a:lnTo>
                    <a:pt x="20" y="424"/>
                  </a:lnTo>
                  <a:lnTo>
                    <a:pt x="14" y="422"/>
                  </a:lnTo>
                  <a:lnTo>
                    <a:pt x="8" y="420"/>
                  </a:lnTo>
                  <a:lnTo>
                    <a:pt x="8" y="418"/>
                  </a:lnTo>
                  <a:lnTo>
                    <a:pt x="12" y="418"/>
                  </a:lnTo>
                  <a:lnTo>
                    <a:pt x="18" y="418"/>
                  </a:lnTo>
                  <a:lnTo>
                    <a:pt x="20" y="418"/>
                  </a:lnTo>
                  <a:lnTo>
                    <a:pt x="22" y="418"/>
                  </a:lnTo>
                  <a:lnTo>
                    <a:pt x="24" y="418"/>
                  </a:lnTo>
                  <a:lnTo>
                    <a:pt x="30" y="418"/>
                  </a:lnTo>
                  <a:lnTo>
                    <a:pt x="30" y="412"/>
                  </a:lnTo>
                  <a:lnTo>
                    <a:pt x="28" y="406"/>
                  </a:lnTo>
                  <a:lnTo>
                    <a:pt x="32" y="402"/>
                  </a:lnTo>
                  <a:lnTo>
                    <a:pt x="30" y="396"/>
                  </a:lnTo>
                  <a:lnTo>
                    <a:pt x="30" y="390"/>
                  </a:lnTo>
                  <a:lnTo>
                    <a:pt x="30" y="384"/>
                  </a:lnTo>
                  <a:lnTo>
                    <a:pt x="22" y="382"/>
                  </a:lnTo>
                  <a:lnTo>
                    <a:pt x="16" y="382"/>
                  </a:lnTo>
                  <a:lnTo>
                    <a:pt x="18" y="376"/>
                  </a:lnTo>
                  <a:lnTo>
                    <a:pt x="14" y="370"/>
                  </a:lnTo>
                  <a:lnTo>
                    <a:pt x="12" y="362"/>
                  </a:lnTo>
                  <a:lnTo>
                    <a:pt x="10" y="356"/>
                  </a:lnTo>
                  <a:lnTo>
                    <a:pt x="10" y="350"/>
                  </a:lnTo>
                  <a:lnTo>
                    <a:pt x="8" y="344"/>
                  </a:lnTo>
                  <a:lnTo>
                    <a:pt x="4" y="3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5" name="Freeform 212"/>
            <p:cNvSpPr>
              <a:spLocks/>
            </p:cNvSpPr>
            <p:nvPr/>
          </p:nvSpPr>
          <p:spPr bwMode="auto">
            <a:xfrm>
              <a:off x="4967288" y="4125913"/>
              <a:ext cx="134937" cy="161925"/>
            </a:xfrm>
            <a:custGeom>
              <a:avLst/>
              <a:gdLst>
                <a:gd name="T0" fmla="*/ 0 w 332"/>
                <a:gd name="T1" fmla="*/ 2147483647 h 392"/>
                <a:gd name="T2" fmla="*/ 2147483647 w 332"/>
                <a:gd name="T3" fmla="*/ 2147483647 h 392"/>
                <a:gd name="T4" fmla="*/ 2147483647 w 332"/>
                <a:gd name="T5" fmla="*/ 2147483647 h 392"/>
                <a:gd name="T6" fmla="*/ 2147483647 w 332"/>
                <a:gd name="T7" fmla="*/ 2147483647 h 392"/>
                <a:gd name="T8" fmla="*/ 2147483647 w 332"/>
                <a:gd name="T9" fmla="*/ 2147483647 h 392"/>
                <a:gd name="T10" fmla="*/ 2147483647 w 332"/>
                <a:gd name="T11" fmla="*/ 2147483647 h 392"/>
                <a:gd name="T12" fmla="*/ 2147483647 w 332"/>
                <a:gd name="T13" fmla="*/ 2147483647 h 392"/>
                <a:gd name="T14" fmla="*/ 2147483647 w 332"/>
                <a:gd name="T15" fmla="*/ 2147483647 h 392"/>
                <a:gd name="T16" fmla="*/ 2147483647 w 332"/>
                <a:gd name="T17" fmla="*/ 2147483647 h 392"/>
                <a:gd name="T18" fmla="*/ 2147483647 w 332"/>
                <a:gd name="T19" fmla="*/ 2147483647 h 392"/>
                <a:gd name="T20" fmla="*/ 2147483647 w 332"/>
                <a:gd name="T21" fmla="*/ 2147483647 h 392"/>
                <a:gd name="T22" fmla="*/ 2147483647 w 332"/>
                <a:gd name="T23" fmla="*/ 2147483647 h 392"/>
                <a:gd name="T24" fmla="*/ 2147483647 w 332"/>
                <a:gd name="T25" fmla="*/ 2147483647 h 392"/>
                <a:gd name="T26" fmla="*/ 2147483647 w 332"/>
                <a:gd name="T27" fmla="*/ 2147483647 h 392"/>
                <a:gd name="T28" fmla="*/ 2147483647 w 332"/>
                <a:gd name="T29" fmla="*/ 2147483647 h 392"/>
                <a:gd name="T30" fmla="*/ 2147483647 w 332"/>
                <a:gd name="T31" fmla="*/ 2147483647 h 392"/>
                <a:gd name="T32" fmla="*/ 2147483647 w 332"/>
                <a:gd name="T33" fmla="*/ 2147483647 h 392"/>
                <a:gd name="T34" fmla="*/ 2147483647 w 332"/>
                <a:gd name="T35" fmla="*/ 2147483647 h 392"/>
                <a:gd name="T36" fmla="*/ 2147483647 w 332"/>
                <a:gd name="T37" fmla="*/ 2147483647 h 392"/>
                <a:gd name="T38" fmla="*/ 2147483647 w 332"/>
                <a:gd name="T39" fmla="*/ 2147483647 h 392"/>
                <a:gd name="T40" fmla="*/ 2147483647 w 332"/>
                <a:gd name="T41" fmla="*/ 2147483647 h 392"/>
                <a:gd name="T42" fmla="*/ 2147483647 w 332"/>
                <a:gd name="T43" fmla="*/ 2147483647 h 392"/>
                <a:gd name="T44" fmla="*/ 2147483647 w 332"/>
                <a:gd name="T45" fmla="*/ 2147483647 h 392"/>
                <a:gd name="T46" fmla="*/ 2147483647 w 332"/>
                <a:gd name="T47" fmla="*/ 2147483647 h 392"/>
                <a:gd name="T48" fmla="*/ 2147483647 w 332"/>
                <a:gd name="T49" fmla="*/ 2147483647 h 392"/>
                <a:gd name="T50" fmla="*/ 2147483647 w 332"/>
                <a:gd name="T51" fmla="*/ 2147483647 h 392"/>
                <a:gd name="T52" fmla="*/ 2147483647 w 332"/>
                <a:gd name="T53" fmla="*/ 2147483647 h 392"/>
                <a:gd name="T54" fmla="*/ 2147483647 w 332"/>
                <a:gd name="T55" fmla="*/ 0 h 392"/>
                <a:gd name="T56" fmla="*/ 2147483647 w 332"/>
                <a:gd name="T57" fmla="*/ 2147483647 h 392"/>
                <a:gd name="T58" fmla="*/ 2147483647 w 332"/>
                <a:gd name="T59" fmla="*/ 2147483647 h 392"/>
                <a:gd name="T60" fmla="*/ 2147483647 w 332"/>
                <a:gd name="T61" fmla="*/ 2147483647 h 392"/>
                <a:gd name="T62" fmla="*/ 2147483647 w 332"/>
                <a:gd name="T63" fmla="*/ 2147483647 h 392"/>
                <a:gd name="T64" fmla="*/ 2147483647 w 332"/>
                <a:gd name="T65" fmla="*/ 2147483647 h 392"/>
                <a:gd name="T66" fmla="*/ 2147483647 w 332"/>
                <a:gd name="T67" fmla="*/ 2147483647 h 392"/>
                <a:gd name="T68" fmla="*/ 2147483647 w 332"/>
                <a:gd name="T69" fmla="*/ 2147483647 h 392"/>
                <a:gd name="T70" fmla="*/ 2147483647 w 332"/>
                <a:gd name="T71" fmla="*/ 2147483647 h 392"/>
                <a:gd name="T72" fmla="*/ 2147483647 w 332"/>
                <a:gd name="T73" fmla="*/ 2147483647 h 392"/>
                <a:gd name="T74" fmla="*/ 2147483647 w 332"/>
                <a:gd name="T75" fmla="*/ 2147483647 h 392"/>
                <a:gd name="T76" fmla="*/ 2147483647 w 332"/>
                <a:gd name="T77" fmla="*/ 2147483647 h 392"/>
                <a:gd name="T78" fmla="*/ 2147483647 w 332"/>
                <a:gd name="T79" fmla="*/ 2147483647 h 392"/>
                <a:gd name="T80" fmla="*/ 2147483647 w 332"/>
                <a:gd name="T81" fmla="*/ 2147483647 h 392"/>
                <a:gd name="T82" fmla="*/ 2147483647 w 332"/>
                <a:gd name="T83" fmla="*/ 2147483647 h 392"/>
                <a:gd name="T84" fmla="*/ 2147483647 w 332"/>
                <a:gd name="T85" fmla="*/ 2147483647 h 392"/>
                <a:gd name="T86" fmla="*/ 2147483647 w 332"/>
                <a:gd name="T87" fmla="*/ 2147483647 h 392"/>
                <a:gd name="T88" fmla="*/ 2147483647 w 332"/>
                <a:gd name="T89" fmla="*/ 2147483647 h 392"/>
                <a:gd name="T90" fmla="*/ 2147483647 w 332"/>
                <a:gd name="T91" fmla="*/ 2147483647 h 392"/>
                <a:gd name="T92" fmla="*/ 2147483647 w 332"/>
                <a:gd name="T93" fmla="*/ 2147483647 h 392"/>
                <a:gd name="T94" fmla="*/ 2147483647 w 332"/>
                <a:gd name="T95" fmla="*/ 2147483647 h 392"/>
                <a:gd name="T96" fmla="*/ 2147483647 w 332"/>
                <a:gd name="T97" fmla="*/ 2147483647 h 392"/>
                <a:gd name="T98" fmla="*/ 2147483647 w 332"/>
                <a:gd name="T99" fmla="*/ 2147483647 h 392"/>
                <a:gd name="T100" fmla="*/ 2147483647 w 332"/>
                <a:gd name="T101" fmla="*/ 2147483647 h 392"/>
                <a:gd name="T102" fmla="*/ 2147483647 w 332"/>
                <a:gd name="T103" fmla="*/ 2147483647 h 392"/>
                <a:gd name="T104" fmla="*/ 2147483647 w 332"/>
                <a:gd name="T105" fmla="*/ 2147483647 h 392"/>
                <a:gd name="T106" fmla="*/ 2147483647 w 332"/>
                <a:gd name="T107" fmla="*/ 2147483647 h 392"/>
                <a:gd name="T108" fmla="*/ 2147483647 w 332"/>
                <a:gd name="T109" fmla="*/ 2147483647 h 392"/>
                <a:gd name="T110" fmla="*/ 2147483647 w 332"/>
                <a:gd name="T111" fmla="*/ 2147483647 h 392"/>
                <a:gd name="T112" fmla="*/ 2147483647 w 332"/>
                <a:gd name="T113" fmla="*/ 2147483647 h 392"/>
                <a:gd name="T114" fmla="*/ 2147483647 w 332"/>
                <a:gd name="T115" fmla="*/ 2147483647 h 392"/>
                <a:gd name="T116" fmla="*/ 2147483647 w 332"/>
                <a:gd name="T117" fmla="*/ 2147483647 h 392"/>
                <a:gd name="T118" fmla="*/ 2147483647 w 332"/>
                <a:gd name="T119" fmla="*/ 2147483647 h 392"/>
                <a:gd name="T120" fmla="*/ 2147483647 w 332"/>
                <a:gd name="T121" fmla="*/ 2147483647 h 392"/>
                <a:gd name="T122" fmla="*/ 2147483647 w 332"/>
                <a:gd name="T123" fmla="*/ 2147483647 h 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
                <a:gd name="T187" fmla="*/ 0 h 392"/>
                <a:gd name="T188" fmla="*/ 332 w 332"/>
                <a:gd name="T189" fmla="*/ 392 h 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 h="392">
                  <a:moveTo>
                    <a:pt x="0" y="372"/>
                  </a:moveTo>
                  <a:lnTo>
                    <a:pt x="2" y="366"/>
                  </a:lnTo>
                  <a:lnTo>
                    <a:pt x="0" y="362"/>
                  </a:lnTo>
                  <a:lnTo>
                    <a:pt x="0" y="356"/>
                  </a:lnTo>
                  <a:lnTo>
                    <a:pt x="4" y="350"/>
                  </a:lnTo>
                  <a:lnTo>
                    <a:pt x="4" y="344"/>
                  </a:lnTo>
                  <a:lnTo>
                    <a:pt x="4" y="342"/>
                  </a:lnTo>
                  <a:lnTo>
                    <a:pt x="4" y="338"/>
                  </a:lnTo>
                  <a:lnTo>
                    <a:pt x="8" y="332"/>
                  </a:lnTo>
                  <a:lnTo>
                    <a:pt x="6" y="324"/>
                  </a:lnTo>
                  <a:lnTo>
                    <a:pt x="6" y="320"/>
                  </a:lnTo>
                  <a:lnTo>
                    <a:pt x="8" y="312"/>
                  </a:lnTo>
                  <a:lnTo>
                    <a:pt x="8" y="306"/>
                  </a:lnTo>
                  <a:lnTo>
                    <a:pt x="8" y="302"/>
                  </a:lnTo>
                  <a:lnTo>
                    <a:pt x="10" y="296"/>
                  </a:lnTo>
                  <a:lnTo>
                    <a:pt x="10" y="292"/>
                  </a:lnTo>
                  <a:lnTo>
                    <a:pt x="10" y="288"/>
                  </a:lnTo>
                  <a:lnTo>
                    <a:pt x="10" y="286"/>
                  </a:lnTo>
                  <a:lnTo>
                    <a:pt x="16" y="280"/>
                  </a:lnTo>
                  <a:lnTo>
                    <a:pt x="16" y="274"/>
                  </a:lnTo>
                  <a:lnTo>
                    <a:pt x="18" y="268"/>
                  </a:lnTo>
                  <a:lnTo>
                    <a:pt x="22" y="262"/>
                  </a:lnTo>
                  <a:lnTo>
                    <a:pt x="24" y="258"/>
                  </a:lnTo>
                  <a:lnTo>
                    <a:pt x="24" y="252"/>
                  </a:lnTo>
                  <a:lnTo>
                    <a:pt x="24" y="246"/>
                  </a:lnTo>
                  <a:lnTo>
                    <a:pt x="24" y="240"/>
                  </a:lnTo>
                  <a:lnTo>
                    <a:pt x="24" y="234"/>
                  </a:lnTo>
                  <a:lnTo>
                    <a:pt x="26" y="234"/>
                  </a:lnTo>
                  <a:lnTo>
                    <a:pt x="26" y="232"/>
                  </a:lnTo>
                  <a:lnTo>
                    <a:pt x="34" y="230"/>
                  </a:lnTo>
                  <a:lnTo>
                    <a:pt x="38" y="224"/>
                  </a:lnTo>
                  <a:lnTo>
                    <a:pt x="40" y="220"/>
                  </a:lnTo>
                  <a:lnTo>
                    <a:pt x="42" y="214"/>
                  </a:lnTo>
                  <a:lnTo>
                    <a:pt x="46" y="212"/>
                  </a:lnTo>
                  <a:lnTo>
                    <a:pt x="52" y="208"/>
                  </a:lnTo>
                  <a:lnTo>
                    <a:pt x="56" y="206"/>
                  </a:lnTo>
                  <a:lnTo>
                    <a:pt x="60" y="200"/>
                  </a:lnTo>
                  <a:lnTo>
                    <a:pt x="62" y="200"/>
                  </a:lnTo>
                  <a:lnTo>
                    <a:pt x="66" y="194"/>
                  </a:lnTo>
                  <a:lnTo>
                    <a:pt x="70" y="188"/>
                  </a:lnTo>
                  <a:lnTo>
                    <a:pt x="76" y="182"/>
                  </a:lnTo>
                  <a:lnTo>
                    <a:pt x="82" y="176"/>
                  </a:lnTo>
                  <a:lnTo>
                    <a:pt x="88" y="172"/>
                  </a:lnTo>
                  <a:lnTo>
                    <a:pt x="92" y="164"/>
                  </a:lnTo>
                  <a:lnTo>
                    <a:pt x="98" y="158"/>
                  </a:lnTo>
                  <a:lnTo>
                    <a:pt x="100" y="154"/>
                  </a:lnTo>
                  <a:lnTo>
                    <a:pt x="104" y="148"/>
                  </a:lnTo>
                  <a:lnTo>
                    <a:pt x="106" y="142"/>
                  </a:lnTo>
                  <a:lnTo>
                    <a:pt x="102" y="138"/>
                  </a:lnTo>
                  <a:lnTo>
                    <a:pt x="96" y="134"/>
                  </a:lnTo>
                  <a:lnTo>
                    <a:pt x="90" y="128"/>
                  </a:lnTo>
                  <a:lnTo>
                    <a:pt x="88" y="126"/>
                  </a:lnTo>
                  <a:lnTo>
                    <a:pt x="84" y="130"/>
                  </a:lnTo>
                  <a:lnTo>
                    <a:pt x="76" y="126"/>
                  </a:lnTo>
                  <a:lnTo>
                    <a:pt x="72" y="120"/>
                  </a:lnTo>
                  <a:lnTo>
                    <a:pt x="72" y="114"/>
                  </a:lnTo>
                  <a:lnTo>
                    <a:pt x="74" y="108"/>
                  </a:lnTo>
                  <a:lnTo>
                    <a:pt x="76" y="104"/>
                  </a:lnTo>
                  <a:lnTo>
                    <a:pt x="78" y="100"/>
                  </a:lnTo>
                  <a:lnTo>
                    <a:pt x="80" y="94"/>
                  </a:lnTo>
                  <a:lnTo>
                    <a:pt x="80" y="92"/>
                  </a:lnTo>
                  <a:lnTo>
                    <a:pt x="78" y="86"/>
                  </a:lnTo>
                  <a:lnTo>
                    <a:pt x="72" y="80"/>
                  </a:lnTo>
                  <a:lnTo>
                    <a:pt x="76" y="74"/>
                  </a:lnTo>
                  <a:lnTo>
                    <a:pt x="76" y="68"/>
                  </a:lnTo>
                  <a:lnTo>
                    <a:pt x="80" y="62"/>
                  </a:lnTo>
                  <a:lnTo>
                    <a:pt x="84" y="56"/>
                  </a:lnTo>
                  <a:lnTo>
                    <a:pt x="78" y="50"/>
                  </a:lnTo>
                  <a:lnTo>
                    <a:pt x="80" y="46"/>
                  </a:lnTo>
                  <a:lnTo>
                    <a:pt x="84" y="40"/>
                  </a:lnTo>
                  <a:lnTo>
                    <a:pt x="90" y="36"/>
                  </a:lnTo>
                  <a:lnTo>
                    <a:pt x="96" y="30"/>
                  </a:lnTo>
                  <a:lnTo>
                    <a:pt x="102" y="28"/>
                  </a:lnTo>
                  <a:lnTo>
                    <a:pt x="108" y="32"/>
                  </a:lnTo>
                  <a:lnTo>
                    <a:pt x="114" y="34"/>
                  </a:lnTo>
                  <a:lnTo>
                    <a:pt x="120" y="38"/>
                  </a:lnTo>
                  <a:lnTo>
                    <a:pt x="126" y="36"/>
                  </a:lnTo>
                  <a:lnTo>
                    <a:pt x="128" y="36"/>
                  </a:lnTo>
                  <a:lnTo>
                    <a:pt x="134" y="30"/>
                  </a:lnTo>
                  <a:lnTo>
                    <a:pt x="140" y="30"/>
                  </a:lnTo>
                  <a:lnTo>
                    <a:pt x="144" y="36"/>
                  </a:lnTo>
                  <a:lnTo>
                    <a:pt x="146" y="42"/>
                  </a:lnTo>
                  <a:lnTo>
                    <a:pt x="150" y="44"/>
                  </a:lnTo>
                  <a:lnTo>
                    <a:pt x="152" y="44"/>
                  </a:lnTo>
                  <a:lnTo>
                    <a:pt x="158" y="48"/>
                  </a:lnTo>
                  <a:lnTo>
                    <a:pt x="160" y="48"/>
                  </a:lnTo>
                  <a:lnTo>
                    <a:pt x="160" y="42"/>
                  </a:lnTo>
                  <a:lnTo>
                    <a:pt x="166" y="38"/>
                  </a:lnTo>
                  <a:lnTo>
                    <a:pt x="172" y="32"/>
                  </a:lnTo>
                  <a:lnTo>
                    <a:pt x="178" y="32"/>
                  </a:lnTo>
                  <a:lnTo>
                    <a:pt x="184" y="32"/>
                  </a:lnTo>
                  <a:lnTo>
                    <a:pt x="190" y="32"/>
                  </a:lnTo>
                  <a:lnTo>
                    <a:pt x="196" y="30"/>
                  </a:lnTo>
                  <a:lnTo>
                    <a:pt x="202" y="28"/>
                  </a:lnTo>
                  <a:lnTo>
                    <a:pt x="208" y="24"/>
                  </a:lnTo>
                  <a:lnTo>
                    <a:pt x="214" y="26"/>
                  </a:lnTo>
                  <a:lnTo>
                    <a:pt x="220" y="30"/>
                  </a:lnTo>
                  <a:lnTo>
                    <a:pt x="220" y="32"/>
                  </a:lnTo>
                  <a:lnTo>
                    <a:pt x="226" y="32"/>
                  </a:lnTo>
                  <a:lnTo>
                    <a:pt x="232" y="32"/>
                  </a:lnTo>
                  <a:lnTo>
                    <a:pt x="238" y="32"/>
                  </a:lnTo>
                  <a:lnTo>
                    <a:pt x="240" y="32"/>
                  </a:lnTo>
                  <a:lnTo>
                    <a:pt x="246" y="26"/>
                  </a:lnTo>
                  <a:lnTo>
                    <a:pt x="252" y="20"/>
                  </a:lnTo>
                  <a:lnTo>
                    <a:pt x="256" y="14"/>
                  </a:lnTo>
                  <a:lnTo>
                    <a:pt x="262" y="8"/>
                  </a:lnTo>
                  <a:lnTo>
                    <a:pt x="266" y="2"/>
                  </a:lnTo>
                  <a:lnTo>
                    <a:pt x="270" y="0"/>
                  </a:lnTo>
                  <a:lnTo>
                    <a:pt x="274" y="6"/>
                  </a:lnTo>
                  <a:lnTo>
                    <a:pt x="276" y="12"/>
                  </a:lnTo>
                  <a:lnTo>
                    <a:pt x="278" y="18"/>
                  </a:lnTo>
                  <a:lnTo>
                    <a:pt x="276" y="24"/>
                  </a:lnTo>
                  <a:lnTo>
                    <a:pt x="282" y="22"/>
                  </a:lnTo>
                  <a:lnTo>
                    <a:pt x="282" y="28"/>
                  </a:lnTo>
                  <a:lnTo>
                    <a:pt x="288" y="32"/>
                  </a:lnTo>
                  <a:lnTo>
                    <a:pt x="294" y="34"/>
                  </a:lnTo>
                  <a:lnTo>
                    <a:pt x="300" y="40"/>
                  </a:lnTo>
                  <a:lnTo>
                    <a:pt x="298" y="46"/>
                  </a:lnTo>
                  <a:lnTo>
                    <a:pt x="296" y="52"/>
                  </a:lnTo>
                  <a:lnTo>
                    <a:pt x="296" y="58"/>
                  </a:lnTo>
                  <a:lnTo>
                    <a:pt x="298" y="64"/>
                  </a:lnTo>
                  <a:lnTo>
                    <a:pt x="298" y="70"/>
                  </a:lnTo>
                  <a:lnTo>
                    <a:pt x="304" y="74"/>
                  </a:lnTo>
                  <a:lnTo>
                    <a:pt x="304" y="76"/>
                  </a:lnTo>
                  <a:lnTo>
                    <a:pt x="306" y="82"/>
                  </a:lnTo>
                  <a:lnTo>
                    <a:pt x="308" y="88"/>
                  </a:lnTo>
                  <a:lnTo>
                    <a:pt x="312" y="94"/>
                  </a:lnTo>
                  <a:lnTo>
                    <a:pt x="318" y="98"/>
                  </a:lnTo>
                  <a:lnTo>
                    <a:pt x="320" y="104"/>
                  </a:lnTo>
                  <a:lnTo>
                    <a:pt x="322" y="110"/>
                  </a:lnTo>
                  <a:lnTo>
                    <a:pt x="326" y="116"/>
                  </a:lnTo>
                  <a:lnTo>
                    <a:pt x="328" y="118"/>
                  </a:lnTo>
                  <a:lnTo>
                    <a:pt x="326" y="124"/>
                  </a:lnTo>
                  <a:lnTo>
                    <a:pt x="326" y="126"/>
                  </a:lnTo>
                  <a:lnTo>
                    <a:pt x="326" y="132"/>
                  </a:lnTo>
                  <a:lnTo>
                    <a:pt x="330" y="138"/>
                  </a:lnTo>
                  <a:lnTo>
                    <a:pt x="332" y="144"/>
                  </a:lnTo>
                  <a:lnTo>
                    <a:pt x="330" y="150"/>
                  </a:lnTo>
                  <a:lnTo>
                    <a:pt x="332" y="156"/>
                  </a:lnTo>
                  <a:lnTo>
                    <a:pt x="332" y="162"/>
                  </a:lnTo>
                  <a:lnTo>
                    <a:pt x="332" y="164"/>
                  </a:lnTo>
                  <a:lnTo>
                    <a:pt x="332" y="170"/>
                  </a:lnTo>
                  <a:lnTo>
                    <a:pt x="332" y="172"/>
                  </a:lnTo>
                  <a:lnTo>
                    <a:pt x="332" y="176"/>
                  </a:lnTo>
                  <a:lnTo>
                    <a:pt x="330" y="182"/>
                  </a:lnTo>
                  <a:lnTo>
                    <a:pt x="324" y="188"/>
                  </a:lnTo>
                  <a:lnTo>
                    <a:pt x="320" y="194"/>
                  </a:lnTo>
                  <a:lnTo>
                    <a:pt x="322" y="200"/>
                  </a:lnTo>
                  <a:lnTo>
                    <a:pt x="322" y="202"/>
                  </a:lnTo>
                  <a:lnTo>
                    <a:pt x="320" y="208"/>
                  </a:lnTo>
                  <a:lnTo>
                    <a:pt x="318" y="208"/>
                  </a:lnTo>
                  <a:lnTo>
                    <a:pt x="312" y="210"/>
                  </a:lnTo>
                  <a:lnTo>
                    <a:pt x="308" y="216"/>
                  </a:lnTo>
                  <a:lnTo>
                    <a:pt x="306" y="216"/>
                  </a:lnTo>
                  <a:lnTo>
                    <a:pt x="304" y="214"/>
                  </a:lnTo>
                  <a:lnTo>
                    <a:pt x="304" y="216"/>
                  </a:lnTo>
                  <a:lnTo>
                    <a:pt x="300" y="222"/>
                  </a:lnTo>
                  <a:lnTo>
                    <a:pt x="300" y="226"/>
                  </a:lnTo>
                  <a:lnTo>
                    <a:pt x="296" y="232"/>
                  </a:lnTo>
                  <a:lnTo>
                    <a:pt x="294" y="236"/>
                  </a:lnTo>
                  <a:lnTo>
                    <a:pt x="292" y="238"/>
                  </a:lnTo>
                  <a:lnTo>
                    <a:pt x="290" y="242"/>
                  </a:lnTo>
                  <a:lnTo>
                    <a:pt x="288" y="248"/>
                  </a:lnTo>
                  <a:lnTo>
                    <a:pt x="282" y="250"/>
                  </a:lnTo>
                  <a:lnTo>
                    <a:pt x="280" y="256"/>
                  </a:lnTo>
                  <a:lnTo>
                    <a:pt x="278" y="260"/>
                  </a:lnTo>
                  <a:lnTo>
                    <a:pt x="278" y="266"/>
                  </a:lnTo>
                  <a:lnTo>
                    <a:pt x="274" y="272"/>
                  </a:lnTo>
                  <a:lnTo>
                    <a:pt x="272" y="276"/>
                  </a:lnTo>
                  <a:lnTo>
                    <a:pt x="270" y="278"/>
                  </a:lnTo>
                  <a:lnTo>
                    <a:pt x="266" y="284"/>
                  </a:lnTo>
                  <a:lnTo>
                    <a:pt x="266" y="290"/>
                  </a:lnTo>
                  <a:lnTo>
                    <a:pt x="268" y="292"/>
                  </a:lnTo>
                  <a:lnTo>
                    <a:pt x="268" y="294"/>
                  </a:lnTo>
                  <a:lnTo>
                    <a:pt x="270" y="302"/>
                  </a:lnTo>
                  <a:lnTo>
                    <a:pt x="270" y="308"/>
                  </a:lnTo>
                  <a:lnTo>
                    <a:pt x="268" y="314"/>
                  </a:lnTo>
                  <a:lnTo>
                    <a:pt x="266" y="320"/>
                  </a:lnTo>
                  <a:lnTo>
                    <a:pt x="266" y="326"/>
                  </a:lnTo>
                  <a:lnTo>
                    <a:pt x="266" y="332"/>
                  </a:lnTo>
                  <a:lnTo>
                    <a:pt x="266" y="338"/>
                  </a:lnTo>
                  <a:lnTo>
                    <a:pt x="266" y="344"/>
                  </a:lnTo>
                  <a:lnTo>
                    <a:pt x="266" y="350"/>
                  </a:lnTo>
                  <a:lnTo>
                    <a:pt x="266" y="356"/>
                  </a:lnTo>
                  <a:lnTo>
                    <a:pt x="266" y="362"/>
                  </a:lnTo>
                  <a:lnTo>
                    <a:pt x="264" y="362"/>
                  </a:lnTo>
                  <a:lnTo>
                    <a:pt x="258" y="362"/>
                  </a:lnTo>
                  <a:lnTo>
                    <a:pt x="250" y="362"/>
                  </a:lnTo>
                  <a:lnTo>
                    <a:pt x="244" y="362"/>
                  </a:lnTo>
                  <a:lnTo>
                    <a:pt x="236" y="362"/>
                  </a:lnTo>
                  <a:lnTo>
                    <a:pt x="234" y="362"/>
                  </a:lnTo>
                  <a:lnTo>
                    <a:pt x="228" y="362"/>
                  </a:lnTo>
                  <a:lnTo>
                    <a:pt x="222" y="362"/>
                  </a:lnTo>
                  <a:lnTo>
                    <a:pt x="216" y="362"/>
                  </a:lnTo>
                  <a:lnTo>
                    <a:pt x="210" y="362"/>
                  </a:lnTo>
                  <a:lnTo>
                    <a:pt x="204" y="362"/>
                  </a:lnTo>
                  <a:lnTo>
                    <a:pt x="200" y="362"/>
                  </a:lnTo>
                  <a:lnTo>
                    <a:pt x="194" y="362"/>
                  </a:lnTo>
                  <a:lnTo>
                    <a:pt x="190" y="362"/>
                  </a:lnTo>
                  <a:lnTo>
                    <a:pt x="186" y="362"/>
                  </a:lnTo>
                  <a:lnTo>
                    <a:pt x="180" y="362"/>
                  </a:lnTo>
                  <a:lnTo>
                    <a:pt x="174" y="362"/>
                  </a:lnTo>
                  <a:lnTo>
                    <a:pt x="168" y="362"/>
                  </a:lnTo>
                  <a:lnTo>
                    <a:pt x="162" y="362"/>
                  </a:lnTo>
                  <a:lnTo>
                    <a:pt x="156" y="362"/>
                  </a:lnTo>
                  <a:lnTo>
                    <a:pt x="150" y="362"/>
                  </a:lnTo>
                  <a:lnTo>
                    <a:pt x="146" y="362"/>
                  </a:lnTo>
                  <a:lnTo>
                    <a:pt x="140" y="362"/>
                  </a:lnTo>
                  <a:lnTo>
                    <a:pt x="138" y="362"/>
                  </a:lnTo>
                  <a:lnTo>
                    <a:pt x="136" y="362"/>
                  </a:lnTo>
                  <a:lnTo>
                    <a:pt x="134" y="362"/>
                  </a:lnTo>
                  <a:lnTo>
                    <a:pt x="128" y="362"/>
                  </a:lnTo>
                  <a:lnTo>
                    <a:pt x="122" y="362"/>
                  </a:lnTo>
                  <a:lnTo>
                    <a:pt x="114" y="362"/>
                  </a:lnTo>
                  <a:lnTo>
                    <a:pt x="104" y="362"/>
                  </a:lnTo>
                  <a:lnTo>
                    <a:pt x="96" y="362"/>
                  </a:lnTo>
                  <a:lnTo>
                    <a:pt x="90" y="362"/>
                  </a:lnTo>
                  <a:lnTo>
                    <a:pt x="84" y="362"/>
                  </a:lnTo>
                  <a:lnTo>
                    <a:pt x="76" y="362"/>
                  </a:lnTo>
                  <a:lnTo>
                    <a:pt x="74" y="360"/>
                  </a:lnTo>
                  <a:lnTo>
                    <a:pt x="68" y="364"/>
                  </a:lnTo>
                  <a:lnTo>
                    <a:pt x="62" y="366"/>
                  </a:lnTo>
                  <a:lnTo>
                    <a:pt x="56" y="366"/>
                  </a:lnTo>
                  <a:lnTo>
                    <a:pt x="56" y="364"/>
                  </a:lnTo>
                  <a:lnTo>
                    <a:pt x="50" y="366"/>
                  </a:lnTo>
                  <a:lnTo>
                    <a:pt x="48" y="370"/>
                  </a:lnTo>
                  <a:lnTo>
                    <a:pt x="46" y="370"/>
                  </a:lnTo>
                  <a:lnTo>
                    <a:pt x="44" y="376"/>
                  </a:lnTo>
                  <a:lnTo>
                    <a:pt x="38" y="380"/>
                  </a:lnTo>
                  <a:lnTo>
                    <a:pt x="34" y="386"/>
                  </a:lnTo>
                  <a:lnTo>
                    <a:pt x="26" y="392"/>
                  </a:lnTo>
                  <a:lnTo>
                    <a:pt x="20" y="388"/>
                  </a:lnTo>
                  <a:lnTo>
                    <a:pt x="18" y="384"/>
                  </a:lnTo>
                  <a:lnTo>
                    <a:pt x="12" y="384"/>
                  </a:lnTo>
                  <a:lnTo>
                    <a:pt x="8" y="388"/>
                  </a:lnTo>
                  <a:lnTo>
                    <a:pt x="2" y="388"/>
                  </a:lnTo>
                  <a:lnTo>
                    <a:pt x="2" y="384"/>
                  </a:lnTo>
                  <a:lnTo>
                    <a:pt x="2" y="378"/>
                  </a:lnTo>
                  <a:lnTo>
                    <a:pt x="0" y="37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6" name="Freeform 213"/>
            <p:cNvSpPr>
              <a:spLocks/>
            </p:cNvSpPr>
            <p:nvPr/>
          </p:nvSpPr>
          <p:spPr bwMode="auto">
            <a:xfrm>
              <a:off x="3819525" y="3468688"/>
              <a:ext cx="301625" cy="357187"/>
            </a:xfrm>
            <a:custGeom>
              <a:avLst/>
              <a:gdLst>
                <a:gd name="T0" fmla="*/ 2147483647 w 742"/>
                <a:gd name="T1" fmla="*/ 2147483647 h 870"/>
                <a:gd name="T2" fmla="*/ 2147483647 w 742"/>
                <a:gd name="T3" fmla="*/ 2147483647 h 870"/>
                <a:gd name="T4" fmla="*/ 2147483647 w 742"/>
                <a:gd name="T5" fmla="*/ 2147483647 h 870"/>
                <a:gd name="T6" fmla="*/ 2147483647 w 742"/>
                <a:gd name="T7" fmla="*/ 2147483647 h 870"/>
                <a:gd name="T8" fmla="*/ 2147483647 w 742"/>
                <a:gd name="T9" fmla="*/ 2147483647 h 870"/>
                <a:gd name="T10" fmla="*/ 2147483647 w 742"/>
                <a:gd name="T11" fmla="*/ 2147483647 h 870"/>
                <a:gd name="T12" fmla="*/ 2147483647 w 742"/>
                <a:gd name="T13" fmla="*/ 2147483647 h 870"/>
                <a:gd name="T14" fmla="*/ 2147483647 w 742"/>
                <a:gd name="T15" fmla="*/ 2147483647 h 870"/>
                <a:gd name="T16" fmla="*/ 2147483647 w 742"/>
                <a:gd name="T17" fmla="*/ 2147483647 h 870"/>
                <a:gd name="T18" fmla="*/ 2147483647 w 742"/>
                <a:gd name="T19" fmla="*/ 2147483647 h 870"/>
                <a:gd name="T20" fmla="*/ 2147483647 w 742"/>
                <a:gd name="T21" fmla="*/ 2147483647 h 870"/>
                <a:gd name="T22" fmla="*/ 2147483647 w 742"/>
                <a:gd name="T23" fmla="*/ 2147483647 h 870"/>
                <a:gd name="T24" fmla="*/ 2147483647 w 742"/>
                <a:gd name="T25" fmla="*/ 2147483647 h 870"/>
                <a:gd name="T26" fmla="*/ 2147483647 w 742"/>
                <a:gd name="T27" fmla="*/ 2147483647 h 870"/>
                <a:gd name="T28" fmla="*/ 2147483647 w 742"/>
                <a:gd name="T29" fmla="*/ 2147483647 h 870"/>
                <a:gd name="T30" fmla="*/ 2147483647 w 742"/>
                <a:gd name="T31" fmla="*/ 0 h 870"/>
                <a:gd name="T32" fmla="*/ 2147483647 w 742"/>
                <a:gd name="T33" fmla="*/ 2147483647 h 870"/>
                <a:gd name="T34" fmla="*/ 2147483647 w 742"/>
                <a:gd name="T35" fmla="*/ 2147483647 h 870"/>
                <a:gd name="T36" fmla="*/ 2147483647 w 742"/>
                <a:gd name="T37" fmla="*/ 2147483647 h 870"/>
                <a:gd name="T38" fmla="*/ 2147483647 w 742"/>
                <a:gd name="T39" fmla="*/ 2147483647 h 870"/>
                <a:gd name="T40" fmla="*/ 2147483647 w 742"/>
                <a:gd name="T41" fmla="*/ 2147483647 h 870"/>
                <a:gd name="T42" fmla="*/ 2147483647 w 742"/>
                <a:gd name="T43" fmla="*/ 2147483647 h 870"/>
                <a:gd name="T44" fmla="*/ 2147483647 w 742"/>
                <a:gd name="T45" fmla="*/ 2147483647 h 870"/>
                <a:gd name="T46" fmla="*/ 2147483647 w 742"/>
                <a:gd name="T47" fmla="*/ 2147483647 h 870"/>
                <a:gd name="T48" fmla="*/ 2147483647 w 742"/>
                <a:gd name="T49" fmla="*/ 2147483647 h 870"/>
                <a:gd name="T50" fmla="*/ 2147483647 w 742"/>
                <a:gd name="T51" fmla="*/ 2147483647 h 870"/>
                <a:gd name="T52" fmla="*/ 2147483647 w 742"/>
                <a:gd name="T53" fmla="*/ 2147483647 h 870"/>
                <a:gd name="T54" fmla="*/ 2147483647 w 742"/>
                <a:gd name="T55" fmla="*/ 2147483647 h 870"/>
                <a:gd name="T56" fmla="*/ 2147483647 w 742"/>
                <a:gd name="T57" fmla="*/ 2147483647 h 870"/>
                <a:gd name="T58" fmla="*/ 2147483647 w 742"/>
                <a:gd name="T59" fmla="*/ 2147483647 h 870"/>
                <a:gd name="T60" fmla="*/ 2147483647 w 742"/>
                <a:gd name="T61" fmla="*/ 2147483647 h 870"/>
                <a:gd name="T62" fmla="*/ 2147483647 w 742"/>
                <a:gd name="T63" fmla="*/ 2147483647 h 870"/>
                <a:gd name="T64" fmla="*/ 2147483647 w 742"/>
                <a:gd name="T65" fmla="*/ 2147483647 h 870"/>
                <a:gd name="T66" fmla="*/ 2147483647 w 742"/>
                <a:gd name="T67" fmla="*/ 2147483647 h 870"/>
                <a:gd name="T68" fmla="*/ 2147483647 w 742"/>
                <a:gd name="T69" fmla="*/ 2147483647 h 870"/>
                <a:gd name="T70" fmla="*/ 2147483647 w 742"/>
                <a:gd name="T71" fmla="*/ 2147483647 h 870"/>
                <a:gd name="T72" fmla="*/ 2147483647 w 742"/>
                <a:gd name="T73" fmla="*/ 2147483647 h 870"/>
                <a:gd name="T74" fmla="*/ 2147483647 w 742"/>
                <a:gd name="T75" fmla="*/ 2147483647 h 870"/>
                <a:gd name="T76" fmla="*/ 2147483647 w 742"/>
                <a:gd name="T77" fmla="*/ 2147483647 h 870"/>
                <a:gd name="T78" fmla="*/ 2147483647 w 742"/>
                <a:gd name="T79" fmla="*/ 2147483647 h 870"/>
                <a:gd name="T80" fmla="*/ 2147483647 w 742"/>
                <a:gd name="T81" fmla="*/ 2147483647 h 870"/>
                <a:gd name="T82" fmla="*/ 2147483647 w 742"/>
                <a:gd name="T83" fmla="*/ 2147483647 h 870"/>
                <a:gd name="T84" fmla="*/ 2147483647 w 742"/>
                <a:gd name="T85" fmla="*/ 2147483647 h 870"/>
                <a:gd name="T86" fmla="*/ 2147483647 w 742"/>
                <a:gd name="T87" fmla="*/ 2147483647 h 870"/>
                <a:gd name="T88" fmla="*/ 2147483647 w 742"/>
                <a:gd name="T89" fmla="*/ 2147483647 h 870"/>
                <a:gd name="T90" fmla="*/ 2147483647 w 742"/>
                <a:gd name="T91" fmla="*/ 2147483647 h 870"/>
                <a:gd name="T92" fmla="*/ 2147483647 w 742"/>
                <a:gd name="T93" fmla="*/ 2147483647 h 870"/>
                <a:gd name="T94" fmla="*/ 2147483647 w 742"/>
                <a:gd name="T95" fmla="*/ 2147483647 h 870"/>
                <a:gd name="T96" fmla="*/ 2147483647 w 742"/>
                <a:gd name="T97" fmla="*/ 2147483647 h 870"/>
                <a:gd name="T98" fmla="*/ 2147483647 w 742"/>
                <a:gd name="T99" fmla="*/ 2147483647 h 870"/>
                <a:gd name="T100" fmla="*/ 2147483647 w 742"/>
                <a:gd name="T101" fmla="*/ 2147483647 h 870"/>
                <a:gd name="T102" fmla="*/ 2147483647 w 742"/>
                <a:gd name="T103" fmla="*/ 2147483647 h 870"/>
                <a:gd name="T104" fmla="*/ 2147483647 w 742"/>
                <a:gd name="T105" fmla="*/ 2147483647 h 870"/>
                <a:gd name="T106" fmla="*/ 2147483647 w 742"/>
                <a:gd name="T107" fmla="*/ 2147483647 h 870"/>
                <a:gd name="T108" fmla="*/ 2147483647 w 742"/>
                <a:gd name="T109" fmla="*/ 2147483647 h 870"/>
                <a:gd name="T110" fmla="*/ 2147483647 w 742"/>
                <a:gd name="T111" fmla="*/ 2147483647 h 870"/>
                <a:gd name="T112" fmla="*/ 2147483647 w 742"/>
                <a:gd name="T113" fmla="*/ 2147483647 h 870"/>
                <a:gd name="T114" fmla="*/ 2147483647 w 742"/>
                <a:gd name="T115" fmla="*/ 2147483647 h 870"/>
                <a:gd name="T116" fmla="*/ 2147483647 w 742"/>
                <a:gd name="T117" fmla="*/ 2147483647 h 8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42"/>
                <a:gd name="T178" fmla="*/ 0 h 870"/>
                <a:gd name="T179" fmla="*/ 742 w 742"/>
                <a:gd name="T180" fmla="*/ 870 h 8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42" h="870">
                  <a:moveTo>
                    <a:pt x="0" y="452"/>
                  </a:moveTo>
                  <a:lnTo>
                    <a:pt x="0" y="446"/>
                  </a:lnTo>
                  <a:lnTo>
                    <a:pt x="0" y="440"/>
                  </a:lnTo>
                  <a:lnTo>
                    <a:pt x="2" y="434"/>
                  </a:lnTo>
                  <a:lnTo>
                    <a:pt x="4" y="428"/>
                  </a:lnTo>
                  <a:lnTo>
                    <a:pt x="6" y="422"/>
                  </a:lnTo>
                  <a:lnTo>
                    <a:pt x="6" y="416"/>
                  </a:lnTo>
                  <a:lnTo>
                    <a:pt x="12" y="412"/>
                  </a:lnTo>
                  <a:lnTo>
                    <a:pt x="20" y="412"/>
                  </a:lnTo>
                  <a:lnTo>
                    <a:pt x="26" y="412"/>
                  </a:lnTo>
                  <a:lnTo>
                    <a:pt x="32" y="412"/>
                  </a:lnTo>
                  <a:lnTo>
                    <a:pt x="38" y="412"/>
                  </a:lnTo>
                  <a:lnTo>
                    <a:pt x="46" y="412"/>
                  </a:lnTo>
                  <a:lnTo>
                    <a:pt x="52" y="412"/>
                  </a:lnTo>
                  <a:lnTo>
                    <a:pt x="60" y="412"/>
                  </a:lnTo>
                  <a:lnTo>
                    <a:pt x="66" y="412"/>
                  </a:lnTo>
                  <a:lnTo>
                    <a:pt x="72" y="412"/>
                  </a:lnTo>
                  <a:lnTo>
                    <a:pt x="78" y="412"/>
                  </a:lnTo>
                  <a:lnTo>
                    <a:pt x="80" y="412"/>
                  </a:lnTo>
                  <a:lnTo>
                    <a:pt x="86" y="412"/>
                  </a:lnTo>
                  <a:lnTo>
                    <a:pt x="94" y="412"/>
                  </a:lnTo>
                  <a:lnTo>
                    <a:pt x="100" y="412"/>
                  </a:lnTo>
                  <a:lnTo>
                    <a:pt x="106" y="412"/>
                  </a:lnTo>
                  <a:lnTo>
                    <a:pt x="112" y="412"/>
                  </a:lnTo>
                  <a:lnTo>
                    <a:pt x="120" y="412"/>
                  </a:lnTo>
                  <a:lnTo>
                    <a:pt x="122" y="412"/>
                  </a:lnTo>
                  <a:lnTo>
                    <a:pt x="128" y="412"/>
                  </a:lnTo>
                  <a:lnTo>
                    <a:pt x="136" y="412"/>
                  </a:lnTo>
                  <a:lnTo>
                    <a:pt x="144" y="412"/>
                  </a:lnTo>
                  <a:lnTo>
                    <a:pt x="150" y="412"/>
                  </a:lnTo>
                  <a:lnTo>
                    <a:pt x="156" y="412"/>
                  </a:lnTo>
                  <a:lnTo>
                    <a:pt x="162" y="412"/>
                  </a:lnTo>
                  <a:lnTo>
                    <a:pt x="166" y="412"/>
                  </a:lnTo>
                  <a:lnTo>
                    <a:pt x="172" y="412"/>
                  </a:lnTo>
                  <a:lnTo>
                    <a:pt x="178" y="412"/>
                  </a:lnTo>
                  <a:lnTo>
                    <a:pt x="186" y="412"/>
                  </a:lnTo>
                  <a:lnTo>
                    <a:pt x="192" y="412"/>
                  </a:lnTo>
                  <a:lnTo>
                    <a:pt x="198" y="412"/>
                  </a:lnTo>
                  <a:lnTo>
                    <a:pt x="204" y="412"/>
                  </a:lnTo>
                  <a:lnTo>
                    <a:pt x="212" y="412"/>
                  </a:lnTo>
                  <a:lnTo>
                    <a:pt x="218" y="412"/>
                  </a:lnTo>
                  <a:lnTo>
                    <a:pt x="226" y="412"/>
                  </a:lnTo>
                  <a:lnTo>
                    <a:pt x="232" y="412"/>
                  </a:lnTo>
                  <a:lnTo>
                    <a:pt x="238" y="412"/>
                  </a:lnTo>
                  <a:lnTo>
                    <a:pt x="244" y="412"/>
                  </a:lnTo>
                  <a:lnTo>
                    <a:pt x="244" y="406"/>
                  </a:lnTo>
                  <a:lnTo>
                    <a:pt x="244" y="402"/>
                  </a:lnTo>
                  <a:lnTo>
                    <a:pt x="244" y="400"/>
                  </a:lnTo>
                  <a:lnTo>
                    <a:pt x="244" y="394"/>
                  </a:lnTo>
                  <a:lnTo>
                    <a:pt x="244" y="388"/>
                  </a:lnTo>
                  <a:lnTo>
                    <a:pt x="244" y="382"/>
                  </a:lnTo>
                  <a:lnTo>
                    <a:pt x="244" y="376"/>
                  </a:lnTo>
                  <a:lnTo>
                    <a:pt x="242" y="370"/>
                  </a:lnTo>
                  <a:lnTo>
                    <a:pt x="242" y="364"/>
                  </a:lnTo>
                  <a:lnTo>
                    <a:pt x="242" y="358"/>
                  </a:lnTo>
                  <a:lnTo>
                    <a:pt x="242" y="352"/>
                  </a:lnTo>
                  <a:lnTo>
                    <a:pt x="242" y="346"/>
                  </a:lnTo>
                  <a:lnTo>
                    <a:pt x="242" y="342"/>
                  </a:lnTo>
                  <a:lnTo>
                    <a:pt x="242" y="336"/>
                  </a:lnTo>
                  <a:lnTo>
                    <a:pt x="242" y="328"/>
                  </a:lnTo>
                  <a:lnTo>
                    <a:pt x="240" y="322"/>
                  </a:lnTo>
                  <a:lnTo>
                    <a:pt x="240" y="318"/>
                  </a:lnTo>
                  <a:lnTo>
                    <a:pt x="240" y="312"/>
                  </a:lnTo>
                  <a:lnTo>
                    <a:pt x="242" y="304"/>
                  </a:lnTo>
                  <a:lnTo>
                    <a:pt x="246" y="300"/>
                  </a:lnTo>
                  <a:lnTo>
                    <a:pt x="252" y="292"/>
                  </a:lnTo>
                  <a:lnTo>
                    <a:pt x="260" y="288"/>
                  </a:lnTo>
                  <a:lnTo>
                    <a:pt x="266" y="284"/>
                  </a:lnTo>
                  <a:lnTo>
                    <a:pt x="272" y="280"/>
                  </a:lnTo>
                  <a:lnTo>
                    <a:pt x="272" y="278"/>
                  </a:lnTo>
                  <a:lnTo>
                    <a:pt x="280" y="276"/>
                  </a:lnTo>
                  <a:lnTo>
                    <a:pt x="286" y="276"/>
                  </a:lnTo>
                  <a:lnTo>
                    <a:pt x="294" y="272"/>
                  </a:lnTo>
                  <a:lnTo>
                    <a:pt x="298" y="270"/>
                  </a:lnTo>
                  <a:lnTo>
                    <a:pt x="306" y="268"/>
                  </a:lnTo>
                  <a:lnTo>
                    <a:pt x="310" y="266"/>
                  </a:lnTo>
                  <a:lnTo>
                    <a:pt x="310" y="258"/>
                  </a:lnTo>
                  <a:lnTo>
                    <a:pt x="310" y="250"/>
                  </a:lnTo>
                  <a:lnTo>
                    <a:pt x="310" y="240"/>
                  </a:lnTo>
                  <a:lnTo>
                    <a:pt x="310" y="234"/>
                  </a:lnTo>
                  <a:lnTo>
                    <a:pt x="310" y="228"/>
                  </a:lnTo>
                  <a:lnTo>
                    <a:pt x="310" y="218"/>
                  </a:lnTo>
                  <a:lnTo>
                    <a:pt x="312" y="206"/>
                  </a:lnTo>
                  <a:lnTo>
                    <a:pt x="312" y="198"/>
                  </a:lnTo>
                  <a:lnTo>
                    <a:pt x="312" y="192"/>
                  </a:lnTo>
                  <a:lnTo>
                    <a:pt x="312" y="186"/>
                  </a:lnTo>
                  <a:lnTo>
                    <a:pt x="312" y="178"/>
                  </a:lnTo>
                  <a:lnTo>
                    <a:pt x="312" y="174"/>
                  </a:lnTo>
                  <a:lnTo>
                    <a:pt x="314" y="166"/>
                  </a:lnTo>
                  <a:lnTo>
                    <a:pt x="314" y="160"/>
                  </a:lnTo>
                  <a:lnTo>
                    <a:pt x="314" y="148"/>
                  </a:lnTo>
                  <a:lnTo>
                    <a:pt x="314" y="138"/>
                  </a:lnTo>
                  <a:lnTo>
                    <a:pt x="314" y="130"/>
                  </a:lnTo>
                  <a:lnTo>
                    <a:pt x="314" y="122"/>
                  </a:lnTo>
                  <a:lnTo>
                    <a:pt x="316" y="108"/>
                  </a:lnTo>
                  <a:lnTo>
                    <a:pt x="316" y="100"/>
                  </a:lnTo>
                  <a:lnTo>
                    <a:pt x="316" y="90"/>
                  </a:lnTo>
                  <a:lnTo>
                    <a:pt x="320" y="90"/>
                  </a:lnTo>
                  <a:lnTo>
                    <a:pt x="328" y="90"/>
                  </a:lnTo>
                  <a:lnTo>
                    <a:pt x="336" y="90"/>
                  </a:lnTo>
                  <a:lnTo>
                    <a:pt x="338" y="90"/>
                  </a:lnTo>
                  <a:lnTo>
                    <a:pt x="348" y="90"/>
                  </a:lnTo>
                  <a:lnTo>
                    <a:pt x="354" y="90"/>
                  </a:lnTo>
                  <a:lnTo>
                    <a:pt x="360" y="90"/>
                  </a:lnTo>
                  <a:lnTo>
                    <a:pt x="366" y="90"/>
                  </a:lnTo>
                  <a:lnTo>
                    <a:pt x="376" y="90"/>
                  </a:lnTo>
                  <a:lnTo>
                    <a:pt x="384" y="90"/>
                  </a:lnTo>
                  <a:lnTo>
                    <a:pt x="392" y="90"/>
                  </a:lnTo>
                  <a:lnTo>
                    <a:pt x="400" y="90"/>
                  </a:lnTo>
                  <a:lnTo>
                    <a:pt x="410" y="90"/>
                  </a:lnTo>
                  <a:lnTo>
                    <a:pt x="418" y="90"/>
                  </a:lnTo>
                  <a:lnTo>
                    <a:pt x="424" y="90"/>
                  </a:lnTo>
                  <a:lnTo>
                    <a:pt x="436" y="90"/>
                  </a:lnTo>
                  <a:lnTo>
                    <a:pt x="438" y="90"/>
                  </a:lnTo>
                  <a:lnTo>
                    <a:pt x="442" y="90"/>
                  </a:lnTo>
                  <a:lnTo>
                    <a:pt x="450" y="90"/>
                  </a:lnTo>
                  <a:lnTo>
                    <a:pt x="454" y="90"/>
                  </a:lnTo>
                  <a:lnTo>
                    <a:pt x="460" y="90"/>
                  </a:lnTo>
                  <a:lnTo>
                    <a:pt x="466" y="90"/>
                  </a:lnTo>
                  <a:lnTo>
                    <a:pt x="472" y="90"/>
                  </a:lnTo>
                  <a:lnTo>
                    <a:pt x="478" y="90"/>
                  </a:lnTo>
                  <a:lnTo>
                    <a:pt x="484" y="90"/>
                  </a:lnTo>
                  <a:lnTo>
                    <a:pt x="492" y="90"/>
                  </a:lnTo>
                  <a:lnTo>
                    <a:pt x="500" y="90"/>
                  </a:lnTo>
                  <a:lnTo>
                    <a:pt x="506" y="90"/>
                  </a:lnTo>
                  <a:lnTo>
                    <a:pt x="514" y="90"/>
                  </a:lnTo>
                  <a:lnTo>
                    <a:pt x="514" y="84"/>
                  </a:lnTo>
                  <a:lnTo>
                    <a:pt x="514" y="76"/>
                  </a:lnTo>
                  <a:lnTo>
                    <a:pt x="514" y="70"/>
                  </a:lnTo>
                  <a:lnTo>
                    <a:pt x="516" y="62"/>
                  </a:lnTo>
                  <a:lnTo>
                    <a:pt x="516" y="56"/>
                  </a:lnTo>
                  <a:lnTo>
                    <a:pt x="516" y="48"/>
                  </a:lnTo>
                  <a:lnTo>
                    <a:pt x="516" y="42"/>
                  </a:lnTo>
                  <a:lnTo>
                    <a:pt x="516" y="34"/>
                  </a:lnTo>
                  <a:lnTo>
                    <a:pt x="516" y="28"/>
                  </a:lnTo>
                  <a:lnTo>
                    <a:pt x="518" y="20"/>
                  </a:lnTo>
                  <a:lnTo>
                    <a:pt x="518" y="14"/>
                  </a:lnTo>
                  <a:lnTo>
                    <a:pt x="518" y="8"/>
                  </a:lnTo>
                  <a:lnTo>
                    <a:pt x="518" y="0"/>
                  </a:lnTo>
                  <a:lnTo>
                    <a:pt x="524" y="6"/>
                  </a:lnTo>
                  <a:lnTo>
                    <a:pt x="530" y="10"/>
                  </a:lnTo>
                  <a:lnTo>
                    <a:pt x="538" y="14"/>
                  </a:lnTo>
                  <a:lnTo>
                    <a:pt x="544" y="18"/>
                  </a:lnTo>
                  <a:lnTo>
                    <a:pt x="550" y="22"/>
                  </a:lnTo>
                  <a:lnTo>
                    <a:pt x="556" y="26"/>
                  </a:lnTo>
                  <a:lnTo>
                    <a:pt x="562" y="32"/>
                  </a:lnTo>
                  <a:lnTo>
                    <a:pt x="568" y="36"/>
                  </a:lnTo>
                  <a:lnTo>
                    <a:pt x="574" y="40"/>
                  </a:lnTo>
                  <a:lnTo>
                    <a:pt x="582" y="44"/>
                  </a:lnTo>
                  <a:lnTo>
                    <a:pt x="588" y="48"/>
                  </a:lnTo>
                  <a:lnTo>
                    <a:pt x="594" y="54"/>
                  </a:lnTo>
                  <a:lnTo>
                    <a:pt x="600" y="58"/>
                  </a:lnTo>
                  <a:lnTo>
                    <a:pt x="606" y="62"/>
                  </a:lnTo>
                  <a:lnTo>
                    <a:pt x="612" y="66"/>
                  </a:lnTo>
                  <a:lnTo>
                    <a:pt x="620" y="72"/>
                  </a:lnTo>
                  <a:lnTo>
                    <a:pt x="626" y="76"/>
                  </a:lnTo>
                  <a:lnTo>
                    <a:pt x="632" y="80"/>
                  </a:lnTo>
                  <a:lnTo>
                    <a:pt x="638" y="84"/>
                  </a:lnTo>
                  <a:lnTo>
                    <a:pt x="644" y="88"/>
                  </a:lnTo>
                  <a:lnTo>
                    <a:pt x="650" y="92"/>
                  </a:lnTo>
                  <a:lnTo>
                    <a:pt x="656" y="98"/>
                  </a:lnTo>
                  <a:lnTo>
                    <a:pt x="662" y="102"/>
                  </a:lnTo>
                  <a:lnTo>
                    <a:pt x="668" y="106"/>
                  </a:lnTo>
                  <a:lnTo>
                    <a:pt x="674" y="110"/>
                  </a:lnTo>
                  <a:lnTo>
                    <a:pt x="682" y="116"/>
                  </a:lnTo>
                  <a:lnTo>
                    <a:pt x="688" y="120"/>
                  </a:lnTo>
                  <a:lnTo>
                    <a:pt x="692" y="124"/>
                  </a:lnTo>
                  <a:lnTo>
                    <a:pt x="698" y="128"/>
                  </a:lnTo>
                  <a:lnTo>
                    <a:pt x="704" y="132"/>
                  </a:lnTo>
                  <a:lnTo>
                    <a:pt x="712" y="138"/>
                  </a:lnTo>
                  <a:lnTo>
                    <a:pt x="718" y="142"/>
                  </a:lnTo>
                  <a:lnTo>
                    <a:pt x="724" y="146"/>
                  </a:lnTo>
                  <a:lnTo>
                    <a:pt x="730" y="150"/>
                  </a:lnTo>
                  <a:lnTo>
                    <a:pt x="730" y="152"/>
                  </a:lnTo>
                  <a:lnTo>
                    <a:pt x="736" y="156"/>
                  </a:lnTo>
                  <a:lnTo>
                    <a:pt x="742" y="160"/>
                  </a:lnTo>
                  <a:lnTo>
                    <a:pt x="736" y="160"/>
                  </a:lnTo>
                  <a:lnTo>
                    <a:pt x="730" y="160"/>
                  </a:lnTo>
                  <a:lnTo>
                    <a:pt x="724" y="160"/>
                  </a:lnTo>
                  <a:lnTo>
                    <a:pt x="718" y="160"/>
                  </a:lnTo>
                  <a:lnTo>
                    <a:pt x="712" y="160"/>
                  </a:lnTo>
                  <a:lnTo>
                    <a:pt x="706" y="160"/>
                  </a:lnTo>
                  <a:lnTo>
                    <a:pt x="700" y="160"/>
                  </a:lnTo>
                  <a:lnTo>
                    <a:pt x="692" y="160"/>
                  </a:lnTo>
                  <a:lnTo>
                    <a:pt x="686" y="160"/>
                  </a:lnTo>
                  <a:lnTo>
                    <a:pt x="680" y="160"/>
                  </a:lnTo>
                  <a:lnTo>
                    <a:pt x="674" y="160"/>
                  </a:lnTo>
                  <a:lnTo>
                    <a:pt x="666" y="160"/>
                  </a:lnTo>
                  <a:lnTo>
                    <a:pt x="660" y="160"/>
                  </a:lnTo>
                  <a:lnTo>
                    <a:pt x="654" y="160"/>
                  </a:lnTo>
                  <a:lnTo>
                    <a:pt x="648" y="160"/>
                  </a:lnTo>
                  <a:lnTo>
                    <a:pt x="642" y="160"/>
                  </a:lnTo>
                  <a:lnTo>
                    <a:pt x="636" y="160"/>
                  </a:lnTo>
                  <a:lnTo>
                    <a:pt x="636" y="166"/>
                  </a:lnTo>
                  <a:lnTo>
                    <a:pt x="636" y="172"/>
                  </a:lnTo>
                  <a:lnTo>
                    <a:pt x="638" y="178"/>
                  </a:lnTo>
                  <a:lnTo>
                    <a:pt x="638" y="184"/>
                  </a:lnTo>
                  <a:lnTo>
                    <a:pt x="638" y="190"/>
                  </a:lnTo>
                  <a:lnTo>
                    <a:pt x="638" y="196"/>
                  </a:lnTo>
                  <a:lnTo>
                    <a:pt x="640" y="202"/>
                  </a:lnTo>
                  <a:lnTo>
                    <a:pt x="640" y="208"/>
                  </a:lnTo>
                  <a:lnTo>
                    <a:pt x="640" y="210"/>
                  </a:lnTo>
                  <a:lnTo>
                    <a:pt x="640" y="216"/>
                  </a:lnTo>
                  <a:lnTo>
                    <a:pt x="640" y="222"/>
                  </a:lnTo>
                  <a:lnTo>
                    <a:pt x="640" y="228"/>
                  </a:lnTo>
                  <a:lnTo>
                    <a:pt x="642" y="236"/>
                  </a:lnTo>
                  <a:lnTo>
                    <a:pt x="642" y="242"/>
                  </a:lnTo>
                  <a:lnTo>
                    <a:pt x="642" y="248"/>
                  </a:lnTo>
                  <a:lnTo>
                    <a:pt x="644" y="254"/>
                  </a:lnTo>
                  <a:lnTo>
                    <a:pt x="644" y="260"/>
                  </a:lnTo>
                  <a:lnTo>
                    <a:pt x="644" y="266"/>
                  </a:lnTo>
                  <a:lnTo>
                    <a:pt x="644" y="272"/>
                  </a:lnTo>
                  <a:lnTo>
                    <a:pt x="644" y="280"/>
                  </a:lnTo>
                  <a:lnTo>
                    <a:pt x="646" y="284"/>
                  </a:lnTo>
                  <a:lnTo>
                    <a:pt x="646" y="288"/>
                  </a:lnTo>
                  <a:lnTo>
                    <a:pt x="646" y="292"/>
                  </a:lnTo>
                  <a:lnTo>
                    <a:pt x="646" y="298"/>
                  </a:lnTo>
                  <a:lnTo>
                    <a:pt x="646" y="304"/>
                  </a:lnTo>
                  <a:lnTo>
                    <a:pt x="648" y="308"/>
                  </a:lnTo>
                  <a:lnTo>
                    <a:pt x="648" y="314"/>
                  </a:lnTo>
                  <a:lnTo>
                    <a:pt x="648" y="320"/>
                  </a:lnTo>
                  <a:lnTo>
                    <a:pt x="648" y="326"/>
                  </a:lnTo>
                  <a:lnTo>
                    <a:pt x="648" y="332"/>
                  </a:lnTo>
                  <a:lnTo>
                    <a:pt x="650" y="338"/>
                  </a:lnTo>
                  <a:lnTo>
                    <a:pt x="650" y="344"/>
                  </a:lnTo>
                  <a:lnTo>
                    <a:pt x="650" y="350"/>
                  </a:lnTo>
                  <a:lnTo>
                    <a:pt x="650" y="356"/>
                  </a:lnTo>
                  <a:lnTo>
                    <a:pt x="652" y="362"/>
                  </a:lnTo>
                  <a:lnTo>
                    <a:pt x="652" y="368"/>
                  </a:lnTo>
                  <a:lnTo>
                    <a:pt x="652" y="374"/>
                  </a:lnTo>
                  <a:lnTo>
                    <a:pt x="652" y="380"/>
                  </a:lnTo>
                  <a:lnTo>
                    <a:pt x="654" y="386"/>
                  </a:lnTo>
                  <a:lnTo>
                    <a:pt x="654" y="392"/>
                  </a:lnTo>
                  <a:lnTo>
                    <a:pt x="654" y="398"/>
                  </a:lnTo>
                  <a:lnTo>
                    <a:pt x="654" y="404"/>
                  </a:lnTo>
                  <a:lnTo>
                    <a:pt x="654" y="410"/>
                  </a:lnTo>
                  <a:lnTo>
                    <a:pt x="654" y="414"/>
                  </a:lnTo>
                  <a:lnTo>
                    <a:pt x="656" y="420"/>
                  </a:lnTo>
                  <a:lnTo>
                    <a:pt x="656" y="428"/>
                  </a:lnTo>
                  <a:lnTo>
                    <a:pt x="656" y="432"/>
                  </a:lnTo>
                  <a:lnTo>
                    <a:pt x="658" y="440"/>
                  </a:lnTo>
                  <a:lnTo>
                    <a:pt x="658" y="446"/>
                  </a:lnTo>
                  <a:lnTo>
                    <a:pt x="658" y="452"/>
                  </a:lnTo>
                  <a:lnTo>
                    <a:pt x="658" y="456"/>
                  </a:lnTo>
                  <a:lnTo>
                    <a:pt x="658" y="464"/>
                  </a:lnTo>
                  <a:lnTo>
                    <a:pt x="660" y="470"/>
                  </a:lnTo>
                  <a:lnTo>
                    <a:pt x="660" y="474"/>
                  </a:lnTo>
                  <a:lnTo>
                    <a:pt x="660" y="482"/>
                  </a:lnTo>
                  <a:lnTo>
                    <a:pt x="660" y="486"/>
                  </a:lnTo>
                  <a:lnTo>
                    <a:pt x="662" y="492"/>
                  </a:lnTo>
                  <a:lnTo>
                    <a:pt x="662" y="500"/>
                  </a:lnTo>
                  <a:lnTo>
                    <a:pt x="662" y="506"/>
                  </a:lnTo>
                  <a:lnTo>
                    <a:pt x="662" y="508"/>
                  </a:lnTo>
                  <a:lnTo>
                    <a:pt x="662" y="514"/>
                  </a:lnTo>
                  <a:lnTo>
                    <a:pt x="662" y="520"/>
                  </a:lnTo>
                  <a:lnTo>
                    <a:pt x="664" y="526"/>
                  </a:lnTo>
                  <a:lnTo>
                    <a:pt x="664" y="532"/>
                  </a:lnTo>
                  <a:lnTo>
                    <a:pt x="664" y="538"/>
                  </a:lnTo>
                  <a:lnTo>
                    <a:pt x="664" y="544"/>
                  </a:lnTo>
                  <a:lnTo>
                    <a:pt x="666" y="550"/>
                  </a:lnTo>
                  <a:lnTo>
                    <a:pt x="666" y="556"/>
                  </a:lnTo>
                  <a:lnTo>
                    <a:pt x="666" y="562"/>
                  </a:lnTo>
                  <a:lnTo>
                    <a:pt x="666" y="568"/>
                  </a:lnTo>
                  <a:lnTo>
                    <a:pt x="666" y="574"/>
                  </a:lnTo>
                  <a:lnTo>
                    <a:pt x="668" y="580"/>
                  </a:lnTo>
                  <a:lnTo>
                    <a:pt x="668" y="586"/>
                  </a:lnTo>
                  <a:lnTo>
                    <a:pt x="668" y="592"/>
                  </a:lnTo>
                  <a:lnTo>
                    <a:pt x="668" y="598"/>
                  </a:lnTo>
                  <a:lnTo>
                    <a:pt x="670" y="604"/>
                  </a:lnTo>
                  <a:lnTo>
                    <a:pt x="670" y="610"/>
                  </a:lnTo>
                  <a:lnTo>
                    <a:pt x="670" y="616"/>
                  </a:lnTo>
                  <a:lnTo>
                    <a:pt x="670" y="622"/>
                  </a:lnTo>
                  <a:lnTo>
                    <a:pt x="670" y="628"/>
                  </a:lnTo>
                  <a:lnTo>
                    <a:pt x="672" y="634"/>
                  </a:lnTo>
                  <a:lnTo>
                    <a:pt x="672" y="640"/>
                  </a:lnTo>
                  <a:lnTo>
                    <a:pt x="672" y="646"/>
                  </a:lnTo>
                  <a:lnTo>
                    <a:pt x="672" y="652"/>
                  </a:lnTo>
                  <a:lnTo>
                    <a:pt x="674" y="658"/>
                  </a:lnTo>
                  <a:lnTo>
                    <a:pt x="674" y="664"/>
                  </a:lnTo>
                  <a:lnTo>
                    <a:pt x="674" y="670"/>
                  </a:lnTo>
                  <a:lnTo>
                    <a:pt x="674" y="676"/>
                  </a:lnTo>
                  <a:lnTo>
                    <a:pt x="674" y="682"/>
                  </a:lnTo>
                  <a:lnTo>
                    <a:pt x="676" y="688"/>
                  </a:lnTo>
                  <a:lnTo>
                    <a:pt x="676" y="694"/>
                  </a:lnTo>
                  <a:lnTo>
                    <a:pt x="676" y="700"/>
                  </a:lnTo>
                  <a:lnTo>
                    <a:pt x="676" y="706"/>
                  </a:lnTo>
                  <a:lnTo>
                    <a:pt x="678" y="712"/>
                  </a:lnTo>
                  <a:lnTo>
                    <a:pt x="678" y="718"/>
                  </a:lnTo>
                  <a:lnTo>
                    <a:pt x="678" y="724"/>
                  </a:lnTo>
                  <a:lnTo>
                    <a:pt x="678" y="730"/>
                  </a:lnTo>
                  <a:lnTo>
                    <a:pt x="678" y="736"/>
                  </a:lnTo>
                  <a:lnTo>
                    <a:pt x="680" y="740"/>
                  </a:lnTo>
                  <a:lnTo>
                    <a:pt x="680" y="748"/>
                  </a:lnTo>
                  <a:lnTo>
                    <a:pt x="686" y="752"/>
                  </a:lnTo>
                  <a:lnTo>
                    <a:pt x="692" y="758"/>
                  </a:lnTo>
                  <a:lnTo>
                    <a:pt x="696" y="764"/>
                  </a:lnTo>
                  <a:lnTo>
                    <a:pt x="694" y="770"/>
                  </a:lnTo>
                  <a:lnTo>
                    <a:pt x="692" y="776"/>
                  </a:lnTo>
                  <a:lnTo>
                    <a:pt x="692" y="782"/>
                  </a:lnTo>
                  <a:lnTo>
                    <a:pt x="690" y="788"/>
                  </a:lnTo>
                  <a:lnTo>
                    <a:pt x="690" y="794"/>
                  </a:lnTo>
                  <a:lnTo>
                    <a:pt x="688" y="800"/>
                  </a:lnTo>
                  <a:lnTo>
                    <a:pt x="686" y="804"/>
                  </a:lnTo>
                  <a:lnTo>
                    <a:pt x="686" y="812"/>
                  </a:lnTo>
                  <a:lnTo>
                    <a:pt x="684" y="816"/>
                  </a:lnTo>
                  <a:lnTo>
                    <a:pt x="678" y="816"/>
                  </a:lnTo>
                  <a:lnTo>
                    <a:pt x="674" y="816"/>
                  </a:lnTo>
                  <a:lnTo>
                    <a:pt x="668" y="816"/>
                  </a:lnTo>
                  <a:lnTo>
                    <a:pt x="662" y="816"/>
                  </a:lnTo>
                  <a:lnTo>
                    <a:pt x="654" y="816"/>
                  </a:lnTo>
                  <a:lnTo>
                    <a:pt x="648" y="816"/>
                  </a:lnTo>
                  <a:lnTo>
                    <a:pt x="642" y="816"/>
                  </a:lnTo>
                  <a:lnTo>
                    <a:pt x="636" y="816"/>
                  </a:lnTo>
                  <a:lnTo>
                    <a:pt x="634" y="816"/>
                  </a:lnTo>
                  <a:lnTo>
                    <a:pt x="628" y="816"/>
                  </a:lnTo>
                  <a:lnTo>
                    <a:pt x="620" y="816"/>
                  </a:lnTo>
                  <a:lnTo>
                    <a:pt x="614" y="816"/>
                  </a:lnTo>
                  <a:lnTo>
                    <a:pt x="608" y="816"/>
                  </a:lnTo>
                  <a:lnTo>
                    <a:pt x="602" y="816"/>
                  </a:lnTo>
                  <a:lnTo>
                    <a:pt x="594" y="816"/>
                  </a:lnTo>
                  <a:lnTo>
                    <a:pt x="590" y="816"/>
                  </a:lnTo>
                  <a:lnTo>
                    <a:pt x="588" y="816"/>
                  </a:lnTo>
                  <a:lnTo>
                    <a:pt x="582" y="816"/>
                  </a:lnTo>
                  <a:lnTo>
                    <a:pt x="574" y="816"/>
                  </a:lnTo>
                  <a:lnTo>
                    <a:pt x="568" y="816"/>
                  </a:lnTo>
                  <a:lnTo>
                    <a:pt x="562" y="816"/>
                  </a:lnTo>
                  <a:lnTo>
                    <a:pt x="556" y="816"/>
                  </a:lnTo>
                  <a:lnTo>
                    <a:pt x="548" y="816"/>
                  </a:lnTo>
                  <a:lnTo>
                    <a:pt x="542" y="816"/>
                  </a:lnTo>
                  <a:lnTo>
                    <a:pt x="536" y="816"/>
                  </a:lnTo>
                  <a:lnTo>
                    <a:pt x="528" y="816"/>
                  </a:lnTo>
                  <a:lnTo>
                    <a:pt x="522" y="816"/>
                  </a:lnTo>
                  <a:lnTo>
                    <a:pt x="516" y="816"/>
                  </a:lnTo>
                  <a:lnTo>
                    <a:pt x="510" y="816"/>
                  </a:lnTo>
                  <a:lnTo>
                    <a:pt x="502" y="816"/>
                  </a:lnTo>
                  <a:lnTo>
                    <a:pt x="498" y="816"/>
                  </a:lnTo>
                  <a:lnTo>
                    <a:pt x="492" y="816"/>
                  </a:lnTo>
                  <a:lnTo>
                    <a:pt x="486" y="816"/>
                  </a:lnTo>
                  <a:lnTo>
                    <a:pt x="480" y="816"/>
                  </a:lnTo>
                  <a:lnTo>
                    <a:pt x="474" y="816"/>
                  </a:lnTo>
                  <a:lnTo>
                    <a:pt x="472" y="816"/>
                  </a:lnTo>
                  <a:lnTo>
                    <a:pt x="466" y="816"/>
                  </a:lnTo>
                  <a:lnTo>
                    <a:pt x="462" y="816"/>
                  </a:lnTo>
                  <a:lnTo>
                    <a:pt x="458" y="816"/>
                  </a:lnTo>
                  <a:lnTo>
                    <a:pt x="452" y="814"/>
                  </a:lnTo>
                  <a:lnTo>
                    <a:pt x="448" y="808"/>
                  </a:lnTo>
                  <a:lnTo>
                    <a:pt x="446" y="814"/>
                  </a:lnTo>
                  <a:lnTo>
                    <a:pt x="442" y="822"/>
                  </a:lnTo>
                  <a:lnTo>
                    <a:pt x="436" y="822"/>
                  </a:lnTo>
                  <a:lnTo>
                    <a:pt x="430" y="822"/>
                  </a:lnTo>
                  <a:lnTo>
                    <a:pt x="428" y="822"/>
                  </a:lnTo>
                  <a:lnTo>
                    <a:pt x="424" y="826"/>
                  </a:lnTo>
                  <a:lnTo>
                    <a:pt x="418" y="824"/>
                  </a:lnTo>
                  <a:lnTo>
                    <a:pt x="412" y="826"/>
                  </a:lnTo>
                  <a:lnTo>
                    <a:pt x="410" y="826"/>
                  </a:lnTo>
                  <a:lnTo>
                    <a:pt x="404" y="824"/>
                  </a:lnTo>
                  <a:lnTo>
                    <a:pt x="398" y="822"/>
                  </a:lnTo>
                  <a:lnTo>
                    <a:pt x="392" y="822"/>
                  </a:lnTo>
                  <a:lnTo>
                    <a:pt x="386" y="822"/>
                  </a:lnTo>
                  <a:lnTo>
                    <a:pt x="380" y="822"/>
                  </a:lnTo>
                  <a:lnTo>
                    <a:pt x="378" y="822"/>
                  </a:lnTo>
                  <a:lnTo>
                    <a:pt x="372" y="822"/>
                  </a:lnTo>
                  <a:lnTo>
                    <a:pt x="370" y="822"/>
                  </a:lnTo>
                  <a:lnTo>
                    <a:pt x="368" y="826"/>
                  </a:lnTo>
                  <a:lnTo>
                    <a:pt x="362" y="832"/>
                  </a:lnTo>
                  <a:lnTo>
                    <a:pt x="360" y="838"/>
                  </a:lnTo>
                  <a:lnTo>
                    <a:pt x="356" y="844"/>
                  </a:lnTo>
                  <a:lnTo>
                    <a:pt x="356" y="842"/>
                  </a:lnTo>
                  <a:lnTo>
                    <a:pt x="352" y="836"/>
                  </a:lnTo>
                  <a:lnTo>
                    <a:pt x="346" y="830"/>
                  </a:lnTo>
                  <a:lnTo>
                    <a:pt x="340" y="824"/>
                  </a:lnTo>
                  <a:lnTo>
                    <a:pt x="334" y="820"/>
                  </a:lnTo>
                  <a:lnTo>
                    <a:pt x="330" y="814"/>
                  </a:lnTo>
                  <a:lnTo>
                    <a:pt x="326" y="808"/>
                  </a:lnTo>
                  <a:lnTo>
                    <a:pt x="320" y="810"/>
                  </a:lnTo>
                  <a:lnTo>
                    <a:pt x="314" y="814"/>
                  </a:lnTo>
                  <a:lnTo>
                    <a:pt x="308" y="814"/>
                  </a:lnTo>
                  <a:lnTo>
                    <a:pt x="306" y="820"/>
                  </a:lnTo>
                  <a:lnTo>
                    <a:pt x="306" y="826"/>
                  </a:lnTo>
                  <a:lnTo>
                    <a:pt x="302" y="832"/>
                  </a:lnTo>
                  <a:lnTo>
                    <a:pt x="302" y="838"/>
                  </a:lnTo>
                  <a:lnTo>
                    <a:pt x="300" y="842"/>
                  </a:lnTo>
                  <a:lnTo>
                    <a:pt x="302" y="850"/>
                  </a:lnTo>
                  <a:lnTo>
                    <a:pt x="302" y="852"/>
                  </a:lnTo>
                  <a:lnTo>
                    <a:pt x="302" y="858"/>
                  </a:lnTo>
                  <a:lnTo>
                    <a:pt x="296" y="864"/>
                  </a:lnTo>
                  <a:lnTo>
                    <a:pt x="290" y="868"/>
                  </a:lnTo>
                  <a:lnTo>
                    <a:pt x="286" y="870"/>
                  </a:lnTo>
                  <a:lnTo>
                    <a:pt x="280" y="868"/>
                  </a:lnTo>
                  <a:lnTo>
                    <a:pt x="276" y="868"/>
                  </a:lnTo>
                  <a:lnTo>
                    <a:pt x="270" y="864"/>
                  </a:lnTo>
                  <a:lnTo>
                    <a:pt x="264" y="858"/>
                  </a:lnTo>
                  <a:lnTo>
                    <a:pt x="262" y="852"/>
                  </a:lnTo>
                  <a:lnTo>
                    <a:pt x="256" y="848"/>
                  </a:lnTo>
                  <a:lnTo>
                    <a:pt x="250" y="844"/>
                  </a:lnTo>
                  <a:lnTo>
                    <a:pt x="250" y="846"/>
                  </a:lnTo>
                  <a:lnTo>
                    <a:pt x="244" y="842"/>
                  </a:lnTo>
                  <a:lnTo>
                    <a:pt x="242" y="840"/>
                  </a:lnTo>
                  <a:lnTo>
                    <a:pt x="238" y="834"/>
                  </a:lnTo>
                  <a:lnTo>
                    <a:pt x="238" y="830"/>
                  </a:lnTo>
                  <a:lnTo>
                    <a:pt x="234" y="824"/>
                  </a:lnTo>
                  <a:lnTo>
                    <a:pt x="230" y="816"/>
                  </a:lnTo>
                  <a:lnTo>
                    <a:pt x="224" y="816"/>
                  </a:lnTo>
                  <a:lnTo>
                    <a:pt x="222" y="808"/>
                  </a:lnTo>
                  <a:lnTo>
                    <a:pt x="216" y="808"/>
                  </a:lnTo>
                  <a:lnTo>
                    <a:pt x="216" y="802"/>
                  </a:lnTo>
                  <a:lnTo>
                    <a:pt x="214" y="796"/>
                  </a:lnTo>
                  <a:lnTo>
                    <a:pt x="212" y="790"/>
                  </a:lnTo>
                  <a:lnTo>
                    <a:pt x="208" y="784"/>
                  </a:lnTo>
                  <a:lnTo>
                    <a:pt x="208" y="778"/>
                  </a:lnTo>
                  <a:lnTo>
                    <a:pt x="202" y="772"/>
                  </a:lnTo>
                  <a:lnTo>
                    <a:pt x="196" y="774"/>
                  </a:lnTo>
                  <a:lnTo>
                    <a:pt x="190" y="770"/>
                  </a:lnTo>
                  <a:lnTo>
                    <a:pt x="186" y="772"/>
                  </a:lnTo>
                  <a:lnTo>
                    <a:pt x="180" y="770"/>
                  </a:lnTo>
                  <a:lnTo>
                    <a:pt x="174" y="764"/>
                  </a:lnTo>
                  <a:lnTo>
                    <a:pt x="172" y="758"/>
                  </a:lnTo>
                  <a:lnTo>
                    <a:pt x="166" y="754"/>
                  </a:lnTo>
                  <a:lnTo>
                    <a:pt x="162" y="748"/>
                  </a:lnTo>
                  <a:lnTo>
                    <a:pt x="156" y="744"/>
                  </a:lnTo>
                  <a:lnTo>
                    <a:pt x="150" y="738"/>
                  </a:lnTo>
                  <a:lnTo>
                    <a:pt x="144" y="738"/>
                  </a:lnTo>
                  <a:lnTo>
                    <a:pt x="138" y="738"/>
                  </a:lnTo>
                  <a:lnTo>
                    <a:pt x="132" y="738"/>
                  </a:lnTo>
                  <a:lnTo>
                    <a:pt x="126" y="738"/>
                  </a:lnTo>
                  <a:lnTo>
                    <a:pt x="120" y="738"/>
                  </a:lnTo>
                  <a:lnTo>
                    <a:pt x="116" y="736"/>
                  </a:lnTo>
                  <a:lnTo>
                    <a:pt x="112" y="736"/>
                  </a:lnTo>
                  <a:lnTo>
                    <a:pt x="106" y="736"/>
                  </a:lnTo>
                  <a:lnTo>
                    <a:pt x="104" y="742"/>
                  </a:lnTo>
                  <a:lnTo>
                    <a:pt x="98" y="744"/>
                  </a:lnTo>
                  <a:lnTo>
                    <a:pt x="92" y="742"/>
                  </a:lnTo>
                  <a:lnTo>
                    <a:pt x="86" y="744"/>
                  </a:lnTo>
                  <a:lnTo>
                    <a:pt x="82" y="746"/>
                  </a:lnTo>
                  <a:lnTo>
                    <a:pt x="76" y="746"/>
                  </a:lnTo>
                  <a:lnTo>
                    <a:pt x="70" y="750"/>
                  </a:lnTo>
                  <a:lnTo>
                    <a:pt x="64" y="748"/>
                  </a:lnTo>
                  <a:lnTo>
                    <a:pt x="62" y="748"/>
                  </a:lnTo>
                  <a:lnTo>
                    <a:pt x="56" y="748"/>
                  </a:lnTo>
                  <a:lnTo>
                    <a:pt x="50" y="748"/>
                  </a:lnTo>
                  <a:lnTo>
                    <a:pt x="44" y="744"/>
                  </a:lnTo>
                  <a:lnTo>
                    <a:pt x="38" y="746"/>
                  </a:lnTo>
                  <a:lnTo>
                    <a:pt x="34" y="750"/>
                  </a:lnTo>
                  <a:lnTo>
                    <a:pt x="30" y="754"/>
                  </a:lnTo>
                  <a:lnTo>
                    <a:pt x="30" y="760"/>
                  </a:lnTo>
                  <a:lnTo>
                    <a:pt x="28" y="766"/>
                  </a:lnTo>
                  <a:lnTo>
                    <a:pt x="22" y="772"/>
                  </a:lnTo>
                  <a:lnTo>
                    <a:pt x="22" y="778"/>
                  </a:lnTo>
                  <a:lnTo>
                    <a:pt x="20" y="778"/>
                  </a:lnTo>
                  <a:lnTo>
                    <a:pt x="18" y="778"/>
                  </a:lnTo>
                  <a:lnTo>
                    <a:pt x="18" y="772"/>
                  </a:lnTo>
                  <a:lnTo>
                    <a:pt x="18" y="766"/>
                  </a:lnTo>
                  <a:lnTo>
                    <a:pt x="18" y="760"/>
                  </a:lnTo>
                  <a:lnTo>
                    <a:pt x="22" y="754"/>
                  </a:lnTo>
                  <a:lnTo>
                    <a:pt x="22" y="750"/>
                  </a:lnTo>
                  <a:lnTo>
                    <a:pt x="24" y="742"/>
                  </a:lnTo>
                  <a:lnTo>
                    <a:pt x="24" y="736"/>
                  </a:lnTo>
                  <a:lnTo>
                    <a:pt x="26" y="730"/>
                  </a:lnTo>
                  <a:lnTo>
                    <a:pt x="30" y="724"/>
                  </a:lnTo>
                  <a:lnTo>
                    <a:pt x="32" y="718"/>
                  </a:lnTo>
                  <a:lnTo>
                    <a:pt x="34" y="712"/>
                  </a:lnTo>
                  <a:lnTo>
                    <a:pt x="38" y="706"/>
                  </a:lnTo>
                  <a:lnTo>
                    <a:pt x="40" y="700"/>
                  </a:lnTo>
                  <a:lnTo>
                    <a:pt x="44" y="694"/>
                  </a:lnTo>
                  <a:lnTo>
                    <a:pt x="46" y="688"/>
                  </a:lnTo>
                  <a:lnTo>
                    <a:pt x="48" y="682"/>
                  </a:lnTo>
                  <a:lnTo>
                    <a:pt x="48" y="678"/>
                  </a:lnTo>
                  <a:lnTo>
                    <a:pt x="50" y="670"/>
                  </a:lnTo>
                  <a:lnTo>
                    <a:pt x="52" y="664"/>
                  </a:lnTo>
                  <a:lnTo>
                    <a:pt x="52" y="660"/>
                  </a:lnTo>
                  <a:lnTo>
                    <a:pt x="52" y="654"/>
                  </a:lnTo>
                  <a:lnTo>
                    <a:pt x="54" y="648"/>
                  </a:lnTo>
                  <a:lnTo>
                    <a:pt x="54" y="642"/>
                  </a:lnTo>
                  <a:lnTo>
                    <a:pt x="54" y="636"/>
                  </a:lnTo>
                  <a:lnTo>
                    <a:pt x="52" y="630"/>
                  </a:lnTo>
                  <a:lnTo>
                    <a:pt x="52" y="624"/>
                  </a:lnTo>
                  <a:lnTo>
                    <a:pt x="52" y="618"/>
                  </a:lnTo>
                  <a:lnTo>
                    <a:pt x="52" y="612"/>
                  </a:lnTo>
                  <a:lnTo>
                    <a:pt x="52" y="610"/>
                  </a:lnTo>
                  <a:lnTo>
                    <a:pt x="50" y="604"/>
                  </a:lnTo>
                  <a:lnTo>
                    <a:pt x="48" y="598"/>
                  </a:lnTo>
                  <a:lnTo>
                    <a:pt x="48" y="592"/>
                  </a:lnTo>
                  <a:lnTo>
                    <a:pt x="48" y="586"/>
                  </a:lnTo>
                  <a:lnTo>
                    <a:pt x="46" y="580"/>
                  </a:lnTo>
                  <a:lnTo>
                    <a:pt x="44" y="574"/>
                  </a:lnTo>
                  <a:lnTo>
                    <a:pt x="44" y="572"/>
                  </a:lnTo>
                  <a:lnTo>
                    <a:pt x="40" y="566"/>
                  </a:lnTo>
                  <a:lnTo>
                    <a:pt x="36" y="560"/>
                  </a:lnTo>
                  <a:lnTo>
                    <a:pt x="30" y="556"/>
                  </a:lnTo>
                  <a:lnTo>
                    <a:pt x="30" y="554"/>
                  </a:lnTo>
                  <a:lnTo>
                    <a:pt x="28" y="548"/>
                  </a:lnTo>
                  <a:lnTo>
                    <a:pt x="34" y="548"/>
                  </a:lnTo>
                  <a:lnTo>
                    <a:pt x="40" y="544"/>
                  </a:lnTo>
                  <a:lnTo>
                    <a:pt x="40" y="538"/>
                  </a:lnTo>
                  <a:lnTo>
                    <a:pt x="34" y="540"/>
                  </a:lnTo>
                  <a:lnTo>
                    <a:pt x="30" y="546"/>
                  </a:lnTo>
                  <a:lnTo>
                    <a:pt x="32" y="540"/>
                  </a:lnTo>
                  <a:lnTo>
                    <a:pt x="36" y="534"/>
                  </a:lnTo>
                  <a:lnTo>
                    <a:pt x="40" y="528"/>
                  </a:lnTo>
                  <a:lnTo>
                    <a:pt x="44" y="524"/>
                  </a:lnTo>
                  <a:lnTo>
                    <a:pt x="46" y="516"/>
                  </a:lnTo>
                  <a:lnTo>
                    <a:pt x="42" y="512"/>
                  </a:lnTo>
                  <a:lnTo>
                    <a:pt x="48" y="506"/>
                  </a:lnTo>
                  <a:lnTo>
                    <a:pt x="48" y="502"/>
                  </a:lnTo>
                  <a:lnTo>
                    <a:pt x="48" y="496"/>
                  </a:lnTo>
                  <a:lnTo>
                    <a:pt x="50" y="490"/>
                  </a:lnTo>
                  <a:lnTo>
                    <a:pt x="44" y="484"/>
                  </a:lnTo>
                  <a:lnTo>
                    <a:pt x="42" y="478"/>
                  </a:lnTo>
                  <a:lnTo>
                    <a:pt x="40" y="472"/>
                  </a:lnTo>
                  <a:lnTo>
                    <a:pt x="38" y="466"/>
                  </a:lnTo>
                  <a:lnTo>
                    <a:pt x="36" y="462"/>
                  </a:lnTo>
                  <a:lnTo>
                    <a:pt x="34" y="456"/>
                  </a:lnTo>
                  <a:lnTo>
                    <a:pt x="30" y="460"/>
                  </a:lnTo>
                  <a:lnTo>
                    <a:pt x="30" y="466"/>
                  </a:lnTo>
                  <a:lnTo>
                    <a:pt x="24" y="460"/>
                  </a:lnTo>
                  <a:lnTo>
                    <a:pt x="22" y="454"/>
                  </a:lnTo>
                  <a:lnTo>
                    <a:pt x="18" y="448"/>
                  </a:lnTo>
                  <a:lnTo>
                    <a:pt x="18" y="446"/>
                  </a:lnTo>
                  <a:lnTo>
                    <a:pt x="18" y="442"/>
                  </a:lnTo>
                  <a:lnTo>
                    <a:pt x="16" y="442"/>
                  </a:lnTo>
                  <a:lnTo>
                    <a:pt x="14" y="438"/>
                  </a:lnTo>
                  <a:lnTo>
                    <a:pt x="12" y="432"/>
                  </a:lnTo>
                  <a:lnTo>
                    <a:pt x="6" y="428"/>
                  </a:lnTo>
                  <a:lnTo>
                    <a:pt x="6" y="432"/>
                  </a:lnTo>
                  <a:lnTo>
                    <a:pt x="4" y="436"/>
                  </a:lnTo>
                  <a:lnTo>
                    <a:pt x="0" y="442"/>
                  </a:lnTo>
                  <a:lnTo>
                    <a:pt x="0" y="448"/>
                  </a:lnTo>
                  <a:lnTo>
                    <a:pt x="0" y="4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7" name="Freeform 214"/>
            <p:cNvSpPr>
              <a:spLocks/>
            </p:cNvSpPr>
            <p:nvPr/>
          </p:nvSpPr>
          <p:spPr bwMode="auto">
            <a:xfrm>
              <a:off x="4772025" y="3587750"/>
              <a:ext cx="409575" cy="558800"/>
            </a:xfrm>
            <a:custGeom>
              <a:avLst/>
              <a:gdLst>
                <a:gd name="T0" fmla="*/ 2147483647 w 1006"/>
                <a:gd name="T1" fmla="*/ 2147483647 h 1360"/>
                <a:gd name="T2" fmla="*/ 2147483647 w 1006"/>
                <a:gd name="T3" fmla="*/ 2147483647 h 1360"/>
                <a:gd name="T4" fmla="*/ 2147483647 w 1006"/>
                <a:gd name="T5" fmla="*/ 2147483647 h 1360"/>
                <a:gd name="T6" fmla="*/ 2147483647 w 1006"/>
                <a:gd name="T7" fmla="*/ 2147483647 h 1360"/>
                <a:gd name="T8" fmla="*/ 2147483647 w 1006"/>
                <a:gd name="T9" fmla="*/ 2147483647 h 1360"/>
                <a:gd name="T10" fmla="*/ 2147483647 w 1006"/>
                <a:gd name="T11" fmla="*/ 2147483647 h 1360"/>
                <a:gd name="T12" fmla="*/ 2147483647 w 1006"/>
                <a:gd name="T13" fmla="*/ 2147483647 h 1360"/>
                <a:gd name="T14" fmla="*/ 2147483647 w 1006"/>
                <a:gd name="T15" fmla="*/ 2147483647 h 1360"/>
                <a:gd name="T16" fmla="*/ 2147483647 w 1006"/>
                <a:gd name="T17" fmla="*/ 2147483647 h 1360"/>
                <a:gd name="T18" fmla="*/ 2147483647 w 1006"/>
                <a:gd name="T19" fmla="*/ 2147483647 h 1360"/>
                <a:gd name="T20" fmla="*/ 2147483647 w 1006"/>
                <a:gd name="T21" fmla="*/ 2147483647 h 1360"/>
                <a:gd name="T22" fmla="*/ 2147483647 w 1006"/>
                <a:gd name="T23" fmla="*/ 2147483647 h 1360"/>
                <a:gd name="T24" fmla="*/ 2147483647 w 1006"/>
                <a:gd name="T25" fmla="*/ 2147483647 h 1360"/>
                <a:gd name="T26" fmla="*/ 2147483647 w 1006"/>
                <a:gd name="T27" fmla="*/ 2147483647 h 1360"/>
                <a:gd name="T28" fmla="*/ 2147483647 w 1006"/>
                <a:gd name="T29" fmla="*/ 2147483647 h 1360"/>
                <a:gd name="T30" fmla="*/ 2147483647 w 1006"/>
                <a:gd name="T31" fmla="*/ 2147483647 h 1360"/>
                <a:gd name="T32" fmla="*/ 2147483647 w 1006"/>
                <a:gd name="T33" fmla="*/ 2147483647 h 1360"/>
                <a:gd name="T34" fmla="*/ 2147483647 w 1006"/>
                <a:gd name="T35" fmla="*/ 2147483647 h 1360"/>
                <a:gd name="T36" fmla="*/ 2147483647 w 1006"/>
                <a:gd name="T37" fmla="*/ 2147483647 h 1360"/>
                <a:gd name="T38" fmla="*/ 2147483647 w 1006"/>
                <a:gd name="T39" fmla="*/ 2147483647 h 1360"/>
                <a:gd name="T40" fmla="*/ 2147483647 w 1006"/>
                <a:gd name="T41" fmla="*/ 2147483647 h 1360"/>
                <a:gd name="T42" fmla="*/ 2147483647 w 1006"/>
                <a:gd name="T43" fmla="*/ 2147483647 h 1360"/>
                <a:gd name="T44" fmla="*/ 2147483647 w 1006"/>
                <a:gd name="T45" fmla="*/ 2147483647 h 1360"/>
                <a:gd name="T46" fmla="*/ 2147483647 w 1006"/>
                <a:gd name="T47" fmla="*/ 2147483647 h 1360"/>
                <a:gd name="T48" fmla="*/ 2147483647 w 1006"/>
                <a:gd name="T49" fmla="*/ 2147483647 h 1360"/>
                <a:gd name="T50" fmla="*/ 2147483647 w 1006"/>
                <a:gd name="T51" fmla="*/ 2147483647 h 1360"/>
                <a:gd name="T52" fmla="*/ 2147483647 w 1006"/>
                <a:gd name="T53" fmla="*/ 2147483647 h 1360"/>
                <a:gd name="T54" fmla="*/ 2147483647 w 1006"/>
                <a:gd name="T55" fmla="*/ 2147483647 h 1360"/>
                <a:gd name="T56" fmla="*/ 2147483647 w 1006"/>
                <a:gd name="T57" fmla="*/ 2147483647 h 1360"/>
                <a:gd name="T58" fmla="*/ 2147483647 w 1006"/>
                <a:gd name="T59" fmla="*/ 2147483647 h 1360"/>
                <a:gd name="T60" fmla="*/ 2147483647 w 1006"/>
                <a:gd name="T61" fmla="*/ 2147483647 h 1360"/>
                <a:gd name="T62" fmla="*/ 2147483647 w 1006"/>
                <a:gd name="T63" fmla="*/ 2147483647 h 1360"/>
                <a:gd name="T64" fmla="*/ 2147483647 w 1006"/>
                <a:gd name="T65" fmla="*/ 2147483647 h 1360"/>
                <a:gd name="T66" fmla="*/ 2147483647 w 1006"/>
                <a:gd name="T67" fmla="*/ 2147483647 h 1360"/>
                <a:gd name="T68" fmla="*/ 2147483647 w 1006"/>
                <a:gd name="T69" fmla="*/ 2147483647 h 1360"/>
                <a:gd name="T70" fmla="*/ 2147483647 w 1006"/>
                <a:gd name="T71" fmla="*/ 2147483647 h 1360"/>
                <a:gd name="T72" fmla="*/ 2147483647 w 1006"/>
                <a:gd name="T73" fmla="*/ 2147483647 h 1360"/>
                <a:gd name="T74" fmla="*/ 2147483647 w 1006"/>
                <a:gd name="T75" fmla="*/ 2147483647 h 1360"/>
                <a:gd name="T76" fmla="*/ 2147483647 w 1006"/>
                <a:gd name="T77" fmla="*/ 2147483647 h 1360"/>
                <a:gd name="T78" fmla="*/ 2147483647 w 1006"/>
                <a:gd name="T79" fmla="*/ 2147483647 h 1360"/>
                <a:gd name="T80" fmla="*/ 2147483647 w 1006"/>
                <a:gd name="T81" fmla="*/ 2147483647 h 1360"/>
                <a:gd name="T82" fmla="*/ 2147483647 w 1006"/>
                <a:gd name="T83" fmla="*/ 2147483647 h 1360"/>
                <a:gd name="T84" fmla="*/ 2147483647 w 1006"/>
                <a:gd name="T85" fmla="*/ 2147483647 h 1360"/>
                <a:gd name="T86" fmla="*/ 2147483647 w 1006"/>
                <a:gd name="T87" fmla="*/ 2147483647 h 1360"/>
                <a:gd name="T88" fmla="*/ 2147483647 w 1006"/>
                <a:gd name="T89" fmla="*/ 2147483647 h 1360"/>
                <a:gd name="T90" fmla="*/ 2147483647 w 1006"/>
                <a:gd name="T91" fmla="*/ 2147483647 h 1360"/>
                <a:gd name="T92" fmla="*/ 2147483647 w 1006"/>
                <a:gd name="T93" fmla="*/ 2147483647 h 1360"/>
                <a:gd name="T94" fmla="*/ 2147483647 w 1006"/>
                <a:gd name="T95" fmla="*/ 2147483647 h 1360"/>
                <a:gd name="T96" fmla="*/ 2147483647 w 1006"/>
                <a:gd name="T97" fmla="*/ 2147483647 h 1360"/>
                <a:gd name="T98" fmla="*/ 2147483647 w 1006"/>
                <a:gd name="T99" fmla="*/ 2147483647 h 1360"/>
                <a:gd name="T100" fmla="*/ 2147483647 w 1006"/>
                <a:gd name="T101" fmla="*/ 2147483647 h 1360"/>
                <a:gd name="T102" fmla="*/ 2147483647 w 1006"/>
                <a:gd name="T103" fmla="*/ 2147483647 h 1360"/>
                <a:gd name="T104" fmla="*/ 2147483647 w 1006"/>
                <a:gd name="T105" fmla="*/ 2147483647 h 1360"/>
                <a:gd name="T106" fmla="*/ 2147483647 w 1006"/>
                <a:gd name="T107" fmla="*/ 2147483647 h 1360"/>
                <a:gd name="T108" fmla="*/ 2147483647 w 1006"/>
                <a:gd name="T109" fmla="*/ 2147483647 h 1360"/>
                <a:gd name="T110" fmla="*/ 2147483647 w 1006"/>
                <a:gd name="T111" fmla="*/ 2147483647 h 1360"/>
                <a:gd name="T112" fmla="*/ 2147483647 w 1006"/>
                <a:gd name="T113" fmla="*/ 2147483647 h 1360"/>
                <a:gd name="T114" fmla="*/ 2147483647 w 1006"/>
                <a:gd name="T115" fmla="*/ 2147483647 h 1360"/>
                <a:gd name="T116" fmla="*/ 2147483647 w 1006"/>
                <a:gd name="T117" fmla="*/ 2147483647 h 1360"/>
                <a:gd name="T118" fmla="*/ 2147483647 w 1006"/>
                <a:gd name="T119" fmla="*/ 2147483647 h 1360"/>
                <a:gd name="T120" fmla="*/ 0 w 1006"/>
                <a:gd name="T121" fmla="*/ 2147483647 h 13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06"/>
                <a:gd name="T184" fmla="*/ 0 h 1360"/>
                <a:gd name="T185" fmla="*/ 1006 w 1006"/>
                <a:gd name="T186" fmla="*/ 1360 h 13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06" h="1360">
                  <a:moveTo>
                    <a:pt x="0" y="716"/>
                  </a:moveTo>
                  <a:lnTo>
                    <a:pt x="0" y="716"/>
                  </a:lnTo>
                  <a:lnTo>
                    <a:pt x="2" y="714"/>
                  </a:lnTo>
                  <a:lnTo>
                    <a:pt x="2" y="708"/>
                  </a:lnTo>
                  <a:lnTo>
                    <a:pt x="6" y="702"/>
                  </a:lnTo>
                  <a:lnTo>
                    <a:pt x="8" y="696"/>
                  </a:lnTo>
                  <a:lnTo>
                    <a:pt x="14" y="692"/>
                  </a:lnTo>
                  <a:lnTo>
                    <a:pt x="20" y="688"/>
                  </a:lnTo>
                  <a:lnTo>
                    <a:pt x="24" y="682"/>
                  </a:lnTo>
                  <a:lnTo>
                    <a:pt x="28" y="676"/>
                  </a:lnTo>
                  <a:lnTo>
                    <a:pt x="24" y="670"/>
                  </a:lnTo>
                  <a:lnTo>
                    <a:pt x="24" y="668"/>
                  </a:lnTo>
                  <a:lnTo>
                    <a:pt x="24" y="662"/>
                  </a:lnTo>
                  <a:lnTo>
                    <a:pt x="18" y="656"/>
                  </a:lnTo>
                  <a:lnTo>
                    <a:pt x="18" y="650"/>
                  </a:lnTo>
                  <a:lnTo>
                    <a:pt x="18" y="644"/>
                  </a:lnTo>
                  <a:lnTo>
                    <a:pt x="22" y="638"/>
                  </a:lnTo>
                  <a:lnTo>
                    <a:pt x="26" y="634"/>
                  </a:lnTo>
                  <a:lnTo>
                    <a:pt x="32" y="630"/>
                  </a:lnTo>
                  <a:lnTo>
                    <a:pt x="38" y="626"/>
                  </a:lnTo>
                  <a:lnTo>
                    <a:pt x="44" y="622"/>
                  </a:lnTo>
                  <a:lnTo>
                    <a:pt x="38" y="616"/>
                  </a:lnTo>
                  <a:lnTo>
                    <a:pt x="36" y="614"/>
                  </a:lnTo>
                  <a:lnTo>
                    <a:pt x="38" y="608"/>
                  </a:lnTo>
                  <a:lnTo>
                    <a:pt x="36" y="602"/>
                  </a:lnTo>
                  <a:lnTo>
                    <a:pt x="32" y="596"/>
                  </a:lnTo>
                  <a:lnTo>
                    <a:pt x="34" y="590"/>
                  </a:lnTo>
                  <a:lnTo>
                    <a:pt x="42" y="588"/>
                  </a:lnTo>
                  <a:lnTo>
                    <a:pt x="46" y="586"/>
                  </a:lnTo>
                  <a:lnTo>
                    <a:pt x="50" y="582"/>
                  </a:lnTo>
                  <a:lnTo>
                    <a:pt x="50" y="576"/>
                  </a:lnTo>
                  <a:lnTo>
                    <a:pt x="54" y="570"/>
                  </a:lnTo>
                  <a:lnTo>
                    <a:pt x="56" y="564"/>
                  </a:lnTo>
                  <a:lnTo>
                    <a:pt x="58" y="562"/>
                  </a:lnTo>
                  <a:lnTo>
                    <a:pt x="60" y="558"/>
                  </a:lnTo>
                  <a:lnTo>
                    <a:pt x="66" y="554"/>
                  </a:lnTo>
                  <a:lnTo>
                    <a:pt x="68" y="548"/>
                  </a:lnTo>
                  <a:lnTo>
                    <a:pt x="68" y="542"/>
                  </a:lnTo>
                  <a:lnTo>
                    <a:pt x="68" y="538"/>
                  </a:lnTo>
                  <a:lnTo>
                    <a:pt x="66" y="532"/>
                  </a:lnTo>
                  <a:lnTo>
                    <a:pt x="64" y="526"/>
                  </a:lnTo>
                  <a:lnTo>
                    <a:pt x="64" y="524"/>
                  </a:lnTo>
                  <a:lnTo>
                    <a:pt x="70" y="520"/>
                  </a:lnTo>
                  <a:lnTo>
                    <a:pt x="76" y="514"/>
                  </a:lnTo>
                  <a:lnTo>
                    <a:pt x="80" y="514"/>
                  </a:lnTo>
                  <a:lnTo>
                    <a:pt x="86" y="516"/>
                  </a:lnTo>
                  <a:lnTo>
                    <a:pt x="92" y="516"/>
                  </a:lnTo>
                  <a:lnTo>
                    <a:pt x="98" y="512"/>
                  </a:lnTo>
                  <a:lnTo>
                    <a:pt x="104" y="512"/>
                  </a:lnTo>
                  <a:lnTo>
                    <a:pt x="110" y="512"/>
                  </a:lnTo>
                  <a:lnTo>
                    <a:pt x="116" y="512"/>
                  </a:lnTo>
                  <a:lnTo>
                    <a:pt x="122" y="514"/>
                  </a:lnTo>
                  <a:lnTo>
                    <a:pt x="128" y="516"/>
                  </a:lnTo>
                  <a:lnTo>
                    <a:pt x="128" y="508"/>
                  </a:lnTo>
                  <a:lnTo>
                    <a:pt x="128" y="502"/>
                  </a:lnTo>
                  <a:lnTo>
                    <a:pt x="128" y="494"/>
                  </a:lnTo>
                  <a:lnTo>
                    <a:pt x="128" y="488"/>
                  </a:lnTo>
                  <a:lnTo>
                    <a:pt x="128" y="478"/>
                  </a:lnTo>
                  <a:lnTo>
                    <a:pt x="128" y="470"/>
                  </a:lnTo>
                  <a:lnTo>
                    <a:pt x="128" y="462"/>
                  </a:lnTo>
                  <a:lnTo>
                    <a:pt x="128" y="448"/>
                  </a:lnTo>
                  <a:lnTo>
                    <a:pt x="128" y="436"/>
                  </a:lnTo>
                  <a:lnTo>
                    <a:pt x="128" y="426"/>
                  </a:lnTo>
                  <a:lnTo>
                    <a:pt x="126" y="416"/>
                  </a:lnTo>
                  <a:lnTo>
                    <a:pt x="126" y="406"/>
                  </a:lnTo>
                  <a:lnTo>
                    <a:pt x="126" y="400"/>
                  </a:lnTo>
                  <a:lnTo>
                    <a:pt x="126" y="390"/>
                  </a:lnTo>
                  <a:lnTo>
                    <a:pt x="126" y="384"/>
                  </a:lnTo>
                  <a:lnTo>
                    <a:pt x="126" y="376"/>
                  </a:lnTo>
                  <a:lnTo>
                    <a:pt x="126" y="368"/>
                  </a:lnTo>
                  <a:lnTo>
                    <a:pt x="126" y="360"/>
                  </a:lnTo>
                  <a:lnTo>
                    <a:pt x="126" y="354"/>
                  </a:lnTo>
                  <a:lnTo>
                    <a:pt x="126" y="340"/>
                  </a:lnTo>
                  <a:lnTo>
                    <a:pt x="126" y="332"/>
                  </a:lnTo>
                  <a:lnTo>
                    <a:pt x="126" y="324"/>
                  </a:lnTo>
                  <a:lnTo>
                    <a:pt x="126" y="316"/>
                  </a:lnTo>
                  <a:lnTo>
                    <a:pt x="126" y="310"/>
                  </a:lnTo>
                  <a:lnTo>
                    <a:pt x="124" y="304"/>
                  </a:lnTo>
                  <a:lnTo>
                    <a:pt x="124" y="296"/>
                  </a:lnTo>
                  <a:lnTo>
                    <a:pt x="124" y="286"/>
                  </a:lnTo>
                  <a:lnTo>
                    <a:pt x="124" y="280"/>
                  </a:lnTo>
                  <a:lnTo>
                    <a:pt x="124" y="270"/>
                  </a:lnTo>
                  <a:lnTo>
                    <a:pt x="124" y="262"/>
                  </a:lnTo>
                  <a:lnTo>
                    <a:pt x="124" y="254"/>
                  </a:lnTo>
                  <a:lnTo>
                    <a:pt x="124" y="252"/>
                  </a:lnTo>
                  <a:lnTo>
                    <a:pt x="124" y="242"/>
                  </a:lnTo>
                  <a:lnTo>
                    <a:pt x="124" y="236"/>
                  </a:lnTo>
                  <a:lnTo>
                    <a:pt x="124" y="228"/>
                  </a:lnTo>
                  <a:lnTo>
                    <a:pt x="122" y="218"/>
                  </a:lnTo>
                  <a:lnTo>
                    <a:pt x="130" y="218"/>
                  </a:lnTo>
                  <a:lnTo>
                    <a:pt x="152" y="218"/>
                  </a:lnTo>
                  <a:lnTo>
                    <a:pt x="182" y="218"/>
                  </a:lnTo>
                  <a:lnTo>
                    <a:pt x="182" y="182"/>
                  </a:lnTo>
                  <a:lnTo>
                    <a:pt x="182" y="148"/>
                  </a:lnTo>
                  <a:lnTo>
                    <a:pt x="180" y="114"/>
                  </a:lnTo>
                  <a:lnTo>
                    <a:pt x="180" y="98"/>
                  </a:lnTo>
                  <a:lnTo>
                    <a:pt x="180" y="80"/>
                  </a:lnTo>
                  <a:lnTo>
                    <a:pt x="188" y="80"/>
                  </a:lnTo>
                  <a:lnTo>
                    <a:pt x="194" y="80"/>
                  </a:lnTo>
                  <a:lnTo>
                    <a:pt x="204" y="80"/>
                  </a:lnTo>
                  <a:lnTo>
                    <a:pt x="212" y="80"/>
                  </a:lnTo>
                  <a:lnTo>
                    <a:pt x="218" y="80"/>
                  </a:lnTo>
                  <a:lnTo>
                    <a:pt x="226" y="80"/>
                  </a:lnTo>
                  <a:lnTo>
                    <a:pt x="236" y="80"/>
                  </a:lnTo>
                  <a:lnTo>
                    <a:pt x="244" y="80"/>
                  </a:lnTo>
                  <a:lnTo>
                    <a:pt x="252" y="80"/>
                  </a:lnTo>
                  <a:lnTo>
                    <a:pt x="262" y="80"/>
                  </a:lnTo>
                  <a:lnTo>
                    <a:pt x="268" y="80"/>
                  </a:lnTo>
                  <a:lnTo>
                    <a:pt x="278" y="80"/>
                  </a:lnTo>
                  <a:lnTo>
                    <a:pt x="284" y="80"/>
                  </a:lnTo>
                  <a:lnTo>
                    <a:pt x="290" y="80"/>
                  </a:lnTo>
                  <a:lnTo>
                    <a:pt x="294" y="80"/>
                  </a:lnTo>
                  <a:lnTo>
                    <a:pt x="304" y="80"/>
                  </a:lnTo>
                  <a:lnTo>
                    <a:pt x="312" y="80"/>
                  </a:lnTo>
                  <a:lnTo>
                    <a:pt x="320" y="80"/>
                  </a:lnTo>
                  <a:lnTo>
                    <a:pt x="322" y="80"/>
                  </a:lnTo>
                  <a:lnTo>
                    <a:pt x="324" y="80"/>
                  </a:lnTo>
                  <a:lnTo>
                    <a:pt x="332" y="80"/>
                  </a:lnTo>
                  <a:lnTo>
                    <a:pt x="340" y="80"/>
                  </a:lnTo>
                  <a:lnTo>
                    <a:pt x="346" y="80"/>
                  </a:lnTo>
                  <a:lnTo>
                    <a:pt x="356" y="80"/>
                  </a:lnTo>
                  <a:lnTo>
                    <a:pt x="362" y="80"/>
                  </a:lnTo>
                  <a:lnTo>
                    <a:pt x="374" y="80"/>
                  </a:lnTo>
                  <a:lnTo>
                    <a:pt x="380" y="80"/>
                  </a:lnTo>
                  <a:lnTo>
                    <a:pt x="386" y="80"/>
                  </a:lnTo>
                  <a:lnTo>
                    <a:pt x="396" y="80"/>
                  </a:lnTo>
                  <a:lnTo>
                    <a:pt x="402" y="80"/>
                  </a:lnTo>
                  <a:lnTo>
                    <a:pt x="408" y="80"/>
                  </a:lnTo>
                  <a:lnTo>
                    <a:pt x="414" y="80"/>
                  </a:lnTo>
                  <a:lnTo>
                    <a:pt x="420" y="80"/>
                  </a:lnTo>
                  <a:lnTo>
                    <a:pt x="426" y="80"/>
                  </a:lnTo>
                  <a:lnTo>
                    <a:pt x="434" y="80"/>
                  </a:lnTo>
                  <a:lnTo>
                    <a:pt x="440" y="80"/>
                  </a:lnTo>
                  <a:lnTo>
                    <a:pt x="448" y="80"/>
                  </a:lnTo>
                  <a:lnTo>
                    <a:pt x="454" y="80"/>
                  </a:lnTo>
                  <a:lnTo>
                    <a:pt x="464" y="80"/>
                  </a:lnTo>
                  <a:lnTo>
                    <a:pt x="470" y="80"/>
                  </a:lnTo>
                  <a:lnTo>
                    <a:pt x="478" y="80"/>
                  </a:lnTo>
                  <a:lnTo>
                    <a:pt x="484" y="80"/>
                  </a:lnTo>
                  <a:lnTo>
                    <a:pt x="490" y="80"/>
                  </a:lnTo>
                  <a:lnTo>
                    <a:pt x="498" y="80"/>
                  </a:lnTo>
                  <a:lnTo>
                    <a:pt x="504" y="80"/>
                  </a:lnTo>
                  <a:lnTo>
                    <a:pt x="510" y="80"/>
                  </a:lnTo>
                  <a:lnTo>
                    <a:pt x="516" y="80"/>
                  </a:lnTo>
                  <a:lnTo>
                    <a:pt x="526" y="80"/>
                  </a:lnTo>
                  <a:lnTo>
                    <a:pt x="532" y="80"/>
                  </a:lnTo>
                  <a:lnTo>
                    <a:pt x="538" y="80"/>
                  </a:lnTo>
                  <a:lnTo>
                    <a:pt x="544" y="80"/>
                  </a:lnTo>
                  <a:lnTo>
                    <a:pt x="550" y="80"/>
                  </a:lnTo>
                  <a:lnTo>
                    <a:pt x="558" y="76"/>
                  </a:lnTo>
                  <a:lnTo>
                    <a:pt x="558" y="74"/>
                  </a:lnTo>
                  <a:lnTo>
                    <a:pt x="558" y="72"/>
                  </a:lnTo>
                  <a:lnTo>
                    <a:pt x="562" y="66"/>
                  </a:lnTo>
                  <a:lnTo>
                    <a:pt x="566" y="64"/>
                  </a:lnTo>
                  <a:lnTo>
                    <a:pt x="568" y="64"/>
                  </a:lnTo>
                  <a:lnTo>
                    <a:pt x="570" y="66"/>
                  </a:lnTo>
                  <a:lnTo>
                    <a:pt x="568" y="72"/>
                  </a:lnTo>
                  <a:lnTo>
                    <a:pt x="566" y="78"/>
                  </a:lnTo>
                  <a:lnTo>
                    <a:pt x="568" y="80"/>
                  </a:lnTo>
                  <a:lnTo>
                    <a:pt x="574" y="80"/>
                  </a:lnTo>
                  <a:lnTo>
                    <a:pt x="580" y="80"/>
                  </a:lnTo>
                  <a:lnTo>
                    <a:pt x="592" y="80"/>
                  </a:lnTo>
                  <a:lnTo>
                    <a:pt x="598" y="80"/>
                  </a:lnTo>
                  <a:lnTo>
                    <a:pt x="606" y="80"/>
                  </a:lnTo>
                  <a:lnTo>
                    <a:pt x="612" y="80"/>
                  </a:lnTo>
                  <a:lnTo>
                    <a:pt x="616" y="80"/>
                  </a:lnTo>
                  <a:lnTo>
                    <a:pt x="624" y="80"/>
                  </a:lnTo>
                  <a:lnTo>
                    <a:pt x="630" y="80"/>
                  </a:lnTo>
                  <a:lnTo>
                    <a:pt x="638" y="80"/>
                  </a:lnTo>
                  <a:lnTo>
                    <a:pt x="646" y="80"/>
                  </a:lnTo>
                  <a:lnTo>
                    <a:pt x="656" y="80"/>
                  </a:lnTo>
                  <a:lnTo>
                    <a:pt x="660" y="80"/>
                  </a:lnTo>
                  <a:lnTo>
                    <a:pt x="662" y="80"/>
                  </a:lnTo>
                  <a:lnTo>
                    <a:pt x="668" y="80"/>
                  </a:lnTo>
                  <a:lnTo>
                    <a:pt x="670" y="80"/>
                  </a:lnTo>
                  <a:lnTo>
                    <a:pt x="676" y="84"/>
                  </a:lnTo>
                  <a:lnTo>
                    <a:pt x="682" y="88"/>
                  </a:lnTo>
                  <a:lnTo>
                    <a:pt x="688" y="94"/>
                  </a:lnTo>
                  <a:lnTo>
                    <a:pt x="694" y="98"/>
                  </a:lnTo>
                  <a:lnTo>
                    <a:pt x="700" y="98"/>
                  </a:lnTo>
                  <a:lnTo>
                    <a:pt x="706" y="96"/>
                  </a:lnTo>
                  <a:lnTo>
                    <a:pt x="712" y="96"/>
                  </a:lnTo>
                  <a:lnTo>
                    <a:pt x="718" y="96"/>
                  </a:lnTo>
                  <a:lnTo>
                    <a:pt x="722" y="90"/>
                  </a:lnTo>
                  <a:lnTo>
                    <a:pt x="724" y="84"/>
                  </a:lnTo>
                  <a:lnTo>
                    <a:pt x="724" y="80"/>
                  </a:lnTo>
                  <a:lnTo>
                    <a:pt x="726" y="72"/>
                  </a:lnTo>
                  <a:lnTo>
                    <a:pt x="728" y="66"/>
                  </a:lnTo>
                  <a:lnTo>
                    <a:pt x="732" y="64"/>
                  </a:lnTo>
                  <a:lnTo>
                    <a:pt x="736" y="64"/>
                  </a:lnTo>
                  <a:lnTo>
                    <a:pt x="744" y="62"/>
                  </a:lnTo>
                  <a:lnTo>
                    <a:pt x="750" y="62"/>
                  </a:lnTo>
                  <a:lnTo>
                    <a:pt x="756" y="60"/>
                  </a:lnTo>
                  <a:lnTo>
                    <a:pt x="762" y="56"/>
                  </a:lnTo>
                  <a:lnTo>
                    <a:pt x="764" y="48"/>
                  </a:lnTo>
                  <a:lnTo>
                    <a:pt x="766" y="42"/>
                  </a:lnTo>
                  <a:lnTo>
                    <a:pt x="768" y="36"/>
                  </a:lnTo>
                  <a:lnTo>
                    <a:pt x="770" y="30"/>
                  </a:lnTo>
                  <a:lnTo>
                    <a:pt x="774" y="24"/>
                  </a:lnTo>
                  <a:lnTo>
                    <a:pt x="776" y="20"/>
                  </a:lnTo>
                  <a:lnTo>
                    <a:pt x="782" y="22"/>
                  </a:lnTo>
                  <a:lnTo>
                    <a:pt x="788" y="24"/>
                  </a:lnTo>
                  <a:lnTo>
                    <a:pt x="794" y="20"/>
                  </a:lnTo>
                  <a:lnTo>
                    <a:pt x="800" y="14"/>
                  </a:lnTo>
                  <a:lnTo>
                    <a:pt x="806" y="8"/>
                  </a:lnTo>
                  <a:lnTo>
                    <a:pt x="808" y="4"/>
                  </a:lnTo>
                  <a:lnTo>
                    <a:pt x="812" y="0"/>
                  </a:lnTo>
                  <a:lnTo>
                    <a:pt x="814" y="8"/>
                  </a:lnTo>
                  <a:lnTo>
                    <a:pt x="816" y="12"/>
                  </a:lnTo>
                  <a:lnTo>
                    <a:pt x="820" y="20"/>
                  </a:lnTo>
                  <a:lnTo>
                    <a:pt x="826" y="24"/>
                  </a:lnTo>
                  <a:lnTo>
                    <a:pt x="832" y="28"/>
                  </a:lnTo>
                  <a:lnTo>
                    <a:pt x="838" y="32"/>
                  </a:lnTo>
                  <a:lnTo>
                    <a:pt x="844" y="32"/>
                  </a:lnTo>
                  <a:lnTo>
                    <a:pt x="850" y="36"/>
                  </a:lnTo>
                  <a:lnTo>
                    <a:pt x="854" y="42"/>
                  </a:lnTo>
                  <a:lnTo>
                    <a:pt x="858" y="48"/>
                  </a:lnTo>
                  <a:lnTo>
                    <a:pt x="862" y="54"/>
                  </a:lnTo>
                  <a:lnTo>
                    <a:pt x="868" y="58"/>
                  </a:lnTo>
                  <a:lnTo>
                    <a:pt x="874" y="62"/>
                  </a:lnTo>
                  <a:lnTo>
                    <a:pt x="880" y="68"/>
                  </a:lnTo>
                  <a:lnTo>
                    <a:pt x="886" y="72"/>
                  </a:lnTo>
                  <a:lnTo>
                    <a:pt x="892" y="78"/>
                  </a:lnTo>
                  <a:lnTo>
                    <a:pt x="892" y="80"/>
                  </a:lnTo>
                  <a:lnTo>
                    <a:pt x="890" y="84"/>
                  </a:lnTo>
                  <a:lnTo>
                    <a:pt x="890" y="90"/>
                  </a:lnTo>
                  <a:lnTo>
                    <a:pt x="892" y="96"/>
                  </a:lnTo>
                  <a:lnTo>
                    <a:pt x="892" y="102"/>
                  </a:lnTo>
                  <a:lnTo>
                    <a:pt x="896" y="108"/>
                  </a:lnTo>
                  <a:lnTo>
                    <a:pt x="898" y="114"/>
                  </a:lnTo>
                  <a:lnTo>
                    <a:pt x="902" y="120"/>
                  </a:lnTo>
                  <a:lnTo>
                    <a:pt x="906" y="126"/>
                  </a:lnTo>
                  <a:lnTo>
                    <a:pt x="910" y="132"/>
                  </a:lnTo>
                  <a:lnTo>
                    <a:pt x="916" y="140"/>
                  </a:lnTo>
                  <a:lnTo>
                    <a:pt x="918" y="144"/>
                  </a:lnTo>
                  <a:lnTo>
                    <a:pt x="914" y="138"/>
                  </a:lnTo>
                  <a:lnTo>
                    <a:pt x="908" y="138"/>
                  </a:lnTo>
                  <a:lnTo>
                    <a:pt x="906" y="144"/>
                  </a:lnTo>
                  <a:lnTo>
                    <a:pt x="908" y="150"/>
                  </a:lnTo>
                  <a:lnTo>
                    <a:pt x="910" y="156"/>
                  </a:lnTo>
                  <a:lnTo>
                    <a:pt x="912" y="162"/>
                  </a:lnTo>
                  <a:lnTo>
                    <a:pt x="912" y="168"/>
                  </a:lnTo>
                  <a:lnTo>
                    <a:pt x="914" y="174"/>
                  </a:lnTo>
                  <a:lnTo>
                    <a:pt x="916" y="180"/>
                  </a:lnTo>
                  <a:lnTo>
                    <a:pt x="914" y="186"/>
                  </a:lnTo>
                  <a:lnTo>
                    <a:pt x="914" y="192"/>
                  </a:lnTo>
                  <a:lnTo>
                    <a:pt x="914" y="198"/>
                  </a:lnTo>
                  <a:lnTo>
                    <a:pt x="914" y="206"/>
                  </a:lnTo>
                  <a:lnTo>
                    <a:pt x="916" y="212"/>
                  </a:lnTo>
                  <a:lnTo>
                    <a:pt x="914" y="218"/>
                  </a:lnTo>
                  <a:lnTo>
                    <a:pt x="918" y="224"/>
                  </a:lnTo>
                  <a:lnTo>
                    <a:pt x="918" y="226"/>
                  </a:lnTo>
                  <a:lnTo>
                    <a:pt x="920" y="232"/>
                  </a:lnTo>
                  <a:lnTo>
                    <a:pt x="920" y="238"/>
                  </a:lnTo>
                  <a:lnTo>
                    <a:pt x="920" y="244"/>
                  </a:lnTo>
                  <a:lnTo>
                    <a:pt x="922" y="250"/>
                  </a:lnTo>
                  <a:lnTo>
                    <a:pt x="922" y="256"/>
                  </a:lnTo>
                  <a:lnTo>
                    <a:pt x="924" y="262"/>
                  </a:lnTo>
                  <a:lnTo>
                    <a:pt x="926" y="268"/>
                  </a:lnTo>
                  <a:lnTo>
                    <a:pt x="926" y="274"/>
                  </a:lnTo>
                  <a:lnTo>
                    <a:pt x="928" y="280"/>
                  </a:lnTo>
                  <a:lnTo>
                    <a:pt x="932" y="286"/>
                  </a:lnTo>
                  <a:lnTo>
                    <a:pt x="932" y="292"/>
                  </a:lnTo>
                  <a:lnTo>
                    <a:pt x="934" y="298"/>
                  </a:lnTo>
                  <a:lnTo>
                    <a:pt x="938" y="304"/>
                  </a:lnTo>
                  <a:lnTo>
                    <a:pt x="944" y="306"/>
                  </a:lnTo>
                  <a:lnTo>
                    <a:pt x="950" y="308"/>
                  </a:lnTo>
                  <a:lnTo>
                    <a:pt x="956" y="312"/>
                  </a:lnTo>
                  <a:lnTo>
                    <a:pt x="962" y="316"/>
                  </a:lnTo>
                  <a:lnTo>
                    <a:pt x="968" y="322"/>
                  </a:lnTo>
                  <a:lnTo>
                    <a:pt x="972" y="328"/>
                  </a:lnTo>
                  <a:lnTo>
                    <a:pt x="974" y="334"/>
                  </a:lnTo>
                  <a:lnTo>
                    <a:pt x="980" y="338"/>
                  </a:lnTo>
                  <a:lnTo>
                    <a:pt x="986" y="336"/>
                  </a:lnTo>
                  <a:lnTo>
                    <a:pt x="988" y="342"/>
                  </a:lnTo>
                  <a:lnTo>
                    <a:pt x="994" y="342"/>
                  </a:lnTo>
                  <a:lnTo>
                    <a:pt x="1000" y="346"/>
                  </a:lnTo>
                  <a:lnTo>
                    <a:pt x="1004" y="354"/>
                  </a:lnTo>
                  <a:lnTo>
                    <a:pt x="1006" y="356"/>
                  </a:lnTo>
                  <a:lnTo>
                    <a:pt x="1002" y="360"/>
                  </a:lnTo>
                  <a:lnTo>
                    <a:pt x="996" y="368"/>
                  </a:lnTo>
                  <a:lnTo>
                    <a:pt x="994" y="372"/>
                  </a:lnTo>
                  <a:lnTo>
                    <a:pt x="992" y="380"/>
                  </a:lnTo>
                  <a:lnTo>
                    <a:pt x="988" y="382"/>
                  </a:lnTo>
                  <a:lnTo>
                    <a:pt x="982" y="386"/>
                  </a:lnTo>
                  <a:lnTo>
                    <a:pt x="976" y="386"/>
                  </a:lnTo>
                  <a:lnTo>
                    <a:pt x="970" y="390"/>
                  </a:lnTo>
                  <a:lnTo>
                    <a:pt x="964" y="394"/>
                  </a:lnTo>
                  <a:lnTo>
                    <a:pt x="958" y="394"/>
                  </a:lnTo>
                  <a:lnTo>
                    <a:pt x="954" y="400"/>
                  </a:lnTo>
                  <a:lnTo>
                    <a:pt x="948" y="400"/>
                  </a:lnTo>
                  <a:lnTo>
                    <a:pt x="942" y="404"/>
                  </a:lnTo>
                  <a:lnTo>
                    <a:pt x="944" y="410"/>
                  </a:lnTo>
                  <a:lnTo>
                    <a:pt x="940" y="416"/>
                  </a:lnTo>
                  <a:lnTo>
                    <a:pt x="938" y="422"/>
                  </a:lnTo>
                  <a:lnTo>
                    <a:pt x="936" y="422"/>
                  </a:lnTo>
                  <a:lnTo>
                    <a:pt x="930" y="420"/>
                  </a:lnTo>
                  <a:lnTo>
                    <a:pt x="924" y="424"/>
                  </a:lnTo>
                  <a:lnTo>
                    <a:pt x="918" y="422"/>
                  </a:lnTo>
                  <a:lnTo>
                    <a:pt x="914" y="426"/>
                  </a:lnTo>
                  <a:lnTo>
                    <a:pt x="914" y="432"/>
                  </a:lnTo>
                  <a:lnTo>
                    <a:pt x="914" y="436"/>
                  </a:lnTo>
                  <a:lnTo>
                    <a:pt x="912" y="444"/>
                  </a:lnTo>
                  <a:lnTo>
                    <a:pt x="908" y="448"/>
                  </a:lnTo>
                  <a:lnTo>
                    <a:pt x="908" y="454"/>
                  </a:lnTo>
                  <a:lnTo>
                    <a:pt x="908" y="460"/>
                  </a:lnTo>
                  <a:lnTo>
                    <a:pt x="910" y="466"/>
                  </a:lnTo>
                  <a:lnTo>
                    <a:pt x="912" y="472"/>
                  </a:lnTo>
                  <a:lnTo>
                    <a:pt x="910" y="478"/>
                  </a:lnTo>
                  <a:lnTo>
                    <a:pt x="908" y="484"/>
                  </a:lnTo>
                  <a:lnTo>
                    <a:pt x="906" y="490"/>
                  </a:lnTo>
                  <a:lnTo>
                    <a:pt x="904" y="496"/>
                  </a:lnTo>
                  <a:lnTo>
                    <a:pt x="902" y="502"/>
                  </a:lnTo>
                  <a:lnTo>
                    <a:pt x="900" y="508"/>
                  </a:lnTo>
                  <a:lnTo>
                    <a:pt x="896" y="514"/>
                  </a:lnTo>
                  <a:lnTo>
                    <a:pt x="894" y="520"/>
                  </a:lnTo>
                  <a:lnTo>
                    <a:pt x="894" y="526"/>
                  </a:lnTo>
                  <a:lnTo>
                    <a:pt x="894" y="532"/>
                  </a:lnTo>
                  <a:lnTo>
                    <a:pt x="890" y="538"/>
                  </a:lnTo>
                  <a:lnTo>
                    <a:pt x="890" y="544"/>
                  </a:lnTo>
                  <a:lnTo>
                    <a:pt x="886" y="550"/>
                  </a:lnTo>
                  <a:lnTo>
                    <a:pt x="882" y="554"/>
                  </a:lnTo>
                  <a:lnTo>
                    <a:pt x="884" y="558"/>
                  </a:lnTo>
                  <a:lnTo>
                    <a:pt x="884" y="564"/>
                  </a:lnTo>
                  <a:lnTo>
                    <a:pt x="884" y="570"/>
                  </a:lnTo>
                  <a:lnTo>
                    <a:pt x="886" y="576"/>
                  </a:lnTo>
                  <a:lnTo>
                    <a:pt x="886" y="582"/>
                  </a:lnTo>
                  <a:lnTo>
                    <a:pt x="886" y="588"/>
                  </a:lnTo>
                  <a:lnTo>
                    <a:pt x="888" y="594"/>
                  </a:lnTo>
                  <a:lnTo>
                    <a:pt x="888" y="600"/>
                  </a:lnTo>
                  <a:lnTo>
                    <a:pt x="888" y="606"/>
                  </a:lnTo>
                  <a:lnTo>
                    <a:pt x="890" y="612"/>
                  </a:lnTo>
                  <a:lnTo>
                    <a:pt x="890" y="614"/>
                  </a:lnTo>
                  <a:lnTo>
                    <a:pt x="890" y="620"/>
                  </a:lnTo>
                  <a:lnTo>
                    <a:pt x="888" y="626"/>
                  </a:lnTo>
                  <a:lnTo>
                    <a:pt x="886" y="630"/>
                  </a:lnTo>
                  <a:lnTo>
                    <a:pt x="886" y="638"/>
                  </a:lnTo>
                  <a:lnTo>
                    <a:pt x="888" y="644"/>
                  </a:lnTo>
                  <a:lnTo>
                    <a:pt x="886" y="650"/>
                  </a:lnTo>
                  <a:lnTo>
                    <a:pt x="884" y="656"/>
                  </a:lnTo>
                  <a:lnTo>
                    <a:pt x="884" y="662"/>
                  </a:lnTo>
                  <a:lnTo>
                    <a:pt x="880" y="668"/>
                  </a:lnTo>
                  <a:lnTo>
                    <a:pt x="876" y="674"/>
                  </a:lnTo>
                  <a:lnTo>
                    <a:pt x="874" y="680"/>
                  </a:lnTo>
                  <a:lnTo>
                    <a:pt x="872" y="686"/>
                  </a:lnTo>
                  <a:lnTo>
                    <a:pt x="872" y="692"/>
                  </a:lnTo>
                  <a:lnTo>
                    <a:pt x="870" y="698"/>
                  </a:lnTo>
                  <a:lnTo>
                    <a:pt x="868" y="706"/>
                  </a:lnTo>
                  <a:lnTo>
                    <a:pt x="870" y="710"/>
                  </a:lnTo>
                  <a:lnTo>
                    <a:pt x="870" y="716"/>
                  </a:lnTo>
                  <a:lnTo>
                    <a:pt x="870" y="722"/>
                  </a:lnTo>
                  <a:lnTo>
                    <a:pt x="866" y="724"/>
                  </a:lnTo>
                  <a:lnTo>
                    <a:pt x="860" y="722"/>
                  </a:lnTo>
                  <a:lnTo>
                    <a:pt x="854" y="722"/>
                  </a:lnTo>
                  <a:lnTo>
                    <a:pt x="848" y="724"/>
                  </a:lnTo>
                  <a:lnTo>
                    <a:pt x="842" y="724"/>
                  </a:lnTo>
                  <a:lnTo>
                    <a:pt x="842" y="728"/>
                  </a:lnTo>
                  <a:lnTo>
                    <a:pt x="838" y="734"/>
                  </a:lnTo>
                  <a:lnTo>
                    <a:pt x="834" y="740"/>
                  </a:lnTo>
                  <a:lnTo>
                    <a:pt x="832" y="746"/>
                  </a:lnTo>
                  <a:lnTo>
                    <a:pt x="828" y="752"/>
                  </a:lnTo>
                  <a:lnTo>
                    <a:pt x="826" y="758"/>
                  </a:lnTo>
                  <a:lnTo>
                    <a:pt x="822" y="764"/>
                  </a:lnTo>
                  <a:lnTo>
                    <a:pt x="820" y="770"/>
                  </a:lnTo>
                  <a:lnTo>
                    <a:pt x="816" y="776"/>
                  </a:lnTo>
                  <a:lnTo>
                    <a:pt x="814" y="778"/>
                  </a:lnTo>
                  <a:lnTo>
                    <a:pt x="808" y="782"/>
                  </a:lnTo>
                  <a:lnTo>
                    <a:pt x="806" y="788"/>
                  </a:lnTo>
                  <a:lnTo>
                    <a:pt x="806" y="794"/>
                  </a:lnTo>
                  <a:lnTo>
                    <a:pt x="808" y="800"/>
                  </a:lnTo>
                  <a:lnTo>
                    <a:pt x="806" y="804"/>
                  </a:lnTo>
                  <a:lnTo>
                    <a:pt x="804" y="810"/>
                  </a:lnTo>
                  <a:lnTo>
                    <a:pt x="802" y="816"/>
                  </a:lnTo>
                  <a:lnTo>
                    <a:pt x="800" y="822"/>
                  </a:lnTo>
                  <a:lnTo>
                    <a:pt x="800" y="826"/>
                  </a:lnTo>
                  <a:lnTo>
                    <a:pt x="802" y="826"/>
                  </a:lnTo>
                  <a:lnTo>
                    <a:pt x="802" y="830"/>
                  </a:lnTo>
                  <a:lnTo>
                    <a:pt x="802" y="832"/>
                  </a:lnTo>
                  <a:lnTo>
                    <a:pt x="800" y="838"/>
                  </a:lnTo>
                  <a:lnTo>
                    <a:pt x="798" y="844"/>
                  </a:lnTo>
                  <a:lnTo>
                    <a:pt x="800" y="850"/>
                  </a:lnTo>
                  <a:lnTo>
                    <a:pt x="794" y="856"/>
                  </a:lnTo>
                  <a:lnTo>
                    <a:pt x="790" y="862"/>
                  </a:lnTo>
                  <a:lnTo>
                    <a:pt x="790" y="860"/>
                  </a:lnTo>
                  <a:lnTo>
                    <a:pt x="784" y="854"/>
                  </a:lnTo>
                  <a:lnTo>
                    <a:pt x="778" y="848"/>
                  </a:lnTo>
                  <a:lnTo>
                    <a:pt x="772" y="852"/>
                  </a:lnTo>
                  <a:lnTo>
                    <a:pt x="768" y="858"/>
                  </a:lnTo>
                  <a:lnTo>
                    <a:pt x="764" y="864"/>
                  </a:lnTo>
                  <a:lnTo>
                    <a:pt x="760" y="870"/>
                  </a:lnTo>
                  <a:lnTo>
                    <a:pt x="760" y="872"/>
                  </a:lnTo>
                  <a:lnTo>
                    <a:pt x="762" y="878"/>
                  </a:lnTo>
                  <a:lnTo>
                    <a:pt x="762" y="884"/>
                  </a:lnTo>
                  <a:lnTo>
                    <a:pt x="764" y="890"/>
                  </a:lnTo>
                  <a:lnTo>
                    <a:pt x="764" y="898"/>
                  </a:lnTo>
                  <a:lnTo>
                    <a:pt x="762" y="902"/>
                  </a:lnTo>
                  <a:lnTo>
                    <a:pt x="756" y="910"/>
                  </a:lnTo>
                  <a:lnTo>
                    <a:pt x="756" y="916"/>
                  </a:lnTo>
                  <a:lnTo>
                    <a:pt x="752" y="922"/>
                  </a:lnTo>
                  <a:lnTo>
                    <a:pt x="752" y="928"/>
                  </a:lnTo>
                  <a:lnTo>
                    <a:pt x="750" y="934"/>
                  </a:lnTo>
                  <a:lnTo>
                    <a:pt x="748" y="942"/>
                  </a:lnTo>
                  <a:lnTo>
                    <a:pt x="750" y="948"/>
                  </a:lnTo>
                  <a:lnTo>
                    <a:pt x="750" y="954"/>
                  </a:lnTo>
                  <a:lnTo>
                    <a:pt x="750" y="960"/>
                  </a:lnTo>
                  <a:lnTo>
                    <a:pt x="750" y="966"/>
                  </a:lnTo>
                  <a:lnTo>
                    <a:pt x="752" y="972"/>
                  </a:lnTo>
                  <a:lnTo>
                    <a:pt x="752" y="978"/>
                  </a:lnTo>
                  <a:lnTo>
                    <a:pt x="752" y="984"/>
                  </a:lnTo>
                  <a:lnTo>
                    <a:pt x="752" y="990"/>
                  </a:lnTo>
                  <a:lnTo>
                    <a:pt x="752" y="996"/>
                  </a:lnTo>
                  <a:lnTo>
                    <a:pt x="752" y="1002"/>
                  </a:lnTo>
                  <a:lnTo>
                    <a:pt x="752" y="1008"/>
                  </a:lnTo>
                  <a:lnTo>
                    <a:pt x="750" y="1012"/>
                  </a:lnTo>
                  <a:lnTo>
                    <a:pt x="744" y="1016"/>
                  </a:lnTo>
                  <a:lnTo>
                    <a:pt x="738" y="1018"/>
                  </a:lnTo>
                  <a:lnTo>
                    <a:pt x="732" y="1022"/>
                  </a:lnTo>
                  <a:lnTo>
                    <a:pt x="726" y="1020"/>
                  </a:lnTo>
                  <a:lnTo>
                    <a:pt x="718" y="1016"/>
                  </a:lnTo>
                  <a:lnTo>
                    <a:pt x="714" y="1016"/>
                  </a:lnTo>
                  <a:lnTo>
                    <a:pt x="708" y="1018"/>
                  </a:lnTo>
                  <a:lnTo>
                    <a:pt x="702" y="1016"/>
                  </a:lnTo>
                  <a:lnTo>
                    <a:pt x="696" y="1018"/>
                  </a:lnTo>
                  <a:lnTo>
                    <a:pt x="694" y="1020"/>
                  </a:lnTo>
                  <a:lnTo>
                    <a:pt x="694" y="1026"/>
                  </a:lnTo>
                  <a:lnTo>
                    <a:pt x="694" y="1032"/>
                  </a:lnTo>
                  <a:lnTo>
                    <a:pt x="696" y="1038"/>
                  </a:lnTo>
                  <a:lnTo>
                    <a:pt x="690" y="1042"/>
                  </a:lnTo>
                  <a:lnTo>
                    <a:pt x="686" y="1048"/>
                  </a:lnTo>
                  <a:lnTo>
                    <a:pt x="686" y="1050"/>
                  </a:lnTo>
                  <a:lnTo>
                    <a:pt x="684" y="1056"/>
                  </a:lnTo>
                  <a:lnTo>
                    <a:pt x="684" y="1058"/>
                  </a:lnTo>
                  <a:lnTo>
                    <a:pt x="690" y="1062"/>
                  </a:lnTo>
                  <a:lnTo>
                    <a:pt x="696" y="1062"/>
                  </a:lnTo>
                  <a:lnTo>
                    <a:pt x="702" y="1066"/>
                  </a:lnTo>
                  <a:lnTo>
                    <a:pt x="708" y="1066"/>
                  </a:lnTo>
                  <a:lnTo>
                    <a:pt x="714" y="1066"/>
                  </a:lnTo>
                  <a:lnTo>
                    <a:pt x="720" y="1070"/>
                  </a:lnTo>
                  <a:lnTo>
                    <a:pt x="726" y="1072"/>
                  </a:lnTo>
                  <a:lnTo>
                    <a:pt x="732" y="1076"/>
                  </a:lnTo>
                  <a:lnTo>
                    <a:pt x="738" y="1080"/>
                  </a:lnTo>
                  <a:lnTo>
                    <a:pt x="744" y="1086"/>
                  </a:lnTo>
                  <a:lnTo>
                    <a:pt x="748" y="1092"/>
                  </a:lnTo>
                  <a:lnTo>
                    <a:pt x="748" y="1098"/>
                  </a:lnTo>
                  <a:lnTo>
                    <a:pt x="752" y="1104"/>
                  </a:lnTo>
                  <a:lnTo>
                    <a:pt x="758" y="1108"/>
                  </a:lnTo>
                  <a:lnTo>
                    <a:pt x="760" y="1114"/>
                  </a:lnTo>
                  <a:lnTo>
                    <a:pt x="764" y="1120"/>
                  </a:lnTo>
                  <a:lnTo>
                    <a:pt x="770" y="1122"/>
                  </a:lnTo>
                  <a:lnTo>
                    <a:pt x="776" y="1126"/>
                  </a:lnTo>
                  <a:lnTo>
                    <a:pt x="778" y="1130"/>
                  </a:lnTo>
                  <a:lnTo>
                    <a:pt x="782" y="1136"/>
                  </a:lnTo>
                  <a:lnTo>
                    <a:pt x="788" y="1138"/>
                  </a:lnTo>
                  <a:lnTo>
                    <a:pt x="792" y="1144"/>
                  </a:lnTo>
                  <a:lnTo>
                    <a:pt x="794" y="1150"/>
                  </a:lnTo>
                  <a:lnTo>
                    <a:pt x="794" y="1156"/>
                  </a:lnTo>
                  <a:lnTo>
                    <a:pt x="798" y="1162"/>
                  </a:lnTo>
                  <a:lnTo>
                    <a:pt x="800" y="1168"/>
                  </a:lnTo>
                  <a:lnTo>
                    <a:pt x="802" y="1174"/>
                  </a:lnTo>
                  <a:lnTo>
                    <a:pt x="806" y="1180"/>
                  </a:lnTo>
                  <a:lnTo>
                    <a:pt x="808" y="1186"/>
                  </a:lnTo>
                  <a:lnTo>
                    <a:pt x="806" y="1190"/>
                  </a:lnTo>
                  <a:lnTo>
                    <a:pt x="808" y="1196"/>
                  </a:lnTo>
                  <a:lnTo>
                    <a:pt x="812" y="1202"/>
                  </a:lnTo>
                  <a:lnTo>
                    <a:pt x="814" y="1208"/>
                  </a:lnTo>
                  <a:lnTo>
                    <a:pt x="818" y="1216"/>
                  </a:lnTo>
                  <a:lnTo>
                    <a:pt x="824" y="1220"/>
                  </a:lnTo>
                  <a:lnTo>
                    <a:pt x="824" y="1226"/>
                  </a:lnTo>
                  <a:lnTo>
                    <a:pt x="828" y="1232"/>
                  </a:lnTo>
                  <a:lnTo>
                    <a:pt x="834" y="1226"/>
                  </a:lnTo>
                  <a:lnTo>
                    <a:pt x="842" y="1226"/>
                  </a:lnTo>
                  <a:lnTo>
                    <a:pt x="846" y="1230"/>
                  </a:lnTo>
                  <a:lnTo>
                    <a:pt x="852" y="1230"/>
                  </a:lnTo>
                  <a:lnTo>
                    <a:pt x="858" y="1232"/>
                  </a:lnTo>
                  <a:lnTo>
                    <a:pt x="858" y="1238"/>
                  </a:lnTo>
                  <a:lnTo>
                    <a:pt x="860" y="1244"/>
                  </a:lnTo>
                  <a:lnTo>
                    <a:pt x="856" y="1250"/>
                  </a:lnTo>
                  <a:lnTo>
                    <a:pt x="856" y="1256"/>
                  </a:lnTo>
                  <a:lnTo>
                    <a:pt x="856" y="1258"/>
                  </a:lnTo>
                  <a:lnTo>
                    <a:pt x="856" y="1264"/>
                  </a:lnTo>
                  <a:lnTo>
                    <a:pt x="856" y="1270"/>
                  </a:lnTo>
                  <a:lnTo>
                    <a:pt x="862" y="1276"/>
                  </a:lnTo>
                  <a:lnTo>
                    <a:pt x="866" y="1282"/>
                  </a:lnTo>
                  <a:lnTo>
                    <a:pt x="864" y="1282"/>
                  </a:lnTo>
                  <a:lnTo>
                    <a:pt x="858" y="1282"/>
                  </a:lnTo>
                  <a:lnTo>
                    <a:pt x="852" y="1282"/>
                  </a:lnTo>
                  <a:lnTo>
                    <a:pt x="846" y="1282"/>
                  </a:lnTo>
                  <a:lnTo>
                    <a:pt x="840" y="1282"/>
                  </a:lnTo>
                  <a:lnTo>
                    <a:pt x="838" y="1282"/>
                  </a:lnTo>
                  <a:lnTo>
                    <a:pt x="832" y="1282"/>
                  </a:lnTo>
                  <a:lnTo>
                    <a:pt x="826" y="1282"/>
                  </a:lnTo>
                  <a:lnTo>
                    <a:pt x="820" y="1282"/>
                  </a:lnTo>
                  <a:lnTo>
                    <a:pt x="816" y="1282"/>
                  </a:lnTo>
                  <a:lnTo>
                    <a:pt x="808" y="1282"/>
                  </a:lnTo>
                  <a:lnTo>
                    <a:pt x="806" y="1282"/>
                  </a:lnTo>
                  <a:lnTo>
                    <a:pt x="800" y="1282"/>
                  </a:lnTo>
                  <a:lnTo>
                    <a:pt x="794" y="1282"/>
                  </a:lnTo>
                  <a:lnTo>
                    <a:pt x="790" y="1282"/>
                  </a:lnTo>
                  <a:lnTo>
                    <a:pt x="784" y="1282"/>
                  </a:lnTo>
                  <a:lnTo>
                    <a:pt x="778" y="1282"/>
                  </a:lnTo>
                  <a:lnTo>
                    <a:pt x="772" y="1282"/>
                  </a:lnTo>
                  <a:lnTo>
                    <a:pt x="768" y="1286"/>
                  </a:lnTo>
                  <a:lnTo>
                    <a:pt x="764" y="1292"/>
                  </a:lnTo>
                  <a:lnTo>
                    <a:pt x="758" y="1298"/>
                  </a:lnTo>
                  <a:lnTo>
                    <a:pt x="752" y="1304"/>
                  </a:lnTo>
                  <a:lnTo>
                    <a:pt x="748" y="1310"/>
                  </a:lnTo>
                  <a:lnTo>
                    <a:pt x="744" y="1312"/>
                  </a:lnTo>
                  <a:lnTo>
                    <a:pt x="740" y="1318"/>
                  </a:lnTo>
                  <a:lnTo>
                    <a:pt x="734" y="1324"/>
                  </a:lnTo>
                  <a:lnTo>
                    <a:pt x="730" y="1330"/>
                  </a:lnTo>
                  <a:lnTo>
                    <a:pt x="724" y="1336"/>
                  </a:lnTo>
                  <a:lnTo>
                    <a:pt x="718" y="1342"/>
                  </a:lnTo>
                  <a:lnTo>
                    <a:pt x="716" y="1342"/>
                  </a:lnTo>
                  <a:lnTo>
                    <a:pt x="710" y="1342"/>
                  </a:lnTo>
                  <a:lnTo>
                    <a:pt x="704" y="1342"/>
                  </a:lnTo>
                  <a:lnTo>
                    <a:pt x="698" y="1342"/>
                  </a:lnTo>
                  <a:lnTo>
                    <a:pt x="698" y="1340"/>
                  </a:lnTo>
                  <a:lnTo>
                    <a:pt x="692" y="1336"/>
                  </a:lnTo>
                  <a:lnTo>
                    <a:pt x="686" y="1334"/>
                  </a:lnTo>
                  <a:lnTo>
                    <a:pt x="680" y="1338"/>
                  </a:lnTo>
                  <a:lnTo>
                    <a:pt x="674" y="1340"/>
                  </a:lnTo>
                  <a:lnTo>
                    <a:pt x="668" y="1342"/>
                  </a:lnTo>
                  <a:lnTo>
                    <a:pt x="662" y="1342"/>
                  </a:lnTo>
                  <a:lnTo>
                    <a:pt x="656" y="1342"/>
                  </a:lnTo>
                  <a:lnTo>
                    <a:pt x="650" y="1342"/>
                  </a:lnTo>
                  <a:lnTo>
                    <a:pt x="644" y="1348"/>
                  </a:lnTo>
                  <a:lnTo>
                    <a:pt x="638" y="1352"/>
                  </a:lnTo>
                  <a:lnTo>
                    <a:pt x="638" y="1358"/>
                  </a:lnTo>
                  <a:lnTo>
                    <a:pt x="636" y="1358"/>
                  </a:lnTo>
                  <a:lnTo>
                    <a:pt x="630" y="1354"/>
                  </a:lnTo>
                  <a:lnTo>
                    <a:pt x="628" y="1354"/>
                  </a:lnTo>
                  <a:lnTo>
                    <a:pt x="624" y="1352"/>
                  </a:lnTo>
                  <a:lnTo>
                    <a:pt x="622" y="1346"/>
                  </a:lnTo>
                  <a:lnTo>
                    <a:pt x="618" y="1340"/>
                  </a:lnTo>
                  <a:lnTo>
                    <a:pt x="612" y="1340"/>
                  </a:lnTo>
                  <a:lnTo>
                    <a:pt x="606" y="1346"/>
                  </a:lnTo>
                  <a:lnTo>
                    <a:pt x="604" y="1346"/>
                  </a:lnTo>
                  <a:lnTo>
                    <a:pt x="598" y="1348"/>
                  </a:lnTo>
                  <a:lnTo>
                    <a:pt x="592" y="1344"/>
                  </a:lnTo>
                  <a:lnTo>
                    <a:pt x="586" y="1342"/>
                  </a:lnTo>
                  <a:lnTo>
                    <a:pt x="580" y="1338"/>
                  </a:lnTo>
                  <a:lnTo>
                    <a:pt x="574" y="1340"/>
                  </a:lnTo>
                  <a:lnTo>
                    <a:pt x="568" y="1346"/>
                  </a:lnTo>
                  <a:lnTo>
                    <a:pt x="562" y="1350"/>
                  </a:lnTo>
                  <a:lnTo>
                    <a:pt x="558" y="1356"/>
                  </a:lnTo>
                  <a:lnTo>
                    <a:pt x="556" y="1360"/>
                  </a:lnTo>
                  <a:lnTo>
                    <a:pt x="556" y="1358"/>
                  </a:lnTo>
                  <a:lnTo>
                    <a:pt x="552" y="1352"/>
                  </a:lnTo>
                  <a:lnTo>
                    <a:pt x="546" y="1350"/>
                  </a:lnTo>
                  <a:lnTo>
                    <a:pt x="540" y="1352"/>
                  </a:lnTo>
                  <a:lnTo>
                    <a:pt x="538" y="1352"/>
                  </a:lnTo>
                  <a:lnTo>
                    <a:pt x="540" y="1346"/>
                  </a:lnTo>
                  <a:lnTo>
                    <a:pt x="538" y="1340"/>
                  </a:lnTo>
                  <a:lnTo>
                    <a:pt x="538" y="1334"/>
                  </a:lnTo>
                  <a:lnTo>
                    <a:pt x="532" y="1334"/>
                  </a:lnTo>
                  <a:lnTo>
                    <a:pt x="526" y="1330"/>
                  </a:lnTo>
                  <a:lnTo>
                    <a:pt x="522" y="1328"/>
                  </a:lnTo>
                  <a:lnTo>
                    <a:pt x="516" y="1324"/>
                  </a:lnTo>
                  <a:lnTo>
                    <a:pt x="514" y="1318"/>
                  </a:lnTo>
                  <a:lnTo>
                    <a:pt x="506" y="1316"/>
                  </a:lnTo>
                  <a:lnTo>
                    <a:pt x="504" y="1310"/>
                  </a:lnTo>
                  <a:lnTo>
                    <a:pt x="500" y="1306"/>
                  </a:lnTo>
                  <a:lnTo>
                    <a:pt x="498" y="1300"/>
                  </a:lnTo>
                  <a:lnTo>
                    <a:pt x="492" y="1298"/>
                  </a:lnTo>
                  <a:lnTo>
                    <a:pt x="492" y="1292"/>
                  </a:lnTo>
                  <a:lnTo>
                    <a:pt x="488" y="1284"/>
                  </a:lnTo>
                  <a:lnTo>
                    <a:pt x="482" y="1282"/>
                  </a:lnTo>
                  <a:lnTo>
                    <a:pt x="476" y="1278"/>
                  </a:lnTo>
                  <a:lnTo>
                    <a:pt x="470" y="1280"/>
                  </a:lnTo>
                  <a:lnTo>
                    <a:pt x="468" y="1286"/>
                  </a:lnTo>
                  <a:lnTo>
                    <a:pt x="464" y="1292"/>
                  </a:lnTo>
                  <a:lnTo>
                    <a:pt x="460" y="1298"/>
                  </a:lnTo>
                  <a:lnTo>
                    <a:pt x="452" y="1298"/>
                  </a:lnTo>
                  <a:lnTo>
                    <a:pt x="448" y="1294"/>
                  </a:lnTo>
                  <a:lnTo>
                    <a:pt x="442" y="1292"/>
                  </a:lnTo>
                  <a:lnTo>
                    <a:pt x="434" y="1292"/>
                  </a:lnTo>
                  <a:lnTo>
                    <a:pt x="430" y="1286"/>
                  </a:lnTo>
                  <a:lnTo>
                    <a:pt x="424" y="1292"/>
                  </a:lnTo>
                  <a:lnTo>
                    <a:pt x="418" y="1296"/>
                  </a:lnTo>
                  <a:lnTo>
                    <a:pt x="412" y="1300"/>
                  </a:lnTo>
                  <a:lnTo>
                    <a:pt x="406" y="1306"/>
                  </a:lnTo>
                  <a:lnTo>
                    <a:pt x="400" y="1300"/>
                  </a:lnTo>
                  <a:lnTo>
                    <a:pt x="392" y="1300"/>
                  </a:lnTo>
                  <a:lnTo>
                    <a:pt x="390" y="1294"/>
                  </a:lnTo>
                  <a:lnTo>
                    <a:pt x="384" y="1292"/>
                  </a:lnTo>
                  <a:lnTo>
                    <a:pt x="380" y="1286"/>
                  </a:lnTo>
                  <a:lnTo>
                    <a:pt x="374" y="1286"/>
                  </a:lnTo>
                  <a:lnTo>
                    <a:pt x="368" y="1282"/>
                  </a:lnTo>
                  <a:lnTo>
                    <a:pt x="368" y="1276"/>
                  </a:lnTo>
                  <a:lnTo>
                    <a:pt x="362" y="1270"/>
                  </a:lnTo>
                  <a:lnTo>
                    <a:pt x="362" y="1268"/>
                  </a:lnTo>
                  <a:lnTo>
                    <a:pt x="360" y="1262"/>
                  </a:lnTo>
                  <a:lnTo>
                    <a:pt x="354" y="1262"/>
                  </a:lnTo>
                  <a:lnTo>
                    <a:pt x="350" y="1256"/>
                  </a:lnTo>
                  <a:lnTo>
                    <a:pt x="348" y="1254"/>
                  </a:lnTo>
                  <a:lnTo>
                    <a:pt x="348" y="1252"/>
                  </a:lnTo>
                  <a:lnTo>
                    <a:pt x="344" y="1244"/>
                  </a:lnTo>
                  <a:lnTo>
                    <a:pt x="338" y="1240"/>
                  </a:lnTo>
                  <a:lnTo>
                    <a:pt x="336" y="1234"/>
                  </a:lnTo>
                  <a:lnTo>
                    <a:pt x="334" y="1228"/>
                  </a:lnTo>
                  <a:lnTo>
                    <a:pt x="334" y="1226"/>
                  </a:lnTo>
                  <a:lnTo>
                    <a:pt x="336" y="1220"/>
                  </a:lnTo>
                  <a:lnTo>
                    <a:pt x="334" y="1214"/>
                  </a:lnTo>
                  <a:lnTo>
                    <a:pt x="332" y="1208"/>
                  </a:lnTo>
                  <a:lnTo>
                    <a:pt x="326" y="1202"/>
                  </a:lnTo>
                  <a:lnTo>
                    <a:pt x="320" y="1198"/>
                  </a:lnTo>
                  <a:lnTo>
                    <a:pt x="316" y="1194"/>
                  </a:lnTo>
                  <a:lnTo>
                    <a:pt x="310" y="1192"/>
                  </a:lnTo>
                  <a:lnTo>
                    <a:pt x="304" y="1186"/>
                  </a:lnTo>
                  <a:lnTo>
                    <a:pt x="298" y="1186"/>
                  </a:lnTo>
                  <a:lnTo>
                    <a:pt x="292" y="1184"/>
                  </a:lnTo>
                  <a:lnTo>
                    <a:pt x="286" y="1176"/>
                  </a:lnTo>
                  <a:lnTo>
                    <a:pt x="290" y="1172"/>
                  </a:lnTo>
                  <a:lnTo>
                    <a:pt x="284" y="1166"/>
                  </a:lnTo>
                  <a:lnTo>
                    <a:pt x="278" y="1160"/>
                  </a:lnTo>
                  <a:lnTo>
                    <a:pt x="276" y="1154"/>
                  </a:lnTo>
                  <a:lnTo>
                    <a:pt x="280" y="1148"/>
                  </a:lnTo>
                  <a:lnTo>
                    <a:pt x="282" y="1142"/>
                  </a:lnTo>
                  <a:lnTo>
                    <a:pt x="278" y="1138"/>
                  </a:lnTo>
                  <a:lnTo>
                    <a:pt x="272" y="1134"/>
                  </a:lnTo>
                  <a:lnTo>
                    <a:pt x="266" y="1130"/>
                  </a:lnTo>
                  <a:lnTo>
                    <a:pt x="262" y="1124"/>
                  </a:lnTo>
                  <a:lnTo>
                    <a:pt x="262" y="1118"/>
                  </a:lnTo>
                  <a:lnTo>
                    <a:pt x="254" y="1114"/>
                  </a:lnTo>
                  <a:lnTo>
                    <a:pt x="248" y="1110"/>
                  </a:lnTo>
                  <a:lnTo>
                    <a:pt x="242" y="1106"/>
                  </a:lnTo>
                  <a:lnTo>
                    <a:pt x="236" y="1104"/>
                  </a:lnTo>
                  <a:lnTo>
                    <a:pt x="230" y="1098"/>
                  </a:lnTo>
                  <a:lnTo>
                    <a:pt x="224" y="1096"/>
                  </a:lnTo>
                  <a:lnTo>
                    <a:pt x="218" y="1092"/>
                  </a:lnTo>
                  <a:lnTo>
                    <a:pt x="214" y="1086"/>
                  </a:lnTo>
                  <a:lnTo>
                    <a:pt x="210" y="1082"/>
                  </a:lnTo>
                  <a:lnTo>
                    <a:pt x="208" y="1076"/>
                  </a:lnTo>
                  <a:lnTo>
                    <a:pt x="214" y="1072"/>
                  </a:lnTo>
                  <a:lnTo>
                    <a:pt x="214" y="1066"/>
                  </a:lnTo>
                  <a:lnTo>
                    <a:pt x="212" y="1062"/>
                  </a:lnTo>
                  <a:lnTo>
                    <a:pt x="208" y="1054"/>
                  </a:lnTo>
                  <a:lnTo>
                    <a:pt x="202" y="1056"/>
                  </a:lnTo>
                  <a:lnTo>
                    <a:pt x="196" y="1050"/>
                  </a:lnTo>
                  <a:lnTo>
                    <a:pt x="194" y="1048"/>
                  </a:lnTo>
                  <a:lnTo>
                    <a:pt x="194" y="1042"/>
                  </a:lnTo>
                  <a:lnTo>
                    <a:pt x="188" y="1036"/>
                  </a:lnTo>
                  <a:lnTo>
                    <a:pt x="186" y="1036"/>
                  </a:lnTo>
                  <a:lnTo>
                    <a:pt x="180" y="1034"/>
                  </a:lnTo>
                  <a:lnTo>
                    <a:pt x="174" y="1032"/>
                  </a:lnTo>
                  <a:lnTo>
                    <a:pt x="168" y="1034"/>
                  </a:lnTo>
                  <a:lnTo>
                    <a:pt x="162" y="1030"/>
                  </a:lnTo>
                  <a:lnTo>
                    <a:pt x="156" y="1030"/>
                  </a:lnTo>
                  <a:lnTo>
                    <a:pt x="152" y="1028"/>
                  </a:lnTo>
                  <a:lnTo>
                    <a:pt x="144" y="1024"/>
                  </a:lnTo>
                  <a:lnTo>
                    <a:pt x="144" y="1018"/>
                  </a:lnTo>
                  <a:lnTo>
                    <a:pt x="148" y="1012"/>
                  </a:lnTo>
                  <a:lnTo>
                    <a:pt x="150" y="1006"/>
                  </a:lnTo>
                  <a:lnTo>
                    <a:pt x="146" y="1000"/>
                  </a:lnTo>
                  <a:lnTo>
                    <a:pt x="142" y="1000"/>
                  </a:lnTo>
                  <a:lnTo>
                    <a:pt x="136" y="1000"/>
                  </a:lnTo>
                  <a:lnTo>
                    <a:pt x="130" y="998"/>
                  </a:lnTo>
                  <a:lnTo>
                    <a:pt x="124" y="998"/>
                  </a:lnTo>
                  <a:lnTo>
                    <a:pt x="118" y="998"/>
                  </a:lnTo>
                  <a:lnTo>
                    <a:pt x="112" y="998"/>
                  </a:lnTo>
                  <a:lnTo>
                    <a:pt x="104" y="996"/>
                  </a:lnTo>
                  <a:lnTo>
                    <a:pt x="108" y="990"/>
                  </a:lnTo>
                  <a:lnTo>
                    <a:pt x="110" y="984"/>
                  </a:lnTo>
                  <a:lnTo>
                    <a:pt x="108" y="978"/>
                  </a:lnTo>
                  <a:lnTo>
                    <a:pt x="102" y="980"/>
                  </a:lnTo>
                  <a:lnTo>
                    <a:pt x="102" y="976"/>
                  </a:lnTo>
                  <a:lnTo>
                    <a:pt x="102" y="970"/>
                  </a:lnTo>
                  <a:lnTo>
                    <a:pt x="104" y="966"/>
                  </a:lnTo>
                  <a:lnTo>
                    <a:pt x="110" y="964"/>
                  </a:lnTo>
                  <a:lnTo>
                    <a:pt x="114" y="958"/>
                  </a:lnTo>
                  <a:lnTo>
                    <a:pt x="114" y="952"/>
                  </a:lnTo>
                  <a:lnTo>
                    <a:pt x="112" y="946"/>
                  </a:lnTo>
                  <a:lnTo>
                    <a:pt x="114" y="940"/>
                  </a:lnTo>
                  <a:lnTo>
                    <a:pt x="116" y="934"/>
                  </a:lnTo>
                  <a:lnTo>
                    <a:pt x="116" y="928"/>
                  </a:lnTo>
                  <a:lnTo>
                    <a:pt x="114" y="922"/>
                  </a:lnTo>
                  <a:lnTo>
                    <a:pt x="112" y="916"/>
                  </a:lnTo>
                  <a:lnTo>
                    <a:pt x="108" y="910"/>
                  </a:lnTo>
                  <a:lnTo>
                    <a:pt x="108" y="908"/>
                  </a:lnTo>
                  <a:lnTo>
                    <a:pt x="104" y="902"/>
                  </a:lnTo>
                  <a:lnTo>
                    <a:pt x="102" y="896"/>
                  </a:lnTo>
                  <a:lnTo>
                    <a:pt x="98" y="890"/>
                  </a:lnTo>
                  <a:lnTo>
                    <a:pt x="96" y="884"/>
                  </a:lnTo>
                  <a:lnTo>
                    <a:pt x="90" y="878"/>
                  </a:lnTo>
                  <a:lnTo>
                    <a:pt x="88" y="876"/>
                  </a:lnTo>
                  <a:lnTo>
                    <a:pt x="84" y="870"/>
                  </a:lnTo>
                  <a:lnTo>
                    <a:pt x="78" y="864"/>
                  </a:lnTo>
                  <a:lnTo>
                    <a:pt x="72" y="858"/>
                  </a:lnTo>
                  <a:lnTo>
                    <a:pt x="68" y="852"/>
                  </a:lnTo>
                  <a:lnTo>
                    <a:pt x="66" y="846"/>
                  </a:lnTo>
                  <a:lnTo>
                    <a:pt x="66" y="842"/>
                  </a:lnTo>
                  <a:lnTo>
                    <a:pt x="68" y="836"/>
                  </a:lnTo>
                  <a:lnTo>
                    <a:pt x="70" y="830"/>
                  </a:lnTo>
                  <a:lnTo>
                    <a:pt x="70" y="824"/>
                  </a:lnTo>
                  <a:lnTo>
                    <a:pt x="70" y="818"/>
                  </a:lnTo>
                  <a:lnTo>
                    <a:pt x="66" y="812"/>
                  </a:lnTo>
                  <a:lnTo>
                    <a:pt x="60" y="812"/>
                  </a:lnTo>
                  <a:lnTo>
                    <a:pt x="54" y="806"/>
                  </a:lnTo>
                  <a:lnTo>
                    <a:pt x="48" y="802"/>
                  </a:lnTo>
                  <a:lnTo>
                    <a:pt x="46" y="796"/>
                  </a:lnTo>
                  <a:lnTo>
                    <a:pt x="46" y="790"/>
                  </a:lnTo>
                  <a:lnTo>
                    <a:pt x="46" y="784"/>
                  </a:lnTo>
                  <a:lnTo>
                    <a:pt x="48" y="778"/>
                  </a:lnTo>
                  <a:lnTo>
                    <a:pt x="48" y="772"/>
                  </a:lnTo>
                  <a:lnTo>
                    <a:pt x="46" y="766"/>
                  </a:lnTo>
                  <a:lnTo>
                    <a:pt x="40" y="768"/>
                  </a:lnTo>
                  <a:lnTo>
                    <a:pt x="42" y="764"/>
                  </a:lnTo>
                  <a:lnTo>
                    <a:pt x="42" y="758"/>
                  </a:lnTo>
                  <a:lnTo>
                    <a:pt x="40" y="752"/>
                  </a:lnTo>
                  <a:lnTo>
                    <a:pt x="38" y="746"/>
                  </a:lnTo>
                  <a:lnTo>
                    <a:pt x="34" y="740"/>
                  </a:lnTo>
                  <a:lnTo>
                    <a:pt x="36" y="734"/>
                  </a:lnTo>
                  <a:lnTo>
                    <a:pt x="38" y="728"/>
                  </a:lnTo>
                  <a:lnTo>
                    <a:pt x="32" y="726"/>
                  </a:lnTo>
                  <a:lnTo>
                    <a:pt x="26" y="722"/>
                  </a:lnTo>
                  <a:lnTo>
                    <a:pt x="20" y="724"/>
                  </a:lnTo>
                  <a:lnTo>
                    <a:pt x="14" y="728"/>
                  </a:lnTo>
                  <a:lnTo>
                    <a:pt x="8" y="728"/>
                  </a:lnTo>
                  <a:lnTo>
                    <a:pt x="2" y="722"/>
                  </a:lnTo>
                  <a:lnTo>
                    <a:pt x="0" y="7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8" name="Freeform 215"/>
            <p:cNvSpPr>
              <a:spLocks/>
            </p:cNvSpPr>
            <p:nvPr/>
          </p:nvSpPr>
          <p:spPr bwMode="auto">
            <a:xfrm>
              <a:off x="4237038" y="3576638"/>
              <a:ext cx="388937" cy="336550"/>
            </a:xfrm>
            <a:custGeom>
              <a:avLst/>
              <a:gdLst>
                <a:gd name="T0" fmla="*/ 2147483647 w 954"/>
                <a:gd name="T1" fmla="*/ 2147483647 h 818"/>
                <a:gd name="T2" fmla="*/ 2147483647 w 954"/>
                <a:gd name="T3" fmla="*/ 2147483647 h 818"/>
                <a:gd name="T4" fmla="*/ 2147483647 w 954"/>
                <a:gd name="T5" fmla="*/ 2147483647 h 818"/>
                <a:gd name="T6" fmla="*/ 2147483647 w 954"/>
                <a:gd name="T7" fmla="*/ 2147483647 h 818"/>
                <a:gd name="T8" fmla="*/ 2147483647 w 954"/>
                <a:gd name="T9" fmla="*/ 2147483647 h 818"/>
                <a:gd name="T10" fmla="*/ 2147483647 w 954"/>
                <a:gd name="T11" fmla="*/ 2147483647 h 818"/>
                <a:gd name="T12" fmla="*/ 2147483647 w 954"/>
                <a:gd name="T13" fmla="*/ 2147483647 h 818"/>
                <a:gd name="T14" fmla="*/ 2147483647 w 954"/>
                <a:gd name="T15" fmla="*/ 2147483647 h 818"/>
                <a:gd name="T16" fmla="*/ 2147483647 w 954"/>
                <a:gd name="T17" fmla="*/ 2147483647 h 818"/>
                <a:gd name="T18" fmla="*/ 2147483647 w 954"/>
                <a:gd name="T19" fmla="*/ 2147483647 h 818"/>
                <a:gd name="T20" fmla="*/ 2147483647 w 954"/>
                <a:gd name="T21" fmla="*/ 2147483647 h 818"/>
                <a:gd name="T22" fmla="*/ 2147483647 w 954"/>
                <a:gd name="T23" fmla="*/ 2147483647 h 818"/>
                <a:gd name="T24" fmla="*/ 2147483647 w 954"/>
                <a:gd name="T25" fmla="*/ 2147483647 h 818"/>
                <a:gd name="T26" fmla="*/ 2147483647 w 954"/>
                <a:gd name="T27" fmla="*/ 2147483647 h 818"/>
                <a:gd name="T28" fmla="*/ 2147483647 w 954"/>
                <a:gd name="T29" fmla="*/ 2147483647 h 818"/>
                <a:gd name="T30" fmla="*/ 2147483647 w 954"/>
                <a:gd name="T31" fmla="*/ 2147483647 h 818"/>
                <a:gd name="T32" fmla="*/ 2147483647 w 954"/>
                <a:gd name="T33" fmla="*/ 2147483647 h 818"/>
                <a:gd name="T34" fmla="*/ 2147483647 w 954"/>
                <a:gd name="T35" fmla="*/ 2147483647 h 818"/>
                <a:gd name="T36" fmla="*/ 2147483647 w 954"/>
                <a:gd name="T37" fmla="*/ 2147483647 h 818"/>
                <a:gd name="T38" fmla="*/ 2147483647 w 954"/>
                <a:gd name="T39" fmla="*/ 0 h 818"/>
                <a:gd name="T40" fmla="*/ 2147483647 w 954"/>
                <a:gd name="T41" fmla="*/ 2147483647 h 818"/>
                <a:gd name="T42" fmla="*/ 2147483647 w 954"/>
                <a:gd name="T43" fmla="*/ 2147483647 h 818"/>
                <a:gd name="T44" fmla="*/ 2147483647 w 954"/>
                <a:gd name="T45" fmla="*/ 2147483647 h 818"/>
                <a:gd name="T46" fmla="*/ 2147483647 w 954"/>
                <a:gd name="T47" fmla="*/ 2147483647 h 818"/>
                <a:gd name="T48" fmla="*/ 2147483647 w 954"/>
                <a:gd name="T49" fmla="*/ 2147483647 h 818"/>
                <a:gd name="T50" fmla="*/ 2147483647 w 954"/>
                <a:gd name="T51" fmla="*/ 2147483647 h 818"/>
                <a:gd name="T52" fmla="*/ 2147483647 w 954"/>
                <a:gd name="T53" fmla="*/ 2147483647 h 818"/>
                <a:gd name="T54" fmla="*/ 2147483647 w 954"/>
                <a:gd name="T55" fmla="*/ 2147483647 h 818"/>
                <a:gd name="T56" fmla="*/ 2147483647 w 954"/>
                <a:gd name="T57" fmla="*/ 2147483647 h 818"/>
                <a:gd name="T58" fmla="*/ 2147483647 w 954"/>
                <a:gd name="T59" fmla="*/ 2147483647 h 818"/>
                <a:gd name="T60" fmla="*/ 2147483647 w 954"/>
                <a:gd name="T61" fmla="*/ 2147483647 h 818"/>
                <a:gd name="T62" fmla="*/ 2147483647 w 954"/>
                <a:gd name="T63" fmla="*/ 2147483647 h 818"/>
                <a:gd name="T64" fmla="*/ 2147483647 w 954"/>
                <a:gd name="T65" fmla="*/ 2147483647 h 818"/>
                <a:gd name="T66" fmla="*/ 2147483647 w 954"/>
                <a:gd name="T67" fmla="*/ 2147483647 h 818"/>
                <a:gd name="T68" fmla="*/ 2147483647 w 954"/>
                <a:gd name="T69" fmla="*/ 2147483647 h 818"/>
                <a:gd name="T70" fmla="*/ 2147483647 w 954"/>
                <a:gd name="T71" fmla="*/ 2147483647 h 818"/>
                <a:gd name="T72" fmla="*/ 2147483647 w 954"/>
                <a:gd name="T73" fmla="*/ 2147483647 h 818"/>
                <a:gd name="T74" fmla="*/ 2147483647 w 954"/>
                <a:gd name="T75" fmla="*/ 2147483647 h 818"/>
                <a:gd name="T76" fmla="*/ 2147483647 w 954"/>
                <a:gd name="T77" fmla="*/ 2147483647 h 818"/>
                <a:gd name="T78" fmla="*/ 2147483647 w 954"/>
                <a:gd name="T79" fmla="*/ 2147483647 h 818"/>
                <a:gd name="T80" fmla="*/ 2147483647 w 954"/>
                <a:gd name="T81" fmla="*/ 2147483647 h 818"/>
                <a:gd name="T82" fmla="*/ 2147483647 w 954"/>
                <a:gd name="T83" fmla="*/ 2147483647 h 818"/>
                <a:gd name="T84" fmla="*/ 2147483647 w 954"/>
                <a:gd name="T85" fmla="*/ 2147483647 h 818"/>
                <a:gd name="T86" fmla="*/ 2147483647 w 954"/>
                <a:gd name="T87" fmla="*/ 2147483647 h 818"/>
                <a:gd name="T88" fmla="*/ 2147483647 w 954"/>
                <a:gd name="T89" fmla="*/ 2147483647 h 818"/>
                <a:gd name="T90" fmla="*/ 2147483647 w 954"/>
                <a:gd name="T91" fmla="*/ 2147483647 h 818"/>
                <a:gd name="T92" fmla="*/ 2147483647 w 954"/>
                <a:gd name="T93" fmla="*/ 2147483647 h 818"/>
                <a:gd name="T94" fmla="*/ 2147483647 w 954"/>
                <a:gd name="T95" fmla="*/ 2147483647 h 818"/>
                <a:gd name="T96" fmla="*/ 2147483647 w 954"/>
                <a:gd name="T97" fmla="*/ 2147483647 h 818"/>
                <a:gd name="T98" fmla="*/ 2147483647 w 954"/>
                <a:gd name="T99" fmla="*/ 2147483647 h 818"/>
                <a:gd name="T100" fmla="*/ 2147483647 w 954"/>
                <a:gd name="T101" fmla="*/ 2147483647 h 818"/>
                <a:gd name="T102" fmla="*/ 2147483647 w 954"/>
                <a:gd name="T103" fmla="*/ 2147483647 h 818"/>
                <a:gd name="T104" fmla="*/ 2147483647 w 954"/>
                <a:gd name="T105" fmla="*/ 2147483647 h 818"/>
                <a:gd name="T106" fmla="*/ 2147483647 w 954"/>
                <a:gd name="T107" fmla="*/ 2147483647 h 818"/>
                <a:gd name="T108" fmla="*/ 2147483647 w 954"/>
                <a:gd name="T109" fmla="*/ 2147483647 h 818"/>
                <a:gd name="T110" fmla="*/ 2147483647 w 954"/>
                <a:gd name="T111" fmla="*/ 2147483647 h 818"/>
                <a:gd name="T112" fmla="*/ 2147483647 w 954"/>
                <a:gd name="T113" fmla="*/ 2147483647 h 818"/>
                <a:gd name="T114" fmla="*/ 2147483647 w 954"/>
                <a:gd name="T115" fmla="*/ 2147483647 h 818"/>
                <a:gd name="T116" fmla="*/ 2147483647 w 954"/>
                <a:gd name="T117" fmla="*/ 2147483647 h 8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54"/>
                <a:gd name="T178" fmla="*/ 0 h 818"/>
                <a:gd name="T179" fmla="*/ 954 w 954"/>
                <a:gd name="T180" fmla="*/ 818 h 8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54" h="818">
                  <a:moveTo>
                    <a:pt x="4" y="630"/>
                  </a:moveTo>
                  <a:lnTo>
                    <a:pt x="4" y="628"/>
                  </a:lnTo>
                  <a:lnTo>
                    <a:pt x="0" y="622"/>
                  </a:lnTo>
                  <a:lnTo>
                    <a:pt x="2" y="616"/>
                  </a:lnTo>
                  <a:lnTo>
                    <a:pt x="4" y="610"/>
                  </a:lnTo>
                  <a:lnTo>
                    <a:pt x="4" y="604"/>
                  </a:lnTo>
                  <a:lnTo>
                    <a:pt x="4" y="598"/>
                  </a:lnTo>
                  <a:lnTo>
                    <a:pt x="4" y="596"/>
                  </a:lnTo>
                  <a:lnTo>
                    <a:pt x="4" y="590"/>
                  </a:lnTo>
                  <a:lnTo>
                    <a:pt x="6" y="590"/>
                  </a:lnTo>
                  <a:lnTo>
                    <a:pt x="12" y="592"/>
                  </a:lnTo>
                  <a:lnTo>
                    <a:pt x="16" y="592"/>
                  </a:lnTo>
                  <a:lnTo>
                    <a:pt x="22" y="590"/>
                  </a:lnTo>
                  <a:lnTo>
                    <a:pt x="28" y="592"/>
                  </a:lnTo>
                  <a:lnTo>
                    <a:pt x="34" y="594"/>
                  </a:lnTo>
                  <a:lnTo>
                    <a:pt x="36" y="592"/>
                  </a:lnTo>
                  <a:lnTo>
                    <a:pt x="42" y="592"/>
                  </a:lnTo>
                  <a:lnTo>
                    <a:pt x="48" y="592"/>
                  </a:lnTo>
                  <a:lnTo>
                    <a:pt x="52" y="590"/>
                  </a:lnTo>
                  <a:lnTo>
                    <a:pt x="58" y="582"/>
                  </a:lnTo>
                  <a:lnTo>
                    <a:pt x="64" y="576"/>
                  </a:lnTo>
                  <a:lnTo>
                    <a:pt x="68" y="572"/>
                  </a:lnTo>
                  <a:lnTo>
                    <a:pt x="70" y="570"/>
                  </a:lnTo>
                  <a:lnTo>
                    <a:pt x="76" y="570"/>
                  </a:lnTo>
                  <a:lnTo>
                    <a:pt x="84" y="568"/>
                  </a:lnTo>
                  <a:lnTo>
                    <a:pt x="90" y="568"/>
                  </a:lnTo>
                  <a:lnTo>
                    <a:pt x="96" y="568"/>
                  </a:lnTo>
                  <a:lnTo>
                    <a:pt x="102" y="568"/>
                  </a:lnTo>
                  <a:lnTo>
                    <a:pt x="110" y="568"/>
                  </a:lnTo>
                  <a:lnTo>
                    <a:pt x="116" y="568"/>
                  </a:lnTo>
                  <a:lnTo>
                    <a:pt x="122" y="568"/>
                  </a:lnTo>
                  <a:lnTo>
                    <a:pt x="128" y="566"/>
                  </a:lnTo>
                  <a:lnTo>
                    <a:pt x="134" y="566"/>
                  </a:lnTo>
                  <a:lnTo>
                    <a:pt x="140" y="566"/>
                  </a:lnTo>
                  <a:lnTo>
                    <a:pt x="148" y="566"/>
                  </a:lnTo>
                  <a:lnTo>
                    <a:pt x="154" y="566"/>
                  </a:lnTo>
                  <a:lnTo>
                    <a:pt x="160" y="566"/>
                  </a:lnTo>
                  <a:lnTo>
                    <a:pt x="166" y="566"/>
                  </a:lnTo>
                  <a:lnTo>
                    <a:pt x="172" y="566"/>
                  </a:lnTo>
                  <a:lnTo>
                    <a:pt x="174" y="560"/>
                  </a:lnTo>
                  <a:lnTo>
                    <a:pt x="182" y="560"/>
                  </a:lnTo>
                  <a:lnTo>
                    <a:pt x="188" y="562"/>
                  </a:lnTo>
                  <a:lnTo>
                    <a:pt x="190" y="562"/>
                  </a:lnTo>
                  <a:lnTo>
                    <a:pt x="198" y="564"/>
                  </a:lnTo>
                  <a:lnTo>
                    <a:pt x="202" y="564"/>
                  </a:lnTo>
                  <a:lnTo>
                    <a:pt x="204" y="564"/>
                  </a:lnTo>
                  <a:lnTo>
                    <a:pt x="206" y="560"/>
                  </a:lnTo>
                  <a:lnTo>
                    <a:pt x="208" y="554"/>
                  </a:lnTo>
                  <a:lnTo>
                    <a:pt x="214" y="546"/>
                  </a:lnTo>
                  <a:lnTo>
                    <a:pt x="220" y="544"/>
                  </a:lnTo>
                  <a:lnTo>
                    <a:pt x="226" y="540"/>
                  </a:lnTo>
                  <a:lnTo>
                    <a:pt x="228" y="534"/>
                  </a:lnTo>
                  <a:lnTo>
                    <a:pt x="228" y="530"/>
                  </a:lnTo>
                  <a:lnTo>
                    <a:pt x="232" y="522"/>
                  </a:lnTo>
                  <a:lnTo>
                    <a:pt x="232" y="516"/>
                  </a:lnTo>
                  <a:lnTo>
                    <a:pt x="234" y="512"/>
                  </a:lnTo>
                  <a:lnTo>
                    <a:pt x="236" y="506"/>
                  </a:lnTo>
                  <a:lnTo>
                    <a:pt x="238" y="500"/>
                  </a:lnTo>
                  <a:lnTo>
                    <a:pt x="244" y="494"/>
                  </a:lnTo>
                  <a:lnTo>
                    <a:pt x="246" y="492"/>
                  </a:lnTo>
                  <a:lnTo>
                    <a:pt x="246" y="484"/>
                  </a:lnTo>
                  <a:lnTo>
                    <a:pt x="246" y="478"/>
                  </a:lnTo>
                  <a:lnTo>
                    <a:pt x="246" y="472"/>
                  </a:lnTo>
                  <a:lnTo>
                    <a:pt x="246" y="466"/>
                  </a:lnTo>
                  <a:lnTo>
                    <a:pt x="246" y="462"/>
                  </a:lnTo>
                  <a:lnTo>
                    <a:pt x="248" y="454"/>
                  </a:lnTo>
                  <a:lnTo>
                    <a:pt x="250" y="448"/>
                  </a:lnTo>
                  <a:lnTo>
                    <a:pt x="250" y="442"/>
                  </a:lnTo>
                  <a:lnTo>
                    <a:pt x="250" y="436"/>
                  </a:lnTo>
                  <a:lnTo>
                    <a:pt x="250" y="432"/>
                  </a:lnTo>
                  <a:lnTo>
                    <a:pt x="250" y="428"/>
                  </a:lnTo>
                  <a:lnTo>
                    <a:pt x="250" y="426"/>
                  </a:lnTo>
                  <a:lnTo>
                    <a:pt x="250" y="420"/>
                  </a:lnTo>
                  <a:lnTo>
                    <a:pt x="250" y="414"/>
                  </a:lnTo>
                  <a:lnTo>
                    <a:pt x="250" y="408"/>
                  </a:lnTo>
                  <a:lnTo>
                    <a:pt x="250" y="402"/>
                  </a:lnTo>
                  <a:lnTo>
                    <a:pt x="250" y="396"/>
                  </a:lnTo>
                  <a:lnTo>
                    <a:pt x="250" y="390"/>
                  </a:lnTo>
                  <a:lnTo>
                    <a:pt x="250" y="384"/>
                  </a:lnTo>
                  <a:lnTo>
                    <a:pt x="250" y="378"/>
                  </a:lnTo>
                  <a:lnTo>
                    <a:pt x="250" y="372"/>
                  </a:lnTo>
                  <a:lnTo>
                    <a:pt x="250" y="366"/>
                  </a:lnTo>
                  <a:lnTo>
                    <a:pt x="250" y="360"/>
                  </a:lnTo>
                  <a:lnTo>
                    <a:pt x="250" y="354"/>
                  </a:lnTo>
                  <a:lnTo>
                    <a:pt x="250" y="348"/>
                  </a:lnTo>
                  <a:lnTo>
                    <a:pt x="250" y="342"/>
                  </a:lnTo>
                  <a:lnTo>
                    <a:pt x="250" y="338"/>
                  </a:lnTo>
                  <a:lnTo>
                    <a:pt x="250" y="332"/>
                  </a:lnTo>
                  <a:lnTo>
                    <a:pt x="250" y="326"/>
                  </a:lnTo>
                  <a:lnTo>
                    <a:pt x="250" y="320"/>
                  </a:lnTo>
                  <a:lnTo>
                    <a:pt x="250" y="314"/>
                  </a:lnTo>
                  <a:lnTo>
                    <a:pt x="250" y="308"/>
                  </a:lnTo>
                  <a:lnTo>
                    <a:pt x="250" y="302"/>
                  </a:lnTo>
                  <a:lnTo>
                    <a:pt x="256" y="300"/>
                  </a:lnTo>
                  <a:lnTo>
                    <a:pt x="264" y="300"/>
                  </a:lnTo>
                  <a:lnTo>
                    <a:pt x="270" y="298"/>
                  </a:lnTo>
                  <a:lnTo>
                    <a:pt x="276" y="296"/>
                  </a:lnTo>
                  <a:lnTo>
                    <a:pt x="284" y="296"/>
                  </a:lnTo>
                  <a:lnTo>
                    <a:pt x="290" y="294"/>
                  </a:lnTo>
                  <a:lnTo>
                    <a:pt x="296" y="292"/>
                  </a:lnTo>
                  <a:lnTo>
                    <a:pt x="302" y="292"/>
                  </a:lnTo>
                  <a:lnTo>
                    <a:pt x="308" y="290"/>
                  </a:lnTo>
                  <a:lnTo>
                    <a:pt x="316" y="288"/>
                  </a:lnTo>
                  <a:lnTo>
                    <a:pt x="322" y="286"/>
                  </a:lnTo>
                  <a:lnTo>
                    <a:pt x="328" y="286"/>
                  </a:lnTo>
                  <a:lnTo>
                    <a:pt x="334" y="284"/>
                  </a:lnTo>
                  <a:lnTo>
                    <a:pt x="342" y="282"/>
                  </a:lnTo>
                  <a:lnTo>
                    <a:pt x="344" y="282"/>
                  </a:lnTo>
                  <a:lnTo>
                    <a:pt x="350" y="276"/>
                  </a:lnTo>
                  <a:lnTo>
                    <a:pt x="356" y="270"/>
                  </a:lnTo>
                  <a:lnTo>
                    <a:pt x="364" y="262"/>
                  </a:lnTo>
                  <a:lnTo>
                    <a:pt x="370" y="256"/>
                  </a:lnTo>
                  <a:lnTo>
                    <a:pt x="378" y="250"/>
                  </a:lnTo>
                  <a:lnTo>
                    <a:pt x="384" y="244"/>
                  </a:lnTo>
                  <a:lnTo>
                    <a:pt x="390" y="238"/>
                  </a:lnTo>
                  <a:lnTo>
                    <a:pt x="396" y="230"/>
                  </a:lnTo>
                  <a:lnTo>
                    <a:pt x="402" y="224"/>
                  </a:lnTo>
                  <a:lnTo>
                    <a:pt x="410" y="218"/>
                  </a:lnTo>
                  <a:lnTo>
                    <a:pt x="410" y="216"/>
                  </a:lnTo>
                  <a:lnTo>
                    <a:pt x="416" y="210"/>
                  </a:lnTo>
                  <a:lnTo>
                    <a:pt x="424" y="204"/>
                  </a:lnTo>
                  <a:lnTo>
                    <a:pt x="430" y="198"/>
                  </a:lnTo>
                  <a:lnTo>
                    <a:pt x="438" y="190"/>
                  </a:lnTo>
                  <a:lnTo>
                    <a:pt x="442" y="186"/>
                  </a:lnTo>
                  <a:lnTo>
                    <a:pt x="444" y="184"/>
                  </a:lnTo>
                  <a:lnTo>
                    <a:pt x="450" y="180"/>
                  </a:lnTo>
                  <a:lnTo>
                    <a:pt x="458" y="174"/>
                  </a:lnTo>
                  <a:lnTo>
                    <a:pt x="464" y="170"/>
                  </a:lnTo>
                  <a:lnTo>
                    <a:pt x="470" y="166"/>
                  </a:lnTo>
                  <a:lnTo>
                    <a:pt x="476" y="162"/>
                  </a:lnTo>
                  <a:lnTo>
                    <a:pt x="482" y="158"/>
                  </a:lnTo>
                  <a:lnTo>
                    <a:pt x="488" y="154"/>
                  </a:lnTo>
                  <a:lnTo>
                    <a:pt x="494" y="148"/>
                  </a:lnTo>
                  <a:lnTo>
                    <a:pt x="500" y="144"/>
                  </a:lnTo>
                  <a:lnTo>
                    <a:pt x="506" y="140"/>
                  </a:lnTo>
                  <a:lnTo>
                    <a:pt x="512" y="136"/>
                  </a:lnTo>
                  <a:lnTo>
                    <a:pt x="520" y="132"/>
                  </a:lnTo>
                  <a:lnTo>
                    <a:pt x="526" y="128"/>
                  </a:lnTo>
                  <a:lnTo>
                    <a:pt x="532" y="122"/>
                  </a:lnTo>
                  <a:lnTo>
                    <a:pt x="538" y="118"/>
                  </a:lnTo>
                  <a:lnTo>
                    <a:pt x="544" y="114"/>
                  </a:lnTo>
                  <a:lnTo>
                    <a:pt x="550" y="110"/>
                  </a:lnTo>
                  <a:lnTo>
                    <a:pt x="556" y="106"/>
                  </a:lnTo>
                  <a:lnTo>
                    <a:pt x="564" y="102"/>
                  </a:lnTo>
                  <a:lnTo>
                    <a:pt x="564" y="100"/>
                  </a:lnTo>
                  <a:lnTo>
                    <a:pt x="568" y="98"/>
                  </a:lnTo>
                  <a:lnTo>
                    <a:pt x="574" y="94"/>
                  </a:lnTo>
                  <a:lnTo>
                    <a:pt x="576" y="94"/>
                  </a:lnTo>
                  <a:lnTo>
                    <a:pt x="576" y="92"/>
                  </a:lnTo>
                  <a:lnTo>
                    <a:pt x="578" y="90"/>
                  </a:lnTo>
                  <a:lnTo>
                    <a:pt x="580" y="90"/>
                  </a:lnTo>
                  <a:lnTo>
                    <a:pt x="588" y="84"/>
                  </a:lnTo>
                  <a:lnTo>
                    <a:pt x="594" y="80"/>
                  </a:lnTo>
                  <a:lnTo>
                    <a:pt x="596" y="78"/>
                  </a:lnTo>
                  <a:lnTo>
                    <a:pt x="602" y="74"/>
                  </a:lnTo>
                  <a:lnTo>
                    <a:pt x="604" y="74"/>
                  </a:lnTo>
                  <a:lnTo>
                    <a:pt x="610" y="70"/>
                  </a:lnTo>
                  <a:lnTo>
                    <a:pt x="616" y="64"/>
                  </a:lnTo>
                  <a:lnTo>
                    <a:pt x="618" y="64"/>
                  </a:lnTo>
                  <a:lnTo>
                    <a:pt x="624" y="60"/>
                  </a:lnTo>
                  <a:lnTo>
                    <a:pt x="630" y="56"/>
                  </a:lnTo>
                  <a:lnTo>
                    <a:pt x="636" y="52"/>
                  </a:lnTo>
                  <a:lnTo>
                    <a:pt x="644" y="48"/>
                  </a:lnTo>
                  <a:lnTo>
                    <a:pt x="650" y="42"/>
                  </a:lnTo>
                  <a:lnTo>
                    <a:pt x="656" y="38"/>
                  </a:lnTo>
                  <a:lnTo>
                    <a:pt x="662" y="34"/>
                  </a:lnTo>
                  <a:lnTo>
                    <a:pt x="668" y="30"/>
                  </a:lnTo>
                  <a:lnTo>
                    <a:pt x="674" y="26"/>
                  </a:lnTo>
                  <a:lnTo>
                    <a:pt x="678" y="24"/>
                  </a:lnTo>
                  <a:lnTo>
                    <a:pt x="684" y="20"/>
                  </a:lnTo>
                  <a:lnTo>
                    <a:pt x="690" y="16"/>
                  </a:lnTo>
                  <a:lnTo>
                    <a:pt x="698" y="12"/>
                  </a:lnTo>
                  <a:lnTo>
                    <a:pt x="704" y="8"/>
                  </a:lnTo>
                  <a:lnTo>
                    <a:pt x="710" y="2"/>
                  </a:lnTo>
                  <a:lnTo>
                    <a:pt x="714" y="0"/>
                  </a:lnTo>
                  <a:lnTo>
                    <a:pt x="720" y="0"/>
                  </a:lnTo>
                  <a:lnTo>
                    <a:pt x="728" y="2"/>
                  </a:lnTo>
                  <a:lnTo>
                    <a:pt x="732" y="4"/>
                  </a:lnTo>
                  <a:lnTo>
                    <a:pt x="740" y="6"/>
                  </a:lnTo>
                  <a:lnTo>
                    <a:pt x="746" y="8"/>
                  </a:lnTo>
                  <a:lnTo>
                    <a:pt x="752" y="8"/>
                  </a:lnTo>
                  <a:lnTo>
                    <a:pt x="758" y="10"/>
                  </a:lnTo>
                  <a:lnTo>
                    <a:pt x="764" y="12"/>
                  </a:lnTo>
                  <a:lnTo>
                    <a:pt x="770" y="14"/>
                  </a:lnTo>
                  <a:lnTo>
                    <a:pt x="776" y="14"/>
                  </a:lnTo>
                  <a:lnTo>
                    <a:pt x="782" y="16"/>
                  </a:lnTo>
                  <a:lnTo>
                    <a:pt x="788" y="18"/>
                  </a:lnTo>
                  <a:lnTo>
                    <a:pt x="796" y="20"/>
                  </a:lnTo>
                  <a:lnTo>
                    <a:pt x="800" y="22"/>
                  </a:lnTo>
                  <a:lnTo>
                    <a:pt x="806" y="24"/>
                  </a:lnTo>
                  <a:lnTo>
                    <a:pt x="812" y="28"/>
                  </a:lnTo>
                  <a:lnTo>
                    <a:pt x="818" y="34"/>
                  </a:lnTo>
                  <a:lnTo>
                    <a:pt x="824" y="38"/>
                  </a:lnTo>
                  <a:lnTo>
                    <a:pt x="830" y="44"/>
                  </a:lnTo>
                  <a:lnTo>
                    <a:pt x="836" y="50"/>
                  </a:lnTo>
                  <a:lnTo>
                    <a:pt x="842" y="56"/>
                  </a:lnTo>
                  <a:lnTo>
                    <a:pt x="850" y="62"/>
                  </a:lnTo>
                  <a:lnTo>
                    <a:pt x="856" y="58"/>
                  </a:lnTo>
                  <a:lnTo>
                    <a:pt x="862" y="56"/>
                  </a:lnTo>
                  <a:lnTo>
                    <a:pt x="868" y="50"/>
                  </a:lnTo>
                  <a:lnTo>
                    <a:pt x="874" y="48"/>
                  </a:lnTo>
                  <a:lnTo>
                    <a:pt x="880" y="44"/>
                  </a:lnTo>
                  <a:lnTo>
                    <a:pt x="888" y="40"/>
                  </a:lnTo>
                  <a:lnTo>
                    <a:pt x="894" y="36"/>
                  </a:lnTo>
                  <a:lnTo>
                    <a:pt x="896" y="42"/>
                  </a:lnTo>
                  <a:lnTo>
                    <a:pt x="898" y="50"/>
                  </a:lnTo>
                  <a:lnTo>
                    <a:pt x="898" y="56"/>
                  </a:lnTo>
                  <a:lnTo>
                    <a:pt x="900" y="62"/>
                  </a:lnTo>
                  <a:lnTo>
                    <a:pt x="900" y="68"/>
                  </a:lnTo>
                  <a:lnTo>
                    <a:pt x="902" y="74"/>
                  </a:lnTo>
                  <a:lnTo>
                    <a:pt x="902" y="80"/>
                  </a:lnTo>
                  <a:lnTo>
                    <a:pt x="904" y="88"/>
                  </a:lnTo>
                  <a:lnTo>
                    <a:pt x="904" y="90"/>
                  </a:lnTo>
                  <a:lnTo>
                    <a:pt x="906" y="98"/>
                  </a:lnTo>
                  <a:lnTo>
                    <a:pt x="906" y="104"/>
                  </a:lnTo>
                  <a:lnTo>
                    <a:pt x="906" y="110"/>
                  </a:lnTo>
                  <a:lnTo>
                    <a:pt x="908" y="116"/>
                  </a:lnTo>
                  <a:lnTo>
                    <a:pt x="908" y="122"/>
                  </a:lnTo>
                  <a:lnTo>
                    <a:pt x="908" y="130"/>
                  </a:lnTo>
                  <a:lnTo>
                    <a:pt x="908" y="136"/>
                  </a:lnTo>
                  <a:lnTo>
                    <a:pt x="910" y="142"/>
                  </a:lnTo>
                  <a:lnTo>
                    <a:pt x="916" y="148"/>
                  </a:lnTo>
                  <a:lnTo>
                    <a:pt x="920" y="154"/>
                  </a:lnTo>
                  <a:lnTo>
                    <a:pt x="924" y="160"/>
                  </a:lnTo>
                  <a:lnTo>
                    <a:pt x="926" y="166"/>
                  </a:lnTo>
                  <a:lnTo>
                    <a:pt x="930" y="172"/>
                  </a:lnTo>
                  <a:lnTo>
                    <a:pt x="932" y="178"/>
                  </a:lnTo>
                  <a:lnTo>
                    <a:pt x="930" y="184"/>
                  </a:lnTo>
                  <a:lnTo>
                    <a:pt x="930" y="190"/>
                  </a:lnTo>
                  <a:lnTo>
                    <a:pt x="936" y="194"/>
                  </a:lnTo>
                  <a:lnTo>
                    <a:pt x="942" y="202"/>
                  </a:lnTo>
                  <a:lnTo>
                    <a:pt x="946" y="208"/>
                  </a:lnTo>
                  <a:lnTo>
                    <a:pt x="950" y="212"/>
                  </a:lnTo>
                  <a:lnTo>
                    <a:pt x="954" y="218"/>
                  </a:lnTo>
                  <a:lnTo>
                    <a:pt x="954" y="224"/>
                  </a:lnTo>
                  <a:lnTo>
                    <a:pt x="950" y="230"/>
                  </a:lnTo>
                  <a:lnTo>
                    <a:pt x="948" y="236"/>
                  </a:lnTo>
                  <a:lnTo>
                    <a:pt x="944" y="242"/>
                  </a:lnTo>
                  <a:lnTo>
                    <a:pt x="944" y="244"/>
                  </a:lnTo>
                  <a:lnTo>
                    <a:pt x="942" y="250"/>
                  </a:lnTo>
                  <a:lnTo>
                    <a:pt x="940" y="256"/>
                  </a:lnTo>
                  <a:lnTo>
                    <a:pt x="940" y="262"/>
                  </a:lnTo>
                  <a:lnTo>
                    <a:pt x="940" y="270"/>
                  </a:lnTo>
                  <a:lnTo>
                    <a:pt x="938" y="276"/>
                  </a:lnTo>
                  <a:lnTo>
                    <a:pt x="938" y="284"/>
                  </a:lnTo>
                  <a:lnTo>
                    <a:pt x="938" y="290"/>
                  </a:lnTo>
                  <a:lnTo>
                    <a:pt x="936" y="296"/>
                  </a:lnTo>
                  <a:lnTo>
                    <a:pt x="936" y="302"/>
                  </a:lnTo>
                  <a:lnTo>
                    <a:pt x="936" y="310"/>
                  </a:lnTo>
                  <a:lnTo>
                    <a:pt x="934" y="316"/>
                  </a:lnTo>
                  <a:lnTo>
                    <a:pt x="934" y="322"/>
                  </a:lnTo>
                  <a:lnTo>
                    <a:pt x="934" y="328"/>
                  </a:lnTo>
                  <a:lnTo>
                    <a:pt x="932" y="336"/>
                  </a:lnTo>
                  <a:lnTo>
                    <a:pt x="932" y="342"/>
                  </a:lnTo>
                  <a:lnTo>
                    <a:pt x="932" y="348"/>
                  </a:lnTo>
                  <a:lnTo>
                    <a:pt x="932" y="356"/>
                  </a:lnTo>
                  <a:lnTo>
                    <a:pt x="932" y="362"/>
                  </a:lnTo>
                  <a:lnTo>
                    <a:pt x="932" y="368"/>
                  </a:lnTo>
                  <a:lnTo>
                    <a:pt x="932" y="376"/>
                  </a:lnTo>
                  <a:lnTo>
                    <a:pt x="932" y="382"/>
                  </a:lnTo>
                  <a:lnTo>
                    <a:pt x="932" y="388"/>
                  </a:lnTo>
                  <a:lnTo>
                    <a:pt x="930" y="394"/>
                  </a:lnTo>
                  <a:lnTo>
                    <a:pt x="930" y="402"/>
                  </a:lnTo>
                  <a:lnTo>
                    <a:pt x="930" y="408"/>
                  </a:lnTo>
                  <a:lnTo>
                    <a:pt x="930" y="416"/>
                  </a:lnTo>
                  <a:lnTo>
                    <a:pt x="930" y="422"/>
                  </a:lnTo>
                  <a:lnTo>
                    <a:pt x="930" y="428"/>
                  </a:lnTo>
                  <a:lnTo>
                    <a:pt x="928" y="434"/>
                  </a:lnTo>
                  <a:lnTo>
                    <a:pt x="928" y="440"/>
                  </a:lnTo>
                  <a:lnTo>
                    <a:pt x="928" y="446"/>
                  </a:lnTo>
                  <a:lnTo>
                    <a:pt x="928" y="452"/>
                  </a:lnTo>
                  <a:lnTo>
                    <a:pt x="928" y="458"/>
                  </a:lnTo>
                  <a:lnTo>
                    <a:pt x="924" y="462"/>
                  </a:lnTo>
                  <a:lnTo>
                    <a:pt x="920" y="468"/>
                  </a:lnTo>
                  <a:lnTo>
                    <a:pt x="914" y="474"/>
                  </a:lnTo>
                  <a:lnTo>
                    <a:pt x="908" y="480"/>
                  </a:lnTo>
                  <a:lnTo>
                    <a:pt x="904" y="488"/>
                  </a:lnTo>
                  <a:lnTo>
                    <a:pt x="898" y="492"/>
                  </a:lnTo>
                  <a:lnTo>
                    <a:pt x="894" y="500"/>
                  </a:lnTo>
                  <a:lnTo>
                    <a:pt x="888" y="506"/>
                  </a:lnTo>
                  <a:lnTo>
                    <a:pt x="882" y="512"/>
                  </a:lnTo>
                  <a:lnTo>
                    <a:pt x="876" y="518"/>
                  </a:lnTo>
                  <a:lnTo>
                    <a:pt x="872" y="526"/>
                  </a:lnTo>
                  <a:lnTo>
                    <a:pt x="866" y="532"/>
                  </a:lnTo>
                  <a:lnTo>
                    <a:pt x="862" y="538"/>
                  </a:lnTo>
                  <a:lnTo>
                    <a:pt x="856" y="544"/>
                  </a:lnTo>
                  <a:lnTo>
                    <a:pt x="852" y="550"/>
                  </a:lnTo>
                  <a:lnTo>
                    <a:pt x="848" y="558"/>
                  </a:lnTo>
                  <a:lnTo>
                    <a:pt x="844" y="564"/>
                  </a:lnTo>
                  <a:lnTo>
                    <a:pt x="840" y="570"/>
                  </a:lnTo>
                  <a:lnTo>
                    <a:pt x="838" y="576"/>
                  </a:lnTo>
                  <a:lnTo>
                    <a:pt x="832" y="584"/>
                  </a:lnTo>
                  <a:lnTo>
                    <a:pt x="828" y="590"/>
                  </a:lnTo>
                  <a:lnTo>
                    <a:pt x="826" y="596"/>
                  </a:lnTo>
                  <a:lnTo>
                    <a:pt x="824" y="602"/>
                  </a:lnTo>
                  <a:lnTo>
                    <a:pt x="826" y="608"/>
                  </a:lnTo>
                  <a:lnTo>
                    <a:pt x="822" y="610"/>
                  </a:lnTo>
                  <a:lnTo>
                    <a:pt x="820" y="616"/>
                  </a:lnTo>
                  <a:lnTo>
                    <a:pt x="816" y="622"/>
                  </a:lnTo>
                  <a:lnTo>
                    <a:pt x="810" y="624"/>
                  </a:lnTo>
                  <a:lnTo>
                    <a:pt x="806" y="630"/>
                  </a:lnTo>
                  <a:lnTo>
                    <a:pt x="808" y="636"/>
                  </a:lnTo>
                  <a:lnTo>
                    <a:pt x="808" y="642"/>
                  </a:lnTo>
                  <a:lnTo>
                    <a:pt x="810" y="648"/>
                  </a:lnTo>
                  <a:lnTo>
                    <a:pt x="810" y="654"/>
                  </a:lnTo>
                  <a:lnTo>
                    <a:pt x="812" y="660"/>
                  </a:lnTo>
                  <a:lnTo>
                    <a:pt x="814" y="666"/>
                  </a:lnTo>
                  <a:lnTo>
                    <a:pt x="814" y="672"/>
                  </a:lnTo>
                  <a:lnTo>
                    <a:pt x="816" y="678"/>
                  </a:lnTo>
                  <a:lnTo>
                    <a:pt x="812" y="678"/>
                  </a:lnTo>
                  <a:lnTo>
                    <a:pt x="804" y="678"/>
                  </a:lnTo>
                  <a:lnTo>
                    <a:pt x="800" y="678"/>
                  </a:lnTo>
                  <a:lnTo>
                    <a:pt x="798" y="682"/>
                  </a:lnTo>
                  <a:lnTo>
                    <a:pt x="794" y="684"/>
                  </a:lnTo>
                  <a:lnTo>
                    <a:pt x="792" y="690"/>
                  </a:lnTo>
                  <a:lnTo>
                    <a:pt x="788" y="690"/>
                  </a:lnTo>
                  <a:lnTo>
                    <a:pt x="782" y="690"/>
                  </a:lnTo>
                  <a:lnTo>
                    <a:pt x="776" y="694"/>
                  </a:lnTo>
                  <a:lnTo>
                    <a:pt x="770" y="698"/>
                  </a:lnTo>
                  <a:lnTo>
                    <a:pt x="764" y="704"/>
                  </a:lnTo>
                  <a:lnTo>
                    <a:pt x="758" y="708"/>
                  </a:lnTo>
                  <a:lnTo>
                    <a:pt x="752" y="712"/>
                  </a:lnTo>
                  <a:lnTo>
                    <a:pt x="750" y="718"/>
                  </a:lnTo>
                  <a:lnTo>
                    <a:pt x="744" y="724"/>
                  </a:lnTo>
                  <a:lnTo>
                    <a:pt x="738" y="722"/>
                  </a:lnTo>
                  <a:lnTo>
                    <a:pt x="732" y="720"/>
                  </a:lnTo>
                  <a:lnTo>
                    <a:pt x="726" y="720"/>
                  </a:lnTo>
                  <a:lnTo>
                    <a:pt x="720" y="716"/>
                  </a:lnTo>
                  <a:lnTo>
                    <a:pt x="716" y="716"/>
                  </a:lnTo>
                  <a:lnTo>
                    <a:pt x="712" y="712"/>
                  </a:lnTo>
                  <a:lnTo>
                    <a:pt x="706" y="708"/>
                  </a:lnTo>
                  <a:lnTo>
                    <a:pt x="700" y="708"/>
                  </a:lnTo>
                  <a:lnTo>
                    <a:pt x="694" y="706"/>
                  </a:lnTo>
                  <a:lnTo>
                    <a:pt x="690" y="704"/>
                  </a:lnTo>
                  <a:lnTo>
                    <a:pt x="682" y="702"/>
                  </a:lnTo>
                  <a:lnTo>
                    <a:pt x="678" y="702"/>
                  </a:lnTo>
                  <a:lnTo>
                    <a:pt x="670" y="702"/>
                  </a:lnTo>
                  <a:lnTo>
                    <a:pt x="664" y="704"/>
                  </a:lnTo>
                  <a:lnTo>
                    <a:pt x="660" y="704"/>
                  </a:lnTo>
                  <a:lnTo>
                    <a:pt x="652" y="702"/>
                  </a:lnTo>
                  <a:lnTo>
                    <a:pt x="648" y="702"/>
                  </a:lnTo>
                  <a:lnTo>
                    <a:pt x="642" y="702"/>
                  </a:lnTo>
                  <a:lnTo>
                    <a:pt x="636" y="702"/>
                  </a:lnTo>
                  <a:lnTo>
                    <a:pt x="632" y="704"/>
                  </a:lnTo>
                  <a:lnTo>
                    <a:pt x="626" y="706"/>
                  </a:lnTo>
                  <a:lnTo>
                    <a:pt x="620" y="706"/>
                  </a:lnTo>
                  <a:lnTo>
                    <a:pt x="614" y="708"/>
                  </a:lnTo>
                  <a:lnTo>
                    <a:pt x="608" y="708"/>
                  </a:lnTo>
                  <a:lnTo>
                    <a:pt x="602" y="712"/>
                  </a:lnTo>
                  <a:lnTo>
                    <a:pt x="596" y="716"/>
                  </a:lnTo>
                  <a:lnTo>
                    <a:pt x="594" y="716"/>
                  </a:lnTo>
                  <a:lnTo>
                    <a:pt x="588" y="722"/>
                  </a:lnTo>
                  <a:lnTo>
                    <a:pt x="584" y="728"/>
                  </a:lnTo>
                  <a:lnTo>
                    <a:pt x="580" y="734"/>
                  </a:lnTo>
                  <a:lnTo>
                    <a:pt x="574" y="742"/>
                  </a:lnTo>
                  <a:lnTo>
                    <a:pt x="568" y="742"/>
                  </a:lnTo>
                  <a:lnTo>
                    <a:pt x="564" y="742"/>
                  </a:lnTo>
                  <a:lnTo>
                    <a:pt x="560" y="740"/>
                  </a:lnTo>
                  <a:lnTo>
                    <a:pt x="554" y="740"/>
                  </a:lnTo>
                  <a:lnTo>
                    <a:pt x="548" y="740"/>
                  </a:lnTo>
                  <a:lnTo>
                    <a:pt x="542" y="738"/>
                  </a:lnTo>
                  <a:lnTo>
                    <a:pt x="536" y="738"/>
                  </a:lnTo>
                  <a:lnTo>
                    <a:pt x="534" y="738"/>
                  </a:lnTo>
                  <a:lnTo>
                    <a:pt x="532" y="738"/>
                  </a:lnTo>
                  <a:lnTo>
                    <a:pt x="526" y="736"/>
                  </a:lnTo>
                  <a:lnTo>
                    <a:pt x="520" y="734"/>
                  </a:lnTo>
                  <a:lnTo>
                    <a:pt x="514" y="730"/>
                  </a:lnTo>
                  <a:lnTo>
                    <a:pt x="510" y="724"/>
                  </a:lnTo>
                  <a:lnTo>
                    <a:pt x="504" y="722"/>
                  </a:lnTo>
                  <a:lnTo>
                    <a:pt x="500" y="724"/>
                  </a:lnTo>
                  <a:lnTo>
                    <a:pt x="500" y="720"/>
                  </a:lnTo>
                  <a:lnTo>
                    <a:pt x="492" y="716"/>
                  </a:lnTo>
                  <a:lnTo>
                    <a:pt x="490" y="712"/>
                  </a:lnTo>
                  <a:lnTo>
                    <a:pt x="484" y="708"/>
                  </a:lnTo>
                  <a:lnTo>
                    <a:pt x="478" y="706"/>
                  </a:lnTo>
                  <a:lnTo>
                    <a:pt x="470" y="704"/>
                  </a:lnTo>
                  <a:lnTo>
                    <a:pt x="464" y="704"/>
                  </a:lnTo>
                  <a:lnTo>
                    <a:pt x="462" y="704"/>
                  </a:lnTo>
                  <a:lnTo>
                    <a:pt x="456" y="708"/>
                  </a:lnTo>
                  <a:lnTo>
                    <a:pt x="450" y="712"/>
                  </a:lnTo>
                  <a:lnTo>
                    <a:pt x="442" y="718"/>
                  </a:lnTo>
                  <a:lnTo>
                    <a:pt x="436" y="720"/>
                  </a:lnTo>
                  <a:lnTo>
                    <a:pt x="430" y="720"/>
                  </a:lnTo>
                  <a:lnTo>
                    <a:pt x="428" y="720"/>
                  </a:lnTo>
                  <a:lnTo>
                    <a:pt x="424" y="724"/>
                  </a:lnTo>
                  <a:lnTo>
                    <a:pt x="422" y="726"/>
                  </a:lnTo>
                  <a:lnTo>
                    <a:pt x="416" y="728"/>
                  </a:lnTo>
                  <a:lnTo>
                    <a:pt x="412" y="728"/>
                  </a:lnTo>
                  <a:lnTo>
                    <a:pt x="406" y="724"/>
                  </a:lnTo>
                  <a:lnTo>
                    <a:pt x="402" y="718"/>
                  </a:lnTo>
                  <a:lnTo>
                    <a:pt x="398" y="712"/>
                  </a:lnTo>
                  <a:lnTo>
                    <a:pt x="396" y="706"/>
                  </a:lnTo>
                  <a:lnTo>
                    <a:pt x="390" y="698"/>
                  </a:lnTo>
                  <a:lnTo>
                    <a:pt x="386" y="694"/>
                  </a:lnTo>
                  <a:lnTo>
                    <a:pt x="380" y="686"/>
                  </a:lnTo>
                  <a:lnTo>
                    <a:pt x="376" y="684"/>
                  </a:lnTo>
                  <a:lnTo>
                    <a:pt x="370" y="680"/>
                  </a:lnTo>
                  <a:lnTo>
                    <a:pt x="364" y="682"/>
                  </a:lnTo>
                  <a:lnTo>
                    <a:pt x="358" y="680"/>
                  </a:lnTo>
                  <a:lnTo>
                    <a:pt x="352" y="678"/>
                  </a:lnTo>
                  <a:lnTo>
                    <a:pt x="344" y="676"/>
                  </a:lnTo>
                  <a:lnTo>
                    <a:pt x="338" y="672"/>
                  </a:lnTo>
                  <a:lnTo>
                    <a:pt x="332" y="670"/>
                  </a:lnTo>
                  <a:lnTo>
                    <a:pt x="326" y="666"/>
                  </a:lnTo>
                  <a:lnTo>
                    <a:pt x="322" y="668"/>
                  </a:lnTo>
                  <a:lnTo>
                    <a:pt x="316" y="670"/>
                  </a:lnTo>
                  <a:lnTo>
                    <a:pt x="310" y="676"/>
                  </a:lnTo>
                  <a:lnTo>
                    <a:pt x="306" y="676"/>
                  </a:lnTo>
                  <a:lnTo>
                    <a:pt x="300" y="676"/>
                  </a:lnTo>
                  <a:lnTo>
                    <a:pt x="292" y="678"/>
                  </a:lnTo>
                  <a:lnTo>
                    <a:pt x="290" y="678"/>
                  </a:lnTo>
                  <a:lnTo>
                    <a:pt x="284" y="674"/>
                  </a:lnTo>
                  <a:lnTo>
                    <a:pt x="276" y="676"/>
                  </a:lnTo>
                  <a:lnTo>
                    <a:pt x="270" y="678"/>
                  </a:lnTo>
                  <a:lnTo>
                    <a:pt x="266" y="678"/>
                  </a:lnTo>
                  <a:lnTo>
                    <a:pt x="260" y="682"/>
                  </a:lnTo>
                  <a:lnTo>
                    <a:pt x="254" y="688"/>
                  </a:lnTo>
                  <a:lnTo>
                    <a:pt x="248" y="694"/>
                  </a:lnTo>
                  <a:lnTo>
                    <a:pt x="242" y="698"/>
                  </a:lnTo>
                  <a:lnTo>
                    <a:pt x="242" y="704"/>
                  </a:lnTo>
                  <a:lnTo>
                    <a:pt x="240" y="710"/>
                  </a:lnTo>
                  <a:lnTo>
                    <a:pt x="240" y="716"/>
                  </a:lnTo>
                  <a:lnTo>
                    <a:pt x="240" y="722"/>
                  </a:lnTo>
                  <a:lnTo>
                    <a:pt x="238" y="728"/>
                  </a:lnTo>
                  <a:lnTo>
                    <a:pt x="234" y="734"/>
                  </a:lnTo>
                  <a:lnTo>
                    <a:pt x="232" y="740"/>
                  </a:lnTo>
                  <a:lnTo>
                    <a:pt x="226" y="748"/>
                  </a:lnTo>
                  <a:lnTo>
                    <a:pt x="220" y="754"/>
                  </a:lnTo>
                  <a:lnTo>
                    <a:pt x="214" y="758"/>
                  </a:lnTo>
                  <a:lnTo>
                    <a:pt x="212" y="766"/>
                  </a:lnTo>
                  <a:lnTo>
                    <a:pt x="212" y="770"/>
                  </a:lnTo>
                  <a:lnTo>
                    <a:pt x="212" y="778"/>
                  </a:lnTo>
                  <a:lnTo>
                    <a:pt x="210" y="784"/>
                  </a:lnTo>
                  <a:lnTo>
                    <a:pt x="210" y="790"/>
                  </a:lnTo>
                  <a:lnTo>
                    <a:pt x="212" y="796"/>
                  </a:lnTo>
                  <a:lnTo>
                    <a:pt x="212" y="800"/>
                  </a:lnTo>
                  <a:lnTo>
                    <a:pt x="208" y="806"/>
                  </a:lnTo>
                  <a:lnTo>
                    <a:pt x="212" y="812"/>
                  </a:lnTo>
                  <a:lnTo>
                    <a:pt x="208" y="818"/>
                  </a:lnTo>
                  <a:lnTo>
                    <a:pt x="204" y="814"/>
                  </a:lnTo>
                  <a:lnTo>
                    <a:pt x="202" y="810"/>
                  </a:lnTo>
                  <a:lnTo>
                    <a:pt x="196" y="806"/>
                  </a:lnTo>
                  <a:lnTo>
                    <a:pt x="194" y="806"/>
                  </a:lnTo>
                  <a:lnTo>
                    <a:pt x="194" y="804"/>
                  </a:lnTo>
                  <a:lnTo>
                    <a:pt x="188" y="802"/>
                  </a:lnTo>
                  <a:lnTo>
                    <a:pt x="186" y="798"/>
                  </a:lnTo>
                  <a:lnTo>
                    <a:pt x="186" y="794"/>
                  </a:lnTo>
                  <a:lnTo>
                    <a:pt x="184" y="794"/>
                  </a:lnTo>
                  <a:lnTo>
                    <a:pt x="182" y="792"/>
                  </a:lnTo>
                  <a:lnTo>
                    <a:pt x="178" y="786"/>
                  </a:lnTo>
                  <a:lnTo>
                    <a:pt x="172" y="780"/>
                  </a:lnTo>
                  <a:lnTo>
                    <a:pt x="166" y="776"/>
                  </a:lnTo>
                  <a:lnTo>
                    <a:pt x="162" y="770"/>
                  </a:lnTo>
                  <a:lnTo>
                    <a:pt x="156" y="770"/>
                  </a:lnTo>
                  <a:lnTo>
                    <a:pt x="152" y="776"/>
                  </a:lnTo>
                  <a:lnTo>
                    <a:pt x="144" y="778"/>
                  </a:lnTo>
                  <a:lnTo>
                    <a:pt x="140" y="778"/>
                  </a:lnTo>
                  <a:lnTo>
                    <a:pt x="134" y="780"/>
                  </a:lnTo>
                  <a:lnTo>
                    <a:pt x="134" y="786"/>
                  </a:lnTo>
                  <a:lnTo>
                    <a:pt x="136" y="792"/>
                  </a:lnTo>
                  <a:lnTo>
                    <a:pt x="138" y="798"/>
                  </a:lnTo>
                  <a:lnTo>
                    <a:pt x="136" y="804"/>
                  </a:lnTo>
                  <a:lnTo>
                    <a:pt x="134" y="804"/>
                  </a:lnTo>
                  <a:lnTo>
                    <a:pt x="130" y="796"/>
                  </a:lnTo>
                  <a:lnTo>
                    <a:pt x="126" y="792"/>
                  </a:lnTo>
                  <a:lnTo>
                    <a:pt x="124" y="790"/>
                  </a:lnTo>
                  <a:lnTo>
                    <a:pt x="120" y="784"/>
                  </a:lnTo>
                  <a:lnTo>
                    <a:pt x="118" y="778"/>
                  </a:lnTo>
                  <a:lnTo>
                    <a:pt x="114" y="770"/>
                  </a:lnTo>
                  <a:lnTo>
                    <a:pt x="120" y="768"/>
                  </a:lnTo>
                  <a:lnTo>
                    <a:pt x="126" y="766"/>
                  </a:lnTo>
                  <a:lnTo>
                    <a:pt x="124" y="760"/>
                  </a:lnTo>
                  <a:lnTo>
                    <a:pt x="122" y="754"/>
                  </a:lnTo>
                  <a:lnTo>
                    <a:pt x="118" y="750"/>
                  </a:lnTo>
                  <a:lnTo>
                    <a:pt x="114" y="748"/>
                  </a:lnTo>
                  <a:lnTo>
                    <a:pt x="110" y="746"/>
                  </a:lnTo>
                  <a:lnTo>
                    <a:pt x="104" y="752"/>
                  </a:lnTo>
                  <a:lnTo>
                    <a:pt x="98" y="754"/>
                  </a:lnTo>
                  <a:lnTo>
                    <a:pt x="92" y="754"/>
                  </a:lnTo>
                  <a:lnTo>
                    <a:pt x="86" y="754"/>
                  </a:lnTo>
                  <a:lnTo>
                    <a:pt x="82" y="750"/>
                  </a:lnTo>
                  <a:lnTo>
                    <a:pt x="76" y="746"/>
                  </a:lnTo>
                  <a:lnTo>
                    <a:pt x="70" y="740"/>
                  </a:lnTo>
                  <a:lnTo>
                    <a:pt x="70" y="738"/>
                  </a:lnTo>
                  <a:lnTo>
                    <a:pt x="68" y="738"/>
                  </a:lnTo>
                  <a:lnTo>
                    <a:pt x="62" y="732"/>
                  </a:lnTo>
                  <a:lnTo>
                    <a:pt x="56" y="728"/>
                  </a:lnTo>
                  <a:lnTo>
                    <a:pt x="50" y="722"/>
                  </a:lnTo>
                  <a:lnTo>
                    <a:pt x="50" y="720"/>
                  </a:lnTo>
                  <a:lnTo>
                    <a:pt x="50" y="714"/>
                  </a:lnTo>
                  <a:lnTo>
                    <a:pt x="50" y="708"/>
                  </a:lnTo>
                  <a:lnTo>
                    <a:pt x="52" y="702"/>
                  </a:lnTo>
                  <a:lnTo>
                    <a:pt x="58" y="706"/>
                  </a:lnTo>
                  <a:lnTo>
                    <a:pt x="60" y="706"/>
                  </a:lnTo>
                  <a:lnTo>
                    <a:pt x="62" y="704"/>
                  </a:lnTo>
                  <a:lnTo>
                    <a:pt x="68" y="704"/>
                  </a:lnTo>
                  <a:lnTo>
                    <a:pt x="64" y="700"/>
                  </a:lnTo>
                  <a:lnTo>
                    <a:pt x="60" y="700"/>
                  </a:lnTo>
                  <a:lnTo>
                    <a:pt x="58" y="700"/>
                  </a:lnTo>
                  <a:lnTo>
                    <a:pt x="52" y="696"/>
                  </a:lnTo>
                  <a:lnTo>
                    <a:pt x="50" y="690"/>
                  </a:lnTo>
                  <a:lnTo>
                    <a:pt x="44" y="686"/>
                  </a:lnTo>
                  <a:lnTo>
                    <a:pt x="38" y="684"/>
                  </a:lnTo>
                  <a:lnTo>
                    <a:pt x="34" y="680"/>
                  </a:lnTo>
                  <a:lnTo>
                    <a:pt x="28" y="680"/>
                  </a:lnTo>
                  <a:lnTo>
                    <a:pt x="28" y="674"/>
                  </a:lnTo>
                  <a:lnTo>
                    <a:pt x="26" y="674"/>
                  </a:lnTo>
                  <a:lnTo>
                    <a:pt x="20" y="668"/>
                  </a:lnTo>
                  <a:lnTo>
                    <a:pt x="18" y="662"/>
                  </a:lnTo>
                  <a:lnTo>
                    <a:pt x="16" y="658"/>
                  </a:lnTo>
                  <a:lnTo>
                    <a:pt x="14" y="652"/>
                  </a:lnTo>
                  <a:lnTo>
                    <a:pt x="14" y="646"/>
                  </a:lnTo>
                  <a:lnTo>
                    <a:pt x="14" y="640"/>
                  </a:lnTo>
                  <a:lnTo>
                    <a:pt x="10" y="634"/>
                  </a:lnTo>
                  <a:lnTo>
                    <a:pt x="4" y="6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399" name="Freeform 216"/>
            <p:cNvSpPr>
              <a:spLocks/>
            </p:cNvSpPr>
            <p:nvPr/>
          </p:nvSpPr>
          <p:spPr bwMode="auto">
            <a:xfrm>
              <a:off x="5051425" y="3822700"/>
              <a:ext cx="371475" cy="327025"/>
            </a:xfrm>
            <a:custGeom>
              <a:avLst/>
              <a:gdLst>
                <a:gd name="T0" fmla="*/ 2147483647 w 914"/>
                <a:gd name="T1" fmla="*/ 2147483647 h 794"/>
                <a:gd name="T2" fmla="*/ 2147483647 w 914"/>
                <a:gd name="T3" fmla="*/ 2147483647 h 794"/>
                <a:gd name="T4" fmla="*/ 2147483647 w 914"/>
                <a:gd name="T5" fmla="*/ 2147483647 h 794"/>
                <a:gd name="T6" fmla="*/ 2147483647 w 914"/>
                <a:gd name="T7" fmla="*/ 2147483647 h 794"/>
                <a:gd name="T8" fmla="*/ 2147483647 w 914"/>
                <a:gd name="T9" fmla="*/ 2147483647 h 794"/>
                <a:gd name="T10" fmla="*/ 2147483647 w 914"/>
                <a:gd name="T11" fmla="*/ 2147483647 h 794"/>
                <a:gd name="T12" fmla="*/ 2147483647 w 914"/>
                <a:gd name="T13" fmla="*/ 2147483647 h 794"/>
                <a:gd name="T14" fmla="*/ 2147483647 w 914"/>
                <a:gd name="T15" fmla="*/ 2147483647 h 794"/>
                <a:gd name="T16" fmla="*/ 2147483647 w 914"/>
                <a:gd name="T17" fmla="*/ 2147483647 h 794"/>
                <a:gd name="T18" fmla="*/ 2147483647 w 914"/>
                <a:gd name="T19" fmla="*/ 2147483647 h 794"/>
                <a:gd name="T20" fmla="*/ 2147483647 w 914"/>
                <a:gd name="T21" fmla="*/ 2147483647 h 794"/>
                <a:gd name="T22" fmla="*/ 2147483647 w 914"/>
                <a:gd name="T23" fmla="*/ 2147483647 h 794"/>
                <a:gd name="T24" fmla="*/ 2147483647 w 914"/>
                <a:gd name="T25" fmla="*/ 2147483647 h 794"/>
                <a:gd name="T26" fmla="*/ 2147483647 w 914"/>
                <a:gd name="T27" fmla="*/ 2147483647 h 794"/>
                <a:gd name="T28" fmla="*/ 2147483647 w 914"/>
                <a:gd name="T29" fmla="*/ 2147483647 h 794"/>
                <a:gd name="T30" fmla="*/ 2147483647 w 914"/>
                <a:gd name="T31" fmla="*/ 2147483647 h 794"/>
                <a:gd name="T32" fmla="*/ 2147483647 w 914"/>
                <a:gd name="T33" fmla="*/ 2147483647 h 794"/>
                <a:gd name="T34" fmla="*/ 2147483647 w 914"/>
                <a:gd name="T35" fmla="*/ 2147483647 h 794"/>
                <a:gd name="T36" fmla="*/ 2147483647 w 914"/>
                <a:gd name="T37" fmla="*/ 2147483647 h 794"/>
                <a:gd name="T38" fmla="*/ 2147483647 w 914"/>
                <a:gd name="T39" fmla="*/ 2147483647 h 794"/>
                <a:gd name="T40" fmla="*/ 2147483647 w 914"/>
                <a:gd name="T41" fmla="*/ 2147483647 h 794"/>
                <a:gd name="T42" fmla="*/ 2147483647 w 914"/>
                <a:gd name="T43" fmla="*/ 2147483647 h 794"/>
                <a:gd name="T44" fmla="*/ 2147483647 w 914"/>
                <a:gd name="T45" fmla="*/ 2147483647 h 794"/>
                <a:gd name="T46" fmla="*/ 2147483647 w 914"/>
                <a:gd name="T47" fmla="*/ 2147483647 h 794"/>
                <a:gd name="T48" fmla="*/ 2147483647 w 914"/>
                <a:gd name="T49" fmla="*/ 2147483647 h 794"/>
                <a:gd name="T50" fmla="*/ 2147483647 w 914"/>
                <a:gd name="T51" fmla="*/ 2147483647 h 794"/>
                <a:gd name="T52" fmla="*/ 2147483647 w 914"/>
                <a:gd name="T53" fmla="*/ 2147483647 h 794"/>
                <a:gd name="T54" fmla="*/ 2147483647 w 914"/>
                <a:gd name="T55" fmla="*/ 2147483647 h 794"/>
                <a:gd name="T56" fmla="*/ 2147483647 w 914"/>
                <a:gd name="T57" fmla="*/ 2147483647 h 794"/>
                <a:gd name="T58" fmla="*/ 2147483647 w 914"/>
                <a:gd name="T59" fmla="*/ 2147483647 h 794"/>
                <a:gd name="T60" fmla="*/ 2147483647 w 914"/>
                <a:gd name="T61" fmla="*/ 2147483647 h 794"/>
                <a:gd name="T62" fmla="*/ 2147483647 w 914"/>
                <a:gd name="T63" fmla="*/ 2147483647 h 794"/>
                <a:gd name="T64" fmla="*/ 2147483647 w 914"/>
                <a:gd name="T65" fmla="*/ 2147483647 h 794"/>
                <a:gd name="T66" fmla="*/ 2147483647 w 914"/>
                <a:gd name="T67" fmla="*/ 2147483647 h 794"/>
                <a:gd name="T68" fmla="*/ 2147483647 w 914"/>
                <a:gd name="T69" fmla="*/ 2147483647 h 794"/>
                <a:gd name="T70" fmla="*/ 2147483647 w 914"/>
                <a:gd name="T71" fmla="*/ 2147483647 h 794"/>
                <a:gd name="T72" fmla="*/ 2147483647 w 914"/>
                <a:gd name="T73" fmla="*/ 2147483647 h 794"/>
                <a:gd name="T74" fmla="*/ 2147483647 w 914"/>
                <a:gd name="T75" fmla="*/ 2147483647 h 794"/>
                <a:gd name="T76" fmla="*/ 2147483647 w 914"/>
                <a:gd name="T77" fmla="*/ 2147483647 h 794"/>
                <a:gd name="T78" fmla="*/ 2147483647 w 914"/>
                <a:gd name="T79" fmla="*/ 2147483647 h 794"/>
                <a:gd name="T80" fmla="*/ 2147483647 w 914"/>
                <a:gd name="T81" fmla="*/ 2147483647 h 794"/>
                <a:gd name="T82" fmla="*/ 2147483647 w 914"/>
                <a:gd name="T83" fmla="*/ 2147483647 h 794"/>
                <a:gd name="T84" fmla="*/ 2147483647 w 914"/>
                <a:gd name="T85" fmla="*/ 2147483647 h 794"/>
                <a:gd name="T86" fmla="*/ 2147483647 w 914"/>
                <a:gd name="T87" fmla="*/ 2147483647 h 794"/>
                <a:gd name="T88" fmla="*/ 2147483647 w 914"/>
                <a:gd name="T89" fmla="*/ 2147483647 h 794"/>
                <a:gd name="T90" fmla="*/ 2147483647 w 914"/>
                <a:gd name="T91" fmla="*/ 2147483647 h 794"/>
                <a:gd name="T92" fmla="*/ 2147483647 w 914"/>
                <a:gd name="T93" fmla="*/ 2147483647 h 794"/>
                <a:gd name="T94" fmla="*/ 2147483647 w 914"/>
                <a:gd name="T95" fmla="*/ 2147483647 h 794"/>
                <a:gd name="T96" fmla="*/ 2147483647 w 914"/>
                <a:gd name="T97" fmla="*/ 2147483647 h 794"/>
                <a:gd name="T98" fmla="*/ 2147483647 w 914"/>
                <a:gd name="T99" fmla="*/ 2147483647 h 794"/>
                <a:gd name="T100" fmla="*/ 2147483647 w 914"/>
                <a:gd name="T101" fmla="*/ 2147483647 h 794"/>
                <a:gd name="T102" fmla="*/ 2147483647 w 914"/>
                <a:gd name="T103" fmla="*/ 2147483647 h 794"/>
                <a:gd name="T104" fmla="*/ 2147483647 w 914"/>
                <a:gd name="T105" fmla="*/ 2147483647 h 794"/>
                <a:gd name="T106" fmla="*/ 2147483647 w 914"/>
                <a:gd name="T107" fmla="*/ 2147483647 h 794"/>
                <a:gd name="T108" fmla="*/ 2147483647 w 914"/>
                <a:gd name="T109" fmla="*/ 2147483647 h 794"/>
                <a:gd name="T110" fmla="*/ 2147483647 w 914"/>
                <a:gd name="T111" fmla="*/ 2147483647 h 794"/>
                <a:gd name="T112" fmla="*/ 2147483647 w 914"/>
                <a:gd name="T113" fmla="*/ 2147483647 h 79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14"/>
                <a:gd name="T172" fmla="*/ 0 h 794"/>
                <a:gd name="T173" fmla="*/ 914 w 914"/>
                <a:gd name="T174" fmla="*/ 794 h 79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14" h="794">
                  <a:moveTo>
                    <a:pt x="0" y="484"/>
                  </a:moveTo>
                  <a:lnTo>
                    <a:pt x="2" y="478"/>
                  </a:lnTo>
                  <a:lnTo>
                    <a:pt x="2" y="476"/>
                  </a:lnTo>
                  <a:lnTo>
                    <a:pt x="6" y="470"/>
                  </a:lnTo>
                  <a:lnTo>
                    <a:pt x="12" y="466"/>
                  </a:lnTo>
                  <a:lnTo>
                    <a:pt x="10" y="460"/>
                  </a:lnTo>
                  <a:lnTo>
                    <a:pt x="10" y="454"/>
                  </a:lnTo>
                  <a:lnTo>
                    <a:pt x="10" y="448"/>
                  </a:lnTo>
                  <a:lnTo>
                    <a:pt x="12" y="446"/>
                  </a:lnTo>
                  <a:lnTo>
                    <a:pt x="18" y="444"/>
                  </a:lnTo>
                  <a:lnTo>
                    <a:pt x="24" y="446"/>
                  </a:lnTo>
                  <a:lnTo>
                    <a:pt x="30" y="444"/>
                  </a:lnTo>
                  <a:lnTo>
                    <a:pt x="34" y="444"/>
                  </a:lnTo>
                  <a:lnTo>
                    <a:pt x="42" y="448"/>
                  </a:lnTo>
                  <a:lnTo>
                    <a:pt x="48" y="450"/>
                  </a:lnTo>
                  <a:lnTo>
                    <a:pt x="54" y="446"/>
                  </a:lnTo>
                  <a:lnTo>
                    <a:pt x="60" y="444"/>
                  </a:lnTo>
                  <a:lnTo>
                    <a:pt x="66" y="440"/>
                  </a:lnTo>
                  <a:lnTo>
                    <a:pt x="68" y="436"/>
                  </a:lnTo>
                  <a:lnTo>
                    <a:pt x="68" y="430"/>
                  </a:lnTo>
                  <a:lnTo>
                    <a:pt x="68" y="424"/>
                  </a:lnTo>
                  <a:lnTo>
                    <a:pt x="68" y="418"/>
                  </a:lnTo>
                  <a:lnTo>
                    <a:pt x="68" y="412"/>
                  </a:lnTo>
                  <a:lnTo>
                    <a:pt x="68" y="406"/>
                  </a:lnTo>
                  <a:lnTo>
                    <a:pt x="68" y="400"/>
                  </a:lnTo>
                  <a:lnTo>
                    <a:pt x="66" y="394"/>
                  </a:lnTo>
                  <a:lnTo>
                    <a:pt x="66" y="388"/>
                  </a:lnTo>
                  <a:lnTo>
                    <a:pt x="66" y="382"/>
                  </a:lnTo>
                  <a:lnTo>
                    <a:pt x="66" y="376"/>
                  </a:lnTo>
                  <a:lnTo>
                    <a:pt x="64" y="370"/>
                  </a:lnTo>
                  <a:lnTo>
                    <a:pt x="66" y="362"/>
                  </a:lnTo>
                  <a:lnTo>
                    <a:pt x="68" y="356"/>
                  </a:lnTo>
                  <a:lnTo>
                    <a:pt x="68" y="350"/>
                  </a:lnTo>
                  <a:lnTo>
                    <a:pt x="72" y="344"/>
                  </a:lnTo>
                  <a:lnTo>
                    <a:pt x="72" y="338"/>
                  </a:lnTo>
                  <a:lnTo>
                    <a:pt x="78" y="330"/>
                  </a:lnTo>
                  <a:lnTo>
                    <a:pt x="80" y="326"/>
                  </a:lnTo>
                  <a:lnTo>
                    <a:pt x="80" y="318"/>
                  </a:lnTo>
                  <a:lnTo>
                    <a:pt x="78" y="312"/>
                  </a:lnTo>
                  <a:lnTo>
                    <a:pt x="78" y="306"/>
                  </a:lnTo>
                  <a:lnTo>
                    <a:pt x="76" y="300"/>
                  </a:lnTo>
                  <a:lnTo>
                    <a:pt x="76" y="298"/>
                  </a:lnTo>
                  <a:lnTo>
                    <a:pt x="80" y="292"/>
                  </a:lnTo>
                  <a:lnTo>
                    <a:pt x="84" y="286"/>
                  </a:lnTo>
                  <a:lnTo>
                    <a:pt x="88" y="280"/>
                  </a:lnTo>
                  <a:lnTo>
                    <a:pt x="94" y="276"/>
                  </a:lnTo>
                  <a:lnTo>
                    <a:pt x="100" y="282"/>
                  </a:lnTo>
                  <a:lnTo>
                    <a:pt x="106" y="288"/>
                  </a:lnTo>
                  <a:lnTo>
                    <a:pt x="106" y="290"/>
                  </a:lnTo>
                  <a:lnTo>
                    <a:pt x="110" y="284"/>
                  </a:lnTo>
                  <a:lnTo>
                    <a:pt x="116" y="278"/>
                  </a:lnTo>
                  <a:lnTo>
                    <a:pt x="114" y="272"/>
                  </a:lnTo>
                  <a:lnTo>
                    <a:pt x="116" y="266"/>
                  </a:lnTo>
                  <a:lnTo>
                    <a:pt x="118" y="260"/>
                  </a:lnTo>
                  <a:lnTo>
                    <a:pt x="118" y="258"/>
                  </a:lnTo>
                  <a:lnTo>
                    <a:pt x="118" y="254"/>
                  </a:lnTo>
                  <a:lnTo>
                    <a:pt x="116" y="254"/>
                  </a:lnTo>
                  <a:lnTo>
                    <a:pt x="116" y="250"/>
                  </a:lnTo>
                  <a:lnTo>
                    <a:pt x="118" y="244"/>
                  </a:lnTo>
                  <a:lnTo>
                    <a:pt x="120" y="238"/>
                  </a:lnTo>
                  <a:lnTo>
                    <a:pt x="122" y="232"/>
                  </a:lnTo>
                  <a:lnTo>
                    <a:pt x="124" y="228"/>
                  </a:lnTo>
                  <a:lnTo>
                    <a:pt x="122" y="222"/>
                  </a:lnTo>
                  <a:lnTo>
                    <a:pt x="122" y="216"/>
                  </a:lnTo>
                  <a:lnTo>
                    <a:pt x="124" y="210"/>
                  </a:lnTo>
                  <a:lnTo>
                    <a:pt x="130" y="206"/>
                  </a:lnTo>
                  <a:lnTo>
                    <a:pt x="132" y="204"/>
                  </a:lnTo>
                  <a:lnTo>
                    <a:pt x="136" y="198"/>
                  </a:lnTo>
                  <a:lnTo>
                    <a:pt x="138" y="192"/>
                  </a:lnTo>
                  <a:lnTo>
                    <a:pt x="142" y="186"/>
                  </a:lnTo>
                  <a:lnTo>
                    <a:pt x="144" y="180"/>
                  </a:lnTo>
                  <a:lnTo>
                    <a:pt x="148" y="174"/>
                  </a:lnTo>
                  <a:lnTo>
                    <a:pt x="150" y="168"/>
                  </a:lnTo>
                  <a:lnTo>
                    <a:pt x="154" y="162"/>
                  </a:lnTo>
                  <a:lnTo>
                    <a:pt x="158" y="156"/>
                  </a:lnTo>
                  <a:lnTo>
                    <a:pt x="158" y="152"/>
                  </a:lnTo>
                  <a:lnTo>
                    <a:pt x="164" y="152"/>
                  </a:lnTo>
                  <a:lnTo>
                    <a:pt x="170" y="150"/>
                  </a:lnTo>
                  <a:lnTo>
                    <a:pt x="176" y="150"/>
                  </a:lnTo>
                  <a:lnTo>
                    <a:pt x="182" y="152"/>
                  </a:lnTo>
                  <a:lnTo>
                    <a:pt x="186" y="150"/>
                  </a:lnTo>
                  <a:lnTo>
                    <a:pt x="186" y="144"/>
                  </a:lnTo>
                  <a:lnTo>
                    <a:pt x="186" y="138"/>
                  </a:lnTo>
                  <a:lnTo>
                    <a:pt x="184" y="134"/>
                  </a:lnTo>
                  <a:lnTo>
                    <a:pt x="186" y="126"/>
                  </a:lnTo>
                  <a:lnTo>
                    <a:pt x="188" y="120"/>
                  </a:lnTo>
                  <a:lnTo>
                    <a:pt x="188" y="114"/>
                  </a:lnTo>
                  <a:lnTo>
                    <a:pt x="190" y="108"/>
                  </a:lnTo>
                  <a:lnTo>
                    <a:pt x="192" y="102"/>
                  </a:lnTo>
                  <a:lnTo>
                    <a:pt x="196" y="96"/>
                  </a:lnTo>
                  <a:lnTo>
                    <a:pt x="200" y="90"/>
                  </a:lnTo>
                  <a:lnTo>
                    <a:pt x="200" y="84"/>
                  </a:lnTo>
                  <a:lnTo>
                    <a:pt x="202" y="78"/>
                  </a:lnTo>
                  <a:lnTo>
                    <a:pt x="204" y="72"/>
                  </a:lnTo>
                  <a:lnTo>
                    <a:pt x="202" y="66"/>
                  </a:lnTo>
                  <a:lnTo>
                    <a:pt x="202" y="58"/>
                  </a:lnTo>
                  <a:lnTo>
                    <a:pt x="204" y="54"/>
                  </a:lnTo>
                  <a:lnTo>
                    <a:pt x="206" y="48"/>
                  </a:lnTo>
                  <a:lnTo>
                    <a:pt x="206" y="42"/>
                  </a:lnTo>
                  <a:lnTo>
                    <a:pt x="212" y="38"/>
                  </a:lnTo>
                  <a:lnTo>
                    <a:pt x="218" y="38"/>
                  </a:lnTo>
                  <a:lnTo>
                    <a:pt x="224" y="38"/>
                  </a:lnTo>
                  <a:lnTo>
                    <a:pt x="230" y="40"/>
                  </a:lnTo>
                  <a:lnTo>
                    <a:pt x="236" y="42"/>
                  </a:lnTo>
                  <a:lnTo>
                    <a:pt x="240" y="36"/>
                  </a:lnTo>
                  <a:lnTo>
                    <a:pt x="244" y="30"/>
                  </a:lnTo>
                  <a:lnTo>
                    <a:pt x="250" y="30"/>
                  </a:lnTo>
                  <a:lnTo>
                    <a:pt x="254" y="34"/>
                  </a:lnTo>
                  <a:lnTo>
                    <a:pt x="258" y="36"/>
                  </a:lnTo>
                  <a:lnTo>
                    <a:pt x="260" y="42"/>
                  </a:lnTo>
                  <a:lnTo>
                    <a:pt x="264" y="48"/>
                  </a:lnTo>
                  <a:lnTo>
                    <a:pt x="268" y="54"/>
                  </a:lnTo>
                  <a:lnTo>
                    <a:pt x="270" y="54"/>
                  </a:lnTo>
                  <a:lnTo>
                    <a:pt x="272" y="48"/>
                  </a:lnTo>
                  <a:lnTo>
                    <a:pt x="274" y="42"/>
                  </a:lnTo>
                  <a:lnTo>
                    <a:pt x="276" y="36"/>
                  </a:lnTo>
                  <a:lnTo>
                    <a:pt x="278" y="30"/>
                  </a:lnTo>
                  <a:lnTo>
                    <a:pt x="280" y="24"/>
                  </a:lnTo>
                  <a:lnTo>
                    <a:pt x="282" y="18"/>
                  </a:lnTo>
                  <a:lnTo>
                    <a:pt x="282" y="16"/>
                  </a:lnTo>
                  <a:lnTo>
                    <a:pt x="284" y="12"/>
                  </a:lnTo>
                  <a:lnTo>
                    <a:pt x="286" y="6"/>
                  </a:lnTo>
                  <a:lnTo>
                    <a:pt x="288" y="0"/>
                  </a:lnTo>
                  <a:lnTo>
                    <a:pt x="292" y="6"/>
                  </a:lnTo>
                  <a:lnTo>
                    <a:pt x="298" y="12"/>
                  </a:lnTo>
                  <a:lnTo>
                    <a:pt x="304" y="14"/>
                  </a:lnTo>
                  <a:lnTo>
                    <a:pt x="310" y="14"/>
                  </a:lnTo>
                  <a:lnTo>
                    <a:pt x="312" y="20"/>
                  </a:lnTo>
                  <a:lnTo>
                    <a:pt x="316" y="26"/>
                  </a:lnTo>
                  <a:lnTo>
                    <a:pt x="322" y="32"/>
                  </a:lnTo>
                  <a:lnTo>
                    <a:pt x="326" y="32"/>
                  </a:lnTo>
                  <a:lnTo>
                    <a:pt x="332" y="30"/>
                  </a:lnTo>
                  <a:lnTo>
                    <a:pt x="340" y="28"/>
                  </a:lnTo>
                  <a:lnTo>
                    <a:pt x="342" y="28"/>
                  </a:lnTo>
                  <a:lnTo>
                    <a:pt x="348" y="26"/>
                  </a:lnTo>
                  <a:lnTo>
                    <a:pt x="352" y="22"/>
                  </a:lnTo>
                  <a:lnTo>
                    <a:pt x="356" y="16"/>
                  </a:lnTo>
                  <a:lnTo>
                    <a:pt x="362" y="16"/>
                  </a:lnTo>
                  <a:lnTo>
                    <a:pt x="364" y="20"/>
                  </a:lnTo>
                  <a:lnTo>
                    <a:pt x="366" y="22"/>
                  </a:lnTo>
                  <a:lnTo>
                    <a:pt x="368" y="28"/>
                  </a:lnTo>
                  <a:lnTo>
                    <a:pt x="368" y="30"/>
                  </a:lnTo>
                  <a:lnTo>
                    <a:pt x="370" y="28"/>
                  </a:lnTo>
                  <a:lnTo>
                    <a:pt x="376" y="28"/>
                  </a:lnTo>
                  <a:lnTo>
                    <a:pt x="380" y="26"/>
                  </a:lnTo>
                  <a:lnTo>
                    <a:pt x="386" y="24"/>
                  </a:lnTo>
                  <a:lnTo>
                    <a:pt x="392" y="26"/>
                  </a:lnTo>
                  <a:lnTo>
                    <a:pt x="398" y="26"/>
                  </a:lnTo>
                  <a:lnTo>
                    <a:pt x="404" y="26"/>
                  </a:lnTo>
                  <a:lnTo>
                    <a:pt x="410" y="30"/>
                  </a:lnTo>
                  <a:lnTo>
                    <a:pt x="416" y="28"/>
                  </a:lnTo>
                  <a:lnTo>
                    <a:pt x="418" y="28"/>
                  </a:lnTo>
                  <a:lnTo>
                    <a:pt x="424" y="28"/>
                  </a:lnTo>
                  <a:lnTo>
                    <a:pt x="430" y="30"/>
                  </a:lnTo>
                  <a:lnTo>
                    <a:pt x="432" y="32"/>
                  </a:lnTo>
                  <a:lnTo>
                    <a:pt x="438" y="38"/>
                  </a:lnTo>
                  <a:lnTo>
                    <a:pt x="444" y="42"/>
                  </a:lnTo>
                  <a:lnTo>
                    <a:pt x="450" y="46"/>
                  </a:lnTo>
                  <a:lnTo>
                    <a:pt x="456" y="48"/>
                  </a:lnTo>
                  <a:lnTo>
                    <a:pt x="462" y="50"/>
                  </a:lnTo>
                  <a:lnTo>
                    <a:pt x="468" y="54"/>
                  </a:lnTo>
                  <a:lnTo>
                    <a:pt x="474" y="60"/>
                  </a:lnTo>
                  <a:lnTo>
                    <a:pt x="478" y="66"/>
                  </a:lnTo>
                  <a:lnTo>
                    <a:pt x="482" y="72"/>
                  </a:lnTo>
                  <a:lnTo>
                    <a:pt x="486" y="78"/>
                  </a:lnTo>
                  <a:lnTo>
                    <a:pt x="488" y="84"/>
                  </a:lnTo>
                  <a:lnTo>
                    <a:pt x="492" y="88"/>
                  </a:lnTo>
                  <a:lnTo>
                    <a:pt x="498" y="92"/>
                  </a:lnTo>
                  <a:lnTo>
                    <a:pt x="504" y="98"/>
                  </a:lnTo>
                  <a:lnTo>
                    <a:pt x="510" y="102"/>
                  </a:lnTo>
                  <a:lnTo>
                    <a:pt x="516" y="106"/>
                  </a:lnTo>
                  <a:lnTo>
                    <a:pt x="522" y="112"/>
                  </a:lnTo>
                  <a:lnTo>
                    <a:pt x="528" y="118"/>
                  </a:lnTo>
                  <a:lnTo>
                    <a:pt x="530" y="122"/>
                  </a:lnTo>
                  <a:lnTo>
                    <a:pt x="530" y="124"/>
                  </a:lnTo>
                  <a:lnTo>
                    <a:pt x="534" y="130"/>
                  </a:lnTo>
                  <a:lnTo>
                    <a:pt x="536" y="136"/>
                  </a:lnTo>
                  <a:lnTo>
                    <a:pt x="542" y="142"/>
                  </a:lnTo>
                  <a:lnTo>
                    <a:pt x="548" y="144"/>
                  </a:lnTo>
                  <a:lnTo>
                    <a:pt x="554" y="150"/>
                  </a:lnTo>
                  <a:lnTo>
                    <a:pt x="558" y="156"/>
                  </a:lnTo>
                  <a:lnTo>
                    <a:pt x="560" y="160"/>
                  </a:lnTo>
                  <a:lnTo>
                    <a:pt x="566" y="166"/>
                  </a:lnTo>
                  <a:lnTo>
                    <a:pt x="562" y="172"/>
                  </a:lnTo>
                  <a:lnTo>
                    <a:pt x="560" y="178"/>
                  </a:lnTo>
                  <a:lnTo>
                    <a:pt x="554" y="186"/>
                  </a:lnTo>
                  <a:lnTo>
                    <a:pt x="552" y="192"/>
                  </a:lnTo>
                  <a:lnTo>
                    <a:pt x="548" y="198"/>
                  </a:lnTo>
                  <a:lnTo>
                    <a:pt x="544" y="204"/>
                  </a:lnTo>
                  <a:lnTo>
                    <a:pt x="540" y="212"/>
                  </a:lnTo>
                  <a:lnTo>
                    <a:pt x="534" y="216"/>
                  </a:lnTo>
                  <a:lnTo>
                    <a:pt x="532" y="218"/>
                  </a:lnTo>
                  <a:lnTo>
                    <a:pt x="530" y="224"/>
                  </a:lnTo>
                  <a:lnTo>
                    <a:pt x="530" y="230"/>
                  </a:lnTo>
                  <a:lnTo>
                    <a:pt x="530" y="236"/>
                  </a:lnTo>
                  <a:lnTo>
                    <a:pt x="530" y="244"/>
                  </a:lnTo>
                  <a:lnTo>
                    <a:pt x="532" y="250"/>
                  </a:lnTo>
                  <a:lnTo>
                    <a:pt x="532" y="256"/>
                  </a:lnTo>
                  <a:lnTo>
                    <a:pt x="532" y="262"/>
                  </a:lnTo>
                  <a:lnTo>
                    <a:pt x="532" y="266"/>
                  </a:lnTo>
                  <a:lnTo>
                    <a:pt x="536" y="270"/>
                  </a:lnTo>
                  <a:lnTo>
                    <a:pt x="542" y="274"/>
                  </a:lnTo>
                  <a:lnTo>
                    <a:pt x="548" y="272"/>
                  </a:lnTo>
                  <a:lnTo>
                    <a:pt x="554" y="268"/>
                  </a:lnTo>
                  <a:lnTo>
                    <a:pt x="560" y="270"/>
                  </a:lnTo>
                  <a:lnTo>
                    <a:pt x="564" y="268"/>
                  </a:lnTo>
                  <a:lnTo>
                    <a:pt x="568" y="268"/>
                  </a:lnTo>
                  <a:lnTo>
                    <a:pt x="574" y="264"/>
                  </a:lnTo>
                  <a:lnTo>
                    <a:pt x="582" y="262"/>
                  </a:lnTo>
                  <a:lnTo>
                    <a:pt x="584" y="262"/>
                  </a:lnTo>
                  <a:lnTo>
                    <a:pt x="590" y="264"/>
                  </a:lnTo>
                  <a:lnTo>
                    <a:pt x="596" y="268"/>
                  </a:lnTo>
                  <a:lnTo>
                    <a:pt x="602" y="268"/>
                  </a:lnTo>
                  <a:lnTo>
                    <a:pt x="600" y="274"/>
                  </a:lnTo>
                  <a:lnTo>
                    <a:pt x="594" y="278"/>
                  </a:lnTo>
                  <a:lnTo>
                    <a:pt x="590" y="284"/>
                  </a:lnTo>
                  <a:lnTo>
                    <a:pt x="590" y="290"/>
                  </a:lnTo>
                  <a:lnTo>
                    <a:pt x="586" y="296"/>
                  </a:lnTo>
                  <a:lnTo>
                    <a:pt x="586" y="298"/>
                  </a:lnTo>
                  <a:lnTo>
                    <a:pt x="590" y="304"/>
                  </a:lnTo>
                  <a:lnTo>
                    <a:pt x="594" y="310"/>
                  </a:lnTo>
                  <a:lnTo>
                    <a:pt x="594" y="316"/>
                  </a:lnTo>
                  <a:lnTo>
                    <a:pt x="596" y="322"/>
                  </a:lnTo>
                  <a:lnTo>
                    <a:pt x="602" y="326"/>
                  </a:lnTo>
                  <a:lnTo>
                    <a:pt x="606" y="332"/>
                  </a:lnTo>
                  <a:lnTo>
                    <a:pt x="610" y="338"/>
                  </a:lnTo>
                  <a:lnTo>
                    <a:pt x="614" y="344"/>
                  </a:lnTo>
                  <a:lnTo>
                    <a:pt x="620" y="346"/>
                  </a:lnTo>
                  <a:lnTo>
                    <a:pt x="622" y="352"/>
                  </a:lnTo>
                  <a:lnTo>
                    <a:pt x="624" y="358"/>
                  </a:lnTo>
                  <a:lnTo>
                    <a:pt x="628" y="364"/>
                  </a:lnTo>
                  <a:lnTo>
                    <a:pt x="628" y="366"/>
                  </a:lnTo>
                  <a:lnTo>
                    <a:pt x="632" y="372"/>
                  </a:lnTo>
                  <a:lnTo>
                    <a:pt x="634" y="378"/>
                  </a:lnTo>
                  <a:lnTo>
                    <a:pt x="640" y="382"/>
                  </a:lnTo>
                  <a:lnTo>
                    <a:pt x="646" y="382"/>
                  </a:lnTo>
                  <a:lnTo>
                    <a:pt x="652" y="388"/>
                  </a:lnTo>
                  <a:lnTo>
                    <a:pt x="658" y="394"/>
                  </a:lnTo>
                  <a:lnTo>
                    <a:pt x="664" y="402"/>
                  </a:lnTo>
                  <a:lnTo>
                    <a:pt x="670" y="406"/>
                  </a:lnTo>
                  <a:lnTo>
                    <a:pt x="678" y="410"/>
                  </a:lnTo>
                  <a:lnTo>
                    <a:pt x="684" y="412"/>
                  </a:lnTo>
                  <a:lnTo>
                    <a:pt x="690" y="414"/>
                  </a:lnTo>
                  <a:lnTo>
                    <a:pt x="696" y="416"/>
                  </a:lnTo>
                  <a:lnTo>
                    <a:pt x="702" y="418"/>
                  </a:lnTo>
                  <a:lnTo>
                    <a:pt x="708" y="420"/>
                  </a:lnTo>
                  <a:lnTo>
                    <a:pt x="712" y="422"/>
                  </a:lnTo>
                  <a:lnTo>
                    <a:pt x="718" y="424"/>
                  </a:lnTo>
                  <a:lnTo>
                    <a:pt x="724" y="426"/>
                  </a:lnTo>
                  <a:lnTo>
                    <a:pt x="730" y="428"/>
                  </a:lnTo>
                  <a:lnTo>
                    <a:pt x="738" y="432"/>
                  </a:lnTo>
                  <a:lnTo>
                    <a:pt x="744" y="434"/>
                  </a:lnTo>
                  <a:lnTo>
                    <a:pt x="750" y="436"/>
                  </a:lnTo>
                  <a:lnTo>
                    <a:pt x="756" y="438"/>
                  </a:lnTo>
                  <a:lnTo>
                    <a:pt x="762" y="440"/>
                  </a:lnTo>
                  <a:lnTo>
                    <a:pt x="768" y="444"/>
                  </a:lnTo>
                  <a:lnTo>
                    <a:pt x="774" y="446"/>
                  </a:lnTo>
                  <a:lnTo>
                    <a:pt x="780" y="448"/>
                  </a:lnTo>
                  <a:lnTo>
                    <a:pt x="788" y="450"/>
                  </a:lnTo>
                  <a:lnTo>
                    <a:pt x="794" y="452"/>
                  </a:lnTo>
                  <a:lnTo>
                    <a:pt x="800" y="456"/>
                  </a:lnTo>
                  <a:lnTo>
                    <a:pt x="806" y="458"/>
                  </a:lnTo>
                  <a:lnTo>
                    <a:pt x="812" y="460"/>
                  </a:lnTo>
                  <a:lnTo>
                    <a:pt x="818" y="462"/>
                  </a:lnTo>
                  <a:lnTo>
                    <a:pt x="824" y="466"/>
                  </a:lnTo>
                  <a:lnTo>
                    <a:pt x="830" y="468"/>
                  </a:lnTo>
                  <a:lnTo>
                    <a:pt x="838" y="470"/>
                  </a:lnTo>
                  <a:lnTo>
                    <a:pt x="844" y="472"/>
                  </a:lnTo>
                  <a:lnTo>
                    <a:pt x="850" y="474"/>
                  </a:lnTo>
                  <a:lnTo>
                    <a:pt x="852" y="476"/>
                  </a:lnTo>
                  <a:lnTo>
                    <a:pt x="854" y="476"/>
                  </a:lnTo>
                  <a:lnTo>
                    <a:pt x="884" y="476"/>
                  </a:lnTo>
                  <a:lnTo>
                    <a:pt x="914" y="476"/>
                  </a:lnTo>
                  <a:lnTo>
                    <a:pt x="908" y="482"/>
                  </a:lnTo>
                  <a:lnTo>
                    <a:pt x="902" y="488"/>
                  </a:lnTo>
                  <a:lnTo>
                    <a:pt x="902" y="490"/>
                  </a:lnTo>
                  <a:lnTo>
                    <a:pt x="896" y="496"/>
                  </a:lnTo>
                  <a:lnTo>
                    <a:pt x="890" y="502"/>
                  </a:lnTo>
                  <a:lnTo>
                    <a:pt x="884" y="508"/>
                  </a:lnTo>
                  <a:lnTo>
                    <a:pt x="878" y="514"/>
                  </a:lnTo>
                  <a:lnTo>
                    <a:pt x="872" y="520"/>
                  </a:lnTo>
                  <a:lnTo>
                    <a:pt x="866" y="528"/>
                  </a:lnTo>
                  <a:lnTo>
                    <a:pt x="860" y="534"/>
                  </a:lnTo>
                  <a:lnTo>
                    <a:pt x="854" y="542"/>
                  </a:lnTo>
                  <a:lnTo>
                    <a:pt x="850" y="546"/>
                  </a:lnTo>
                  <a:lnTo>
                    <a:pt x="844" y="554"/>
                  </a:lnTo>
                  <a:lnTo>
                    <a:pt x="838" y="560"/>
                  </a:lnTo>
                  <a:lnTo>
                    <a:pt x="832" y="566"/>
                  </a:lnTo>
                  <a:lnTo>
                    <a:pt x="826" y="574"/>
                  </a:lnTo>
                  <a:lnTo>
                    <a:pt x="822" y="580"/>
                  </a:lnTo>
                  <a:lnTo>
                    <a:pt x="816" y="588"/>
                  </a:lnTo>
                  <a:lnTo>
                    <a:pt x="810" y="594"/>
                  </a:lnTo>
                  <a:lnTo>
                    <a:pt x="804" y="600"/>
                  </a:lnTo>
                  <a:lnTo>
                    <a:pt x="804" y="602"/>
                  </a:lnTo>
                  <a:lnTo>
                    <a:pt x="802" y="604"/>
                  </a:lnTo>
                  <a:lnTo>
                    <a:pt x="796" y="610"/>
                  </a:lnTo>
                  <a:lnTo>
                    <a:pt x="790" y="618"/>
                  </a:lnTo>
                  <a:lnTo>
                    <a:pt x="786" y="624"/>
                  </a:lnTo>
                  <a:lnTo>
                    <a:pt x="780" y="630"/>
                  </a:lnTo>
                  <a:lnTo>
                    <a:pt x="774" y="638"/>
                  </a:lnTo>
                  <a:lnTo>
                    <a:pt x="770" y="644"/>
                  </a:lnTo>
                  <a:lnTo>
                    <a:pt x="764" y="650"/>
                  </a:lnTo>
                  <a:lnTo>
                    <a:pt x="758" y="658"/>
                  </a:lnTo>
                  <a:lnTo>
                    <a:pt x="754" y="664"/>
                  </a:lnTo>
                  <a:lnTo>
                    <a:pt x="748" y="670"/>
                  </a:lnTo>
                  <a:lnTo>
                    <a:pt x="744" y="676"/>
                  </a:lnTo>
                  <a:lnTo>
                    <a:pt x="742" y="676"/>
                  </a:lnTo>
                  <a:lnTo>
                    <a:pt x="738" y="684"/>
                  </a:lnTo>
                  <a:lnTo>
                    <a:pt x="736" y="686"/>
                  </a:lnTo>
                  <a:lnTo>
                    <a:pt x="732" y="690"/>
                  </a:lnTo>
                  <a:lnTo>
                    <a:pt x="726" y="690"/>
                  </a:lnTo>
                  <a:lnTo>
                    <a:pt x="720" y="690"/>
                  </a:lnTo>
                  <a:lnTo>
                    <a:pt x="712" y="690"/>
                  </a:lnTo>
                  <a:lnTo>
                    <a:pt x="706" y="688"/>
                  </a:lnTo>
                  <a:lnTo>
                    <a:pt x="700" y="688"/>
                  </a:lnTo>
                  <a:lnTo>
                    <a:pt x="692" y="688"/>
                  </a:lnTo>
                  <a:lnTo>
                    <a:pt x="686" y="688"/>
                  </a:lnTo>
                  <a:lnTo>
                    <a:pt x="680" y="686"/>
                  </a:lnTo>
                  <a:lnTo>
                    <a:pt x="674" y="686"/>
                  </a:lnTo>
                  <a:lnTo>
                    <a:pt x="668" y="690"/>
                  </a:lnTo>
                  <a:lnTo>
                    <a:pt x="662" y="690"/>
                  </a:lnTo>
                  <a:lnTo>
                    <a:pt x="656" y="692"/>
                  </a:lnTo>
                  <a:lnTo>
                    <a:pt x="650" y="694"/>
                  </a:lnTo>
                  <a:lnTo>
                    <a:pt x="644" y="696"/>
                  </a:lnTo>
                  <a:lnTo>
                    <a:pt x="638" y="698"/>
                  </a:lnTo>
                  <a:lnTo>
                    <a:pt x="632" y="702"/>
                  </a:lnTo>
                  <a:lnTo>
                    <a:pt x="626" y="704"/>
                  </a:lnTo>
                  <a:lnTo>
                    <a:pt x="620" y="710"/>
                  </a:lnTo>
                  <a:lnTo>
                    <a:pt x="614" y="716"/>
                  </a:lnTo>
                  <a:lnTo>
                    <a:pt x="610" y="720"/>
                  </a:lnTo>
                  <a:lnTo>
                    <a:pt x="610" y="726"/>
                  </a:lnTo>
                  <a:lnTo>
                    <a:pt x="604" y="732"/>
                  </a:lnTo>
                  <a:lnTo>
                    <a:pt x="598" y="734"/>
                  </a:lnTo>
                  <a:lnTo>
                    <a:pt x="594" y="734"/>
                  </a:lnTo>
                  <a:lnTo>
                    <a:pt x="588" y="736"/>
                  </a:lnTo>
                  <a:lnTo>
                    <a:pt x="582" y="738"/>
                  </a:lnTo>
                  <a:lnTo>
                    <a:pt x="576" y="738"/>
                  </a:lnTo>
                  <a:lnTo>
                    <a:pt x="570" y="738"/>
                  </a:lnTo>
                  <a:lnTo>
                    <a:pt x="564" y="738"/>
                  </a:lnTo>
                  <a:lnTo>
                    <a:pt x="558" y="740"/>
                  </a:lnTo>
                  <a:lnTo>
                    <a:pt x="556" y="744"/>
                  </a:lnTo>
                  <a:lnTo>
                    <a:pt x="550" y="748"/>
                  </a:lnTo>
                  <a:lnTo>
                    <a:pt x="548" y="754"/>
                  </a:lnTo>
                  <a:lnTo>
                    <a:pt x="542" y="756"/>
                  </a:lnTo>
                  <a:lnTo>
                    <a:pt x="536" y="754"/>
                  </a:lnTo>
                  <a:lnTo>
                    <a:pt x="530" y="754"/>
                  </a:lnTo>
                  <a:lnTo>
                    <a:pt x="524" y="754"/>
                  </a:lnTo>
                  <a:lnTo>
                    <a:pt x="518" y="756"/>
                  </a:lnTo>
                  <a:lnTo>
                    <a:pt x="512" y="756"/>
                  </a:lnTo>
                  <a:lnTo>
                    <a:pt x="506" y="756"/>
                  </a:lnTo>
                  <a:lnTo>
                    <a:pt x="500" y="756"/>
                  </a:lnTo>
                  <a:lnTo>
                    <a:pt x="496" y="750"/>
                  </a:lnTo>
                  <a:lnTo>
                    <a:pt x="490" y="744"/>
                  </a:lnTo>
                  <a:lnTo>
                    <a:pt x="484" y="738"/>
                  </a:lnTo>
                  <a:lnTo>
                    <a:pt x="478" y="732"/>
                  </a:lnTo>
                  <a:lnTo>
                    <a:pt x="472" y="736"/>
                  </a:lnTo>
                  <a:lnTo>
                    <a:pt x="462" y="740"/>
                  </a:lnTo>
                  <a:lnTo>
                    <a:pt x="454" y="744"/>
                  </a:lnTo>
                  <a:lnTo>
                    <a:pt x="448" y="748"/>
                  </a:lnTo>
                  <a:lnTo>
                    <a:pt x="442" y="750"/>
                  </a:lnTo>
                  <a:lnTo>
                    <a:pt x="432" y="758"/>
                  </a:lnTo>
                  <a:lnTo>
                    <a:pt x="430" y="758"/>
                  </a:lnTo>
                  <a:lnTo>
                    <a:pt x="422" y="762"/>
                  </a:lnTo>
                  <a:lnTo>
                    <a:pt x="418" y="774"/>
                  </a:lnTo>
                  <a:lnTo>
                    <a:pt x="406" y="788"/>
                  </a:lnTo>
                  <a:lnTo>
                    <a:pt x="404" y="794"/>
                  </a:lnTo>
                  <a:lnTo>
                    <a:pt x="398" y="790"/>
                  </a:lnTo>
                  <a:lnTo>
                    <a:pt x="390" y="790"/>
                  </a:lnTo>
                  <a:lnTo>
                    <a:pt x="388" y="790"/>
                  </a:lnTo>
                  <a:lnTo>
                    <a:pt x="382" y="788"/>
                  </a:lnTo>
                  <a:lnTo>
                    <a:pt x="376" y="786"/>
                  </a:lnTo>
                  <a:lnTo>
                    <a:pt x="374" y="786"/>
                  </a:lnTo>
                  <a:lnTo>
                    <a:pt x="368" y="786"/>
                  </a:lnTo>
                  <a:lnTo>
                    <a:pt x="358" y="784"/>
                  </a:lnTo>
                  <a:lnTo>
                    <a:pt x="350" y="778"/>
                  </a:lnTo>
                  <a:lnTo>
                    <a:pt x="344" y="780"/>
                  </a:lnTo>
                  <a:lnTo>
                    <a:pt x="336" y="780"/>
                  </a:lnTo>
                  <a:lnTo>
                    <a:pt x="328" y="780"/>
                  </a:lnTo>
                  <a:lnTo>
                    <a:pt x="320" y="778"/>
                  </a:lnTo>
                  <a:lnTo>
                    <a:pt x="312" y="778"/>
                  </a:lnTo>
                  <a:lnTo>
                    <a:pt x="308" y="772"/>
                  </a:lnTo>
                  <a:lnTo>
                    <a:pt x="292" y="758"/>
                  </a:lnTo>
                  <a:lnTo>
                    <a:pt x="284" y="754"/>
                  </a:lnTo>
                  <a:lnTo>
                    <a:pt x="264" y="740"/>
                  </a:lnTo>
                  <a:lnTo>
                    <a:pt x="256" y="732"/>
                  </a:lnTo>
                  <a:lnTo>
                    <a:pt x="250" y="728"/>
                  </a:lnTo>
                  <a:lnTo>
                    <a:pt x="240" y="724"/>
                  </a:lnTo>
                  <a:lnTo>
                    <a:pt x="230" y="724"/>
                  </a:lnTo>
                  <a:lnTo>
                    <a:pt x="216" y="722"/>
                  </a:lnTo>
                  <a:lnTo>
                    <a:pt x="202" y="722"/>
                  </a:lnTo>
                  <a:lnTo>
                    <a:pt x="200" y="722"/>
                  </a:lnTo>
                  <a:lnTo>
                    <a:pt x="188" y="722"/>
                  </a:lnTo>
                  <a:lnTo>
                    <a:pt x="182" y="716"/>
                  </a:lnTo>
                  <a:lnTo>
                    <a:pt x="182" y="712"/>
                  </a:lnTo>
                  <a:lnTo>
                    <a:pt x="182" y="710"/>
                  </a:lnTo>
                  <a:lnTo>
                    <a:pt x="178" y="704"/>
                  </a:lnTo>
                  <a:lnTo>
                    <a:pt x="172" y="698"/>
                  </a:lnTo>
                  <a:lnTo>
                    <a:pt x="172" y="692"/>
                  </a:lnTo>
                  <a:lnTo>
                    <a:pt x="172" y="686"/>
                  </a:lnTo>
                  <a:lnTo>
                    <a:pt x="172" y="684"/>
                  </a:lnTo>
                  <a:lnTo>
                    <a:pt x="172" y="678"/>
                  </a:lnTo>
                  <a:lnTo>
                    <a:pt x="176" y="672"/>
                  </a:lnTo>
                  <a:lnTo>
                    <a:pt x="174" y="666"/>
                  </a:lnTo>
                  <a:lnTo>
                    <a:pt x="174" y="660"/>
                  </a:lnTo>
                  <a:lnTo>
                    <a:pt x="168" y="658"/>
                  </a:lnTo>
                  <a:lnTo>
                    <a:pt x="162" y="658"/>
                  </a:lnTo>
                  <a:lnTo>
                    <a:pt x="158" y="654"/>
                  </a:lnTo>
                  <a:lnTo>
                    <a:pt x="150" y="654"/>
                  </a:lnTo>
                  <a:lnTo>
                    <a:pt x="144" y="660"/>
                  </a:lnTo>
                  <a:lnTo>
                    <a:pt x="140" y="654"/>
                  </a:lnTo>
                  <a:lnTo>
                    <a:pt x="140" y="648"/>
                  </a:lnTo>
                  <a:lnTo>
                    <a:pt x="134" y="644"/>
                  </a:lnTo>
                  <a:lnTo>
                    <a:pt x="130" y="636"/>
                  </a:lnTo>
                  <a:lnTo>
                    <a:pt x="128" y="630"/>
                  </a:lnTo>
                  <a:lnTo>
                    <a:pt x="124" y="624"/>
                  </a:lnTo>
                  <a:lnTo>
                    <a:pt x="122" y="618"/>
                  </a:lnTo>
                  <a:lnTo>
                    <a:pt x="124" y="614"/>
                  </a:lnTo>
                  <a:lnTo>
                    <a:pt x="122" y="608"/>
                  </a:lnTo>
                  <a:lnTo>
                    <a:pt x="118" y="602"/>
                  </a:lnTo>
                  <a:lnTo>
                    <a:pt x="116" y="596"/>
                  </a:lnTo>
                  <a:lnTo>
                    <a:pt x="114" y="590"/>
                  </a:lnTo>
                  <a:lnTo>
                    <a:pt x="110" y="584"/>
                  </a:lnTo>
                  <a:lnTo>
                    <a:pt x="110" y="578"/>
                  </a:lnTo>
                  <a:lnTo>
                    <a:pt x="108" y="572"/>
                  </a:lnTo>
                  <a:lnTo>
                    <a:pt x="104" y="566"/>
                  </a:lnTo>
                  <a:lnTo>
                    <a:pt x="98" y="564"/>
                  </a:lnTo>
                  <a:lnTo>
                    <a:pt x="94" y="558"/>
                  </a:lnTo>
                  <a:lnTo>
                    <a:pt x="92" y="554"/>
                  </a:lnTo>
                  <a:lnTo>
                    <a:pt x="86" y="550"/>
                  </a:lnTo>
                  <a:lnTo>
                    <a:pt x="80" y="548"/>
                  </a:lnTo>
                  <a:lnTo>
                    <a:pt x="76" y="542"/>
                  </a:lnTo>
                  <a:lnTo>
                    <a:pt x="74" y="536"/>
                  </a:lnTo>
                  <a:lnTo>
                    <a:pt x="68" y="532"/>
                  </a:lnTo>
                  <a:lnTo>
                    <a:pt x="64" y="526"/>
                  </a:lnTo>
                  <a:lnTo>
                    <a:pt x="64" y="520"/>
                  </a:lnTo>
                  <a:lnTo>
                    <a:pt x="60" y="514"/>
                  </a:lnTo>
                  <a:lnTo>
                    <a:pt x="54" y="508"/>
                  </a:lnTo>
                  <a:lnTo>
                    <a:pt x="48" y="504"/>
                  </a:lnTo>
                  <a:lnTo>
                    <a:pt x="42" y="500"/>
                  </a:lnTo>
                  <a:lnTo>
                    <a:pt x="36" y="498"/>
                  </a:lnTo>
                  <a:lnTo>
                    <a:pt x="30" y="494"/>
                  </a:lnTo>
                  <a:lnTo>
                    <a:pt x="24" y="494"/>
                  </a:lnTo>
                  <a:lnTo>
                    <a:pt x="18" y="494"/>
                  </a:lnTo>
                  <a:lnTo>
                    <a:pt x="12" y="490"/>
                  </a:lnTo>
                  <a:lnTo>
                    <a:pt x="6" y="490"/>
                  </a:lnTo>
                  <a:lnTo>
                    <a:pt x="0" y="486"/>
                  </a:lnTo>
                  <a:lnTo>
                    <a:pt x="0" y="48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0" name="Freeform 217"/>
            <p:cNvSpPr>
              <a:spLocks/>
            </p:cNvSpPr>
            <p:nvPr/>
          </p:nvSpPr>
          <p:spPr bwMode="auto">
            <a:xfrm>
              <a:off x="3819525" y="3457575"/>
              <a:ext cx="211138" cy="196850"/>
            </a:xfrm>
            <a:custGeom>
              <a:avLst/>
              <a:gdLst>
                <a:gd name="T0" fmla="*/ 2147483647 w 520"/>
                <a:gd name="T1" fmla="*/ 2147483647 h 478"/>
                <a:gd name="T2" fmla="*/ 2147483647 w 520"/>
                <a:gd name="T3" fmla="*/ 2147483647 h 478"/>
                <a:gd name="T4" fmla="*/ 2147483647 w 520"/>
                <a:gd name="T5" fmla="*/ 2147483647 h 478"/>
                <a:gd name="T6" fmla="*/ 2147483647 w 520"/>
                <a:gd name="T7" fmla="*/ 2147483647 h 478"/>
                <a:gd name="T8" fmla="*/ 2147483647 w 520"/>
                <a:gd name="T9" fmla="*/ 2147483647 h 478"/>
                <a:gd name="T10" fmla="*/ 2147483647 w 520"/>
                <a:gd name="T11" fmla="*/ 2147483647 h 478"/>
                <a:gd name="T12" fmla="*/ 2147483647 w 520"/>
                <a:gd name="T13" fmla="*/ 2147483647 h 478"/>
                <a:gd name="T14" fmla="*/ 2147483647 w 520"/>
                <a:gd name="T15" fmla="*/ 2147483647 h 478"/>
                <a:gd name="T16" fmla="*/ 2147483647 w 520"/>
                <a:gd name="T17" fmla="*/ 2147483647 h 478"/>
                <a:gd name="T18" fmla="*/ 2147483647 w 520"/>
                <a:gd name="T19" fmla="*/ 2147483647 h 478"/>
                <a:gd name="T20" fmla="*/ 2147483647 w 520"/>
                <a:gd name="T21" fmla="*/ 2147483647 h 478"/>
                <a:gd name="T22" fmla="*/ 2147483647 w 520"/>
                <a:gd name="T23" fmla="*/ 2147483647 h 478"/>
                <a:gd name="T24" fmla="*/ 2147483647 w 520"/>
                <a:gd name="T25" fmla="*/ 2147483647 h 478"/>
                <a:gd name="T26" fmla="*/ 2147483647 w 520"/>
                <a:gd name="T27" fmla="*/ 2147483647 h 478"/>
                <a:gd name="T28" fmla="*/ 2147483647 w 520"/>
                <a:gd name="T29" fmla="*/ 2147483647 h 478"/>
                <a:gd name="T30" fmla="*/ 2147483647 w 520"/>
                <a:gd name="T31" fmla="*/ 2147483647 h 478"/>
                <a:gd name="T32" fmla="*/ 2147483647 w 520"/>
                <a:gd name="T33" fmla="*/ 2147483647 h 478"/>
                <a:gd name="T34" fmla="*/ 2147483647 w 520"/>
                <a:gd name="T35" fmla="*/ 2147483647 h 478"/>
                <a:gd name="T36" fmla="*/ 2147483647 w 520"/>
                <a:gd name="T37" fmla="*/ 2147483647 h 478"/>
                <a:gd name="T38" fmla="*/ 2147483647 w 520"/>
                <a:gd name="T39" fmla="*/ 0 h 478"/>
                <a:gd name="T40" fmla="*/ 2147483647 w 520"/>
                <a:gd name="T41" fmla="*/ 0 h 478"/>
                <a:gd name="T42" fmla="*/ 2147483647 w 520"/>
                <a:gd name="T43" fmla="*/ 0 h 478"/>
                <a:gd name="T44" fmla="*/ 2147483647 w 520"/>
                <a:gd name="T45" fmla="*/ 0 h 478"/>
                <a:gd name="T46" fmla="*/ 2147483647 w 520"/>
                <a:gd name="T47" fmla="*/ 0 h 478"/>
                <a:gd name="T48" fmla="*/ 2147483647 w 520"/>
                <a:gd name="T49" fmla="*/ 0 h 478"/>
                <a:gd name="T50" fmla="*/ 2147483647 w 520"/>
                <a:gd name="T51" fmla="*/ 0 h 478"/>
                <a:gd name="T52" fmla="*/ 2147483647 w 520"/>
                <a:gd name="T53" fmla="*/ 0 h 478"/>
                <a:gd name="T54" fmla="*/ 2147483647 w 520"/>
                <a:gd name="T55" fmla="*/ 0 h 478"/>
                <a:gd name="T56" fmla="*/ 2147483647 w 520"/>
                <a:gd name="T57" fmla="*/ 2147483647 h 478"/>
                <a:gd name="T58" fmla="*/ 2147483647 w 520"/>
                <a:gd name="T59" fmla="*/ 2147483647 h 478"/>
                <a:gd name="T60" fmla="*/ 2147483647 w 520"/>
                <a:gd name="T61" fmla="*/ 2147483647 h 478"/>
                <a:gd name="T62" fmla="*/ 2147483647 w 520"/>
                <a:gd name="T63" fmla="*/ 2147483647 h 478"/>
                <a:gd name="T64" fmla="*/ 2147483647 w 520"/>
                <a:gd name="T65" fmla="*/ 2147483647 h 478"/>
                <a:gd name="T66" fmla="*/ 2147483647 w 520"/>
                <a:gd name="T67" fmla="*/ 2147483647 h 478"/>
                <a:gd name="T68" fmla="*/ 2147483647 w 520"/>
                <a:gd name="T69" fmla="*/ 2147483647 h 478"/>
                <a:gd name="T70" fmla="*/ 2147483647 w 520"/>
                <a:gd name="T71" fmla="*/ 2147483647 h 478"/>
                <a:gd name="T72" fmla="*/ 2147483647 w 520"/>
                <a:gd name="T73" fmla="*/ 2147483647 h 478"/>
                <a:gd name="T74" fmla="*/ 2147483647 w 520"/>
                <a:gd name="T75" fmla="*/ 2147483647 h 478"/>
                <a:gd name="T76" fmla="*/ 2147483647 w 520"/>
                <a:gd name="T77" fmla="*/ 2147483647 h 478"/>
                <a:gd name="T78" fmla="*/ 2147483647 w 520"/>
                <a:gd name="T79" fmla="*/ 2147483647 h 478"/>
                <a:gd name="T80" fmla="*/ 2147483647 w 520"/>
                <a:gd name="T81" fmla="*/ 2147483647 h 478"/>
                <a:gd name="T82" fmla="*/ 2147483647 w 520"/>
                <a:gd name="T83" fmla="*/ 2147483647 h 478"/>
                <a:gd name="T84" fmla="*/ 2147483647 w 520"/>
                <a:gd name="T85" fmla="*/ 2147483647 h 478"/>
                <a:gd name="T86" fmla="*/ 2147483647 w 520"/>
                <a:gd name="T87" fmla="*/ 2147483647 h 478"/>
                <a:gd name="T88" fmla="*/ 2147483647 w 520"/>
                <a:gd name="T89" fmla="*/ 2147483647 h 478"/>
                <a:gd name="T90" fmla="*/ 2147483647 w 520"/>
                <a:gd name="T91" fmla="*/ 2147483647 h 478"/>
                <a:gd name="T92" fmla="*/ 2147483647 w 520"/>
                <a:gd name="T93" fmla="*/ 2147483647 h 478"/>
                <a:gd name="T94" fmla="*/ 2147483647 w 520"/>
                <a:gd name="T95" fmla="*/ 2147483647 h 478"/>
                <a:gd name="T96" fmla="*/ 2147483647 w 520"/>
                <a:gd name="T97" fmla="*/ 2147483647 h 478"/>
                <a:gd name="T98" fmla="*/ 2147483647 w 520"/>
                <a:gd name="T99" fmla="*/ 2147483647 h 478"/>
                <a:gd name="T100" fmla="*/ 2147483647 w 520"/>
                <a:gd name="T101" fmla="*/ 2147483647 h 478"/>
                <a:gd name="T102" fmla="*/ 2147483647 w 520"/>
                <a:gd name="T103" fmla="*/ 2147483647 h 478"/>
                <a:gd name="T104" fmla="*/ 2147483647 w 520"/>
                <a:gd name="T105" fmla="*/ 2147483647 h 478"/>
                <a:gd name="T106" fmla="*/ 2147483647 w 520"/>
                <a:gd name="T107" fmla="*/ 2147483647 h 478"/>
                <a:gd name="T108" fmla="*/ 2147483647 w 520"/>
                <a:gd name="T109" fmla="*/ 2147483647 h 478"/>
                <a:gd name="T110" fmla="*/ 2147483647 w 520"/>
                <a:gd name="T111" fmla="*/ 2147483647 h 478"/>
                <a:gd name="T112" fmla="*/ 2147483647 w 520"/>
                <a:gd name="T113" fmla="*/ 2147483647 h 478"/>
                <a:gd name="T114" fmla="*/ 2147483647 w 520"/>
                <a:gd name="T115" fmla="*/ 2147483647 h 4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0"/>
                <a:gd name="T175" fmla="*/ 0 h 478"/>
                <a:gd name="T176" fmla="*/ 520 w 520"/>
                <a:gd name="T177" fmla="*/ 478 h 47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0" h="478">
                  <a:moveTo>
                    <a:pt x="2" y="478"/>
                  </a:moveTo>
                  <a:lnTo>
                    <a:pt x="0" y="474"/>
                  </a:lnTo>
                  <a:lnTo>
                    <a:pt x="0" y="470"/>
                  </a:lnTo>
                  <a:lnTo>
                    <a:pt x="2" y="464"/>
                  </a:lnTo>
                  <a:lnTo>
                    <a:pt x="2" y="458"/>
                  </a:lnTo>
                  <a:lnTo>
                    <a:pt x="4" y="452"/>
                  </a:lnTo>
                  <a:lnTo>
                    <a:pt x="4" y="446"/>
                  </a:lnTo>
                  <a:lnTo>
                    <a:pt x="4" y="440"/>
                  </a:lnTo>
                  <a:lnTo>
                    <a:pt x="6" y="438"/>
                  </a:lnTo>
                  <a:lnTo>
                    <a:pt x="6" y="432"/>
                  </a:lnTo>
                  <a:lnTo>
                    <a:pt x="8" y="426"/>
                  </a:lnTo>
                  <a:lnTo>
                    <a:pt x="8" y="420"/>
                  </a:lnTo>
                  <a:lnTo>
                    <a:pt x="10" y="414"/>
                  </a:lnTo>
                  <a:lnTo>
                    <a:pt x="10" y="408"/>
                  </a:lnTo>
                  <a:lnTo>
                    <a:pt x="10" y="406"/>
                  </a:lnTo>
                  <a:lnTo>
                    <a:pt x="12" y="402"/>
                  </a:lnTo>
                  <a:lnTo>
                    <a:pt x="14" y="396"/>
                  </a:lnTo>
                  <a:lnTo>
                    <a:pt x="16" y="390"/>
                  </a:lnTo>
                  <a:lnTo>
                    <a:pt x="20" y="384"/>
                  </a:lnTo>
                  <a:lnTo>
                    <a:pt x="24" y="378"/>
                  </a:lnTo>
                  <a:lnTo>
                    <a:pt x="30" y="372"/>
                  </a:lnTo>
                  <a:lnTo>
                    <a:pt x="36" y="372"/>
                  </a:lnTo>
                  <a:lnTo>
                    <a:pt x="42" y="366"/>
                  </a:lnTo>
                  <a:lnTo>
                    <a:pt x="44" y="360"/>
                  </a:lnTo>
                  <a:lnTo>
                    <a:pt x="46" y="356"/>
                  </a:lnTo>
                  <a:lnTo>
                    <a:pt x="50" y="350"/>
                  </a:lnTo>
                  <a:lnTo>
                    <a:pt x="50" y="344"/>
                  </a:lnTo>
                  <a:lnTo>
                    <a:pt x="52" y="338"/>
                  </a:lnTo>
                  <a:lnTo>
                    <a:pt x="54" y="332"/>
                  </a:lnTo>
                  <a:lnTo>
                    <a:pt x="58" y="328"/>
                  </a:lnTo>
                  <a:lnTo>
                    <a:pt x="62" y="324"/>
                  </a:lnTo>
                  <a:lnTo>
                    <a:pt x="58" y="318"/>
                  </a:lnTo>
                  <a:lnTo>
                    <a:pt x="62" y="312"/>
                  </a:lnTo>
                  <a:lnTo>
                    <a:pt x="66" y="306"/>
                  </a:lnTo>
                  <a:lnTo>
                    <a:pt x="68" y="300"/>
                  </a:lnTo>
                  <a:lnTo>
                    <a:pt x="72" y="296"/>
                  </a:lnTo>
                  <a:lnTo>
                    <a:pt x="74" y="288"/>
                  </a:lnTo>
                  <a:lnTo>
                    <a:pt x="78" y="284"/>
                  </a:lnTo>
                  <a:lnTo>
                    <a:pt x="82" y="278"/>
                  </a:lnTo>
                  <a:lnTo>
                    <a:pt x="86" y="272"/>
                  </a:lnTo>
                  <a:lnTo>
                    <a:pt x="84" y="266"/>
                  </a:lnTo>
                  <a:lnTo>
                    <a:pt x="80" y="270"/>
                  </a:lnTo>
                  <a:lnTo>
                    <a:pt x="74" y="276"/>
                  </a:lnTo>
                  <a:lnTo>
                    <a:pt x="78" y="270"/>
                  </a:lnTo>
                  <a:lnTo>
                    <a:pt x="82" y="264"/>
                  </a:lnTo>
                  <a:lnTo>
                    <a:pt x="88" y="258"/>
                  </a:lnTo>
                  <a:lnTo>
                    <a:pt x="94" y="254"/>
                  </a:lnTo>
                  <a:lnTo>
                    <a:pt x="98" y="252"/>
                  </a:lnTo>
                  <a:lnTo>
                    <a:pt x="102" y="246"/>
                  </a:lnTo>
                  <a:lnTo>
                    <a:pt x="108" y="240"/>
                  </a:lnTo>
                  <a:lnTo>
                    <a:pt x="114" y="234"/>
                  </a:lnTo>
                  <a:lnTo>
                    <a:pt x="118" y="228"/>
                  </a:lnTo>
                  <a:lnTo>
                    <a:pt x="122" y="224"/>
                  </a:lnTo>
                  <a:lnTo>
                    <a:pt x="128" y="220"/>
                  </a:lnTo>
                  <a:lnTo>
                    <a:pt x="134" y="214"/>
                  </a:lnTo>
                  <a:lnTo>
                    <a:pt x="140" y="208"/>
                  </a:lnTo>
                  <a:lnTo>
                    <a:pt x="142" y="204"/>
                  </a:lnTo>
                  <a:lnTo>
                    <a:pt x="144" y="198"/>
                  </a:lnTo>
                  <a:lnTo>
                    <a:pt x="146" y="190"/>
                  </a:lnTo>
                  <a:lnTo>
                    <a:pt x="146" y="186"/>
                  </a:lnTo>
                  <a:lnTo>
                    <a:pt x="146" y="182"/>
                  </a:lnTo>
                  <a:lnTo>
                    <a:pt x="146" y="176"/>
                  </a:lnTo>
                  <a:lnTo>
                    <a:pt x="146" y="170"/>
                  </a:lnTo>
                  <a:lnTo>
                    <a:pt x="148" y="164"/>
                  </a:lnTo>
                  <a:lnTo>
                    <a:pt x="150" y="158"/>
                  </a:lnTo>
                  <a:lnTo>
                    <a:pt x="154" y="152"/>
                  </a:lnTo>
                  <a:lnTo>
                    <a:pt x="158" y="146"/>
                  </a:lnTo>
                  <a:lnTo>
                    <a:pt x="160" y="140"/>
                  </a:lnTo>
                  <a:lnTo>
                    <a:pt x="160" y="134"/>
                  </a:lnTo>
                  <a:lnTo>
                    <a:pt x="164" y="128"/>
                  </a:lnTo>
                  <a:lnTo>
                    <a:pt x="168" y="122"/>
                  </a:lnTo>
                  <a:lnTo>
                    <a:pt x="170" y="116"/>
                  </a:lnTo>
                  <a:lnTo>
                    <a:pt x="170" y="114"/>
                  </a:lnTo>
                  <a:lnTo>
                    <a:pt x="172" y="108"/>
                  </a:lnTo>
                  <a:lnTo>
                    <a:pt x="174" y="102"/>
                  </a:lnTo>
                  <a:lnTo>
                    <a:pt x="180" y="98"/>
                  </a:lnTo>
                  <a:lnTo>
                    <a:pt x="186" y="94"/>
                  </a:lnTo>
                  <a:lnTo>
                    <a:pt x="190" y="86"/>
                  </a:lnTo>
                  <a:lnTo>
                    <a:pt x="196" y="86"/>
                  </a:lnTo>
                  <a:lnTo>
                    <a:pt x="202" y="84"/>
                  </a:lnTo>
                  <a:lnTo>
                    <a:pt x="208" y="80"/>
                  </a:lnTo>
                  <a:lnTo>
                    <a:pt x="214" y="76"/>
                  </a:lnTo>
                  <a:lnTo>
                    <a:pt x="220" y="72"/>
                  </a:lnTo>
                  <a:lnTo>
                    <a:pt x="226" y="68"/>
                  </a:lnTo>
                  <a:lnTo>
                    <a:pt x="230" y="62"/>
                  </a:lnTo>
                  <a:lnTo>
                    <a:pt x="232" y="56"/>
                  </a:lnTo>
                  <a:lnTo>
                    <a:pt x="234" y="50"/>
                  </a:lnTo>
                  <a:lnTo>
                    <a:pt x="236" y="44"/>
                  </a:lnTo>
                  <a:lnTo>
                    <a:pt x="238" y="38"/>
                  </a:lnTo>
                  <a:lnTo>
                    <a:pt x="240" y="32"/>
                  </a:lnTo>
                  <a:lnTo>
                    <a:pt x="242" y="30"/>
                  </a:lnTo>
                  <a:lnTo>
                    <a:pt x="246" y="24"/>
                  </a:lnTo>
                  <a:lnTo>
                    <a:pt x="248" y="18"/>
                  </a:lnTo>
                  <a:lnTo>
                    <a:pt x="250" y="12"/>
                  </a:lnTo>
                  <a:lnTo>
                    <a:pt x="252" y="6"/>
                  </a:lnTo>
                  <a:lnTo>
                    <a:pt x="254" y="0"/>
                  </a:lnTo>
                  <a:lnTo>
                    <a:pt x="262" y="0"/>
                  </a:lnTo>
                  <a:lnTo>
                    <a:pt x="266" y="0"/>
                  </a:lnTo>
                  <a:lnTo>
                    <a:pt x="268" y="0"/>
                  </a:lnTo>
                  <a:lnTo>
                    <a:pt x="272" y="0"/>
                  </a:lnTo>
                  <a:lnTo>
                    <a:pt x="274" y="0"/>
                  </a:lnTo>
                  <a:lnTo>
                    <a:pt x="280" y="0"/>
                  </a:lnTo>
                  <a:lnTo>
                    <a:pt x="286" y="0"/>
                  </a:lnTo>
                  <a:lnTo>
                    <a:pt x="292" y="0"/>
                  </a:lnTo>
                  <a:lnTo>
                    <a:pt x="298" y="0"/>
                  </a:lnTo>
                  <a:lnTo>
                    <a:pt x="304" y="0"/>
                  </a:lnTo>
                  <a:lnTo>
                    <a:pt x="310" y="0"/>
                  </a:lnTo>
                  <a:lnTo>
                    <a:pt x="316" y="0"/>
                  </a:lnTo>
                  <a:lnTo>
                    <a:pt x="322" y="0"/>
                  </a:lnTo>
                  <a:lnTo>
                    <a:pt x="328" y="0"/>
                  </a:lnTo>
                  <a:lnTo>
                    <a:pt x="334" y="0"/>
                  </a:lnTo>
                  <a:lnTo>
                    <a:pt x="340" y="0"/>
                  </a:lnTo>
                  <a:lnTo>
                    <a:pt x="346" y="0"/>
                  </a:lnTo>
                  <a:lnTo>
                    <a:pt x="352" y="0"/>
                  </a:lnTo>
                  <a:lnTo>
                    <a:pt x="358" y="0"/>
                  </a:lnTo>
                  <a:lnTo>
                    <a:pt x="364" y="0"/>
                  </a:lnTo>
                  <a:lnTo>
                    <a:pt x="370" y="0"/>
                  </a:lnTo>
                  <a:lnTo>
                    <a:pt x="376" y="0"/>
                  </a:lnTo>
                  <a:lnTo>
                    <a:pt x="380" y="0"/>
                  </a:lnTo>
                  <a:lnTo>
                    <a:pt x="388" y="0"/>
                  </a:lnTo>
                  <a:lnTo>
                    <a:pt x="392" y="0"/>
                  </a:lnTo>
                  <a:lnTo>
                    <a:pt x="398" y="0"/>
                  </a:lnTo>
                  <a:lnTo>
                    <a:pt x="404" y="0"/>
                  </a:lnTo>
                  <a:lnTo>
                    <a:pt x="410" y="0"/>
                  </a:lnTo>
                  <a:lnTo>
                    <a:pt x="416" y="0"/>
                  </a:lnTo>
                  <a:lnTo>
                    <a:pt x="422" y="0"/>
                  </a:lnTo>
                  <a:lnTo>
                    <a:pt x="428" y="0"/>
                  </a:lnTo>
                  <a:lnTo>
                    <a:pt x="434" y="0"/>
                  </a:lnTo>
                  <a:lnTo>
                    <a:pt x="440" y="0"/>
                  </a:lnTo>
                  <a:lnTo>
                    <a:pt x="442" y="0"/>
                  </a:lnTo>
                  <a:lnTo>
                    <a:pt x="448" y="0"/>
                  </a:lnTo>
                  <a:lnTo>
                    <a:pt x="454" y="0"/>
                  </a:lnTo>
                  <a:lnTo>
                    <a:pt x="460" y="0"/>
                  </a:lnTo>
                  <a:lnTo>
                    <a:pt x="466" y="0"/>
                  </a:lnTo>
                  <a:lnTo>
                    <a:pt x="472" y="0"/>
                  </a:lnTo>
                  <a:lnTo>
                    <a:pt x="478" y="0"/>
                  </a:lnTo>
                  <a:lnTo>
                    <a:pt x="484" y="0"/>
                  </a:lnTo>
                  <a:lnTo>
                    <a:pt x="490" y="0"/>
                  </a:lnTo>
                  <a:lnTo>
                    <a:pt x="496" y="0"/>
                  </a:lnTo>
                  <a:lnTo>
                    <a:pt x="502" y="0"/>
                  </a:lnTo>
                  <a:lnTo>
                    <a:pt x="506" y="0"/>
                  </a:lnTo>
                  <a:lnTo>
                    <a:pt x="508" y="0"/>
                  </a:lnTo>
                  <a:lnTo>
                    <a:pt x="516" y="0"/>
                  </a:lnTo>
                  <a:lnTo>
                    <a:pt x="520" y="0"/>
                  </a:lnTo>
                  <a:lnTo>
                    <a:pt x="520" y="2"/>
                  </a:lnTo>
                  <a:lnTo>
                    <a:pt x="520" y="6"/>
                  </a:lnTo>
                  <a:lnTo>
                    <a:pt x="520" y="12"/>
                  </a:lnTo>
                  <a:lnTo>
                    <a:pt x="520" y="20"/>
                  </a:lnTo>
                  <a:lnTo>
                    <a:pt x="520" y="26"/>
                  </a:lnTo>
                  <a:lnTo>
                    <a:pt x="520" y="34"/>
                  </a:lnTo>
                  <a:lnTo>
                    <a:pt x="520" y="40"/>
                  </a:lnTo>
                  <a:lnTo>
                    <a:pt x="520" y="46"/>
                  </a:lnTo>
                  <a:lnTo>
                    <a:pt x="518" y="54"/>
                  </a:lnTo>
                  <a:lnTo>
                    <a:pt x="518" y="60"/>
                  </a:lnTo>
                  <a:lnTo>
                    <a:pt x="518" y="68"/>
                  </a:lnTo>
                  <a:lnTo>
                    <a:pt x="518" y="74"/>
                  </a:lnTo>
                  <a:lnTo>
                    <a:pt x="518" y="82"/>
                  </a:lnTo>
                  <a:lnTo>
                    <a:pt x="518" y="88"/>
                  </a:lnTo>
                  <a:lnTo>
                    <a:pt x="516" y="96"/>
                  </a:lnTo>
                  <a:lnTo>
                    <a:pt x="516" y="102"/>
                  </a:lnTo>
                  <a:lnTo>
                    <a:pt x="516" y="110"/>
                  </a:lnTo>
                  <a:lnTo>
                    <a:pt x="516" y="116"/>
                  </a:lnTo>
                  <a:lnTo>
                    <a:pt x="508" y="116"/>
                  </a:lnTo>
                  <a:lnTo>
                    <a:pt x="502" y="116"/>
                  </a:lnTo>
                  <a:lnTo>
                    <a:pt x="494" y="116"/>
                  </a:lnTo>
                  <a:lnTo>
                    <a:pt x="486" y="116"/>
                  </a:lnTo>
                  <a:lnTo>
                    <a:pt x="480" y="116"/>
                  </a:lnTo>
                  <a:lnTo>
                    <a:pt x="474" y="116"/>
                  </a:lnTo>
                  <a:lnTo>
                    <a:pt x="468" y="116"/>
                  </a:lnTo>
                  <a:lnTo>
                    <a:pt x="462" y="116"/>
                  </a:lnTo>
                  <a:lnTo>
                    <a:pt x="456" y="116"/>
                  </a:lnTo>
                  <a:lnTo>
                    <a:pt x="452" y="116"/>
                  </a:lnTo>
                  <a:lnTo>
                    <a:pt x="444" y="116"/>
                  </a:lnTo>
                  <a:lnTo>
                    <a:pt x="440" y="116"/>
                  </a:lnTo>
                  <a:lnTo>
                    <a:pt x="438" y="116"/>
                  </a:lnTo>
                  <a:lnTo>
                    <a:pt x="426" y="116"/>
                  </a:lnTo>
                  <a:lnTo>
                    <a:pt x="420" y="116"/>
                  </a:lnTo>
                  <a:lnTo>
                    <a:pt x="412" y="116"/>
                  </a:lnTo>
                  <a:lnTo>
                    <a:pt x="402" y="116"/>
                  </a:lnTo>
                  <a:lnTo>
                    <a:pt x="394" y="116"/>
                  </a:lnTo>
                  <a:lnTo>
                    <a:pt x="386" y="116"/>
                  </a:lnTo>
                  <a:lnTo>
                    <a:pt x="378" y="116"/>
                  </a:lnTo>
                  <a:lnTo>
                    <a:pt x="368" y="116"/>
                  </a:lnTo>
                  <a:lnTo>
                    <a:pt x="362" y="116"/>
                  </a:lnTo>
                  <a:lnTo>
                    <a:pt x="356" y="116"/>
                  </a:lnTo>
                  <a:lnTo>
                    <a:pt x="350" y="116"/>
                  </a:lnTo>
                  <a:lnTo>
                    <a:pt x="340" y="116"/>
                  </a:lnTo>
                  <a:lnTo>
                    <a:pt x="338" y="116"/>
                  </a:lnTo>
                  <a:lnTo>
                    <a:pt x="330" y="116"/>
                  </a:lnTo>
                  <a:lnTo>
                    <a:pt x="322" y="116"/>
                  </a:lnTo>
                  <a:lnTo>
                    <a:pt x="318" y="116"/>
                  </a:lnTo>
                  <a:lnTo>
                    <a:pt x="318" y="126"/>
                  </a:lnTo>
                  <a:lnTo>
                    <a:pt x="318" y="134"/>
                  </a:lnTo>
                  <a:lnTo>
                    <a:pt x="316" y="148"/>
                  </a:lnTo>
                  <a:lnTo>
                    <a:pt x="316" y="156"/>
                  </a:lnTo>
                  <a:lnTo>
                    <a:pt x="316" y="164"/>
                  </a:lnTo>
                  <a:lnTo>
                    <a:pt x="316" y="174"/>
                  </a:lnTo>
                  <a:lnTo>
                    <a:pt x="316" y="186"/>
                  </a:lnTo>
                  <a:lnTo>
                    <a:pt x="316" y="192"/>
                  </a:lnTo>
                  <a:lnTo>
                    <a:pt x="314" y="200"/>
                  </a:lnTo>
                  <a:lnTo>
                    <a:pt x="314" y="204"/>
                  </a:lnTo>
                  <a:lnTo>
                    <a:pt x="314" y="212"/>
                  </a:lnTo>
                  <a:lnTo>
                    <a:pt x="314" y="218"/>
                  </a:lnTo>
                  <a:lnTo>
                    <a:pt x="314" y="224"/>
                  </a:lnTo>
                  <a:lnTo>
                    <a:pt x="314" y="232"/>
                  </a:lnTo>
                  <a:lnTo>
                    <a:pt x="312" y="244"/>
                  </a:lnTo>
                  <a:lnTo>
                    <a:pt x="312" y="254"/>
                  </a:lnTo>
                  <a:lnTo>
                    <a:pt x="312" y="260"/>
                  </a:lnTo>
                  <a:lnTo>
                    <a:pt x="312" y="266"/>
                  </a:lnTo>
                  <a:lnTo>
                    <a:pt x="312" y="276"/>
                  </a:lnTo>
                  <a:lnTo>
                    <a:pt x="312" y="284"/>
                  </a:lnTo>
                  <a:lnTo>
                    <a:pt x="312" y="292"/>
                  </a:lnTo>
                  <a:lnTo>
                    <a:pt x="308" y="294"/>
                  </a:lnTo>
                  <a:lnTo>
                    <a:pt x="300" y="296"/>
                  </a:lnTo>
                  <a:lnTo>
                    <a:pt x="296" y="298"/>
                  </a:lnTo>
                  <a:lnTo>
                    <a:pt x="288" y="302"/>
                  </a:lnTo>
                  <a:lnTo>
                    <a:pt x="282" y="302"/>
                  </a:lnTo>
                  <a:lnTo>
                    <a:pt x="274" y="304"/>
                  </a:lnTo>
                  <a:lnTo>
                    <a:pt x="274" y="306"/>
                  </a:lnTo>
                  <a:lnTo>
                    <a:pt x="268" y="310"/>
                  </a:lnTo>
                  <a:lnTo>
                    <a:pt x="262" y="314"/>
                  </a:lnTo>
                  <a:lnTo>
                    <a:pt x="254" y="318"/>
                  </a:lnTo>
                  <a:lnTo>
                    <a:pt x="248" y="326"/>
                  </a:lnTo>
                  <a:lnTo>
                    <a:pt x="244" y="330"/>
                  </a:lnTo>
                  <a:lnTo>
                    <a:pt x="242" y="338"/>
                  </a:lnTo>
                  <a:lnTo>
                    <a:pt x="242" y="344"/>
                  </a:lnTo>
                  <a:lnTo>
                    <a:pt x="242" y="348"/>
                  </a:lnTo>
                  <a:lnTo>
                    <a:pt x="244" y="354"/>
                  </a:lnTo>
                  <a:lnTo>
                    <a:pt x="244" y="362"/>
                  </a:lnTo>
                  <a:lnTo>
                    <a:pt x="244" y="368"/>
                  </a:lnTo>
                  <a:lnTo>
                    <a:pt x="244" y="372"/>
                  </a:lnTo>
                  <a:lnTo>
                    <a:pt x="244" y="378"/>
                  </a:lnTo>
                  <a:lnTo>
                    <a:pt x="244" y="384"/>
                  </a:lnTo>
                  <a:lnTo>
                    <a:pt x="244" y="390"/>
                  </a:lnTo>
                  <a:lnTo>
                    <a:pt x="244" y="396"/>
                  </a:lnTo>
                  <a:lnTo>
                    <a:pt x="246" y="402"/>
                  </a:lnTo>
                  <a:lnTo>
                    <a:pt x="246" y="408"/>
                  </a:lnTo>
                  <a:lnTo>
                    <a:pt x="246" y="414"/>
                  </a:lnTo>
                  <a:lnTo>
                    <a:pt x="246" y="420"/>
                  </a:lnTo>
                  <a:lnTo>
                    <a:pt x="246" y="426"/>
                  </a:lnTo>
                  <a:lnTo>
                    <a:pt x="246" y="428"/>
                  </a:lnTo>
                  <a:lnTo>
                    <a:pt x="246" y="432"/>
                  </a:lnTo>
                  <a:lnTo>
                    <a:pt x="246" y="438"/>
                  </a:lnTo>
                  <a:lnTo>
                    <a:pt x="240" y="438"/>
                  </a:lnTo>
                  <a:lnTo>
                    <a:pt x="234" y="438"/>
                  </a:lnTo>
                  <a:lnTo>
                    <a:pt x="228" y="438"/>
                  </a:lnTo>
                  <a:lnTo>
                    <a:pt x="220" y="438"/>
                  </a:lnTo>
                  <a:lnTo>
                    <a:pt x="214" y="438"/>
                  </a:lnTo>
                  <a:lnTo>
                    <a:pt x="206" y="438"/>
                  </a:lnTo>
                  <a:lnTo>
                    <a:pt x="200" y="438"/>
                  </a:lnTo>
                  <a:lnTo>
                    <a:pt x="194" y="438"/>
                  </a:lnTo>
                  <a:lnTo>
                    <a:pt x="188" y="438"/>
                  </a:lnTo>
                  <a:lnTo>
                    <a:pt x="180" y="438"/>
                  </a:lnTo>
                  <a:lnTo>
                    <a:pt x="174" y="438"/>
                  </a:lnTo>
                  <a:lnTo>
                    <a:pt x="168" y="438"/>
                  </a:lnTo>
                  <a:lnTo>
                    <a:pt x="164" y="438"/>
                  </a:lnTo>
                  <a:lnTo>
                    <a:pt x="158" y="438"/>
                  </a:lnTo>
                  <a:lnTo>
                    <a:pt x="152" y="438"/>
                  </a:lnTo>
                  <a:lnTo>
                    <a:pt x="146" y="438"/>
                  </a:lnTo>
                  <a:lnTo>
                    <a:pt x="138" y="438"/>
                  </a:lnTo>
                  <a:lnTo>
                    <a:pt x="130" y="438"/>
                  </a:lnTo>
                  <a:lnTo>
                    <a:pt x="124" y="438"/>
                  </a:lnTo>
                  <a:lnTo>
                    <a:pt x="122" y="438"/>
                  </a:lnTo>
                  <a:lnTo>
                    <a:pt x="114" y="438"/>
                  </a:lnTo>
                  <a:lnTo>
                    <a:pt x="108" y="438"/>
                  </a:lnTo>
                  <a:lnTo>
                    <a:pt x="102" y="438"/>
                  </a:lnTo>
                  <a:lnTo>
                    <a:pt x="96" y="438"/>
                  </a:lnTo>
                  <a:lnTo>
                    <a:pt x="88" y="438"/>
                  </a:lnTo>
                  <a:lnTo>
                    <a:pt x="82" y="438"/>
                  </a:lnTo>
                  <a:lnTo>
                    <a:pt x="80" y="438"/>
                  </a:lnTo>
                  <a:lnTo>
                    <a:pt x="74" y="438"/>
                  </a:lnTo>
                  <a:lnTo>
                    <a:pt x="68" y="438"/>
                  </a:lnTo>
                  <a:lnTo>
                    <a:pt x="62" y="438"/>
                  </a:lnTo>
                  <a:lnTo>
                    <a:pt x="54" y="438"/>
                  </a:lnTo>
                  <a:lnTo>
                    <a:pt x="48" y="438"/>
                  </a:lnTo>
                  <a:lnTo>
                    <a:pt x="40" y="438"/>
                  </a:lnTo>
                  <a:lnTo>
                    <a:pt x="34" y="438"/>
                  </a:lnTo>
                  <a:lnTo>
                    <a:pt x="28" y="438"/>
                  </a:lnTo>
                  <a:lnTo>
                    <a:pt x="22" y="438"/>
                  </a:lnTo>
                  <a:lnTo>
                    <a:pt x="14" y="438"/>
                  </a:lnTo>
                  <a:lnTo>
                    <a:pt x="8" y="442"/>
                  </a:lnTo>
                  <a:lnTo>
                    <a:pt x="8" y="448"/>
                  </a:lnTo>
                  <a:lnTo>
                    <a:pt x="6" y="454"/>
                  </a:lnTo>
                  <a:lnTo>
                    <a:pt x="4" y="460"/>
                  </a:lnTo>
                  <a:lnTo>
                    <a:pt x="2" y="466"/>
                  </a:lnTo>
                  <a:lnTo>
                    <a:pt x="2" y="472"/>
                  </a:lnTo>
                  <a:lnTo>
                    <a:pt x="2" y="4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1" name="Freeform 218"/>
            <p:cNvSpPr>
              <a:spLocks/>
            </p:cNvSpPr>
            <p:nvPr/>
          </p:nvSpPr>
          <p:spPr bwMode="auto">
            <a:xfrm>
              <a:off x="4565650" y="3578225"/>
              <a:ext cx="258763" cy="455613"/>
            </a:xfrm>
            <a:custGeom>
              <a:avLst/>
              <a:gdLst>
                <a:gd name="T0" fmla="*/ 2147483647 w 636"/>
                <a:gd name="T1" fmla="*/ 2147483647 h 1106"/>
                <a:gd name="T2" fmla="*/ 2147483647 w 636"/>
                <a:gd name="T3" fmla="*/ 2147483647 h 1106"/>
                <a:gd name="T4" fmla="*/ 2147483647 w 636"/>
                <a:gd name="T5" fmla="*/ 2147483647 h 1106"/>
                <a:gd name="T6" fmla="*/ 2147483647 w 636"/>
                <a:gd name="T7" fmla="*/ 2147483647 h 1106"/>
                <a:gd name="T8" fmla="*/ 2147483647 w 636"/>
                <a:gd name="T9" fmla="*/ 2147483647 h 1106"/>
                <a:gd name="T10" fmla="*/ 2147483647 w 636"/>
                <a:gd name="T11" fmla="*/ 2147483647 h 1106"/>
                <a:gd name="T12" fmla="*/ 2147483647 w 636"/>
                <a:gd name="T13" fmla="*/ 2147483647 h 1106"/>
                <a:gd name="T14" fmla="*/ 2147483647 w 636"/>
                <a:gd name="T15" fmla="*/ 2147483647 h 1106"/>
                <a:gd name="T16" fmla="*/ 2147483647 w 636"/>
                <a:gd name="T17" fmla="*/ 2147483647 h 1106"/>
                <a:gd name="T18" fmla="*/ 2147483647 w 636"/>
                <a:gd name="T19" fmla="*/ 2147483647 h 1106"/>
                <a:gd name="T20" fmla="*/ 2147483647 w 636"/>
                <a:gd name="T21" fmla="*/ 2147483647 h 1106"/>
                <a:gd name="T22" fmla="*/ 2147483647 w 636"/>
                <a:gd name="T23" fmla="*/ 2147483647 h 1106"/>
                <a:gd name="T24" fmla="*/ 2147483647 w 636"/>
                <a:gd name="T25" fmla="*/ 2147483647 h 1106"/>
                <a:gd name="T26" fmla="*/ 2147483647 w 636"/>
                <a:gd name="T27" fmla="*/ 2147483647 h 1106"/>
                <a:gd name="T28" fmla="*/ 2147483647 w 636"/>
                <a:gd name="T29" fmla="*/ 2147483647 h 1106"/>
                <a:gd name="T30" fmla="*/ 2147483647 w 636"/>
                <a:gd name="T31" fmla="*/ 2147483647 h 1106"/>
                <a:gd name="T32" fmla="*/ 2147483647 w 636"/>
                <a:gd name="T33" fmla="*/ 2147483647 h 1106"/>
                <a:gd name="T34" fmla="*/ 2147483647 w 636"/>
                <a:gd name="T35" fmla="*/ 2147483647 h 1106"/>
                <a:gd name="T36" fmla="*/ 2147483647 w 636"/>
                <a:gd name="T37" fmla="*/ 2147483647 h 1106"/>
                <a:gd name="T38" fmla="*/ 2147483647 w 636"/>
                <a:gd name="T39" fmla="*/ 2147483647 h 1106"/>
                <a:gd name="T40" fmla="*/ 2147483647 w 636"/>
                <a:gd name="T41" fmla="*/ 2147483647 h 1106"/>
                <a:gd name="T42" fmla="*/ 2147483647 w 636"/>
                <a:gd name="T43" fmla="*/ 2147483647 h 1106"/>
                <a:gd name="T44" fmla="*/ 2147483647 w 636"/>
                <a:gd name="T45" fmla="*/ 2147483647 h 1106"/>
                <a:gd name="T46" fmla="*/ 2147483647 w 636"/>
                <a:gd name="T47" fmla="*/ 2147483647 h 1106"/>
                <a:gd name="T48" fmla="*/ 2147483647 w 636"/>
                <a:gd name="T49" fmla="*/ 2147483647 h 1106"/>
                <a:gd name="T50" fmla="*/ 2147483647 w 636"/>
                <a:gd name="T51" fmla="*/ 2147483647 h 1106"/>
                <a:gd name="T52" fmla="*/ 2147483647 w 636"/>
                <a:gd name="T53" fmla="*/ 2147483647 h 1106"/>
                <a:gd name="T54" fmla="*/ 2147483647 w 636"/>
                <a:gd name="T55" fmla="*/ 2147483647 h 1106"/>
                <a:gd name="T56" fmla="*/ 2147483647 w 636"/>
                <a:gd name="T57" fmla="*/ 2147483647 h 1106"/>
                <a:gd name="T58" fmla="*/ 2147483647 w 636"/>
                <a:gd name="T59" fmla="*/ 2147483647 h 1106"/>
                <a:gd name="T60" fmla="*/ 2147483647 w 636"/>
                <a:gd name="T61" fmla="*/ 2147483647 h 1106"/>
                <a:gd name="T62" fmla="*/ 2147483647 w 636"/>
                <a:gd name="T63" fmla="*/ 2147483647 h 1106"/>
                <a:gd name="T64" fmla="*/ 2147483647 w 636"/>
                <a:gd name="T65" fmla="*/ 2147483647 h 1106"/>
                <a:gd name="T66" fmla="*/ 2147483647 w 636"/>
                <a:gd name="T67" fmla="*/ 2147483647 h 1106"/>
                <a:gd name="T68" fmla="*/ 2147483647 w 636"/>
                <a:gd name="T69" fmla="*/ 2147483647 h 1106"/>
                <a:gd name="T70" fmla="*/ 2147483647 w 636"/>
                <a:gd name="T71" fmla="*/ 2147483647 h 1106"/>
                <a:gd name="T72" fmla="*/ 2147483647 w 636"/>
                <a:gd name="T73" fmla="*/ 2147483647 h 1106"/>
                <a:gd name="T74" fmla="*/ 2147483647 w 636"/>
                <a:gd name="T75" fmla="*/ 2147483647 h 1106"/>
                <a:gd name="T76" fmla="*/ 2147483647 w 636"/>
                <a:gd name="T77" fmla="*/ 2147483647 h 1106"/>
                <a:gd name="T78" fmla="*/ 2147483647 w 636"/>
                <a:gd name="T79" fmla="*/ 2147483647 h 1106"/>
                <a:gd name="T80" fmla="*/ 2147483647 w 636"/>
                <a:gd name="T81" fmla="*/ 2147483647 h 1106"/>
                <a:gd name="T82" fmla="*/ 2147483647 w 636"/>
                <a:gd name="T83" fmla="*/ 2147483647 h 1106"/>
                <a:gd name="T84" fmla="*/ 2147483647 w 636"/>
                <a:gd name="T85" fmla="*/ 2147483647 h 1106"/>
                <a:gd name="T86" fmla="*/ 2147483647 w 636"/>
                <a:gd name="T87" fmla="*/ 2147483647 h 1106"/>
                <a:gd name="T88" fmla="*/ 2147483647 w 636"/>
                <a:gd name="T89" fmla="*/ 2147483647 h 1106"/>
                <a:gd name="T90" fmla="*/ 2147483647 w 636"/>
                <a:gd name="T91" fmla="*/ 2147483647 h 1106"/>
                <a:gd name="T92" fmla="*/ 2147483647 w 636"/>
                <a:gd name="T93" fmla="*/ 2147483647 h 1106"/>
                <a:gd name="T94" fmla="*/ 2147483647 w 636"/>
                <a:gd name="T95" fmla="*/ 2147483647 h 1106"/>
                <a:gd name="T96" fmla="*/ 2147483647 w 636"/>
                <a:gd name="T97" fmla="*/ 2147483647 h 1106"/>
                <a:gd name="T98" fmla="*/ 2147483647 w 636"/>
                <a:gd name="T99" fmla="*/ 2147483647 h 1106"/>
                <a:gd name="T100" fmla="*/ 2147483647 w 636"/>
                <a:gd name="T101" fmla="*/ 2147483647 h 1106"/>
                <a:gd name="T102" fmla="*/ 2147483647 w 636"/>
                <a:gd name="T103" fmla="*/ 2147483647 h 1106"/>
                <a:gd name="T104" fmla="*/ 2147483647 w 636"/>
                <a:gd name="T105" fmla="*/ 2147483647 h 1106"/>
                <a:gd name="T106" fmla="*/ 2147483647 w 636"/>
                <a:gd name="T107" fmla="*/ 2147483647 h 1106"/>
                <a:gd name="T108" fmla="*/ 2147483647 w 636"/>
                <a:gd name="T109" fmla="*/ 2147483647 h 1106"/>
                <a:gd name="T110" fmla="*/ 2147483647 w 636"/>
                <a:gd name="T111" fmla="*/ 2147483647 h 1106"/>
                <a:gd name="T112" fmla="*/ 2147483647 w 636"/>
                <a:gd name="T113" fmla="*/ 2147483647 h 1106"/>
                <a:gd name="T114" fmla="*/ 2147483647 w 636"/>
                <a:gd name="T115" fmla="*/ 2147483647 h 1106"/>
                <a:gd name="T116" fmla="*/ 2147483647 w 636"/>
                <a:gd name="T117" fmla="*/ 2147483647 h 1106"/>
                <a:gd name="T118" fmla="*/ 2147483647 w 636"/>
                <a:gd name="T119" fmla="*/ 2147483647 h 1106"/>
                <a:gd name="T120" fmla="*/ 2147483647 w 636"/>
                <a:gd name="T121" fmla="*/ 2147483647 h 110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6"/>
                <a:gd name="T184" fmla="*/ 0 h 1106"/>
                <a:gd name="T185" fmla="*/ 636 w 636"/>
                <a:gd name="T186" fmla="*/ 1106 h 110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6" h="1106">
                  <a:moveTo>
                    <a:pt x="0" y="626"/>
                  </a:moveTo>
                  <a:lnTo>
                    <a:pt x="4" y="620"/>
                  </a:lnTo>
                  <a:lnTo>
                    <a:pt x="10" y="618"/>
                  </a:lnTo>
                  <a:lnTo>
                    <a:pt x="14" y="612"/>
                  </a:lnTo>
                  <a:lnTo>
                    <a:pt x="16" y="606"/>
                  </a:lnTo>
                  <a:lnTo>
                    <a:pt x="20" y="604"/>
                  </a:lnTo>
                  <a:lnTo>
                    <a:pt x="18" y="598"/>
                  </a:lnTo>
                  <a:lnTo>
                    <a:pt x="20" y="592"/>
                  </a:lnTo>
                  <a:lnTo>
                    <a:pt x="22" y="586"/>
                  </a:lnTo>
                  <a:lnTo>
                    <a:pt x="26" y="580"/>
                  </a:lnTo>
                  <a:lnTo>
                    <a:pt x="32" y="572"/>
                  </a:lnTo>
                  <a:lnTo>
                    <a:pt x="34" y="566"/>
                  </a:lnTo>
                  <a:lnTo>
                    <a:pt x="38" y="560"/>
                  </a:lnTo>
                  <a:lnTo>
                    <a:pt x="42" y="554"/>
                  </a:lnTo>
                  <a:lnTo>
                    <a:pt x="46" y="546"/>
                  </a:lnTo>
                  <a:lnTo>
                    <a:pt x="50" y="540"/>
                  </a:lnTo>
                  <a:lnTo>
                    <a:pt x="56" y="534"/>
                  </a:lnTo>
                  <a:lnTo>
                    <a:pt x="60" y="528"/>
                  </a:lnTo>
                  <a:lnTo>
                    <a:pt x="66" y="522"/>
                  </a:lnTo>
                  <a:lnTo>
                    <a:pt x="70" y="514"/>
                  </a:lnTo>
                  <a:lnTo>
                    <a:pt x="76" y="508"/>
                  </a:lnTo>
                  <a:lnTo>
                    <a:pt x="82" y="502"/>
                  </a:lnTo>
                  <a:lnTo>
                    <a:pt x="88" y="496"/>
                  </a:lnTo>
                  <a:lnTo>
                    <a:pt x="92" y="488"/>
                  </a:lnTo>
                  <a:lnTo>
                    <a:pt x="98" y="484"/>
                  </a:lnTo>
                  <a:lnTo>
                    <a:pt x="102" y="476"/>
                  </a:lnTo>
                  <a:lnTo>
                    <a:pt x="108" y="470"/>
                  </a:lnTo>
                  <a:lnTo>
                    <a:pt x="114" y="464"/>
                  </a:lnTo>
                  <a:lnTo>
                    <a:pt x="118" y="458"/>
                  </a:lnTo>
                  <a:lnTo>
                    <a:pt x="122" y="454"/>
                  </a:lnTo>
                  <a:lnTo>
                    <a:pt x="122" y="448"/>
                  </a:lnTo>
                  <a:lnTo>
                    <a:pt x="122" y="442"/>
                  </a:lnTo>
                  <a:lnTo>
                    <a:pt x="122" y="436"/>
                  </a:lnTo>
                  <a:lnTo>
                    <a:pt x="122" y="430"/>
                  </a:lnTo>
                  <a:lnTo>
                    <a:pt x="124" y="424"/>
                  </a:lnTo>
                  <a:lnTo>
                    <a:pt x="124" y="418"/>
                  </a:lnTo>
                  <a:lnTo>
                    <a:pt x="124" y="412"/>
                  </a:lnTo>
                  <a:lnTo>
                    <a:pt x="124" y="404"/>
                  </a:lnTo>
                  <a:lnTo>
                    <a:pt x="124" y="398"/>
                  </a:lnTo>
                  <a:lnTo>
                    <a:pt x="124" y="390"/>
                  </a:lnTo>
                  <a:lnTo>
                    <a:pt x="126" y="384"/>
                  </a:lnTo>
                  <a:lnTo>
                    <a:pt x="126" y="378"/>
                  </a:lnTo>
                  <a:lnTo>
                    <a:pt x="126" y="372"/>
                  </a:lnTo>
                  <a:lnTo>
                    <a:pt x="126" y="364"/>
                  </a:lnTo>
                  <a:lnTo>
                    <a:pt x="126" y="358"/>
                  </a:lnTo>
                  <a:lnTo>
                    <a:pt x="126" y="352"/>
                  </a:lnTo>
                  <a:lnTo>
                    <a:pt x="126" y="344"/>
                  </a:lnTo>
                  <a:lnTo>
                    <a:pt x="126" y="338"/>
                  </a:lnTo>
                  <a:lnTo>
                    <a:pt x="126" y="332"/>
                  </a:lnTo>
                  <a:lnTo>
                    <a:pt x="128" y="324"/>
                  </a:lnTo>
                  <a:lnTo>
                    <a:pt x="128" y="318"/>
                  </a:lnTo>
                  <a:lnTo>
                    <a:pt x="128" y="312"/>
                  </a:lnTo>
                  <a:lnTo>
                    <a:pt x="130" y="306"/>
                  </a:lnTo>
                  <a:lnTo>
                    <a:pt x="130" y="298"/>
                  </a:lnTo>
                  <a:lnTo>
                    <a:pt x="130" y="292"/>
                  </a:lnTo>
                  <a:lnTo>
                    <a:pt x="132" y="286"/>
                  </a:lnTo>
                  <a:lnTo>
                    <a:pt x="132" y="280"/>
                  </a:lnTo>
                  <a:lnTo>
                    <a:pt x="132" y="272"/>
                  </a:lnTo>
                  <a:lnTo>
                    <a:pt x="134" y="266"/>
                  </a:lnTo>
                  <a:lnTo>
                    <a:pt x="134" y="258"/>
                  </a:lnTo>
                  <a:lnTo>
                    <a:pt x="134" y="252"/>
                  </a:lnTo>
                  <a:lnTo>
                    <a:pt x="136" y="246"/>
                  </a:lnTo>
                  <a:lnTo>
                    <a:pt x="138" y="240"/>
                  </a:lnTo>
                  <a:lnTo>
                    <a:pt x="138" y="238"/>
                  </a:lnTo>
                  <a:lnTo>
                    <a:pt x="142" y="232"/>
                  </a:lnTo>
                  <a:lnTo>
                    <a:pt x="144" y="226"/>
                  </a:lnTo>
                  <a:lnTo>
                    <a:pt x="148" y="220"/>
                  </a:lnTo>
                  <a:lnTo>
                    <a:pt x="148" y="214"/>
                  </a:lnTo>
                  <a:lnTo>
                    <a:pt x="144" y="208"/>
                  </a:lnTo>
                  <a:lnTo>
                    <a:pt x="140" y="204"/>
                  </a:lnTo>
                  <a:lnTo>
                    <a:pt x="136" y="198"/>
                  </a:lnTo>
                  <a:lnTo>
                    <a:pt x="130" y="190"/>
                  </a:lnTo>
                  <a:lnTo>
                    <a:pt x="124" y="186"/>
                  </a:lnTo>
                  <a:lnTo>
                    <a:pt x="124" y="180"/>
                  </a:lnTo>
                  <a:lnTo>
                    <a:pt x="126" y="174"/>
                  </a:lnTo>
                  <a:lnTo>
                    <a:pt x="124" y="168"/>
                  </a:lnTo>
                  <a:lnTo>
                    <a:pt x="120" y="162"/>
                  </a:lnTo>
                  <a:lnTo>
                    <a:pt x="118" y="156"/>
                  </a:lnTo>
                  <a:lnTo>
                    <a:pt x="114" y="150"/>
                  </a:lnTo>
                  <a:lnTo>
                    <a:pt x="110" y="144"/>
                  </a:lnTo>
                  <a:lnTo>
                    <a:pt x="104" y="138"/>
                  </a:lnTo>
                  <a:lnTo>
                    <a:pt x="102" y="132"/>
                  </a:lnTo>
                  <a:lnTo>
                    <a:pt x="102" y="126"/>
                  </a:lnTo>
                  <a:lnTo>
                    <a:pt x="102" y="118"/>
                  </a:lnTo>
                  <a:lnTo>
                    <a:pt x="102" y="112"/>
                  </a:lnTo>
                  <a:lnTo>
                    <a:pt x="100" y="106"/>
                  </a:lnTo>
                  <a:lnTo>
                    <a:pt x="100" y="100"/>
                  </a:lnTo>
                  <a:lnTo>
                    <a:pt x="100" y="94"/>
                  </a:lnTo>
                  <a:lnTo>
                    <a:pt x="98" y="86"/>
                  </a:lnTo>
                  <a:lnTo>
                    <a:pt x="98" y="84"/>
                  </a:lnTo>
                  <a:lnTo>
                    <a:pt x="96" y="76"/>
                  </a:lnTo>
                  <a:lnTo>
                    <a:pt x="96" y="70"/>
                  </a:lnTo>
                  <a:lnTo>
                    <a:pt x="94" y="64"/>
                  </a:lnTo>
                  <a:lnTo>
                    <a:pt x="94" y="58"/>
                  </a:lnTo>
                  <a:lnTo>
                    <a:pt x="92" y="52"/>
                  </a:lnTo>
                  <a:lnTo>
                    <a:pt x="92" y="46"/>
                  </a:lnTo>
                  <a:lnTo>
                    <a:pt x="90" y="38"/>
                  </a:lnTo>
                  <a:lnTo>
                    <a:pt x="88" y="32"/>
                  </a:lnTo>
                  <a:lnTo>
                    <a:pt x="96" y="28"/>
                  </a:lnTo>
                  <a:lnTo>
                    <a:pt x="108" y="22"/>
                  </a:lnTo>
                  <a:lnTo>
                    <a:pt x="114" y="18"/>
                  </a:lnTo>
                  <a:lnTo>
                    <a:pt x="124" y="14"/>
                  </a:lnTo>
                  <a:lnTo>
                    <a:pt x="130" y="10"/>
                  </a:lnTo>
                  <a:lnTo>
                    <a:pt x="134" y="8"/>
                  </a:lnTo>
                  <a:lnTo>
                    <a:pt x="148" y="0"/>
                  </a:lnTo>
                  <a:lnTo>
                    <a:pt x="154" y="4"/>
                  </a:lnTo>
                  <a:lnTo>
                    <a:pt x="162" y="8"/>
                  </a:lnTo>
                  <a:lnTo>
                    <a:pt x="168" y="12"/>
                  </a:lnTo>
                  <a:lnTo>
                    <a:pt x="178" y="16"/>
                  </a:lnTo>
                  <a:lnTo>
                    <a:pt x="186" y="20"/>
                  </a:lnTo>
                  <a:lnTo>
                    <a:pt x="192" y="24"/>
                  </a:lnTo>
                  <a:lnTo>
                    <a:pt x="200" y="28"/>
                  </a:lnTo>
                  <a:lnTo>
                    <a:pt x="206" y="32"/>
                  </a:lnTo>
                  <a:lnTo>
                    <a:pt x="214" y="36"/>
                  </a:lnTo>
                  <a:lnTo>
                    <a:pt x="222" y="40"/>
                  </a:lnTo>
                  <a:lnTo>
                    <a:pt x="230" y="44"/>
                  </a:lnTo>
                  <a:lnTo>
                    <a:pt x="238" y="48"/>
                  </a:lnTo>
                  <a:lnTo>
                    <a:pt x="244" y="52"/>
                  </a:lnTo>
                  <a:lnTo>
                    <a:pt x="248" y="54"/>
                  </a:lnTo>
                  <a:lnTo>
                    <a:pt x="250" y="56"/>
                  </a:lnTo>
                  <a:lnTo>
                    <a:pt x="268" y="66"/>
                  </a:lnTo>
                  <a:lnTo>
                    <a:pt x="290" y="76"/>
                  </a:lnTo>
                  <a:lnTo>
                    <a:pt x="298" y="82"/>
                  </a:lnTo>
                  <a:lnTo>
                    <a:pt x="314" y="90"/>
                  </a:lnTo>
                  <a:lnTo>
                    <a:pt x="328" y="98"/>
                  </a:lnTo>
                  <a:lnTo>
                    <a:pt x="346" y="108"/>
                  </a:lnTo>
                  <a:lnTo>
                    <a:pt x="358" y="114"/>
                  </a:lnTo>
                  <a:lnTo>
                    <a:pt x="366" y="118"/>
                  </a:lnTo>
                  <a:lnTo>
                    <a:pt x="382" y="128"/>
                  </a:lnTo>
                  <a:lnTo>
                    <a:pt x="388" y="132"/>
                  </a:lnTo>
                  <a:lnTo>
                    <a:pt x="396" y="136"/>
                  </a:lnTo>
                  <a:lnTo>
                    <a:pt x="414" y="146"/>
                  </a:lnTo>
                  <a:lnTo>
                    <a:pt x="448" y="166"/>
                  </a:lnTo>
                  <a:lnTo>
                    <a:pt x="456" y="170"/>
                  </a:lnTo>
                  <a:lnTo>
                    <a:pt x="472" y="180"/>
                  </a:lnTo>
                  <a:lnTo>
                    <a:pt x="474" y="180"/>
                  </a:lnTo>
                  <a:lnTo>
                    <a:pt x="496" y="194"/>
                  </a:lnTo>
                  <a:lnTo>
                    <a:pt x="510" y="202"/>
                  </a:lnTo>
                  <a:lnTo>
                    <a:pt x="530" y="212"/>
                  </a:lnTo>
                  <a:lnTo>
                    <a:pt x="540" y="220"/>
                  </a:lnTo>
                  <a:lnTo>
                    <a:pt x="570" y="238"/>
                  </a:lnTo>
                  <a:lnTo>
                    <a:pt x="574" y="240"/>
                  </a:lnTo>
                  <a:lnTo>
                    <a:pt x="598" y="254"/>
                  </a:lnTo>
                  <a:lnTo>
                    <a:pt x="632" y="274"/>
                  </a:lnTo>
                  <a:lnTo>
                    <a:pt x="632" y="276"/>
                  </a:lnTo>
                  <a:lnTo>
                    <a:pt x="632" y="284"/>
                  </a:lnTo>
                  <a:lnTo>
                    <a:pt x="632" y="292"/>
                  </a:lnTo>
                  <a:lnTo>
                    <a:pt x="632" y="302"/>
                  </a:lnTo>
                  <a:lnTo>
                    <a:pt x="632" y="308"/>
                  </a:lnTo>
                  <a:lnTo>
                    <a:pt x="632" y="318"/>
                  </a:lnTo>
                  <a:lnTo>
                    <a:pt x="632" y="326"/>
                  </a:lnTo>
                  <a:lnTo>
                    <a:pt x="634" y="332"/>
                  </a:lnTo>
                  <a:lnTo>
                    <a:pt x="634" y="338"/>
                  </a:lnTo>
                  <a:lnTo>
                    <a:pt x="634" y="346"/>
                  </a:lnTo>
                  <a:lnTo>
                    <a:pt x="634" y="354"/>
                  </a:lnTo>
                  <a:lnTo>
                    <a:pt x="634" y="362"/>
                  </a:lnTo>
                  <a:lnTo>
                    <a:pt x="634" y="376"/>
                  </a:lnTo>
                  <a:lnTo>
                    <a:pt x="634" y="382"/>
                  </a:lnTo>
                  <a:lnTo>
                    <a:pt x="634" y="390"/>
                  </a:lnTo>
                  <a:lnTo>
                    <a:pt x="634" y="398"/>
                  </a:lnTo>
                  <a:lnTo>
                    <a:pt x="634" y="406"/>
                  </a:lnTo>
                  <a:lnTo>
                    <a:pt x="634" y="412"/>
                  </a:lnTo>
                  <a:lnTo>
                    <a:pt x="634" y="422"/>
                  </a:lnTo>
                  <a:lnTo>
                    <a:pt x="634" y="428"/>
                  </a:lnTo>
                  <a:lnTo>
                    <a:pt x="634" y="438"/>
                  </a:lnTo>
                  <a:lnTo>
                    <a:pt x="636" y="448"/>
                  </a:lnTo>
                  <a:lnTo>
                    <a:pt x="636" y="458"/>
                  </a:lnTo>
                  <a:lnTo>
                    <a:pt x="636" y="470"/>
                  </a:lnTo>
                  <a:lnTo>
                    <a:pt x="636" y="484"/>
                  </a:lnTo>
                  <a:lnTo>
                    <a:pt x="636" y="492"/>
                  </a:lnTo>
                  <a:lnTo>
                    <a:pt x="636" y="500"/>
                  </a:lnTo>
                  <a:lnTo>
                    <a:pt x="636" y="510"/>
                  </a:lnTo>
                  <a:lnTo>
                    <a:pt x="636" y="516"/>
                  </a:lnTo>
                  <a:lnTo>
                    <a:pt x="636" y="524"/>
                  </a:lnTo>
                  <a:lnTo>
                    <a:pt x="636" y="530"/>
                  </a:lnTo>
                  <a:lnTo>
                    <a:pt x="636" y="538"/>
                  </a:lnTo>
                  <a:lnTo>
                    <a:pt x="630" y="536"/>
                  </a:lnTo>
                  <a:lnTo>
                    <a:pt x="624" y="534"/>
                  </a:lnTo>
                  <a:lnTo>
                    <a:pt x="618" y="534"/>
                  </a:lnTo>
                  <a:lnTo>
                    <a:pt x="612" y="534"/>
                  </a:lnTo>
                  <a:lnTo>
                    <a:pt x="606" y="534"/>
                  </a:lnTo>
                  <a:lnTo>
                    <a:pt x="600" y="538"/>
                  </a:lnTo>
                  <a:lnTo>
                    <a:pt x="594" y="538"/>
                  </a:lnTo>
                  <a:lnTo>
                    <a:pt x="588" y="536"/>
                  </a:lnTo>
                  <a:lnTo>
                    <a:pt x="584" y="536"/>
                  </a:lnTo>
                  <a:lnTo>
                    <a:pt x="578" y="542"/>
                  </a:lnTo>
                  <a:lnTo>
                    <a:pt x="572" y="546"/>
                  </a:lnTo>
                  <a:lnTo>
                    <a:pt x="572" y="548"/>
                  </a:lnTo>
                  <a:lnTo>
                    <a:pt x="574" y="554"/>
                  </a:lnTo>
                  <a:lnTo>
                    <a:pt x="576" y="560"/>
                  </a:lnTo>
                  <a:lnTo>
                    <a:pt x="576" y="564"/>
                  </a:lnTo>
                  <a:lnTo>
                    <a:pt x="576" y="570"/>
                  </a:lnTo>
                  <a:lnTo>
                    <a:pt x="574" y="576"/>
                  </a:lnTo>
                  <a:lnTo>
                    <a:pt x="568" y="580"/>
                  </a:lnTo>
                  <a:lnTo>
                    <a:pt x="566" y="584"/>
                  </a:lnTo>
                  <a:lnTo>
                    <a:pt x="564" y="586"/>
                  </a:lnTo>
                  <a:lnTo>
                    <a:pt x="562" y="592"/>
                  </a:lnTo>
                  <a:lnTo>
                    <a:pt x="558" y="598"/>
                  </a:lnTo>
                  <a:lnTo>
                    <a:pt x="558" y="604"/>
                  </a:lnTo>
                  <a:lnTo>
                    <a:pt x="554" y="608"/>
                  </a:lnTo>
                  <a:lnTo>
                    <a:pt x="550" y="610"/>
                  </a:lnTo>
                  <a:lnTo>
                    <a:pt x="542" y="612"/>
                  </a:lnTo>
                  <a:lnTo>
                    <a:pt x="540" y="618"/>
                  </a:lnTo>
                  <a:lnTo>
                    <a:pt x="544" y="624"/>
                  </a:lnTo>
                  <a:lnTo>
                    <a:pt x="546" y="630"/>
                  </a:lnTo>
                  <a:lnTo>
                    <a:pt x="544" y="636"/>
                  </a:lnTo>
                  <a:lnTo>
                    <a:pt x="546" y="638"/>
                  </a:lnTo>
                  <a:lnTo>
                    <a:pt x="552" y="644"/>
                  </a:lnTo>
                  <a:lnTo>
                    <a:pt x="546" y="648"/>
                  </a:lnTo>
                  <a:lnTo>
                    <a:pt x="540" y="652"/>
                  </a:lnTo>
                  <a:lnTo>
                    <a:pt x="534" y="656"/>
                  </a:lnTo>
                  <a:lnTo>
                    <a:pt x="530" y="660"/>
                  </a:lnTo>
                  <a:lnTo>
                    <a:pt x="526" y="666"/>
                  </a:lnTo>
                  <a:lnTo>
                    <a:pt x="526" y="672"/>
                  </a:lnTo>
                  <a:lnTo>
                    <a:pt x="526" y="678"/>
                  </a:lnTo>
                  <a:lnTo>
                    <a:pt x="532" y="684"/>
                  </a:lnTo>
                  <a:lnTo>
                    <a:pt x="532" y="690"/>
                  </a:lnTo>
                  <a:lnTo>
                    <a:pt x="532" y="692"/>
                  </a:lnTo>
                  <a:lnTo>
                    <a:pt x="536" y="698"/>
                  </a:lnTo>
                  <a:lnTo>
                    <a:pt x="532" y="704"/>
                  </a:lnTo>
                  <a:lnTo>
                    <a:pt x="528" y="710"/>
                  </a:lnTo>
                  <a:lnTo>
                    <a:pt x="522" y="714"/>
                  </a:lnTo>
                  <a:lnTo>
                    <a:pt x="516" y="718"/>
                  </a:lnTo>
                  <a:lnTo>
                    <a:pt x="514" y="724"/>
                  </a:lnTo>
                  <a:lnTo>
                    <a:pt x="510" y="730"/>
                  </a:lnTo>
                  <a:lnTo>
                    <a:pt x="510" y="736"/>
                  </a:lnTo>
                  <a:lnTo>
                    <a:pt x="508" y="738"/>
                  </a:lnTo>
                  <a:lnTo>
                    <a:pt x="510" y="744"/>
                  </a:lnTo>
                  <a:lnTo>
                    <a:pt x="516" y="750"/>
                  </a:lnTo>
                  <a:lnTo>
                    <a:pt x="522" y="750"/>
                  </a:lnTo>
                  <a:lnTo>
                    <a:pt x="528" y="746"/>
                  </a:lnTo>
                  <a:lnTo>
                    <a:pt x="534" y="744"/>
                  </a:lnTo>
                  <a:lnTo>
                    <a:pt x="540" y="748"/>
                  </a:lnTo>
                  <a:lnTo>
                    <a:pt x="546" y="750"/>
                  </a:lnTo>
                  <a:lnTo>
                    <a:pt x="544" y="756"/>
                  </a:lnTo>
                  <a:lnTo>
                    <a:pt x="542" y="762"/>
                  </a:lnTo>
                  <a:lnTo>
                    <a:pt x="546" y="768"/>
                  </a:lnTo>
                  <a:lnTo>
                    <a:pt x="548" y="774"/>
                  </a:lnTo>
                  <a:lnTo>
                    <a:pt x="550" y="780"/>
                  </a:lnTo>
                  <a:lnTo>
                    <a:pt x="550" y="786"/>
                  </a:lnTo>
                  <a:lnTo>
                    <a:pt x="548" y="790"/>
                  </a:lnTo>
                  <a:lnTo>
                    <a:pt x="554" y="788"/>
                  </a:lnTo>
                  <a:lnTo>
                    <a:pt x="556" y="794"/>
                  </a:lnTo>
                  <a:lnTo>
                    <a:pt x="556" y="800"/>
                  </a:lnTo>
                  <a:lnTo>
                    <a:pt x="554" y="806"/>
                  </a:lnTo>
                  <a:lnTo>
                    <a:pt x="554" y="812"/>
                  </a:lnTo>
                  <a:lnTo>
                    <a:pt x="554" y="818"/>
                  </a:lnTo>
                  <a:lnTo>
                    <a:pt x="556" y="824"/>
                  </a:lnTo>
                  <a:lnTo>
                    <a:pt x="562" y="828"/>
                  </a:lnTo>
                  <a:lnTo>
                    <a:pt x="568" y="834"/>
                  </a:lnTo>
                  <a:lnTo>
                    <a:pt x="574" y="834"/>
                  </a:lnTo>
                  <a:lnTo>
                    <a:pt x="578" y="840"/>
                  </a:lnTo>
                  <a:lnTo>
                    <a:pt x="578" y="846"/>
                  </a:lnTo>
                  <a:lnTo>
                    <a:pt x="578" y="852"/>
                  </a:lnTo>
                  <a:lnTo>
                    <a:pt x="576" y="858"/>
                  </a:lnTo>
                  <a:lnTo>
                    <a:pt x="574" y="864"/>
                  </a:lnTo>
                  <a:lnTo>
                    <a:pt x="574" y="868"/>
                  </a:lnTo>
                  <a:lnTo>
                    <a:pt x="572" y="868"/>
                  </a:lnTo>
                  <a:lnTo>
                    <a:pt x="566" y="866"/>
                  </a:lnTo>
                  <a:lnTo>
                    <a:pt x="560" y="864"/>
                  </a:lnTo>
                  <a:lnTo>
                    <a:pt x="554" y="864"/>
                  </a:lnTo>
                  <a:lnTo>
                    <a:pt x="548" y="862"/>
                  </a:lnTo>
                  <a:lnTo>
                    <a:pt x="542" y="866"/>
                  </a:lnTo>
                  <a:lnTo>
                    <a:pt x="536" y="868"/>
                  </a:lnTo>
                  <a:lnTo>
                    <a:pt x="532" y="874"/>
                  </a:lnTo>
                  <a:lnTo>
                    <a:pt x="526" y="874"/>
                  </a:lnTo>
                  <a:lnTo>
                    <a:pt x="520" y="880"/>
                  </a:lnTo>
                  <a:lnTo>
                    <a:pt x="514" y="882"/>
                  </a:lnTo>
                  <a:lnTo>
                    <a:pt x="508" y="884"/>
                  </a:lnTo>
                  <a:lnTo>
                    <a:pt x="502" y="888"/>
                  </a:lnTo>
                  <a:lnTo>
                    <a:pt x="502" y="894"/>
                  </a:lnTo>
                  <a:lnTo>
                    <a:pt x="504" y="900"/>
                  </a:lnTo>
                  <a:lnTo>
                    <a:pt x="504" y="906"/>
                  </a:lnTo>
                  <a:lnTo>
                    <a:pt x="502" y="912"/>
                  </a:lnTo>
                  <a:lnTo>
                    <a:pt x="496" y="916"/>
                  </a:lnTo>
                  <a:lnTo>
                    <a:pt x="490" y="920"/>
                  </a:lnTo>
                  <a:lnTo>
                    <a:pt x="488" y="924"/>
                  </a:lnTo>
                  <a:lnTo>
                    <a:pt x="484" y="930"/>
                  </a:lnTo>
                  <a:lnTo>
                    <a:pt x="484" y="932"/>
                  </a:lnTo>
                  <a:lnTo>
                    <a:pt x="478" y="934"/>
                  </a:lnTo>
                  <a:lnTo>
                    <a:pt x="472" y="938"/>
                  </a:lnTo>
                  <a:lnTo>
                    <a:pt x="470" y="940"/>
                  </a:lnTo>
                  <a:lnTo>
                    <a:pt x="466" y="946"/>
                  </a:lnTo>
                  <a:lnTo>
                    <a:pt x="466" y="948"/>
                  </a:lnTo>
                  <a:lnTo>
                    <a:pt x="460" y="950"/>
                  </a:lnTo>
                  <a:lnTo>
                    <a:pt x="460" y="958"/>
                  </a:lnTo>
                  <a:lnTo>
                    <a:pt x="456" y="962"/>
                  </a:lnTo>
                  <a:lnTo>
                    <a:pt x="450" y="970"/>
                  </a:lnTo>
                  <a:lnTo>
                    <a:pt x="448" y="972"/>
                  </a:lnTo>
                  <a:lnTo>
                    <a:pt x="444" y="974"/>
                  </a:lnTo>
                  <a:lnTo>
                    <a:pt x="436" y="980"/>
                  </a:lnTo>
                  <a:lnTo>
                    <a:pt x="430" y="982"/>
                  </a:lnTo>
                  <a:lnTo>
                    <a:pt x="428" y="988"/>
                  </a:lnTo>
                  <a:lnTo>
                    <a:pt x="422" y="994"/>
                  </a:lnTo>
                  <a:lnTo>
                    <a:pt x="416" y="992"/>
                  </a:lnTo>
                  <a:lnTo>
                    <a:pt x="410" y="992"/>
                  </a:lnTo>
                  <a:lnTo>
                    <a:pt x="404" y="992"/>
                  </a:lnTo>
                  <a:lnTo>
                    <a:pt x="400" y="994"/>
                  </a:lnTo>
                  <a:lnTo>
                    <a:pt x="396" y="996"/>
                  </a:lnTo>
                  <a:lnTo>
                    <a:pt x="390" y="998"/>
                  </a:lnTo>
                  <a:lnTo>
                    <a:pt x="384" y="998"/>
                  </a:lnTo>
                  <a:lnTo>
                    <a:pt x="378" y="1000"/>
                  </a:lnTo>
                  <a:lnTo>
                    <a:pt x="372" y="1000"/>
                  </a:lnTo>
                  <a:lnTo>
                    <a:pt x="366" y="1000"/>
                  </a:lnTo>
                  <a:lnTo>
                    <a:pt x="360" y="1000"/>
                  </a:lnTo>
                  <a:lnTo>
                    <a:pt x="354" y="1000"/>
                  </a:lnTo>
                  <a:lnTo>
                    <a:pt x="350" y="1000"/>
                  </a:lnTo>
                  <a:lnTo>
                    <a:pt x="348" y="1000"/>
                  </a:lnTo>
                  <a:lnTo>
                    <a:pt x="346" y="1000"/>
                  </a:lnTo>
                  <a:lnTo>
                    <a:pt x="338" y="1004"/>
                  </a:lnTo>
                  <a:lnTo>
                    <a:pt x="334" y="1008"/>
                  </a:lnTo>
                  <a:lnTo>
                    <a:pt x="332" y="1012"/>
                  </a:lnTo>
                  <a:lnTo>
                    <a:pt x="334" y="1014"/>
                  </a:lnTo>
                  <a:lnTo>
                    <a:pt x="340" y="1018"/>
                  </a:lnTo>
                  <a:lnTo>
                    <a:pt x="346" y="1022"/>
                  </a:lnTo>
                  <a:lnTo>
                    <a:pt x="346" y="1024"/>
                  </a:lnTo>
                  <a:lnTo>
                    <a:pt x="342" y="1030"/>
                  </a:lnTo>
                  <a:lnTo>
                    <a:pt x="338" y="1036"/>
                  </a:lnTo>
                  <a:lnTo>
                    <a:pt x="334" y="1042"/>
                  </a:lnTo>
                  <a:lnTo>
                    <a:pt x="330" y="1048"/>
                  </a:lnTo>
                  <a:lnTo>
                    <a:pt x="324" y="1052"/>
                  </a:lnTo>
                  <a:lnTo>
                    <a:pt x="322" y="1054"/>
                  </a:lnTo>
                  <a:lnTo>
                    <a:pt x="316" y="1060"/>
                  </a:lnTo>
                  <a:lnTo>
                    <a:pt x="316" y="1066"/>
                  </a:lnTo>
                  <a:lnTo>
                    <a:pt x="308" y="1068"/>
                  </a:lnTo>
                  <a:lnTo>
                    <a:pt x="302" y="1068"/>
                  </a:lnTo>
                  <a:lnTo>
                    <a:pt x="296" y="1068"/>
                  </a:lnTo>
                  <a:lnTo>
                    <a:pt x="290" y="1068"/>
                  </a:lnTo>
                  <a:lnTo>
                    <a:pt x="284" y="1068"/>
                  </a:lnTo>
                  <a:lnTo>
                    <a:pt x="278" y="1070"/>
                  </a:lnTo>
                  <a:lnTo>
                    <a:pt x="272" y="1072"/>
                  </a:lnTo>
                  <a:lnTo>
                    <a:pt x="266" y="1072"/>
                  </a:lnTo>
                  <a:lnTo>
                    <a:pt x="260" y="1072"/>
                  </a:lnTo>
                  <a:lnTo>
                    <a:pt x="254" y="1072"/>
                  </a:lnTo>
                  <a:lnTo>
                    <a:pt x="248" y="1074"/>
                  </a:lnTo>
                  <a:lnTo>
                    <a:pt x="244" y="1078"/>
                  </a:lnTo>
                  <a:lnTo>
                    <a:pt x="236" y="1080"/>
                  </a:lnTo>
                  <a:lnTo>
                    <a:pt x="232" y="1084"/>
                  </a:lnTo>
                  <a:lnTo>
                    <a:pt x="228" y="1088"/>
                  </a:lnTo>
                  <a:lnTo>
                    <a:pt x="222" y="1090"/>
                  </a:lnTo>
                  <a:lnTo>
                    <a:pt x="216" y="1094"/>
                  </a:lnTo>
                  <a:lnTo>
                    <a:pt x="210" y="1096"/>
                  </a:lnTo>
                  <a:lnTo>
                    <a:pt x="206" y="1102"/>
                  </a:lnTo>
                  <a:lnTo>
                    <a:pt x="200" y="1096"/>
                  </a:lnTo>
                  <a:lnTo>
                    <a:pt x="196" y="1094"/>
                  </a:lnTo>
                  <a:lnTo>
                    <a:pt x="194" y="1088"/>
                  </a:lnTo>
                  <a:lnTo>
                    <a:pt x="190" y="1082"/>
                  </a:lnTo>
                  <a:lnTo>
                    <a:pt x="190" y="1078"/>
                  </a:lnTo>
                  <a:lnTo>
                    <a:pt x="186" y="1080"/>
                  </a:lnTo>
                  <a:lnTo>
                    <a:pt x="180" y="1086"/>
                  </a:lnTo>
                  <a:lnTo>
                    <a:pt x="180" y="1092"/>
                  </a:lnTo>
                  <a:lnTo>
                    <a:pt x="174" y="1094"/>
                  </a:lnTo>
                  <a:lnTo>
                    <a:pt x="168" y="1098"/>
                  </a:lnTo>
                  <a:lnTo>
                    <a:pt x="164" y="1098"/>
                  </a:lnTo>
                  <a:lnTo>
                    <a:pt x="158" y="1102"/>
                  </a:lnTo>
                  <a:lnTo>
                    <a:pt x="152" y="1106"/>
                  </a:lnTo>
                  <a:lnTo>
                    <a:pt x="146" y="1106"/>
                  </a:lnTo>
                  <a:lnTo>
                    <a:pt x="140" y="1106"/>
                  </a:lnTo>
                  <a:lnTo>
                    <a:pt x="134" y="1104"/>
                  </a:lnTo>
                  <a:lnTo>
                    <a:pt x="128" y="1104"/>
                  </a:lnTo>
                  <a:lnTo>
                    <a:pt x="126" y="1102"/>
                  </a:lnTo>
                  <a:lnTo>
                    <a:pt x="130" y="1098"/>
                  </a:lnTo>
                  <a:lnTo>
                    <a:pt x="130" y="1090"/>
                  </a:lnTo>
                  <a:lnTo>
                    <a:pt x="130" y="1086"/>
                  </a:lnTo>
                  <a:lnTo>
                    <a:pt x="126" y="1086"/>
                  </a:lnTo>
                  <a:lnTo>
                    <a:pt x="124" y="1084"/>
                  </a:lnTo>
                  <a:lnTo>
                    <a:pt x="122" y="1078"/>
                  </a:lnTo>
                  <a:lnTo>
                    <a:pt x="120" y="1072"/>
                  </a:lnTo>
                  <a:lnTo>
                    <a:pt x="118" y="1066"/>
                  </a:lnTo>
                  <a:lnTo>
                    <a:pt x="116" y="1060"/>
                  </a:lnTo>
                  <a:lnTo>
                    <a:pt x="114" y="1054"/>
                  </a:lnTo>
                  <a:lnTo>
                    <a:pt x="112" y="1048"/>
                  </a:lnTo>
                  <a:lnTo>
                    <a:pt x="108" y="1042"/>
                  </a:lnTo>
                  <a:lnTo>
                    <a:pt x="108" y="1040"/>
                  </a:lnTo>
                  <a:lnTo>
                    <a:pt x="106" y="1034"/>
                  </a:lnTo>
                  <a:lnTo>
                    <a:pt x="100" y="1030"/>
                  </a:lnTo>
                  <a:lnTo>
                    <a:pt x="96" y="1024"/>
                  </a:lnTo>
                  <a:lnTo>
                    <a:pt x="94" y="1024"/>
                  </a:lnTo>
                  <a:lnTo>
                    <a:pt x="90" y="1018"/>
                  </a:lnTo>
                  <a:lnTo>
                    <a:pt x="84" y="1014"/>
                  </a:lnTo>
                  <a:lnTo>
                    <a:pt x="78" y="1008"/>
                  </a:lnTo>
                  <a:lnTo>
                    <a:pt x="72" y="1004"/>
                  </a:lnTo>
                  <a:lnTo>
                    <a:pt x="66" y="1000"/>
                  </a:lnTo>
                  <a:lnTo>
                    <a:pt x="60" y="994"/>
                  </a:lnTo>
                  <a:lnTo>
                    <a:pt x="54" y="988"/>
                  </a:lnTo>
                  <a:lnTo>
                    <a:pt x="54" y="986"/>
                  </a:lnTo>
                  <a:lnTo>
                    <a:pt x="52" y="980"/>
                  </a:lnTo>
                  <a:lnTo>
                    <a:pt x="46" y="974"/>
                  </a:lnTo>
                  <a:lnTo>
                    <a:pt x="42" y="968"/>
                  </a:lnTo>
                  <a:lnTo>
                    <a:pt x="38" y="962"/>
                  </a:lnTo>
                  <a:lnTo>
                    <a:pt x="34" y="958"/>
                  </a:lnTo>
                  <a:lnTo>
                    <a:pt x="32" y="952"/>
                  </a:lnTo>
                  <a:lnTo>
                    <a:pt x="34" y="952"/>
                  </a:lnTo>
                  <a:lnTo>
                    <a:pt x="40" y="946"/>
                  </a:lnTo>
                  <a:lnTo>
                    <a:pt x="42" y="940"/>
                  </a:lnTo>
                  <a:lnTo>
                    <a:pt x="46" y="934"/>
                  </a:lnTo>
                  <a:lnTo>
                    <a:pt x="46" y="932"/>
                  </a:lnTo>
                  <a:lnTo>
                    <a:pt x="52" y="932"/>
                  </a:lnTo>
                  <a:lnTo>
                    <a:pt x="58" y="932"/>
                  </a:lnTo>
                  <a:lnTo>
                    <a:pt x="62" y="932"/>
                  </a:lnTo>
                  <a:lnTo>
                    <a:pt x="68" y="932"/>
                  </a:lnTo>
                  <a:lnTo>
                    <a:pt x="74" y="934"/>
                  </a:lnTo>
                  <a:lnTo>
                    <a:pt x="78" y="936"/>
                  </a:lnTo>
                  <a:lnTo>
                    <a:pt x="86" y="936"/>
                  </a:lnTo>
                  <a:lnTo>
                    <a:pt x="92" y="934"/>
                  </a:lnTo>
                  <a:lnTo>
                    <a:pt x="94" y="934"/>
                  </a:lnTo>
                  <a:lnTo>
                    <a:pt x="100" y="934"/>
                  </a:lnTo>
                  <a:lnTo>
                    <a:pt x="102" y="932"/>
                  </a:lnTo>
                  <a:lnTo>
                    <a:pt x="108" y="932"/>
                  </a:lnTo>
                  <a:lnTo>
                    <a:pt x="114" y="934"/>
                  </a:lnTo>
                  <a:lnTo>
                    <a:pt x="120" y="936"/>
                  </a:lnTo>
                  <a:lnTo>
                    <a:pt x="126" y="936"/>
                  </a:lnTo>
                  <a:lnTo>
                    <a:pt x="132" y="934"/>
                  </a:lnTo>
                  <a:lnTo>
                    <a:pt x="136" y="932"/>
                  </a:lnTo>
                  <a:lnTo>
                    <a:pt x="134" y="932"/>
                  </a:lnTo>
                  <a:lnTo>
                    <a:pt x="130" y="928"/>
                  </a:lnTo>
                  <a:lnTo>
                    <a:pt x="124" y="922"/>
                  </a:lnTo>
                  <a:lnTo>
                    <a:pt x="118" y="916"/>
                  </a:lnTo>
                  <a:lnTo>
                    <a:pt x="116" y="912"/>
                  </a:lnTo>
                  <a:lnTo>
                    <a:pt x="112" y="906"/>
                  </a:lnTo>
                  <a:lnTo>
                    <a:pt x="108" y="900"/>
                  </a:lnTo>
                  <a:lnTo>
                    <a:pt x="104" y="896"/>
                  </a:lnTo>
                  <a:lnTo>
                    <a:pt x="104" y="890"/>
                  </a:lnTo>
                  <a:lnTo>
                    <a:pt x="102" y="884"/>
                  </a:lnTo>
                  <a:lnTo>
                    <a:pt x="98" y="878"/>
                  </a:lnTo>
                  <a:lnTo>
                    <a:pt x="98" y="872"/>
                  </a:lnTo>
                  <a:lnTo>
                    <a:pt x="98" y="866"/>
                  </a:lnTo>
                  <a:lnTo>
                    <a:pt x="96" y="860"/>
                  </a:lnTo>
                  <a:lnTo>
                    <a:pt x="96" y="856"/>
                  </a:lnTo>
                  <a:lnTo>
                    <a:pt x="96" y="852"/>
                  </a:lnTo>
                  <a:lnTo>
                    <a:pt x="96" y="846"/>
                  </a:lnTo>
                  <a:lnTo>
                    <a:pt x="96" y="838"/>
                  </a:lnTo>
                  <a:lnTo>
                    <a:pt x="98" y="834"/>
                  </a:lnTo>
                  <a:lnTo>
                    <a:pt x="102" y="828"/>
                  </a:lnTo>
                  <a:lnTo>
                    <a:pt x="100" y="822"/>
                  </a:lnTo>
                  <a:lnTo>
                    <a:pt x="98" y="816"/>
                  </a:lnTo>
                  <a:lnTo>
                    <a:pt x="100" y="810"/>
                  </a:lnTo>
                  <a:lnTo>
                    <a:pt x="100" y="804"/>
                  </a:lnTo>
                  <a:lnTo>
                    <a:pt x="98" y="798"/>
                  </a:lnTo>
                  <a:lnTo>
                    <a:pt x="96" y="792"/>
                  </a:lnTo>
                  <a:lnTo>
                    <a:pt x="96" y="788"/>
                  </a:lnTo>
                  <a:lnTo>
                    <a:pt x="96" y="786"/>
                  </a:lnTo>
                  <a:lnTo>
                    <a:pt x="94" y="786"/>
                  </a:lnTo>
                  <a:lnTo>
                    <a:pt x="88" y="784"/>
                  </a:lnTo>
                  <a:lnTo>
                    <a:pt x="88" y="782"/>
                  </a:lnTo>
                  <a:lnTo>
                    <a:pt x="88" y="776"/>
                  </a:lnTo>
                  <a:lnTo>
                    <a:pt x="88" y="770"/>
                  </a:lnTo>
                  <a:lnTo>
                    <a:pt x="88" y="766"/>
                  </a:lnTo>
                  <a:lnTo>
                    <a:pt x="84" y="762"/>
                  </a:lnTo>
                  <a:lnTo>
                    <a:pt x="84" y="756"/>
                  </a:lnTo>
                  <a:lnTo>
                    <a:pt x="84" y="750"/>
                  </a:lnTo>
                  <a:lnTo>
                    <a:pt x="82" y="750"/>
                  </a:lnTo>
                  <a:lnTo>
                    <a:pt x="76" y="748"/>
                  </a:lnTo>
                  <a:lnTo>
                    <a:pt x="74" y="744"/>
                  </a:lnTo>
                  <a:lnTo>
                    <a:pt x="66" y="740"/>
                  </a:lnTo>
                  <a:lnTo>
                    <a:pt x="66" y="736"/>
                  </a:lnTo>
                  <a:lnTo>
                    <a:pt x="64" y="730"/>
                  </a:lnTo>
                  <a:lnTo>
                    <a:pt x="64" y="726"/>
                  </a:lnTo>
                  <a:lnTo>
                    <a:pt x="64" y="724"/>
                  </a:lnTo>
                  <a:lnTo>
                    <a:pt x="60" y="718"/>
                  </a:lnTo>
                  <a:lnTo>
                    <a:pt x="54" y="718"/>
                  </a:lnTo>
                  <a:lnTo>
                    <a:pt x="48" y="718"/>
                  </a:lnTo>
                  <a:lnTo>
                    <a:pt x="46" y="718"/>
                  </a:lnTo>
                  <a:lnTo>
                    <a:pt x="40" y="718"/>
                  </a:lnTo>
                  <a:lnTo>
                    <a:pt x="38" y="718"/>
                  </a:lnTo>
                  <a:lnTo>
                    <a:pt x="34" y="714"/>
                  </a:lnTo>
                  <a:lnTo>
                    <a:pt x="32" y="708"/>
                  </a:lnTo>
                  <a:lnTo>
                    <a:pt x="28" y="702"/>
                  </a:lnTo>
                  <a:lnTo>
                    <a:pt x="24" y="696"/>
                  </a:lnTo>
                  <a:lnTo>
                    <a:pt x="22" y="692"/>
                  </a:lnTo>
                  <a:lnTo>
                    <a:pt x="20" y="692"/>
                  </a:lnTo>
                  <a:lnTo>
                    <a:pt x="18" y="686"/>
                  </a:lnTo>
                  <a:lnTo>
                    <a:pt x="14" y="680"/>
                  </a:lnTo>
                  <a:lnTo>
                    <a:pt x="10" y="674"/>
                  </a:lnTo>
                  <a:lnTo>
                    <a:pt x="8" y="668"/>
                  </a:lnTo>
                  <a:lnTo>
                    <a:pt x="8" y="662"/>
                  </a:lnTo>
                  <a:lnTo>
                    <a:pt x="6" y="656"/>
                  </a:lnTo>
                  <a:lnTo>
                    <a:pt x="4" y="650"/>
                  </a:lnTo>
                  <a:lnTo>
                    <a:pt x="4" y="644"/>
                  </a:lnTo>
                  <a:lnTo>
                    <a:pt x="2" y="638"/>
                  </a:lnTo>
                  <a:lnTo>
                    <a:pt x="2" y="632"/>
                  </a:lnTo>
                  <a:lnTo>
                    <a:pt x="0" y="6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2" name="Freeform 219"/>
            <p:cNvSpPr>
              <a:spLocks/>
            </p:cNvSpPr>
            <p:nvPr/>
          </p:nvSpPr>
          <p:spPr bwMode="auto">
            <a:xfrm>
              <a:off x="5510213" y="3535363"/>
              <a:ext cx="184150" cy="236537"/>
            </a:xfrm>
            <a:custGeom>
              <a:avLst/>
              <a:gdLst>
                <a:gd name="T0" fmla="*/ 2147483647 w 450"/>
                <a:gd name="T1" fmla="*/ 2147483647 h 576"/>
                <a:gd name="T2" fmla="*/ 2147483647 w 450"/>
                <a:gd name="T3" fmla="*/ 2147483647 h 576"/>
                <a:gd name="T4" fmla="*/ 2147483647 w 450"/>
                <a:gd name="T5" fmla="*/ 2147483647 h 576"/>
                <a:gd name="T6" fmla="*/ 2147483647 w 450"/>
                <a:gd name="T7" fmla="*/ 2147483647 h 576"/>
                <a:gd name="T8" fmla="*/ 2147483647 w 450"/>
                <a:gd name="T9" fmla="*/ 2147483647 h 576"/>
                <a:gd name="T10" fmla="*/ 2147483647 w 450"/>
                <a:gd name="T11" fmla="*/ 2147483647 h 576"/>
                <a:gd name="T12" fmla="*/ 2147483647 w 450"/>
                <a:gd name="T13" fmla="*/ 2147483647 h 576"/>
                <a:gd name="T14" fmla="*/ 2147483647 w 450"/>
                <a:gd name="T15" fmla="*/ 2147483647 h 576"/>
                <a:gd name="T16" fmla="*/ 2147483647 w 450"/>
                <a:gd name="T17" fmla="*/ 2147483647 h 576"/>
                <a:gd name="T18" fmla="*/ 2147483647 w 450"/>
                <a:gd name="T19" fmla="*/ 0 h 576"/>
                <a:gd name="T20" fmla="*/ 2147483647 w 450"/>
                <a:gd name="T21" fmla="*/ 2147483647 h 576"/>
                <a:gd name="T22" fmla="*/ 2147483647 w 450"/>
                <a:gd name="T23" fmla="*/ 2147483647 h 576"/>
                <a:gd name="T24" fmla="*/ 2147483647 w 450"/>
                <a:gd name="T25" fmla="*/ 2147483647 h 576"/>
                <a:gd name="T26" fmla="*/ 2147483647 w 450"/>
                <a:gd name="T27" fmla="*/ 2147483647 h 576"/>
                <a:gd name="T28" fmla="*/ 2147483647 w 450"/>
                <a:gd name="T29" fmla="*/ 2147483647 h 576"/>
                <a:gd name="T30" fmla="*/ 2147483647 w 450"/>
                <a:gd name="T31" fmla="*/ 2147483647 h 576"/>
                <a:gd name="T32" fmla="*/ 2147483647 w 450"/>
                <a:gd name="T33" fmla="*/ 2147483647 h 576"/>
                <a:gd name="T34" fmla="*/ 2147483647 w 450"/>
                <a:gd name="T35" fmla="*/ 2147483647 h 576"/>
                <a:gd name="T36" fmla="*/ 2147483647 w 450"/>
                <a:gd name="T37" fmla="*/ 2147483647 h 576"/>
                <a:gd name="T38" fmla="*/ 2147483647 w 450"/>
                <a:gd name="T39" fmla="*/ 2147483647 h 576"/>
                <a:gd name="T40" fmla="*/ 2147483647 w 450"/>
                <a:gd name="T41" fmla="*/ 2147483647 h 576"/>
                <a:gd name="T42" fmla="*/ 2147483647 w 450"/>
                <a:gd name="T43" fmla="*/ 2147483647 h 576"/>
                <a:gd name="T44" fmla="*/ 2147483647 w 450"/>
                <a:gd name="T45" fmla="*/ 2147483647 h 576"/>
                <a:gd name="T46" fmla="*/ 2147483647 w 450"/>
                <a:gd name="T47" fmla="*/ 2147483647 h 576"/>
                <a:gd name="T48" fmla="*/ 2147483647 w 450"/>
                <a:gd name="T49" fmla="*/ 2147483647 h 576"/>
                <a:gd name="T50" fmla="*/ 2147483647 w 450"/>
                <a:gd name="T51" fmla="*/ 2147483647 h 576"/>
                <a:gd name="T52" fmla="*/ 2147483647 w 450"/>
                <a:gd name="T53" fmla="*/ 2147483647 h 576"/>
                <a:gd name="T54" fmla="*/ 2147483647 w 450"/>
                <a:gd name="T55" fmla="*/ 2147483647 h 576"/>
                <a:gd name="T56" fmla="*/ 2147483647 w 450"/>
                <a:gd name="T57" fmla="*/ 2147483647 h 576"/>
                <a:gd name="T58" fmla="*/ 2147483647 w 450"/>
                <a:gd name="T59" fmla="*/ 2147483647 h 576"/>
                <a:gd name="T60" fmla="*/ 2147483647 w 450"/>
                <a:gd name="T61" fmla="*/ 2147483647 h 576"/>
                <a:gd name="T62" fmla="*/ 2147483647 w 450"/>
                <a:gd name="T63" fmla="*/ 2147483647 h 576"/>
                <a:gd name="T64" fmla="*/ 2147483647 w 450"/>
                <a:gd name="T65" fmla="*/ 2147483647 h 576"/>
                <a:gd name="T66" fmla="*/ 2147483647 w 450"/>
                <a:gd name="T67" fmla="*/ 2147483647 h 576"/>
                <a:gd name="T68" fmla="*/ 2147483647 w 450"/>
                <a:gd name="T69" fmla="*/ 2147483647 h 576"/>
                <a:gd name="T70" fmla="*/ 2147483647 w 450"/>
                <a:gd name="T71" fmla="*/ 2147483647 h 576"/>
                <a:gd name="T72" fmla="*/ 2147483647 w 450"/>
                <a:gd name="T73" fmla="*/ 2147483647 h 576"/>
                <a:gd name="T74" fmla="*/ 2147483647 w 450"/>
                <a:gd name="T75" fmla="*/ 2147483647 h 576"/>
                <a:gd name="T76" fmla="*/ 2147483647 w 450"/>
                <a:gd name="T77" fmla="*/ 2147483647 h 576"/>
                <a:gd name="T78" fmla="*/ 2147483647 w 450"/>
                <a:gd name="T79" fmla="*/ 2147483647 h 576"/>
                <a:gd name="T80" fmla="*/ 2147483647 w 450"/>
                <a:gd name="T81" fmla="*/ 2147483647 h 576"/>
                <a:gd name="T82" fmla="*/ 2147483647 w 450"/>
                <a:gd name="T83" fmla="*/ 2147483647 h 576"/>
                <a:gd name="T84" fmla="*/ 2147483647 w 450"/>
                <a:gd name="T85" fmla="*/ 2147483647 h 576"/>
                <a:gd name="T86" fmla="*/ 2147483647 w 450"/>
                <a:gd name="T87" fmla="*/ 2147483647 h 576"/>
                <a:gd name="T88" fmla="*/ 2147483647 w 450"/>
                <a:gd name="T89" fmla="*/ 2147483647 h 576"/>
                <a:gd name="T90" fmla="*/ 2147483647 w 450"/>
                <a:gd name="T91" fmla="*/ 2147483647 h 576"/>
                <a:gd name="T92" fmla="*/ 2147483647 w 450"/>
                <a:gd name="T93" fmla="*/ 2147483647 h 576"/>
                <a:gd name="T94" fmla="*/ 2147483647 w 450"/>
                <a:gd name="T95" fmla="*/ 2147483647 h 576"/>
                <a:gd name="T96" fmla="*/ 2147483647 w 450"/>
                <a:gd name="T97" fmla="*/ 2147483647 h 576"/>
                <a:gd name="T98" fmla="*/ 2147483647 w 450"/>
                <a:gd name="T99" fmla="*/ 2147483647 h 576"/>
                <a:gd name="T100" fmla="*/ 2147483647 w 450"/>
                <a:gd name="T101" fmla="*/ 2147483647 h 576"/>
                <a:gd name="T102" fmla="*/ 2147483647 w 450"/>
                <a:gd name="T103" fmla="*/ 2147483647 h 576"/>
                <a:gd name="T104" fmla="*/ 2147483647 w 450"/>
                <a:gd name="T105" fmla="*/ 2147483647 h 576"/>
                <a:gd name="T106" fmla="*/ 0 w 450"/>
                <a:gd name="T107" fmla="*/ 2147483647 h 57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50"/>
                <a:gd name="T163" fmla="*/ 0 h 576"/>
                <a:gd name="T164" fmla="*/ 450 w 450"/>
                <a:gd name="T165" fmla="*/ 576 h 57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50" h="576">
                  <a:moveTo>
                    <a:pt x="0" y="414"/>
                  </a:moveTo>
                  <a:lnTo>
                    <a:pt x="2" y="414"/>
                  </a:lnTo>
                  <a:lnTo>
                    <a:pt x="176" y="346"/>
                  </a:lnTo>
                  <a:lnTo>
                    <a:pt x="204" y="206"/>
                  </a:lnTo>
                  <a:lnTo>
                    <a:pt x="174" y="162"/>
                  </a:lnTo>
                  <a:lnTo>
                    <a:pt x="172" y="158"/>
                  </a:lnTo>
                  <a:lnTo>
                    <a:pt x="172" y="156"/>
                  </a:lnTo>
                  <a:lnTo>
                    <a:pt x="172" y="152"/>
                  </a:lnTo>
                  <a:lnTo>
                    <a:pt x="172" y="146"/>
                  </a:lnTo>
                  <a:lnTo>
                    <a:pt x="172" y="140"/>
                  </a:lnTo>
                  <a:lnTo>
                    <a:pt x="172" y="134"/>
                  </a:lnTo>
                  <a:lnTo>
                    <a:pt x="172" y="128"/>
                  </a:lnTo>
                  <a:lnTo>
                    <a:pt x="176" y="122"/>
                  </a:lnTo>
                  <a:lnTo>
                    <a:pt x="178" y="116"/>
                  </a:lnTo>
                  <a:lnTo>
                    <a:pt x="178" y="110"/>
                  </a:lnTo>
                  <a:lnTo>
                    <a:pt x="180" y="104"/>
                  </a:lnTo>
                  <a:lnTo>
                    <a:pt x="184" y="98"/>
                  </a:lnTo>
                  <a:lnTo>
                    <a:pt x="184" y="92"/>
                  </a:lnTo>
                  <a:lnTo>
                    <a:pt x="186" y="86"/>
                  </a:lnTo>
                  <a:lnTo>
                    <a:pt x="186" y="80"/>
                  </a:lnTo>
                  <a:lnTo>
                    <a:pt x="186" y="76"/>
                  </a:lnTo>
                  <a:lnTo>
                    <a:pt x="182" y="74"/>
                  </a:lnTo>
                  <a:lnTo>
                    <a:pt x="188" y="68"/>
                  </a:lnTo>
                  <a:lnTo>
                    <a:pt x="194" y="66"/>
                  </a:lnTo>
                  <a:lnTo>
                    <a:pt x="198" y="66"/>
                  </a:lnTo>
                  <a:lnTo>
                    <a:pt x="204" y="68"/>
                  </a:lnTo>
                  <a:lnTo>
                    <a:pt x="210" y="64"/>
                  </a:lnTo>
                  <a:lnTo>
                    <a:pt x="210" y="58"/>
                  </a:lnTo>
                  <a:lnTo>
                    <a:pt x="208" y="54"/>
                  </a:lnTo>
                  <a:lnTo>
                    <a:pt x="202" y="54"/>
                  </a:lnTo>
                  <a:lnTo>
                    <a:pt x="198" y="48"/>
                  </a:lnTo>
                  <a:lnTo>
                    <a:pt x="200" y="42"/>
                  </a:lnTo>
                  <a:lnTo>
                    <a:pt x="198" y="36"/>
                  </a:lnTo>
                  <a:lnTo>
                    <a:pt x="196" y="30"/>
                  </a:lnTo>
                  <a:lnTo>
                    <a:pt x="200" y="24"/>
                  </a:lnTo>
                  <a:lnTo>
                    <a:pt x="198" y="20"/>
                  </a:lnTo>
                  <a:lnTo>
                    <a:pt x="198" y="14"/>
                  </a:lnTo>
                  <a:lnTo>
                    <a:pt x="196" y="8"/>
                  </a:lnTo>
                  <a:lnTo>
                    <a:pt x="198" y="6"/>
                  </a:lnTo>
                  <a:lnTo>
                    <a:pt x="202" y="0"/>
                  </a:lnTo>
                  <a:lnTo>
                    <a:pt x="206" y="0"/>
                  </a:lnTo>
                  <a:lnTo>
                    <a:pt x="210" y="6"/>
                  </a:lnTo>
                  <a:lnTo>
                    <a:pt x="210" y="8"/>
                  </a:lnTo>
                  <a:lnTo>
                    <a:pt x="210" y="12"/>
                  </a:lnTo>
                  <a:lnTo>
                    <a:pt x="210" y="14"/>
                  </a:lnTo>
                  <a:lnTo>
                    <a:pt x="212" y="18"/>
                  </a:lnTo>
                  <a:lnTo>
                    <a:pt x="218" y="14"/>
                  </a:lnTo>
                  <a:lnTo>
                    <a:pt x="220" y="14"/>
                  </a:lnTo>
                  <a:lnTo>
                    <a:pt x="220" y="12"/>
                  </a:lnTo>
                  <a:lnTo>
                    <a:pt x="224" y="8"/>
                  </a:lnTo>
                  <a:lnTo>
                    <a:pt x="228" y="4"/>
                  </a:lnTo>
                  <a:lnTo>
                    <a:pt x="228" y="2"/>
                  </a:lnTo>
                  <a:lnTo>
                    <a:pt x="228" y="0"/>
                  </a:lnTo>
                  <a:lnTo>
                    <a:pt x="230" y="0"/>
                  </a:lnTo>
                  <a:lnTo>
                    <a:pt x="232" y="6"/>
                  </a:lnTo>
                  <a:lnTo>
                    <a:pt x="234" y="12"/>
                  </a:lnTo>
                  <a:lnTo>
                    <a:pt x="236" y="18"/>
                  </a:lnTo>
                  <a:lnTo>
                    <a:pt x="240" y="24"/>
                  </a:lnTo>
                  <a:lnTo>
                    <a:pt x="244" y="30"/>
                  </a:lnTo>
                  <a:lnTo>
                    <a:pt x="246" y="36"/>
                  </a:lnTo>
                  <a:lnTo>
                    <a:pt x="252" y="40"/>
                  </a:lnTo>
                  <a:lnTo>
                    <a:pt x="258" y="46"/>
                  </a:lnTo>
                  <a:lnTo>
                    <a:pt x="260" y="52"/>
                  </a:lnTo>
                  <a:lnTo>
                    <a:pt x="266" y="58"/>
                  </a:lnTo>
                  <a:lnTo>
                    <a:pt x="270" y="64"/>
                  </a:lnTo>
                  <a:lnTo>
                    <a:pt x="278" y="68"/>
                  </a:lnTo>
                  <a:lnTo>
                    <a:pt x="284" y="74"/>
                  </a:lnTo>
                  <a:lnTo>
                    <a:pt x="288" y="76"/>
                  </a:lnTo>
                  <a:lnTo>
                    <a:pt x="294" y="78"/>
                  </a:lnTo>
                  <a:lnTo>
                    <a:pt x="300" y="80"/>
                  </a:lnTo>
                  <a:lnTo>
                    <a:pt x="306" y="82"/>
                  </a:lnTo>
                  <a:lnTo>
                    <a:pt x="312" y="84"/>
                  </a:lnTo>
                  <a:lnTo>
                    <a:pt x="318" y="84"/>
                  </a:lnTo>
                  <a:lnTo>
                    <a:pt x="324" y="88"/>
                  </a:lnTo>
                  <a:lnTo>
                    <a:pt x="330" y="88"/>
                  </a:lnTo>
                  <a:lnTo>
                    <a:pt x="336" y="88"/>
                  </a:lnTo>
                  <a:lnTo>
                    <a:pt x="342" y="90"/>
                  </a:lnTo>
                  <a:lnTo>
                    <a:pt x="348" y="92"/>
                  </a:lnTo>
                  <a:lnTo>
                    <a:pt x="352" y="94"/>
                  </a:lnTo>
                  <a:lnTo>
                    <a:pt x="358" y="94"/>
                  </a:lnTo>
                  <a:lnTo>
                    <a:pt x="364" y="94"/>
                  </a:lnTo>
                  <a:lnTo>
                    <a:pt x="370" y="94"/>
                  </a:lnTo>
                  <a:lnTo>
                    <a:pt x="376" y="100"/>
                  </a:lnTo>
                  <a:lnTo>
                    <a:pt x="382" y="106"/>
                  </a:lnTo>
                  <a:lnTo>
                    <a:pt x="386" y="112"/>
                  </a:lnTo>
                  <a:lnTo>
                    <a:pt x="392" y="118"/>
                  </a:lnTo>
                  <a:lnTo>
                    <a:pt x="396" y="124"/>
                  </a:lnTo>
                  <a:lnTo>
                    <a:pt x="398" y="128"/>
                  </a:lnTo>
                  <a:lnTo>
                    <a:pt x="402" y="134"/>
                  </a:lnTo>
                  <a:lnTo>
                    <a:pt x="408" y="140"/>
                  </a:lnTo>
                  <a:lnTo>
                    <a:pt x="412" y="144"/>
                  </a:lnTo>
                  <a:lnTo>
                    <a:pt x="414" y="152"/>
                  </a:lnTo>
                  <a:lnTo>
                    <a:pt x="420" y="158"/>
                  </a:lnTo>
                  <a:lnTo>
                    <a:pt x="426" y="162"/>
                  </a:lnTo>
                  <a:lnTo>
                    <a:pt x="430" y="168"/>
                  </a:lnTo>
                  <a:lnTo>
                    <a:pt x="436" y="168"/>
                  </a:lnTo>
                  <a:lnTo>
                    <a:pt x="442" y="170"/>
                  </a:lnTo>
                  <a:lnTo>
                    <a:pt x="448" y="170"/>
                  </a:lnTo>
                  <a:lnTo>
                    <a:pt x="448" y="172"/>
                  </a:lnTo>
                  <a:lnTo>
                    <a:pt x="450" y="178"/>
                  </a:lnTo>
                  <a:lnTo>
                    <a:pt x="450" y="184"/>
                  </a:lnTo>
                  <a:lnTo>
                    <a:pt x="450" y="190"/>
                  </a:lnTo>
                  <a:lnTo>
                    <a:pt x="450" y="192"/>
                  </a:lnTo>
                  <a:lnTo>
                    <a:pt x="446" y="198"/>
                  </a:lnTo>
                  <a:lnTo>
                    <a:pt x="444" y="204"/>
                  </a:lnTo>
                  <a:lnTo>
                    <a:pt x="442" y="210"/>
                  </a:lnTo>
                  <a:lnTo>
                    <a:pt x="438" y="216"/>
                  </a:lnTo>
                  <a:lnTo>
                    <a:pt x="434" y="222"/>
                  </a:lnTo>
                  <a:lnTo>
                    <a:pt x="432" y="228"/>
                  </a:lnTo>
                  <a:lnTo>
                    <a:pt x="432" y="234"/>
                  </a:lnTo>
                  <a:lnTo>
                    <a:pt x="428" y="240"/>
                  </a:lnTo>
                  <a:lnTo>
                    <a:pt x="426" y="246"/>
                  </a:lnTo>
                  <a:lnTo>
                    <a:pt x="420" y="250"/>
                  </a:lnTo>
                  <a:lnTo>
                    <a:pt x="414" y="254"/>
                  </a:lnTo>
                  <a:lnTo>
                    <a:pt x="408" y="260"/>
                  </a:lnTo>
                  <a:lnTo>
                    <a:pt x="404" y="266"/>
                  </a:lnTo>
                  <a:lnTo>
                    <a:pt x="400" y="272"/>
                  </a:lnTo>
                  <a:lnTo>
                    <a:pt x="396" y="278"/>
                  </a:lnTo>
                  <a:lnTo>
                    <a:pt x="394" y="284"/>
                  </a:lnTo>
                  <a:lnTo>
                    <a:pt x="390" y="288"/>
                  </a:lnTo>
                  <a:lnTo>
                    <a:pt x="388" y="294"/>
                  </a:lnTo>
                  <a:lnTo>
                    <a:pt x="384" y="302"/>
                  </a:lnTo>
                  <a:lnTo>
                    <a:pt x="384" y="306"/>
                  </a:lnTo>
                  <a:lnTo>
                    <a:pt x="382" y="312"/>
                  </a:lnTo>
                  <a:lnTo>
                    <a:pt x="380" y="318"/>
                  </a:lnTo>
                  <a:lnTo>
                    <a:pt x="376" y="320"/>
                  </a:lnTo>
                  <a:lnTo>
                    <a:pt x="372" y="318"/>
                  </a:lnTo>
                  <a:lnTo>
                    <a:pt x="364" y="316"/>
                  </a:lnTo>
                  <a:lnTo>
                    <a:pt x="364" y="310"/>
                  </a:lnTo>
                  <a:lnTo>
                    <a:pt x="360" y="304"/>
                  </a:lnTo>
                  <a:lnTo>
                    <a:pt x="356" y="308"/>
                  </a:lnTo>
                  <a:lnTo>
                    <a:pt x="354" y="314"/>
                  </a:lnTo>
                  <a:lnTo>
                    <a:pt x="348" y="318"/>
                  </a:lnTo>
                  <a:lnTo>
                    <a:pt x="348" y="324"/>
                  </a:lnTo>
                  <a:lnTo>
                    <a:pt x="342" y="328"/>
                  </a:lnTo>
                  <a:lnTo>
                    <a:pt x="342" y="334"/>
                  </a:lnTo>
                  <a:lnTo>
                    <a:pt x="342" y="340"/>
                  </a:lnTo>
                  <a:lnTo>
                    <a:pt x="342" y="346"/>
                  </a:lnTo>
                  <a:lnTo>
                    <a:pt x="340" y="350"/>
                  </a:lnTo>
                  <a:lnTo>
                    <a:pt x="338" y="356"/>
                  </a:lnTo>
                  <a:lnTo>
                    <a:pt x="336" y="362"/>
                  </a:lnTo>
                  <a:lnTo>
                    <a:pt x="338" y="368"/>
                  </a:lnTo>
                  <a:lnTo>
                    <a:pt x="338" y="374"/>
                  </a:lnTo>
                  <a:lnTo>
                    <a:pt x="338" y="380"/>
                  </a:lnTo>
                  <a:lnTo>
                    <a:pt x="342" y="386"/>
                  </a:lnTo>
                  <a:lnTo>
                    <a:pt x="342" y="392"/>
                  </a:lnTo>
                  <a:lnTo>
                    <a:pt x="342" y="398"/>
                  </a:lnTo>
                  <a:lnTo>
                    <a:pt x="346" y="404"/>
                  </a:lnTo>
                  <a:lnTo>
                    <a:pt x="346" y="410"/>
                  </a:lnTo>
                  <a:lnTo>
                    <a:pt x="346" y="416"/>
                  </a:lnTo>
                  <a:lnTo>
                    <a:pt x="342" y="418"/>
                  </a:lnTo>
                  <a:lnTo>
                    <a:pt x="336" y="418"/>
                  </a:lnTo>
                  <a:lnTo>
                    <a:pt x="330" y="418"/>
                  </a:lnTo>
                  <a:lnTo>
                    <a:pt x="324" y="420"/>
                  </a:lnTo>
                  <a:lnTo>
                    <a:pt x="318" y="420"/>
                  </a:lnTo>
                  <a:lnTo>
                    <a:pt x="312" y="422"/>
                  </a:lnTo>
                  <a:lnTo>
                    <a:pt x="306" y="424"/>
                  </a:lnTo>
                  <a:lnTo>
                    <a:pt x="300" y="426"/>
                  </a:lnTo>
                  <a:lnTo>
                    <a:pt x="294" y="428"/>
                  </a:lnTo>
                  <a:lnTo>
                    <a:pt x="288" y="432"/>
                  </a:lnTo>
                  <a:lnTo>
                    <a:pt x="286" y="436"/>
                  </a:lnTo>
                  <a:lnTo>
                    <a:pt x="280" y="440"/>
                  </a:lnTo>
                  <a:lnTo>
                    <a:pt x="278" y="446"/>
                  </a:lnTo>
                  <a:lnTo>
                    <a:pt x="278" y="454"/>
                  </a:lnTo>
                  <a:lnTo>
                    <a:pt x="278" y="458"/>
                  </a:lnTo>
                  <a:lnTo>
                    <a:pt x="276" y="464"/>
                  </a:lnTo>
                  <a:lnTo>
                    <a:pt x="274" y="470"/>
                  </a:lnTo>
                  <a:lnTo>
                    <a:pt x="274" y="476"/>
                  </a:lnTo>
                  <a:lnTo>
                    <a:pt x="268" y="482"/>
                  </a:lnTo>
                  <a:lnTo>
                    <a:pt x="262" y="488"/>
                  </a:lnTo>
                  <a:lnTo>
                    <a:pt x="256" y="488"/>
                  </a:lnTo>
                  <a:lnTo>
                    <a:pt x="250" y="488"/>
                  </a:lnTo>
                  <a:lnTo>
                    <a:pt x="248" y="488"/>
                  </a:lnTo>
                  <a:lnTo>
                    <a:pt x="242" y="488"/>
                  </a:lnTo>
                  <a:lnTo>
                    <a:pt x="236" y="490"/>
                  </a:lnTo>
                  <a:lnTo>
                    <a:pt x="232" y="490"/>
                  </a:lnTo>
                  <a:lnTo>
                    <a:pt x="226" y="492"/>
                  </a:lnTo>
                  <a:lnTo>
                    <a:pt x="220" y="492"/>
                  </a:lnTo>
                  <a:lnTo>
                    <a:pt x="214" y="494"/>
                  </a:lnTo>
                  <a:lnTo>
                    <a:pt x="208" y="500"/>
                  </a:lnTo>
                  <a:lnTo>
                    <a:pt x="206" y="506"/>
                  </a:lnTo>
                  <a:lnTo>
                    <a:pt x="200" y="512"/>
                  </a:lnTo>
                  <a:lnTo>
                    <a:pt x="198" y="518"/>
                  </a:lnTo>
                  <a:lnTo>
                    <a:pt x="202" y="524"/>
                  </a:lnTo>
                  <a:lnTo>
                    <a:pt x="202" y="530"/>
                  </a:lnTo>
                  <a:lnTo>
                    <a:pt x="200" y="536"/>
                  </a:lnTo>
                  <a:lnTo>
                    <a:pt x="198" y="542"/>
                  </a:lnTo>
                  <a:lnTo>
                    <a:pt x="194" y="546"/>
                  </a:lnTo>
                  <a:lnTo>
                    <a:pt x="188" y="552"/>
                  </a:lnTo>
                  <a:lnTo>
                    <a:pt x="182" y="554"/>
                  </a:lnTo>
                  <a:lnTo>
                    <a:pt x="176" y="556"/>
                  </a:lnTo>
                  <a:lnTo>
                    <a:pt x="170" y="556"/>
                  </a:lnTo>
                  <a:lnTo>
                    <a:pt x="164" y="552"/>
                  </a:lnTo>
                  <a:lnTo>
                    <a:pt x="158" y="550"/>
                  </a:lnTo>
                  <a:lnTo>
                    <a:pt x="152" y="552"/>
                  </a:lnTo>
                  <a:lnTo>
                    <a:pt x="146" y="552"/>
                  </a:lnTo>
                  <a:lnTo>
                    <a:pt x="140" y="552"/>
                  </a:lnTo>
                  <a:lnTo>
                    <a:pt x="134" y="552"/>
                  </a:lnTo>
                  <a:lnTo>
                    <a:pt x="130" y="554"/>
                  </a:lnTo>
                  <a:lnTo>
                    <a:pt x="126" y="560"/>
                  </a:lnTo>
                  <a:lnTo>
                    <a:pt x="120" y="560"/>
                  </a:lnTo>
                  <a:lnTo>
                    <a:pt x="114" y="562"/>
                  </a:lnTo>
                  <a:lnTo>
                    <a:pt x="108" y="566"/>
                  </a:lnTo>
                  <a:lnTo>
                    <a:pt x="102" y="570"/>
                  </a:lnTo>
                  <a:lnTo>
                    <a:pt x="96" y="570"/>
                  </a:lnTo>
                  <a:lnTo>
                    <a:pt x="90" y="572"/>
                  </a:lnTo>
                  <a:lnTo>
                    <a:pt x="84" y="572"/>
                  </a:lnTo>
                  <a:lnTo>
                    <a:pt x="78" y="576"/>
                  </a:lnTo>
                  <a:lnTo>
                    <a:pt x="74" y="574"/>
                  </a:lnTo>
                  <a:lnTo>
                    <a:pt x="54" y="534"/>
                  </a:lnTo>
                  <a:lnTo>
                    <a:pt x="50" y="532"/>
                  </a:lnTo>
                  <a:lnTo>
                    <a:pt x="48" y="532"/>
                  </a:lnTo>
                  <a:lnTo>
                    <a:pt x="50" y="530"/>
                  </a:lnTo>
                  <a:lnTo>
                    <a:pt x="0" y="418"/>
                  </a:lnTo>
                  <a:lnTo>
                    <a:pt x="0" y="4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3" name="Freeform 220"/>
            <p:cNvSpPr>
              <a:spLocks/>
            </p:cNvSpPr>
            <p:nvPr/>
          </p:nvSpPr>
          <p:spPr bwMode="auto">
            <a:xfrm>
              <a:off x="3862388" y="3884613"/>
              <a:ext cx="180975" cy="157162"/>
            </a:xfrm>
            <a:custGeom>
              <a:avLst/>
              <a:gdLst>
                <a:gd name="T0" fmla="*/ 2147483647 w 446"/>
                <a:gd name="T1" fmla="*/ 2147483647 h 380"/>
                <a:gd name="T2" fmla="*/ 2147483647 w 446"/>
                <a:gd name="T3" fmla="*/ 2147483647 h 380"/>
                <a:gd name="T4" fmla="*/ 2147483647 w 446"/>
                <a:gd name="T5" fmla="*/ 2147483647 h 380"/>
                <a:gd name="T6" fmla="*/ 2147483647 w 446"/>
                <a:gd name="T7" fmla="*/ 2147483647 h 380"/>
                <a:gd name="T8" fmla="*/ 2147483647 w 446"/>
                <a:gd name="T9" fmla="*/ 2147483647 h 380"/>
                <a:gd name="T10" fmla="*/ 2147483647 w 446"/>
                <a:gd name="T11" fmla="*/ 0 h 380"/>
                <a:gd name="T12" fmla="*/ 2147483647 w 446"/>
                <a:gd name="T13" fmla="*/ 2147483647 h 380"/>
                <a:gd name="T14" fmla="*/ 2147483647 w 446"/>
                <a:gd name="T15" fmla="*/ 2147483647 h 380"/>
                <a:gd name="T16" fmla="*/ 2147483647 w 446"/>
                <a:gd name="T17" fmla="*/ 2147483647 h 380"/>
                <a:gd name="T18" fmla="*/ 2147483647 w 446"/>
                <a:gd name="T19" fmla="*/ 2147483647 h 380"/>
                <a:gd name="T20" fmla="*/ 2147483647 w 446"/>
                <a:gd name="T21" fmla="*/ 2147483647 h 380"/>
                <a:gd name="T22" fmla="*/ 2147483647 w 446"/>
                <a:gd name="T23" fmla="*/ 2147483647 h 380"/>
                <a:gd name="T24" fmla="*/ 2147483647 w 446"/>
                <a:gd name="T25" fmla="*/ 2147483647 h 380"/>
                <a:gd name="T26" fmla="*/ 2147483647 w 446"/>
                <a:gd name="T27" fmla="*/ 2147483647 h 380"/>
                <a:gd name="T28" fmla="*/ 2147483647 w 446"/>
                <a:gd name="T29" fmla="*/ 2147483647 h 380"/>
                <a:gd name="T30" fmla="*/ 2147483647 w 446"/>
                <a:gd name="T31" fmla="*/ 2147483647 h 380"/>
                <a:gd name="T32" fmla="*/ 2147483647 w 446"/>
                <a:gd name="T33" fmla="*/ 2147483647 h 380"/>
                <a:gd name="T34" fmla="*/ 2147483647 w 446"/>
                <a:gd name="T35" fmla="*/ 2147483647 h 380"/>
                <a:gd name="T36" fmla="*/ 2147483647 w 446"/>
                <a:gd name="T37" fmla="*/ 2147483647 h 380"/>
                <a:gd name="T38" fmla="*/ 2147483647 w 446"/>
                <a:gd name="T39" fmla="*/ 2147483647 h 380"/>
                <a:gd name="T40" fmla="*/ 2147483647 w 446"/>
                <a:gd name="T41" fmla="*/ 2147483647 h 380"/>
                <a:gd name="T42" fmla="*/ 2147483647 w 446"/>
                <a:gd name="T43" fmla="*/ 2147483647 h 380"/>
                <a:gd name="T44" fmla="*/ 2147483647 w 446"/>
                <a:gd name="T45" fmla="*/ 2147483647 h 380"/>
                <a:gd name="T46" fmla="*/ 2147483647 w 446"/>
                <a:gd name="T47" fmla="*/ 2147483647 h 380"/>
                <a:gd name="T48" fmla="*/ 2147483647 w 446"/>
                <a:gd name="T49" fmla="*/ 2147483647 h 380"/>
                <a:gd name="T50" fmla="*/ 2147483647 w 446"/>
                <a:gd name="T51" fmla="*/ 2147483647 h 380"/>
                <a:gd name="T52" fmla="*/ 2147483647 w 446"/>
                <a:gd name="T53" fmla="*/ 2147483647 h 380"/>
                <a:gd name="T54" fmla="*/ 2147483647 w 446"/>
                <a:gd name="T55" fmla="*/ 2147483647 h 380"/>
                <a:gd name="T56" fmla="*/ 2147483647 w 446"/>
                <a:gd name="T57" fmla="*/ 2147483647 h 380"/>
                <a:gd name="T58" fmla="*/ 2147483647 w 446"/>
                <a:gd name="T59" fmla="*/ 2147483647 h 380"/>
                <a:gd name="T60" fmla="*/ 2147483647 w 446"/>
                <a:gd name="T61" fmla="*/ 2147483647 h 380"/>
                <a:gd name="T62" fmla="*/ 2147483647 w 446"/>
                <a:gd name="T63" fmla="*/ 2147483647 h 380"/>
                <a:gd name="T64" fmla="*/ 2147483647 w 446"/>
                <a:gd name="T65" fmla="*/ 2147483647 h 380"/>
                <a:gd name="T66" fmla="*/ 2147483647 w 446"/>
                <a:gd name="T67" fmla="*/ 2147483647 h 380"/>
                <a:gd name="T68" fmla="*/ 2147483647 w 446"/>
                <a:gd name="T69" fmla="*/ 2147483647 h 380"/>
                <a:gd name="T70" fmla="*/ 2147483647 w 446"/>
                <a:gd name="T71" fmla="*/ 2147483647 h 380"/>
                <a:gd name="T72" fmla="*/ 2147483647 w 446"/>
                <a:gd name="T73" fmla="*/ 2147483647 h 380"/>
                <a:gd name="T74" fmla="*/ 2147483647 w 446"/>
                <a:gd name="T75" fmla="*/ 2147483647 h 380"/>
                <a:gd name="T76" fmla="*/ 2147483647 w 446"/>
                <a:gd name="T77" fmla="*/ 2147483647 h 380"/>
                <a:gd name="T78" fmla="*/ 2147483647 w 446"/>
                <a:gd name="T79" fmla="*/ 2147483647 h 380"/>
                <a:gd name="T80" fmla="*/ 2147483647 w 446"/>
                <a:gd name="T81" fmla="*/ 2147483647 h 380"/>
                <a:gd name="T82" fmla="*/ 2147483647 w 446"/>
                <a:gd name="T83" fmla="*/ 2147483647 h 380"/>
                <a:gd name="T84" fmla="*/ 2147483647 w 446"/>
                <a:gd name="T85" fmla="*/ 2147483647 h 380"/>
                <a:gd name="T86" fmla="*/ 2147483647 w 446"/>
                <a:gd name="T87" fmla="*/ 2147483647 h 380"/>
                <a:gd name="T88" fmla="*/ 2147483647 w 446"/>
                <a:gd name="T89" fmla="*/ 2147483647 h 380"/>
                <a:gd name="T90" fmla="*/ 2147483647 w 446"/>
                <a:gd name="T91" fmla="*/ 2147483647 h 380"/>
                <a:gd name="T92" fmla="*/ 2147483647 w 446"/>
                <a:gd name="T93" fmla="*/ 2147483647 h 380"/>
                <a:gd name="T94" fmla="*/ 2147483647 w 446"/>
                <a:gd name="T95" fmla="*/ 2147483647 h 380"/>
                <a:gd name="T96" fmla="*/ 2147483647 w 446"/>
                <a:gd name="T97" fmla="*/ 2147483647 h 380"/>
                <a:gd name="T98" fmla="*/ 2147483647 w 446"/>
                <a:gd name="T99" fmla="*/ 2147483647 h 380"/>
                <a:gd name="T100" fmla="*/ 2147483647 w 446"/>
                <a:gd name="T101" fmla="*/ 2147483647 h 380"/>
                <a:gd name="T102" fmla="*/ 2147483647 w 446"/>
                <a:gd name="T103" fmla="*/ 2147483647 h 380"/>
                <a:gd name="T104" fmla="*/ 2147483647 w 446"/>
                <a:gd name="T105" fmla="*/ 2147483647 h 380"/>
                <a:gd name="T106" fmla="*/ 2147483647 w 446"/>
                <a:gd name="T107" fmla="*/ 2147483647 h 380"/>
                <a:gd name="T108" fmla="*/ 2147483647 w 446"/>
                <a:gd name="T109" fmla="*/ 2147483647 h 380"/>
                <a:gd name="T110" fmla="*/ 2147483647 w 446"/>
                <a:gd name="T111" fmla="*/ 2147483647 h 380"/>
                <a:gd name="T112" fmla="*/ 2147483647 w 446"/>
                <a:gd name="T113" fmla="*/ 2147483647 h 380"/>
                <a:gd name="T114" fmla="*/ 2147483647 w 446"/>
                <a:gd name="T115" fmla="*/ 2147483647 h 380"/>
                <a:gd name="T116" fmla="*/ 2147483647 w 446"/>
                <a:gd name="T117" fmla="*/ 2147483647 h 380"/>
                <a:gd name="T118" fmla="*/ 2147483647 w 446"/>
                <a:gd name="T119" fmla="*/ 2147483647 h 3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46"/>
                <a:gd name="T181" fmla="*/ 0 h 380"/>
                <a:gd name="T182" fmla="*/ 446 w 446"/>
                <a:gd name="T183" fmla="*/ 380 h 38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46" h="380">
                  <a:moveTo>
                    <a:pt x="0" y="118"/>
                  </a:moveTo>
                  <a:lnTo>
                    <a:pt x="4" y="112"/>
                  </a:lnTo>
                  <a:lnTo>
                    <a:pt x="6" y="106"/>
                  </a:lnTo>
                  <a:lnTo>
                    <a:pt x="10" y="100"/>
                  </a:lnTo>
                  <a:lnTo>
                    <a:pt x="12" y="94"/>
                  </a:lnTo>
                  <a:lnTo>
                    <a:pt x="14" y="88"/>
                  </a:lnTo>
                  <a:lnTo>
                    <a:pt x="18" y="82"/>
                  </a:lnTo>
                  <a:lnTo>
                    <a:pt x="24" y="80"/>
                  </a:lnTo>
                  <a:lnTo>
                    <a:pt x="30" y="80"/>
                  </a:lnTo>
                  <a:lnTo>
                    <a:pt x="36" y="78"/>
                  </a:lnTo>
                  <a:lnTo>
                    <a:pt x="42" y="74"/>
                  </a:lnTo>
                  <a:lnTo>
                    <a:pt x="48" y="70"/>
                  </a:lnTo>
                  <a:lnTo>
                    <a:pt x="52" y="70"/>
                  </a:lnTo>
                  <a:lnTo>
                    <a:pt x="58" y="72"/>
                  </a:lnTo>
                  <a:lnTo>
                    <a:pt x="64" y="72"/>
                  </a:lnTo>
                  <a:lnTo>
                    <a:pt x="68" y="70"/>
                  </a:lnTo>
                  <a:lnTo>
                    <a:pt x="74" y="68"/>
                  </a:lnTo>
                  <a:lnTo>
                    <a:pt x="80" y="64"/>
                  </a:lnTo>
                  <a:lnTo>
                    <a:pt x="80" y="56"/>
                  </a:lnTo>
                  <a:lnTo>
                    <a:pt x="80" y="50"/>
                  </a:lnTo>
                  <a:lnTo>
                    <a:pt x="78" y="46"/>
                  </a:lnTo>
                  <a:lnTo>
                    <a:pt x="72" y="40"/>
                  </a:lnTo>
                  <a:lnTo>
                    <a:pt x="66" y="36"/>
                  </a:lnTo>
                  <a:lnTo>
                    <a:pt x="64" y="36"/>
                  </a:lnTo>
                  <a:lnTo>
                    <a:pt x="64" y="34"/>
                  </a:lnTo>
                  <a:lnTo>
                    <a:pt x="68" y="30"/>
                  </a:lnTo>
                  <a:lnTo>
                    <a:pt x="76" y="30"/>
                  </a:lnTo>
                  <a:lnTo>
                    <a:pt x="80" y="26"/>
                  </a:lnTo>
                  <a:lnTo>
                    <a:pt x="82" y="20"/>
                  </a:lnTo>
                  <a:lnTo>
                    <a:pt x="84" y="16"/>
                  </a:lnTo>
                  <a:lnTo>
                    <a:pt x="82" y="12"/>
                  </a:lnTo>
                  <a:lnTo>
                    <a:pt x="80" y="4"/>
                  </a:lnTo>
                  <a:lnTo>
                    <a:pt x="80" y="0"/>
                  </a:lnTo>
                  <a:lnTo>
                    <a:pt x="86" y="0"/>
                  </a:lnTo>
                  <a:lnTo>
                    <a:pt x="90" y="0"/>
                  </a:lnTo>
                  <a:lnTo>
                    <a:pt x="96" y="0"/>
                  </a:lnTo>
                  <a:lnTo>
                    <a:pt x="102" y="2"/>
                  </a:lnTo>
                  <a:lnTo>
                    <a:pt x="106" y="2"/>
                  </a:lnTo>
                  <a:lnTo>
                    <a:pt x="110" y="2"/>
                  </a:lnTo>
                  <a:lnTo>
                    <a:pt x="114" y="2"/>
                  </a:lnTo>
                  <a:lnTo>
                    <a:pt x="120" y="4"/>
                  </a:lnTo>
                  <a:lnTo>
                    <a:pt x="120" y="10"/>
                  </a:lnTo>
                  <a:lnTo>
                    <a:pt x="120" y="12"/>
                  </a:lnTo>
                  <a:lnTo>
                    <a:pt x="126" y="14"/>
                  </a:lnTo>
                  <a:lnTo>
                    <a:pt x="132" y="10"/>
                  </a:lnTo>
                  <a:lnTo>
                    <a:pt x="138" y="16"/>
                  </a:lnTo>
                  <a:lnTo>
                    <a:pt x="144" y="16"/>
                  </a:lnTo>
                  <a:lnTo>
                    <a:pt x="148" y="22"/>
                  </a:lnTo>
                  <a:lnTo>
                    <a:pt x="152" y="20"/>
                  </a:lnTo>
                  <a:lnTo>
                    <a:pt x="158" y="20"/>
                  </a:lnTo>
                  <a:lnTo>
                    <a:pt x="164" y="26"/>
                  </a:lnTo>
                  <a:lnTo>
                    <a:pt x="166" y="26"/>
                  </a:lnTo>
                  <a:lnTo>
                    <a:pt x="168" y="24"/>
                  </a:lnTo>
                  <a:lnTo>
                    <a:pt x="174" y="22"/>
                  </a:lnTo>
                  <a:lnTo>
                    <a:pt x="176" y="22"/>
                  </a:lnTo>
                  <a:lnTo>
                    <a:pt x="182" y="18"/>
                  </a:lnTo>
                  <a:lnTo>
                    <a:pt x="186" y="20"/>
                  </a:lnTo>
                  <a:lnTo>
                    <a:pt x="192" y="20"/>
                  </a:lnTo>
                  <a:lnTo>
                    <a:pt x="198" y="20"/>
                  </a:lnTo>
                  <a:lnTo>
                    <a:pt x="204" y="20"/>
                  </a:lnTo>
                  <a:lnTo>
                    <a:pt x="210" y="18"/>
                  </a:lnTo>
                  <a:lnTo>
                    <a:pt x="216" y="16"/>
                  </a:lnTo>
                  <a:lnTo>
                    <a:pt x="222" y="18"/>
                  </a:lnTo>
                  <a:lnTo>
                    <a:pt x="218" y="26"/>
                  </a:lnTo>
                  <a:lnTo>
                    <a:pt x="216" y="30"/>
                  </a:lnTo>
                  <a:lnTo>
                    <a:pt x="216" y="36"/>
                  </a:lnTo>
                  <a:lnTo>
                    <a:pt x="218" y="38"/>
                  </a:lnTo>
                  <a:lnTo>
                    <a:pt x="224" y="44"/>
                  </a:lnTo>
                  <a:lnTo>
                    <a:pt x="230" y="48"/>
                  </a:lnTo>
                  <a:lnTo>
                    <a:pt x="234" y="46"/>
                  </a:lnTo>
                  <a:lnTo>
                    <a:pt x="238" y="40"/>
                  </a:lnTo>
                  <a:lnTo>
                    <a:pt x="242" y="34"/>
                  </a:lnTo>
                  <a:lnTo>
                    <a:pt x="244" y="32"/>
                  </a:lnTo>
                  <a:lnTo>
                    <a:pt x="250" y="32"/>
                  </a:lnTo>
                  <a:lnTo>
                    <a:pt x="254" y="38"/>
                  </a:lnTo>
                  <a:lnTo>
                    <a:pt x="256" y="44"/>
                  </a:lnTo>
                  <a:lnTo>
                    <a:pt x="260" y="50"/>
                  </a:lnTo>
                  <a:lnTo>
                    <a:pt x="266" y="54"/>
                  </a:lnTo>
                  <a:lnTo>
                    <a:pt x="270" y="48"/>
                  </a:lnTo>
                  <a:lnTo>
                    <a:pt x="274" y="42"/>
                  </a:lnTo>
                  <a:lnTo>
                    <a:pt x="280" y="38"/>
                  </a:lnTo>
                  <a:lnTo>
                    <a:pt x="286" y="32"/>
                  </a:lnTo>
                  <a:lnTo>
                    <a:pt x="292" y="34"/>
                  </a:lnTo>
                  <a:lnTo>
                    <a:pt x="296" y="34"/>
                  </a:lnTo>
                  <a:lnTo>
                    <a:pt x="302" y="36"/>
                  </a:lnTo>
                  <a:lnTo>
                    <a:pt x="306" y="38"/>
                  </a:lnTo>
                  <a:lnTo>
                    <a:pt x="312" y="42"/>
                  </a:lnTo>
                  <a:lnTo>
                    <a:pt x="314" y="44"/>
                  </a:lnTo>
                  <a:lnTo>
                    <a:pt x="320" y="46"/>
                  </a:lnTo>
                  <a:lnTo>
                    <a:pt x="326" y="42"/>
                  </a:lnTo>
                  <a:lnTo>
                    <a:pt x="326" y="36"/>
                  </a:lnTo>
                  <a:lnTo>
                    <a:pt x="334" y="34"/>
                  </a:lnTo>
                  <a:lnTo>
                    <a:pt x="340" y="30"/>
                  </a:lnTo>
                  <a:lnTo>
                    <a:pt x="344" y="30"/>
                  </a:lnTo>
                  <a:lnTo>
                    <a:pt x="346" y="30"/>
                  </a:lnTo>
                  <a:lnTo>
                    <a:pt x="348" y="26"/>
                  </a:lnTo>
                  <a:lnTo>
                    <a:pt x="346" y="20"/>
                  </a:lnTo>
                  <a:lnTo>
                    <a:pt x="344" y="14"/>
                  </a:lnTo>
                  <a:lnTo>
                    <a:pt x="348" y="12"/>
                  </a:lnTo>
                  <a:lnTo>
                    <a:pt x="354" y="14"/>
                  </a:lnTo>
                  <a:lnTo>
                    <a:pt x="358" y="16"/>
                  </a:lnTo>
                  <a:lnTo>
                    <a:pt x="362" y="16"/>
                  </a:lnTo>
                  <a:lnTo>
                    <a:pt x="368" y="20"/>
                  </a:lnTo>
                  <a:lnTo>
                    <a:pt x="368" y="26"/>
                  </a:lnTo>
                  <a:lnTo>
                    <a:pt x="368" y="32"/>
                  </a:lnTo>
                  <a:lnTo>
                    <a:pt x="368" y="34"/>
                  </a:lnTo>
                  <a:lnTo>
                    <a:pt x="372" y="38"/>
                  </a:lnTo>
                  <a:lnTo>
                    <a:pt x="372" y="44"/>
                  </a:lnTo>
                  <a:lnTo>
                    <a:pt x="378" y="46"/>
                  </a:lnTo>
                  <a:lnTo>
                    <a:pt x="378" y="50"/>
                  </a:lnTo>
                  <a:lnTo>
                    <a:pt x="378" y="58"/>
                  </a:lnTo>
                  <a:lnTo>
                    <a:pt x="378" y="64"/>
                  </a:lnTo>
                  <a:lnTo>
                    <a:pt x="376" y="68"/>
                  </a:lnTo>
                  <a:lnTo>
                    <a:pt x="380" y="72"/>
                  </a:lnTo>
                  <a:lnTo>
                    <a:pt x="382" y="72"/>
                  </a:lnTo>
                  <a:lnTo>
                    <a:pt x="384" y="70"/>
                  </a:lnTo>
                  <a:lnTo>
                    <a:pt x="384" y="72"/>
                  </a:lnTo>
                  <a:lnTo>
                    <a:pt x="384" y="74"/>
                  </a:lnTo>
                  <a:lnTo>
                    <a:pt x="386" y="80"/>
                  </a:lnTo>
                  <a:lnTo>
                    <a:pt x="392" y="84"/>
                  </a:lnTo>
                  <a:lnTo>
                    <a:pt x="394" y="82"/>
                  </a:lnTo>
                  <a:lnTo>
                    <a:pt x="400" y="88"/>
                  </a:lnTo>
                  <a:lnTo>
                    <a:pt x="404" y="90"/>
                  </a:lnTo>
                  <a:lnTo>
                    <a:pt x="404" y="96"/>
                  </a:lnTo>
                  <a:lnTo>
                    <a:pt x="398" y="96"/>
                  </a:lnTo>
                  <a:lnTo>
                    <a:pt x="392" y="102"/>
                  </a:lnTo>
                  <a:lnTo>
                    <a:pt x="388" y="108"/>
                  </a:lnTo>
                  <a:lnTo>
                    <a:pt x="386" y="114"/>
                  </a:lnTo>
                  <a:lnTo>
                    <a:pt x="384" y="120"/>
                  </a:lnTo>
                  <a:lnTo>
                    <a:pt x="388" y="118"/>
                  </a:lnTo>
                  <a:lnTo>
                    <a:pt x="392" y="118"/>
                  </a:lnTo>
                  <a:lnTo>
                    <a:pt x="396" y="112"/>
                  </a:lnTo>
                  <a:lnTo>
                    <a:pt x="402" y="114"/>
                  </a:lnTo>
                  <a:lnTo>
                    <a:pt x="408" y="116"/>
                  </a:lnTo>
                  <a:lnTo>
                    <a:pt x="408" y="120"/>
                  </a:lnTo>
                  <a:lnTo>
                    <a:pt x="408" y="126"/>
                  </a:lnTo>
                  <a:lnTo>
                    <a:pt x="408" y="132"/>
                  </a:lnTo>
                  <a:lnTo>
                    <a:pt x="408" y="140"/>
                  </a:lnTo>
                  <a:lnTo>
                    <a:pt x="408" y="144"/>
                  </a:lnTo>
                  <a:lnTo>
                    <a:pt x="408" y="152"/>
                  </a:lnTo>
                  <a:lnTo>
                    <a:pt x="414" y="156"/>
                  </a:lnTo>
                  <a:lnTo>
                    <a:pt x="416" y="156"/>
                  </a:lnTo>
                  <a:lnTo>
                    <a:pt x="418" y="156"/>
                  </a:lnTo>
                  <a:lnTo>
                    <a:pt x="420" y="162"/>
                  </a:lnTo>
                  <a:lnTo>
                    <a:pt x="426" y="162"/>
                  </a:lnTo>
                  <a:lnTo>
                    <a:pt x="428" y="168"/>
                  </a:lnTo>
                  <a:lnTo>
                    <a:pt x="426" y="174"/>
                  </a:lnTo>
                  <a:lnTo>
                    <a:pt x="422" y="180"/>
                  </a:lnTo>
                  <a:lnTo>
                    <a:pt x="416" y="184"/>
                  </a:lnTo>
                  <a:lnTo>
                    <a:pt x="416" y="186"/>
                  </a:lnTo>
                  <a:lnTo>
                    <a:pt x="416" y="192"/>
                  </a:lnTo>
                  <a:lnTo>
                    <a:pt x="418" y="198"/>
                  </a:lnTo>
                  <a:lnTo>
                    <a:pt x="416" y="202"/>
                  </a:lnTo>
                  <a:lnTo>
                    <a:pt x="416" y="208"/>
                  </a:lnTo>
                  <a:lnTo>
                    <a:pt x="416" y="214"/>
                  </a:lnTo>
                  <a:lnTo>
                    <a:pt x="416" y="220"/>
                  </a:lnTo>
                  <a:lnTo>
                    <a:pt x="420" y="226"/>
                  </a:lnTo>
                  <a:lnTo>
                    <a:pt x="426" y="228"/>
                  </a:lnTo>
                  <a:lnTo>
                    <a:pt x="432" y="226"/>
                  </a:lnTo>
                  <a:lnTo>
                    <a:pt x="432" y="230"/>
                  </a:lnTo>
                  <a:lnTo>
                    <a:pt x="430" y="236"/>
                  </a:lnTo>
                  <a:lnTo>
                    <a:pt x="430" y="242"/>
                  </a:lnTo>
                  <a:lnTo>
                    <a:pt x="436" y="246"/>
                  </a:lnTo>
                  <a:lnTo>
                    <a:pt x="440" y="250"/>
                  </a:lnTo>
                  <a:lnTo>
                    <a:pt x="434" y="252"/>
                  </a:lnTo>
                  <a:lnTo>
                    <a:pt x="428" y="256"/>
                  </a:lnTo>
                  <a:lnTo>
                    <a:pt x="428" y="262"/>
                  </a:lnTo>
                  <a:lnTo>
                    <a:pt x="426" y="268"/>
                  </a:lnTo>
                  <a:lnTo>
                    <a:pt x="432" y="270"/>
                  </a:lnTo>
                  <a:lnTo>
                    <a:pt x="438" y="274"/>
                  </a:lnTo>
                  <a:lnTo>
                    <a:pt x="442" y="280"/>
                  </a:lnTo>
                  <a:lnTo>
                    <a:pt x="442" y="286"/>
                  </a:lnTo>
                  <a:lnTo>
                    <a:pt x="444" y="292"/>
                  </a:lnTo>
                  <a:lnTo>
                    <a:pt x="444" y="296"/>
                  </a:lnTo>
                  <a:lnTo>
                    <a:pt x="446" y="298"/>
                  </a:lnTo>
                  <a:lnTo>
                    <a:pt x="444" y="298"/>
                  </a:lnTo>
                  <a:lnTo>
                    <a:pt x="438" y="294"/>
                  </a:lnTo>
                  <a:lnTo>
                    <a:pt x="432" y="294"/>
                  </a:lnTo>
                  <a:lnTo>
                    <a:pt x="426" y="290"/>
                  </a:lnTo>
                  <a:lnTo>
                    <a:pt x="420" y="288"/>
                  </a:lnTo>
                  <a:lnTo>
                    <a:pt x="414" y="290"/>
                  </a:lnTo>
                  <a:lnTo>
                    <a:pt x="408" y="294"/>
                  </a:lnTo>
                  <a:lnTo>
                    <a:pt x="410" y="300"/>
                  </a:lnTo>
                  <a:lnTo>
                    <a:pt x="408" y="304"/>
                  </a:lnTo>
                  <a:lnTo>
                    <a:pt x="414" y="310"/>
                  </a:lnTo>
                  <a:lnTo>
                    <a:pt x="420" y="312"/>
                  </a:lnTo>
                  <a:lnTo>
                    <a:pt x="424" y="318"/>
                  </a:lnTo>
                  <a:lnTo>
                    <a:pt x="426" y="322"/>
                  </a:lnTo>
                  <a:lnTo>
                    <a:pt x="420" y="322"/>
                  </a:lnTo>
                  <a:lnTo>
                    <a:pt x="418" y="328"/>
                  </a:lnTo>
                  <a:lnTo>
                    <a:pt x="416" y="334"/>
                  </a:lnTo>
                  <a:lnTo>
                    <a:pt x="418" y="338"/>
                  </a:lnTo>
                  <a:lnTo>
                    <a:pt x="416" y="344"/>
                  </a:lnTo>
                  <a:lnTo>
                    <a:pt x="412" y="350"/>
                  </a:lnTo>
                  <a:lnTo>
                    <a:pt x="410" y="356"/>
                  </a:lnTo>
                  <a:lnTo>
                    <a:pt x="408" y="354"/>
                  </a:lnTo>
                  <a:lnTo>
                    <a:pt x="402" y="352"/>
                  </a:lnTo>
                  <a:lnTo>
                    <a:pt x="398" y="352"/>
                  </a:lnTo>
                  <a:lnTo>
                    <a:pt x="394" y="354"/>
                  </a:lnTo>
                  <a:lnTo>
                    <a:pt x="388" y="350"/>
                  </a:lnTo>
                  <a:lnTo>
                    <a:pt x="390" y="346"/>
                  </a:lnTo>
                  <a:lnTo>
                    <a:pt x="388" y="346"/>
                  </a:lnTo>
                  <a:lnTo>
                    <a:pt x="382" y="344"/>
                  </a:lnTo>
                  <a:lnTo>
                    <a:pt x="380" y="352"/>
                  </a:lnTo>
                  <a:lnTo>
                    <a:pt x="378" y="354"/>
                  </a:lnTo>
                  <a:lnTo>
                    <a:pt x="378" y="360"/>
                  </a:lnTo>
                  <a:lnTo>
                    <a:pt x="372" y="366"/>
                  </a:lnTo>
                  <a:lnTo>
                    <a:pt x="372" y="372"/>
                  </a:lnTo>
                  <a:lnTo>
                    <a:pt x="366" y="374"/>
                  </a:lnTo>
                  <a:lnTo>
                    <a:pt x="362" y="376"/>
                  </a:lnTo>
                  <a:lnTo>
                    <a:pt x="356" y="378"/>
                  </a:lnTo>
                  <a:lnTo>
                    <a:pt x="354" y="380"/>
                  </a:lnTo>
                  <a:lnTo>
                    <a:pt x="354" y="374"/>
                  </a:lnTo>
                  <a:lnTo>
                    <a:pt x="350" y="368"/>
                  </a:lnTo>
                  <a:lnTo>
                    <a:pt x="344" y="364"/>
                  </a:lnTo>
                  <a:lnTo>
                    <a:pt x="336" y="366"/>
                  </a:lnTo>
                  <a:lnTo>
                    <a:pt x="332" y="368"/>
                  </a:lnTo>
                  <a:lnTo>
                    <a:pt x="332" y="366"/>
                  </a:lnTo>
                  <a:lnTo>
                    <a:pt x="336" y="360"/>
                  </a:lnTo>
                  <a:lnTo>
                    <a:pt x="338" y="354"/>
                  </a:lnTo>
                  <a:lnTo>
                    <a:pt x="338" y="348"/>
                  </a:lnTo>
                  <a:lnTo>
                    <a:pt x="340" y="342"/>
                  </a:lnTo>
                  <a:lnTo>
                    <a:pt x="338" y="336"/>
                  </a:lnTo>
                  <a:lnTo>
                    <a:pt x="336" y="330"/>
                  </a:lnTo>
                  <a:lnTo>
                    <a:pt x="336" y="324"/>
                  </a:lnTo>
                  <a:lnTo>
                    <a:pt x="336" y="320"/>
                  </a:lnTo>
                  <a:lnTo>
                    <a:pt x="334" y="322"/>
                  </a:lnTo>
                  <a:lnTo>
                    <a:pt x="334" y="316"/>
                  </a:lnTo>
                  <a:lnTo>
                    <a:pt x="330" y="310"/>
                  </a:lnTo>
                  <a:lnTo>
                    <a:pt x="330" y="304"/>
                  </a:lnTo>
                  <a:lnTo>
                    <a:pt x="330" y="302"/>
                  </a:lnTo>
                  <a:lnTo>
                    <a:pt x="332" y="300"/>
                  </a:lnTo>
                  <a:lnTo>
                    <a:pt x="326" y="296"/>
                  </a:lnTo>
                  <a:lnTo>
                    <a:pt x="320" y="290"/>
                  </a:lnTo>
                  <a:lnTo>
                    <a:pt x="316" y="284"/>
                  </a:lnTo>
                  <a:lnTo>
                    <a:pt x="310" y="290"/>
                  </a:lnTo>
                  <a:lnTo>
                    <a:pt x="308" y="290"/>
                  </a:lnTo>
                  <a:lnTo>
                    <a:pt x="302" y="294"/>
                  </a:lnTo>
                  <a:lnTo>
                    <a:pt x="296" y="288"/>
                  </a:lnTo>
                  <a:lnTo>
                    <a:pt x="290" y="290"/>
                  </a:lnTo>
                  <a:lnTo>
                    <a:pt x="286" y="290"/>
                  </a:lnTo>
                  <a:lnTo>
                    <a:pt x="282" y="288"/>
                  </a:lnTo>
                  <a:lnTo>
                    <a:pt x="276" y="294"/>
                  </a:lnTo>
                  <a:lnTo>
                    <a:pt x="272" y="300"/>
                  </a:lnTo>
                  <a:lnTo>
                    <a:pt x="266" y="302"/>
                  </a:lnTo>
                  <a:lnTo>
                    <a:pt x="260" y="302"/>
                  </a:lnTo>
                  <a:lnTo>
                    <a:pt x="258" y="304"/>
                  </a:lnTo>
                  <a:lnTo>
                    <a:pt x="258" y="300"/>
                  </a:lnTo>
                  <a:lnTo>
                    <a:pt x="262" y="294"/>
                  </a:lnTo>
                  <a:lnTo>
                    <a:pt x="264" y="288"/>
                  </a:lnTo>
                  <a:lnTo>
                    <a:pt x="268" y="282"/>
                  </a:lnTo>
                  <a:lnTo>
                    <a:pt x="272" y="276"/>
                  </a:lnTo>
                  <a:lnTo>
                    <a:pt x="268" y="270"/>
                  </a:lnTo>
                  <a:lnTo>
                    <a:pt x="266" y="264"/>
                  </a:lnTo>
                  <a:lnTo>
                    <a:pt x="266" y="258"/>
                  </a:lnTo>
                  <a:lnTo>
                    <a:pt x="268" y="252"/>
                  </a:lnTo>
                  <a:lnTo>
                    <a:pt x="268" y="250"/>
                  </a:lnTo>
                  <a:lnTo>
                    <a:pt x="262" y="250"/>
                  </a:lnTo>
                  <a:lnTo>
                    <a:pt x="258" y="244"/>
                  </a:lnTo>
                  <a:lnTo>
                    <a:pt x="262" y="238"/>
                  </a:lnTo>
                  <a:lnTo>
                    <a:pt x="260" y="232"/>
                  </a:lnTo>
                  <a:lnTo>
                    <a:pt x="254" y="228"/>
                  </a:lnTo>
                  <a:lnTo>
                    <a:pt x="252" y="222"/>
                  </a:lnTo>
                  <a:lnTo>
                    <a:pt x="250" y="216"/>
                  </a:lnTo>
                  <a:lnTo>
                    <a:pt x="246" y="210"/>
                  </a:lnTo>
                  <a:lnTo>
                    <a:pt x="242" y="204"/>
                  </a:lnTo>
                  <a:lnTo>
                    <a:pt x="238" y="198"/>
                  </a:lnTo>
                  <a:lnTo>
                    <a:pt x="232" y="194"/>
                  </a:lnTo>
                  <a:lnTo>
                    <a:pt x="232" y="188"/>
                  </a:lnTo>
                  <a:lnTo>
                    <a:pt x="226" y="186"/>
                  </a:lnTo>
                  <a:lnTo>
                    <a:pt x="220" y="186"/>
                  </a:lnTo>
                  <a:lnTo>
                    <a:pt x="212" y="186"/>
                  </a:lnTo>
                  <a:lnTo>
                    <a:pt x="208" y="186"/>
                  </a:lnTo>
                  <a:lnTo>
                    <a:pt x="200" y="186"/>
                  </a:lnTo>
                  <a:lnTo>
                    <a:pt x="196" y="186"/>
                  </a:lnTo>
                  <a:lnTo>
                    <a:pt x="188" y="186"/>
                  </a:lnTo>
                  <a:lnTo>
                    <a:pt x="182" y="192"/>
                  </a:lnTo>
                  <a:lnTo>
                    <a:pt x="176" y="194"/>
                  </a:lnTo>
                  <a:lnTo>
                    <a:pt x="174" y="194"/>
                  </a:lnTo>
                  <a:lnTo>
                    <a:pt x="168" y="192"/>
                  </a:lnTo>
                  <a:lnTo>
                    <a:pt x="162" y="190"/>
                  </a:lnTo>
                  <a:lnTo>
                    <a:pt x="156" y="192"/>
                  </a:lnTo>
                  <a:lnTo>
                    <a:pt x="150" y="196"/>
                  </a:lnTo>
                  <a:lnTo>
                    <a:pt x="150" y="202"/>
                  </a:lnTo>
                  <a:lnTo>
                    <a:pt x="146" y="208"/>
                  </a:lnTo>
                  <a:lnTo>
                    <a:pt x="144" y="212"/>
                  </a:lnTo>
                  <a:lnTo>
                    <a:pt x="140" y="216"/>
                  </a:lnTo>
                  <a:lnTo>
                    <a:pt x="140" y="224"/>
                  </a:lnTo>
                  <a:lnTo>
                    <a:pt x="134" y="228"/>
                  </a:lnTo>
                  <a:lnTo>
                    <a:pt x="132" y="234"/>
                  </a:lnTo>
                  <a:lnTo>
                    <a:pt x="126" y="236"/>
                  </a:lnTo>
                  <a:lnTo>
                    <a:pt x="124" y="242"/>
                  </a:lnTo>
                  <a:lnTo>
                    <a:pt x="122" y="242"/>
                  </a:lnTo>
                  <a:lnTo>
                    <a:pt x="118" y="248"/>
                  </a:lnTo>
                  <a:lnTo>
                    <a:pt x="112" y="252"/>
                  </a:lnTo>
                  <a:lnTo>
                    <a:pt x="106" y="250"/>
                  </a:lnTo>
                  <a:lnTo>
                    <a:pt x="102" y="252"/>
                  </a:lnTo>
                  <a:lnTo>
                    <a:pt x="102" y="250"/>
                  </a:lnTo>
                  <a:lnTo>
                    <a:pt x="102" y="246"/>
                  </a:lnTo>
                  <a:lnTo>
                    <a:pt x="110" y="242"/>
                  </a:lnTo>
                  <a:lnTo>
                    <a:pt x="104" y="236"/>
                  </a:lnTo>
                  <a:lnTo>
                    <a:pt x="100" y="242"/>
                  </a:lnTo>
                  <a:lnTo>
                    <a:pt x="100" y="236"/>
                  </a:lnTo>
                  <a:lnTo>
                    <a:pt x="100" y="232"/>
                  </a:lnTo>
                  <a:lnTo>
                    <a:pt x="94" y="232"/>
                  </a:lnTo>
                  <a:lnTo>
                    <a:pt x="94" y="226"/>
                  </a:lnTo>
                  <a:lnTo>
                    <a:pt x="88" y="222"/>
                  </a:lnTo>
                  <a:lnTo>
                    <a:pt x="90" y="216"/>
                  </a:lnTo>
                  <a:lnTo>
                    <a:pt x="86" y="220"/>
                  </a:lnTo>
                  <a:lnTo>
                    <a:pt x="80" y="214"/>
                  </a:lnTo>
                  <a:lnTo>
                    <a:pt x="82" y="208"/>
                  </a:lnTo>
                  <a:lnTo>
                    <a:pt x="86" y="202"/>
                  </a:lnTo>
                  <a:lnTo>
                    <a:pt x="80" y="196"/>
                  </a:lnTo>
                  <a:lnTo>
                    <a:pt x="80" y="202"/>
                  </a:lnTo>
                  <a:lnTo>
                    <a:pt x="74" y="202"/>
                  </a:lnTo>
                  <a:lnTo>
                    <a:pt x="76" y="196"/>
                  </a:lnTo>
                  <a:lnTo>
                    <a:pt x="78" y="190"/>
                  </a:lnTo>
                  <a:lnTo>
                    <a:pt x="76" y="194"/>
                  </a:lnTo>
                  <a:lnTo>
                    <a:pt x="70" y="196"/>
                  </a:lnTo>
                  <a:lnTo>
                    <a:pt x="64" y="190"/>
                  </a:lnTo>
                  <a:lnTo>
                    <a:pt x="58" y="186"/>
                  </a:lnTo>
                  <a:lnTo>
                    <a:pt x="60" y="180"/>
                  </a:lnTo>
                  <a:lnTo>
                    <a:pt x="58" y="174"/>
                  </a:lnTo>
                  <a:lnTo>
                    <a:pt x="54" y="176"/>
                  </a:lnTo>
                  <a:lnTo>
                    <a:pt x="50" y="182"/>
                  </a:lnTo>
                  <a:lnTo>
                    <a:pt x="48" y="176"/>
                  </a:lnTo>
                  <a:lnTo>
                    <a:pt x="42" y="174"/>
                  </a:lnTo>
                  <a:lnTo>
                    <a:pt x="38" y="170"/>
                  </a:lnTo>
                  <a:lnTo>
                    <a:pt x="32" y="168"/>
                  </a:lnTo>
                  <a:lnTo>
                    <a:pt x="32" y="162"/>
                  </a:lnTo>
                  <a:lnTo>
                    <a:pt x="26" y="156"/>
                  </a:lnTo>
                  <a:lnTo>
                    <a:pt x="28" y="150"/>
                  </a:lnTo>
                  <a:lnTo>
                    <a:pt x="26" y="152"/>
                  </a:lnTo>
                  <a:lnTo>
                    <a:pt x="20" y="152"/>
                  </a:lnTo>
                  <a:lnTo>
                    <a:pt x="22" y="146"/>
                  </a:lnTo>
                  <a:lnTo>
                    <a:pt x="22" y="140"/>
                  </a:lnTo>
                  <a:lnTo>
                    <a:pt x="24" y="136"/>
                  </a:lnTo>
                  <a:lnTo>
                    <a:pt x="28" y="132"/>
                  </a:lnTo>
                  <a:lnTo>
                    <a:pt x="30" y="126"/>
                  </a:lnTo>
                  <a:lnTo>
                    <a:pt x="24" y="132"/>
                  </a:lnTo>
                  <a:lnTo>
                    <a:pt x="22" y="138"/>
                  </a:lnTo>
                  <a:lnTo>
                    <a:pt x="20" y="132"/>
                  </a:lnTo>
                  <a:lnTo>
                    <a:pt x="14" y="138"/>
                  </a:lnTo>
                  <a:lnTo>
                    <a:pt x="14" y="132"/>
                  </a:lnTo>
                  <a:lnTo>
                    <a:pt x="16" y="126"/>
                  </a:lnTo>
                  <a:lnTo>
                    <a:pt x="14" y="120"/>
                  </a:lnTo>
                  <a:lnTo>
                    <a:pt x="20" y="114"/>
                  </a:lnTo>
                  <a:lnTo>
                    <a:pt x="14" y="118"/>
                  </a:lnTo>
                  <a:lnTo>
                    <a:pt x="8" y="118"/>
                  </a:lnTo>
                  <a:lnTo>
                    <a:pt x="2" y="118"/>
                  </a:lnTo>
                  <a:lnTo>
                    <a:pt x="0" y="1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4" name="Freeform 221"/>
            <p:cNvSpPr>
              <a:spLocks/>
            </p:cNvSpPr>
            <p:nvPr/>
          </p:nvSpPr>
          <p:spPr bwMode="auto">
            <a:xfrm>
              <a:off x="4298950" y="3851275"/>
              <a:ext cx="296863" cy="273050"/>
            </a:xfrm>
            <a:custGeom>
              <a:avLst/>
              <a:gdLst>
                <a:gd name="T0" fmla="*/ 2147483647 w 730"/>
                <a:gd name="T1" fmla="*/ 2147483647 h 666"/>
                <a:gd name="T2" fmla="*/ 2147483647 w 730"/>
                <a:gd name="T3" fmla="*/ 2147483647 h 666"/>
                <a:gd name="T4" fmla="*/ 2147483647 w 730"/>
                <a:gd name="T5" fmla="*/ 2147483647 h 666"/>
                <a:gd name="T6" fmla="*/ 2147483647 w 730"/>
                <a:gd name="T7" fmla="*/ 2147483647 h 666"/>
                <a:gd name="T8" fmla="*/ 2147483647 w 730"/>
                <a:gd name="T9" fmla="*/ 2147483647 h 666"/>
                <a:gd name="T10" fmla="*/ 2147483647 w 730"/>
                <a:gd name="T11" fmla="*/ 2147483647 h 666"/>
                <a:gd name="T12" fmla="*/ 2147483647 w 730"/>
                <a:gd name="T13" fmla="*/ 2147483647 h 666"/>
                <a:gd name="T14" fmla="*/ 2147483647 w 730"/>
                <a:gd name="T15" fmla="*/ 2147483647 h 666"/>
                <a:gd name="T16" fmla="*/ 2147483647 w 730"/>
                <a:gd name="T17" fmla="*/ 2147483647 h 666"/>
                <a:gd name="T18" fmla="*/ 2147483647 w 730"/>
                <a:gd name="T19" fmla="*/ 2147483647 h 666"/>
                <a:gd name="T20" fmla="*/ 2147483647 w 730"/>
                <a:gd name="T21" fmla="*/ 2147483647 h 666"/>
                <a:gd name="T22" fmla="*/ 2147483647 w 730"/>
                <a:gd name="T23" fmla="*/ 2147483647 h 666"/>
                <a:gd name="T24" fmla="*/ 2147483647 w 730"/>
                <a:gd name="T25" fmla="*/ 2147483647 h 666"/>
                <a:gd name="T26" fmla="*/ 2147483647 w 730"/>
                <a:gd name="T27" fmla="*/ 2147483647 h 666"/>
                <a:gd name="T28" fmla="*/ 2147483647 w 730"/>
                <a:gd name="T29" fmla="*/ 2147483647 h 666"/>
                <a:gd name="T30" fmla="*/ 2147483647 w 730"/>
                <a:gd name="T31" fmla="*/ 2147483647 h 666"/>
                <a:gd name="T32" fmla="*/ 2147483647 w 730"/>
                <a:gd name="T33" fmla="*/ 2147483647 h 666"/>
                <a:gd name="T34" fmla="*/ 2147483647 w 730"/>
                <a:gd name="T35" fmla="*/ 2147483647 h 666"/>
                <a:gd name="T36" fmla="*/ 2147483647 w 730"/>
                <a:gd name="T37" fmla="*/ 2147483647 h 666"/>
                <a:gd name="T38" fmla="*/ 2147483647 w 730"/>
                <a:gd name="T39" fmla="*/ 2147483647 h 666"/>
                <a:gd name="T40" fmla="*/ 2147483647 w 730"/>
                <a:gd name="T41" fmla="*/ 2147483647 h 666"/>
                <a:gd name="T42" fmla="*/ 2147483647 w 730"/>
                <a:gd name="T43" fmla="*/ 2147483647 h 666"/>
                <a:gd name="T44" fmla="*/ 2147483647 w 730"/>
                <a:gd name="T45" fmla="*/ 2147483647 h 666"/>
                <a:gd name="T46" fmla="*/ 2147483647 w 730"/>
                <a:gd name="T47" fmla="*/ 2147483647 h 666"/>
                <a:gd name="T48" fmla="*/ 2147483647 w 730"/>
                <a:gd name="T49" fmla="*/ 2147483647 h 666"/>
                <a:gd name="T50" fmla="*/ 2147483647 w 730"/>
                <a:gd name="T51" fmla="*/ 2147483647 h 666"/>
                <a:gd name="T52" fmla="*/ 2147483647 w 730"/>
                <a:gd name="T53" fmla="*/ 2147483647 h 666"/>
                <a:gd name="T54" fmla="*/ 2147483647 w 730"/>
                <a:gd name="T55" fmla="*/ 2147483647 h 666"/>
                <a:gd name="T56" fmla="*/ 2147483647 w 730"/>
                <a:gd name="T57" fmla="*/ 2147483647 h 666"/>
                <a:gd name="T58" fmla="*/ 2147483647 w 730"/>
                <a:gd name="T59" fmla="*/ 2147483647 h 666"/>
                <a:gd name="T60" fmla="*/ 2147483647 w 730"/>
                <a:gd name="T61" fmla="*/ 2147483647 h 666"/>
                <a:gd name="T62" fmla="*/ 2147483647 w 730"/>
                <a:gd name="T63" fmla="*/ 2147483647 h 666"/>
                <a:gd name="T64" fmla="*/ 2147483647 w 730"/>
                <a:gd name="T65" fmla="*/ 2147483647 h 666"/>
                <a:gd name="T66" fmla="*/ 2147483647 w 730"/>
                <a:gd name="T67" fmla="*/ 2147483647 h 666"/>
                <a:gd name="T68" fmla="*/ 2147483647 w 730"/>
                <a:gd name="T69" fmla="*/ 2147483647 h 666"/>
                <a:gd name="T70" fmla="*/ 2147483647 w 730"/>
                <a:gd name="T71" fmla="*/ 2147483647 h 666"/>
                <a:gd name="T72" fmla="*/ 2147483647 w 730"/>
                <a:gd name="T73" fmla="*/ 2147483647 h 666"/>
                <a:gd name="T74" fmla="*/ 2147483647 w 730"/>
                <a:gd name="T75" fmla="*/ 2147483647 h 666"/>
                <a:gd name="T76" fmla="*/ 2147483647 w 730"/>
                <a:gd name="T77" fmla="*/ 2147483647 h 666"/>
                <a:gd name="T78" fmla="*/ 2147483647 w 730"/>
                <a:gd name="T79" fmla="*/ 2147483647 h 666"/>
                <a:gd name="T80" fmla="*/ 2147483647 w 730"/>
                <a:gd name="T81" fmla="*/ 2147483647 h 666"/>
                <a:gd name="T82" fmla="*/ 2147483647 w 730"/>
                <a:gd name="T83" fmla="*/ 2147483647 h 666"/>
                <a:gd name="T84" fmla="*/ 2147483647 w 730"/>
                <a:gd name="T85" fmla="*/ 2147483647 h 666"/>
                <a:gd name="T86" fmla="*/ 2147483647 w 730"/>
                <a:gd name="T87" fmla="*/ 2147483647 h 666"/>
                <a:gd name="T88" fmla="*/ 2147483647 w 730"/>
                <a:gd name="T89" fmla="*/ 2147483647 h 666"/>
                <a:gd name="T90" fmla="*/ 2147483647 w 730"/>
                <a:gd name="T91" fmla="*/ 2147483647 h 666"/>
                <a:gd name="T92" fmla="*/ 2147483647 w 730"/>
                <a:gd name="T93" fmla="*/ 2147483647 h 666"/>
                <a:gd name="T94" fmla="*/ 2147483647 w 730"/>
                <a:gd name="T95" fmla="*/ 2147483647 h 666"/>
                <a:gd name="T96" fmla="*/ 2147483647 w 730"/>
                <a:gd name="T97" fmla="*/ 2147483647 h 666"/>
                <a:gd name="T98" fmla="*/ 2147483647 w 730"/>
                <a:gd name="T99" fmla="*/ 2147483647 h 666"/>
                <a:gd name="T100" fmla="*/ 2147483647 w 730"/>
                <a:gd name="T101" fmla="*/ 2147483647 h 666"/>
                <a:gd name="T102" fmla="*/ 2147483647 w 730"/>
                <a:gd name="T103" fmla="*/ 2147483647 h 666"/>
                <a:gd name="T104" fmla="*/ 2147483647 w 730"/>
                <a:gd name="T105" fmla="*/ 2147483647 h 666"/>
                <a:gd name="T106" fmla="*/ 2147483647 w 730"/>
                <a:gd name="T107" fmla="*/ 2147483647 h 666"/>
                <a:gd name="T108" fmla="*/ 2147483647 w 730"/>
                <a:gd name="T109" fmla="*/ 2147483647 h 666"/>
                <a:gd name="T110" fmla="*/ 2147483647 w 730"/>
                <a:gd name="T111" fmla="*/ 2147483647 h 666"/>
                <a:gd name="T112" fmla="*/ 2147483647 w 730"/>
                <a:gd name="T113" fmla="*/ 2147483647 h 666"/>
                <a:gd name="T114" fmla="*/ 2147483647 w 730"/>
                <a:gd name="T115" fmla="*/ 2147483647 h 666"/>
                <a:gd name="T116" fmla="*/ 2147483647 w 730"/>
                <a:gd name="T117" fmla="*/ 2147483647 h 666"/>
                <a:gd name="T118" fmla="*/ 2147483647 w 730"/>
                <a:gd name="T119" fmla="*/ 2147483647 h 666"/>
                <a:gd name="T120" fmla="*/ 2147483647 w 730"/>
                <a:gd name="T121" fmla="*/ 2147483647 h 666"/>
                <a:gd name="T122" fmla="*/ 2147483647 w 730"/>
                <a:gd name="T123" fmla="*/ 2147483647 h 66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0"/>
                <a:gd name="T187" fmla="*/ 0 h 666"/>
                <a:gd name="T188" fmla="*/ 730 w 730"/>
                <a:gd name="T189" fmla="*/ 666 h 66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0" h="666">
                  <a:moveTo>
                    <a:pt x="0" y="416"/>
                  </a:moveTo>
                  <a:lnTo>
                    <a:pt x="0" y="414"/>
                  </a:lnTo>
                  <a:lnTo>
                    <a:pt x="2" y="408"/>
                  </a:lnTo>
                  <a:lnTo>
                    <a:pt x="2" y="406"/>
                  </a:lnTo>
                  <a:lnTo>
                    <a:pt x="2" y="402"/>
                  </a:lnTo>
                  <a:lnTo>
                    <a:pt x="4" y="394"/>
                  </a:lnTo>
                  <a:lnTo>
                    <a:pt x="2" y="388"/>
                  </a:lnTo>
                  <a:lnTo>
                    <a:pt x="2" y="384"/>
                  </a:lnTo>
                  <a:lnTo>
                    <a:pt x="4" y="376"/>
                  </a:lnTo>
                  <a:lnTo>
                    <a:pt x="4" y="372"/>
                  </a:lnTo>
                  <a:lnTo>
                    <a:pt x="4" y="366"/>
                  </a:lnTo>
                  <a:lnTo>
                    <a:pt x="4" y="360"/>
                  </a:lnTo>
                  <a:lnTo>
                    <a:pt x="4" y="354"/>
                  </a:lnTo>
                  <a:lnTo>
                    <a:pt x="6" y="352"/>
                  </a:lnTo>
                  <a:lnTo>
                    <a:pt x="6" y="346"/>
                  </a:lnTo>
                  <a:lnTo>
                    <a:pt x="6" y="340"/>
                  </a:lnTo>
                  <a:lnTo>
                    <a:pt x="6" y="334"/>
                  </a:lnTo>
                  <a:lnTo>
                    <a:pt x="12" y="334"/>
                  </a:lnTo>
                  <a:lnTo>
                    <a:pt x="20" y="334"/>
                  </a:lnTo>
                  <a:lnTo>
                    <a:pt x="26" y="332"/>
                  </a:lnTo>
                  <a:lnTo>
                    <a:pt x="28" y="326"/>
                  </a:lnTo>
                  <a:lnTo>
                    <a:pt x="30" y="320"/>
                  </a:lnTo>
                  <a:lnTo>
                    <a:pt x="30" y="314"/>
                  </a:lnTo>
                  <a:lnTo>
                    <a:pt x="28" y="308"/>
                  </a:lnTo>
                  <a:lnTo>
                    <a:pt x="34" y="302"/>
                  </a:lnTo>
                  <a:lnTo>
                    <a:pt x="36" y="296"/>
                  </a:lnTo>
                  <a:lnTo>
                    <a:pt x="42" y="292"/>
                  </a:lnTo>
                  <a:lnTo>
                    <a:pt x="40" y="286"/>
                  </a:lnTo>
                  <a:lnTo>
                    <a:pt x="42" y="282"/>
                  </a:lnTo>
                  <a:lnTo>
                    <a:pt x="48" y="280"/>
                  </a:lnTo>
                  <a:lnTo>
                    <a:pt x="54" y="278"/>
                  </a:lnTo>
                  <a:lnTo>
                    <a:pt x="58" y="272"/>
                  </a:lnTo>
                  <a:lnTo>
                    <a:pt x="58" y="270"/>
                  </a:lnTo>
                  <a:lnTo>
                    <a:pt x="58" y="264"/>
                  </a:lnTo>
                  <a:lnTo>
                    <a:pt x="62" y="258"/>
                  </a:lnTo>
                  <a:lnTo>
                    <a:pt x="56" y="252"/>
                  </a:lnTo>
                  <a:lnTo>
                    <a:pt x="58" y="246"/>
                  </a:lnTo>
                  <a:lnTo>
                    <a:pt x="60" y="240"/>
                  </a:lnTo>
                  <a:lnTo>
                    <a:pt x="66" y="240"/>
                  </a:lnTo>
                  <a:lnTo>
                    <a:pt x="70" y="236"/>
                  </a:lnTo>
                  <a:lnTo>
                    <a:pt x="72" y="228"/>
                  </a:lnTo>
                  <a:lnTo>
                    <a:pt x="72" y="224"/>
                  </a:lnTo>
                  <a:lnTo>
                    <a:pt x="68" y="218"/>
                  </a:lnTo>
                  <a:lnTo>
                    <a:pt x="66" y="210"/>
                  </a:lnTo>
                  <a:lnTo>
                    <a:pt x="68" y="208"/>
                  </a:lnTo>
                  <a:lnTo>
                    <a:pt x="66" y="202"/>
                  </a:lnTo>
                  <a:lnTo>
                    <a:pt x="66" y="196"/>
                  </a:lnTo>
                  <a:lnTo>
                    <a:pt x="66" y="192"/>
                  </a:lnTo>
                  <a:lnTo>
                    <a:pt x="60" y="186"/>
                  </a:lnTo>
                  <a:lnTo>
                    <a:pt x="56" y="180"/>
                  </a:lnTo>
                  <a:lnTo>
                    <a:pt x="52" y="174"/>
                  </a:lnTo>
                  <a:lnTo>
                    <a:pt x="50" y="168"/>
                  </a:lnTo>
                  <a:lnTo>
                    <a:pt x="54" y="162"/>
                  </a:lnTo>
                  <a:lnTo>
                    <a:pt x="56" y="156"/>
                  </a:lnTo>
                  <a:lnTo>
                    <a:pt x="56" y="154"/>
                  </a:lnTo>
                  <a:lnTo>
                    <a:pt x="58" y="152"/>
                  </a:lnTo>
                  <a:lnTo>
                    <a:pt x="62" y="146"/>
                  </a:lnTo>
                  <a:lnTo>
                    <a:pt x="58" y="140"/>
                  </a:lnTo>
                  <a:lnTo>
                    <a:pt x="62" y="134"/>
                  </a:lnTo>
                  <a:lnTo>
                    <a:pt x="62" y="130"/>
                  </a:lnTo>
                  <a:lnTo>
                    <a:pt x="60" y="124"/>
                  </a:lnTo>
                  <a:lnTo>
                    <a:pt x="60" y="118"/>
                  </a:lnTo>
                  <a:lnTo>
                    <a:pt x="62" y="112"/>
                  </a:lnTo>
                  <a:lnTo>
                    <a:pt x="62" y="104"/>
                  </a:lnTo>
                  <a:lnTo>
                    <a:pt x="62" y="100"/>
                  </a:lnTo>
                  <a:lnTo>
                    <a:pt x="64" y="92"/>
                  </a:lnTo>
                  <a:lnTo>
                    <a:pt x="70" y="88"/>
                  </a:lnTo>
                  <a:lnTo>
                    <a:pt x="76" y="82"/>
                  </a:lnTo>
                  <a:lnTo>
                    <a:pt x="82" y="74"/>
                  </a:lnTo>
                  <a:lnTo>
                    <a:pt x="84" y="68"/>
                  </a:lnTo>
                  <a:lnTo>
                    <a:pt x="88" y="62"/>
                  </a:lnTo>
                  <a:lnTo>
                    <a:pt x="90" y="56"/>
                  </a:lnTo>
                  <a:lnTo>
                    <a:pt x="90" y="50"/>
                  </a:lnTo>
                  <a:lnTo>
                    <a:pt x="90" y="44"/>
                  </a:lnTo>
                  <a:lnTo>
                    <a:pt x="92" y="38"/>
                  </a:lnTo>
                  <a:lnTo>
                    <a:pt x="92" y="32"/>
                  </a:lnTo>
                  <a:lnTo>
                    <a:pt x="98" y="28"/>
                  </a:lnTo>
                  <a:lnTo>
                    <a:pt x="104" y="22"/>
                  </a:lnTo>
                  <a:lnTo>
                    <a:pt x="110" y="16"/>
                  </a:lnTo>
                  <a:lnTo>
                    <a:pt x="116" y="12"/>
                  </a:lnTo>
                  <a:lnTo>
                    <a:pt x="120" y="12"/>
                  </a:lnTo>
                  <a:lnTo>
                    <a:pt x="126" y="10"/>
                  </a:lnTo>
                  <a:lnTo>
                    <a:pt x="134" y="8"/>
                  </a:lnTo>
                  <a:lnTo>
                    <a:pt x="140" y="12"/>
                  </a:lnTo>
                  <a:lnTo>
                    <a:pt x="142" y="12"/>
                  </a:lnTo>
                  <a:lnTo>
                    <a:pt x="150" y="10"/>
                  </a:lnTo>
                  <a:lnTo>
                    <a:pt x="156" y="10"/>
                  </a:lnTo>
                  <a:lnTo>
                    <a:pt x="160" y="10"/>
                  </a:lnTo>
                  <a:lnTo>
                    <a:pt x="166" y="4"/>
                  </a:lnTo>
                  <a:lnTo>
                    <a:pt x="172" y="2"/>
                  </a:lnTo>
                  <a:lnTo>
                    <a:pt x="176" y="0"/>
                  </a:lnTo>
                  <a:lnTo>
                    <a:pt x="182" y="4"/>
                  </a:lnTo>
                  <a:lnTo>
                    <a:pt x="188" y="6"/>
                  </a:lnTo>
                  <a:lnTo>
                    <a:pt x="194" y="10"/>
                  </a:lnTo>
                  <a:lnTo>
                    <a:pt x="202" y="12"/>
                  </a:lnTo>
                  <a:lnTo>
                    <a:pt x="208" y="14"/>
                  </a:lnTo>
                  <a:lnTo>
                    <a:pt x="214" y="16"/>
                  </a:lnTo>
                  <a:lnTo>
                    <a:pt x="220" y="14"/>
                  </a:lnTo>
                  <a:lnTo>
                    <a:pt x="226" y="18"/>
                  </a:lnTo>
                  <a:lnTo>
                    <a:pt x="230" y="20"/>
                  </a:lnTo>
                  <a:lnTo>
                    <a:pt x="236" y="28"/>
                  </a:lnTo>
                  <a:lnTo>
                    <a:pt x="240" y="32"/>
                  </a:lnTo>
                  <a:lnTo>
                    <a:pt x="246" y="40"/>
                  </a:lnTo>
                  <a:lnTo>
                    <a:pt x="248" y="46"/>
                  </a:lnTo>
                  <a:lnTo>
                    <a:pt x="252" y="52"/>
                  </a:lnTo>
                  <a:lnTo>
                    <a:pt x="256" y="58"/>
                  </a:lnTo>
                  <a:lnTo>
                    <a:pt x="262" y="62"/>
                  </a:lnTo>
                  <a:lnTo>
                    <a:pt x="266" y="62"/>
                  </a:lnTo>
                  <a:lnTo>
                    <a:pt x="272" y="60"/>
                  </a:lnTo>
                  <a:lnTo>
                    <a:pt x="274" y="58"/>
                  </a:lnTo>
                  <a:lnTo>
                    <a:pt x="278" y="54"/>
                  </a:lnTo>
                  <a:lnTo>
                    <a:pt x="280" y="54"/>
                  </a:lnTo>
                  <a:lnTo>
                    <a:pt x="286" y="54"/>
                  </a:lnTo>
                  <a:lnTo>
                    <a:pt x="292" y="52"/>
                  </a:lnTo>
                  <a:lnTo>
                    <a:pt x="300" y="46"/>
                  </a:lnTo>
                  <a:lnTo>
                    <a:pt x="306" y="42"/>
                  </a:lnTo>
                  <a:lnTo>
                    <a:pt x="312" y="38"/>
                  </a:lnTo>
                  <a:lnTo>
                    <a:pt x="314" y="38"/>
                  </a:lnTo>
                  <a:lnTo>
                    <a:pt x="320" y="38"/>
                  </a:lnTo>
                  <a:lnTo>
                    <a:pt x="328" y="40"/>
                  </a:lnTo>
                  <a:lnTo>
                    <a:pt x="334" y="42"/>
                  </a:lnTo>
                  <a:lnTo>
                    <a:pt x="340" y="46"/>
                  </a:lnTo>
                  <a:lnTo>
                    <a:pt x="342" y="50"/>
                  </a:lnTo>
                  <a:lnTo>
                    <a:pt x="350" y="54"/>
                  </a:lnTo>
                  <a:lnTo>
                    <a:pt x="350" y="58"/>
                  </a:lnTo>
                  <a:lnTo>
                    <a:pt x="354" y="56"/>
                  </a:lnTo>
                  <a:lnTo>
                    <a:pt x="360" y="58"/>
                  </a:lnTo>
                  <a:lnTo>
                    <a:pt x="364" y="64"/>
                  </a:lnTo>
                  <a:lnTo>
                    <a:pt x="370" y="68"/>
                  </a:lnTo>
                  <a:lnTo>
                    <a:pt x="376" y="70"/>
                  </a:lnTo>
                  <a:lnTo>
                    <a:pt x="382" y="72"/>
                  </a:lnTo>
                  <a:lnTo>
                    <a:pt x="384" y="72"/>
                  </a:lnTo>
                  <a:lnTo>
                    <a:pt x="386" y="72"/>
                  </a:lnTo>
                  <a:lnTo>
                    <a:pt x="392" y="72"/>
                  </a:lnTo>
                  <a:lnTo>
                    <a:pt x="398" y="74"/>
                  </a:lnTo>
                  <a:lnTo>
                    <a:pt x="404" y="74"/>
                  </a:lnTo>
                  <a:lnTo>
                    <a:pt x="410" y="74"/>
                  </a:lnTo>
                  <a:lnTo>
                    <a:pt x="414" y="76"/>
                  </a:lnTo>
                  <a:lnTo>
                    <a:pt x="418" y="76"/>
                  </a:lnTo>
                  <a:lnTo>
                    <a:pt x="424" y="76"/>
                  </a:lnTo>
                  <a:lnTo>
                    <a:pt x="430" y="68"/>
                  </a:lnTo>
                  <a:lnTo>
                    <a:pt x="434" y="62"/>
                  </a:lnTo>
                  <a:lnTo>
                    <a:pt x="438" y="56"/>
                  </a:lnTo>
                  <a:lnTo>
                    <a:pt x="444" y="50"/>
                  </a:lnTo>
                  <a:lnTo>
                    <a:pt x="446" y="50"/>
                  </a:lnTo>
                  <a:lnTo>
                    <a:pt x="452" y="46"/>
                  </a:lnTo>
                  <a:lnTo>
                    <a:pt x="458" y="42"/>
                  </a:lnTo>
                  <a:lnTo>
                    <a:pt x="464" y="42"/>
                  </a:lnTo>
                  <a:lnTo>
                    <a:pt x="470" y="40"/>
                  </a:lnTo>
                  <a:lnTo>
                    <a:pt x="476" y="40"/>
                  </a:lnTo>
                  <a:lnTo>
                    <a:pt x="482" y="38"/>
                  </a:lnTo>
                  <a:lnTo>
                    <a:pt x="486" y="36"/>
                  </a:lnTo>
                  <a:lnTo>
                    <a:pt x="492" y="36"/>
                  </a:lnTo>
                  <a:lnTo>
                    <a:pt x="498" y="36"/>
                  </a:lnTo>
                  <a:lnTo>
                    <a:pt x="502" y="36"/>
                  </a:lnTo>
                  <a:lnTo>
                    <a:pt x="510" y="38"/>
                  </a:lnTo>
                  <a:lnTo>
                    <a:pt x="514" y="38"/>
                  </a:lnTo>
                  <a:lnTo>
                    <a:pt x="520" y="36"/>
                  </a:lnTo>
                  <a:lnTo>
                    <a:pt x="528" y="36"/>
                  </a:lnTo>
                  <a:lnTo>
                    <a:pt x="532" y="36"/>
                  </a:lnTo>
                  <a:lnTo>
                    <a:pt x="540" y="38"/>
                  </a:lnTo>
                  <a:lnTo>
                    <a:pt x="544" y="40"/>
                  </a:lnTo>
                  <a:lnTo>
                    <a:pt x="550" y="42"/>
                  </a:lnTo>
                  <a:lnTo>
                    <a:pt x="556" y="42"/>
                  </a:lnTo>
                  <a:lnTo>
                    <a:pt x="562" y="46"/>
                  </a:lnTo>
                  <a:lnTo>
                    <a:pt x="566" y="50"/>
                  </a:lnTo>
                  <a:lnTo>
                    <a:pt x="570" y="50"/>
                  </a:lnTo>
                  <a:lnTo>
                    <a:pt x="576" y="54"/>
                  </a:lnTo>
                  <a:lnTo>
                    <a:pt x="582" y="54"/>
                  </a:lnTo>
                  <a:lnTo>
                    <a:pt x="588" y="56"/>
                  </a:lnTo>
                  <a:lnTo>
                    <a:pt x="594" y="58"/>
                  </a:lnTo>
                  <a:lnTo>
                    <a:pt x="600" y="52"/>
                  </a:lnTo>
                  <a:lnTo>
                    <a:pt x="602" y="46"/>
                  </a:lnTo>
                  <a:lnTo>
                    <a:pt x="608" y="42"/>
                  </a:lnTo>
                  <a:lnTo>
                    <a:pt x="614" y="38"/>
                  </a:lnTo>
                  <a:lnTo>
                    <a:pt x="620" y="32"/>
                  </a:lnTo>
                  <a:lnTo>
                    <a:pt x="626" y="28"/>
                  </a:lnTo>
                  <a:lnTo>
                    <a:pt x="632" y="24"/>
                  </a:lnTo>
                  <a:lnTo>
                    <a:pt x="638" y="24"/>
                  </a:lnTo>
                  <a:lnTo>
                    <a:pt x="642" y="24"/>
                  </a:lnTo>
                  <a:lnTo>
                    <a:pt x="644" y="18"/>
                  </a:lnTo>
                  <a:lnTo>
                    <a:pt x="648" y="16"/>
                  </a:lnTo>
                  <a:lnTo>
                    <a:pt x="650" y="12"/>
                  </a:lnTo>
                  <a:lnTo>
                    <a:pt x="654" y="12"/>
                  </a:lnTo>
                  <a:lnTo>
                    <a:pt x="662" y="12"/>
                  </a:lnTo>
                  <a:lnTo>
                    <a:pt x="666" y="12"/>
                  </a:lnTo>
                  <a:lnTo>
                    <a:pt x="670" y="18"/>
                  </a:lnTo>
                  <a:lnTo>
                    <a:pt x="674" y="24"/>
                  </a:lnTo>
                  <a:lnTo>
                    <a:pt x="676" y="30"/>
                  </a:lnTo>
                  <a:lnTo>
                    <a:pt x="678" y="30"/>
                  </a:lnTo>
                  <a:lnTo>
                    <a:pt x="680" y="34"/>
                  </a:lnTo>
                  <a:lnTo>
                    <a:pt x="684" y="40"/>
                  </a:lnTo>
                  <a:lnTo>
                    <a:pt x="688" y="46"/>
                  </a:lnTo>
                  <a:lnTo>
                    <a:pt x="690" y="52"/>
                  </a:lnTo>
                  <a:lnTo>
                    <a:pt x="694" y="56"/>
                  </a:lnTo>
                  <a:lnTo>
                    <a:pt x="694" y="62"/>
                  </a:lnTo>
                  <a:lnTo>
                    <a:pt x="696" y="68"/>
                  </a:lnTo>
                  <a:lnTo>
                    <a:pt x="696" y="74"/>
                  </a:lnTo>
                  <a:lnTo>
                    <a:pt x="698" y="80"/>
                  </a:lnTo>
                  <a:lnTo>
                    <a:pt x="700" y="86"/>
                  </a:lnTo>
                  <a:lnTo>
                    <a:pt x="700" y="92"/>
                  </a:lnTo>
                  <a:lnTo>
                    <a:pt x="702" y="98"/>
                  </a:lnTo>
                  <a:lnTo>
                    <a:pt x="700" y="100"/>
                  </a:lnTo>
                  <a:lnTo>
                    <a:pt x="700" y="106"/>
                  </a:lnTo>
                  <a:lnTo>
                    <a:pt x="702" y="106"/>
                  </a:lnTo>
                  <a:lnTo>
                    <a:pt x="710" y="106"/>
                  </a:lnTo>
                  <a:lnTo>
                    <a:pt x="714" y="106"/>
                  </a:lnTo>
                  <a:lnTo>
                    <a:pt x="718" y="108"/>
                  </a:lnTo>
                  <a:lnTo>
                    <a:pt x="720" y="110"/>
                  </a:lnTo>
                  <a:lnTo>
                    <a:pt x="724" y="116"/>
                  </a:lnTo>
                  <a:lnTo>
                    <a:pt x="730" y="120"/>
                  </a:lnTo>
                  <a:lnTo>
                    <a:pt x="728" y="126"/>
                  </a:lnTo>
                  <a:lnTo>
                    <a:pt x="728" y="132"/>
                  </a:lnTo>
                  <a:lnTo>
                    <a:pt x="728" y="138"/>
                  </a:lnTo>
                  <a:lnTo>
                    <a:pt x="726" y="144"/>
                  </a:lnTo>
                  <a:lnTo>
                    <a:pt x="724" y="150"/>
                  </a:lnTo>
                  <a:lnTo>
                    <a:pt x="728" y="156"/>
                  </a:lnTo>
                  <a:lnTo>
                    <a:pt x="728" y="162"/>
                  </a:lnTo>
                  <a:lnTo>
                    <a:pt x="722" y="168"/>
                  </a:lnTo>
                  <a:lnTo>
                    <a:pt x="716" y="172"/>
                  </a:lnTo>
                  <a:lnTo>
                    <a:pt x="710" y="176"/>
                  </a:lnTo>
                  <a:lnTo>
                    <a:pt x="704" y="180"/>
                  </a:lnTo>
                  <a:lnTo>
                    <a:pt x="698" y="184"/>
                  </a:lnTo>
                  <a:lnTo>
                    <a:pt x="692" y="182"/>
                  </a:lnTo>
                  <a:lnTo>
                    <a:pt x="690" y="182"/>
                  </a:lnTo>
                  <a:lnTo>
                    <a:pt x="684" y="186"/>
                  </a:lnTo>
                  <a:lnTo>
                    <a:pt x="680" y="192"/>
                  </a:lnTo>
                  <a:lnTo>
                    <a:pt x="676" y="198"/>
                  </a:lnTo>
                  <a:lnTo>
                    <a:pt x="676" y="204"/>
                  </a:lnTo>
                  <a:lnTo>
                    <a:pt x="672" y="208"/>
                  </a:lnTo>
                  <a:lnTo>
                    <a:pt x="670" y="214"/>
                  </a:lnTo>
                  <a:lnTo>
                    <a:pt x="666" y="220"/>
                  </a:lnTo>
                  <a:lnTo>
                    <a:pt x="662" y="226"/>
                  </a:lnTo>
                  <a:lnTo>
                    <a:pt x="660" y="232"/>
                  </a:lnTo>
                  <a:lnTo>
                    <a:pt x="660" y="238"/>
                  </a:lnTo>
                  <a:lnTo>
                    <a:pt x="658" y="244"/>
                  </a:lnTo>
                  <a:lnTo>
                    <a:pt x="658" y="250"/>
                  </a:lnTo>
                  <a:lnTo>
                    <a:pt x="658" y="256"/>
                  </a:lnTo>
                  <a:lnTo>
                    <a:pt x="654" y="260"/>
                  </a:lnTo>
                  <a:lnTo>
                    <a:pt x="652" y="262"/>
                  </a:lnTo>
                  <a:lnTo>
                    <a:pt x="648" y="262"/>
                  </a:lnTo>
                  <a:lnTo>
                    <a:pt x="644" y="268"/>
                  </a:lnTo>
                  <a:lnTo>
                    <a:pt x="644" y="270"/>
                  </a:lnTo>
                  <a:lnTo>
                    <a:pt x="644" y="272"/>
                  </a:lnTo>
                  <a:lnTo>
                    <a:pt x="642" y="278"/>
                  </a:lnTo>
                  <a:lnTo>
                    <a:pt x="646" y="284"/>
                  </a:lnTo>
                  <a:lnTo>
                    <a:pt x="644" y="290"/>
                  </a:lnTo>
                  <a:lnTo>
                    <a:pt x="644" y="296"/>
                  </a:lnTo>
                  <a:lnTo>
                    <a:pt x="644" y="298"/>
                  </a:lnTo>
                  <a:lnTo>
                    <a:pt x="638" y="304"/>
                  </a:lnTo>
                  <a:lnTo>
                    <a:pt x="632" y="304"/>
                  </a:lnTo>
                  <a:lnTo>
                    <a:pt x="626" y="308"/>
                  </a:lnTo>
                  <a:lnTo>
                    <a:pt x="620" y="314"/>
                  </a:lnTo>
                  <a:lnTo>
                    <a:pt x="624" y="316"/>
                  </a:lnTo>
                  <a:lnTo>
                    <a:pt x="624" y="322"/>
                  </a:lnTo>
                  <a:lnTo>
                    <a:pt x="620" y="328"/>
                  </a:lnTo>
                  <a:lnTo>
                    <a:pt x="620" y="330"/>
                  </a:lnTo>
                  <a:lnTo>
                    <a:pt x="620" y="338"/>
                  </a:lnTo>
                  <a:lnTo>
                    <a:pt x="618" y="342"/>
                  </a:lnTo>
                  <a:lnTo>
                    <a:pt x="618" y="348"/>
                  </a:lnTo>
                  <a:lnTo>
                    <a:pt x="616" y="354"/>
                  </a:lnTo>
                  <a:lnTo>
                    <a:pt x="612" y="360"/>
                  </a:lnTo>
                  <a:lnTo>
                    <a:pt x="606" y="364"/>
                  </a:lnTo>
                  <a:lnTo>
                    <a:pt x="600" y="366"/>
                  </a:lnTo>
                  <a:lnTo>
                    <a:pt x="594" y="366"/>
                  </a:lnTo>
                  <a:lnTo>
                    <a:pt x="592" y="368"/>
                  </a:lnTo>
                  <a:lnTo>
                    <a:pt x="594" y="372"/>
                  </a:lnTo>
                  <a:lnTo>
                    <a:pt x="590" y="376"/>
                  </a:lnTo>
                  <a:lnTo>
                    <a:pt x="586" y="378"/>
                  </a:lnTo>
                  <a:lnTo>
                    <a:pt x="582" y="384"/>
                  </a:lnTo>
                  <a:lnTo>
                    <a:pt x="582" y="390"/>
                  </a:lnTo>
                  <a:lnTo>
                    <a:pt x="582" y="396"/>
                  </a:lnTo>
                  <a:lnTo>
                    <a:pt x="580" y="402"/>
                  </a:lnTo>
                  <a:lnTo>
                    <a:pt x="580" y="408"/>
                  </a:lnTo>
                  <a:lnTo>
                    <a:pt x="582" y="410"/>
                  </a:lnTo>
                  <a:lnTo>
                    <a:pt x="576" y="416"/>
                  </a:lnTo>
                  <a:lnTo>
                    <a:pt x="572" y="422"/>
                  </a:lnTo>
                  <a:lnTo>
                    <a:pt x="570" y="428"/>
                  </a:lnTo>
                  <a:lnTo>
                    <a:pt x="570" y="434"/>
                  </a:lnTo>
                  <a:lnTo>
                    <a:pt x="568" y="440"/>
                  </a:lnTo>
                  <a:lnTo>
                    <a:pt x="564" y="446"/>
                  </a:lnTo>
                  <a:lnTo>
                    <a:pt x="560" y="450"/>
                  </a:lnTo>
                  <a:lnTo>
                    <a:pt x="556" y="456"/>
                  </a:lnTo>
                  <a:lnTo>
                    <a:pt x="556" y="462"/>
                  </a:lnTo>
                  <a:lnTo>
                    <a:pt x="560" y="468"/>
                  </a:lnTo>
                  <a:lnTo>
                    <a:pt x="556" y="474"/>
                  </a:lnTo>
                  <a:lnTo>
                    <a:pt x="550" y="478"/>
                  </a:lnTo>
                  <a:lnTo>
                    <a:pt x="544" y="484"/>
                  </a:lnTo>
                  <a:lnTo>
                    <a:pt x="540" y="490"/>
                  </a:lnTo>
                  <a:lnTo>
                    <a:pt x="542" y="494"/>
                  </a:lnTo>
                  <a:lnTo>
                    <a:pt x="542" y="500"/>
                  </a:lnTo>
                  <a:lnTo>
                    <a:pt x="536" y="504"/>
                  </a:lnTo>
                  <a:lnTo>
                    <a:pt x="532" y="510"/>
                  </a:lnTo>
                  <a:lnTo>
                    <a:pt x="530" y="516"/>
                  </a:lnTo>
                  <a:lnTo>
                    <a:pt x="524" y="516"/>
                  </a:lnTo>
                  <a:lnTo>
                    <a:pt x="520" y="516"/>
                  </a:lnTo>
                  <a:lnTo>
                    <a:pt x="514" y="514"/>
                  </a:lnTo>
                  <a:lnTo>
                    <a:pt x="512" y="508"/>
                  </a:lnTo>
                  <a:lnTo>
                    <a:pt x="512" y="502"/>
                  </a:lnTo>
                  <a:lnTo>
                    <a:pt x="510" y="496"/>
                  </a:lnTo>
                  <a:lnTo>
                    <a:pt x="508" y="492"/>
                  </a:lnTo>
                  <a:lnTo>
                    <a:pt x="502" y="492"/>
                  </a:lnTo>
                  <a:lnTo>
                    <a:pt x="500" y="486"/>
                  </a:lnTo>
                  <a:lnTo>
                    <a:pt x="498" y="480"/>
                  </a:lnTo>
                  <a:lnTo>
                    <a:pt x="492" y="478"/>
                  </a:lnTo>
                  <a:lnTo>
                    <a:pt x="486" y="474"/>
                  </a:lnTo>
                  <a:lnTo>
                    <a:pt x="482" y="468"/>
                  </a:lnTo>
                  <a:lnTo>
                    <a:pt x="480" y="474"/>
                  </a:lnTo>
                  <a:lnTo>
                    <a:pt x="480" y="480"/>
                  </a:lnTo>
                  <a:lnTo>
                    <a:pt x="478" y="486"/>
                  </a:lnTo>
                  <a:lnTo>
                    <a:pt x="476" y="486"/>
                  </a:lnTo>
                  <a:lnTo>
                    <a:pt x="468" y="486"/>
                  </a:lnTo>
                  <a:lnTo>
                    <a:pt x="464" y="486"/>
                  </a:lnTo>
                  <a:lnTo>
                    <a:pt x="458" y="480"/>
                  </a:lnTo>
                  <a:lnTo>
                    <a:pt x="452" y="480"/>
                  </a:lnTo>
                  <a:lnTo>
                    <a:pt x="446" y="486"/>
                  </a:lnTo>
                  <a:lnTo>
                    <a:pt x="442" y="488"/>
                  </a:lnTo>
                  <a:lnTo>
                    <a:pt x="436" y="492"/>
                  </a:lnTo>
                  <a:lnTo>
                    <a:pt x="432" y="498"/>
                  </a:lnTo>
                  <a:lnTo>
                    <a:pt x="430" y="504"/>
                  </a:lnTo>
                  <a:lnTo>
                    <a:pt x="428" y="510"/>
                  </a:lnTo>
                  <a:lnTo>
                    <a:pt x="424" y="510"/>
                  </a:lnTo>
                  <a:lnTo>
                    <a:pt x="418" y="516"/>
                  </a:lnTo>
                  <a:lnTo>
                    <a:pt x="414" y="518"/>
                  </a:lnTo>
                  <a:lnTo>
                    <a:pt x="408" y="524"/>
                  </a:lnTo>
                  <a:lnTo>
                    <a:pt x="404" y="530"/>
                  </a:lnTo>
                  <a:lnTo>
                    <a:pt x="400" y="536"/>
                  </a:lnTo>
                  <a:lnTo>
                    <a:pt x="394" y="542"/>
                  </a:lnTo>
                  <a:lnTo>
                    <a:pt x="388" y="546"/>
                  </a:lnTo>
                  <a:lnTo>
                    <a:pt x="386" y="552"/>
                  </a:lnTo>
                  <a:lnTo>
                    <a:pt x="380" y="556"/>
                  </a:lnTo>
                  <a:lnTo>
                    <a:pt x="376" y="558"/>
                  </a:lnTo>
                  <a:lnTo>
                    <a:pt x="376" y="564"/>
                  </a:lnTo>
                  <a:lnTo>
                    <a:pt x="374" y="568"/>
                  </a:lnTo>
                  <a:lnTo>
                    <a:pt x="380" y="574"/>
                  </a:lnTo>
                  <a:lnTo>
                    <a:pt x="378" y="580"/>
                  </a:lnTo>
                  <a:lnTo>
                    <a:pt x="376" y="586"/>
                  </a:lnTo>
                  <a:lnTo>
                    <a:pt x="374" y="592"/>
                  </a:lnTo>
                  <a:lnTo>
                    <a:pt x="374" y="598"/>
                  </a:lnTo>
                  <a:lnTo>
                    <a:pt x="374" y="602"/>
                  </a:lnTo>
                  <a:lnTo>
                    <a:pt x="370" y="608"/>
                  </a:lnTo>
                  <a:lnTo>
                    <a:pt x="368" y="614"/>
                  </a:lnTo>
                  <a:lnTo>
                    <a:pt x="364" y="620"/>
                  </a:lnTo>
                  <a:lnTo>
                    <a:pt x="362" y="626"/>
                  </a:lnTo>
                  <a:lnTo>
                    <a:pt x="360" y="628"/>
                  </a:lnTo>
                  <a:lnTo>
                    <a:pt x="358" y="630"/>
                  </a:lnTo>
                  <a:lnTo>
                    <a:pt x="354" y="636"/>
                  </a:lnTo>
                  <a:lnTo>
                    <a:pt x="348" y="632"/>
                  </a:lnTo>
                  <a:lnTo>
                    <a:pt x="350" y="626"/>
                  </a:lnTo>
                  <a:lnTo>
                    <a:pt x="344" y="628"/>
                  </a:lnTo>
                  <a:lnTo>
                    <a:pt x="340" y="622"/>
                  </a:lnTo>
                  <a:lnTo>
                    <a:pt x="338" y="620"/>
                  </a:lnTo>
                  <a:lnTo>
                    <a:pt x="340" y="626"/>
                  </a:lnTo>
                  <a:lnTo>
                    <a:pt x="340" y="628"/>
                  </a:lnTo>
                  <a:lnTo>
                    <a:pt x="342" y="630"/>
                  </a:lnTo>
                  <a:lnTo>
                    <a:pt x="344" y="636"/>
                  </a:lnTo>
                  <a:lnTo>
                    <a:pt x="346" y="642"/>
                  </a:lnTo>
                  <a:lnTo>
                    <a:pt x="340" y="648"/>
                  </a:lnTo>
                  <a:lnTo>
                    <a:pt x="334" y="646"/>
                  </a:lnTo>
                  <a:lnTo>
                    <a:pt x="328" y="646"/>
                  </a:lnTo>
                  <a:lnTo>
                    <a:pt x="322" y="648"/>
                  </a:lnTo>
                  <a:lnTo>
                    <a:pt x="316" y="648"/>
                  </a:lnTo>
                  <a:lnTo>
                    <a:pt x="310" y="650"/>
                  </a:lnTo>
                  <a:lnTo>
                    <a:pt x="302" y="650"/>
                  </a:lnTo>
                  <a:lnTo>
                    <a:pt x="298" y="646"/>
                  </a:lnTo>
                  <a:lnTo>
                    <a:pt x="296" y="642"/>
                  </a:lnTo>
                  <a:lnTo>
                    <a:pt x="296" y="636"/>
                  </a:lnTo>
                  <a:lnTo>
                    <a:pt x="294" y="638"/>
                  </a:lnTo>
                  <a:lnTo>
                    <a:pt x="294" y="644"/>
                  </a:lnTo>
                  <a:lnTo>
                    <a:pt x="290" y="646"/>
                  </a:lnTo>
                  <a:lnTo>
                    <a:pt x="284" y="644"/>
                  </a:lnTo>
                  <a:lnTo>
                    <a:pt x="278" y="648"/>
                  </a:lnTo>
                  <a:lnTo>
                    <a:pt x="278" y="646"/>
                  </a:lnTo>
                  <a:lnTo>
                    <a:pt x="272" y="640"/>
                  </a:lnTo>
                  <a:lnTo>
                    <a:pt x="266" y="636"/>
                  </a:lnTo>
                  <a:lnTo>
                    <a:pt x="272" y="642"/>
                  </a:lnTo>
                  <a:lnTo>
                    <a:pt x="272" y="648"/>
                  </a:lnTo>
                  <a:lnTo>
                    <a:pt x="270" y="652"/>
                  </a:lnTo>
                  <a:lnTo>
                    <a:pt x="264" y="650"/>
                  </a:lnTo>
                  <a:lnTo>
                    <a:pt x="264" y="644"/>
                  </a:lnTo>
                  <a:lnTo>
                    <a:pt x="264" y="638"/>
                  </a:lnTo>
                  <a:lnTo>
                    <a:pt x="262" y="636"/>
                  </a:lnTo>
                  <a:lnTo>
                    <a:pt x="256" y="638"/>
                  </a:lnTo>
                  <a:lnTo>
                    <a:pt x="258" y="640"/>
                  </a:lnTo>
                  <a:lnTo>
                    <a:pt x="262" y="646"/>
                  </a:lnTo>
                  <a:lnTo>
                    <a:pt x="262" y="652"/>
                  </a:lnTo>
                  <a:lnTo>
                    <a:pt x="262" y="654"/>
                  </a:lnTo>
                  <a:lnTo>
                    <a:pt x="260" y="660"/>
                  </a:lnTo>
                  <a:lnTo>
                    <a:pt x="254" y="656"/>
                  </a:lnTo>
                  <a:lnTo>
                    <a:pt x="252" y="650"/>
                  </a:lnTo>
                  <a:lnTo>
                    <a:pt x="254" y="644"/>
                  </a:lnTo>
                  <a:lnTo>
                    <a:pt x="254" y="642"/>
                  </a:lnTo>
                  <a:lnTo>
                    <a:pt x="250" y="636"/>
                  </a:lnTo>
                  <a:lnTo>
                    <a:pt x="250" y="630"/>
                  </a:lnTo>
                  <a:lnTo>
                    <a:pt x="248" y="632"/>
                  </a:lnTo>
                  <a:lnTo>
                    <a:pt x="248" y="638"/>
                  </a:lnTo>
                  <a:lnTo>
                    <a:pt x="252" y="644"/>
                  </a:lnTo>
                  <a:lnTo>
                    <a:pt x="252" y="650"/>
                  </a:lnTo>
                  <a:lnTo>
                    <a:pt x="252" y="656"/>
                  </a:lnTo>
                  <a:lnTo>
                    <a:pt x="250" y="662"/>
                  </a:lnTo>
                  <a:lnTo>
                    <a:pt x="246" y="660"/>
                  </a:lnTo>
                  <a:lnTo>
                    <a:pt x="246" y="656"/>
                  </a:lnTo>
                  <a:lnTo>
                    <a:pt x="246" y="648"/>
                  </a:lnTo>
                  <a:lnTo>
                    <a:pt x="246" y="642"/>
                  </a:lnTo>
                  <a:lnTo>
                    <a:pt x="246" y="648"/>
                  </a:lnTo>
                  <a:lnTo>
                    <a:pt x="244" y="648"/>
                  </a:lnTo>
                  <a:lnTo>
                    <a:pt x="244" y="654"/>
                  </a:lnTo>
                  <a:lnTo>
                    <a:pt x="244" y="648"/>
                  </a:lnTo>
                  <a:lnTo>
                    <a:pt x="242" y="650"/>
                  </a:lnTo>
                  <a:lnTo>
                    <a:pt x="242" y="656"/>
                  </a:lnTo>
                  <a:lnTo>
                    <a:pt x="240" y="662"/>
                  </a:lnTo>
                  <a:lnTo>
                    <a:pt x="238" y="656"/>
                  </a:lnTo>
                  <a:lnTo>
                    <a:pt x="236" y="652"/>
                  </a:lnTo>
                  <a:lnTo>
                    <a:pt x="236" y="650"/>
                  </a:lnTo>
                  <a:lnTo>
                    <a:pt x="236" y="652"/>
                  </a:lnTo>
                  <a:lnTo>
                    <a:pt x="238" y="656"/>
                  </a:lnTo>
                  <a:lnTo>
                    <a:pt x="236" y="662"/>
                  </a:lnTo>
                  <a:lnTo>
                    <a:pt x="228" y="662"/>
                  </a:lnTo>
                  <a:lnTo>
                    <a:pt x="222" y="664"/>
                  </a:lnTo>
                  <a:lnTo>
                    <a:pt x="218" y="662"/>
                  </a:lnTo>
                  <a:lnTo>
                    <a:pt x="218" y="656"/>
                  </a:lnTo>
                  <a:lnTo>
                    <a:pt x="216" y="652"/>
                  </a:lnTo>
                  <a:lnTo>
                    <a:pt x="216" y="654"/>
                  </a:lnTo>
                  <a:lnTo>
                    <a:pt x="216" y="660"/>
                  </a:lnTo>
                  <a:lnTo>
                    <a:pt x="214" y="666"/>
                  </a:lnTo>
                  <a:lnTo>
                    <a:pt x="208" y="666"/>
                  </a:lnTo>
                  <a:lnTo>
                    <a:pt x="206" y="662"/>
                  </a:lnTo>
                  <a:lnTo>
                    <a:pt x="206" y="656"/>
                  </a:lnTo>
                  <a:lnTo>
                    <a:pt x="204" y="658"/>
                  </a:lnTo>
                  <a:lnTo>
                    <a:pt x="204" y="664"/>
                  </a:lnTo>
                  <a:lnTo>
                    <a:pt x="202" y="658"/>
                  </a:lnTo>
                  <a:lnTo>
                    <a:pt x="200" y="658"/>
                  </a:lnTo>
                  <a:lnTo>
                    <a:pt x="194" y="660"/>
                  </a:lnTo>
                  <a:lnTo>
                    <a:pt x="190" y="654"/>
                  </a:lnTo>
                  <a:lnTo>
                    <a:pt x="190" y="652"/>
                  </a:lnTo>
                  <a:lnTo>
                    <a:pt x="184" y="648"/>
                  </a:lnTo>
                  <a:lnTo>
                    <a:pt x="178" y="642"/>
                  </a:lnTo>
                  <a:lnTo>
                    <a:pt x="176" y="636"/>
                  </a:lnTo>
                  <a:lnTo>
                    <a:pt x="176" y="634"/>
                  </a:lnTo>
                  <a:lnTo>
                    <a:pt x="172" y="628"/>
                  </a:lnTo>
                  <a:lnTo>
                    <a:pt x="168" y="622"/>
                  </a:lnTo>
                  <a:lnTo>
                    <a:pt x="168" y="616"/>
                  </a:lnTo>
                  <a:lnTo>
                    <a:pt x="170" y="610"/>
                  </a:lnTo>
                  <a:lnTo>
                    <a:pt x="172" y="606"/>
                  </a:lnTo>
                  <a:lnTo>
                    <a:pt x="168" y="602"/>
                  </a:lnTo>
                  <a:lnTo>
                    <a:pt x="164" y="604"/>
                  </a:lnTo>
                  <a:lnTo>
                    <a:pt x="162" y="596"/>
                  </a:lnTo>
                  <a:lnTo>
                    <a:pt x="164" y="592"/>
                  </a:lnTo>
                  <a:lnTo>
                    <a:pt x="170" y="592"/>
                  </a:lnTo>
                  <a:lnTo>
                    <a:pt x="176" y="590"/>
                  </a:lnTo>
                  <a:lnTo>
                    <a:pt x="174" y="586"/>
                  </a:lnTo>
                  <a:lnTo>
                    <a:pt x="178" y="580"/>
                  </a:lnTo>
                  <a:lnTo>
                    <a:pt x="174" y="580"/>
                  </a:lnTo>
                  <a:lnTo>
                    <a:pt x="168" y="586"/>
                  </a:lnTo>
                  <a:lnTo>
                    <a:pt x="166" y="586"/>
                  </a:lnTo>
                  <a:lnTo>
                    <a:pt x="164" y="588"/>
                  </a:lnTo>
                  <a:lnTo>
                    <a:pt x="158" y="586"/>
                  </a:lnTo>
                  <a:lnTo>
                    <a:pt x="152" y="580"/>
                  </a:lnTo>
                  <a:lnTo>
                    <a:pt x="158" y="576"/>
                  </a:lnTo>
                  <a:lnTo>
                    <a:pt x="160" y="576"/>
                  </a:lnTo>
                  <a:lnTo>
                    <a:pt x="166" y="576"/>
                  </a:lnTo>
                  <a:lnTo>
                    <a:pt x="172" y="576"/>
                  </a:lnTo>
                  <a:lnTo>
                    <a:pt x="166" y="570"/>
                  </a:lnTo>
                  <a:lnTo>
                    <a:pt x="160" y="574"/>
                  </a:lnTo>
                  <a:lnTo>
                    <a:pt x="162" y="568"/>
                  </a:lnTo>
                  <a:lnTo>
                    <a:pt x="162" y="566"/>
                  </a:lnTo>
                  <a:lnTo>
                    <a:pt x="158" y="572"/>
                  </a:lnTo>
                  <a:lnTo>
                    <a:pt x="154" y="576"/>
                  </a:lnTo>
                  <a:lnTo>
                    <a:pt x="148" y="570"/>
                  </a:lnTo>
                  <a:lnTo>
                    <a:pt x="146" y="564"/>
                  </a:lnTo>
                  <a:lnTo>
                    <a:pt x="152" y="558"/>
                  </a:lnTo>
                  <a:lnTo>
                    <a:pt x="158" y="554"/>
                  </a:lnTo>
                  <a:lnTo>
                    <a:pt x="152" y="558"/>
                  </a:lnTo>
                  <a:lnTo>
                    <a:pt x="150" y="558"/>
                  </a:lnTo>
                  <a:lnTo>
                    <a:pt x="144" y="562"/>
                  </a:lnTo>
                  <a:lnTo>
                    <a:pt x="142" y="558"/>
                  </a:lnTo>
                  <a:lnTo>
                    <a:pt x="142" y="556"/>
                  </a:lnTo>
                  <a:lnTo>
                    <a:pt x="140" y="554"/>
                  </a:lnTo>
                  <a:lnTo>
                    <a:pt x="136" y="550"/>
                  </a:lnTo>
                  <a:lnTo>
                    <a:pt x="130" y="544"/>
                  </a:lnTo>
                  <a:lnTo>
                    <a:pt x="126" y="538"/>
                  </a:lnTo>
                  <a:lnTo>
                    <a:pt x="120" y="532"/>
                  </a:lnTo>
                  <a:lnTo>
                    <a:pt x="114" y="528"/>
                  </a:lnTo>
                  <a:lnTo>
                    <a:pt x="108" y="524"/>
                  </a:lnTo>
                  <a:lnTo>
                    <a:pt x="106" y="522"/>
                  </a:lnTo>
                  <a:lnTo>
                    <a:pt x="100" y="520"/>
                  </a:lnTo>
                  <a:lnTo>
                    <a:pt x="96" y="520"/>
                  </a:lnTo>
                  <a:lnTo>
                    <a:pt x="90" y="520"/>
                  </a:lnTo>
                  <a:lnTo>
                    <a:pt x="84" y="518"/>
                  </a:lnTo>
                  <a:lnTo>
                    <a:pt x="78" y="518"/>
                  </a:lnTo>
                  <a:lnTo>
                    <a:pt x="72" y="516"/>
                  </a:lnTo>
                  <a:lnTo>
                    <a:pt x="66" y="516"/>
                  </a:lnTo>
                  <a:lnTo>
                    <a:pt x="60" y="518"/>
                  </a:lnTo>
                  <a:lnTo>
                    <a:pt x="54" y="518"/>
                  </a:lnTo>
                  <a:lnTo>
                    <a:pt x="48" y="518"/>
                  </a:lnTo>
                  <a:lnTo>
                    <a:pt x="44" y="516"/>
                  </a:lnTo>
                  <a:lnTo>
                    <a:pt x="50" y="516"/>
                  </a:lnTo>
                  <a:lnTo>
                    <a:pt x="56" y="512"/>
                  </a:lnTo>
                  <a:lnTo>
                    <a:pt x="62" y="510"/>
                  </a:lnTo>
                  <a:lnTo>
                    <a:pt x="68" y="504"/>
                  </a:lnTo>
                  <a:lnTo>
                    <a:pt x="62" y="504"/>
                  </a:lnTo>
                  <a:lnTo>
                    <a:pt x="58" y="508"/>
                  </a:lnTo>
                  <a:lnTo>
                    <a:pt x="52" y="510"/>
                  </a:lnTo>
                  <a:lnTo>
                    <a:pt x="46" y="508"/>
                  </a:lnTo>
                  <a:lnTo>
                    <a:pt x="42" y="512"/>
                  </a:lnTo>
                  <a:lnTo>
                    <a:pt x="42" y="514"/>
                  </a:lnTo>
                  <a:lnTo>
                    <a:pt x="44" y="520"/>
                  </a:lnTo>
                  <a:lnTo>
                    <a:pt x="38" y="520"/>
                  </a:lnTo>
                  <a:lnTo>
                    <a:pt x="32" y="520"/>
                  </a:lnTo>
                  <a:lnTo>
                    <a:pt x="26" y="520"/>
                  </a:lnTo>
                  <a:lnTo>
                    <a:pt x="20" y="520"/>
                  </a:lnTo>
                  <a:lnTo>
                    <a:pt x="14" y="520"/>
                  </a:lnTo>
                  <a:lnTo>
                    <a:pt x="8" y="520"/>
                  </a:lnTo>
                  <a:lnTo>
                    <a:pt x="2" y="522"/>
                  </a:lnTo>
                  <a:lnTo>
                    <a:pt x="2" y="518"/>
                  </a:lnTo>
                  <a:lnTo>
                    <a:pt x="2" y="516"/>
                  </a:lnTo>
                  <a:lnTo>
                    <a:pt x="2" y="512"/>
                  </a:lnTo>
                  <a:lnTo>
                    <a:pt x="4" y="506"/>
                  </a:lnTo>
                  <a:lnTo>
                    <a:pt x="4" y="502"/>
                  </a:lnTo>
                  <a:lnTo>
                    <a:pt x="6" y="496"/>
                  </a:lnTo>
                  <a:lnTo>
                    <a:pt x="4" y="490"/>
                  </a:lnTo>
                  <a:lnTo>
                    <a:pt x="4" y="484"/>
                  </a:lnTo>
                  <a:lnTo>
                    <a:pt x="2" y="478"/>
                  </a:lnTo>
                  <a:lnTo>
                    <a:pt x="6" y="472"/>
                  </a:lnTo>
                  <a:lnTo>
                    <a:pt x="6" y="466"/>
                  </a:lnTo>
                  <a:lnTo>
                    <a:pt x="6" y="460"/>
                  </a:lnTo>
                  <a:lnTo>
                    <a:pt x="4" y="454"/>
                  </a:lnTo>
                  <a:lnTo>
                    <a:pt x="4" y="448"/>
                  </a:lnTo>
                  <a:lnTo>
                    <a:pt x="8" y="448"/>
                  </a:lnTo>
                  <a:lnTo>
                    <a:pt x="6" y="442"/>
                  </a:lnTo>
                  <a:lnTo>
                    <a:pt x="4" y="436"/>
                  </a:lnTo>
                  <a:lnTo>
                    <a:pt x="2" y="432"/>
                  </a:lnTo>
                  <a:lnTo>
                    <a:pt x="4" y="426"/>
                  </a:lnTo>
                  <a:lnTo>
                    <a:pt x="2" y="420"/>
                  </a:lnTo>
                  <a:lnTo>
                    <a:pt x="2" y="418"/>
                  </a:lnTo>
                  <a:lnTo>
                    <a:pt x="0" y="4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5" name="Freeform 222"/>
            <p:cNvSpPr>
              <a:spLocks/>
            </p:cNvSpPr>
            <p:nvPr/>
          </p:nvSpPr>
          <p:spPr bwMode="auto">
            <a:xfrm>
              <a:off x="4832350" y="3344863"/>
              <a:ext cx="274638" cy="282575"/>
            </a:xfrm>
            <a:custGeom>
              <a:avLst/>
              <a:gdLst>
                <a:gd name="T0" fmla="*/ 2147483647 w 674"/>
                <a:gd name="T1" fmla="*/ 2147483647 h 688"/>
                <a:gd name="T2" fmla="*/ 2147483647 w 674"/>
                <a:gd name="T3" fmla="*/ 2147483647 h 688"/>
                <a:gd name="T4" fmla="*/ 2147483647 w 674"/>
                <a:gd name="T5" fmla="*/ 2147483647 h 688"/>
                <a:gd name="T6" fmla="*/ 2147483647 w 674"/>
                <a:gd name="T7" fmla="*/ 2147483647 h 688"/>
                <a:gd name="T8" fmla="*/ 2147483647 w 674"/>
                <a:gd name="T9" fmla="*/ 2147483647 h 688"/>
                <a:gd name="T10" fmla="*/ 2147483647 w 674"/>
                <a:gd name="T11" fmla="*/ 2147483647 h 688"/>
                <a:gd name="T12" fmla="*/ 2147483647 w 674"/>
                <a:gd name="T13" fmla="*/ 2147483647 h 688"/>
                <a:gd name="T14" fmla="*/ 2147483647 w 674"/>
                <a:gd name="T15" fmla="*/ 2147483647 h 688"/>
                <a:gd name="T16" fmla="*/ 2147483647 w 674"/>
                <a:gd name="T17" fmla="*/ 2147483647 h 688"/>
                <a:gd name="T18" fmla="*/ 2147483647 w 674"/>
                <a:gd name="T19" fmla="*/ 2147483647 h 688"/>
                <a:gd name="T20" fmla="*/ 2147483647 w 674"/>
                <a:gd name="T21" fmla="*/ 2147483647 h 688"/>
                <a:gd name="T22" fmla="*/ 2147483647 w 674"/>
                <a:gd name="T23" fmla="*/ 2147483647 h 688"/>
                <a:gd name="T24" fmla="*/ 2147483647 w 674"/>
                <a:gd name="T25" fmla="*/ 2147483647 h 688"/>
                <a:gd name="T26" fmla="*/ 2147483647 w 674"/>
                <a:gd name="T27" fmla="*/ 2147483647 h 688"/>
                <a:gd name="T28" fmla="*/ 2147483647 w 674"/>
                <a:gd name="T29" fmla="*/ 2147483647 h 688"/>
                <a:gd name="T30" fmla="*/ 2147483647 w 674"/>
                <a:gd name="T31" fmla="*/ 2147483647 h 688"/>
                <a:gd name="T32" fmla="*/ 2147483647 w 674"/>
                <a:gd name="T33" fmla="*/ 2147483647 h 688"/>
                <a:gd name="T34" fmla="*/ 2147483647 w 674"/>
                <a:gd name="T35" fmla="*/ 2147483647 h 688"/>
                <a:gd name="T36" fmla="*/ 2147483647 w 674"/>
                <a:gd name="T37" fmla="*/ 2147483647 h 688"/>
                <a:gd name="T38" fmla="*/ 2147483647 w 674"/>
                <a:gd name="T39" fmla="*/ 2147483647 h 688"/>
                <a:gd name="T40" fmla="*/ 2147483647 w 674"/>
                <a:gd name="T41" fmla="*/ 2147483647 h 688"/>
                <a:gd name="T42" fmla="*/ 2147483647 w 674"/>
                <a:gd name="T43" fmla="*/ 2147483647 h 688"/>
                <a:gd name="T44" fmla="*/ 2147483647 w 674"/>
                <a:gd name="T45" fmla="*/ 2147483647 h 688"/>
                <a:gd name="T46" fmla="*/ 2147483647 w 674"/>
                <a:gd name="T47" fmla="*/ 2147483647 h 688"/>
                <a:gd name="T48" fmla="*/ 2147483647 w 674"/>
                <a:gd name="T49" fmla="*/ 2147483647 h 688"/>
                <a:gd name="T50" fmla="*/ 2147483647 w 674"/>
                <a:gd name="T51" fmla="*/ 2147483647 h 688"/>
                <a:gd name="T52" fmla="*/ 2147483647 w 674"/>
                <a:gd name="T53" fmla="*/ 2147483647 h 688"/>
                <a:gd name="T54" fmla="*/ 2147483647 w 674"/>
                <a:gd name="T55" fmla="*/ 2147483647 h 688"/>
                <a:gd name="T56" fmla="*/ 2147483647 w 674"/>
                <a:gd name="T57" fmla="*/ 2147483647 h 688"/>
                <a:gd name="T58" fmla="*/ 2147483647 w 674"/>
                <a:gd name="T59" fmla="*/ 2147483647 h 688"/>
                <a:gd name="T60" fmla="*/ 2147483647 w 674"/>
                <a:gd name="T61" fmla="*/ 2147483647 h 688"/>
                <a:gd name="T62" fmla="*/ 2147483647 w 674"/>
                <a:gd name="T63" fmla="*/ 2147483647 h 688"/>
                <a:gd name="T64" fmla="*/ 2147483647 w 674"/>
                <a:gd name="T65" fmla="*/ 2147483647 h 688"/>
                <a:gd name="T66" fmla="*/ 2147483647 w 674"/>
                <a:gd name="T67" fmla="*/ 2147483647 h 688"/>
                <a:gd name="T68" fmla="*/ 2147483647 w 674"/>
                <a:gd name="T69" fmla="*/ 2147483647 h 688"/>
                <a:gd name="T70" fmla="*/ 2147483647 w 674"/>
                <a:gd name="T71" fmla="*/ 2147483647 h 688"/>
                <a:gd name="T72" fmla="*/ 2147483647 w 674"/>
                <a:gd name="T73" fmla="*/ 2147483647 h 688"/>
                <a:gd name="T74" fmla="*/ 2147483647 w 674"/>
                <a:gd name="T75" fmla="*/ 2147483647 h 688"/>
                <a:gd name="T76" fmla="*/ 2147483647 w 674"/>
                <a:gd name="T77" fmla="*/ 2147483647 h 688"/>
                <a:gd name="T78" fmla="*/ 2147483647 w 674"/>
                <a:gd name="T79" fmla="*/ 2147483647 h 688"/>
                <a:gd name="T80" fmla="*/ 2147483647 w 674"/>
                <a:gd name="T81" fmla="*/ 2147483647 h 688"/>
                <a:gd name="T82" fmla="*/ 2147483647 w 674"/>
                <a:gd name="T83" fmla="*/ 2147483647 h 688"/>
                <a:gd name="T84" fmla="*/ 2147483647 w 674"/>
                <a:gd name="T85" fmla="*/ 2147483647 h 688"/>
                <a:gd name="T86" fmla="*/ 2147483647 w 674"/>
                <a:gd name="T87" fmla="*/ 2147483647 h 688"/>
                <a:gd name="T88" fmla="*/ 2147483647 w 674"/>
                <a:gd name="T89" fmla="*/ 2147483647 h 688"/>
                <a:gd name="T90" fmla="*/ 2147483647 w 674"/>
                <a:gd name="T91" fmla="*/ 2147483647 h 688"/>
                <a:gd name="T92" fmla="*/ 2147483647 w 674"/>
                <a:gd name="T93" fmla="*/ 2147483647 h 688"/>
                <a:gd name="T94" fmla="*/ 2147483647 w 674"/>
                <a:gd name="T95" fmla="*/ 2147483647 h 688"/>
                <a:gd name="T96" fmla="*/ 2147483647 w 674"/>
                <a:gd name="T97" fmla="*/ 2147483647 h 688"/>
                <a:gd name="T98" fmla="*/ 2147483647 w 674"/>
                <a:gd name="T99" fmla="*/ 2147483647 h 688"/>
                <a:gd name="T100" fmla="*/ 2147483647 w 674"/>
                <a:gd name="T101" fmla="*/ 2147483647 h 688"/>
                <a:gd name="T102" fmla="*/ 2147483647 w 674"/>
                <a:gd name="T103" fmla="*/ 2147483647 h 688"/>
                <a:gd name="T104" fmla="*/ 2147483647 w 674"/>
                <a:gd name="T105" fmla="*/ 2147483647 h 688"/>
                <a:gd name="T106" fmla="*/ 2147483647 w 674"/>
                <a:gd name="T107" fmla="*/ 2147483647 h 688"/>
                <a:gd name="T108" fmla="*/ 2147483647 w 674"/>
                <a:gd name="T109" fmla="*/ 2147483647 h 688"/>
                <a:gd name="T110" fmla="*/ 2147483647 w 674"/>
                <a:gd name="T111" fmla="*/ 2147483647 h 688"/>
                <a:gd name="T112" fmla="*/ 2147483647 w 674"/>
                <a:gd name="T113" fmla="*/ 2147483647 h 688"/>
                <a:gd name="T114" fmla="*/ 2147483647 w 674"/>
                <a:gd name="T115" fmla="*/ 2147483647 h 688"/>
                <a:gd name="T116" fmla="*/ 2147483647 w 674"/>
                <a:gd name="T117" fmla="*/ 2147483647 h 688"/>
                <a:gd name="T118" fmla="*/ 2147483647 w 674"/>
                <a:gd name="T119" fmla="*/ 2147483647 h 688"/>
                <a:gd name="T120" fmla="*/ 2147483647 w 674"/>
                <a:gd name="T121" fmla="*/ 2147483647 h 688"/>
                <a:gd name="T122" fmla="*/ 2147483647 w 674"/>
                <a:gd name="T123" fmla="*/ 2147483647 h 6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4"/>
                <a:gd name="T187" fmla="*/ 0 h 688"/>
                <a:gd name="T188" fmla="*/ 674 w 674"/>
                <a:gd name="T189" fmla="*/ 688 h 6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4" h="688">
                  <a:moveTo>
                    <a:pt x="4" y="116"/>
                  </a:moveTo>
                  <a:lnTo>
                    <a:pt x="2" y="112"/>
                  </a:lnTo>
                  <a:lnTo>
                    <a:pt x="0" y="106"/>
                  </a:lnTo>
                  <a:lnTo>
                    <a:pt x="0" y="100"/>
                  </a:lnTo>
                  <a:lnTo>
                    <a:pt x="2" y="94"/>
                  </a:lnTo>
                  <a:lnTo>
                    <a:pt x="6" y="88"/>
                  </a:lnTo>
                  <a:lnTo>
                    <a:pt x="10" y="82"/>
                  </a:lnTo>
                  <a:lnTo>
                    <a:pt x="12" y="76"/>
                  </a:lnTo>
                  <a:lnTo>
                    <a:pt x="14" y="70"/>
                  </a:lnTo>
                  <a:lnTo>
                    <a:pt x="14" y="64"/>
                  </a:lnTo>
                  <a:lnTo>
                    <a:pt x="14" y="58"/>
                  </a:lnTo>
                  <a:lnTo>
                    <a:pt x="12" y="54"/>
                  </a:lnTo>
                  <a:lnTo>
                    <a:pt x="10" y="48"/>
                  </a:lnTo>
                  <a:lnTo>
                    <a:pt x="8" y="42"/>
                  </a:lnTo>
                  <a:lnTo>
                    <a:pt x="6" y="36"/>
                  </a:lnTo>
                  <a:lnTo>
                    <a:pt x="6" y="30"/>
                  </a:lnTo>
                  <a:lnTo>
                    <a:pt x="6" y="24"/>
                  </a:lnTo>
                  <a:lnTo>
                    <a:pt x="6" y="18"/>
                  </a:lnTo>
                  <a:lnTo>
                    <a:pt x="12" y="14"/>
                  </a:lnTo>
                  <a:lnTo>
                    <a:pt x="14" y="12"/>
                  </a:lnTo>
                  <a:lnTo>
                    <a:pt x="16" y="6"/>
                  </a:lnTo>
                  <a:lnTo>
                    <a:pt x="20" y="0"/>
                  </a:lnTo>
                  <a:lnTo>
                    <a:pt x="22" y="6"/>
                  </a:lnTo>
                  <a:lnTo>
                    <a:pt x="26" y="10"/>
                  </a:lnTo>
                  <a:lnTo>
                    <a:pt x="32" y="12"/>
                  </a:lnTo>
                  <a:lnTo>
                    <a:pt x="38" y="10"/>
                  </a:lnTo>
                  <a:lnTo>
                    <a:pt x="44" y="10"/>
                  </a:lnTo>
                  <a:lnTo>
                    <a:pt x="50" y="6"/>
                  </a:lnTo>
                  <a:lnTo>
                    <a:pt x="56" y="6"/>
                  </a:lnTo>
                  <a:lnTo>
                    <a:pt x="62" y="4"/>
                  </a:lnTo>
                  <a:lnTo>
                    <a:pt x="68" y="4"/>
                  </a:lnTo>
                  <a:lnTo>
                    <a:pt x="74" y="4"/>
                  </a:lnTo>
                  <a:lnTo>
                    <a:pt x="80" y="6"/>
                  </a:lnTo>
                  <a:lnTo>
                    <a:pt x="86" y="8"/>
                  </a:lnTo>
                  <a:lnTo>
                    <a:pt x="90" y="10"/>
                  </a:lnTo>
                  <a:lnTo>
                    <a:pt x="96" y="10"/>
                  </a:lnTo>
                  <a:lnTo>
                    <a:pt x="102" y="10"/>
                  </a:lnTo>
                  <a:lnTo>
                    <a:pt x="108" y="12"/>
                  </a:lnTo>
                  <a:lnTo>
                    <a:pt x="114" y="14"/>
                  </a:lnTo>
                  <a:lnTo>
                    <a:pt x="120" y="16"/>
                  </a:lnTo>
                  <a:lnTo>
                    <a:pt x="126" y="16"/>
                  </a:lnTo>
                  <a:lnTo>
                    <a:pt x="132" y="18"/>
                  </a:lnTo>
                  <a:lnTo>
                    <a:pt x="138" y="20"/>
                  </a:lnTo>
                  <a:lnTo>
                    <a:pt x="144" y="20"/>
                  </a:lnTo>
                  <a:lnTo>
                    <a:pt x="150" y="22"/>
                  </a:lnTo>
                  <a:lnTo>
                    <a:pt x="152" y="28"/>
                  </a:lnTo>
                  <a:lnTo>
                    <a:pt x="158" y="32"/>
                  </a:lnTo>
                  <a:lnTo>
                    <a:pt x="164" y="34"/>
                  </a:lnTo>
                  <a:lnTo>
                    <a:pt x="170" y="34"/>
                  </a:lnTo>
                  <a:lnTo>
                    <a:pt x="176" y="32"/>
                  </a:lnTo>
                  <a:lnTo>
                    <a:pt x="182" y="34"/>
                  </a:lnTo>
                  <a:lnTo>
                    <a:pt x="184" y="38"/>
                  </a:lnTo>
                  <a:lnTo>
                    <a:pt x="190" y="40"/>
                  </a:lnTo>
                  <a:lnTo>
                    <a:pt x="196" y="40"/>
                  </a:lnTo>
                  <a:lnTo>
                    <a:pt x="202" y="42"/>
                  </a:lnTo>
                  <a:lnTo>
                    <a:pt x="208" y="42"/>
                  </a:lnTo>
                  <a:lnTo>
                    <a:pt x="214" y="40"/>
                  </a:lnTo>
                  <a:lnTo>
                    <a:pt x="220" y="42"/>
                  </a:lnTo>
                  <a:lnTo>
                    <a:pt x="226" y="46"/>
                  </a:lnTo>
                  <a:lnTo>
                    <a:pt x="232" y="48"/>
                  </a:lnTo>
                  <a:lnTo>
                    <a:pt x="238" y="52"/>
                  </a:lnTo>
                  <a:lnTo>
                    <a:pt x="244" y="56"/>
                  </a:lnTo>
                  <a:lnTo>
                    <a:pt x="250" y="58"/>
                  </a:lnTo>
                  <a:lnTo>
                    <a:pt x="254" y="58"/>
                  </a:lnTo>
                  <a:lnTo>
                    <a:pt x="260" y="58"/>
                  </a:lnTo>
                  <a:lnTo>
                    <a:pt x="266" y="56"/>
                  </a:lnTo>
                  <a:lnTo>
                    <a:pt x="272" y="52"/>
                  </a:lnTo>
                  <a:lnTo>
                    <a:pt x="276" y="50"/>
                  </a:lnTo>
                  <a:lnTo>
                    <a:pt x="282" y="46"/>
                  </a:lnTo>
                  <a:lnTo>
                    <a:pt x="284" y="46"/>
                  </a:lnTo>
                  <a:lnTo>
                    <a:pt x="288" y="40"/>
                  </a:lnTo>
                  <a:lnTo>
                    <a:pt x="294" y="36"/>
                  </a:lnTo>
                  <a:lnTo>
                    <a:pt x="298" y="34"/>
                  </a:lnTo>
                  <a:lnTo>
                    <a:pt x="300" y="32"/>
                  </a:lnTo>
                  <a:lnTo>
                    <a:pt x="306" y="26"/>
                  </a:lnTo>
                  <a:lnTo>
                    <a:pt x="308" y="24"/>
                  </a:lnTo>
                  <a:lnTo>
                    <a:pt x="310" y="26"/>
                  </a:lnTo>
                  <a:lnTo>
                    <a:pt x="314" y="28"/>
                  </a:lnTo>
                  <a:lnTo>
                    <a:pt x="316" y="28"/>
                  </a:lnTo>
                  <a:lnTo>
                    <a:pt x="314" y="28"/>
                  </a:lnTo>
                  <a:lnTo>
                    <a:pt x="316" y="30"/>
                  </a:lnTo>
                  <a:lnTo>
                    <a:pt x="322" y="30"/>
                  </a:lnTo>
                  <a:lnTo>
                    <a:pt x="322" y="26"/>
                  </a:lnTo>
                  <a:lnTo>
                    <a:pt x="316" y="28"/>
                  </a:lnTo>
                  <a:lnTo>
                    <a:pt x="316" y="26"/>
                  </a:lnTo>
                  <a:lnTo>
                    <a:pt x="318" y="26"/>
                  </a:lnTo>
                  <a:lnTo>
                    <a:pt x="324" y="22"/>
                  </a:lnTo>
                  <a:lnTo>
                    <a:pt x="328" y="16"/>
                  </a:lnTo>
                  <a:lnTo>
                    <a:pt x="328" y="12"/>
                  </a:lnTo>
                  <a:lnTo>
                    <a:pt x="334" y="14"/>
                  </a:lnTo>
                  <a:lnTo>
                    <a:pt x="340" y="14"/>
                  </a:lnTo>
                  <a:lnTo>
                    <a:pt x="346" y="12"/>
                  </a:lnTo>
                  <a:lnTo>
                    <a:pt x="352" y="8"/>
                  </a:lnTo>
                  <a:lnTo>
                    <a:pt x="356" y="8"/>
                  </a:lnTo>
                  <a:lnTo>
                    <a:pt x="352" y="10"/>
                  </a:lnTo>
                  <a:lnTo>
                    <a:pt x="346" y="14"/>
                  </a:lnTo>
                  <a:lnTo>
                    <a:pt x="340" y="20"/>
                  </a:lnTo>
                  <a:lnTo>
                    <a:pt x="344" y="18"/>
                  </a:lnTo>
                  <a:lnTo>
                    <a:pt x="350" y="16"/>
                  </a:lnTo>
                  <a:lnTo>
                    <a:pt x="352" y="16"/>
                  </a:lnTo>
                  <a:lnTo>
                    <a:pt x="358" y="16"/>
                  </a:lnTo>
                  <a:lnTo>
                    <a:pt x="362" y="14"/>
                  </a:lnTo>
                  <a:lnTo>
                    <a:pt x="368" y="8"/>
                  </a:lnTo>
                  <a:lnTo>
                    <a:pt x="362" y="6"/>
                  </a:lnTo>
                  <a:lnTo>
                    <a:pt x="368" y="4"/>
                  </a:lnTo>
                  <a:lnTo>
                    <a:pt x="374" y="6"/>
                  </a:lnTo>
                  <a:lnTo>
                    <a:pt x="378" y="6"/>
                  </a:lnTo>
                  <a:lnTo>
                    <a:pt x="382" y="10"/>
                  </a:lnTo>
                  <a:lnTo>
                    <a:pt x="384" y="10"/>
                  </a:lnTo>
                  <a:lnTo>
                    <a:pt x="390" y="14"/>
                  </a:lnTo>
                  <a:lnTo>
                    <a:pt x="396" y="16"/>
                  </a:lnTo>
                  <a:lnTo>
                    <a:pt x="400" y="14"/>
                  </a:lnTo>
                  <a:lnTo>
                    <a:pt x="406" y="14"/>
                  </a:lnTo>
                  <a:lnTo>
                    <a:pt x="412" y="10"/>
                  </a:lnTo>
                  <a:lnTo>
                    <a:pt x="418" y="10"/>
                  </a:lnTo>
                  <a:lnTo>
                    <a:pt x="420" y="16"/>
                  </a:lnTo>
                  <a:lnTo>
                    <a:pt x="426" y="22"/>
                  </a:lnTo>
                  <a:lnTo>
                    <a:pt x="432" y="26"/>
                  </a:lnTo>
                  <a:lnTo>
                    <a:pt x="426" y="22"/>
                  </a:lnTo>
                  <a:lnTo>
                    <a:pt x="422" y="20"/>
                  </a:lnTo>
                  <a:lnTo>
                    <a:pt x="420" y="14"/>
                  </a:lnTo>
                  <a:lnTo>
                    <a:pt x="414" y="12"/>
                  </a:lnTo>
                  <a:lnTo>
                    <a:pt x="414" y="18"/>
                  </a:lnTo>
                  <a:lnTo>
                    <a:pt x="414" y="22"/>
                  </a:lnTo>
                  <a:lnTo>
                    <a:pt x="412" y="22"/>
                  </a:lnTo>
                  <a:lnTo>
                    <a:pt x="410" y="26"/>
                  </a:lnTo>
                  <a:lnTo>
                    <a:pt x="414" y="30"/>
                  </a:lnTo>
                  <a:lnTo>
                    <a:pt x="420" y="32"/>
                  </a:lnTo>
                  <a:lnTo>
                    <a:pt x="424" y="34"/>
                  </a:lnTo>
                  <a:lnTo>
                    <a:pt x="426" y="38"/>
                  </a:lnTo>
                  <a:lnTo>
                    <a:pt x="430" y="44"/>
                  </a:lnTo>
                  <a:lnTo>
                    <a:pt x="430" y="42"/>
                  </a:lnTo>
                  <a:lnTo>
                    <a:pt x="430" y="40"/>
                  </a:lnTo>
                  <a:lnTo>
                    <a:pt x="432" y="40"/>
                  </a:lnTo>
                  <a:lnTo>
                    <a:pt x="436" y="38"/>
                  </a:lnTo>
                  <a:lnTo>
                    <a:pt x="438" y="38"/>
                  </a:lnTo>
                  <a:lnTo>
                    <a:pt x="440" y="34"/>
                  </a:lnTo>
                  <a:lnTo>
                    <a:pt x="440" y="30"/>
                  </a:lnTo>
                  <a:lnTo>
                    <a:pt x="438" y="28"/>
                  </a:lnTo>
                  <a:lnTo>
                    <a:pt x="434" y="26"/>
                  </a:lnTo>
                  <a:lnTo>
                    <a:pt x="438" y="26"/>
                  </a:lnTo>
                  <a:lnTo>
                    <a:pt x="440" y="26"/>
                  </a:lnTo>
                  <a:lnTo>
                    <a:pt x="440" y="30"/>
                  </a:lnTo>
                  <a:lnTo>
                    <a:pt x="444" y="30"/>
                  </a:lnTo>
                  <a:lnTo>
                    <a:pt x="450" y="34"/>
                  </a:lnTo>
                  <a:lnTo>
                    <a:pt x="452" y="38"/>
                  </a:lnTo>
                  <a:lnTo>
                    <a:pt x="458" y="42"/>
                  </a:lnTo>
                  <a:lnTo>
                    <a:pt x="464" y="42"/>
                  </a:lnTo>
                  <a:lnTo>
                    <a:pt x="462" y="42"/>
                  </a:lnTo>
                  <a:lnTo>
                    <a:pt x="468" y="44"/>
                  </a:lnTo>
                  <a:lnTo>
                    <a:pt x="470" y="42"/>
                  </a:lnTo>
                  <a:lnTo>
                    <a:pt x="474" y="40"/>
                  </a:lnTo>
                  <a:lnTo>
                    <a:pt x="476" y="40"/>
                  </a:lnTo>
                  <a:lnTo>
                    <a:pt x="482" y="42"/>
                  </a:lnTo>
                  <a:lnTo>
                    <a:pt x="484" y="40"/>
                  </a:lnTo>
                  <a:lnTo>
                    <a:pt x="482" y="40"/>
                  </a:lnTo>
                  <a:lnTo>
                    <a:pt x="482" y="38"/>
                  </a:lnTo>
                  <a:lnTo>
                    <a:pt x="484" y="34"/>
                  </a:lnTo>
                  <a:lnTo>
                    <a:pt x="490" y="38"/>
                  </a:lnTo>
                  <a:lnTo>
                    <a:pt x="490" y="44"/>
                  </a:lnTo>
                  <a:lnTo>
                    <a:pt x="492" y="42"/>
                  </a:lnTo>
                  <a:lnTo>
                    <a:pt x="498" y="38"/>
                  </a:lnTo>
                  <a:lnTo>
                    <a:pt x="504" y="38"/>
                  </a:lnTo>
                  <a:lnTo>
                    <a:pt x="504" y="36"/>
                  </a:lnTo>
                  <a:lnTo>
                    <a:pt x="510" y="38"/>
                  </a:lnTo>
                  <a:lnTo>
                    <a:pt x="516" y="38"/>
                  </a:lnTo>
                  <a:lnTo>
                    <a:pt x="522" y="38"/>
                  </a:lnTo>
                  <a:lnTo>
                    <a:pt x="528" y="36"/>
                  </a:lnTo>
                  <a:lnTo>
                    <a:pt x="530" y="34"/>
                  </a:lnTo>
                  <a:lnTo>
                    <a:pt x="536" y="34"/>
                  </a:lnTo>
                  <a:lnTo>
                    <a:pt x="542" y="30"/>
                  </a:lnTo>
                  <a:lnTo>
                    <a:pt x="546" y="28"/>
                  </a:lnTo>
                  <a:lnTo>
                    <a:pt x="548" y="26"/>
                  </a:lnTo>
                  <a:lnTo>
                    <a:pt x="552" y="24"/>
                  </a:lnTo>
                  <a:lnTo>
                    <a:pt x="554" y="26"/>
                  </a:lnTo>
                  <a:lnTo>
                    <a:pt x="554" y="28"/>
                  </a:lnTo>
                  <a:lnTo>
                    <a:pt x="556" y="30"/>
                  </a:lnTo>
                  <a:lnTo>
                    <a:pt x="556" y="32"/>
                  </a:lnTo>
                  <a:lnTo>
                    <a:pt x="556" y="34"/>
                  </a:lnTo>
                  <a:lnTo>
                    <a:pt x="558" y="40"/>
                  </a:lnTo>
                  <a:lnTo>
                    <a:pt x="560" y="46"/>
                  </a:lnTo>
                  <a:lnTo>
                    <a:pt x="562" y="48"/>
                  </a:lnTo>
                  <a:lnTo>
                    <a:pt x="564" y="54"/>
                  </a:lnTo>
                  <a:lnTo>
                    <a:pt x="566" y="60"/>
                  </a:lnTo>
                  <a:lnTo>
                    <a:pt x="568" y="64"/>
                  </a:lnTo>
                  <a:lnTo>
                    <a:pt x="570" y="68"/>
                  </a:lnTo>
                  <a:lnTo>
                    <a:pt x="572" y="70"/>
                  </a:lnTo>
                  <a:lnTo>
                    <a:pt x="572" y="76"/>
                  </a:lnTo>
                  <a:lnTo>
                    <a:pt x="576" y="82"/>
                  </a:lnTo>
                  <a:lnTo>
                    <a:pt x="576" y="88"/>
                  </a:lnTo>
                  <a:lnTo>
                    <a:pt x="580" y="94"/>
                  </a:lnTo>
                  <a:lnTo>
                    <a:pt x="584" y="100"/>
                  </a:lnTo>
                  <a:lnTo>
                    <a:pt x="586" y="106"/>
                  </a:lnTo>
                  <a:lnTo>
                    <a:pt x="586" y="108"/>
                  </a:lnTo>
                  <a:lnTo>
                    <a:pt x="586" y="110"/>
                  </a:lnTo>
                  <a:lnTo>
                    <a:pt x="590" y="116"/>
                  </a:lnTo>
                  <a:lnTo>
                    <a:pt x="590" y="120"/>
                  </a:lnTo>
                  <a:lnTo>
                    <a:pt x="594" y="128"/>
                  </a:lnTo>
                  <a:lnTo>
                    <a:pt x="596" y="132"/>
                  </a:lnTo>
                  <a:lnTo>
                    <a:pt x="598" y="138"/>
                  </a:lnTo>
                  <a:lnTo>
                    <a:pt x="598" y="142"/>
                  </a:lnTo>
                  <a:lnTo>
                    <a:pt x="598" y="146"/>
                  </a:lnTo>
                  <a:lnTo>
                    <a:pt x="600" y="150"/>
                  </a:lnTo>
                  <a:lnTo>
                    <a:pt x="598" y="152"/>
                  </a:lnTo>
                  <a:lnTo>
                    <a:pt x="594" y="158"/>
                  </a:lnTo>
                  <a:lnTo>
                    <a:pt x="592" y="162"/>
                  </a:lnTo>
                  <a:lnTo>
                    <a:pt x="592" y="164"/>
                  </a:lnTo>
                  <a:lnTo>
                    <a:pt x="592" y="170"/>
                  </a:lnTo>
                  <a:lnTo>
                    <a:pt x="590" y="176"/>
                  </a:lnTo>
                  <a:lnTo>
                    <a:pt x="588" y="182"/>
                  </a:lnTo>
                  <a:lnTo>
                    <a:pt x="588" y="188"/>
                  </a:lnTo>
                  <a:lnTo>
                    <a:pt x="588" y="192"/>
                  </a:lnTo>
                  <a:lnTo>
                    <a:pt x="586" y="198"/>
                  </a:lnTo>
                  <a:lnTo>
                    <a:pt x="586" y="204"/>
                  </a:lnTo>
                  <a:lnTo>
                    <a:pt x="584" y="210"/>
                  </a:lnTo>
                  <a:lnTo>
                    <a:pt x="582" y="216"/>
                  </a:lnTo>
                  <a:lnTo>
                    <a:pt x="580" y="222"/>
                  </a:lnTo>
                  <a:lnTo>
                    <a:pt x="578" y="226"/>
                  </a:lnTo>
                  <a:lnTo>
                    <a:pt x="576" y="234"/>
                  </a:lnTo>
                  <a:lnTo>
                    <a:pt x="576" y="238"/>
                  </a:lnTo>
                  <a:lnTo>
                    <a:pt x="578" y="244"/>
                  </a:lnTo>
                  <a:lnTo>
                    <a:pt x="580" y="250"/>
                  </a:lnTo>
                  <a:lnTo>
                    <a:pt x="578" y="252"/>
                  </a:lnTo>
                  <a:lnTo>
                    <a:pt x="576" y="258"/>
                  </a:lnTo>
                  <a:lnTo>
                    <a:pt x="572" y="264"/>
                  </a:lnTo>
                  <a:lnTo>
                    <a:pt x="570" y="264"/>
                  </a:lnTo>
                  <a:lnTo>
                    <a:pt x="568" y="268"/>
                  </a:lnTo>
                  <a:lnTo>
                    <a:pt x="570" y="272"/>
                  </a:lnTo>
                  <a:lnTo>
                    <a:pt x="566" y="270"/>
                  </a:lnTo>
                  <a:lnTo>
                    <a:pt x="562" y="268"/>
                  </a:lnTo>
                  <a:lnTo>
                    <a:pt x="556" y="266"/>
                  </a:lnTo>
                  <a:lnTo>
                    <a:pt x="550" y="260"/>
                  </a:lnTo>
                  <a:lnTo>
                    <a:pt x="544" y="256"/>
                  </a:lnTo>
                  <a:lnTo>
                    <a:pt x="540" y="250"/>
                  </a:lnTo>
                  <a:lnTo>
                    <a:pt x="534" y="244"/>
                  </a:lnTo>
                  <a:lnTo>
                    <a:pt x="530" y="238"/>
                  </a:lnTo>
                  <a:lnTo>
                    <a:pt x="526" y="234"/>
                  </a:lnTo>
                  <a:lnTo>
                    <a:pt x="524" y="232"/>
                  </a:lnTo>
                  <a:lnTo>
                    <a:pt x="518" y="230"/>
                  </a:lnTo>
                  <a:lnTo>
                    <a:pt x="514" y="224"/>
                  </a:lnTo>
                  <a:lnTo>
                    <a:pt x="508" y="218"/>
                  </a:lnTo>
                  <a:lnTo>
                    <a:pt x="508" y="216"/>
                  </a:lnTo>
                  <a:lnTo>
                    <a:pt x="504" y="210"/>
                  </a:lnTo>
                  <a:lnTo>
                    <a:pt x="504" y="208"/>
                  </a:lnTo>
                  <a:lnTo>
                    <a:pt x="504" y="202"/>
                  </a:lnTo>
                  <a:lnTo>
                    <a:pt x="500" y="196"/>
                  </a:lnTo>
                  <a:lnTo>
                    <a:pt x="500" y="190"/>
                  </a:lnTo>
                  <a:lnTo>
                    <a:pt x="500" y="184"/>
                  </a:lnTo>
                  <a:lnTo>
                    <a:pt x="498" y="182"/>
                  </a:lnTo>
                  <a:lnTo>
                    <a:pt x="494" y="178"/>
                  </a:lnTo>
                  <a:lnTo>
                    <a:pt x="488" y="172"/>
                  </a:lnTo>
                  <a:lnTo>
                    <a:pt x="482" y="166"/>
                  </a:lnTo>
                  <a:lnTo>
                    <a:pt x="480" y="162"/>
                  </a:lnTo>
                  <a:lnTo>
                    <a:pt x="478" y="156"/>
                  </a:lnTo>
                  <a:lnTo>
                    <a:pt x="472" y="154"/>
                  </a:lnTo>
                  <a:lnTo>
                    <a:pt x="472" y="148"/>
                  </a:lnTo>
                  <a:lnTo>
                    <a:pt x="470" y="142"/>
                  </a:lnTo>
                  <a:lnTo>
                    <a:pt x="470" y="136"/>
                  </a:lnTo>
                  <a:lnTo>
                    <a:pt x="468" y="132"/>
                  </a:lnTo>
                  <a:lnTo>
                    <a:pt x="466" y="130"/>
                  </a:lnTo>
                  <a:lnTo>
                    <a:pt x="464" y="124"/>
                  </a:lnTo>
                  <a:lnTo>
                    <a:pt x="462" y="118"/>
                  </a:lnTo>
                  <a:lnTo>
                    <a:pt x="462" y="116"/>
                  </a:lnTo>
                  <a:lnTo>
                    <a:pt x="460" y="116"/>
                  </a:lnTo>
                  <a:lnTo>
                    <a:pt x="458" y="118"/>
                  </a:lnTo>
                  <a:lnTo>
                    <a:pt x="456" y="124"/>
                  </a:lnTo>
                  <a:lnTo>
                    <a:pt x="454" y="130"/>
                  </a:lnTo>
                  <a:lnTo>
                    <a:pt x="450" y="136"/>
                  </a:lnTo>
                  <a:lnTo>
                    <a:pt x="450" y="140"/>
                  </a:lnTo>
                  <a:lnTo>
                    <a:pt x="450" y="144"/>
                  </a:lnTo>
                  <a:lnTo>
                    <a:pt x="454" y="150"/>
                  </a:lnTo>
                  <a:lnTo>
                    <a:pt x="458" y="154"/>
                  </a:lnTo>
                  <a:lnTo>
                    <a:pt x="464" y="158"/>
                  </a:lnTo>
                  <a:lnTo>
                    <a:pt x="466" y="164"/>
                  </a:lnTo>
                  <a:lnTo>
                    <a:pt x="468" y="170"/>
                  </a:lnTo>
                  <a:lnTo>
                    <a:pt x="470" y="176"/>
                  </a:lnTo>
                  <a:lnTo>
                    <a:pt x="468" y="180"/>
                  </a:lnTo>
                  <a:lnTo>
                    <a:pt x="468" y="186"/>
                  </a:lnTo>
                  <a:lnTo>
                    <a:pt x="472" y="192"/>
                  </a:lnTo>
                  <a:lnTo>
                    <a:pt x="476" y="198"/>
                  </a:lnTo>
                  <a:lnTo>
                    <a:pt x="482" y="204"/>
                  </a:lnTo>
                  <a:lnTo>
                    <a:pt x="484" y="208"/>
                  </a:lnTo>
                  <a:lnTo>
                    <a:pt x="486" y="214"/>
                  </a:lnTo>
                  <a:lnTo>
                    <a:pt x="492" y="220"/>
                  </a:lnTo>
                  <a:lnTo>
                    <a:pt x="492" y="222"/>
                  </a:lnTo>
                  <a:lnTo>
                    <a:pt x="494" y="222"/>
                  </a:lnTo>
                  <a:lnTo>
                    <a:pt x="496" y="226"/>
                  </a:lnTo>
                  <a:lnTo>
                    <a:pt x="498" y="228"/>
                  </a:lnTo>
                  <a:lnTo>
                    <a:pt x="500" y="230"/>
                  </a:lnTo>
                  <a:lnTo>
                    <a:pt x="502" y="236"/>
                  </a:lnTo>
                  <a:lnTo>
                    <a:pt x="508" y="242"/>
                  </a:lnTo>
                  <a:lnTo>
                    <a:pt x="510" y="246"/>
                  </a:lnTo>
                  <a:lnTo>
                    <a:pt x="512" y="246"/>
                  </a:lnTo>
                  <a:lnTo>
                    <a:pt x="518" y="252"/>
                  </a:lnTo>
                  <a:lnTo>
                    <a:pt x="524" y="254"/>
                  </a:lnTo>
                  <a:lnTo>
                    <a:pt x="526" y="260"/>
                  </a:lnTo>
                  <a:lnTo>
                    <a:pt x="528" y="262"/>
                  </a:lnTo>
                  <a:lnTo>
                    <a:pt x="528" y="268"/>
                  </a:lnTo>
                  <a:lnTo>
                    <a:pt x="522" y="266"/>
                  </a:lnTo>
                  <a:lnTo>
                    <a:pt x="528" y="272"/>
                  </a:lnTo>
                  <a:lnTo>
                    <a:pt x="530" y="278"/>
                  </a:lnTo>
                  <a:lnTo>
                    <a:pt x="528" y="280"/>
                  </a:lnTo>
                  <a:lnTo>
                    <a:pt x="528" y="286"/>
                  </a:lnTo>
                  <a:lnTo>
                    <a:pt x="534" y="292"/>
                  </a:lnTo>
                  <a:lnTo>
                    <a:pt x="538" y="298"/>
                  </a:lnTo>
                  <a:lnTo>
                    <a:pt x="544" y="304"/>
                  </a:lnTo>
                  <a:lnTo>
                    <a:pt x="546" y="310"/>
                  </a:lnTo>
                  <a:lnTo>
                    <a:pt x="548" y="316"/>
                  </a:lnTo>
                  <a:lnTo>
                    <a:pt x="550" y="322"/>
                  </a:lnTo>
                  <a:lnTo>
                    <a:pt x="554" y="328"/>
                  </a:lnTo>
                  <a:lnTo>
                    <a:pt x="558" y="334"/>
                  </a:lnTo>
                  <a:lnTo>
                    <a:pt x="556" y="340"/>
                  </a:lnTo>
                  <a:lnTo>
                    <a:pt x="554" y="346"/>
                  </a:lnTo>
                  <a:lnTo>
                    <a:pt x="560" y="352"/>
                  </a:lnTo>
                  <a:lnTo>
                    <a:pt x="564" y="358"/>
                  </a:lnTo>
                  <a:lnTo>
                    <a:pt x="566" y="366"/>
                  </a:lnTo>
                  <a:lnTo>
                    <a:pt x="570" y="370"/>
                  </a:lnTo>
                  <a:lnTo>
                    <a:pt x="572" y="376"/>
                  </a:lnTo>
                  <a:lnTo>
                    <a:pt x="576" y="382"/>
                  </a:lnTo>
                  <a:lnTo>
                    <a:pt x="580" y="388"/>
                  </a:lnTo>
                  <a:lnTo>
                    <a:pt x="582" y="394"/>
                  </a:lnTo>
                  <a:lnTo>
                    <a:pt x="586" y="400"/>
                  </a:lnTo>
                  <a:lnTo>
                    <a:pt x="590" y="406"/>
                  </a:lnTo>
                  <a:lnTo>
                    <a:pt x="594" y="412"/>
                  </a:lnTo>
                  <a:lnTo>
                    <a:pt x="598" y="420"/>
                  </a:lnTo>
                  <a:lnTo>
                    <a:pt x="600" y="424"/>
                  </a:lnTo>
                  <a:lnTo>
                    <a:pt x="602" y="430"/>
                  </a:lnTo>
                  <a:lnTo>
                    <a:pt x="606" y="436"/>
                  </a:lnTo>
                  <a:lnTo>
                    <a:pt x="610" y="442"/>
                  </a:lnTo>
                  <a:lnTo>
                    <a:pt x="612" y="450"/>
                  </a:lnTo>
                  <a:lnTo>
                    <a:pt x="616" y="456"/>
                  </a:lnTo>
                  <a:lnTo>
                    <a:pt x="620" y="462"/>
                  </a:lnTo>
                  <a:lnTo>
                    <a:pt x="624" y="468"/>
                  </a:lnTo>
                  <a:lnTo>
                    <a:pt x="624" y="474"/>
                  </a:lnTo>
                  <a:lnTo>
                    <a:pt x="630" y="480"/>
                  </a:lnTo>
                  <a:lnTo>
                    <a:pt x="632" y="486"/>
                  </a:lnTo>
                  <a:lnTo>
                    <a:pt x="634" y="492"/>
                  </a:lnTo>
                  <a:lnTo>
                    <a:pt x="636" y="498"/>
                  </a:lnTo>
                  <a:lnTo>
                    <a:pt x="642" y="504"/>
                  </a:lnTo>
                  <a:lnTo>
                    <a:pt x="648" y="510"/>
                  </a:lnTo>
                  <a:lnTo>
                    <a:pt x="652" y="516"/>
                  </a:lnTo>
                  <a:lnTo>
                    <a:pt x="656" y="522"/>
                  </a:lnTo>
                  <a:lnTo>
                    <a:pt x="662" y="524"/>
                  </a:lnTo>
                  <a:lnTo>
                    <a:pt x="668" y="530"/>
                  </a:lnTo>
                  <a:lnTo>
                    <a:pt x="670" y="530"/>
                  </a:lnTo>
                  <a:lnTo>
                    <a:pt x="674" y="536"/>
                  </a:lnTo>
                  <a:lnTo>
                    <a:pt x="670" y="536"/>
                  </a:lnTo>
                  <a:lnTo>
                    <a:pt x="662" y="534"/>
                  </a:lnTo>
                  <a:lnTo>
                    <a:pt x="658" y="532"/>
                  </a:lnTo>
                  <a:lnTo>
                    <a:pt x="656" y="538"/>
                  </a:lnTo>
                  <a:lnTo>
                    <a:pt x="656" y="544"/>
                  </a:lnTo>
                  <a:lnTo>
                    <a:pt x="658" y="550"/>
                  </a:lnTo>
                  <a:lnTo>
                    <a:pt x="658" y="556"/>
                  </a:lnTo>
                  <a:lnTo>
                    <a:pt x="658" y="562"/>
                  </a:lnTo>
                  <a:lnTo>
                    <a:pt x="658" y="568"/>
                  </a:lnTo>
                  <a:lnTo>
                    <a:pt x="662" y="574"/>
                  </a:lnTo>
                  <a:lnTo>
                    <a:pt x="662" y="580"/>
                  </a:lnTo>
                  <a:lnTo>
                    <a:pt x="664" y="586"/>
                  </a:lnTo>
                  <a:lnTo>
                    <a:pt x="666" y="590"/>
                  </a:lnTo>
                  <a:lnTo>
                    <a:pt x="662" y="594"/>
                  </a:lnTo>
                  <a:lnTo>
                    <a:pt x="660" y="598"/>
                  </a:lnTo>
                  <a:lnTo>
                    <a:pt x="654" y="604"/>
                  </a:lnTo>
                  <a:lnTo>
                    <a:pt x="648" y="610"/>
                  </a:lnTo>
                  <a:lnTo>
                    <a:pt x="642" y="614"/>
                  </a:lnTo>
                  <a:lnTo>
                    <a:pt x="636" y="612"/>
                  </a:lnTo>
                  <a:lnTo>
                    <a:pt x="630" y="610"/>
                  </a:lnTo>
                  <a:lnTo>
                    <a:pt x="628" y="614"/>
                  </a:lnTo>
                  <a:lnTo>
                    <a:pt x="624" y="620"/>
                  </a:lnTo>
                  <a:lnTo>
                    <a:pt x="622" y="626"/>
                  </a:lnTo>
                  <a:lnTo>
                    <a:pt x="620" y="632"/>
                  </a:lnTo>
                  <a:lnTo>
                    <a:pt x="618" y="638"/>
                  </a:lnTo>
                  <a:lnTo>
                    <a:pt x="616" y="646"/>
                  </a:lnTo>
                  <a:lnTo>
                    <a:pt x="610" y="650"/>
                  </a:lnTo>
                  <a:lnTo>
                    <a:pt x="604" y="652"/>
                  </a:lnTo>
                  <a:lnTo>
                    <a:pt x="598" y="652"/>
                  </a:lnTo>
                  <a:lnTo>
                    <a:pt x="590" y="654"/>
                  </a:lnTo>
                  <a:lnTo>
                    <a:pt x="586" y="654"/>
                  </a:lnTo>
                  <a:lnTo>
                    <a:pt x="582" y="656"/>
                  </a:lnTo>
                  <a:lnTo>
                    <a:pt x="580" y="662"/>
                  </a:lnTo>
                  <a:lnTo>
                    <a:pt x="578" y="670"/>
                  </a:lnTo>
                  <a:lnTo>
                    <a:pt x="578" y="674"/>
                  </a:lnTo>
                  <a:lnTo>
                    <a:pt x="576" y="680"/>
                  </a:lnTo>
                  <a:lnTo>
                    <a:pt x="572" y="686"/>
                  </a:lnTo>
                  <a:lnTo>
                    <a:pt x="566" y="686"/>
                  </a:lnTo>
                  <a:lnTo>
                    <a:pt x="560" y="686"/>
                  </a:lnTo>
                  <a:lnTo>
                    <a:pt x="554" y="688"/>
                  </a:lnTo>
                  <a:lnTo>
                    <a:pt x="548" y="688"/>
                  </a:lnTo>
                  <a:lnTo>
                    <a:pt x="542" y="684"/>
                  </a:lnTo>
                  <a:lnTo>
                    <a:pt x="536" y="678"/>
                  </a:lnTo>
                  <a:lnTo>
                    <a:pt x="530" y="674"/>
                  </a:lnTo>
                  <a:lnTo>
                    <a:pt x="524" y="670"/>
                  </a:lnTo>
                  <a:lnTo>
                    <a:pt x="522" y="670"/>
                  </a:lnTo>
                  <a:lnTo>
                    <a:pt x="516" y="670"/>
                  </a:lnTo>
                  <a:lnTo>
                    <a:pt x="514" y="670"/>
                  </a:lnTo>
                  <a:lnTo>
                    <a:pt x="510" y="670"/>
                  </a:lnTo>
                  <a:lnTo>
                    <a:pt x="500" y="670"/>
                  </a:lnTo>
                  <a:lnTo>
                    <a:pt x="492" y="670"/>
                  </a:lnTo>
                  <a:lnTo>
                    <a:pt x="484" y="670"/>
                  </a:lnTo>
                  <a:lnTo>
                    <a:pt x="478" y="670"/>
                  </a:lnTo>
                  <a:lnTo>
                    <a:pt x="470" y="670"/>
                  </a:lnTo>
                  <a:lnTo>
                    <a:pt x="466" y="670"/>
                  </a:lnTo>
                  <a:lnTo>
                    <a:pt x="460" y="670"/>
                  </a:lnTo>
                  <a:lnTo>
                    <a:pt x="452" y="670"/>
                  </a:lnTo>
                  <a:lnTo>
                    <a:pt x="446" y="670"/>
                  </a:lnTo>
                  <a:lnTo>
                    <a:pt x="434" y="670"/>
                  </a:lnTo>
                  <a:lnTo>
                    <a:pt x="428" y="670"/>
                  </a:lnTo>
                  <a:lnTo>
                    <a:pt x="422" y="670"/>
                  </a:lnTo>
                  <a:lnTo>
                    <a:pt x="420" y="668"/>
                  </a:lnTo>
                  <a:lnTo>
                    <a:pt x="422" y="662"/>
                  </a:lnTo>
                  <a:lnTo>
                    <a:pt x="424" y="656"/>
                  </a:lnTo>
                  <a:lnTo>
                    <a:pt x="422" y="654"/>
                  </a:lnTo>
                  <a:lnTo>
                    <a:pt x="420" y="654"/>
                  </a:lnTo>
                  <a:lnTo>
                    <a:pt x="416" y="656"/>
                  </a:lnTo>
                  <a:lnTo>
                    <a:pt x="412" y="662"/>
                  </a:lnTo>
                  <a:lnTo>
                    <a:pt x="412" y="664"/>
                  </a:lnTo>
                  <a:lnTo>
                    <a:pt x="412" y="666"/>
                  </a:lnTo>
                  <a:lnTo>
                    <a:pt x="404" y="670"/>
                  </a:lnTo>
                  <a:lnTo>
                    <a:pt x="398" y="670"/>
                  </a:lnTo>
                  <a:lnTo>
                    <a:pt x="392" y="670"/>
                  </a:lnTo>
                  <a:lnTo>
                    <a:pt x="386" y="670"/>
                  </a:lnTo>
                  <a:lnTo>
                    <a:pt x="380" y="670"/>
                  </a:lnTo>
                  <a:lnTo>
                    <a:pt x="370" y="670"/>
                  </a:lnTo>
                  <a:lnTo>
                    <a:pt x="364" y="670"/>
                  </a:lnTo>
                  <a:lnTo>
                    <a:pt x="358" y="670"/>
                  </a:lnTo>
                  <a:lnTo>
                    <a:pt x="352" y="670"/>
                  </a:lnTo>
                  <a:lnTo>
                    <a:pt x="344" y="670"/>
                  </a:lnTo>
                  <a:lnTo>
                    <a:pt x="338" y="670"/>
                  </a:lnTo>
                  <a:lnTo>
                    <a:pt x="332" y="670"/>
                  </a:lnTo>
                  <a:lnTo>
                    <a:pt x="324" y="670"/>
                  </a:lnTo>
                  <a:lnTo>
                    <a:pt x="318" y="670"/>
                  </a:lnTo>
                  <a:lnTo>
                    <a:pt x="308" y="670"/>
                  </a:lnTo>
                  <a:lnTo>
                    <a:pt x="302" y="670"/>
                  </a:lnTo>
                  <a:lnTo>
                    <a:pt x="294" y="670"/>
                  </a:lnTo>
                  <a:lnTo>
                    <a:pt x="288" y="670"/>
                  </a:lnTo>
                  <a:lnTo>
                    <a:pt x="280" y="670"/>
                  </a:lnTo>
                  <a:lnTo>
                    <a:pt x="274" y="670"/>
                  </a:lnTo>
                  <a:lnTo>
                    <a:pt x="268" y="670"/>
                  </a:lnTo>
                  <a:lnTo>
                    <a:pt x="262" y="670"/>
                  </a:lnTo>
                  <a:lnTo>
                    <a:pt x="256" y="670"/>
                  </a:lnTo>
                  <a:lnTo>
                    <a:pt x="250" y="670"/>
                  </a:lnTo>
                  <a:lnTo>
                    <a:pt x="240" y="670"/>
                  </a:lnTo>
                  <a:lnTo>
                    <a:pt x="234" y="670"/>
                  </a:lnTo>
                  <a:lnTo>
                    <a:pt x="228" y="670"/>
                  </a:lnTo>
                  <a:lnTo>
                    <a:pt x="216" y="670"/>
                  </a:lnTo>
                  <a:lnTo>
                    <a:pt x="210" y="670"/>
                  </a:lnTo>
                  <a:lnTo>
                    <a:pt x="200" y="670"/>
                  </a:lnTo>
                  <a:lnTo>
                    <a:pt x="194" y="670"/>
                  </a:lnTo>
                  <a:lnTo>
                    <a:pt x="186" y="670"/>
                  </a:lnTo>
                  <a:lnTo>
                    <a:pt x="178" y="670"/>
                  </a:lnTo>
                  <a:lnTo>
                    <a:pt x="176" y="670"/>
                  </a:lnTo>
                  <a:lnTo>
                    <a:pt x="174" y="670"/>
                  </a:lnTo>
                  <a:lnTo>
                    <a:pt x="166" y="670"/>
                  </a:lnTo>
                  <a:lnTo>
                    <a:pt x="158" y="670"/>
                  </a:lnTo>
                  <a:lnTo>
                    <a:pt x="148" y="670"/>
                  </a:lnTo>
                  <a:lnTo>
                    <a:pt x="144" y="670"/>
                  </a:lnTo>
                  <a:lnTo>
                    <a:pt x="138" y="670"/>
                  </a:lnTo>
                  <a:lnTo>
                    <a:pt x="132" y="670"/>
                  </a:lnTo>
                  <a:lnTo>
                    <a:pt x="122" y="670"/>
                  </a:lnTo>
                  <a:lnTo>
                    <a:pt x="116" y="670"/>
                  </a:lnTo>
                  <a:lnTo>
                    <a:pt x="106" y="670"/>
                  </a:lnTo>
                  <a:lnTo>
                    <a:pt x="98" y="670"/>
                  </a:lnTo>
                  <a:lnTo>
                    <a:pt x="90" y="670"/>
                  </a:lnTo>
                  <a:lnTo>
                    <a:pt x="80" y="670"/>
                  </a:lnTo>
                  <a:lnTo>
                    <a:pt x="72" y="670"/>
                  </a:lnTo>
                  <a:lnTo>
                    <a:pt x="66" y="670"/>
                  </a:lnTo>
                  <a:lnTo>
                    <a:pt x="58" y="670"/>
                  </a:lnTo>
                  <a:lnTo>
                    <a:pt x="48" y="670"/>
                  </a:lnTo>
                  <a:lnTo>
                    <a:pt x="42" y="670"/>
                  </a:lnTo>
                  <a:lnTo>
                    <a:pt x="34" y="670"/>
                  </a:lnTo>
                  <a:lnTo>
                    <a:pt x="34" y="662"/>
                  </a:lnTo>
                  <a:lnTo>
                    <a:pt x="34" y="656"/>
                  </a:lnTo>
                  <a:lnTo>
                    <a:pt x="34" y="650"/>
                  </a:lnTo>
                  <a:lnTo>
                    <a:pt x="34" y="644"/>
                  </a:lnTo>
                  <a:lnTo>
                    <a:pt x="34" y="638"/>
                  </a:lnTo>
                  <a:lnTo>
                    <a:pt x="32" y="632"/>
                  </a:lnTo>
                  <a:lnTo>
                    <a:pt x="32" y="626"/>
                  </a:lnTo>
                  <a:lnTo>
                    <a:pt x="32" y="620"/>
                  </a:lnTo>
                  <a:lnTo>
                    <a:pt x="32" y="612"/>
                  </a:lnTo>
                  <a:lnTo>
                    <a:pt x="32" y="606"/>
                  </a:lnTo>
                  <a:lnTo>
                    <a:pt x="32" y="600"/>
                  </a:lnTo>
                  <a:lnTo>
                    <a:pt x="32" y="574"/>
                  </a:lnTo>
                  <a:lnTo>
                    <a:pt x="32" y="572"/>
                  </a:lnTo>
                  <a:lnTo>
                    <a:pt x="30" y="564"/>
                  </a:lnTo>
                  <a:lnTo>
                    <a:pt x="30" y="558"/>
                  </a:lnTo>
                  <a:lnTo>
                    <a:pt x="30" y="552"/>
                  </a:lnTo>
                  <a:lnTo>
                    <a:pt x="30" y="538"/>
                  </a:lnTo>
                  <a:lnTo>
                    <a:pt x="30" y="530"/>
                  </a:lnTo>
                  <a:lnTo>
                    <a:pt x="30" y="524"/>
                  </a:lnTo>
                  <a:lnTo>
                    <a:pt x="30" y="506"/>
                  </a:lnTo>
                  <a:lnTo>
                    <a:pt x="30" y="496"/>
                  </a:lnTo>
                  <a:lnTo>
                    <a:pt x="30" y="484"/>
                  </a:lnTo>
                  <a:lnTo>
                    <a:pt x="28" y="470"/>
                  </a:lnTo>
                  <a:lnTo>
                    <a:pt x="28" y="462"/>
                  </a:lnTo>
                  <a:lnTo>
                    <a:pt x="28" y="454"/>
                  </a:lnTo>
                  <a:lnTo>
                    <a:pt x="28" y="448"/>
                  </a:lnTo>
                  <a:lnTo>
                    <a:pt x="28" y="442"/>
                  </a:lnTo>
                  <a:lnTo>
                    <a:pt x="28" y="434"/>
                  </a:lnTo>
                  <a:lnTo>
                    <a:pt x="28" y="426"/>
                  </a:lnTo>
                  <a:lnTo>
                    <a:pt x="26" y="416"/>
                  </a:lnTo>
                  <a:lnTo>
                    <a:pt x="26" y="406"/>
                  </a:lnTo>
                  <a:lnTo>
                    <a:pt x="26" y="396"/>
                  </a:lnTo>
                  <a:lnTo>
                    <a:pt x="26" y="386"/>
                  </a:lnTo>
                  <a:lnTo>
                    <a:pt x="26" y="378"/>
                  </a:lnTo>
                  <a:lnTo>
                    <a:pt x="26" y="368"/>
                  </a:lnTo>
                  <a:lnTo>
                    <a:pt x="26" y="352"/>
                  </a:lnTo>
                  <a:lnTo>
                    <a:pt x="24" y="340"/>
                  </a:lnTo>
                  <a:lnTo>
                    <a:pt x="24" y="328"/>
                  </a:lnTo>
                  <a:lnTo>
                    <a:pt x="24" y="322"/>
                  </a:lnTo>
                  <a:lnTo>
                    <a:pt x="24" y="314"/>
                  </a:lnTo>
                  <a:lnTo>
                    <a:pt x="24" y="308"/>
                  </a:lnTo>
                  <a:lnTo>
                    <a:pt x="24" y="302"/>
                  </a:lnTo>
                  <a:lnTo>
                    <a:pt x="24" y="296"/>
                  </a:lnTo>
                  <a:lnTo>
                    <a:pt x="22" y="290"/>
                  </a:lnTo>
                  <a:lnTo>
                    <a:pt x="22" y="284"/>
                  </a:lnTo>
                  <a:lnTo>
                    <a:pt x="22" y="276"/>
                  </a:lnTo>
                  <a:lnTo>
                    <a:pt x="22" y="272"/>
                  </a:lnTo>
                  <a:lnTo>
                    <a:pt x="22" y="266"/>
                  </a:lnTo>
                  <a:lnTo>
                    <a:pt x="22" y="260"/>
                  </a:lnTo>
                  <a:lnTo>
                    <a:pt x="22" y="254"/>
                  </a:lnTo>
                  <a:lnTo>
                    <a:pt x="22" y="252"/>
                  </a:lnTo>
                  <a:lnTo>
                    <a:pt x="22" y="246"/>
                  </a:lnTo>
                  <a:lnTo>
                    <a:pt x="22" y="240"/>
                  </a:lnTo>
                  <a:lnTo>
                    <a:pt x="22" y="234"/>
                  </a:lnTo>
                  <a:lnTo>
                    <a:pt x="22" y="228"/>
                  </a:lnTo>
                  <a:lnTo>
                    <a:pt x="20" y="222"/>
                  </a:lnTo>
                  <a:lnTo>
                    <a:pt x="20" y="216"/>
                  </a:lnTo>
                  <a:lnTo>
                    <a:pt x="20" y="208"/>
                  </a:lnTo>
                  <a:lnTo>
                    <a:pt x="20" y="184"/>
                  </a:lnTo>
                  <a:lnTo>
                    <a:pt x="18" y="178"/>
                  </a:lnTo>
                  <a:lnTo>
                    <a:pt x="18" y="174"/>
                  </a:lnTo>
                  <a:lnTo>
                    <a:pt x="18" y="166"/>
                  </a:lnTo>
                  <a:lnTo>
                    <a:pt x="16" y="160"/>
                  </a:lnTo>
                  <a:lnTo>
                    <a:pt x="14" y="154"/>
                  </a:lnTo>
                  <a:lnTo>
                    <a:pt x="10" y="148"/>
                  </a:lnTo>
                  <a:lnTo>
                    <a:pt x="10" y="142"/>
                  </a:lnTo>
                  <a:lnTo>
                    <a:pt x="10" y="140"/>
                  </a:lnTo>
                  <a:lnTo>
                    <a:pt x="8" y="134"/>
                  </a:lnTo>
                  <a:lnTo>
                    <a:pt x="8" y="128"/>
                  </a:lnTo>
                  <a:lnTo>
                    <a:pt x="6" y="120"/>
                  </a:lnTo>
                  <a:lnTo>
                    <a:pt x="4" y="1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6" name="Freeform 223"/>
            <p:cNvSpPr>
              <a:spLocks/>
            </p:cNvSpPr>
            <p:nvPr/>
          </p:nvSpPr>
          <p:spPr bwMode="auto">
            <a:xfrm>
              <a:off x="4508500" y="4140200"/>
              <a:ext cx="187325" cy="249238"/>
            </a:xfrm>
            <a:custGeom>
              <a:avLst/>
              <a:gdLst>
                <a:gd name="T0" fmla="*/ 2147483647 w 458"/>
                <a:gd name="T1" fmla="*/ 2147483647 h 604"/>
                <a:gd name="T2" fmla="*/ 2147483647 w 458"/>
                <a:gd name="T3" fmla="*/ 2147483647 h 604"/>
                <a:gd name="T4" fmla="*/ 2147483647 w 458"/>
                <a:gd name="T5" fmla="*/ 2147483647 h 604"/>
                <a:gd name="T6" fmla="*/ 2147483647 w 458"/>
                <a:gd name="T7" fmla="*/ 2147483647 h 604"/>
                <a:gd name="T8" fmla="*/ 2147483647 w 458"/>
                <a:gd name="T9" fmla="*/ 2147483647 h 604"/>
                <a:gd name="T10" fmla="*/ 2147483647 w 458"/>
                <a:gd name="T11" fmla="*/ 2147483647 h 604"/>
                <a:gd name="T12" fmla="*/ 2147483647 w 458"/>
                <a:gd name="T13" fmla="*/ 2147483647 h 604"/>
                <a:gd name="T14" fmla="*/ 2147483647 w 458"/>
                <a:gd name="T15" fmla="*/ 2147483647 h 604"/>
                <a:gd name="T16" fmla="*/ 2147483647 w 458"/>
                <a:gd name="T17" fmla="*/ 2147483647 h 604"/>
                <a:gd name="T18" fmla="*/ 2147483647 w 458"/>
                <a:gd name="T19" fmla="*/ 2147483647 h 604"/>
                <a:gd name="T20" fmla="*/ 2147483647 w 458"/>
                <a:gd name="T21" fmla="*/ 2147483647 h 604"/>
                <a:gd name="T22" fmla="*/ 2147483647 w 458"/>
                <a:gd name="T23" fmla="*/ 2147483647 h 604"/>
                <a:gd name="T24" fmla="*/ 2147483647 w 458"/>
                <a:gd name="T25" fmla="*/ 2147483647 h 604"/>
                <a:gd name="T26" fmla="*/ 2147483647 w 458"/>
                <a:gd name="T27" fmla="*/ 2147483647 h 604"/>
                <a:gd name="T28" fmla="*/ 2147483647 w 458"/>
                <a:gd name="T29" fmla="*/ 2147483647 h 604"/>
                <a:gd name="T30" fmla="*/ 2147483647 w 458"/>
                <a:gd name="T31" fmla="*/ 2147483647 h 604"/>
                <a:gd name="T32" fmla="*/ 2147483647 w 458"/>
                <a:gd name="T33" fmla="*/ 2147483647 h 604"/>
                <a:gd name="T34" fmla="*/ 2147483647 w 458"/>
                <a:gd name="T35" fmla="*/ 2147483647 h 604"/>
                <a:gd name="T36" fmla="*/ 2147483647 w 458"/>
                <a:gd name="T37" fmla="*/ 2147483647 h 604"/>
                <a:gd name="T38" fmla="*/ 2147483647 w 458"/>
                <a:gd name="T39" fmla="*/ 2147483647 h 604"/>
                <a:gd name="T40" fmla="*/ 2147483647 w 458"/>
                <a:gd name="T41" fmla="*/ 2147483647 h 604"/>
                <a:gd name="T42" fmla="*/ 2147483647 w 458"/>
                <a:gd name="T43" fmla="*/ 2147483647 h 604"/>
                <a:gd name="T44" fmla="*/ 2147483647 w 458"/>
                <a:gd name="T45" fmla="*/ 2147483647 h 604"/>
                <a:gd name="T46" fmla="*/ 2147483647 w 458"/>
                <a:gd name="T47" fmla="*/ 2147483647 h 604"/>
                <a:gd name="T48" fmla="*/ 2147483647 w 458"/>
                <a:gd name="T49" fmla="*/ 2147483647 h 604"/>
                <a:gd name="T50" fmla="*/ 2147483647 w 458"/>
                <a:gd name="T51" fmla="*/ 2147483647 h 604"/>
                <a:gd name="T52" fmla="*/ 2147483647 w 458"/>
                <a:gd name="T53" fmla="*/ 2147483647 h 604"/>
                <a:gd name="T54" fmla="*/ 2147483647 w 458"/>
                <a:gd name="T55" fmla="*/ 2147483647 h 604"/>
                <a:gd name="T56" fmla="*/ 2147483647 w 458"/>
                <a:gd name="T57" fmla="*/ 2147483647 h 604"/>
                <a:gd name="T58" fmla="*/ 2147483647 w 458"/>
                <a:gd name="T59" fmla="*/ 2147483647 h 604"/>
                <a:gd name="T60" fmla="*/ 2147483647 w 458"/>
                <a:gd name="T61" fmla="*/ 0 h 604"/>
                <a:gd name="T62" fmla="*/ 2147483647 w 458"/>
                <a:gd name="T63" fmla="*/ 2147483647 h 604"/>
                <a:gd name="T64" fmla="*/ 2147483647 w 458"/>
                <a:gd name="T65" fmla="*/ 2147483647 h 604"/>
                <a:gd name="T66" fmla="*/ 2147483647 w 458"/>
                <a:gd name="T67" fmla="*/ 2147483647 h 604"/>
                <a:gd name="T68" fmla="*/ 2147483647 w 458"/>
                <a:gd name="T69" fmla="*/ 2147483647 h 604"/>
                <a:gd name="T70" fmla="*/ 2147483647 w 458"/>
                <a:gd name="T71" fmla="*/ 2147483647 h 604"/>
                <a:gd name="T72" fmla="*/ 2147483647 w 458"/>
                <a:gd name="T73" fmla="*/ 2147483647 h 604"/>
                <a:gd name="T74" fmla="*/ 2147483647 w 458"/>
                <a:gd name="T75" fmla="*/ 2147483647 h 604"/>
                <a:gd name="T76" fmla="*/ 2147483647 w 458"/>
                <a:gd name="T77" fmla="*/ 2147483647 h 604"/>
                <a:gd name="T78" fmla="*/ 2147483647 w 458"/>
                <a:gd name="T79" fmla="*/ 2147483647 h 604"/>
                <a:gd name="T80" fmla="*/ 2147483647 w 458"/>
                <a:gd name="T81" fmla="*/ 2147483647 h 604"/>
                <a:gd name="T82" fmla="*/ 2147483647 w 458"/>
                <a:gd name="T83" fmla="*/ 2147483647 h 604"/>
                <a:gd name="T84" fmla="*/ 2147483647 w 458"/>
                <a:gd name="T85" fmla="*/ 2147483647 h 604"/>
                <a:gd name="T86" fmla="*/ 2147483647 w 458"/>
                <a:gd name="T87" fmla="*/ 2147483647 h 604"/>
                <a:gd name="T88" fmla="*/ 2147483647 w 458"/>
                <a:gd name="T89" fmla="*/ 2147483647 h 604"/>
                <a:gd name="T90" fmla="*/ 2147483647 w 458"/>
                <a:gd name="T91" fmla="*/ 2147483647 h 604"/>
                <a:gd name="T92" fmla="*/ 2147483647 w 458"/>
                <a:gd name="T93" fmla="*/ 2147483647 h 604"/>
                <a:gd name="T94" fmla="*/ 2147483647 w 458"/>
                <a:gd name="T95" fmla="*/ 2147483647 h 604"/>
                <a:gd name="T96" fmla="*/ 2147483647 w 458"/>
                <a:gd name="T97" fmla="*/ 2147483647 h 604"/>
                <a:gd name="T98" fmla="*/ 2147483647 w 458"/>
                <a:gd name="T99" fmla="*/ 2147483647 h 604"/>
                <a:gd name="T100" fmla="*/ 2147483647 w 458"/>
                <a:gd name="T101" fmla="*/ 2147483647 h 604"/>
                <a:gd name="T102" fmla="*/ 2147483647 w 458"/>
                <a:gd name="T103" fmla="*/ 2147483647 h 604"/>
                <a:gd name="T104" fmla="*/ 2147483647 w 458"/>
                <a:gd name="T105" fmla="*/ 2147483647 h 604"/>
                <a:gd name="T106" fmla="*/ 2147483647 w 458"/>
                <a:gd name="T107" fmla="*/ 2147483647 h 604"/>
                <a:gd name="T108" fmla="*/ 2147483647 w 458"/>
                <a:gd name="T109" fmla="*/ 2147483647 h 604"/>
                <a:gd name="T110" fmla="*/ 2147483647 w 458"/>
                <a:gd name="T111" fmla="*/ 2147483647 h 604"/>
                <a:gd name="T112" fmla="*/ 2147483647 w 458"/>
                <a:gd name="T113" fmla="*/ 2147483647 h 604"/>
                <a:gd name="T114" fmla="*/ 2147483647 w 458"/>
                <a:gd name="T115" fmla="*/ 2147483647 h 604"/>
                <a:gd name="T116" fmla="*/ 2147483647 w 458"/>
                <a:gd name="T117" fmla="*/ 2147483647 h 6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8"/>
                <a:gd name="T178" fmla="*/ 0 h 604"/>
                <a:gd name="T179" fmla="*/ 458 w 458"/>
                <a:gd name="T180" fmla="*/ 604 h 6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8" h="604">
                  <a:moveTo>
                    <a:pt x="0" y="530"/>
                  </a:moveTo>
                  <a:lnTo>
                    <a:pt x="2" y="524"/>
                  </a:lnTo>
                  <a:lnTo>
                    <a:pt x="4" y="520"/>
                  </a:lnTo>
                  <a:lnTo>
                    <a:pt x="6" y="512"/>
                  </a:lnTo>
                  <a:lnTo>
                    <a:pt x="12" y="508"/>
                  </a:lnTo>
                  <a:lnTo>
                    <a:pt x="18" y="506"/>
                  </a:lnTo>
                  <a:lnTo>
                    <a:pt x="22" y="500"/>
                  </a:lnTo>
                  <a:lnTo>
                    <a:pt x="28" y="502"/>
                  </a:lnTo>
                  <a:lnTo>
                    <a:pt x="30" y="510"/>
                  </a:lnTo>
                  <a:lnTo>
                    <a:pt x="36" y="514"/>
                  </a:lnTo>
                  <a:lnTo>
                    <a:pt x="42" y="514"/>
                  </a:lnTo>
                  <a:lnTo>
                    <a:pt x="44" y="514"/>
                  </a:lnTo>
                  <a:lnTo>
                    <a:pt x="48" y="508"/>
                  </a:lnTo>
                  <a:lnTo>
                    <a:pt x="44" y="502"/>
                  </a:lnTo>
                  <a:lnTo>
                    <a:pt x="46" y="498"/>
                  </a:lnTo>
                  <a:lnTo>
                    <a:pt x="48" y="490"/>
                  </a:lnTo>
                  <a:lnTo>
                    <a:pt x="46" y="486"/>
                  </a:lnTo>
                  <a:lnTo>
                    <a:pt x="40" y="480"/>
                  </a:lnTo>
                  <a:lnTo>
                    <a:pt x="34" y="478"/>
                  </a:lnTo>
                  <a:lnTo>
                    <a:pt x="34" y="476"/>
                  </a:lnTo>
                  <a:lnTo>
                    <a:pt x="34" y="470"/>
                  </a:lnTo>
                  <a:lnTo>
                    <a:pt x="40" y="466"/>
                  </a:lnTo>
                  <a:lnTo>
                    <a:pt x="40" y="464"/>
                  </a:lnTo>
                  <a:lnTo>
                    <a:pt x="34" y="458"/>
                  </a:lnTo>
                  <a:lnTo>
                    <a:pt x="30" y="452"/>
                  </a:lnTo>
                  <a:lnTo>
                    <a:pt x="24" y="452"/>
                  </a:lnTo>
                  <a:lnTo>
                    <a:pt x="28" y="446"/>
                  </a:lnTo>
                  <a:lnTo>
                    <a:pt x="30" y="440"/>
                  </a:lnTo>
                  <a:lnTo>
                    <a:pt x="30" y="436"/>
                  </a:lnTo>
                  <a:lnTo>
                    <a:pt x="28" y="430"/>
                  </a:lnTo>
                  <a:lnTo>
                    <a:pt x="28" y="424"/>
                  </a:lnTo>
                  <a:lnTo>
                    <a:pt x="26" y="418"/>
                  </a:lnTo>
                  <a:lnTo>
                    <a:pt x="32" y="420"/>
                  </a:lnTo>
                  <a:lnTo>
                    <a:pt x="38" y="424"/>
                  </a:lnTo>
                  <a:lnTo>
                    <a:pt x="44" y="420"/>
                  </a:lnTo>
                  <a:lnTo>
                    <a:pt x="50" y="418"/>
                  </a:lnTo>
                  <a:lnTo>
                    <a:pt x="56" y="426"/>
                  </a:lnTo>
                  <a:lnTo>
                    <a:pt x="82" y="418"/>
                  </a:lnTo>
                  <a:lnTo>
                    <a:pt x="80" y="418"/>
                  </a:lnTo>
                  <a:lnTo>
                    <a:pt x="82" y="412"/>
                  </a:lnTo>
                  <a:lnTo>
                    <a:pt x="84" y="406"/>
                  </a:lnTo>
                  <a:lnTo>
                    <a:pt x="80" y="400"/>
                  </a:lnTo>
                  <a:lnTo>
                    <a:pt x="80" y="394"/>
                  </a:lnTo>
                  <a:lnTo>
                    <a:pt x="80" y="388"/>
                  </a:lnTo>
                  <a:lnTo>
                    <a:pt x="86" y="386"/>
                  </a:lnTo>
                  <a:lnTo>
                    <a:pt x="92" y="384"/>
                  </a:lnTo>
                  <a:lnTo>
                    <a:pt x="98" y="388"/>
                  </a:lnTo>
                  <a:lnTo>
                    <a:pt x="102" y="392"/>
                  </a:lnTo>
                  <a:lnTo>
                    <a:pt x="104" y="396"/>
                  </a:lnTo>
                  <a:lnTo>
                    <a:pt x="106" y="402"/>
                  </a:lnTo>
                  <a:lnTo>
                    <a:pt x="108" y="404"/>
                  </a:lnTo>
                  <a:lnTo>
                    <a:pt x="112" y="410"/>
                  </a:lnTo>
                  <a:lnTo>
                    <a:pt x="116" y="416"/>
                  </a:lnTo>
                  <a:lnTo>
                    <a:pt x="114" y="422"/>
                  </a:lnTo>
                  <a:lnTo>
                    <a:pt x="118" y="420"/>
                  </a:lnTo>
                  <a:lnTo>
                    <a:pt x="124" y="422"/>
                  </a:lnTo>
                  <a:lnTo>
                    <a:pt x="130" y="422"/>
                  </a:lnTo>
                  <a:lnTo>
                    <a:pt x="136" y="426"/>
                  </a:lnTo>
                  <a:lnTo>
                    <a:pt x="142" y="426"/>
                  </a:lnTo>
                  <a:lnTo>
                    <a:pt x="148" y="422"/>
                  </a:lnTo>
                  <a:lnTo>
                    <a:pt x="152" y="414"/>
                  </a:lnTo>
                  <a:lnTo>
                    <a:pt x="154" y="414"/>
                  </a:lnTo>
                  <a:lnTo>
                    <a:pt x="158" y="408"/>
                  </a:lnTo>
                  <a:lnTo>
                    <a:pt x="160" y="402"/>
                  </a:lnTo>
                  <a:lnTo>
                    <a:pt x="164" y="408"/>
                  </a:lnTo>
                  <a:lnTo>
                    <a:pt x="166" y="414"/>
                  </a:lnTo>
                  <a:lnTo>
                    <a:pt x="168" y="418"/>
                  </a:lnTo>
                  <a:lnTo>
                    <a:pt x="168" y="424"/>
                  </a:lnTo>
                  <a:lnTo>
                    <a:pt x="170" y="430"/>
                  </a:lnTo>
                  <a:lnTo>
                    <a:pt x="176" y="430"/>
                  </a:lnTo>
                  <a:lnTo>
                    <a:pt x="182" y="430"/>
                  </a:lnTo>
                  <a:lnTo>
                    <a:pt x="184" y="424"/>
                  </a:lnTo>
                  <a:lnTo>
                    <a:pt x="188" y="418"/>
                  </a:lnTo>
                  <a:lnTo>
                    <a:pt x="186" y="412"/>
                  </a:lnTo>
                  <a:lnTo>
                    <a:pt x="190" y="406"/>
                  </a:lnTo>
                  <a:lnTo>
                    <a:pt x="190" y="400"/>
                  </a:lnTo>
                  <a:lnTo>
                    <a:pt x="192" y="394"/>
                  </a:lnTo>
                  <a:lnTo>
                    <a:pt x="198" y="392"/>
                  </a:lnTo>
                  <a:lnTo>
                    <a:pt x="200" y="386"/>
                  </a:lnTo>
                  <a:lnTo>
                    <a:pt x="200" y="380"/>
                  </a:lnTo>
                  <a:lnTo>
                    <a:pt x="204" y="376"/>
                  </a:lnTo>
                  <a:lnTo>
                    <a:pt x="198" y="368"/>
                  </a:lnTo>
                  <a:lnTo>
                    <a:pt x="204" y="364"/>
                  </a:lnTo>
                  <a:lnTo>
                    <a:pt x="202" y="358"/>
                  </a:lnTo>
                  <a:lnTo>
                    <a:pt x="206" y="354"/>
                  </a:lnTo>
                  <a:lnTo>
                    <a:pt x="204" y="348"/>
                  </a:lnTo>
                  <a:lnTo>
                    <a:pt x="204" y="342"/>
                  </a:lnTo>
                  <a:lnTo>
                    <a:pt x="202" y="336"/>
                  </a:lnTo>
                  <a:lnTo>
                    <a:pt x="200" y="330"/>
                  </a:lnTo>
                  <a:lnTo>
                    <a:pt x="200" y="324"/>
                  </a:lnTo>
                  <a:lnTo>
                    <a:pt x="204" y="318"/>
                  </a:lnTo>
                  <a:lnTo>
                    <a:pt x="202" y="312"/>
                  </a:lnTo>
                  <a:lnTo>
                    <a:pt x="206" y="306"/>
                  </a:lnTo>
                  <a:lnTo>
                    <a:pt x="206" y="300"/>
                  </a:lnTo>
                  <a:lnTo>
                    <a:pt x="204" y="294"/>
                  </a:lnTo>
                  <a:lnTo>
                    <a:pt x="198" y="290"/>
                  </a:lnTo>
                  <a:lnTo>
                    <a:pt x="192" y="288"/>
                  </a:lnTo>
                  <a:lnTo>
                    <a:pt x="186" y="288"/>
                  </a:lnTo>
                  <a:lnTo>
                    <a:pt x="184" y="282"/>
                  </a:lnTo>
                  <a:lnTo>
                    <a:pt x="180" y="276"/>
                  </a:lnTo>
                  <a:lnTo>
                    <a:pt x="174" y="276"/>
                  </a:lnTo>
                  <a:lnTo>
                    <a:pt x="168" y="276"/>
                  </a:lnTo>
                  <a:lnTo>
                    <a:pt x="166" y="270"/>
                  </a:lnTo>
                  <a:lnTo>
                    <a:pt x="168" y="264"/>
                  </a:lnTo>
                  <a:lnTo>
                    <a:pt x="170" y="258"/>
                  </a:lnTo>
                  <a:lnTo>
                    <a:pt x="172" y="256"/>
                  </a:lnTo>
                  <a:lnTo>
                    <a:pt x="170" y="250"/>
                  </a:lnTo>
                  <a:lnTo>
                    <a:pt x="168" y="244"/>
                  </a:lnTo>
                  <a:lnTo>
                    <a:pt x="170" y="238"/>
                  </a:lnTo>
                  <a:lnTo>
                    <a:pt x="174" y="232"/>
                  </a:lnTo>
                  <a:lnTo>
                    <a:pt x="180" y="226"/>
                  </a:lnTo>
                  <a:lnTo>
                    <a:pt x="180" y="220"/>
                  </a:lnTo>
                  <a:lnTo>
                    <a:pt x="186" y="220"/>
                  </a:lnTo>
                  <a:lnTo>
                    <a:pt x="192" y="218"/>
                  </a:lnTo>
                  <a:lnTo>
                    <a:pt x="196" y="212"/>
                  </a:lnTo>
                  <a:lnTo>
                    <a:pt x="196" y="210"/>
                  </a:lnTo>
                  <a:lnTo>
                    <a:pt x="200" y="206"/>
                  </a:lnTo>
                  <a:lnTo>
                    <a:pt x="204" y="200"/>
                  </a:lnTo>
                  <a:lnTo>
                    <a:pt x="202" y="192"/>
                  </a:lnTo>
                  <a:lnTo>
                    <a:pt x="198" y="188"/>
                  </a:lnTo>
                  <a:lnTo>
                    <a:pt x="194" y="180"/>
                  </a:lnTo>
                  <a:lnTo>
                    <a:pt x="192" y="176"/>
                  </a:lnTo>
                  <a:lnTo>
                    <a:pt x="192" y="170"/>
                  </a:lnTo>
                  <a:lnTo>
                    <a:pt x="190" y="164"/>
                  </a:lnTo>
                  <a:lnTo>
                    <a:pt x="184" y="162"/>
                  </a:lnTo>
                  <a:lnTo>
                    <a:pt x="182" y="162"/>
                  </a:lnTo>
                  <a:lnTo>
                    <a:pt x="176" y="160"/>
                  </a:lnTo>
                  <a:lnTo>
                    <a:pt x="170" y="160"/>
                  </a:lnTo>
                  <a:lnTo>
                    <a:pt x="164" y="158"/>
                  </a:lnTo>
                  <a:lnTo>
                    <a:pt x="158" y="162"/>
                  </a:lnTo>
                  <a:lnTo>
                    <a:pt x="152" y="164"/>
                  </a:lnTo>
                  <a:lnTo>
                    <a:pt x="146" y="168"/>
                  </a:lnTo>
                  <a:lnTo>
                    <a:pt x="140" y="168"/>
                  </a:lnTo>
                  <a:lnTo>
                    <a:pt x="134" y="170"/>
                  </a:lnTo>
                  <a:lnTo>
                    <a:pt x="128" y="172"/>
                  </a:lnTo>
                  <a:lnTo>
                    <a:pt x="126" y="174"/>
                  </a:lnTo>
                  <a:lnTo>
                    <a:pt x="126" y="168"/>
                  </a:lnTo>
                  <a:lnTo>
                    <a:pt x="128" y="162"/>
                  </a:lnTo>
                  <a:lnTo>
                    <a:pt x="126" y="156"/>
                  </a:lnTo>
                  <a:lnTo>
                    <a:pt x="122" y="150"/>
                  </a:lnTo>
                  <a:lnTo>
                    <a:pt x="122" y="144"/>
                  </a:lnTo>
                  <a:lnTo>
                    <a:pt x="122" y="138"/>
                  </a:lnTo>
                  <a:lnTo>
                    <a:pt x="126" y="134"/>
                  </a:lnTo>
                  <a:lnTo>
                    <a:pt x="126" y="132"/>
                  </a:lnTo>
                  <a:lnTo>
                    <a:pt x="124" y="126"/>
                  </a:lnTo>
                  <a:lnTo>
                    <a:pt x="126" y="120"/>
                  </a:lnTo>
                  <a:lnTo>
                    <a:pt x="132" y="114"/>
                  </a:lnTo>
                  <a:lnTo>
                    <a:pt x="132" y="108"/>
                  </a:lnTo>
                  <a:lnTo>
                    <a:pt x="136" y="108"/>
                  </a:lnTo>
                  <a:lnTo>
                    <a:pt x="142" y="108"/>
                  </a:lnTo>
                  <a:lnTo>
                    <a:pt x="148" y="108"/>
                  </a:lnTo>
                  <a:lnTo>
                    <a:pt x="154" y="108"/>
                  </a:lnTo>
                  <a:lnTo>
                    <a:pt x="160" y="108"/>
                  </a:lnTo>
                  <a:lnTo>
                    <a:pt x="166" y="108"/>
                  </a:lnTo>
                  <a:lnTo>
                    <a:pt x="172" y="108"/>
                  </a:lnTo>
                  <a:lnTo>
                    <a:pt x="180" y="108"/>
                  </a:lnTo>
                  <a:lnTo>
                    <a:pt x="186" y="108"/>
                  </a:lnTo>
                  <a:lnTo>
                    <a:pt x="190" y="108"/>
                  </a:lnTo>
                  <a:lnTo>
                    <a:pt x="198" y="108"/>
                  </a:lnTo>
                  <a:lnTo>
                    <a:pt x="204" y="108"/>
                  </a:lnTo>
                  <a:lnTo>
                    <a:pt x="210" y="106"/>
                  </a:lnTo>
                  <a:lnTo>
                    <a:pt x="216" y="110"/>
                  </a:lnTo>
                  <a:lnTo>
                    <a:pt x="222" y="112"/>
                  </a:lnTo>
                  <a:lnTo>
                    <a:pt x="228" y="112"/>
                  </a:lnTo>
                  <a:lnTo>
                    <a:pt x="230" y="118"/>
                  </a:lnTo>
                  <a:lnTo>
                    <a:pt x="236" y="118"/>
                  </a:lnTo>
                  <a:lnTo>
                    <a:pt x="242" y="120"/>
                  </a:lnTo>
                  <a:lnTo>
                    <a:pt x="248" y="118"/>
                  </a:lnTo>
                  <a:lnTo>
                    <a:pt x="248" y="116"/>
                  </a:lnTo>
                  <a:lnTo>
                    <a:pt x="254" y="120"/>
                  </a:lnTo>
                  <a:lnTo>
                    <a:pt x="260" y="124"/>
                  </a:lnTo>
                  <a:lnTo>
                    <a:pt x="266" y="120"/>
                  </a:lnTo>
                  <a:lnTo>
                    <a:pt x="272" y="122"/>
                  </a:lnTo>
                  <a:lnTo>
                    <a:pt x="278" y="124"/>
                  </a:lnTo>
                  <a:lnTo>
                    <a:pt x="284" y="126"/>
                  </a:lnTo>
                  <a:lnTo>
                    <a:pt x="290" y="132"/>
                  </a:lnTo>
                  <a:lnTo>
                    <a:pt x="296" y="134"/>
                  </a:lnTo>
                  <a:lnTo>
                    <a:pt x="300" y="142"/>
                  </a:lnTo>
                  <a:lnTo>
                    <a:pt x="302" y="144"/>
                  </a:lnTo>
                  <a:lnTo>
                    <a:pt x="302" y="142"/>
                  </a:lnTo>
                  <a:lnTo>
                    <a:pt x="306" y="136"/>
                  </a:lnTo>
                  <a:lnTo>
                    <a:pt x="304" y="130"/>
                  </a:lnTo>
                  <a:lnTo>
                    <a:pt x="304" y="124"/>
                  </a:lnTo>
                  <a:lnTo>
                    <a:pt x="302" y="116"/>
                  </a:lnTo>
                  <a:lnTo>
                    <a:pt x="302" y="112"/>
                  </a:lnTo>
                  <a:lnTo>
                    <a:pt x="304" y="106"/>
                  </a:lnTo>
                  <a:lnTo>
                    <a:pt x="310" y="104"/>
                  </a:lnTo>
                  <a:lnTo>
                    <a:pt x="312" y="100"/>
                  </a:lnTo>
                  <a:lnTo>
                    <a:pt x="314" y="94"/>
                  </a:lnTo>
                  <a:lnTo>
                    <a:pt x="316" y="88"/>
                  </a:lnTo>
                  <a:lnTo>
                    <a:pt x="318" y="82"/>
                  </a:lnTo>
                  <a:lnTo>
                    <a:pt x="322" y="76"/>
                  </a:lnTo>
                  <a:lnTo>
                    <a:pt x="324" y="70"/>
                  </a:lnTo>
                  <a:lnTo>
                    <a:pt x="326" y="64"/>
                  </a:lnTo>
                  <a:lnTo>
                    <a:pt x="328" y="58"/>
                  </a:lnTo>
                  <a:lnTo>
                    <a:pt x="326" y="52"/>
                  </a:lnTo>
                  <a:lnTo>
                    <a:pt x="328" y="46"/>
                  </a:lnTo>
                  <a:lnTo>
                    <a:pt x="326" y="40"/>
                  </a:lnTo>
                  <a:lnTo>
                    <a:pt x="328" y="34"/>
                  </a:lnTo>
                  <a:lnTo>
                    <a:pt x="330" y="28"/>
                  </a:lnTo>
                  <a:lnTo>
                    <a:pt x="332" y="22"/>
                  </a:lnTo>
                  <a:lnTo>
                    <a:pt x="332" y="20"/>
                  </a:lnTo>
                  <a:lnTo>
                    <a:pt x="336" y="14"/>
                  </a:lnTo>
                  <a:lnTo>
                    <a:pt x="342" y="12"/>
                  </a:lnTo>
                  <a:lnTo>
                    <a:pt x="348" y="14"/>
                  </a:lnTo>
                  <a:lnTo>
                    <a:pt x="354" y="12"/>
                  </a:lnTo>
                  <a:lnTo>
                    <a:pt x="360" y="12"/>
                  </a:lnTo>
                  <a:lnTo>
                    <a:pt x="366" y="10"/>
                  </a:lnTo>
                  <a:lnTo>
                    <a:pt x="372" y="10"/>
                  </a:lnTo>
                  <a:lnTo>
                    <a:pt x="378" y="8"/>
                  </a:lnTo>
                  <a:lnTo>
                    <a:pt x="384" y="2"/>
                  </a:lnTo>
                  <a:lnTo>
                    <a:pt x="388" y="0"/>
                  </a:lnTo>
                  <a:lnTo>
                    <a:pt x="392" y="6"/>
                  </a:lnTo>
                  <a:lnTo>
                    <a:pt x="400" y="6"/>
                  </a:lnTo>
                  <a:lnTo>
                    <a:pt x="406" y="8"/>
                  </a:lnTo>
                  <a:lnTo>
                    <a:pt x="412" y="12"/>
                  </a:lnTo>
                  <a:lnTo>
                    <a:pt x="418" y="12"/>
                  </a:lnTo>
                  <a:lnTo>
                    <a:pt x="422" y="10"/>
                  </a:lnTo>
                  <a:lnTo>
                    <a:pt x="428" y="14"/>
                  </a:lnTo>
                  <a:lnTo>
                    <a:pt x="434" y="12"/>
                  </a:lnTo>
                  <a:lnTo>
                    <a:pt x="440" y="10"/>
                  </a:lnTo>
                  <a:lnTo>
                    <a:pt x="446" y="8"/>
                  </a:lnTo>
                  <a:lnTo>
                    <a:pt x="452" y="10"/>
                  </a:lnTo>
                  <a:lnTo>
                    <a:pt x="456" y="16"/>
                  </a:lnTo>
                  <a:lnTo>
                    <a:pt x="458" y="24"/>
                  </a:lnTo>
                  <a:lnTo>
                    <a:pt x="458" y="28"/>
                  </a:lnTo>
                  <a:lnTo>
                    <a:pt x="458" y="34"/>
                  </a:lnTo>
                  <a:lnTo>
                    <a:pt x="456" y="40"/>
                  </a:lnTo>
                  <a:lnTo>
                    <a:pt x="452" y="44"/>
                  </a:lnTo>
                  <a:lnTo>
                    <a:pt x="452" y="48"/>
                  </a:lnTo>
                  <a:lnTo>
                    <a:pt x="448" y="54"/>
                  </a:lnTo>
                  <a:lnTo>
                    <a:pt x="446" y="60"/>
                  </a:lnTo>
                  <a:lnTo>
                    <a:pt x="444" y="66"/>
                  </a:lnTo>
                  <a:lnTo>
                    <a:pt x="444" y="68"/>
                  </a:lnTo>
                  <a:lnTo>
                    <a:pt x="440" y="74"/>
                  </a:lnTo>
                  <a:lnTo>
                    <a:pt x="440" y="76"/>
                  </a:lnTo>
                  <a:lnTo>
                    <a:pt x="434" y="82"/>
                  </a:lnTo>
                  <a:lnTo>
                    <a:pt x="434" y="84"/>
                  </a:lnTo>
                  <a:lnTo>
                    <a:pt x="432" y="90"/>
                  </a:lnTo>
                  <a:lnTo>
                    <a:pt x="430" y="96"/>
                  </a:lnTo>
                  <a:lnTo>
                    <a:pt x="426" y="102"/>
                  </a:lnTo>
                  <a:lnTo>
                    <a:pt x="426" y="108"/>
                  </a:lnTo>
                  <a:lnTo>
                    <a:pt x="424" y="114"/>
                  </a:lnTo>
                  <a:lnTo>
                    <a:pt x="424" y="120"/>
                  </a:lnTo>
                  <a:lnTo>
                    <a:pt x="424" y="122"/>
                  </a:lnTo>
                  <a:lnTo>
                    <a:pt x="422" y="128"/>
                  </a:lnTo>
                  <a:lnTo>
                    <a:pt x="424" y="134"/>
                  </a:lnTo>
                  <a:lnTo>
                    <a:pt x="424" y="140"/>
                  </a:lnTo>
                  <a:lnTo>
                    <a:pt x="424" y="146"/>
                  </a:lnTo>
                  <a:lnTo>
                    <a:pt x="424" y="152"/>
                  </a:lnTo>
                  <a:lnTo>
                    <a:pt x="422" y="158"/>
                  </a:lnTo>
                  <a:lnTo>
                    <a:pt x="420" y="164"/>
                  </a:lnTo>
                  <a:lnTo>
                    <a:pt x="418" y="170"/>
                  </a:lnTo>
                  <a:lnTo>
                    <a:pt x="418" y="172"/>
                  </a:lnTo>
                  <a:lnTo>
                    <a:pt x="416" y="180"/>
                  </a:lnTo>
                  <a:lnTo>
                    <a:pt x="412" y="184"/>
                  </a:lnTo>
                  <a:lnTo>
                    <a:pt x="412" y="192"/>
                  </a:lnTo>
                  <a:lnTo>
                    <a:pt x="414" y="200"/>
                  </a:lnTo>
                  <a:lnTo>
                    <a:pt x="414" y="202"/>
                  </a:lnTo>
                  <a:lnTo>
                    <a:pt x="414" y="208"/>
                  </a:lnTo>
                  <a:lnTo>
                    <a:pt x="414" y="214"/>
                  </a:lnTo>
                  <a:lnTo>
                    <a:pt x="416" y="220"/>
                  </a:lnTo>
                  <a:lnTo>
                    <a:pt x="418" y="226"/>
                  </a:lnTo>
                  <a:lnTo>
                    <a:pt x="416" y="232"/>
                  </a:lnTo>
                  <a:lnTo>
                    <a:pt x="416" y="234"/>
                  </a:lnTo>
                  <a:lnTo>
                    <a:pt x="412" y="240"/>
                  </a:lnTo>
                  <a:lnTo>
                    <a:pt x="408" y="244"/>
                  </a:lnTo>
                  <a:lnTo>
                    <a:pt x="406" y="252"/>
                  </a:lnTo>
                  <a:lnTo>
                    <a:pt x="406" y="256"/>
                  </a:lnTo>
                  <a:lnTo>
                    <a:pt x="406" y="258"/>
                  </a:lnTo>
                  <a:lnTo>
                    <a:pt x="404" y="264"/>
                  </a:lnTo>
                  <a:lnTo>
                    <a:pt x="402" y="270"/>
                  </a:lnTo>
                  <a:lnTo>
                    <a:pt x="402" y="276"/>
                  </a:lnTo>
                  <a:lnTo>
                    <a:pt x="404" y="280"/>
                  </a:lnTo>
                  <a:lnTo>
                    <a:pt x="404" y="286"/>
                  </a:lnTo>
                  <a:lnTo>
                    <a:pt x="402" y="292"/>
                  </a:lnTo>
                  <a:lnTo>
                    <a:pt x="402" y="294"/>
                  </a:lnTo>
                  <a:lnTo>
                    <a:pt x="400" y="300"/>
                  </a:lnTo>
                  <a:lnTo>
                    <a:pt x="396" y="306"/>
                  </a:lnTo>
                  <a:lnTo>
                    <a:pt x="392" y="310"/>
                  </a:lnTo>
                  <a:lnTo>
                    <a:pt x="388" y="316"/>
                  </a:lnTo>
                  <a:lnTo>
                    <a:pt x="384" y="322"/>
                  </a:lnTo>
                  <a:lnTo>
                    <a:pt x="378" y="328"/>
                  </a:lnTo>
                  <a:lnTo>
                    <a:pt x="372" y="330"/>
                  </a:lnTo>
                  <a:lnTo>
                    <a:pt x="366" y="332"/>
                  </a:lnTo>
                  <a:lnTo>
                    <a:pt x="360" y="336"/>
                  </a:lnTo>
                  <a:lnTo>
                    <a:pt x="354" y="340"/>
                  </a:lnTo>
                  <a:lnTo>
                    <a:pt x="348" y="346"/>
                  </a:lnTo>
                  <a:lnTo>
                    <a:pt x="344" y="352"/>
                  </a:lnTo>
                  <a:lnTo>
                    <a:pt x="342" y="358"/>
                  </a:lnTo>
                  <a:lnTo>
                    <a:pt x="340" y="364"/>
                  </a:lnTo>
                  <a:lnTo>
                    <a:pt x="338" y="368"/>
                  </a:lnTo>
                  <a:lnTo>
                    <a:pt x="336" y="374"/>
                  </a:lnTo>
                  <a:lnTo>
                    <a:pt x="334" y="380"/>
                  </a:lnTo>
                  <a:lnTo>
                    <a:pt x="330" y="386"/>
                  </a:lnTo>
                  <a:lnTo>
                    <a:pt x="324" y="392"/>
                  </a:lnTo>
                  <a:lnTo>
                    <a:pt x="318" y="398"/>
                  </a:lnTo>
                  <a:lnTo>
                    <a:pt x="312" y="402"/>
                  </a:lnTo>
                  <a:lnTo>
                    <a:pt x="308" y="408"/>
                  </a:lnTo>
                  <a:lnTo>
                    <a:pt x="308" y="416"/>
                  </a:lnTo>
                  <a:lnTo>
                    <a:pt x="308" y="422"/>
                  </a:lnTo>
                  <a:lnTo>
                    <a:pt x="310" y="428"/>
                  </a:lnTo>
                  <a:lnTo>
                    <a:pt x="310" y="434"/>
                  </a:lnTo>
                  <a:lnTo>
                    <a:pt x="312" y="440"/>
                  </a:lnTo>
                  <a:lnTo>
                    <a:pt x="310" y="446"/>
                  </a:lnTo>
                  <a:lnTo>
                    <a:pt x="308" y="452"/>
                  </a:lnTo>
                  <a:lnTo>
                    <a:pt x="308" y="456"/>
                  </a:lnTo>
                  <a:lnTo>
                    <a:pt x="308" y="462"/>
                  </a:lnTo>
                  <a:lnTo>
                    <a:pt x="308" y="468"/>
                  </a:lnTo>
                  <a:lnTo>
                    <a:pt x="308" y="470"/>
                  </a:lnTo>
                  <a:lnTo>
                    <a:pt x="308" y="476"/>
                  </a:lnTo>
                  <a:lnTo>
                    <a:pt x="308" y="478"/>
                  </a:lnTo>
                  <a:lnTo>
                    <a:pt x="310" y="484"/>
                  </a:lnTo>
                  <a:lnTo>
                    <a:pt x="310" y="490"/>
                  </a:lnTo>
                  <a:lnTo>
                    <a:pt x="306" y="496"/>
                  </a:lnTo>
                  <a:lnTo>
                    <a:pt x="304" y="502"/>
                  </a:lnTo>
                  <a:lnTo>
                    <a:pt x="300" y="508"/>
                  </a:lnTo>
                  <a:lnTo>
                    <a:pt x="298" y="514"/>
                  </a:lnTo>
                  <a:lnTo>
                    <a:pt x="296" y="520"/>
                  </a:lnTo>
                  <a:lnTo>
                    <a:pt x="292" y="526"/>
                  </a:lnTo>
                  <a:lnTo>
                    <a:pt x="290" y="530"/>
                  </a:lnTo>
                  <a:lnTo>
                    <a:pt x="284" y="534"/>
                  </a:lnTo>
                  <a:lnTo>
                    <a:pt x="278" y="534"/>
                  </a:lnTo>
                  <a:lnTo>
                    <a:pt x="272" y="536"/>
                  </a:lnTo>
                  <a:lnTo>
                    <a:pt x="266" y="542"/>
                  </a:lnTo>
                  <a:lnTo>
                    <a:pt x="266" y="546"/>
                  </a:lnTo>
                  <a:lnTo>
                    <a:pt x="264" y="552"/>
                  </a:lnTo>
                  <a:lnTo>
                    <a:pt x="258" y="554"/>
                  </a:lnTo>
                  <a:lnTo>
                    <a:pt x="256" y="554"/>
                  </a:lnTo>
                  <a:lnTo>
                    <a:pt x="252" y="556"/>
                  </a:lnTo>
                  <a:lnTo>
                    <a:pt x="250" y="558"/>
                  </a:lnTo>
                  <a:lnTo>
                    <a:pt x="246" y="562"/>
                  </a:lnTo>
                  <a:lnTo>
                    <a:pt x="244" y="564"/>
                  </a:lnTo>
                  <a:lnTo>
                    <a:pt x="240" y="570"/>
                  </a:lnTo>
                  <a:lnTo>
                    <a:pt x="236" y="574"/>
                  </a:lnTo>
                  <a:lnTo>
                    <a:pt x="236" y="576"/>
                  </a:lnTo>
                  <a:lnTo>
                    <a:pt x="230" y="582"/>
                  </a:lnTo>
                  <a:lnTo>
                    <a:pt x="228" y="588"/>
                  </a:lnTo>
                  <a:lnTo>
                    <a:pt x="222" y="594"/>
                  </a:lnTo>
                  <a:lnTo>
                    <a:pt x="216" y="598"/>
                  </a:lnTo>
                  <a:lnTo>
                    <a:pt x="210" y="596"/>
                  </a:lnTo>
                  <a:lnTo>
                    <a:pt x="204" y="592"/>
                  </a:lnTo>
                  <a:lnTo>
                    <a:pt x="200" y="596"/>
                  </a:lnTo>
                  <a:lnTo>
                    <a:pt x="200" y="590"/>
                  </a:lnTo>
                  <a:lnTo>
                    <a:pt x="200" y="584"/>
                  </a:lnTo>
                  <a:lnTo>
                    <a:pt x="198" y="578"/>
                  </a:lnTo>
                  <a:lnTo>
                    <a:pt x="198" y="572"/>
                  </a:lnTo>
                  <a:lnTo>
                    <a:pt x="200" y="570"/>
                  </a:lnTo>
                  <a:lnTo>
                    <a:pt x="204" y="564"/>
                  </a:lnTo>
                  <a:lnTo>
                    <a:pt x="200" y="558"/>
                  </a:lnTo>
                  <a:lnTo>
                    <a:pt x="194" y="556"/>
                  </a:lnTo>
                  <a:lnTo>
                    <a:pt x="188" y="560"/>
                  </a:lnTo>
                  <a:lnTo>
                    <a:pt x="182" y="562"/>
                  </a:lnTo>
                  <a:lnTo>
                    <a:pt x="176" y="564"/>
                  </a:lnTo>
                  <a:lnTo>
                    <a:pt x="170" y="568"/>
                  </a:lnTo>
                  <a:lnTo>
                    <a:pt x="168" y="568"/>
                  </a:lnTo>
                  <a:lnTo>
                    <a:pt x="162" y="564"/>
                  </a:lnTo>
                  <a:lnTo>
                    <a:pt x="158" y="570"/>
                  </a:lnTo>
                  <a:lnTo>
                    <a:pt x="158" y="576"/>
                  </a:lnTo>
                  <a:lnTo>
                    <a:pt x="158" y="582"/>
                  </a:lnTo>
                  <a:lnTo>
                    <a:pt x="152" y="586"/>
                  </a:lnTo>
                  <a:lnTo>
                    <a:pt x="148" y="588"/>
                  </a:lnTo>
                  <a:lnTo>
                    <a:pt x="142" y="592"/>
                  </a:lnTo>
                  <a:lnTo>
                    <a:pt x="138" y="596"/>
                  </a:lnTo>
                  <a:lnTo>
                    <a:pt x="136" y="590"/>
                  </a:lnTo>
                  <a:lnTo>
                    <a:pt x="130" y="586"/>
                  </a:lnTo>
                  <a:lnTo>
                    <a:pt x="124" y="582"/>
                  </a:lnTo>
                  <a:lnTo>
                    <a:pt x="122" y="576"/>
                  </a:lnTo>
                  <a:lnTo>
                    <a:pt x="118" y="578"/>
                  </a:lnTo>
                  <a:lnTo>
                    <a:pt x="114" y="574"/>
                  </a:lnTo>
                  <a:lnTo>
                    <a:pt x="108" y="568"/>
                  </a:lnTo>
                  <a:lnTo>
                    <a:pt x="108" y="566"/>
                  </a:lnTo>
                  <a:lnTo>
                    <a:pt x="102" y="562"/>
                  </a:lnTo>
                  <a:lnTo>
                    <a:pt x="100" y="562"/>
                  </a:lnTo>
                  <a:lnTo>
                    <a:pt x="96" y="568"/>
                  </a:lnTo>
                  <a:lnTo>
                    <a:pt x="92" y="574"/>
                  </a:lnTo>
                  <a:lnTo>
                    <a:pt x="86" y="574"/>
                  </a:lnTo>
                  <a:lnTo>
                    <a:pt x="80" y="576"/>
                  </a:lnTo>
                  <a:lnTo>
                    <a:pt x="76" y="582"/>
                  </a:lnTo>
                  <a:lnTo>
                    <a:pt x="74" y="588"/>
                  </a:lnTo>
                  <a:lnTo>
                    <a:pt x="70" y="590"/>
                  </a:lnTo>
                  <a:lnTo>
                    <a:pt x="64" y="592"/>
                  </a:lnTo>
                  <a:lnTo>
                    <a:pt x="62" y="598"/>
                  </a:lnTo>
                  <a:lnTo>
                    <a:pt x="54" y="604"/>
                  </a:lnTo>
                  <a:lnTo>
                    <a:pt x="52" y="604"/>
                  </a:lnTo>
                  <a:lnTo>
                    <a:pt x="50" y="602"/>
                  </a:lnTo>
                  <a:lnTo>
                    <a:pt x="46" y="596"/>
                  </a:lnTo>
                  <a:lnTo>
                    <a:pt x="42" y="590"/>
                  </a:lnTo>
                  <a:lnTo>
                    <a:pt x="42" y="584"/>
                  </a:lnTo>
                  <a:lnTo>
                    <a:pt x="40" y="578"/>
                  </a:lnTo>
                  <a:lnTo>
                    <a:pt x="38" y="572"/>
                  </a:lnTo>
                  <a:lnTo>
                    <a:pt x="34" y="566"/>
                  </a:lnTo>
                  <a:lnTo>
                    <a:pt x="30" y="564"/>
                  </a:lnTo>
                  <a:lnTo>
                    <a:pt x="24" y="558"/>
                  </a:lnTo>
                  <a:lnTo>
                    <a:pt x="20" y="552"/>
                  </a:lnTo>
                  <a:lnTo>
                    <a:pt x="14" y="546"/>
                  </a:lnTo>
                  <a:lnTo>
                    <a:pt x="12" y="540"/>
                  </a:lnTo>
                  <a:lnTo>
                    <a:pt x="6" y="536"/>
                  </a:lnTo>
                  <a:lnTo>
                    <a:pt x="0" y="5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7" name="Freeform 224"/>
            <p:cNvSpPr>
              <a:spLocks/>
            </p:cNvSpPr>
            <p:nvPr/>
          </p:nvSpPr>
          <p:spPr bwMode="auto">
            <a:xfrm>
              <a:off x="3803650" y="3771900"/>
              <a:ext cx="149225" cy="123825"/>
            </a:xfrm>
            <a:custGeom>
              <a:avLst/>
              <a:gdLst>
                <a:gd name="T0" fmla="*/ 2147483647 w 368"/>
                <a:gd name="T1" fmla="*/ 2147483647 h 302"/>
                <a:gd name="T2" fmla="*/ 2147483647 w 368"/>
                <a:gd name="T3" fmla="*/ 2147483647 h 302"/>
                <a:gd name="T4" fmla="*/ 2147483647 w 368"/>
                <a:gd name="T5" fmla="*/ 2147483647 h 302"/>
                <a:gd name="T6" fmla="*/ 2147483647 w 368"/>
                <a:gd name="T7" fmla="*/ 2147483647 h 302"/>
                <a:gd name="T8" fmla="*/ 2147483647 w 368"/>
                <a:gd name="T9" fmla="*/ 2147483647 h 302"/>
                <a:gd name="T10" fmla="*/ 2147483647 w 368"/>
                <a:gd name="T11" fmla="*/ 2147483647 h 302"/>
                <a:gd name="T12" fmla="*/ 2147483647 w 368"/>
                <a:gd name="T13" fmla="*/ 2147483647 h 302"/>
                <a:gd name="T14" fmla="*/ 2147483647 w 368"/>
                <a:gd name="T15" fmla="*/ 2147483647 h 302"/>
                <a:gd name="T16" fmla="*/ 2147483647 w 368"/>
                <a:gd name="T17" fmla="*/ 2147483647 h 302"/>
                <a:gd name="T18" fmla="*/ 2147483647 w 368"/>
                <a:gd name="T19" fmla="*/ 2147483647 h 302"/>
                <a:gd name="T20" fmla="*/ 2147483647 w 368"/>
                <a:gd name="T21" fmla="*/ 2147483647 h 302"/>
                <a:gd name="T22" fmla="*/ 2147483647 w 368"/>
                <a:gd name="T23" fmla="*/ 2147483647 h 302"/>
                <a:gd name="T24" fmla="*/ 2147483647 w 368"/>
                <a:gd name="T25" fmla="*/ 2147483647 h 302"/>
                <a:gd name="T26" fmla="*/ 2147483647 w 368"/>
                <a:gd name="T27" fmla="*/ 2147483647 h 302"/>
                <a:gd name="T28" fmla="*/ 2147483647 w 368"/>
                <a:gd name="T29" fmla="*/ 2147483647 h 302"/>
                <a:gd name="T30" fmla="*/ 2147483647 w 368"/>
                <a:gd name="T31" fmla="*/ 2147483647 h 302"/>
                <a:gd name="T32" fmla="*/ 2147483647 w 368"/>
                <a:gd name="T33" fmla="*/ 2147483647 h 302"/>
                <a:gd name="T34" fmla="*/ 2147483647 w 368"/>
                <a:gd name="T35" fmla="*/ 2147483647 h 302"/>
                <a:gd name="T36" fmla="*/ 2147483647 w 368"/>
                <a:gd name="T37" fmla="*/ 2147483647 h 302"/>
                <a:gd name="T38" fmla="*/ 2147483647 w 368"/>
                <a:gd name="T39" fmla="*/ 2147483647 h 302"/>
                <a:gd name="T40" fmla="*/ 2147483647 w 368"/>
                <a:gd name="T41" fmla="*/ 2147483647 h 302"/>
                <a:gd name="T42" fmla="*/ 2147483647 w 368"/>
                <a:gd name="T43" fmla="*/ 2147483647 h 302"/>
                <a:gd name="T44" fmla="*/ 2147483647 w 368"/>
                <a:gd name="T45" fmla="*/ 2147483647 h 302"/>
                <a:gd name="T46" fmla="*/ 2147483647 w 368"/>
                <a:gd name="T47" fmla="*/ 2147483647 h 302"/>
                <a:gd name="T48" fmla="*/ 2147483647 w 368"/>
                <a:gd name="T49" fmla="*/ 2147483647 h 302"/>
                <a:gd name="T50" fmla="*/ 2147483647 w 368"/>
                <a:gd name="T51" fmla="*/ 2147483647 h 302"/>
                <a:gd name="T52" fmla="*/ 2147483647 w 368"/>
                <a:gd name="T53" fmla="*/ 2147483647 h 302"/>
                <a:gd name="T54" fmla="*/ 2147483647 w 368"/>
                <a:gd name="T55" fmla="*/ 2147483647 h 302"/>
                <a:gd name="T56" fmla="*/ 2147483647 w 368"/>
                <a:gd name="T57" fmla="*/ 2147483647 h 302"/>
                <a:gd name="T58" fmla="*/ 2147483647 w 368"/>
                <a:gd name="T59" fmla="*/ 2147483647 h 302"/>
                <a:gd name="T60" fmla="*/ 2147483647 w 368"/>
                <a:gd name="T61" fmla="*/ 2147483647 h 302"/>
                <a:gd name="T62" fmla="*/ 2147483647 w 368"/>
                <a:gd name="T63" fmla="*/ 2147483647 h 302"/>
                <a:gd name="T64" fmla="*/ 2147483647 w 368"/>
                <a:gd name="T65" fmla="*/ 2147483647 h 302"/>
                <a:gd name="T66" fmla="*/ 2147483647 w 368"/>
                <a:gd name="T67" fmla="*/ 2147483647 h 302"/>
                <a:gd name="T68" fmla="*/ 2147483647 w 368"/>
                <a:gd name="T69" fmla="*/ 2147483647 h 302"/>
                <a:gd name="T70" fmla="*/ 2147483647 w 368"/>
                <a:gd name="T71" fmla="*/ 2147483647 h 302"/>
                <a:gd name="T72" fmla="*/ 2147483647 w 368"/>
                <a:gd name="T73" fmla="*/ 2147483647 h 302"/>
                <a:gd name="T74" fmla="*/ 2147483647 w 368"/>
                <a:gd name="T75" fmla="*/ 2147483647 h 302"/>
                <a:gd name="T76" fmla="*/ 2147483647 w 368"/>
                <a:gd name="T77" fmla="*/ 2147483647 h 302"/>
                <a:gd name="T78" fmla="*/ 2147483647 w 368"/>
                <a:gd name="T79" fmla="*/ 2147483647 h 302"/>
                <a:gd name="T80" fmla="*/ 2147483647 w 368"/>
                <a:gd name="T81" fmla="*/ 2147483647 h 302"/>
                <a:gd name="T82" fmla="*/ 2147483647 w 368"/>
                <a:gd name="T83" fmla="*/ 2147483647 h 302"/>
                <a:gd name="T84" fmla="*/ 2147483647 w 368"/>
                <a:gd name="T85" fmla="*/ 2147483647 h 302"/>
                <a:gd name="T86" fmla="*/ 2147483647 w 368"/>
                <a:gd name="T87" fmla="*/ 2147483647 h 302"/>
                <a:gd name="T88" fmla="*/ 2147483647 w 368"/>
                <a:gd name="T89" fmla="*/ 2147483647 h 302"/>
                <a:gd name="T90" fmla="*/ 2147483647 w 368"/>
                <a:gd name="T91" fmla="*/ 2147483647 h 302"/>
                <a:gd name="T92" fmla="*/ 2147483647 w 368"/>
                <a:gd name="T93" fmla="*/ 2147483647 h 302"/>
                <a:gd name="T94" fmla="*/ 2147483647 w 368"/>
                <a:gd name="T95" fmla="*/ 2147483647 h 302"/>
                <a:gd name="T96" fmla="*/ 2147483647 w 368"/>
                <a:gd name="T97" fmla="*/ 2147483647 h 302"/>
                <a:gd name="T98" fmla="*/ 2147483647 w 368"/>
                <a:gd name="T99" fmla="*/ 2147483647 h 302"/>
                <a:gd name="T100" fmla="*/ 2147483647 w 368"/>
                <a:gd name="T101" fmla="*/ 2147483647 h 302"/>
                <a:gd name="T102" fmla="*/ 2147483647 w 368"/>
                <a:gd name="T103" fmla="*/ 2147483647 h 302"/>
                <a:gd name="T104" fmla="*/ 2147483647 w 368"/>
                <a:gd name="T105" fmla="*/ 2147483647 h 302"/>
                <a:gd name="T106" fmla="*/ 2147483647 w 368"/>
                <a:gd name="T107" fmla="*/ 2147483647 h 302"/>
                <a:gd name="T108" fmla="*/ 2147483647 w 368"/>
                <a:gd name="T109" fmla="*/ 2147483647 h 302"/>
                <a:gd name="T110" fmla="*/ 2147483647 w 368"/>
                <a:gd name="T111" fmla="*/ 2147483647 h 302"/>
                <a:gd name="T112" fmla="*/ 2147483647 w 368"/>
                <a:gd name="T113" fmla="*/ 2147483647 h 30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8"/>
                <a:gd name="T172" fmla="*/ 0 h 302"/>
                <a:gd name="T173" fmla="*/ 368 w 368"/>
                <a:gd name="T174" fmla="*/ 302 h 30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8" h="302">
                  <a:moveTo>
                    <a:pt x="8" y="134"/>
                  </a:moveTo>
                  <a:lnTo>
                    <a:pt x="6" y="134"/>
                  </a:lnTo>
                  <a:lnTo>
                    <a:pt x="0" y="138"/>
                  </a:lnTo>
                  <a:lnTo>
                    <a:pt x="0" y="132"/>
                  </a:lnTo>
                  <a:lnTo>
                    <a:pt x="6" y="128"/>
                  </a:lnTo>
                  <a:lnTo>
                    <a:pt x="14" y="126"/>
                  </a:lnTo>
                  <a:lnTo>
                    <a:pt x="18" y="122"/>
                  </a:lnTo>
                  <a:lnTo>
                    <a:pt x="20" y="122"/>
                  </a:lnTo>
                  <a:lnTo>
                    <a:pt x="26" y="116"/>
                  </a:lnTo>
                  <a:lnTo>
                    <a:pt x="28" y="112"/>
                  </a:lnTo>
                  <a:lnTo>
                    <a:pt x="32" y="106"/>
                  </a:lnTo>
                  <a:lnTo>
                    <a:pt x="38" y="100"/>
                  </a:lnTo>
                  <a:lnTo>
                    <a:pt x="40" y="94"/>
                  </a:lnTo>
                  <a:lnTo>
                    <a:pt x="44" y="88"/>
                  </a:lnTo>
                  <a:lnTo>
                    <a:pt x="48" y="82"/>
                  </a:lnTo>
                  <a:lnTo>
                    <a:pt x="50" y="78"/>
                  </a:lnTo>
                  <a:lnTo>
                    <a:pt x="54" y="72"/>
                  </a:lnTo>
                  <a:lnTo>
                    <a:pt x="58" y="66"/>
                  </a:lnTo>
                  <a:lnTo>
                    <a:pt x="60" y="60"/>
                  </a:lnTo>
                  <a:lnTo>
                    <a:pt x="60" y="54"/>
                  </a:lnTo>
                  <a:lnTo>
                    <a:pt x="60" y="48"/>
                  </a:lnTo>
                  <a:lnTo>
                    <a:pt x="60" y="42"/>
                  </a:lnTo>
                  <a:lnTo>
                    <a:pt x="62" y="42"/>
                  </a:lnTo>
                  <a:lnTo>
                    <a:pt x="64" y="42"/>
                  </a:lnTo>
                  <a:lnTo>
                    <a:pt x="64" y="36"/>
                  </a:lnTo>
                  <a:lnTo>
                    <a:pt x="70" y="30"/>
                  </a:lnTo>
                  <a:lnTo>
                    <a:pt x="72" y="24"/>
                  </a:lnTo>
                  <a:lnTo>
                    <a:pt x="72" y="18"/>
                  </a:lnTo>
                  <a:lnTo>
                    <a:pt x="76" y="14"/>
                  </a:lnTo>
                  <a:lnTo>
                    <a:pt x="80" y="10"/>
                  </a:lnTo>
                  <a:lnTo>
                    <a:pt x="86" y="8"/>
                  </a:lnTo>
                  <a:lnTo>
                    <a:pt x="92" y="12"/>
                  </a:lnTo>
                  <a:lnTo>
                    <a:pt x="98" y="12"/>
                  </a:lnTo>
                  <a:lnTo>
                    <a:pt x="104" y="12"/>
                  </a:lnTo>
                  <a:lnTo>
                    <a:pt x="106" y="12"/>
                  </a:lnTo>
                  <a:lnTo>
                    <a:pt x="112" y="14"/>
                  </a:lnTo>
                  <a:lnTo>
                    <a:pt x="118" y="10"/>
                  </a:lnTo>
                  <a:lnTo>
                    <a:pt x="124" y="10"/>
                  </a:lnTo>
                  <a:lnTo>
                    <a:pt x="128" y="8"/>
                  </a:lnTo>
                  <a:lnTo>
                    <a:pt x="134" y="6"/>
                  </a:lnTo>
                  <a:lnTo>
                    <a:pt x="140" y="8"/>
                  </a:lnTo>
                  <a:lnTo>
                    <a:pt x="146" y="6"/>
                  </a:lnTo>
                  <a:lnTo>
                    <a:pt x="148" y="0"/>
                  </a:lnTo>
                  <a:lnTo>
                    <a:pt x="154" y="0"/>
                  </a:lnTo>
                  <a:lnTo>
                    <a:pt x="158" y="0"/>
                  </a:lnTo>
                  <a:lnTo>
                    <a:pt x="162" y="2"/>
                  </a:lnTo>
                  <a:lnTo>
                    <a:pt x="168" y="2"/>
                  </a:lnTo>
                  <a:lnTo>
                    <a:pt x="174" y="2"/>
                  </a:lnTo>
                  <a:lnTo>
                    <a:pt x="180" y="2"/>
                  </a:lnTo>
                  <a:lnTo>
                    <a:pt x="186" y="2"/>
                  </a:lnTo>
                  <a:lnTo>
                    <a:pt x="192" y="2"/>
                  </a:lnTo>
                  <a:lnTo>
                    <a:pt x="198" y="8"/>
                  </a:lnTo>
                  <a:lnTo>
                    <a:pt x="204" y="12"/>
                  </a:lnTo>
                  <a:lnTo>
                    <a:pt x="208" y="18"/>
                  </a:lnTo>
                  <a:lnTo>
                    <a:pt x="214" y="22"/>
                  </a:lnTo>
                  <a:lnTo>
                    <a:pt x="216" y="28"/>
                  </a:lnTo>
                  <a:lnTo>
                    <a:pt x="222" y="34"/>
                  </a:lnTo>
                  <a:lnTo>
                    <a:pt x="228" y="36"/>
                  </a:lnTo>
                  <a:lnTo>
                    <a:pt x="232" y="34"/>
                  </a:lnTo>
                  <a:lnTo>
                    <a:pt x="238" y="38"/>
                  </a:lnTo>
                  <a:lnTo>
                    <a:pt x="244" y="36"/>
                  </a:lnTo>
                  <a:lnTo>
                    <a:pt x="250" y="42"/>
                  </a:lnTo>
                  <a:lnTo>
                    <a:pt x="250" y="48"/>
                  </a:lnTo>
                  <a:lnTo>
                    <a:pt x="254" y="54"/>
                  </a:lnTo>
                  <a:lnTo>
                    <a:pt x="256" y="60"/>
                  </a:lnTo>
                  <a:lnTo>
                    <a:pt x="258" y="66"/>
                  </a:lnTo>
                  <a:lnTo>
                    <a:pt x="258" y="72"/>
                  </a:lnTo>
                  <a:lnTo>
                    <a:pt x="264" y="72"/>
                  </a:lnTo>
                  <a:lnTo>
                    <a:pt x="266" y="80"/>
                  </a:lnTo>
                  <a:lnTo>
                    <a:pt x="272" y="80"/>
                  </a:lnTo>
                  <a:lnTo>
                    <a:pt x="276" y="88"/>
                  </a:lnTo>
                  <a:lnTo>
                    <a:pt x="280" y="94"/>
                  </a:lnTo>
                  <a:lnTo>
                    <a:pt x="280" y="98"/>
                  </a:lnTo>
                  <a:lnTo>
                    <a:pt x="284" y="104"/>
                  </a:lnTo>
                  <a:lnTo>
                    <a:pt x="286" y="106"/>
                  </a:lnTo>
                  <a:lnTo>
                    <a:pt x="292" y="110"/>
                  </a:lnTo>
                  <a:lnTo>
                    <a:pt x="292" y="108"/>
                  </a:lnTo>
                  <a:lnTo>
                    <a:pt x="298" y="112"/>
                  </a:lnTo>
                  <a:lnTo>
                    <a:pt x="304" y="116"/>
                  </a:lnTo>
                  <a:lnTo>
                    <a:pt x="306" y="122"/>
                  </a:lnTo>
                  <a:lnTo>
                    <a:pt x="312" y="128"/>
                  </a:lnTo>
                  <a:lnTo>
                    <a:pt x="318" y="132"/>
                  </a:lnTo>
                  <a:lnTo>
                    <a:pt x="318" y="136"/>
                  </a:lnTo>
                  <a:lnTo>
                    <a:pt x="322" y="142"/>
                  </a:lnTo>
                  <a:lnTo>
                    <a:pt x="318" y="148"/>
                  </a:lnTo>
                  <a:lnTo>
                    <a:pt x="318" y="152"/>
                  </a:lnTo>
                  <a:lnTo>
                    <a:pt x="318" y="156"/>
                  </a:lnTo>
                  <a:lnTo>
                    <a:pt x="318" y="158"/>
                  </a:lnTo>
                  <a:lnTo>
                    <a:pt x="324" y="160"/>
                  </a:lnTo>
                  <a:lnTo>
                    <a:pt x="328" y="166"/>
                  </a:lnTo>
                  <a:lnTo>
                    <a:pt x="332" y="170"/>
                  </a:lnTo>
                  <a:lnTo>
                    <a:pt x="332" y="178"/>
                  </a:lnTo>
                  <a:lnTo>
                    <a:pt x="330" y="182"/>
                  </a:lnTo>
                  <a:lnTo>
                    <a:pt x="332" y="188"/>
                  </a:lnTo>
                  <a:lnTo>
                    <a:pt x="334" y="196"/>
                  </a:lnTo>
                  <a:lnTo>
                    <a:pt x="332" y="200"/>
                  </a:lnTo>
                  <a:lnTo>
                    <a:pt x="326" y="204"/>
                  </a:lnTo>
                  <a:lnTo>
                    <a:pt x="326" y="206"/>
                  </a:lnTo>
                  <a:lnTo>
                    <a:pt x="328" y="212"/>
                  </a:lnTo>
                  <a:lnTo>
                    <a:pt x="332" y="218"/>
                  </a:lnTo>
                  <a:lnTo>
                    <a:pt x="338" y="222"/>
                  </a:lnTo>
                  <a:lnTo>
                    <a:pt x="336" y="228"/>
                  </a:lnTo>
                  <a:lnTo>
                    <a:pt x="342" y="232"/>
                  </a:lnTo>
                  <a:lnTo>
                    <a:pt x="346" y="226"/>
                  </a:lnTo>
                  <a:lnTo>
                    <a:pt x="352" y="226"/>
                  </a:lnTo>
                  <a:lnTo>
                    <a:pt x="356" y="234"/>
                  </a:lnTo>
                  <a:lnTo>
                    <a:pt x="356" y="238"/>
                  </a:lnTo>
                  <a:lnTo>
                    <a:pt x="358" y="244"/>
                  </a:lnTo>
                  <a:lnTo>
                    <a:pt x="364" y="250"/>
                  </a:lnTo>
                  <a:lnTo>
                    <a:pt x="368" y="256"/>
                  </a:lnTo>
                  <a:lnTo>
                    <a:pt x="364" y="262"/>
                  </a:lnTo>
                  <a:lnTo>
                    <a:pt x="366" y="268"/>
                  </a:lnTo>
                  <a:lnTo>
                    <a:pt x="364" y="274"/>
                  </a:lnTo>
                  <a:lnTo>
                    <a:pt x="364" y="280"/>
                  </a:lnTo>
                  <a:lnTo>
                    <a:pt x="364" y="284"/>
                  </a:lnTo>
                  <a:lnTo>
                    <a:pt x="368" y="290"/>
                  </a:lnTo>
                  <a:lnTo>
                    <a:pt x="366" y="294"/>
                  </a:lnTo>
                  <a:lnTo>
                    <a:pt x="360" y="292"/>
                  </a:lnTo>
                  <a:lnTo>
                    <a:pt x="354" y="294"/>
                  </a:lnTo>
                  <a:lnTo>
                    <a:pt x="348" y="296"/>
                  </a:lnTo>
                  <a:lnTo>
                    <a:pt x="342" y="296"/>
                  </a:lnTo>
                  <a:lnTo>
                    <a:pt x="336" y="296"/>
                  </a:lnTo>
                  <a:lnTo>
                    <a:pt x="330" y="296"/>
                  </a:lnTo>
                  <a:lnTo>
                    <a:pt x="326" y="294"/>
                  </a:lnTo>
                  <a:lnTo>
                    <a:pt x="320" y="298"/>
                  </a:lnTo>
                  <a:lnTo>
                    <a:pt x="318" y="298"/>
                  </a:lnTo>
                  <a:lnTo>
                    <a:pt x="312" y="300"/>
                  </a:lnTo>
                  <a:lnTo>
                    <a:pt x="310" y="302"/>
                  </a:lnTo>
                  <a:lnTo>
                    <a:pt x="308" y="302"/>
                  </a:lnTo>
                  <a:lnTo>
                    <a:pt x="302" y="296"/>
                  </a:lnTo>
                  <a:lnTo>
                    <a:pt x="296" y="296"/>
                  </a:lnTo>
                  <a:lnTo>
                    <a:pt x="292" y="298"/>
                  </a:lnTo>
                  <a:lnTo>
                    <a:pt x="288" y="292"/>
                  </a:lnTo>
                  <a:lnTo>
                    <a:pt x="282" y="292"/>
                  </a:lnTo>
                  <a:lnTo>
                    <a:pt x="276" y="286"/>
                  </a:lnTo>
                  <a:lnTo>
                    <a:pt x="270" y="290"/>
                  </a:lnTo>
                  <a:lnTo>
                    <a:pt x="264" y="288"/>
                  </a:lnTo>
                  <a:lnTo>
                    <a:pt x="264" y="286"/>
                  </a:lnTo>
                  <a:lnTo>
                    <a:pt x="264" y="280"/>
                  </a:lnTo>
                  <a:lnTo>
                    <a:pt x="258" y="278"/>
                  </a:lnTo>
                  <a:lnTo>
                    <a:pt x="254" y="278"/>
                  </a:lnTo>
                  <a:lnTo>
                    <a:pt x="250" y="278"/>
                  </a:lnTo>
                  <a:lnTo>
                    <a:pt x="246" y="278"/>
                  </a:lnTo>
                  <a:lnTo>
                    <a:pt x="240" y="276"/>
                  </a:lnTo>
                  <a:lnTo>
                    <a:pt x="234" y="276"/>
                  </a:lnTo>
                  <a:lnTo>
                    <a:pt x="230" y="276"/>
                  </a:lnTo>
                  <a:lnTo>
                    <a:pt x="224" y="276"/>
                  </a:lnTo>
                  <a:lnTo>
                    <a:pt x="218" y="276"/>
                  </a:lnTo>
                  <a:lnTo>
                    <a:pt x="214" y="276"/>
                  </a:lnTo>
                  <a:lnTo>
                    <a:pt x="208" y="276"/>
                  </a:lnTo>
                  <a:lnTo>
                    <a:pt x="200" y="276"/>
                  </a:lnTo>
                  <a:lnTo>
                    <a:pt x="194" y="276"/>
                  </a:lnTo>
                  <a:lnTo>
                    <a:pt x="188" y="276"/>
                  </a:lnTo>
                  <a:lnTo>
                    <a:pt x="186" y="276"/>
                  </a:lnTo>
                  <a:lnTo>
                    <a:pt x="180" y="276"/>
                  </a:lnTo>
                  <a:lnTo>
                    <a:pt x="174" y="276"/>
                  </a:lnTo>
                  <a:lnTo>
                    <a:pt x="168" y="276"/>
                  </a:lnTo>
                  <a:lnTo>
                    <a:pt x="162" y="276"/>
                  </a:lnTo>
                  <a:lnTo>
                    <a:pt x="154" y="276"/>
                  </a:lnTo>
                  <a:lnTo>
                    <a:pt x="150" y="276"/>
                  </a:lnTo>
                  <a:lnTo>
                    <a:pt x="146" y="276"/>
                  </a:lnTo>
                  <a:lnTo>
                    <a:pt x="140" y="276"/>
                  </a:lnTo>
                  <a:lnTo>
                    <a:pt x="134" y="276"/>
                  </a:lnTo>
                  <a:lnTo>
                    <a:pt x="128" y="280"/>
                  </a:lnTo>
                  <a:lnTo>
                    <a:pt x="124" y="282"/>
                  </a:lnTo>
                  <a:lnTo>
                    <a:pt x="120" y="284"/>
                  </a:lnTo>
                  <a:lnTo>
                    <a:pt x="114" y="288"/>
                  </a:lnTo>
                  <a:lnTo>
                    <a:pt x="108" y="292"/>
                  </a:lnTo>
                  <a:lnTo>
                    <a:pt x="102" y="292"/>
                  </a:lnTo>
                  <a:lnTo>
                    <a:pt x="94" y="292"/>
                  </a:lnTo>
                  <a:lnTo>
                    <a:pt x="92" y="292"/>
                  </a:lnTo>
                  <a:lnTo>
                    <a:pt x="86" y="292"/>
                  </a:lnTo>
                  <a:lnTo>
                    <a:pt x="80" y="290"/>
                  </a:lnTo>
                  <a:lnTo>
                    <a:pt x="74" y="292"/>
                  </a:lnTo>
                  <a:lnTo>
                    <a:pt x="72" y="292"/>
                  </a:lnTo>
                  <a:lnTo>
                    <a:pt x="66" y="296"/>
                  </a:lnTo>
                  <a:lnTo>
                    <a:pt x="60" y="298"/>
                  </a:lnTo>
                  <a:lnTo>
                    <a:pt x="54" y="300"/>
                  </a:lnTo>
                  <a:lnTo>
                    <a:pt x="48" y="298"/>
                  </a:lnTo>
                  <a:lnTo>
                    <a:pt x="42" y="300"/>
                  </a:lnTo>
                  <a:lnTo>
                    <a:pt x="42" y="302"/>
                  </a:lnTo>
                  <a:lnTo>
                    <a:pt x="40" y="296"/>
                  </a:lnTo>
                  <a:lnTo>
                    <a:pt x="36" y="292"/>
                  </a:lnTo>
                  <a:lnTo>
                    <a:pt x="42" y="284"/>
                  </a:lnTo>
                  <a:lnTo>
                    <a:pt x="48" y="282"/>
                  </a:lnTo>
                  <a:lnTo>
                    <a:pt x="52" y="280"/>
                  </a:lnTo>
                  <a:lnTo>
                    <a:pt x="56" y="282"/>
                  </a:lnTo>
                  <a:lnTo>
                    <a:pt x="64" y="286"/>
                  </a:lnTo>
                  <a:lnTo>
                    <a:pt x="68" y="282"/>
                  </a:lnTo>
                  <a:lnTo>
                    <a:pt x="70" y="282"/>
                  </a:lnTo>
                  <a:lnTo>
                    <a:pt x="76" y="282"/>
                  </a:lnTo>
                  <a:lnTo>
                    <a:pt x="82" y="280"/>
                  </a:lnTo>
                  <a:lnTo>
                    <a:pt x="88" y="282"/>
                  </a:lnTo>
                  <a:lnTo>
                    <a:pt x="90" y="284"/>
                  </a:lnTo>
                  <a:lnTo>
                    <a:pt x="96" y="284"/>
                  </a:lnTo>
                  <a:lnTo>
                    <a:pt x="102" y="282"/>
                  </a:lnTo>
                  <a:lnTo>
                    <a:pt x="108" y="286"/>
                  </a:lnTo>
                  <a:lnTo>
                    <a:pt x="114" y="280"/>
                  </a:lnTo>
                  <a:lnTo>
                    <a:pt x="114" y="276"/>
                  </a:lnTo>
                  <a:lnTo>
                    <a:pt x="116" y="270"/>
                  </a:lnTo>
                  <a:lnTo>
                    <a:pt x="124" y="266"/>
                  </a:lnTo>
                  <a:lnTo>
                    <a:pt x="120" y="266"/>
                  </a:lnTo>
                  <a:lnTo>
                    <a:pt x="114" y="270"/>
                  </a:lnTo>
                  <a:lnTo>
                    <a:pt x="114" y="276"/>
                  </a:lnTo>
                  <a:lnTo>
                    <a:pt x="110" y="282"/>
                  </a:lnTo>
                  <a:lnTo>
                    <a:pt x="104" y="280"/>
                  </a:lnTo>
                  <a:lnTo>
                    <a:pt x="98" y="280"/>
                  </a:lnTo>
                  <a:lnTo>
                    <a:pt x="92" y="282"/>
                  </a:lnTo>
                  <a:lnTo>
                    <a:pt x="86" y="278"/>
                  </a:lnTo>
                  <a:lnTo>
                    <a:pt x="84" y="272"/>
                  </a:lnTo>
                  <a:lnTo>
                    <a:pt x="84" y="274"/>
                  </a:lnTo>
                  <a:lnTo>
                    <a:pt x="80" y="280"/>
                  </a:lnTo>
                  <a:lnTo>
                    <a:pt x="74" y="280"/>
                  </a:lnTo>
                  <a:lnTo>
                    <a:pt x="68" y="282"/>
                  </a:lnTo>
                  <a:lnTo>
                    <a:pt x="64" y="282"/>
                  </a:lnTo>
                  <a:lnTo>
                    <a:pt x="60" y="282"/>
                  </a:lnTo>
                  <a:lnTo>
                    <a:pt x="52" y="278"/>
                  </a:lnTo>
                  <a:lnTo>
                    <a:pt x="48" y="274"/>
                  </a:lnTo>
                  <a:lnTo>
                    <a:pt x="50" y="268"/>
                  </a:lnTo>
                  <a:lnTo>
                    <a:pt x="46" y="274"/>
                  </a:lnTo>
                  <a:lnTo>
                    <a:pt x="44" y="280"/>
                  </a:lnTo>
                  <a:lnTo>
                    <a:pt x="38" y="284"/>
                  </a:lnTo>
                  <a:lnTo>
                    <a:pt x="38" y="278"/>
                  </a:lnTo>
                  <a:lnTo>
                    <a:pt x="42" y="272"/>
                  </a:lnTo>
                  <a:lnTo>
                    <a:pt x="38" y="274"/>
                  </a:lnTo>
                  <a:lnTo>
                    <a:pt x="38" y="268"/>
                  </a:lnTo>
                  <a:lnTo>
                    <a:pt x="40" y="262"/>
                  </a:lnTo>
                  <a:lnTo>
                    <a:pt x="40" y="256"/>
                  </a:lnTo>
                  <a:lnTo>
                    <a:pt x="42" y="250"/>
                  </a:lnTo>
                  <a:lnTo>
                    <a:pt x="44" y="242"/>
                  </a:lnTo>
                  <a:lnTo>
                    <a:pt x="52" y="242"/>
                  </a:lnTo>
                  <a:lnTo>
                    <a:pt x="54" y="242"/>
                  </a:lnTo>
                  <a:lnTo>
                    <a:pt x="60" y="242"/>
                  </a:lnTo>
                  <a:lnTo>
                    <a:pt x="68" y="242"/>
                  </a:lnTo>
                  <a:lnTo>
                    <a:pt x="74" y="242"/>
                  </a:lnTo>
                  <a:lnTo>
                    <a:pt x="80" y="242"/>
                  </a:lnTo>
                  <a:lnTo>
                    <a:pt x="86" y="242"/>
                  </a:lnTo>
                  <a:lnTo>
                    <a:pt x="94" y="242"/>
                  </a:lnTo>
                  <a:lnTo>
                    <a:pt x="98" y="242"/>
                  </a:lnTo>
                  <a:lnTo>
                    <a:pt x="98" y="238"/>
                  </a:lnTo>
                  <a:lnTo>
                    <a:pt x="98" y="236"/>
                  </a:lnTo>
                  <a:lnTo>
                    <a:pt x="102" y="230"/>
                  </a:lnTo>
                  <a:lnTo>
                    <a:pt x="110" y="230"/>
                  </a:lnTo>
                  <a:lnTo>
                    <a:pt x="116" y="228"/>
                  </a:lnTo>
                  <a:lnTo>
                    <a:pt x="120" y="228"/>
                  </a:lnTo>
                  <a:lnTo>
                    <a:pt x="126" y="228"/>
                  </a:lnTo>
                  <a:lnTo>
                    <a:pt x="132" y="228"/>
                  </a:lnTo>
                  <a:lnTo>
                    <a:pt x="136" y="222"/>
                  </a:lnTo>
                  <a:lnTo>
                    <a:pt x="138" y="216"/>
                  </a:lnTo>
                  <a:lnTo>
                    <a:pt x="142" y="214"/>
                  </a:lnTo>
                  <a:lnTo>
                    <a:pt x="148" y="220"/>
                  </a:lnTo>
                  <a:lnTo>
                    <a:pt x="152" y="222"/>
                  </a:lnTo>
                  <a:lnTo>
                    <a:pt x="158" y="224"/>
                  </a:lnTo>
                  <a:lnTo>
                    <a:pt x="164" y="228"/>
                  </a:lnTo>
                  <a:lnTo>
                    <a:pt x="170" y="230"/>
                  </a:lnTo>
                  <a:lnTo>
                    <a:pt x="174" y="230"/>
                  </a:lnTo>
                  <a:lnTo>
                    <a:pt x="178" y="232"/>
                  </a:lnTo>
                  <a:lnTo>
                    <a:pt x="184" y="236"/>
                  </a:lnTo>
                  <a:lnTo>
                    <a:pt x="190" y="238"/>
                  </a:lnTo>
                  <a:lnTo>
                    <a:pt x="196" y="238"/>
                  </a:lnTo>
                  <a:lnTo>
                    <a:pt x="198" y="238"/>
                  </a:lnTo>
                  <a:lnTo>
                    <a:pt x="204" y="234"/>
                  </a:lnTo>
                  <a:lnTo>
                    <a:pt x="212" y="232"/>
                  </a:lnTo>
                  <a:lnTo>
                    <a:pt x="216" y="232"/>
                  </a:lnTo>
                  <a:lnTo>
                    <a:pt x="218" y="230"/>
                  </a:lnTo>
                  <a:lnTo>
                    <a:pt x="220" y="224"/>
                  </a:lnTo>
                  <a:lnTo>
                    <a:pt x="216" y="218"/>
                  </a:lnTo>
                  <a:lnTo>
                    <a:pt x="212" y="214"/>
                  </a:lnTo>
                  <a:lnTo>
                    <a:pt x="206" y="216"/>
                  </a:lnTo>
                  <a:lnTo>
                    <a:pt x="200" y="216"/>
                  </a:lnTo>
                  <a:lnTo>
                    <a:pt x="194" y="220"/>
                  </a:lnTo>
                  <a:lnTo>
                    <a:pt x="188" y="222"/>
                  </a:lnTo>
                  <a:lnTo>
                    <a:pt x="182" y="218"/>
                  </a:lnTo>
                  <a:lnTo>
                    <a:pt x="180" y="216"/>
                  </a:lnTo>
                  <a:lnTo>
                    <a:pt x="178" y="210"/>
                  </a:lnTo>
                  <a:lnTo>
                    <a:pt x="172" y="208"/>
                  </a:lnTo>
                  <a:lnTo>
                    <a:pt x="166" y="210"/>
                  </a:lnTo>
                  <a:lnTo>
                    <a:pt x="160" y="206"/>
                  </a:lnTo>
                  <a:lnTo>
                    <a:pt x="158" y="200"/>
                  </a:lnTo>
                  <a:lnTo>
                    <a:pt x="154" y="198"/>
                  </a:lnTo>
                  <a:lnTo>
                    <a:pt x="148" y="198"/>
                  </a:lnTo>
                  <a:lnTo>
                    <a:pt x="140" y="198"/>
                  </a:lnTo>
                  <a:lnTo>
                    <a:pt x="134" y="202"/>
                  </a:lnTo>
                  <a:lnTo>
                    <a:pt x="128" y="200"/>
                  </a:lnTo>
                  <a:lnTo>
                    <a:pt x="122" y="204"/>
                  </a:lnTo>
                  <a:lnTo>
                    <a:pt x="120" y="210"/>
                  </a:lnTo>
                  <a:lnTo>
                    <a:pt x="118" y="212"/>
                  </a:lnTo>
                  <a:lnTo>
                    <a:pt x="112" y="212"/>
                  </a:lnTo>
                  <a:lnTo>
                    <a:pt x="108" y="212"/>
                  </a:lnTo>
                  <a:lnTo>
                    <a:pt x="102" y="212"/>
                  </a:lnTo>
                  <a:lnTo>
                    <a:pt x="94" y="212"/>
                  </a:lnTo>
                  <a:lnTo>
                    <a:pt x="88" y="212"/>
                  </a:lnTo>
                  <a:lnTo>
                    <a:pt x="82" y="212"/>
                  </a:lnTo>
                  <a:lnTo>
                    <a:pt x="80" y="212"/>
                  </a:lnTo>
                  <a:lnTo>
                    <a:pt x="74" y="212"/>
                  </a:lnTo>
                  <a:lnTo>
                    <a:pt x="68" y="212"/>
                  </a:lnTo>
                  <a:lnTo>
                    <a:pt x="62" y="212"/>
                  </a:lnTo>
                  <a:lnTo>
                    <a:pt x="60" y="212"/>
                  </a:lnTo>
                  <a:lnTo>
                    <a:pt x="54" y="212"/>
                  </a:lnTo>
                  <a:lnTo>
                    <a:pt x="54" y="208"/>
                  </a:lnTo>
                  <a:lnTo>
                    <a:pt x="56" y="206"/>
                  </a:lnTo>
                  <a:lnTo>
                    <a:pt x="50" y="204"/>
                  </a:lnTo>
                  <a:lnTo>
                    <a:pt x="52" y="198"/>
                  </a:lnTo>
                  <a:lnTo>
                    <a:pt x="58" y="200"/>
                  </a:lnTo>
                  <a:lnTo>
                    <a:pt x="58" y="196"/>
                  </a:lnTo>
                  <a:lnTo>
                    <a:pt x="58" y="192"/>
                  </a:lnTo>
                  <a:lnTo>
                    <a:pt x="60" y="184"/>
                  </a:lnTo>
                  <a:lnTo>
                    <a:pt x="56" y="188"/>
                  </a:lnTo>
                  <a:lnTo>
                    <a:pt x="52" y="194"/>
                  </a:lnTo>
                  <a:lnTo>
                    <a:pt x="50" y="196"/>
                  </a:lnTo>
                  <a:lnTo>
                    <a:pt x="44" y="198"/>
                  </a:lnTo>
                  <a:lnTo>
                    <a:pt x="42" y="192"/>
                  </a:lnTo>
                  <a:lnTo>
                    <a:pt x="48" y="186"/>
                  </a:lnTo>
                  <a:lnTo>
                    <a:pt x="54" y="186"/>
                  </a:lnTo>
                  <a:lnTo>
                    <a:pt x="54" y="182"/>
                  </a:lnTo>
                  <a:lnTo>
                    <a:pt x="60" y="176"/>
                  </a:lnTo>
                  <a:lnTo>
                    <a:pt x="66" y="174"/>
                  </a:lnTo>
                  <a:lnTo>
                    <a:pt x="60" y="172"/>
                  </a:lnTo>
                  <a:lnTo>
                    <a:pt x="60" y="174"/>
                  </a:lnTo>
                  <a:lnTo>
                    <a:pt x="56" y="178"/>
                  </a:lnTo>
                  <a:lnTo>
                    <a:pt x="50" y="184"/>
                  </a:lnTo>
                  <a:lnTo>
                    <a:pt x="44" y="182"/>
                  </a:lnTo>
                  <a:lnTo>
                    <a:pt x="42" y="188"/>
                  </a:lnTo>
                  <a:lnTo>
                    <a:pt x="40" y="194"/>
                  </a:lnTo>
                  <a:lnTo>
                    <a:pt x="40" y="188"/>
                  </a:lnTo>
                  <a:lnTo>
                    <a:pt x="40" y="182"/>
                  </a:lnTo>
                  <a:lnTo>
                    <a:pt x="38" y="176"/>
                  </a:lnTo>
                  <a:lnTo>
                    <a:pt x="36" y="174"/>
                  </a:lnTo>
                  <a:lnTo>
                    <a:pt x="34" y="168"/>
                  </a:lnTo>
                  <a:lnTo>
                    <a:pt x="32" y="162"/>
                  </a:lnTo>
                  <a:lnTo>
                    <a:pt x="28" y="154"/>
                  </a:lnTo>
                  <a:lnTo>
                    <a:pt x="26" y="154"/>
                  </a:lnTo>
                  <a:lnTo>
                    <a:pt x="22" y="148"/>
                  </a:lnTo>
                  <a:lnTo>
                    <a:pt x="20" y="142"/>
                  </a:lnTo>
                  <a:lnTo>
                    <a:pt x="14" y="136"/>
                  </a:lnTo>
                  <a:lnTo>
                    <a:pt x="8" y="1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8" name="Freeform 225"/>
            <p:cNvSpPr>
              <a:spLocks/>
            </p:cNvSpPr>
            <p:nvPr/>
          </p:nvSpPr>
          <p:spPr bwMode="auto">
            <a:xfrm>
              <a:off x="4449763" y="4179888"/>
              <a:ext cx="142875" cy="177800"/>
            </a:xfrm>
            <a:custGeom>
              <a:avLst/>
              <a:gdLst>
                <a:gd name="T0" fmla="*/ 2147483647 w 352"/>
                <a:gd name="T1" fmla="*/ 2147483647 h 434"/>
                <a:gd name="T2" fmla="*/ 2147483647 w 352"/>
                <a:gd name="T3" fmla="*/ 2147483647 h 434"/>
                <a:gd name="T4" fmla="*/ 2147483647 w 352"/>
                <a:gd name="T5" fmla="*/ 2147483647 h 434"/>
                <a:gd name="T6" fmla="*/ 2147483647 w 352"/>
                <a:gd name="T7" fmla="*/ 2147483647 h 434"/>
                <a:gd name="T8" fmla="*/ 2147483647 w 352"/>
                <a:gd name="T9" fmla="*/ 2147483647 h 434"/>
                <a:gd name="T10" fmla="*/ 2147483647 w 352"/>
                <a:gd name="T11" fmla="*/ 2147483647 h 434"/>
                <a:gd name="T12" fmla="*/ 2147483647 w 352"/>
                <a:gd name="T13" fmla="*/ 2147483647 h 434"/>
                <a:gd name="T14" fmla="*/ 2147483647 w 352"/>
                <a:gd name="T15" fmla="*/ 2147483647 h 434"/>
                <a:gd name="T16" fmla="*/ 2147483647 w 352"/>
                <a:gd name="T17" fmla="*/ 2147483647 h 434"/>
                <a:gd name="T18" fmla="*/ 2147483647 w 352"/>
                <a:gd name="T19" fmla="*/ 2147483647 h 434"/>
                <a:gd name="T20" fmla="*/ 2147483647 w 352"/>
                <a:gd name="T21" fmla="*/ 2147483647 h 434"/>
                <a:gd name="T22" fmla="*/ 2147483647 w 352"/>
                <a:gd name="T23" fmla="*/ 2147483647 h 434"/>
                <a:gd name="T24" fmla="*/ 2147483647 w 352"/>
                <a:gd name="T25" fmla="*/ 2147483647 h 434"/>
                <a:gd name="T26" fmla="*/ 2147483647 w 352"/>
                <a:gd name="T27" fmla="*/ 2147483647 h 434"/>
                <a:gd name="T28" fmla="*/ 2147483647 w 352"/>
                <a:gd name="T29" fmla="*/ 2147483647 h 434"/>
                <a:gd name="T30" fmla="*/ 2147483647 w 352"/>
                <a:gd name="T31" fmla="*/ 2147483647 h 434"/>
                <a:gd name="T32" fmla="*/ 2147483647 w 352"/>
                <a:gd name="T33" fmla="*/ 2147483647 h 434"/>
                <a:gd name="T34" fmla="*/ 2147483647 w 352"/>
                <a:gd name="T35" fmla="*/ 2147483647 h 434"/>
                <a:gd name="T36" fmla="*/ 2147483647 w 352"/>
                <a:gd name="T37" fmla="*/ 2147483647 h 434"/>
                <a:gd name="T38" fmla="*/ 2147483647 w 352"/>
                <a:gd name="T39" fmla="*/ 2147483647 h 434"/>
                <a:gd name="T40" fmla="*/ 2147483647 w 352"/>
                <a:gd name="T41" fmla="*/ 2147483647 h 434"/>
                <a:gd name="T42" fmla="*/ 2147483647 w 352"/>
                <a:gd name="T43" fmla="*/ 2147483647 h 434"/>
                <a:gd name="T44" fmla="*/ 2147483647 w 352"/>
                <a:gd name="T45" fmla="*/ 2147483647 h 434"/>
                <a:gd name="T46" fmla="*/ 2147483647 w 352"/>
                <a:gd name="T47" fmla="*/ 2147483647 h 434"/>
                <a:gd name="T48" fmla="*/ 2147483647 w 352"/>
                <a:gd name="T49" fmla="*/ 2147483647 h 434"/>
                <a:gd name="T50" fmla="*/ 2147483647 w 352"/>
                <a:gd name="T51" fmla="*/ 2147483647 h 434"/>
                <a:gd name="T52" fmla="*/ 2147483647 w 352"/>
                <a:gd name="T53" fmla="*/ 2147483647 h 434"/>
                <a:gd name="T54" fmla="*/ 2147483647 w 352"/>
                <a:gd name="T55" fmla="*/ 2147483647 h 434"/>
                <a:gd name="T56" fmla="*/ 2147483647 w 352"/>
                <a:gd name="T57" fmla="*/ 2147483647 h 434"/>
                <a:gd name="T58" fmla="*/ 2147483647 w 352"/>
                <a:gd name="T59" fmla="*/ 2147483647 h 434"/>
                <a:gd name="T60" fmla="*/ 2147483647 w 352"/>
                <a:gd name="T61" fmla="*/ 2147483647 h 434"/>
                <a:gd name="T62" fmla="*/ 2147483647 w 352"/>
                <a:gd name="T63" fmla="*/ 2147483647 h 434"/>
                <a:gd name="T64" fmla="*/ 2147483647 w 352"/>
                <a:gd name="T65" fmla="*/ 2147483647 h 434"/>
                <a:gd name="T66" fmla="*/ 2147483647 w 352"/>
                <a:gd name="T67" fmla="*/ 2147483647 h 434"/>
                <a:gd name="T68" fmla="*/ 2147483647 w 352"/>
                <a:gd name="T69" fmla="*/ 2147483647 h 434"/>
                <a:gd name="T70" fmla="*/ 2147483647 w 352"/>
                <a:gd name="T71" fmla="*/ 2147483647 h 434"/>
                <a:gd name="T72" fmla="*/ 2147483647 w 352"/>
                <a:gd name="T73" fmla="*/ 2147483647 h 434"/>
                <a:gd name="T74" fmla="*/ 2147483647 w 352"/>
                <a:gd name="T75" fmla="*/ 2147483647 h 434"/>
                <a:gd name="T76" fmla="*/ 2147483647 w 352"/>
                <a:gd name="T77" fmla="*/ 2147483647 h 434"/>
                <a:gd name="T78" fmla="*/ 2147483647 w 352"/>
                <a:gd name="T79" fmla="*/ 2147483647 h 434"/>
                <a:gd name="T80" fmla="*/ 2147483647 w 352"/>
                <a:gd name="T81" fmla="*/ 2147483647 h 434"/>
                <a:gd name="T82" fmla="*/ 2147483647 w 352"/>
                <a:gd name="T83" fmla="*/ 2147483647 h 434"/>
                <a:gd name="T84" fmla="*/ 2147483647 w 352"/>
                <a:gd name="T85" fmla="*/ 2147483647 h 434"/>
                <a:gd name="T86" fmla="*/ 2147483647 w 352"/>
                <a:gd name="T87" fmla="*/ 2147483647 h 434"/>
                <a:gd name="T88" fmla="*/ 2147483647 w 352"/>
                <a:gd name="T89" fmla="*/ 2147483647 h 434"/>
                <a:gd name="T90" fmla="*/ 2147483647 w 352"/>
                <a:gd name="T91" fmla="*/ 2147483647 h 434"/>
                <a:gd name="T92" fmla="*/ 2147483647 w 352"/>
                <a:gd name="T93" fmla="*/ 2147483647 h 434"/>
                <a:gd name="T94" fmla="*/ 2147483647 w 352"/>
                <a:gd name="T95" fmla="*/ 2147483647 h 434"/>
                <a:gd name="T96" fmla="*/ 2147483647 w 352"/>
                <a:gd name="T97" fmla="*/ 2147483647 h 434"/>
                <a:gd name="T98" fmla="*/ 2147483647 w 352"/>
                <a:gd name="T99" fmla="*/ 2147483647 h 434"/>
                <a:gd name="T100" fmla="*/ 2147483647 w 352"/>
                <a:gd name="T101" fmla="*/ 2147483647 h 434"/>
                <a:gd name="T102" fmla="*/ 2147483647 w 352"/>
                <a:gd name="T103" fmla="*/ 2147483647 h 434"/>
                <a:gd name="T104" fmla="*/ 2147483647 w 352"/>
                <a:gd name="T105" fmla="*/ 2147483647 h 434"/>
                <a:gd name="T106" fmla="*/ 2147483647 w 352"/>
                <a:gd name="T107" fmla="*/ 2147483647 h 434"/>
                <a:gd name="T108" fmla="*/ 2147483647 w 352"/>
                <a:gd name="T109" fmla="*/ 2147483647 h 434"/>
                <a:gd name="T110" fmla="*/ 2147483647 w 352"/>
                <a:gd name="T111" fmla="*/ 2147483647 h 434"/>
                <a:gd name="T112" fmla="*/ 2147483647 w 352"/>
                <a:gd name="T113" fmla="*/ 2147483647 h 43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52"/>
                <a:gd name="T172" fmla="*/ 0 h 434"/>
                <a:gd name="T173" fmla="*/ 352 w 352"/>
                <a:gd name="T174" fmla="*/ 434 h 43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52" h="434">
                  <a:moveTo>
                    <a:pt x="4" y="224"/>
                  </a:moveTo>
                  <a:lnTo>
                    <a:pt x="2" y="218"/>
                  </a:lnTo>
                  <a:lnTo>
                    <a:pt x="0" y="212"/>
                  </a:lnTo>
                  <a:lnTo>
                    <a:pt x="2" y="206"/>
                  </a:lnTo>
                  <a:lnTo>
                    <a:pt x="2" y="212"/>
                  </a:lnTo>
                  <a:lnTo>
                    <a:pt x="6" y="218"/>
                  </a:lnTo>
                  <a:lnTo>
                    <a:pt x="8" y="212"/>
                  </a:lnTo>
                  <a:lnTo>
                    <a:pt x="10" y="212"/>
                  </a:lnTo>
                  <a:lnTo>
                    <a:pt x="12" y="212"/>
                  </a:lnTo>
                  <a:lnTo>
                    <a:pt x="14" y="216"/>
                  </a:lnTo>
                  <a:lnTo>
                    <a:pt x="16" y="222"/>
                  </a:lnTo>
                  <a:lnTo>
                    <a:pt x="16" y="220"/>
                  </a:lnTo>
                  <a:lnTo>
                    <a:pt x="18" y="216"/>
                  </a:lnTo>
                  <a:lnTo>
                    <a:pt x="22" y="210"/>
                  </a:lnTo>
                  <a:lnTo>
                    <a:pt x="20" y="204"/>
                  </a:lnTo>
                  <a:lnTo>
                    <a:pt x="26" y="198"/>
                  </a:lnTo>
                  <a:lnTo>
                    <a:pt x="30" y="192"/>
                  </a:lnTo>
                  <a:lnTo>
                    <a:pt x="34" y="186"/>
                  </a:lnTo>
                  <a:lnTo>
                    <a:pt x="34" y="180"/>
                  </a:lnTo>
                  <a:lnTo>
                    <a:pt x="34" y="174"/>
                  </a:lnTo>
                  <a:lnTo>
                    <a:pt x="36" y="168"/>
                  </a:lnTo>
                  <a:lnTo>
                    <a:pt x="36" y="162"/>
                  </a:lnTo>
                  <a:lnTo>
                    <a:pt x="36" y="160"/>
                  </a:lnTo>
                  <a:lnTo>
                    <a:pt x="36" y="154"/>
                  </a:lnTo>
                  <a:lnTo>
                    <a:pt x="34" y="148"/>
                  </a:lnTo>
                  <a:lnTo>
                    <a:pt x="38" y="142"/>
                  </a:lnTo>
                  <a:lnTo>
                    <a:pt x="40" y="148"/>
                  </a:lnTo>
                  <a:lnTo>
                    <a:pt x="42" y="150"/>
                  </a:lnTo>
                  <a:lnTo>
                    <a:pt x="46" y="156"/>
                  </a:lnTo>
                  <a:lnTo>
                    <a:pt x="46" y="150"/>
                  </a:lnTo>
                  <a:lnTo>
                    <a:pt x="52" y="152"/>
                  </a:lnTo>
                  <a:lnTo>
                    <a:pt x="58" y="152"/>
                  </a:lnTo>
                  <a:lnTo>
                    <a:pt x="64" y="158"/>
                  </a:lnTo>
                  <a:lnTo>
                    <a:pt x="64" y="152"/>
                  </a:lnTo>
                  <a:lnTo>
                    <a:pt x="70" y="150"/>
                  </a:lnTo>
                  <a:lnTo>
                    <a:pt x="76" y="150"/>
                  </a:lnTo>
                  <a:lnTo>
                    <a:pt x="76" y="148"/>
                  </a:lnTo>
                  <a:lnTo>
                    <a:pt x="74" y="148"/>
                  </a:lnTo>
                  <a:lnTo>
                    <a:pt x="68" y="148"/>
                  </a:lnTo>
                  <a:lnTo>
                    <a:pt x="62" y="148"/>
                  </a:lnTo>
                  <a:lnTo>
                    <a:pt x="56" y="146"/>
                  </a:lnTo>
                  <a:lnTo>
                    <a:pt x="50" y="142"/>
                  </a:lnTo>
                  <a:lnTo>
                    <a:pt x="44" y="140"/>
                  </a:lnTo>
                  <a:lnTo>
                    <a:pt x="42" y="134"/>
                  </a:lnTo>
                  <a:lnTo>
                    <a:pt x="40" y="128"/>
                  </a:lnTo>
                  <a:lnTo>
                    <a:pt x="34" y="124"/>
                  </a:lnTo>
                  <a:lnTo>
                    <a:pt x="38" y="118"/>
                  </a:lnTo>
                  <a:lnTo>
                    <a:pt x="44" y="120"/>
                  </a:lnTo>
                  <a:lnTo>
                    <a:pt x="50" y="120"/>
                  </a:lnTo>
                  <a:lnTo>
                    <a:pt x="52" y="126"/>
                  </a:lnTo>
                  <a:lnTo>
                    <a:pt x="54" y="120"/>
                  </a:lnTo>
                  <a:lnTo>
                    <a:pt x="54" y="114"/>
                  </a:lnTo>
                  <a:lnTo>
                    <a:pt x="52" y="110"/>
                  </a:lnTo>
                  <a:lnTo>
                    <a:pt x="52" y="102"/>
                  </a:lnTo>
                  <a:lnTo>
                    <a:pt x="50" y="96"/>
                  </a:lnTo>
                  <a:lnTo>
                    <a:pt x="52" y="92"/>
                  </a:lnTo>
                  <a:lnTo>
                    <a:pt x="58" y="88"/>
                  </a:lnTo>
                  <a:lnTo>
                    <a:pt x="64" y="92"/>
                  </a:lnTo>
                  <a:lnTo>
                    <a:pt x="70" y="96"/>
                  </a:lnTo>
                  <a:lnTo>
                    <a:pt x="76" y="92"/>
                  </a:lnTo>
                  <a:lnTo>
                    <a:pt x="78" y="92"/>
                  </a:lnTo>
                  <a:lnTo>
                    <a:pt x="84" y="92"/>
                  </a:lnTo>
                  <a:lnTo>
                    <a:pt x="90" y="92"/>
                  </a:lnTo>
                  <a:lnTo>
                    <a:pt x="96" y="92"/>
                  </a:lnTo>
                  <a:lnTo>
                    <a:pt x="102" y="92"/>
                  </a:lnTo>
                  <a:lnTo>
                    <a:pt x="104" y="92"/>
                  </a:lnTo>
                  <a:lnTo>
                    <a:pt x="110" y="92"/>
                  </a:lnTo>
                  <a:lnTo>
                    <a:pt x="116" y="92"/>
                  </a:lnTo>
                  <a:lnTo>
                    <a:pt x="122" y="92"/>
                  </a:lnTo>
                  <a:lnTo>
                    <a:pt x="126" y="92"/>
                  </a:lnTo>
                  <a:lnTo>
                    <a:pt x="132" y="92"/>
                  </a:lnTo>
                  <a:lnTo>
                    <a:pt x="136" y="92"/>
                  </a:lnTo>
                  <a:lnTo>
                    <a:pt x="142" y="92"/>
                  </a:lnTo>
                  <a:lnTo>
                    <a:pt x="148" y="92"/>
                  </a:lnTo>
                  <a:lnTo>
                    <a:pt x="154" y="92"/>
                  </a:lnTo>
                  <a:lnTo>
                    <a:pt x="158" y="90"/>
                  </a:lnTo>
                  <a:lnTo>
                    <a:pt x="158" y="84"/>
                  </a:lnTo>
                  <a:lnTo>
                    <a:pt x="158" y="78"/>
                  </a:lnTo>
                  <a:lnTo>
                    <a:pt x="158" y="72"/>
                  </a:lnTo>
                  <a:lnTo>
                    <a:pt x="158" y="66"/>
                  </a:lnTo>
                  <a:lnTo>
                    <a:pt x="158" y="60"/>
                  </a:lnTo>
                  <a:lnTo>
                    <a:pt x="158" y="56"/>
                  </a:lnTo>
                  <a:lnTo>
                    <a:pt x="158" y="50"/>
                  </a:lnTo>
                  <a:lnTo>
                    <a:pt x="158" y="48"/>
                  </a:lnTo>
                  <a:lnTo>
                    <a:pt x="158" y="42"/>
                  </a:lnTo>
                  <a:lnTo>
                    <a:pt x="158" y="36"/>
                  </a:lnTo>
                  <a:lnTo>
                    <a:pt x="158" y="30"/>
                  </a:lnTo>
                  <a:lnTo>
                    <a:pt x="158" y="24"/>
                  </a:lnTo>
                  <a:lnTo>
                    <a:pt x="158" y="18"/>
                  </a:lnTo>
                  <a:lnTo>
                    <a:pt x="158" y="12"/>
                  </a:lnTo>
                  <a:lnTo>
                    <a:pt x="158" y="10"/>
                  </a:lnTo>
                  <a:lnTo>
                    <a:pt x="158" y="8"/>
                  </a:lnTo>
                  <a:lnTo>
                    <a:pt x="160" y="2"/>
                  </a:lnTo>
                  <a:lnTo>
                    <a:pt x="164" y="2"/>
                  </a:lnTo>
                  <a:lnTo>
                    <a:pt x="170" y="2"/>
                  </a:lnTo>
                  <a:lnTo>
                    <a:pt x="176" y="2"/>
                  </a:lnTo>
                  <a:lnTo>
                    <a:pt x="178" y="0"/>
                  </a:lnTo>
                  <a:lnTo>
                    <a:pt x="184" y="4"/>
                  </a:lnTo>
                  <a:lnTo>
                    <a:pt x="190" y="4"/>
                  </a:lnTo>
                  <a:lnTo>
                    <a:pt x="196" y="4"/>
                  </a:lnTo>
                  <a:lnTo>
                    <a:pt x="202" y="4"/>
                  </a:lnTo>
                  <a:lnTo>
                    <a:pt x="208" y="4"/>
                  </a:lnTo>
                  <a:lnTo>
                    <a:pt x="212" y="4"/>
                  </a:lnTo>
                  <a:lnTo>
                    <a:pt x="218" y="2"/>
                  </a:lnTo>
                  <a:lnTo>
                    <a:pt x="222" y="4"/>
                  </a:lnTo>
                  <a:lnTo>
                    <a:pt x="228" y="2"/>
                  </a:lnTo>
                  <a:lnTo>
                    <a:pt x="234" y="4"/>
                  </a:lnTo>
                  <a:lnTo>
                    <a:pt x="240" y="6"/>
                  </a:lnTo>
                  <a:lnTo>
                    <a:pt x="246" y="8"/>
                  </a:lnTo>
                  <a:lnTo>
                    <a:pt x="250" y="6"/>
                  </a:lnTo>
                  <a:lnTo>
                    <a:pt x="258" y="6"/>
                  </a:lnTo>
                  <a:lnTo>
                    <a:pt x="264" y="6"/>
                  </a:lnTo>
                  <a:lnTo>
                    <a:pt x="268" y="4"/>
                  </a:lnTo>
                  <a:lnTo>
                    <a:pt x="276" y="4"/>
                  </a:lnTo>
                  <a:lnTo>
                    <a:pt x="278" y="10"/>
                  </a:lnTo>
                  <a:lnTo>
                    <a:pt x="278" y="12"/>
                  </a:lnTo>
                  <a:lnTo>
                    <a:pt x="278" y="18"/>
                  </a:lnTo>
                  <a:lnTo>
                    <a:pt x="272" y="24"/>
                  </a:lnTo>
                  <a:lnTo>
                    <a:pt x="270" y="30"/>
                  </a:lnTo>
                  <a:lnTo>
                    <a:pt x="272" y="36"/>
                  </a:lnTo>
                  <a:lnTo>
                    <a:pt x="272" y="38"/>
                  </a:lnTo>
                  <a:lnTo>
                    <a:pt x="268" y="42"/>
                  </a:lnTo>
                  <a:lnTo>
                    <a:pt x="268" y="48"/>
                  </a:lnTo>
                  <a:lnTo>
                    <a:pt x="268" y="54"/>
                  </a:lnTo>
                  <a:lnTo>
                    <a:pt x="272" y="60"/>
                  </a:lnTo>
                  <a:lnTo>
                    <a:pt x="274" y="66"/>
                  </a:lnTo>
                  <a:lnTo>
                    <a:pt x="272" y="72"/>
                  </a:lnTo>
                  <a:lnTo>
                    <a:pt x="272" y="78"/>
                  </a:lnTo>
                  <a:lnTo>
                    <a:pt x="274" y="76"/>
                  </a:lnTo>
                  <a:lnTo>
                    <a:pt x="280" y="74"/>
                  </a:lnTo>
                  <a:lnTo>
                    <a:pt x="286" y="72"/>
                  </a:lnTo>
                  <a:lnTo>
                    <a:pt x="292" y="72"/>
                  </a:lnTo>
                  <a:lnTo>
                    <a:pt x="298" y="68"/>
                  </a:lnTo>
                  <a:lnTo>
                    <a:pt x="304" y="66"/>
                  </a:lnTo>
                  <a:lnTo>
                    <a:pt x="310" y="62"/>
                  </a:lnTo>
                  <a:lnTo>
                    <a:pt x="316" y="64"/>
                  </a:lnTo>
                  <a:lnTo>
                    <a:pt x="322" y="64"/>
                  </a:lnTo>
                  <a:lnTo>
                    <a:pt x="328" y="66"/>
                  </a:lnTo>
                  <a:lnTo>
                    <a:pt x="330" y="66"/>
                  </a:lnTo>
                  <a:lnTo>
                    <a:pt x="336" y="68"/>
                  </a:lnTo>
                  <a:lnTo>
                    <a:pt x="338" y="74"/>
                  </a:lnTo>
                  <a:lnTo>
                    <a:pt x="338" y="80"/>
                  </a:lnTo>
                  <a:lnTo>
                    <a:pt x="340" y="84"/>
                  </a:lnTo>
                  <a:lnTo>
                    <a:pt x="344" y="92"/>
                  </a:lnTo>
                  <a:lnTo>
                    <a:pt x="348" y="96"/>
                  </a:lnTo>
                  <a:lnTo>
                    <a:pt x="350" y="104"/>
                  </a:lnTo>
                  <a:lnTo>
                    <a:pt x="346" y="110"/>
                  </a:lnTo>
                  <a:lnTo>
                    <a:pt x="342" y="114"/>
                  </a:lnTo>
                  <a:lnTo>
                    <a:pt x="342" y="116"/>
                  </a:lnTo>
                  <a:lnTo>
                    <a:pt x="338" y="122"/>
                  </a:lnTo>
                  <a:lnTo>
                    <a:pt x="332" y="124"/>
                  </a:lnTo>
                  <a:lnTo>
                    <a:pt x="326" y="124"/>
                  </a:lnTo>
                  <a:lnTo>
                    <a:pt x="326" y="130"/>
                  </a:lnTo>
                  <a:lnTo>
                    <a:pt x="320" y="136"/>
                  </a:lnTo>
                  <a:lnTo>
                    <a:pt x="316" y="142"/>
                  </a:lnTo>
                  <a:lnTo>
                    <a:pt x="314" y="148"/>
                  </a:lnTo>
                  <a:lnTo>
                    <a:pt x="316" y="154"/>
                  </a:lnTo>
                  <a:lnTo>
                    <a:pt x="318" y="160"/>
                  </a:lnTo>
                  <a:lnTo>
                    <a:pt x="316" y="162"/>
                  </a:lnTo>
                  <a:lnTo>
                    <a:pt x="314" y="168"/>
                  </a:lnTo>
                  <a:lnTo>
                    <a:pt x="312" y="174"/>
                  </a:lnTo>
                  <a:lnTo>
                    <a:pt x="314" y="180"/>
                  </a:lnTo>
                  <a:lnTo>
                    <a:pt x="320" y="180"/>
                  </a:lnTo>
                  <a:lnTo>
                    <a:pt x="326" y="180"/>
                  </a:lnTo>
                  <a:lnTo>
                    <a:pt x="330" y="186"/>
                  </a:lnTo>
                  <a:lnTo>
                    <a:pt x="332" y="192"/>
                  </a:lnTo>
                  <a:lnTo>
                    <a:pt x="338" y="192"/>
                  </a:lnTo>
                  <a:lnTo>
                    <a:pt x="344" y="194"/>
                  </a:lnTo>
                  <a:lnTo>
                    <a:pt x="350" y="198"/>
                  </a:lnTo>
                  <a:lnTo>
                    <a:pt x="352" y="204"/>
                  </a:lnTo>
                  <a:lnTo>
                    <a:pt x="352" y="210"/>
                  </a:lnTo>
                  <a:lnTo>
                    <a:pt x="348" y="216"/>
                  </a:lnTo>
                  <a:lnTo>
                    <a:pt x="350" y="222"/>
                  </a:lnTo>
                  <a:lnTo>
                    <a:pt x="346" y="228"/>
                  </a:lnTo>
                  <a:lnTo>
                    <a:pt x="346" y="234"/>
                  </a:lnTo>
                  <a:lnTo>
                    <a:pt x="348" y="240"/>
                  </a:lnTo>
                  <a:lnTo>
                    <a:pt x="350" y="246"/>
                  </a:lnTo>
                  <a:lnTo>
                    <a:pt x="350" y="252"/>
                  </a:lnTo>
                  <a:lnTo>
                    <a:pt x="352" y="258"/>
                  </a:lnTo>
                  <a:lnTo>
                    <a:pt x="348" y="262"/>
                  </a:lnTo>
                  <a:lnTo>
                    <a:pt x="350" y="268"/>
                  </a:lnTo>
                  <a:lnTo>
                    <a:pt x="344" y="272"/>
                  </a:lnTo>
                  <a:lnTo>
                    <a:pt x="350" y="280"/>
                  </a:lnTo>
                  <a:lnTo>
                    <a:pt x="346" y="284"/>
                  </a:lnTo>
                  <a:lnTo>
                    <a:pt x="346" y="290"/>
                  </a:lnTo>
                  <a:lnTo>
                    <a:pt x="344" y="296"/>
                  </a:lnTo>
                  <a:lnTo>
                    <a:pt x="338" y="298"/>
                  </a:lnTo>
                  <a:lnTo>
                    <a:pt x="336" y="304"/>
                  </a:lnTo>
                  <a:lnTo>
                    <a:pt x="336" y="310"/>
                  </a:lnTo>
                  <a:lnTo>
                    <a:pt x="332" y="316"/>
                  </a:lnTo>
                  <a:lnTo>
                    <a:pt x="334" y="322"/>
                  </a:lnTo>
                  <a:lnTo>
                    <a:pt x="330" y="328"/>
                  </a:lnTo>
                  <a:lnTo>
                    <a:pt x="328" y="334"/>
                  </a:lnTo>
                  <a:lnTo>
                    <a:pt x="322" y="334"/>
                  </a:lnTo>
                  <a:lnTo>
                    <a:pt x="316" y="334"/>
                  </a:lnTo>
                  <a:lnTo>
                    <a:pt x="314" y="328"/>
                  </a:lnTo>
                  <a:lnTo>
                    <a:pt x="314" y="322"/>
                  </a:lnTo>
                  <a:lnTo>
                    <a:pt x="312" y="318"/>
                  </a:lnTo>
                  <a:lnTo>
                    <a:pt x="310" y="312"/>
                  </a:lnTo>
                  <a:lnTo>
                    <a:pt x="306" y="306"/>
                  </a:lnTo>
                  <a:lnTo>
                    <a:pt x="304" y="312"/>
                  </a:lnTo>
                  <a:lnTo>
                    <a:pt x="300" y="318"/>
                  </a:lnTo>
                  <a:lnTo>
                    <a:pt x="298" y="318"/>
                  </a:lnTo>
                  <a:lnTo>
                    <a:pt x="294" y="326"/>
                  </a:lnTo>
                  <a:lnTo>
                    <a:pt x="288" y="330"/>
                  </a:lnTo>
                  <a:lnTo>
                    <a:pt x="282" y="330"/>
                  </a:lnTo>
                  <a:lnTo>
                    <a:pt x="276" y="326"/>
                  </a:lnTo>
                  <a:lnTo>
                    <a:pt x="270" y="326"/>
                  </a:lnTo>
                  <a:lnTo>
                    <a:pt x="264" y="324"/>
                  </a:lnTo>
                  <a:lnTo>
                    <a:pt x="260" y="326"/>
                  </a:lnTo>
                  <a:lnTo>
                    <a:pt x="262" y="320"/>
                  </a:lnTo>
                  <a:lnTo>
                    <a:pt x="258" y="314"/>
                  </a:lnTo>
                  <a:lnTo>
                    <a:pt x="254" y="308"/>
                  </a:lnTo>
                  <a:lnTo>
                    <a:pt x="252" y="306"/>
                  </a:lnTo>
                  <a:lnTo>
                    <a:pt x="250" y="300"/>
                  </a:lnTo>
                  <a:lnTo>
                    <a:pt x="248" y="296"/>
                  </a:lnTo>
                  <a:lnTo>
                    <a:pt x="244" y="292"/>
                  </a:lnTo>
                  <a:lnTo>
                    <a:pt x="238" y="288"/>
                  </a:lnTo>
                  <a:lnTo>
                    <a:pt x="232" y="290"/>
                  </a:lnTo>
                  <a:lnTo>
                    <a:pt x="226" y="292"/>
                  </a:lnTo>
                  <a:lnTo>
                    <a:pt x="226" y="298"/>
                  </a:lnTo>
                  <a:lnTo>
                    <a:pt x="226" y="304"/>
                  </a:lnTo>
                  <a:lnTo>
                    <a:pt x="230" y="310"/>
                  </a:lnTo>
                  <a:lnTo>
                    <a:pt x="228" y="316"/>
                  </a:lnTo>
                  <a:lnTo>
                    <a:pt x="226" y="322"/>
                  </a:lnTo>
                  <a:lnTo>
                    <a:pt x="228" y="322"/>
                  </a:lnTo>
                  <a:lnTo>
                    <a:pt x="202" y="330"/>
                  </a:lnTo>
                  <a:lnTo>
                    <a:pt x="196" y="322"/>
                  </a:lnTo>
                  <a:lnTo>
                    <a:pt x="190" y="324"/>
                  </a:lnTo>
                  <a:lnTo>
                    <a:pt x="184" y="328"/>
                  </a:lnTo>
                  <a:lnTo>
                    <a:pt x="178" y="324"/>
                  </a:lnTo>
                  <a:lnTo>
                    <a:pt x="172" y="322"/>
                  </a:lnTo>
                  <a:lnTo>
                    <a:pt x="174" y="328"/>
                  </a:lnTo>
                  <a:lnTo>
                    <a:pt x="174" y="334"/>
                  </a:lnTo>
                  <a:lnTo>
                    <a:pt x="176" y="340"/>
                  </a:lnTo>
                  <a:lnTo>
                    <a:pt x="176" y="344"/>
                  </a:lnTo>
                  <a:lnTo>
                    <a:pt x="174" y="350"/>
                  </a:lnTo>
                  <a:lnTo>
                    <a:pt x="170" y="356"/>
                  </a:lnTo>
                  <a:lnTo>
                    <a:pt x="176" y="356"/>
                  </a:lnTo>
                  <a:lnTo>
                    <a:pt x="180" y="362"/>
                  </a:lnTo>
                  <a:lnTo>
                    <a:pt x="186" y="368"/>
                  </a:lnTo>
                  <a:lnTo>
                    <a:pt x="186" y="370"/>
                  </a:lnTo>
                  <a:lnTo>
                    <a:pt x="180" y="374"/>
                  </a:lnTo>
                  <a:lnTo>
                    <a:pt x="180" y="380"/>
                  </a:lnTo>
                  <a:lnTo>
                    <a:pt x="180" y="382"/>
                  </a:lnTo>
                  <a:lnTo>
                    <a:pt x="186" y="384"/>
                  </a:lnTo>
                  <a:lnTo>
                    <a:pt x="192" y="390"/>
                  </a:lnTo>
                  <a:lnTo>
                    <a:pt x="194" y="394"/>
                  </a:lnTo>
                  <a:lnTo>
                    <a:pt x="192" y="402"/>
                  </a:lnTo>
                  <a:lnTo>
                    <a:pt x="190" y="406"/>
                  </a:lnTo>
                  <a:lnTo>
                    <a:pt x="194" y="412"/>
                  </a:lnTo>
                  <a:lnTo>
                    <a:pt x="190" y="418"/>
                  </a:lnTo>
                  <a:lnTo>
                    <a:pt x="188" y="418"/>
                  </a:lnTo>
                  <a:lnTo>
                    <a:pt x="182" y="418"/>
                  </a:lnTo>
                  <a:lnTo>
                    <a:pt x="176" y="414"/>
                  </a:lnTo>
                  <a:lnTo>
                    <a:pt x="174" y="406"/>
                  </a:lnTo>
                  <a:lnTo>
                    <a:pt x="168" y="404"/>
                  </a:lnTo>
                  <a:lnTo>
                    <a:pt x="164" y="410"/>
                  </a:lnTo>
                  <a:lnTo>
                    <a:pt x="158" y="412"/>
                  </a:lnTo>
                  <a:lnTo>
                    <a:pt x="152" y="416"/>
                  </a:lnTo>
                  <a:lnTo>
                    <a:pt x="150" y="424"/>
                  </a:lnTo>
                  <a:lnTo>
                    <a:pt x="148" y="428"/>
                  </a:lnTo>
                  <a:lnTo>
                    <a:pt x="146" y="434"/>
                  </a:lnTo>
                  <a:lnTo>
                    <a:pt x="140" y="428"/>
                  </a:lnTo>
                  <a:lnTo>
                    <a:pt x="136" y="422"/>
                  </a:lnTo>
                  <a:lnTo>
                    <a:pt x="136" y="416"/>
                  </a:lnTo>
                  <a:lnTo>
                    <a:pt x="130" y="410"/>
                  </a:lnTo>
                  <a:lnTo>
                    <a:pt x="124" y="406"/>
                  </a:lnTo>
                  <a:lnTo>
                    <a:pt x="118" y="400"/>
                  </a:lnTo>
                  <a:lnTo>
                    <a:pt x="116" y="394"/>
                  </a:lnTo>
                  <a:lnTo>
                    <a:pt x="110" y="388"/>
                  </a:lnTo>
                  <a:lnTo>
                    <a:pt x="106" y="382"/>
                  </a:lnTo>
                  <a:lnTo>
                    <a:pt x="102" y="376"/>
                  </a:lnTo>
                  <a:lnTo>
                    <a:pt x="96" y="370"/>
                  </a:lnTo>
                  <a:lnTo>
                    <a:pt x="90" y="364"/>
                  </a:lnTo>
                  <a:lnTo>
                    <a:pt x="84" y="358"/>
                  </a:lnTo>
                  <a:lnTo>
                    <a:pt x="82" y="358"/>
                  </a:lnTo>
                  <a:lnTo>
                    <a:pt x="76" y="352"/>
                  </a:lnTo>
                  <a:lnTo>
                    <a:pt x="70" y="346"/>
                  </a:lnTo>
                  <a:lnTo>
                    <a:pt x="66" y="340"/>
                  </a:lnTo>
                  <a:lnTo>
                    <a:pt x="60" y="334"/>
                  </a:lnTo>
                  <a:lnTo>
                    <a:pt x="66" y="332"/>
                  </a:lnTo>
                  <a:lnTo>
                    <a:pt x="70" y="338"/>
                  </a:lnTo>
                  <a:lnTo>
                    <a:pt x="76" y="342"/>
                  </a:lnTo>
                  <a:lnTo>
                    <a:pt x="82" y="338"/>
                  </a:lnTo>
                  <a:lnTo>
                    <a:pt x="76" y="338"/>
                  </a:lnTo>
                  <a:lnTo>
                    <a:pt x="74" y="338"/>
                  </a:lnTo>
                  <a:lnTo>
                    <a:pt x="70" y="332"/>
                  </a:lnTo>
                  <a:lnTo>
                    <a:pt x="64" y="330"/>
                  </a:lnTo>
                  <a:lnTo>
                    <a:pt x="58" y="330"/>
                  </a:lnTo>
                  <a:lnTo>
                    <a:pt x="52" y="326"/>
                  </a:lnTo>
                  <a:lnTo>
                    <a:pt x="50" y="320"/>
                  </a:lnTo>
                  <a:lnTo>
                    <a:pt x="50" y="314"/>
                  </a:lnTo>
                  <a:lnTo>
                    <a:pt x="46" y="308"/>
                  </a:lnTo>
                  <a:lnTo>
                    <a:pt x="40" y="304"/>
                  </a:lnTo>
                  <a:lnTo>
                    <a:pt x="36" y="298"/>
                  </a:lnTo>
                  <a:lnTo>
                    <a:pt x="32" y="292"/>
                  </a:lnTo>
                  <a:lnTo>
                    <a:pt x="38" y="294"/>
                  </a:lnTo>
                  <a:lnTo>
                    <a:pt x="44" y="300"/>
                  </a:lnTo>
                  <a:lnTo>
                    <a:pt x="50" y="302"/>
                  </a:lnTo>
                  <a:lnTo>
                    <a:pt x="46" y="296"/>
                  </a:lnTo>
                  <a:lnTo>
                    <a:pt x="42" y="290"/>
                  </a:lnTo>
                  <a:lnTo>
                    <a:pt x="36" y="290"/>
                  </a:lnTo>
                  <a:lnTo>
                    <a:pt x="30" y="288"/>
                  </a:lnTo>
                  <a:lnTo>
                    <a:pt x="30" y="282"/>
                  </a:lnTo>
                  <a:lnTo>
                    <a:pt x="30" y="276"/>
                  </a:lnTo>
                  <a:lnTo>
                    <a:pt x="26" y="270"/>
                  </a:lnTo>
                  <a:lnTo>
                    <a:pt x="22" y="264"/>
                  </a:lnTo>
                  <a:lnTo>
                    <a:pt x="18" y="258"/>
                  </a:lnTo>
                  <a:lnTo>
                    <a:pt x="16" y="254"/>
                  </a:lnTo>
                  <a:lnTo>
                    <a:pt x="22" y="258"/>
                  </a:lnTo>
                  <a:lnTo>
                    <a:pt x="26" y="264"/>
                  </a:lnTo>
                  <a:lnTo>
                    <a:pt x="32" y="270"/>
                  </a:lnTo>
                  <a:lnTo>
                    <a:pt x="32" y="276"/>
                  </a:lnTo>
                  <a:lnTo>
                    <a:pt x="38" y="274"/>
                  </a:lnTo>
                  <a:lnTo>
                    <a:pt x="44" y="274"/>
                  </a:lnTo>
                  <a:lnTo>
                    <a:pt x="50" y="274"/>
                  </a:lnTo>
                  <a:lnTo>
                    <a:pt x="46" y="270"/>
                  </a:lnTo>
                  <a:lnTo>
                    <a:pt x="42" y="264"/>
                  </a:lnTo>
                  <a:lnTo>
                    <a:pt x="38" y="270"/>
                  </a:lnTo>
                  <a:lnTo>
                    <a:pt x="32" y="268"/>
                  </a:lnTo>
                  <a:lnTo>
                    <a:pt x="34" y="262"/>
                  </a:lnTo>
                  <a:lnTo>
                    <a:pt x="36" y="256"/>
                  </a:lnTo>
                  <a:lnTo>
                    <a:pt x="34" y="250"/>
                  </a:lnTo>
                  <a:lnTo>
                    <a:pt x="30" y="258"/>
                  </a:lnTo>
                  <a:lnTo>
                    <a:pt x="26" y="258"/>
                  </a:lnTo>
                  <a:lnTo>
                    <a:pt x="24" y="254"/>
                  </a:lnTo>
                  <a:lnTo>
                    <a:pt x="18" y="252"/>
                  </a:lnTo>
                  <a:lnTo>
                    <a:pt x="16" y="248"/>
                  </a:lnTo>
                  <a:lnTo>
                    <a:pt x="14" y="242"/>
                  </a:lnTo>
                  <a:lnTo>
                    <a:pt x="14" y="244"/>
                  </a:lnTo>
                  <a:lnTo>
                    <a:pt x="12" y="238"/>
                  </a:lnTo>
                  <a:lnTo>
                    <a:pt x="10" y="232"/>
                  </a:lnTo>
                  <a:lnTo>
                    <a:pt x="10" y="228"/>
                  </a:lnTo>
                  <a:lnTo>
                    <a:pt x="6" y="226"/>
                  </a:lnTo>
                  <a:lnTo>
                    <a:pt x="4" y="2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09" name="Freeform 226"/>
            <p:cNvSpPr>
              <a:spLocks/>
            </p:cNvSpPr>
            <p:nvPr/>
          </p:nvSpPr>
          <p:spPr bwMode="auto">
            <a:xfrm>
              <a:off x="3922713" y="3224213"/>
              <a:ext cx="296862" cy="233362"/>
            </a:xfrm>
            <a:custGeom>
              <a:avLst/>
              <a:gdLst>
                <a:gd name="T0" fmla="*/ 2147483647 w 728"/>
                <a:gd name="T1" fmla="*/ 2147483647 h 570"/>
                <a:gd name="T2" fmla="*/ 2147483647 w 728"/>
                <a:gd name="T3" fmla="*/ 2147483647 h 570"/>
                <a:gd name="T4" fmla="*/ 2147483647 w 728"/>
                <a:gd name="T5" fmla="*/ 2147483647 h 570"/>
                <a:gd name="T6" fmla="*/ 2147483647 w 728"/>
                <a:gd name="T7" fmla="*/ 2147483647 h 570"/>
                <a:gd name="T8" fmla="*/ 2147483647 w 728"/>
                <a:gd name="T9" fmla="*/ 2147483647 h 570"/>
                <a:gd name="T10" fmla="*/ 2147483647 w 728"/>
                <a:gd name="T11" fmla="*/ 2147483647 h 570"/>
                <a:gd name="T12" fmla="*/ 2147483647 w 728"/>
                <a:gd name="T13" fmla="*/ 2147483647 h 570"/>
                <a:gd name="T14" fmla="*/ 2147483647 w 728"/>
                <a:gd name="T15" fmla="*/ 2147483647 h 570"/>
                <a:gd name="T16" fmla="*/ 2147483647 w 728"/>
                <a:gd name="T17" fmla="*/ 2147483647 h 570"/>
                <a:gd name="T18" fmla="*/ 2147483647 w 728"/>
                <a:gd name="T19" fmla="*/ 2147483647 h 570"/>
                <a:gd name="T20" fmla="*/ 2147483647 w 728"/>
                <a:gd name="T21" fmla="*/ 2147483647 h 570"/>
                <a:gd name="T22" fmla="*/ 2147483647 w 728"/>
                <a:gd name="T23" fmla="*/ 2147483647 h 570"/>
                <a:gd name="T24" fmla="*/ 2147483647 w 728"/>
                <a:gd name="T25" fmla="*/ 2147483647 h 570"/>
                <a:gd name="T26" fmla="*/ 2147483647 w 728"/>
                <a:gd name="T27" fmla="*/ 2147483647 h 570"/>
                <a:gd name="T28" fmla="*/ 2147483647 w 728"/>
                <a:gd name="T29" fmla="*/ 2147483647 h 570"/>
                <a:gd name="T30" fmla="*/ 2147483647 w 728"/>
                <a:gd name="T31" fmla="*/ 2147483647 h 570"/>
                <a:gd name="T32" fmla="*/ 2147483647 w 728"/>
                <a:gd name="T33" fmla="*/ 2147483647 h 570"/>
                <a:gd name="T34" fmla="*/ 2147483647 w 728"/>
                <a:gd name="T35" fmla="*/ 2147483647 h 570"/>
                <a:gd name="T36" fmla="*/ 2147483647 w 728"/>
                <a:gd name="T37" fmla="*/ 2147483647 h 570"/>
                <a:gd name="T38" fmla="*/ 2147483647 w 728"/>
                <a:gd name="T39" fmla="*/ 2147483647 h 570"/>
                <a:gd name="T40" fmla="*/ 2147483647 w 728"/>
                <a:gd name="T41" fmla="*/ 2147483647 h 570"/>
                <a:gd name="T42" fmla="*/ 2147483647 w 728"/>
                <a:gd name="T43" fmla="*/ 2147483647 h 570"/>
                <a:gd name="T44" fmla="*/ 2147483647 w 728"/>
                <a:gd name="T45" fmla="*/ 2147483647 h 570"/>
                <a:gd name="T46" fmla="*/ 2147483647 w 728"/>
                <a:gd name="T47" fmla="*/ 2147483647 h 570"/>
                <a:gd name="T48" fmla="*/ 2147483647 w 728"/>
                <a:gd name="T49" fmla="*/ 2147483647 h 570"/>
                <a:gd name="T50" fmla="*/ 2147483647 w 728"/>
                <a:gd name="T51" fmla="*/ 2147483647 h 570"/>
                <a:gd name="T52" fmla="*/ 2147483647 w 728"/>
                <a:gd name="T53" fmla="*/ 2147483647 h 570"/>
                <a:gd name="T54" fmla="*/ 2147483647 w 728"/>
                <a:gd name="T55" fmla="*/ 2147483647 h 570"/>
                <a:gd name="T56" fmla="*/ 2147483647 w 728"/>
                <a:gd name="T57" fmla="*/ 2147483647 h 570"/>
                <a:gd name="T58" fmla="*/ 2147483647 w 728"/>
                <a:gd name="T59" fmla="*/ 2147483647 h 570"/>
                <a:gd name="T60" fmla="*/ 2147483647 w 728"/>
                <a:gd name="T61" fmla="*/ 2147483647 h 570"/>
                <a:gd name="T62" fmla="*/ 2147483647 w 728"/>
                <a:gd name="T63" fmla="*/ 2147483647 h 570"/>
                <a:gd name="T64" fmla="*/ 2147483647 w 728"/>
                <a:gd name="T65" fmla="*/ 2147483647 h 570"/>
                <a:gd name="T66" fmla="*/ 2147483647 w 728"/>
                <a:gd name="T67" fmla="*/ 2147483647 h 570"/>
                <a:gd name="T68" fmla="*/ 2147483647 w 728"/>
                <a:gd name="T69" fmla="*/ 2147483647 h 570"/>
                <a:gd name="T70" fmla="*/ 2147483647 w 728"/>
                <a:gd name="T71" fmla="*/ 2147483647 h 570"/>
                <a:gd name="T72" fmla="*/ 2147483647 w 728"/>
                <a:gd name="T73" fmla="*/ 2147483647 h 570"/>
                <a:gd name="T74" fmla="*/ 2147483647 w 728"/>
                <a:gd name="T75" fmla="*/ 2147483647 h 570"/>
                <a:gd name="T76" fmla="*/ 2147483647 w 728"/>
                <a:gd name="T77" fmla="*/ 2147483647 h 570"/>
                <a:gd name="T78" fmla="*/ 2147483647 w 728"/>
                <a:gd name="T79" fmla="*/ 2147483647 h 570"/>
                <a:gd name="T80" fmla="*/ 2147483647 w 728"/>
                <a:gd name="T81" fmla="*/ 2147483647 h 570"/>
                <a:gd name="T82" fmla="*/ 2147483647 w 728"/>
                <a:gd name="T83" fmla="*/ 2147483647 h 570"/>
                <a:gd name="T84" fmla="*/ 2147483647 w 728"/>
                <a:gd name="T85" fmla="*/ 2147483647 h 570"/>
                <a:gd name="T86" fmla="*/ 2147483647 w 728"/>
                <a:gd name="T87" fmla="*/ 2147483647 h 570"/>
                <a:gd name="T88" fmla="*/ 2147483647 w 728"/>
                <a:gd name="T89" fmla="*/ 2147483647 h 570"/>
                <a:gd name="T90" fmla="*/ 2147483647 w 728"/>
                <a:gd name="T91" fmla="*/ 2147483647 h 570"/>
                <a:gd name="T92" fmla="*/ 2147483647 w 728"/>
                <a:gd name="T93" fmla="*/ 2147483647 h 570"/>
                <a:gd name="T94" fmla="*/ 2147483647 w 728"/>
                <a:gd name="T95" fmla="*/ 2147483647 h 570"/>
                <a:gd name="T96" fmla="*/ 2147483647 w 728"/>
                <a:gd name="T97" fmla="*/ 2147483647 h 570"/>
                <a:gd name="T98" fmla="*/ 2147483647 w 728"/>
                <a:gd name="T99" fmla="*/ 2147483647 h 570"/>
                <a:gd name="T100" fmla="*/ 2147483647 w 728"/>
                <a:gd name="T101" fmla="*/ 2147483647 h 570"/>
                <a:gd name="T102" fmla="*/ 2147483647 w 728"/>
                <a:gd name="T103" fmla="*/ 2147483647 h 570"/>
                <a:gd name="T104" fmla="*/ 2147483647 w 728"/>
                <a:gd name="T105" fmla="*/ 2147483647 h 570"/>
                <a:gd name="T106" fmla="*/ 2147483647 w 728"/>
                <a:gd name="T107" fmla="*/ 2147483647 h 570"/>
                <a:gd name="T108" fmla="*/ 2147483647 w 728"/>
                <a:gd name="T109" fmla="*/ 2147483647 h 570"/>
                <a:gd name="T110" fmla="*/ 2147483647 w 728"/>
                <a:gd name="T111" fmla="*/ 2147483647 h 570"/>
                <a:gd name="T112" fmla="*/ 2147483647 w 728"/>
                <a:gd name="T113" fmla="*/ 2147483647 h 570"/>
                <a:gd name="T114" fmla="*/ 2147483647 w 728"/>
                <a:gd name="T115" fmla="*/ 2147483647 h 570"/>
                <a:gd name="T116" fmla="*/ 2147483647 w 728"/>
                <a:gd name="T117" fmla="*/ 2147483647 h 570"/>
                <a:gd name="T118" fmla="*/ 2147483647 w 728"/>
                <a:gd name="T119" fmla="*/ 2147483647 h 570"/>
                <a:gd name="T120" fmla="*/ 2147483647 w 728"/>
                <a:gd name="T121" fmla="*/ 2147483647 h 570"/>
                <a:gd name="T122" fmla="*/ 2147483647 w 728"/>
                <a:gd name="T123" fmla="*/ 2147483647 h 570"/>
                <a:gd name="T124" fmla="*/ 0 w 728"/>
                <a:gd name="T125" fmla="*/ 2147483647 h 57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28"/>
                <a:gd name="T190" fmla="*/ 0 h 570"/>
                <a:gd name="T191" fmla="*/ 728 w 728"/>
                <a:gd name="T192" fmla="*/ 570 h 57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28" h="570">
                  <a:moveTo>
                    <a:pt x="0" y="570"/>
                  </a:moveTo>
                  <a:lnTo>
                    <a:pt x="2" y="568"/>
                  </a:lnTo>
                  <a:lnTo>
                    <a:pt x="8" y="566"/>
                  </a:lnTo>
                  <a:lnTo>
                    <a:pt x="12" y="558"/>
                  </a:lnTo>
                  <a:lnTo>
                    <a:pt x="14" y="554"/>
                  </a:lnTo>
                  <a:lnTo>
                    <a:pt x="20" y="550"/>
                  </a:lnTo>
                  <a:lnTo>
                    <a:pt x="26" y="548"/>
                  </a:lnTo>
                  <a:lnTo>
                    <a:pt x="32" y="548"/>
                  </a:lnTo>
                  <a:lnTo>
                    <a:pt x="38" y="548"/>
                  </a:lnTo>
                  <a:lnTo>
                    <a:pt x="44" y="546"/>
                  </a:lnTo>
                  <a:lnTo>
                    <a:pt x="50" y="546"/>
                  </a:lnTo>
                  <a:lnTo>
                    <a:pt x="56" y="544"/>
                  </a:lnTo>
                  <a:lnTo>
                    <a:pt x="62" y="544"/>
                  </a:lnTo>
                  <a:lnTo>
                    <a:pt x="66" y="542"/>
                  </a:lnTo>
                  <a:lnTo>
                    <a:pt x="70" y="540"/>
                  </a:lnTo>
                  <a:lnTo>
                    <a:pt x="76" y="536"/>
                  </a:lnTo>
                  <a:lnTo>
                    <a:pt x="82" y="534"/>
                  </a:lnTo>
                  <a:lnTo>
                    <a:pt x="88" y="532"/>
                  </a:lnTo>
                  <a:lnTo>
                    <a:pt x="94" y="530"/>
                  </a:lnTo>
                  <a:lnTo>
                    <a:pt x="100" y="528"/>
                  </a:lnTo>
                  <a:lnTo>
                    <a:pt x="106" y="524"/>
                  </a:lnTo>
                  <a:lnTo>
                    <a:pt x="108" y="518"/>
                  </a:lnTo>
                  <a:lnTo>
                    <a:pt x="114" y="512"/>
                  </a:lnTo>
                  <a:lnTo>
                    <a:pt x="120" y="506"/>
                  </a:lnTo>
                  <a:lnTo>
                    <a:pt x="126" y="500"/>
                  </a:lnTo>
                  <a:lnTo>
                    <a:pt x="126" y="498"/>
                  </a:lnTo>
                  <a:lnTo>
                    <a:pt x="134" y="494"/>
                  </a:lnTo>
                  <a:lnTo>
                    <a:pt x="138" y="490"/>
                  </a:lnTo>
                  <a:lnTo>
                    <a:pt x="144" y="488"/>
                  </a:lnTo>
                  <a:lnTo>
                    <a:pt x="150" y="484"/>
                  </a:lnTo>
                  <a:lnTo>
                    <a:pt x="156" y="482"/>
                  </a:lnTo>
                  <a:lnTo>
                    <a:pt x="162" y="476"/>
                  </a:lnTo>
                  <a:lnTo>
                    <a:pt x="168" y="470"/>
                  </a:lnTo>
                  <a:lnTo>
                    <a:pt x="170" y="468"/>
                  </a:lnTo>
                  <a:lnTo>
                    <a:pt x="174" y="462"/>
                  </a:lnTo>
                  <a:lnTo>
                    <a:pt x="180" y="458"/>
                  </a:lnTo>
                  <a:lnTo>
                    <a:pt x="184" y="452"/>
                  </a:lnTo>
                  <a:lnTo>
                    <a:pt x="188" y="446"/>
                  </a:lnTo>
                  <a:lnTo>
                    <a:pt x="190" y="440"/>
                  </a:lnTo>
                  <a:lnTo>
                    <a:pt x="194" y="434"/>
                  </a:lnTo>
                  <a:lnTo>
                    <a:pt x="198" y="430"/>
                  </a:lnTo>
                  <a:lnTo>
                    <a:pt x="202" y="424"/>
                  </a:lnTo>
                  <a:lnTo>
                    <a:pt x="208" y="418"/>
                  </a:lnTo>
                  <a:lnTo>
                    <a:pt x="210" y="414"/>
                  </a:lnTo>
                  <a:lnTo>
                    <a:pt x="212" y="410"/>
                  </a:lnTo>
                  <a:lnTo>
                    <a:pt x="214" y="408"/>
                  </a:lnTo>
                  <a:lnTo>
                    <a:pt x="216" y="402"/>
                  </a:lnTo>
                  <a:lnTo>
                    <a:pt x="218" y="396"/>
                  </a:lnTo>
                  <a:lnTo>
                    <a:pt x="218" y="390"/>
                  </a:lnTo>
                  <a:lnTo>
                    <a:pt x="220" y="384"/>
                  </a:lnTo>
                  <a:lnTo>
                    <a:pt x="218" y="380"/>
                  </a:lnTo>
                  <a:lnTo>
                    <a:pt x="216" y="374"/>
                  </a:lnTo>
                  <a:lnTo>
                    <a:pt x="210" y="368"/>
                  </a:lnTo>
                  <a:lnTo>
                    <a:pt x="206" y="366"/>
                  </a:lnTo>
                  <a:lnTo>
                    <a:pt x="206" y="360"/>
                  </a:lnTo>
                  <a:lnTo>
                    <a:pt x="210" y="354"/>
                  </a:lnTo>
                  <a:lnTo>
                    <a:pt x="210" y="348"/>
                  </a:lnTo>
                  <a:lnTo>
                    <a:pt x="210" y="344"/>
                  </a:lnTo>
                  <a:lnTo>
                    <a:pt x="210" y="338"/>
                  </a:lnTo>
                  <a:lnTo>
                    <a:pt x="210" y="332"/>
                  </a:lnTo>
                  <a:lnTo>
                    <a:pt x="210" y="326"/>
                  </a:lnTo>
                  <a:lnTo>
                    <a:pt x="212" y="320"/>
                  </a:lnTo>
                  <a:lnTo>
                    <a:pt x="212" y="314"/>
                  </a:lnTo>
                  <a:lnTo>
                    <a:pt x="214" y="308"/>
                  </a:lnTo>
                  <a:lnTo>
                    <a:pt x="216" y="302"/>
                  </a:lnTo>
                  <a:lnTo>
                    <a:pt x="220" y="296"/>
                  </a:lnTo>
                  <a:lnTo>
                    <a:pt x="222" y="290"/>
                  </a:lnTo>
                  <a:lnTo>
                    <a:pt x="228" y="284"/>
                  </a:lnTo>
                  <a:lnTo>
                    <a:pt x="232" y="278"/>
                  </a:lnTo>
                  <a:lnTo>
                    <a:pt x="236" y="274"/>
                  </a:lnTo>
                  <a:lnTo>
                    <a:pt x="242" y="268"/>
                  </a:lnTo>
                  <a:lnTo>
                    <a:pt x="242" y="266"/>
                  </a:lnTo>
                  <a:lnTo>
                    <a:pt x="244" y="260"/>
                  </a:lnTo>
                  <a:lnTo>
                    <a:pt x="248" y="254"/>
                  </a:lnTo>
                  <a:lnTo>
                    <a:pt x="248" y="248"/>
                  </a:lnTo>
                  <a:lnTo>
                    <a:pt x="248" y="242"/>
                  </a:lnTo>
                  <a:lnTo>
                    <a:pt x="248" y="236"/>
                  </a:lnTo>
                  <a:lnTo>
                    <a:pt x="250" y="232"/>
                  </a:lnTo>
                  <a:lnTo>
                    <a:pt x="256" y="226"/>
                  </a:lnTo>
                  <a:lnTo>
                    <a:pt x="262" y="220"/>
                  </a:lnTo>
                  <a:lnTo>
                    <a:pt x="268" y="214"/>
                  </a:lnTo>
                  <a:lnTo>
                    <a:pt x="274" y="208"/>
                  </a:lnTo>
                  <a:lnTo>
                    <a:pt x="280" y="202"/>
                  </a:lnTo>
                  <a:lnTo>
                    <a:pt x="286" y="196"/>
                  </a:lnTo>
                  <a:lnTo>
                    <a:pt x="290" y="190"/>
                  </a:lnTo>
                  <a:lnTo>
                    <a:pt x="294" y="184"/>
                  </a:lnTo>
                  <a:lnTo>
                    <a:pt x="300" y="184"/>
                  </a:lnTo>
                  <a:lnTo>
                    <a:pt x="306" y="178"/>
                  </a:lnTo>
                  <a:lnTo>
                    <a:pt x="308" y="176"/>
                  </a:lnTo>
                  <a:lnTo>
                    <a:pt x="314" y="174"/>
                  </a:lnTo>
                  <a:lnTo>
                    <a:pt x="320" y="172"/>
                  </a:lnTo>
                  <a:lnTo>
                    <a:pt x="326" y="170"/>
                  </a:lnTo>
                  <a:lnTo>
                    <a:pt x="330" y="168"/>
                  </a:lnTo>
                  <a:lnTo>
                    <a:pt x="336" y="164"/>
                  </a:lnTo>
                  <a:lnTo>
                    <a:pt x="342" y="164"/>
                  </a:lnTo>
                  <a:lnTo>
                    <a:pt x="348" y="160"/>
                  </a:lnTo>
                  <a:lnTo>
                    <a:pt x="354" y="158"/>
                  </a:lnTo>
                  <a:lnTo>
                    <a:pt x="360" y="154"/>
                  </a:lnTo>
                  <a:lnTo>
                    <a:pt x="364" y="152"/>
                  </a:lnTo>
                  <a:lnTo>
                    <a:pt x="370" y="148"/>
                  </a:lnTo>
                  <a:lnTo>
                    <a:pt x="376" y="146"/>
                  </a:lnTo>
                  <a:lnTo>
                    <a:pt x="380" y="144"/>
                  </a:lnTo>
                  <a:lnTo>
                    <a:pt x="384" y="140"/>
                  </a:lnTo>
                  <a:lnTo>
                    <a:pt x="390" y="136"/>
                  </a:lnTo>
                  <a:lnTo>
                    <a:pt x="396" y="130"/>
                  </a:lnTo>
                  <a:lnTo>
                    <a:pt x="400" y="126"/>
                  </a:lnTo>
                  <a:lnTo>
                    <a:pt x="404" y="120"/>
                  </a:lnTo>
                  <a:lnTo>
                    <a:pt x="406" y="114"/>
                  </a:lnTo>
                  <a:lnTo>
                    <a:pt x="408" y="110"/>
                  </a:lnTo>
                  <a:lnTo>
                    <a:pt x="412" y="104"/>
                  </a:lnTo>
                  <a:lnTo>
                    <a:pt x="416" y="98"/>
                  </a:lnTo>
                  <a:lnTo>
                    <a:pt x="420" y="92"/>
                  </a:lnTo>
                  <a:lnTo>
                    <a:pt x="422" y="88"/>
                  </a:lnTo>
                  <a:lnTo>
                    <a:pt x="426" y="82"/>
                  </a:lnTo>
                  <a:lnTo>
                    <a:pt x="428" y="76"/>
                  </a:lnTo>
                  <a:lnTo>
                    <a:pt x="432" y="70"/>
                  </a:lnTo>
                  <a:lnTo>
                    <a:pt x="434" y="64"/>
                  </a:lnTo>
                  <a:lnTo>
                    <a:pt x="434" y="62"/>
                  </a:lnTo>
                  <a:lnTo>
                    <a:pt x="436" y="56"/>
                  </a:lnTo>
                  <a:lnTo>
                    <a:pt x="440" y="50"/>
                  </a:lnTo>
                  <a:lnTo>
                    <a:pt x="442" y="44"/>
                  </a:lnTo>
                  <a:lnTo>
                    <a:pt x="444" y="38"/>
                  </a:lnTo>
                  <a:lnTo>
                    <a:pt x="446" y="32"/>
                  </a:lnTo>
                  <a:lnTo>
                    <a:pt x="448" y="26"/>
                  </a:lnTo>
                  <a:lnTo>
                    <a:pt x="452" y="20"/>
                  </a:lnTo>
                  <a:lnTo>
                    <a:pt x="454" y="14"/>
                  </a:lnTo>
                  <a:lnTo>
                    <a:pt x="456" y="8"/>
                  </a:lnTo>
                  <a:lnTo>
                    <a:pt x="462" y="8"/>
                  </a:lnTo>
                  <a:lnTo>
                    <a:pt x="468" y="6"/>
                  </a:lnTo>
                  <a:lnTo>
                    <a:pt x="474" y="6"/>
                  </a:lnTo>
                  <a:lnTo>
                    <a:pt x="480" y="2"/>
                  </a:lnTo>
                  <a:lnTo>
                    <a:pt x="486" y="0"/>
                  </a:lnTo>
                  <a:lnTo>
                    <a:pt x="488" y="4"/>
                  </a:lnTo>
                  <a:lnTo>
                    <a:pt x="488" y="6"/>
                  </a:lnTo>
                  <a:lnTo>
                    <a:pt x="490" y="8"/>
                  </a:lnTo>
                  <a:lnTo>
                    <a:pt x="490" y="14"/>
                  </a:lnTo>
                  <a:lnTo>
                    <a:pt x="492" y="20"/>
                  </a:lnTo>
                  <a:lnTo>
                    <a:pt x="498" y="26"/>
                  </a:lnTo>
                  <a:lnTo>
                    <a:pt x="502" y="32"/>
                  </a:lnTo>
                  <a:lnTo>
                    <a:pt x="506" y="36"/>
                  </a:lnTo>
                  <a:lnTo>
                    <a:pt x="510" y="38"/>
                  </a:lnTo>
                  <a:lnTo>
                    <a:pt x="516" y="44"/>
                  </a:lnTo>
                  <a:lnTo>
                    <a:pt x="522" y="48"/>
                  </a:lnTo>
                  <a:lnTo>
                    <a:pt x="528" y="50"/>
                  </a:lnTo>
                  <a:lnTo>
                    <a:pt x="534" y="50"/>
                  </a:lnTo>
                  <a:lnTo>
                    <a:pt x="540" y="52"/>
                  </a:lnTo>
                  <a:lnTo>
                    <a:pt x="546" y="52"/>
                  </a:lnTo>
                  <a:lnTo>
                    <a:pt x="552" y="50"/>
                  </a:lnTo>
                  <a:lnTo>
                    <a:pt x="558" y="50"/>
                  </a:lnTo>
                  <a:lnTo>
                    <a:pt x="564" y="46"/>
                  </a:lnTo>
                  <a:lnTo>
                    <a:pt x="570" y="48"/>
                  </a:lnTo>
                  <a:lnTo>
                    <a:pt x="574" y="50"/>
                  </a:lnTo>
                  <a:lnTo>
                    <a:pt x="578" y="44"/>
                  </a:lnTo>
                  <a:lnTo>
                    <a:pt x="584" y="44"/>
                  </a:lnTo>
                  <a:lnTo>
                    <a:pt x="590" y="48"/>
                  </a:lnTo>
                  <a:lnTo>
                    <a:pt x="596" y="50"/>
                  </a:lnTo>
                  <a:lnTo>
                    <a:pt x="602" y="50"/>
                  </a:lnTo>
                  <a:lnTo>
                    <a:pt x="608" y="48"/>
                  </a:lnTo>
                  <a:lnTo>
                    <a:pt x="614" y="44"/>
                  </a:lnTo>
                  <a:lnTo>
                    <a:pt x="620" y="40"/>
                  </a:lnTo>
                  <a:lnTo>
                    <a:pt x="624" y="34"/>
                  </a:lnTo>
                  <a:lnTo>
                    <a:pt x="626" y="40"/>
                  </a:lnTo>
                  <a:lnTo>
                    <a:pt x="624" y="44"/>
                  </a:lnTo>
                  <a:lnTo>
                    <a:pt x="626" y="44"/>
                  </a:lnTo>
                  <a:lnTo>
                    <a:pt x="626" y="48"/>
                  </a:lnTo>
                  <a:lnTo>
                    <a:pt x="628" y="54"/>
                  </a:lnTo>
                  <a:lnTo>
                    <a:pt x="634" y="54"/>
                  </a:lnTo>
                  <a:lnTo>
                    <a:pt x="630" y="48"/>
                  </a:lnTo>
                  <a:lnTo>
                    <a:pt x="636" y="54"/>
                  </a:lnTo>
                  <a:lnTo>
                    <a:pt x="642" y="56"/>
                  </a:lnTo>
                  <a:lnTo>
                    <a:pt x="648" y="56"/>
                  </a:lnTo>
                  <a:lnTo>
                    <a:pt x="654" y="54"/>
                  </a:lnTo>
                  <a:lnTo>
                    <a:pt x="660" y="54"/>
                  </a:lnTo>
                  <a:lnTo>
                    <a:pt x="666" y="58"/>
                  </a:lnTo>
                  <a:lnTo>
                    <a:pt x="670" y="64"/>
                  </a:lnTo>
                  <a:lnTo>
                    <a:pt x="676" y="68"/>
                  </a:lnTo>
                  <a:lnTo>
                    <a:pt x="680" y="72"/>
                  </a:lnTo>
                  <a:lnTo>
                    <a:pt x="688" y="78"/>
                  </a:lnTo>
                  <a:lnTo>
                    <a:pt x="690" y="82"/>
                  </a:lnTo>
                  <a:lnTo>
                    <a:pt x="688" y="88"/>
                  </a:lnTo>
                  <a:lnTo>
                    <a:pt x="690" y="94"/>
                  </a:lnTo>
                  <a:lnTo>
                    <a:pt x="696" y="98"/>
                  </a:lnTo>
                  <a:lnTo>
                    <a:pt x="694" y="100"/>
                  </a:lnTo>
                  <a:lnTo>
                    <a:pt x="690" y="106"/>
                  </a:lnTo>
                  <a:lnTo>
                    <a:pt x="692" y="112"/>
                  </a:lnTo>
                  <a:lnTo>
                    <a:pt x="694" y="118"/>
                  </a:lnTo>
                  <a:lnTo>
                    <a:pt x="696" y="126"/>
                  </a:lnTo>
                  <a:lnTo>
                    <a:pt x="696" y="130"/>
                  </a:lnTo>
                  <a:lnTo>
                    <a:pt x="694" y="134"/>
                  </a:lnTo>
                  <a:lnTo>
                    <a:pt x="692" y="142"/>
                  </a:lnTo>
                  <a:lnTo>
                    <a:pt x="694" y="146"/>
                  </a:lnTo>
                  <a:lnTo>
                    <a:pt x="690" y="154"/>
                  </a:lnTo>
                  <a:lnTo>
                    <a:pt x="694" y="156"/>
                  </a:lnTo>
                  <a:lnTo>
                    <a:pt x="698" y="162"/>
                  </a:lnTo>
                  <a:lnTo>
                    <a:pt x="698" y="168"/>
                  </a:lnTo>
                  <a:lnTo>
                    <a:pt x="694" y="172"/>
                  </a:lnTo>
                  <a:lnTo>
                    <a:pt x="694" y="180"/>
                  </a:lnTo>
                  <a:lnTo>
                    <a:pt x="694" y="184"/>
                  </a:lnTo>
                  <a:lnTo>
                    <a:pt x="698" y="190"/>
                  </a:lnTo>
                  <a:lnTo>
                    <a:pt x="702" y="196"/>
                  </a:lnTo>
                  <a:lnTo>
                    <a:pt x="702" y="202"/>
                  </a:lnTo>
                  <a:lnTo>
                    <a:pt x="702" y="208"/>
                  </a:lnTo>
                  <a:lnTo>
                    <a:pt x="706" y="216"/>
                  </a:lnTo>
                  <a:lnTo>
                    <a:pt x="710" y="222"/>
                  </a:lnTo>
                  <a:lnTo>
                    <a:pt x="716" y="226"/>
                  </a:lnTo>
                  <a:lnTo>
                    <a:pt x="722" y="230"/>
                  </a:lnTo>
                  <a:lnTo>
                    <a:pt x="728" y="236"/>
                  </a:lnTo>
                  <a:lnTo>
                    <a:pt x="724" y="240"/>
                  </a:lnTo>
                  <a:lnTo>
                    <a:pt x="718" y="244"/>
                  </a:lnTo>
                  <a:lnTo>
                    <a:pt x="714" y="248"/>
                  </a:lnTo>
                  <a:lnTo>
                    <a:pt x="714" y="256"/>
                  </a:lnTo>
                  <a:lnTo>
                    <a:pt x="712" y="260"/>
                  </a:lnTo>
                  <a:lnTo>
                    <a:pt x="718" y="264"/>
                  </a:lnTo>
                  <a:lnTo>
                    <a:pt x="712" y="264"/>
                  </a:lnTo>
                  <a:lnTo>
                    <a:pt x="706" y="264"/>
                  </a:lnTo>
                  <a:lnTo>
                    <a:pt x="704" y="264"/>
                  </a:lnTo>
                  <a:lnTo>
                    <a:pt x="698" y="264"/>
                  </a:lnTo>
                  <a:lnTo>
                    <a:pt x="692" y="264"/>
                  </a:lnTo>
                  <a:lnTo>
                    <a:pt x="686" y="262"/>
                  </a:lnTo>
                  <a:lnTo>
                    <a:pt x="680" y="262"/>
                  </a:lnTo>
                  <a:lnTo>
                    <a:pt x="674" y="262"/>
                  </a:lnTo>
                  <a:lnTo>
                    <a:pt x="668" y="262"/>
                  </a:lnTo>
                  <a:lnTo>
                    <a:pt x="664" y="260"/>
                  </a:lnTo>
                  <a:lnTo>
                    <a:pt x="658" y="260"/>
                  </a:lnTo>
                  <a:lnTo>
                    <a:pt x="650" y="260"/>
                  </a:lnTo>
                  <a:lnTo>
                    <a:pt x="646" y="260"/>
                  </a:lnTo>
                  <a:lnTo>
                    <a:pt x="640" y="262"/>
                  </a:lnTo>
                  <a:lnTo>
                    <a:pt x="634" y="264"/>
                  </a:lnTo>
                  <a:lnTo>
                    <a:pt x="628" y="264"/>
                  </a:lnTo>
                  <a:lnTo>
                    <a:pt x="622" y="264"/>
                  </a:lnTo>
                  <a:lnTo>
                    <a:pt x="616" y="270"/>
                  </a:lnTo>
                  <a:lnTo>
                    <a:pt x="616" y="276"/>
                  </a:lnTo>
                  <a:lnTo>
                    <a:pt x="612" y="282"/>
                  </a:lnTo>
                  <a:lnTo>
                    <a:pt x="606" y="284"/>
                  </a:lnTo>
                  <a:lnTo>
                    <a:pt x="604" y="286"/>
                  </a:lnTo>
                  <a:lnTo>
                    <a:pt x="598" y="288"/>
                  </a:lnTo>
                  <a:lnTo>
                    <a:pt x="592" y="290"/>
                  </a:lnTo>
                  <a:lnTo>
                    <a:pt x="586" y="292"/>
                  </a:lnTo>
                  <a:lnTo>
                    <a:pt x="580" y="294"/>
                  </a:lnTo>
                  <a:lnTo>
                    <a:pt x="574" y="292"/>
                  </a:lnTo>
                  <a:lnTo>
                    <a:pt x="568" y="290"/>
                  </a:lnTo>
                  <a:lnTo>
                    <a:pt x="562" y="296"/>
                  </a:lnTo>
                  <a:lnTo>
                    <a:pt x="562" y="302"/>
                  </a:lnTo>
                  <a:lnTo>
                    <a:pt x="562" y="308"/>
                  </a:lnTo>
                  <a:lnTo>
                    <a:pt x="568" y="312"/>
                  </a:lnTo>
                  <a:lnTo>
                    <a:pt x="564" y="318"/>
                  </a:lnTo>
                  <a:lnTo>
                    <a:pt x="564" y="324"/>
                  </a:lnTo>
                  <a:lnTo>
                    <a:pt x="564" y="328"/>
                  </a:lnTo>
                  <a:lnTo>
                    <a:pt x="570" y="332"/>
                  </a:lnTo>
                  <a:lnTo>
                    <a:pt x="574" y="338"/>
                  </a:lnTo>
                  <a:lnTo>
                    <a:pt x="570" y="344"/>
                  </a:lnTo>
                  <a:lnTo>
                    <a:pt x="564" y="344"/>
                  </a:lnTo>
                  <a:lnTo>
                    <a:pt x="558" y="344"/>
                  </a:lnTo>
                  <a:lnTo>
                    <a:pt x="552" y="346"/>
                  </a:lnTo>
                  <a:lnTo>
                    <a:pt x="546" y="350"/>
                  </a:lnTo>
                  <a:lnTo>
                    <a:pt x="540" y="356"/>
                  </a:lnTo>
                  <a:lnTo>
                    <a:pt x="538" y="358"/>
                  </a:lnTo>
                  <a:lnTo>
                    <a:pt x="536" y="358"/>
                  </a:lnTo>
                  <a:lnTo>
                    <a:pt x="530" y="362"/>
                  </a:lnTo>
                  <a:lnTo>
                    <a:pt x="524" y="366"/>
                  </a:lnTo>
                  <a:lnTo>
                    <a:pt x="520" y="366"/>
                  </a:lnTo>
                  <a:lnTo>
                    <a:pt x="512" y="368"/>
                  </a:lnTo>
                  <a:lnTo>
                    <a:pt x="506" y="370"/>
                  </a:lnTo>
                  <a:lnTo>
                    <a:pt x="500" y="372"/>
                  </a:lnTo>
                  <a:lnTo>
                    <a:pt x="494" y="374"/>
                  </a:lnTo>
                  <a:lnTo>
                    <a:pt x="490" y="380"/>
                  </a:lnTo>
                  <a:lnTo>
                    <a:pt x="488" y="384"/>
                  </a:lnTo>
                  <a:lnTo>
                    <a:pt x="486" y="392"/>
                  </a:lnTo>
                  <a:lnTo>
                    <a:pt x="482" y="396"/>
                  </a:lnTo>
                  <a:lnTo>
                    <a:pt x="480" y="398"/>
                  </a:lnTo>
                  <a:lnTo>
                    <a:pt x="474" y="404"/>
                  </a:lnTo>
                  <a:lnTo>
                    <a:pt x="468" y="410"/>
                  </a:lnTo>
                  <a:lnTo>
                    <a:pt x="466" y="410"/>
                  </a:lnTo>
                  <a:lnTo>
                    <a:pt x="460" y="414"/>
                  </a:lnTo>
                  <a:lnTo>
                    <a:pt x="454" y="416"/>
                  </a:lnTo>
                  <a:lnTo>
                    <a:pt x="448" y="418"/>
                  </a:lnTo>
                  <a:lnTo>
                    <a:pt x="442" y="418"/>
                  </a:lnTo>
                  <a:lnTo>
                    <a:pt x="436" y="420"/>
                  </a:lnTo>
                  <a:lnTo>
                    <a:pt x="430" y="422"/>
                  </a:lnTo>
                  <a:lnTo>
                    <a:pt x="428" y="420"/>
                  </a:lnTo>
                  <a:lnTo>
                    <a:pt x="422" y="420"/>
                  </a:lnTo>
                  <a:lnTo>
                    <a:pt x="416" y="422"/>
                  </a:lnTo>
                  <a:lnTo>
                    <a:pt x="410" y="422"/>
                  </a:lnTo>
                  <a:lnTo>
                    <a:pt x="406" y="422"/>
                  </a:lnTo>
                  <a:lnTo>
                    <a:pt x="402" y="428"/>
                  </a:lnTo>
                  <a:lnTo>
                    <a:pt x="400" y="434"/>
                  </a:lnTo>
                  <a:lnTo>
                    <a:pt x="394" y="438"/>
                  </a:lnTo>
                  <a:lnTo>
                    <a:pt x="388" y="438"/>
                  </a:lnTo>
                  <a:lnTo>
                    <a:pt x="382" y="436"/>
                  </a:lnTo>
                  <a:lnTo>
                    <a:pt x="376" y="436"/>
                  </a:lnTo>
                  <a:lnTo>
                    <a:pt x="370" y="436"/>
                  </a:lnTo>
                  <a:lnTo>
                    <a:pt x="364" y="434"/>
                  </a:lnTo>
                  <a:lnTo>
                    <a:pt x="358" y="438"/>
                  </a:lnTo>
                  <a:lnTo>
                    <a:pt x="352" y="442"/>
                  </a:lnTo>
                  <a:lnTo>
                    <a:pt x="348" y="448"/>
                  </a:lnTo>
                  <a:lnTo>
                    <a:pt x="342" y="452"/>
                  </a:lnTo>
                  <a:lnTo>
                    <a:pt x="336" y="452"/>
                  </a:lnTo>
                  <a:lnTo>
                    <a:pt x="330" y="454"/>
                  </a:lnTo>
                  <a:lnTo>
                    <a:pt x="324" y="458"/>
                  </a:lnTo>
                  <a:lnTo>
                    <a:pt x="322" y="462"/>
                  </a:lnTo>
                  <a:lnTo>
                    <a:pt x="316" y="466"/>
                  </a:lnTo>
                  <a:lnTo>
                    <a:pt x="310" y="472"/>
                  </a:lnTo>
                  <a:lnTo>
                    <a:pt x="304" y="474"/>
                  </a:lnTo>
                  <a:lnTo>
                    <a:pt x="298" y="476"/>
                  </a:lnTo>
                  <a:lnTo>
                    <a:pt x="292" y="482"/>
                  </a:lnTo>
                  <a:lnTo>
                    <a:pt x="286" y="488"/>
                  </a:lnTo>
                  <a:lnTo>
                    <a:pt x="280" y="492"/>
                  </a:lnTo>
                  <a:lnTo>
                    <a:pt x="274" y="496"/>
                  </a:lnTo>
                  <a:lnTo>
                    <a:pt x="270" y="498"/>
                  </a:lnTo>
                  <a:lnTo>
                    <a:pt x="270" y="504"/>
                  </a:lnTo>
                  <a:lnTo>
                    <a:pt x="270" y="508"/>
                  </a:lnTo>
                  <a:lnTo>
                    <a:pt x="270" y="516"/>
                  </a:lnTo>
                  <a:lnTo>
                    <a:pt x="270" y="522"/>
                  </a:lnTo>
                  <a:lnTo>
                    <a:pt x="268" y="530"/>
                  </a:lnTo>
                  <a:lnTo>
                    <a:pt x="268" y="536"/>
                  </a:lnTo>
                  <a:lnTo>
                    <a:pt x="268" y="544"/>
                  </a:lnTo>
                  <a:lnTo>
                    <a:pt x="268" y="550"/>
                  </a:lnTo>
                  <a:lnTo>
                    <a:pt x="268" y="558"/>
                  </a:lnTo>
                  <a:lnTo>
                    <a:pt x="268" y="564"/>
                  </a:lnTo>
                  <a:lnTo>
                    <a:pt x="266" y="570"/>
                  </a:lnTo>
                  <a:lnTo>
                    <a:pt x="262" y="570"/>
                  </a:lnTo>
                  <a:lnTo>
                    <a:pt x="254" y="570"/>
                  </a:lnTo>
                  <a:lnTo>
                    <a:pt x="252" y="570"/>
                  </a:lnTo>
                  <a:lnTo>
                    <a:pt x="248" y="570"/>
                  </a:lnTo>
                  <a:lnTo>
                    <a:pt x="242" y="570"/>
                  </a:lnTo>
                  <a:lnTo>
                    <a:pt x="236" y="570"/>
                  </a:lnTo>
                  <a:lnTo>
                    <a:pt x="230" y="570"/>
                  </a:lnTo>
                  <a:lnTo>
                    <a:pt x="224" y="570"/>
                  </a:lnTo>
                  <a:lnTo>
                    <a:pt x="218" y="570"/>
                  </a:lnTo>
                  <a:lnTo>
                    <a:pt x="212" y="570"/>
                  </a:lnTo>
                  <a:lnTo>
                    <a:pt x="206" y="570"/>
                  </a:lnTo>
                  <a:lnTo>
                    <a:pt x="200" y="570"/>
                  </a:lnTo>
                  <a:lnTo>
                    <a:pt x="194" y="570"/>
                  </a:lnTo>
                  <a:lnTo>
                    <a:pt x="188" y="570"/>
                  </a:lnTo>
                  <a:lnTo>
                    <a:pt x="186" y="570"/>
                  </a:lnTo>
                  <a:lnTo>
                    <a:pt x="180" y="570"/>
                  </a:lnTo>
                  <a:lnTo>
                    <a:pt x="174" y="570"/>
                  </a:lnTo>
                  <a:lnTo>
                    <a:pt x="168" y="570"/>
                  </a:lnTo>
                  <a:lnTo>
                    <a:pt x="162" y="570"/>
                  </a:lnTo>
                  <a:lnTo>
                    <a:pt x="156" y="570"/>
                  </a:lnTo>
                  <a:lnTo>
                    <a:pt x="150" y="570"/>
                  </a:lnTo>
                  <a:lnTo>
                    <a:pt x="144" y="570"/>
                  </a:lnTo>
                  <a:lnTo>
                    <a:pt x="138" y="570"/>
                  </a:lnTo>
                  <a:lnTo>
                    <a:pt x="134" y="570"/>
                  </a:lnTo>
                  <a:lnTo>
                    <a:pt x="126" y="570"/>
                  </a:lnTo>
                  <a:lnTo>
                    <a:pt x="122" y="570"/>
                  </a:lnTo>
                  <a:lnTo>
                    <a:pt x="116" y="570"/>
                  </a:lnTo>
                  <a:lnTo>
                    <a:pt x="110" y="570"/>
                  </a:lnTo>
                  <a:lnTo>
                    <a:pt x="104" y="570"/>
                  </a:lnTo>
                  <a:lnTo>
                    <a:pt x="98" y="570"/>
                  </a:lnTo>
                  <a:lnTo>
                    <a:pt x="92" y="570"/>
                  </a:lnTo>
                  <a:lnTo>
                    <a:pt x="86" y="570"/>
                  </a:lnTo>
                  <a:lnTo>
                    <a:pt x="80" y="570"/>
                  </a:lnTo>
                  <a:lnTo>
                    <a:pt x="74" y="570"/>
                  </a:lnTo>
                  <a:lnTo>
                    <a:pt x="68" y="570"/>
                  </a:lnTo>
                  <a:lnTo>
                    <a:pt x="62" y="570"/>
                  </a:lnTo>
                  <a:lnTo>
                    <a:pt x="56" y="570"/>
                  </a:lnTo>
                  <a:lnTo>
                    <a:pt x="50" y="570"/>
                  </a:lnTo>
                  <a:lnTo>
                    <a:pt x="44" y="570"/>
                  </a:lnTo>
                  <a:lnTo>
                    <a:pt x="38" y="570"/>
                  </a:lnTo>
                  <a:lnTo>
                    <a:pt x="32" y="570"/>
                  </a:lnTo>
                  <a:lnTo>
                    <a:pt x="26" y="570"/>
                  </a:lnTo>
                  <a:lnTo>
                    <a:pt x="20" y="570"/>
                  </a:lnTo>
                  <a:lnTo>
                    <a:pt x="18" y="570"/>
                  </a:lnTo>
                  <a:lnTo>
                    <a:pt x="14" y="570"/>
                  </a:lnTo>
                  <a:lnTo>
                    <a:pt x="12" y="570"/>
                  </a:lnTo>
                  <a:lnTo>
                    <a:pt x="8" y="570"/>
                  </a:lnTo>
                  <a:lnTo>
                    <a:pt x="0" y="57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0" name="Freeform 227"/>
            <p:cNvSpPr>
              <a:spLocks/>
            </p:cNvSpPr>
            <p:nvPr/>
          </p:nvSpPr>
          <p:spPr bwMode="auto">
            <a:xfrm>
              <a:off x="3946525" y="4002088"/>
              <a:ext cx="101600" cy="120650"/>
            </a:xfrm>
            <a:custGeom>
              <a:avLst/>
              <a:gdLst>
                <a:gd name="T0" fmla="*/ 2147483647 w 248"/>
                <a:gd name="T1" fmla="*/ 2147483647 h 292"/>
                <a:gd name="T2" fmla="*/ 2147483647 w 248"/>
                <a:gd name="T3" fmla="*/ 2147483647 h 292"/>
                <a:gd name="T4" fmla="*/ 2147483647 w 248"/>
                <a:gd name="T5" fmla="*/ 2147483647 h 292"/>
                <a:gd name="T6" fmla="*/ 2147483647 w 248"/>
                <a:gd name="T7" fmla="*/ 2147483647 h 292"/>
                <a:gd name="T8" fmla="*/ 2147483647 w 248"/>
                <a:gd name="T9" fmla="*/ 2147483647 h 292"/>
                <a:gd name="T10" fmla="*/ 2147483647 w 248"/>
                <a:gd name="T11" fmla="*/ 2147483647 h 292"/>
                <a:gd name="T12" fmla="*/ 2147483647 w 248"/>
                <a:gd name="T13" fmla="*/ 2147483647 h 292"/>
                <a:gd name="T14" fmla="*/ 2147483647 w 248"/>
                <a:gd name="T15" fmla="*/ 2147483647 h 292"/>
                <a:gd name="T16" fmla="*/ 2147483647 w 248"/>
                <a:gd name="T17" fmla="*/ 2147483647 h 292"/>
                <a:gd name="T18" fmla="*/ 2147483647 w 248"/>
                <a:gd name="T19" fmla="*/ 2147483647 h 292"/>
                <a:gd name="T20" fmla="*/ 2147483647 w 248"/>
                <a:gd name="T21" fmla="*/ 2147483647 h 292"/>
                <a:gd name="T22" fmla="*/ 2147483647 w 248"/>
                <a:gd name="T23" fmla="*/ 2147483647 h 292"/>
                <a:gd name="T24" fmla="*/ 2147483647 w 248"/>
                <a:gd name="T25" fmla="*/ 2147483647 h 292"/>
                <a:gd name="T26" fmla="*/ 2147483647 w 248"/>
                <a:gd name="T27" fmla="*/ 2147483647 h 292"/>
                <a:gd name="T28" fmla="*/ 2147483647 w 248"/>
                <a:gd name="T29" fmla="*/ 2147483647 h 292"/>
                <a:gd name="T30" fmla="*/ 2147483647 w 248"/>
                <a:gd name="T31" fmla="*/ 2147483647 h 292"/>
                <a:gd name="T32" fmla="*/ 2147483647 w 248"/>
                <a:gd name="T33" fmla="*/ 2147483647 h 292"/>
                <a:gd name="T34" fmla="*/ 2147483647 w 248"/>
                <a:gd name="T35" fmla="*/ 2147483647 h 292"/>
                <a:gd name="T36" fmla="*/ 2147483647 w 248"/>
                <a:gd name="T37" fmla="*/ 2147483647 h 292"/>
                <a:gd name="T38" fmla="*/ 2147483647 w 248"/>
                <a:gd name="T39" fmla="*/ 2147483647 h 292"/>
                <a:gd name="T40" fmla="*/ 2147483647 w 248"/>
                <a:gd name="T41" fmla="*/ 2147483647 h 292"/>
                <a:gd name="T42" fmla="*/ 2147483647 w 248"/>
                <a:gd name="T43" fmla="*/ 2147483647 h 292"/>
                <a:gd name="T44" fmla="*/ 2147483647 w 248"/>
                <a:gd name="T45" fmla="*/ 2147483647 h 292"/>
                <a:gd name="T46" fmla="*/ 2147483647 w 248"/>
                <a:gd name="T47" fmla="*/ 2147483647 h 292"/>
                <a:gd name="T48" fmla="*/ 2147483647 w 248"/>
                <a:gd name="T49" fmla="*/ 2147483647 h 292"/>
                <a:gd name="T50" fmla="*/ 2147483647 w 248"/>
                <a:gd name="T51" fmla="*/ 2147483647 h 292"/>
                <a:gd name="T52" fmla="*/ 2147483647 w 248"/>
                <a:gd name="T53" fmla="*/ 2147483647 h 292"/>
                <a:gd name="T54" fmla="*/ 2147483647 w 248"/>
                <a:gd name="T55" fmla="*/ 2147483647 h 292"/>
                <a:gd name="T56" fmla="*/ 2147483647 w 248"/>
                <a:gd name="T57" fmla="*/ 2147483647 h 292"/>
                <a:gd name="T58" fmla="*/ 2147483647 w 248"/>
                <a:gd name="T59" fmla="*/ 2147483647 h 292"/>
                <a:gd name="T60" fmla="*/ 2147483647 w 248"/>
                <a:gd name="T61" fmla="*/ 2147483647 h 292"/>
                <a:gd name="T62" fmla="*/ 2147483647 w 248"/>
                <a:gd name="T63" fmla="*/ 2147483647 h 292"/>
                <a:gd name="T64" fmla="*/ 2147483647 w 248"/>
                <a:gd name="T65" fmla="*/ 2147483647 h 292"/>
                <a:gd name="T66" fmla="*/ 2147483647 w 248"/>
                <a:gd name="T67" fmla="*/ 2147483647 h 292"/>
                <a:gd name="T68" fmla="*/ 2147483647 w 248"/>
                <a:gd name="T69" fmla="*/ 2147483647 h 292"/>
                <a:gd name="T70" fmla="*/ 2147483647 w 248"/>
                <a:gd name="T71" fmla="*/ 2147483647 h 292"/>
                <a:gd name="T72" fmla="*/ 2147483647 w 248"/>
                <a:gd name="T73" fmla="*/ 2147483647 h 292"/>
                <a:gd name="T74" fmla="*/ 2147483647 w 248"/>
                <a:gd name="T75" fmla="*/ 2147483647 h 292"/>
                <a:gd name="T76" fmla="*/ 2147483647 w 248"/>
                <a:gd name="T77" fmla="*/ 2147483647 h 292"/>
                <a:gd name="T78" fmla="*/ 2147483647 w 248"/>
                <a:gd name="T79" fmla="*/ 2147483647 h 292"/>
                <a:gd name="T80" fmla="*/ 2147483647 w 248"/>
                <a:gd name="T81" fmla="*/ 2147483647 h 292"/>
                <a:gd name="T82" fmla="*/ 2147483647 w 248"/>
                <a:gd name="T83" fmla="*/ 2147483647 h 292"/>
                <a:gd name="T84" fmla="*/ 2147483647 w 248"/>
                <a:gd name="T85" fmla="*/ 2147483647 h 292"/>
                <a:gd name="T86" fmla="*/ 2147483647 w 248"/>
                <a:gd name="T87" fmla="*/ 2147483647 h 292"/>
                <a:gd name="T88" fmla="*/ 2147483647 w 248"/>
                <a:gd name="T89" fmla="*/ 2147483647 h 292"/>
                <a:gd name="T90" fmla="*/ 2147483647 w 248"/>
                <a:gd name="T91" fmla="*/ 2147483647 h 292"/>
                <a:gd name="T92" fmla="*/ 2147483647 w 248"/>
                <a:gd name="T93" fmla="*/ 2147483647 h 292"/>
                <a:gd name="T94" fmla="*/ 2147483647 w 248"/>
                <a:gd name="T95" fmla="*/ 2147483647 h 292"/>
                <a:gd name="T96" fmla="*/ 2147483647 w 248"/>
                <a:gd name="T97" fmla="*/ 2147483647 h 292"/>
                <a:gd name="T98" fmla="*/ 2147483647 w 248"/>
                <a:gd name="T99" fmla="*/ 2147483647 h 292"/>
                <a:gd name="T100" fmla="*/ 2147483647 w 248"/>
                <a:gd name="T101" fmla="*/ 2147483647 h 292"/>
                <a:gd name="T102" fmla="*/ 2147483647 w 248"/>
                <a:gd name="T103" fmla="*/ 2147483647 h 292"/>
                <a:gd name="T104" fmla="*/ 2147483647 w 248"/>
                <a:gd name="T105" fmla="*/ 2147483647 h 292"/>
                <a:gd name="T106" fmla="*/ 2147483647 w 248"/>
                <a:gd name="T107" fmla="*/ 2147483647 h 292"/>
                <a:gd name="T108" fmla="*/ 2147483647 w 248"/>
                <a:gd name="T109" fmla="*/ 2147483647 h 292"/>
                <a:gd name="T110" fmla="*/ 2147483647 w 248"/>
                <a:gd name="T111" fmla="*/ 2147483647 h 292"/>
                <a:gd name="T112" fmla="*/ 2147483647 w 248"/>
                <a:gd name="T113" fmla="*/ 2147483647 h 292"/>
                <a:gd name="T114" fmla="*/ 2147483647 w 248"/>
                <a:gd name="T115" fmla="*/ 2147483647 h 292"/>
                <a:gd name="T116" fmla="*/ 0 w 248"/>
                <a:gd name="T117" fmla="*/ 2147483647 h 2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48"/>
                <a:gd name="T178" fmla="*/ 0 h 292"/>
                <a:gd name="T179" fmla="*/ 248 w 248"/>
                <a:gd name="T180" fmla="*/ 292 h 2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48" h="292">
                  <a:moveTo>
                    <a:pt x="0" y="114"/>
                  </a:moveTo>
                  <a:lnTo>
                    <a:pt x="2" y="114"/>
                  </a:lnTo>
                  <a:lnTo>
                    <a:pt x="6" y="108"/>
                  </a:lnTo>
                  <a:lnTo>
                    <a:pt x="6" y="106"/>
                  </a:lnTo>
                  <a:lnTo>
                    <a:pt x="8" y="100"/>
                  </a:lnTo>
                  <a:lnTo>
                    <a:pt x="12" y="94"/>
                  </a:lnTo>
                  <a:lnTo>
                    <a:pt x="18" y="92"/>
                  </a:lnTo>
                  <a:lnTo>
                    <a:pt x="22" y="86"/>
                  </a:lnTo>
                  <a:lnTo>
                    <a:pt x="26" y="80"/>
                  </a:lnTo>
                  <a:lnTo>
                    <a:pt x="28" y="80"/>
                  </a:lnTo>
                  <a:lnTo>
                    <a:pt x="32" y="74"/>
                  </a:lnTo>
                  <a:lnTo>
                    <a:pt x="38" y="72"/>
                  </a:lnTo>
                  <a:lnTo>
                    <a:pt x="40" y="70"/>
                  </a:lnTo>
                  <a:lnTo>
                    <a:pt x="44" y="64"/>
                  </a:lnTo>
                  <a:lnTo>
                    <a:pt x="48" y="58"/>
                  </a:lnTo>
                  <a:lnTo>
                    <a:pt x="54" y="56"/>
                  </a:lnTo>
                  <a:lnTo>
                    <a:pt x="54" y="50"/>
                  </a:lnTo>
                  <a:lnTo>
                    <a:pt x="54" y="44"/>
                  </a:lnTo>
                  <a:lnTo>
                    <a:pt x="54" y="38"/>
                  </a:lnTo>
                  <a:lnTo>
                    <a:pt x="60" y="32"/>
                  </a:lnTo>
                  <a:lnTo>
                    <a:pt x="66" y="30"/>
                  </a:lnTo>
                  <a:lnTo>
                    <a:pt x="70" y="30"/>
                  </a:lnTo>
                  <a:lnTo>
                    <a:pt x="72" y="24"/>
                  </a:lnTo>
                  <a:lnTo>
                    <a:pt x="74" y="18"/>
                  </a:lnTo>
                  <a:lnTo>
                    <a:pt x="74" y="12"/>
                  </a:lnTo>
                  <a:lnTo>
                    <a:pt x="76" y="8"/>
                  </a:lnTo>
                  <a:lnTo>
                    <a:pt x="76" y="6"/>
                  </a:lnTo>
                  <a:lnTo>
                    <a:pt x="80" y="6"/>
                  </a:lnTo>
                  <a:lnTo>
                    <a:pt x="86" y="4"/>
                  </a:lnTo>
                  <a:lnTo>
                    <a:pt x="92" y="10"/>
                  </a:lnTo>
                  <a:lnTo>
                    <a:pt x="98" y="6"/>
                  </a:lnTo>
                  <a:lnTo>
                    <a:pt x="100" y="6"/>
                  </a:lnTo>
                  <a:lnTo>
                    <a:pt x="106" y="0"/>
                  </a:lnTo>
                  <a:lnTo>
                    <a:pt x="110" y="6"/>
                  </a:lnTo>
                  <a:lnTo>
                    <a:pt x="116" y="12"/>
                  </a:lnTo>
                  <a:lnTo>
                    <a:pt x="122" y="16"/>
                  </a:lnTo>
                  <a:lnTo>
                    <a:pt x="120" y="18"/>
                  </a:lnTo>
                  <a:lnTo>
                    <a:pt x="120" y="20"/>
                  </a:lnTo>
                  <a:lnTo>
                    <a:pt x="120" y="26"/>
                  </a:lnTo>
                  <a:lnTo>
                    <a:pt x="124" y="32"/>
                  </a:lnTo>
                  <a:lnTo>
                    <a:pt x="124" y="38"/>
                  </a:lnTo>
                  <a:lnTo>
                    <a:pt x="126" y="36"/>
                  </a:lnTo>
                  <a:lnTo>
                    <a:pt x="126" y="40"/>
                  </a:lnTo>
                  <a:lnTo>
                    <a:pt x="126" y="46"/>
                  </a:lnTo>
                  <a:lnTo>
                    <a:pt x="128" y="52"/>
                  </a:lnTo>
                  <a:lnTo>
                    <a:pt x="130" y="58"/>
                  </a:lnTo>
                  <a:lnTo>
                    <a:pt x="128" y="64"/>
                  </a:lnTo>
                  <a:lnTo>
                    <a:pt x="128" y="70"/>
                  </a:lnTo>
                  <a:lnTo>
                    <a:pt x="126" y="76"/>
                  </a:lnTo>
                  <a:lnTo>
                    <a:pt x="122" y="82"/>
                  </a:lnTo>
                  <a:lnTo>
                    <a:pt x="122" y="84"/>
                  </a:lnTo>
                  <a:lnTo>
                    <a:pt x="126" y="82"/>
                  </a:lnTo>
                  <a:lnTo>
                    <a:pt x="134" y="80"/>
                  </a:lnTo>
                  <a:lnTo>
                    <a:pt x="140" y="84"/>
                  </a:lnTo>
                  <a:lnTo>
                    <a:pt x="144" y="90"/>
                  </a:lnTo>
                  <a:lnTo>
                    <a:pt x="144" y="96"/>
                  </a:lnTo>
                  <a:lnTo>
                    <a:pt x="146" y="94"/>
                  </a:lnTo>
                  <a:lnTo>
                    <a:pt x="152" y="92"/>
                  </a:lnTo>
                  <a:lnTo>
                    <a:pt x="156" y="90"/>
                  </a:lnTo>
                  <a:lnTo>
                    <a:pt x="162" y="88"/>
                  </a:lnTo>
                  <a:lnTo>
                    <a:pt x="162" y="82"/>
                  </a:lnTo>
                  <a:lnTo>
                    <a:pt x="168" y="76"/>
                  </a:lnTo>
                  <a:lnTo>
                    <a:pt x="168" y="70"/>
                  </a:lnTo>
                  <a:lnTo>
                    <a:pt x="170" y="68"/>
                  </a:lnTo>
                  <a:lnTo>
                    <a:pt x="172" y="60"/>
                  </a:lnTo>
                  <a:lnTo>
                    <a:pt x="178" y="62"/>
                  </a:lnTo>
                  <a:lnTo>
                    <a:pt x="180" y="62"/>
                  </a:lnTo>
                  <a:lnTo>
                    <a:pt x="178" y="66"/>
                  </a:lnTo>
                  <a:lnTo>
                    <a:pt x="184" y="70"/>
                  </a:lnTo>
                  <a:lnTo>
                    <a:pt x="186" y="72"/>
                  </a:lnTo>
                  <a:lnTo>
                    <a:pt x="188" y="78"/>
                  </a:lnTo>
                  <a:lnTo>
                    <a:pt x="188" y="84"/>
                  </a:lnTo>
                  <a:lnTo>
                    <a:pt x="190" y="90"/>
                  </a:lnTo>
                  <a:lnTo>
                    <a:pt x="192" y="96"/>
                  </a:lnTo>
                  <a:lnTo>
                    <a:pt x="194" y="102"/>
                  </a:lnTo>
                  <a:lnTo>
                    <a:pt x="194" y="108"/>
                  </a:lnTo>
                  <a:lnTo>
                    <a:pt x="192" y="114"/>
                  </a:lnTo>
                  <a:lnTo>
                    <a:pt x="192" y="120"/>
                  </a:lnTo>
                  <a:lnTo>
                    <a:pt x="192" y="126"/>
                  </a:lnTo>
                  <a:lnTo>
                    <a:pt x="188" y="132"/>
                  </a:lnTo>
                  <a:lnTo>
                    <a:pt x="186" y="134"/>
                  </a:lnTo>
                  <a:lnTo>
                    <a:pt x="180" y="136"/>
                  </a:lnTo>
                  <a:lnTo>
                    <a:pt x="176" y="142"/>
                  </a:lnTo>
                  <a:lnTo>
                    <a:pt x="176" y="144"/>
                  </a:lnTo>
                  <a:lnTo>
                    <a:pt x="180" y="146"/>
                  </a:lnTo>
                  <a:lnTo>
                    <a:pt x="182" y="148"/>
                  </a:lnTo>
                  <a:lnTo>
                    <a:pt x="188" y="148"/>
                  </a:lnTo>
                  <a:lnTo>
                    <a:pt x="186" y="154"/>
                  </a:lnTo>
                  <a:lnTo>
                    <a:pt x="192" y="154"/>
                  </a:lnTo>
                  <a:lnTo>
                    <a:pt x="198" y="158"/>
                  </a:lnTo>
                  <a:lnTo>
                    <a:pt x="204" y="160"/>
                  </a:lnTo>
                  <a:lnTo>
                    <a:pt x="210" y="156"/>
                  </a:lnTo>
                  <a:lnTo>
                    <a:pt x="216" y="160"/>
                  </a:lnTo>
                  <a:lnTo>
                    <a:pt x="222" y="164"/>
                  </a:lnTo>
                  <a:lnTo>
                    <a:pt x="220" y="170"/>
                  </a:lnTo>
                  <a:lnTo>
                    <a:pt x="226" y="176"/>
                  </a:lnTo>
                  <a:lnTo>
                    <a:pt x="226" y="182"/>
                  </a:lnTo>
                  <a:lnTo>
                    <a:pt x="232" y="182"/>
                  </a:lnTo>
                  <a:lnTo>
                    <a:pt x="238" y="186"/>
                  </a:lnTo>
                  <a:lnTo>
                    <a:pt x="244" y="192"/>
                  </a:lnTo>
                  <a:lnTo>
                    <a:pt x="246" y="198"/>
                  </a:lnTo>
                  <a:lnTo>
                    <a:pt x="248" y="204"/>
                  </a:lnTo>
                  <a:lnTo>
                    <a:pt x="248" y="210"/>
                  </a:lnTo>
                  <a:lnTo>
                    <a:pt x="248" y="216"/>
                  </a:lnTo>
                  <a:lnTo>
                    <a:pt x="248" y="222"/>
                  </a:lnTo>
                  <a:lnTo>
                    <a:pt x="248" y="228"/>
                  </a:lnTo>
                  <a:lnTo>
                    <a:pt x="248" y="230"/>
                  </a:lnTo>
                  <a:lnTo>
                    <a:pt x="244" y="228"/>
                  </a:lnTo>
                  <a:lnTo>
                    <a:pt x="244" y="234"/>
                  </a:lnTo>
                  <a:lnTo>
                    <a:pt x="242" y="240"/>
                  </a:lnTo>
                  <a:lnTo>
                    <a:pt x="238" y="246"/>
                  </a:lnTo>
                  <a:lnTo>
                    <a:pt x="240" y="252"/>
                  </a:lnTo>
                  <a:lnTo>
                    <a:pt x="236" y="258"/>
                  </a:lnTo>
                  <a:lnTo>
                    <a:pt x="236" y="260"/>
                  </a:lnTo>
                  <a:lnTo>
                    <a:pt x="238" y="266"/>
                  </a:lnTo>
                  <a:lnTo>
                    <a:pt x="238" y="272"/>
                  </a:lnTo>
                  <a:lnTo>
                    <a:pt x="238" y="278"/>
                  </a:lnTo>
                  <a:lnTo>
                    <a:pt x="238" y="284"/>
                  </a:lnTo>
                  <a:lnTo>
                    <a:pt x="238" y="288"/>
                  </a:lnTo>
                  <a:lnTo>
                    <a:pt x="240" y="292"/>
                  </a:lnTo>
                  <a:lnTo>
                    <a:pt x="234" y="292"/>
                  </a:lnTo>
                  <a:lnTo>
                    <a:pt x="228" y="292"/>
                  </a:lnTo>
                  <a:lnTo>
                    <a:pt x="226" y="290"/>
                  </a:lnTo>
                  <a:lnTo>
                    <a:pt x="220" y="286"/>
                  </a:lnTo>
                  <a:lnTo>
                    <a:pt x="214" y="284"/>
                  </a:lnTo>
                  <a:lnTo>
                    <a:pt x="210" y="280"/>
                  </a:lnTo>
                  <a:lnTo>
                    <a:pt x="204" y="278"/>
                  </a:lnTo>
                  <a:lnTo>
                    <a:pt x="198" y="278"/>
                  </a:lnTo>
                  <a:lnTo>
                    <a:pt x="192" y="272"/>
                  </a:lnTo>
                  <a:lnTo>
                    <a:pt x="186" y="270"/>
                  </a:lnTo>
                  <a:lnTo>
                    <a:pt x="180" y="266"/>
                  </a:lnTo>
                  <a:lnTo>
                    <a:pt x="174" y="262"/>
                  </a:lnTo>
                  <a:lnTo>
                    <a:pt x="168" y="260"/>
                  </a:lnTo>
                  <a:lnTo>
                    <a:pt x="166" y="258"/>
                  </a:lnTo>
                  <a:lnTo>
                    <a:pt x="160" y="254"/>
                  </a:lnTo>
                  <a:lnTo>
                    <a:pt x="154" y="250"/>
                  </a:lnTo>
                  <a:lnTo>
                    <a:pt x="148" y="248"/>
                  </a:lnTo>
                  <a:lnTo>
                    <a:pt x="142" y="244"/>
                  </a:lnTo>
                  <a:lnTo>
                    <a:pt x="136" y="240"/>
                  </a:lnTo>
                  <a:lnTo>
                    <a:pt x="130" y="234"/>
                  </a:lnTo>
                  <a:lnTo>
                    <a:pt x="124" y="228"/>
                  </a:lnTo>
                  <a:lnTo>
                    <a:pt x="120" y="222"/>
                  </a:lnTo>
                  <a:lnTo>
                    <a:pt x="114" y="216"/>
                  </a:lnTo>
                  <a:lnTo>
                    <a:pt x="112" y="212"/>
                  </a:lnTo>
                  <a:lnTo>
                    <a:pt x="106" y="208"/>
                  </a:lnTo>
                  <a:lnTo>
                    <a:pt x="100" y="202"/>
                  </a:lnTo>
                  <a:lnTo>
                    <a:pt x="96" y="196"/>
                  </a:lnTo>
                  <a:lnTo>
                    <a:pt x="90" y="190"/>
                  </a:lnTo>
                  <a:lnTo>
                    <a:pt x="88" y="190"/>
                  </a:lnTo>
                  <a:lnTo>
                    <a:pt x="86" y="184"/>
                  </a:lnTo>
                  <a:lnTo>
                    <a:pt x="84" y="184"/>
                  </a:lnTo>
                  <a:lnTo>
                    <a:pt x="78" y="180"/>
                  </a:lnTo>
                  <a:lnTo>
                    <a:pt x="74" y="174"/>
                  </a:lnTo>
                  <a:lnTo>
                    <a:pt x="68" y="168"/>
                  </a:lnTo>
                  <a:lnTo>
                    <a:pt x="62" y="166"/>
                  </a:lnTo>
                  <a:lnTo>
                    <a:pt x="56" y="166"/>
                  </a:lnTo>
                  <a:lnTo>
                    <a:pt x="50" y="164"/>
                  </a:lnTo>
                  <a:lnTo>
                    <a:pt x="48" y="162"/>
                  </a:lnTo>
                  <a:lnTo>
                    <a:pt x="42" y="158"/>
                  </a:lnTo>
                  <a:lnTo>
                    <a:pt x="42" y="152"/>
                  </a:lnTo>
                  <a:lnTo>
                    <a:pt x="44" y="150"/>
                  </a:lnTo>
                  <a:lnTo>
                    <a:pt x="42" y="152"/>
                  </a:lnTo>
                  <a:lnTo>
                    <a:pt x="40" y="150"/>
                  </a:lnTo>
                  <a:lnTo>
                    <a:pt x="36" y="144"/>
                  </a:lnTo>
                  <a:lnTo>
                    <a:pt x="30" y="140"/>
                  </a:lnTo>
                  <a:lnTo>
                    <a:pt x="24" y="138"/>
                  </a:lnTo>
                  <a:lnTo>
                    <a:pt x="20" y="136"/>
                  </a:lnTo>
                  <a:lnTo>
                    <a:pt x="14" y="134"/>
                  </a:lnTo>
                  <a:lnTo>
                    <a:pt x="8" y="130"/>
                  </a:lnTo>
                  <a:lnTo>
                    <a:pt x="6" y="124"/>
                  </a:lnTo>
                  <a:lnTo>
                    <a:pt x="4" y="118"/>
                  </a:lnTo>
                  <a:lnTo>
                    <a:pt x="0" y="1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1" name="Freeform 228"/>
            <p:cNvSpPr>
              <a:spLocks/>
            </p:cNvSpPr>
            <p:nvPr/>
          </p:nvSpPr>
          <p:spPr bwMode="auto">
            <a:xfrm>
              <a:off x="4591050" y="3932238"/>
              <a:ext cx="323850" cy="250825"/>
            </a:xfrm>
            <a:custGeom>
              <a:avLst/>
              <a:gdLst>
                <a:gd name="T0" fmla="*/ 2147483647 w 796"/>
                <a:gd name="T1" fmla="*/ 2147483647 h 608"/>
                <a:gd name="T2" fmla="*/ 2147483647 w 796"/>
                <a:gd name="T3" fmla="*/ 2147483647 h 608"/>
                <a:gd name="T4" fmla="*/ 2147483647 w 796"/>
                <a:gd name="T5" fmla="*/ 2147483647 h 608"/>
                <a:gd name="T6" fmla="*/ 2147483647 w 796"/>
                <a:gd name="T7" fmla="*/ 2147483647 h 608"/>
                <a:gd name="T8" fmla="*/ 2147483647 w 796"/>
                <a:gd name="T9" fmla="*/ 2147483647 h 608"/>
                <a:gd name="T10" fmla="*/ 2147483647 w 796"/>
                <a:gd name="T11" fmla="*/ 2147483647 h 608"/>
                <a:gd name="T12" fmla="*/ 2147483647 w 796"/>
                <a:gd name="T13" fmla="*/ 2147483647 h 608"/>
                <a:gd name="T14" fmla="*/ 2147483647 w 796"/>
                <a:gd name="T15" fmla="*/ 2147483647 h 608"/>
                <a:gd name="T16" fmla="*/ 2147483647 w 796"/>
                <a:gd name="T17" fmla="*/ 2147483647 h 608"/>
                <a:gd name="T18" fmla="*/ 2147483647 w 796"/>
                <a:gd name="T19" fmla="*/ 2147483647 h 608"/>
                <a:gd name="T20" fmla="*/ 2147483647 w 796"/>
                <a:gd name="T21" fmla="*/ 2147483647 h 608"/>
                <a:gd name="T22" fmla="*/ 2147483647 w 796"/>
                <a:gd name="T23" fmla="*/ 2147483647 h 608"/>
                <a:gd name="T24" fmla="*/ 2147483647 w 796"/>
                <a:gd name="T25" fmla="*/ 2147483647 h 608"/>
                <a:gd name="T26" fmla="*/ 2147483647 w 796"/>
                <a:gd name="T27" fmla="*/ 2147483647 h 608"/>
                <a:gd name="T28" fmla="*/ 2147483647 w 796"/>
                <a:gd name="T29" fmla="*/ 2147483647 h 608"/>
                <a:gd name="T30" fmla="*/ 2147483647 w 796"/>
                <a:gd name="T31" fmla="*/ 2147483647 h 608"/>
                <a:gd name="T32" fmla="*/ 2147483647 w 796"/>
                <a:gd name="T33" fmla="*/ 2147483647 h 608"/>
                <a:gd name="T34" fmla="*/ 2147483647 w 796"/>
                <a:gd name="T35" fmla="*/ 2147483647 h 608"/>
                <a:gd name="T36" fmla="*/ 2147483647 w 796"/>
                <a:gd name="T37" fmla="*/ 2147483647 h 608"/>
                <a:gd name="T38" fmla="*/ 2147483647 w 796"/>
                <a:gd name="T39" fmla="*/ 2147483647 h 608"/>
                <a:gd name="T40" fmla="*/ 2147483647 w 796"/>
                <a:gd name="T41" fmla="*/ 2147483647 h 608"/>
                <a:gd name="T42" fmla="*/ 2147483647 w 796"/>
                <a:gd name="T43" fmla="*/ 2147483647 h 608"/>
                <a:gd name="T44" fmla="*/ 2147483647 w 796"/>
                <a:gd name="T45" fmla="*/ 2147483647 h 608"/>
                <a:gd name="T46" fmla="*/ 2147483647 w 796"/>
                <a:gd name="T47" fmla="*/ 2147483647 h 608"/>
                <a:gd name="T48" fmla="*/ 2147483647 w 796"/>
                <a:gd name="T49" fmla="*/ 2147483647 h 608"/>
                <a:gd name="T50" fmla="*/ 2147483647 w 796"/>
                <a:gd name="T51" fmla="*/ 2147483647 h 608"/>
                <a:gd name="T52" fmla="*/ 2147483647 w 796"/>
                <a:gd name="T53" fmla="*/ 2147483647 h 608"/>
                <a:gd name="T54" fmla="*/ 2147483647 w 796"/>
                <a:gd name="T55" fmla="*/ 2147483647 h 608"/>
                <a:gd name="T56" fmla="*/ 2147483647 w 796"/>
                <a:gd name="T57" fmla="*/ 2147483647 h 608"/>
                <a:gd name="T58" fmla="*/ 2147483647 w 796"/>
                <a:gd name="T59" fmla="*/ 2147483647 h 608"/>
                <a:gd name="T60" fmla="*/ 2147483647 w 796"/>
                <a:gd name="T61" fmla="*/ 2147483647 h 608"/>
                <a:gd name="T62" fmla="*/ 2147483647 w 796"/>
                <a:gd name="T63" fmla="*/ 2147483647 h 608"/>
                <a:gd name="T64" fmla="*/ 2147483647 w 796"/>
                <a:gd name="T65" fmla="*/ 2147483647 h 608"/>
                <a:gd name="T66" fmla="*/ 2147483647 w 796"/>
                <a:gd name="T67" fmla="*/ 2147483647 h 608"/>
                <a:gd name="T68" fmla="*/ 2147483647 w 796"/>
                <a:gd name="T69" fmla="*/ 2147483647 h 608"/>
                <a:gd name="T70" fmla="*/ 2147483647 w 796"/>
                <a:gd name="T71" fmla="*/ 2147483647 h 608"/>
                <a:gd name="T72" fmla="*/ 2147483647 w 796"/>
                <a:gd name="T73" fmla="*/ 2147483647 h 608"/>
                <a:gd name="T74" fmla="*/ 2147483647 w 796"/>
                <a:gd name="T75" fmla="*/ 2147483647 h 608"/>
                <a:gd name="T76" fmla="*/ 2147483647 w 796"/>
                <a:gd name="T77" fmla="*/ 2147483647 h 608"/>
                <a:gd name="T78" fmla="*/ 2147483647 w 796"/>
                <a:gd name="T79" fmla="*/ 2147483647 h 608"/>
                <a:gd name="T80" fmla="*/ 2147483647 w 796"/>
                <a:gd name="T81" fmla="*/ 2147483647 h 608"/>
                <a:gd name="T82" fmla="*/ 2147483647 w 796"/>
                <a:gd name="T83" fmla="*/ 2147483647 h 608"/>
                <a:gd name="T84" fmla="*/ 2147483647 w 796"/>
                <a:gd name="T85" fmla="*/ 2147483647 h 608"/>
                <a:gd name="T86" fmla="*/ 2147483647 w 796"/>
                <a:gd name="T87" fmla="*/ 2147483647 h 608"/>
                <a:gd name="T88" fmla="*/ 2147483647 w 796"/>
                <a:gd name="T89" fmla="*/ 2147483647 h 608"/>
                <a:gd name="T90" fmla="*/ 2147483647 w 796"/>
                <a:gd name="T91" fmla="*/ 2147483647 h 608"/>
                <a:gd name="T92" fmla="*/ 2147483647 w 796"/>
                <a:gd name="T93" fmla="*/ 2147483647 h 608"/>
                <a:gd name="T94" fmla="*/ 2147483647 w 796"/>
                <a:gd name="T95" fmla="*/ 2147483647 h 608"/>
                <a:gd name="T96" fmla="*/ 2147483647 w 796"/>
                <a:gd name="T97" fmla="*/ 2147483647 h 608"/>
                <a:gd name="T98" fmla="*/ 2147483647 w 796"/>
                <a:gd name="T99" fmla="*/ 2147483647 h 608"/>
                <a:gd name="T100" fmla="*/ 2147483647 w 796"/>
                <a:gd name="T101" fmla="*/ 2147483647 h 608"/>
                <a:gd name="T102" fmla="*/ 2147483647 w 796"/>
                <a:gd name="T103" fmla="*/ 2147483647 h 608"/>
                <a:gd name="T104" fmla="*/ 2147483647 w 796"/>
                <a:gd name="T105" fmla="*/ 2147483647 h 608"/>
                <a:gd name="T106" fmla="*/ 2147483647 w 796"/>
                <a:gd name="T107" fmla="*/ 2147483647 h 608"/>
                <a:gd name="T108" fmla="*/ 2147483647 w 796"/>
                <a:gd name="T109" fmla="*/ 2147483647 h 608"/>
                <a:gd name="T110" fmla="*/ 2147483647 w 796"/>
                <a:gd name="T111" fmla="*/ 2147483647 h 608"/>
                <a:gd name="T112" fmla="*/ 0 w 796"/>
                <a:gd name="T113" fmla="*/ 2147483647 h 60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96"/>
                <a:gd name="T172" fmla="*/ 0 h 608"/>
                <a:gd name="T173" fmla="*/ 796 w 796"/>
                <a:gd name="T174" fmla="*/ 608 h 60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96" h="608">
                  <a:moveTo>
                    <a:pt x="0" y="344"/>
                  </a:moveTo>
                  <a:lnTo>
                    <a:pt x="0" y="342"/>
                  </a:lnTo>
                  <a:lnTo>
                    <a:pt x="0" y="340"/>
                  </a:lnTo>
                  <a:lnTo>
                    <a:pt x="2" y="340"/>
                  </a:lnTo>
                  <a:lnTo>
                    <a:pt x="8" y="332"/>
                  </a:lnTo>
                  <a:lnTo>
                    <a:pt x="14" y="330"/>
                  </a:lnTo>
                  <a:lnTo>
                    <a:pt x="22" y="326"/>
                  </a:lnTo>
                  <a:lnTo>
                    <a:pt x="24" y="320"/>
                  </a:lnTo>
                  <a:lnTo>
                    <a:pt x="28" y="312"/>
                  </a:lnTo>
                  <a:lnTo>
                    <a:pt x="28" y="304"/>
                  </a:lnTo>
                  <a:lnTo>
                    <a:pt x="32" y="298"/>
                  </a:lnTo>
                  <a:lnTo>
                    <a:pt x="36" y="294"/>
                  </a:lnTo>
                  <a:lnTo>
                    <a:pt x="38" y="294"/>
                  </a:lnTo>
                  <a:lnTo>
                    <a:pt x="40" y="288"/>
                  </a:lnTo>
                  <a:lnTo>
                    <a:pt x="42" y="282"/>
                  </a:lnTo>
                  <a:lnTo>
                    <a:pt x="44" y="276"/>
                  </a:lnTo>
                  <a:lnTo>
                    <a:pt x="48" y="270"/>
                  </a:lnTo>
                  <a:lnTo>
                    <a:pt x="48" y="264"/>
                  </a:lnTo>
                  <a:lnTo>
                    <a:pt x="50" y="260"/>
                  </a:lnTo>
                  <a:lnTo>
                    <a:pt x="52" y="258"/>
                  </a:lnTo>
                  <a:lnTo>
                    <a:pt x="58" y="252"/>
                  </a:lnTo>
                  <a:lnTo>
                    <a:pt x="62" y="246"/>
                  </a:lnTo>
                  <a:lnTo>
                    <a:pt x="66" y="240"/>
                  </a:lnTo>
                  <a:lnTo>
                    <a:pt x="68" y="242"/>
                  </a:lnTo>
                  <a:lnTo>
                    <a:pt x="74" y="242"/>
                  </a:lnTo>
                  <a:lnTo>
                    <a:pt x="80" y="244"/>
                  </a:lnTo>
                  <a:lnTo>
                    <a:pt x="86" y="244"/>
                  </a:lnTo>
                  <a:lnTo>
                    <a:pt x="92" y="244"/>
                  </a:lnTo>
                  <a:lnTo>
                    <a:pt x="98" y="240"/>
                  </a:lnTo>
                  <a:lnTo>
                    <a:pt x="104" y="236"/>
                  </a:lnTo>
                  <a:lnTo>
                    <a:pt x="108" y="236"/>
                  </a:lnTo>
                  <a:lnTo>
                    <a:pt x="114" y="232"/>
                  </a:lnTo>
                  <a:lnTo>
                    <a:pt x="120" y="230"/>
                  </a:lnTo>
                  <a:lnTo>
                    <a:pt x="120" y="224"/>
                  </a:lnTo>
                  <a:lnTo>
                    <a:pt x="126" y="218"/>
                  </a:lnTo>
                  <a:lnTo>
                    <a:pt x="130" y="216"/>
                  </a:lnTo>
                  <a:lnTo>
                    <a:pt x="130" y="220"/>
                  </a:lnTo>
                  <a:lnTo>
                    <a:pt x="134" y="226"/>
                  </a:lnTo>
                  <a:lnTo>
                    <a:pt x="136" y="232"/>
                  </a:lnTo>
                  <a:lnTo>
                    <a:pt x="140" y="234"/>
                  </a:lnTo>
                  <a:lnTo>
                    <a:pt x="146" y="240"/>
                  </a:lnTo>
                  <a:lnTo>
                    <a:pt x="150" y="234"/>
                  </a:lnTo>
                  <a:lnTo>
                    <a:pt x="156" y="232"/>
                  </a:lnTo>
                  <a:lnTo>
                    <a:pt x="162" y="228"/>
                  </a:lnTo>
                  <a:lnTo>
                    <a:pt x="168" y="226"/>
                  </a:lnTo>
                  <a:lnTo>
                    <a:pt x="172" y="222"/>
                  </a:lnTo>
                  <a:lnTo>
                    <a:pt x="176" y="218"/>
                  </a:lnTo>
                  <a:lnTo>
                    <a:pt x="184" y="216"/>
                  </a:lnTo>
                  <a:lnTo>
                    <a:pt x="188" y="212"/>
                  </a:lnTo>
                  <a:lnTo>
                    <a:pt x="194" y="210"/>
                  </a:lnTo>
                  <a:lnTo>
                    <a:pt x="200" y="210"/>
                  </a:lnTo>
                  <a:lnTo>
                    <a:pt x="206" y="210"/>
                  </a:lnTo>
                  <a:lnTo>
                    <a:pt x="212" y="210"/>
                  </a:lnTo>
                  <a:lnTo>
                    <a:pt x="218" y="208"/>
                  </a:lnTo>
                  <a:lnTo>
                    <a:pt x="224" y="206"/>
                  </a:lnTo>
                  <a:lnTo>
                    <a:pt x="230" y="206"/>
                  </a:lnTo>
                  <a:lnTo>
                    <a:pt x="236" y="206"/>
                  </a:lnTo>
                  <a:lnTo>
                    <a:pt x="242" y="206"/>
                  </a:lnTo>
                  <a:lnTo>
                    <a:pt x="248" y="206"/>
                  </a:lnTo>
                  <a:lnTo>
                    <a:pt x="256" y="204"/>
                  </a:lnTo>
                  <a:lnTo>
                    <a:pt x="256" y="198"/>
                  </a:lnTo>
                  <a:lnTo>
                    <a:pt x="262" y="192"/>
                  </a:lnTo>
                  <a:lnTo>
                    <a:pt x="264" y="190"/>
                  </a:lnTo>
                  <a:lnTo>
                    <a:pt x="270" y="186"/>
                  </a:lnTo>
                  <a:lnTo>
                    <a:pt x="274" y="180"/>
                  </a:lnTo>
                  <a:lnTo>
                    <a:pt x="278" y="174"/>
                  </a:lnTo>
                  <a:lnTo>
                    <a:pt x="282" y="168"/>
                  </a:lnTo>
                  <a:lnTo>
                    <a:pt x="286" y="162"/>
                  </a:lnTo>
                  <a:lnTo>
                    <a:pt x="286" y="160"/>
                  </a:lnTo>
                  <a:lnTo>
                    <a:pt x="280" y="156"/>
                  </a:lnTo>
                  <a:lnTo>
                    <a:pt x="274" y="152"/>
                  </a:lnTo>
                  <a:lnTo>
                    <a:pt x="272" y="150"/>
                  </a:lnTo>
                  <a:lnTo>
                    <a:pt x="274" y="146"/>
                  </a:lnTo>
                  <a:lnTo>
                    <a:pt x="278" y="142"/>
                  </a:lnTo>
                  <a:lnTo>
                    <a:pt x="286" y="138"/>
                  </a:lnTo>
                  <a:lnTo>
                    <a:pt x="288" y="138"/>
                  </a:lnTo>
                  <a:lnTo>
                    <a:pt x="290" y="138"/>
                  </a:lnTo>
                  <a:lnTo>
                    <a:pt x="294" y="138"/>
                  </a:lnTo>
                  <a:lnTo>
                    <a:pt x="300" y="138"/>
                  </a:lnTo>
                  <a:lnTo>
                    <a:pt x="306" y="138"/>
                  </a:lnTo>
                  <a:lnTo>
                    <a:pt x="312" y="138"/>
                  </a:lnTo>
                  <a:lnTo>
                    <a:pt x="318" y="138"/>
                  </a:lnTo>
                  <a:lnTo>
                    <a:pt x="324" y="136"/>
                  </a:lnTo>
                  <a:lnTo>
                    <a:pt x="330" y="136"/>
                  </a:lnTo>
                  <a:lnTo>
                    <a:pt x="336" y="134"/>
                  </a:lnTo>
                  <a:lnTo>
                    <a:pt x="340" y="132"/>
                  </a:lnTo>
                  <a:lnTo>
                    <a:pt x="344" y="130"/>
                  </a:lnTo>
                  <a:lnTo>
                    <a:pt x="350" y="130"/>
                  </a:lnTo>
                  <a:lnTo>
                    <a:pt x="356" y="130"/>
                  </a:lnTo>
                  <a:lnTo>
                    <a:pt x="362" y="132"/>
                  </a:lnTo>
                  <a:lnTo>
                    <a:pt x="368" y="126"/>
                  </a:lnTo>
                  <a:lnTo>
                    <a:pt x="370" y="120"/>
                  </a:lnTo>
                  <a:lnTo>
                    <a:pt x="376" y="118"/>
                  </a:lnTo>
                  <a:lnTo>
                    <a:pt x="384" y="112"/>
                  </a:lnTo>
                  <a:lnTo>
                    <a:pt x="388" y="110"/>
                  </a:lnTo>
                  <a:lnTo>
                    <a:pt x="390" y="108"/>
                  </a:lnTo>
                  <a:lnTo>
                    <a:pt x="396" y="100"/>
                  </a:lnTo>
                  <a:lnTo>
                    <a:pt x="400" y="96"/>
                  </a:lnTo>
                  <a:lnTo>
                    <a:pt x="400" y="88"/>
                  </a:lnTo>
                  <a:lnTo>
                    <a:pt x="406" y="86"/>
                  </a:lnTo>
                  <a:lnTo>
                    <a:pt x="406" y="84"/>
                  </a:lnTo>
                  <a:lnTo>
                    <a:pt x="410" y="78"/>
                  </a:lnTo>
                  <a:lnTo>
                    <a:pt x="412" y="76"/>
                  </a:lnTo>
                  <a:lnTo>
                    <a:pt x="418" y="72"/>
                  </a:lnTo>
                  <a:lnTo>
                    <a:pt x="424" y="70"/>
                  </a:lnTo>
                  <a:lnTo>
                    <a:pt x="424" y="68"/>
                  </a:lnTo>
                  <a:lnTo>
                    <a:pt x="428" y="62"/>
                  </a:lnTo>
                  <a:lnTo>
                    <a:pt x="430" y="58"/>
                  </a:lnTo>
                  <a:lnTo>
                    <a:pt x="436" y="54"/>
                  </a:lnTo>
                  <a:lnTo>
                    <a:pt x="442" y="50"/>
                  </a:lnTo>
                  <a:lnTo>
                    <a:pt x="444" y="44"/>
                  </a:lnTo>
                  <a:lnTo>
                    <a:pt x="444" y="38"/>
                  </a:lnTo>
                  <a:lnTo>
                    <a:pt x="442" y="32"/>
                  </a:lnTo>
                  <a:lnTo>
                    <a:pt x="442" y="26"/>
                  </a:lnTo>
                  <a:lnTo>
                    <a:pt x="448" y="22"/>
                  </a:lnTo>
                  <a:lnTo>
                    <a:pt x="454" y="20"/>
                  </a:lnTo>
                  <a:lnTo>
                    <a:pt x="460" y="18"/>
                  </a:lnTo>
                  <a:lnTo>
                    <a:pt x="466" y="12"/>
                  </a:lnTo>
                  <a:lnTo>
                    <a:pt x="472" y="12"/>
                  </a:lnTo>
                  <a:lnTo>
                    <a:pt x="476" y="6"/>
                  </a:lnTo>
                  <a:lnTo>
                    <a:pt x="482" y="4"/>
                  </a:lnTo>
                  <a:lnTo>
                    <a:pt x="488" y="0"/>
                  </a:lnTo>
                  <a:lnTo>
                    <a:pt x="494" y="2"/>
                  </a:lnTo>
                  <a:lnTo>
                    <a:pt x="500" y="2"/>
                  </a:lnTo>
                  <a:lnTo>
                    <a:pt x="506" y="4"/>
                  </a:lnTo>
                  <a:lnTo>
                    <a:pt x="512" y="6"/>
                  </a:lnTo>
                  <a:lnTo>
                    <a:pt x="514" y="6"/>
                  </a:lnTo>
                  <a:lnTo>
                    <a:pt x="516" y="12"/>
                  </a:lnTo>
                  <a:lnTo>
                    <a:pt x="520" y="18"/>
                  </a:lnTo>
                  <a:lnTo>
                    <a:pt x="526" y="24"/>
                  </a:lnTo>
                  <a:lnTo>
                    <a:pt x="532" y="30"/>
                  </a:lnTo>
                  <a:lnTo>
                    <a:pt x="536" y="36"/>
                  </a:lnTo>
                  <a:lnTo>
                    <a:pt x="538" y="38"/>
                  </a:lnTo>
                  <a:lnTo>
                    <a:pt x="544" y="44"/>
                  </a:lnTo>
                  <a:lnTo>
                    <a:pt x="546" y="50"/>
                  </a:lnTo>
                  <a:lnTo>
                    <a:pt x="550" y="56"/>
                  </a:lnTo>
                  <a:lnTo>
                    <a:pt x="552" y="62"/>
                  </a:lnTo>
                  <a:lnTo>
                    <a:pt x="556" y="68"/>
                  </a:lnTo>
                  <a:lnTo>
                    <a:pt x="556" y="70"/>
                  </a:lnTo>
                  <a:lnTo>
                    <a:pt x="560" y="76"/>
                  </a:lnTo>
                  <a:lnTo>
                    <a:pt x="562" y="82"/>
                  </a:lnTo>
                  <a:lnTo>
                    <a:pt x="564" y="88"/>
                  </a:lnTo>
                  <a:lnTo>
                    <a:pt x="564" y="94"/>
                  </a:lnTo>
                  <a:lnTo>
                    <a:pt x="562" y="100"/>
                  </a:lnTo>
                  <a:lnTo>
                    <a:pt x="560" y="106"/>
                  </a:lnTo>
                  <a:lnTo>
                    <a:pt x="562" y="112"/>
                  </a:lnTo>
                  <a:lnTo>
                    <a:pt x="562" y="118"/>
                  </a:lnTo>
                  <a:lnTo>
                    <a:pt x="558" y="124"/>
                  </a:lnTo>
                  <a:lnTo>
                    <a:pt x="552" y="126"/>
                  </a:lnTo>
                  <a:lnTo>
                    <a:pt x="550" y="130"/>
                  </a:lnTo>
                  <a:lnTo>
                    <a:pt x="550" y="136"/>
                  </a:lnTo>
                  <a:lnTo>
                    <a:pt x="550" y="140"/>
                  </a:lnTo>
                  <a:lnTo>
                    <a:pt x="556" y="138"/>
                  </a:lnTo>
                  <a:lnTo>
                    <a:pt x="558" y="144"/>
                  </a:lnTo>
                  <a:lnTo>
                    <a:pt x="556" y="150"/>
                  </a:lnTo>
                  <a:lnTo>
                    <a:pt x="552" y="156"/>
                  </a:lnTo>
                  <a:lnTo>
                    <a:pt x="560" y="158"/>
                  </a:lnTo>
                  <a:lnTo>
                    <a:pt x="566" y="158"/>
                  </a:lnTo>
                  <a:lnTo>
                    <a:pt x="572" y="158"/>
                  </a:lnTo>
                  <a:lnTo>
                    <a:pt x="578" y="158"/>
                  </a:lnTo>
                  <a:lnTo>
                    <a:pt x="584" y="160"/>
                  </a:lnTo>
                  <a:lnTo>
                    <a:pt x="590" y="160"/>
                  </a:lnTo>
                  <a:lnTo>
                    <a:pt x="594" y="160"/>
                  </a:lnTo>
                  <a:lnTo>
                    <a:pt x="598" y="166"/>
                  </a:lnTo>
                  <a:lnTo>
                    <a:pt x="596" y="172"/>
                  </a:lnTo>
                  <a:lnTo>
                    <a:pt x="592" y="178"/>
                  </a:lnTo>
                  <a:lnTo>
                    <a:pt x="592" y="184"/>
                  </a:lnTo>
                  <a:lnTo>
                    <a:pt x="600" y="188"/>
                  </a:lnTo>
                  <a:lnTo>
                    <a:pt x="604" y="190"/>
                  </a:lnTo>
                  <a:lnTo>
                    <a:pt x="610" y="190"/>
                  </a:lnTo>
                  <a:lnTo>
                    <a:pt x="616" y="194"/>
                  </a:lnTo>
                  <a:lnTo>
                    <a:pt x="622" y="192"/>
                  </a:lnTo>
                  <a:lnTo>
                    <a:pt x="628" y="194"/>
                  </a:lnTo>
                  <a:lnTo>
                    <a:pt x="634" y="196"/>
                  </a:lnTo>
                  <a:lnTo>
                    <a:pt x="636" y="196"/>
                  </a:lnTo>
                  <a:lnTo>
                    <a:pt x="642" y="202"/>
                  </a:lnTo>
                  <a:lnTo>
                    <a:pt x="642" y="208"/>
                  </a:lnTo>
                  <a:lnTo>
                    <a:pt x="644" y="210"/>
                  </a:lnTo>
                  <a:lnTo>
                    <a:pt x="650" y="216"/>
                  </a:lnTo>
                  <a:lnTo>
                    <a:pt x="656" y="214"/>
                  </a:lnTo>
                  <a:lnTo>
                    <a:pt x="660" y="222"/>
                  </a:lnTo>
                  <a:lnTo>
                    <a:pt x="662" y="226"/>
                  </a:lnTo>
                  <a:lnTo>
                    <a:pt x="662" y="232"/>
                  </a:lnTo>
                  <a:lnTo>
                    <a:pt x="656" y="236"/>
                  </a:lnTo>
                  <a:lnTo>
                    <a:pt x="658" y="242"/>
                  </a:lnTo>
                  <a:lnTo>
                    <a:pt x="662" y="246"/>
                  </a:lnTo>
                  <a:lnTo>
                    <a:pt x="666" y="252"/>
                  </a:lnTo>
                  <a:lnTo>
                    <a:pt x="672" y="256"/>
                  </a:lnTo>
                  <a:lnTo>
                    <a:pt x="678" y="258"/>
                  </a:lnTo>
                  <a:lnTo>
                    <a:pt x="684" y="264"/>
                  </a:lnTo>
                  <a:lnTo>
                    <a:pt x="690" y="266"/>
                  </a:lnTo>
                  <a:lnTo>
                    <a:pt x="696" y="270"/>
                  </a:lnTo>
                  <a:lnTo>
                    <a:pt x="702" y="274"/>
                  </a:lnTo>
                  <a:lnTo>
                    <a:pt x="710" y="278"/>
                  </a:lnTo>
                  <a:lnTo>
                    <a:pt x="710" y="284"/>
                  </a:lnTo>
                  <a:lnTo>
                    <a:pt x="714" y="290"/>
                  </a:lnTo>
                  <a:lnTo>
                    <a:pt x="720" y="294"/>
                  </a:lnTo>
                  <a:lnTo>
                    <a:pt x="726" y="298"/>
                  </a:lnTo>
                  <a:lnTo>
                    <a:pt x="730" y="302"/>
                  </a:lnTo>
                  <a:lnTo>
                    <a:pt x="728" y="308"/>
                  </a:lnTo>
                  <a:lnTo>
                    <a:pt x="724" y="314"/>
                  </a:lnTo>
                  <a:lnTo>
                    <a:pt x="726" y="320"/>
                  </a:lnTo>
                  <a:lnTo>
                    <a:pt x="732" y="326"/>
                  </a:lnTo>
                  <a:lnTo>
                    <a:pt x="738" y="332"/>
                  </a:lnTo>
                  <a:lnTo>
                    <a:pt x="734" y="336"/>
                  </a:lnTo>
                  <a:lnTo>
                    <a:pt x="740" y="344"/>
                  </a:lnTo>
                  <a:lnTo>
                    <a:pt x="746" y="346"/>
                  </a:lnTo>
                  <a:lnTo>
                    <a:pt x="752" y="346"/>
                  </a:lnTo>
                  <a:lnTo>
                    <a:pt x="758" y="352"/>
                  </a:lnTo>
                  <a:lnTo>
                    <a:pt x="764" y="354"/>
                  </a:lnTo>
                  <a:lnTo>
                    <a:pt x="768" y="358"/>
                  </a:lnTo>
                  <a:lnTo>
                    <a:pt x="774" y="362"/>
                  </a:lnTo>
                  <a:lnTo>
                    <a:pt x="780" y="368"/>
                  </a:lnTo>
                  <a:lnTo>
                    <a:pt x="782" y="374"/>
                  </a:lnTo>
                  <a:lnTo>
                    <a:pt x="784" y="380"/>
                  </a:lnTo>
                  <a:lnTo>
                    <a:pt x="782" y="386"/>
                  </a:lnTo>
                  <a:lnTo>
                    <a:pt x="782" y="388"/>
                  </a:lnTo>
                  <a:lnTo>
                    <a:pt x="784" y="394"/>
                  </a:lnTo>
                  <a:lnTo>
                    <a:pt x="786" y="400"/>
                  </a:lnTo>
                  <a:lnTo>
                    <a:pt x="792" y="404"/>
                  </a:lnTo>
                  <a:lnTo>
                    <a:pt x="796" y="412"/>
                  </a:lnTo>
                  <a:lnTo>
                    <a:pt x="796" y="414"/>
                  </a:lnTo>
                  <a:lnTo>
                    <a:pt x="790" y="408"/>
                  </a:lnTo>
                  <a:lnTo>
                    <a:pt x="784" y="406"/>
                  </a:lnTo>
                  <a:lnTo>
                    <a:pt x="778" y="402"/>
                  </a:lnTo>
                  <a:lnTo>
                    <a:pt x="772" y="402"/>
                  </a:lnTo>
                  <a:lnTo>
                    <a:pt x="766" y="404"/>
                  </a:lnTo>
                  <a:lnTo>
                    <a:pt x="760" y="412"/>
                  </a:lnTo>
                  <a:lnTo>
                    <a:pt x="756" y="412"/>
                  </a:lnTo>
                  <a:lnTo>
                    <a:pt x="750" y="410"/>
                  </a:lnTo>
                  <a:lnTo>
                    <a:pt x="744" y="410"/>
                  </a:lnTo>
                  <a:lnTo>
                    <a:pt x="738" y="412"/>
                  </a:lnTo>
                  <a:lnTo>
                    <a:pt x="732" y="406"/>
                  </a:lnTo>
                  <a:lnTo>
                    <a:pt x="726" y="406"/>
                  </a:lnTo>
                  <a:lnTo>
                    <a:pt x="720" y="402"/>
                  </a:lnTo>
                  <a:lnTo>
                    <a:pt x="714" y="400"/>
                  </a:lnTo>
                  <a:lnTo>
                    <a:pt x="708" y="402"/>
                  </a:lnTo>
                  <a:lnTo>
                    <a:pt x="702" y="402"/>
                  </a:lnTo>
                  <a:lnTo>
                    <a:pt x="696" y="402"/>
                  </a:lnTo>
                  <a:lnTo>
                    <a:pt x="690" y="398"/>
                  </a:lnTo>
                  <a:lnTo>
                    <a:pt x="686" y="394"/>
                  </a:lnTo>
                  <a:lnTo>
                    <a:pt x="680" y="390"/>
                  </a:lnTo>
                  <a:lnTo>
                    <a:pt x="676" y="392"/>
                  </a:lnTo>
                  <a:lnTo>
                    <a:pt x="670" y="394"/>
                  </a:lnTo>
                  <a:lnTo>
                    <a:pt x="666" y="400"/>
                  </a:lnTo>
                  <a:lnTo>
                    <a:pt x="668" y="406"/>
                  </a:lnTo>
                  <a:lnTo>
                    <a:pt x="666" y="412"/>
                  </a:lnTo>
                  <a:lnTo>
                    <a:pt x="660" y="416"/>
                  </a:lnTo>
                  <a:lnTo>
                    <a:pt x="658" y="416"/>
                  </a:lnTo>
                  <a:lnTo>
                    <a:pt x="656" y="416"/>
                  </a:lnTo>
                  <a:lnTo>
                    <a:pt x="654" y="416"/>
                  </a:lnTo>
                  <a:lnTo>
                    <a:pt x="648" y="418"/>
                  </a:lnTo>
                  <a:lnTo>
                    <a:pt x="646" y="418"/>
                  </a:lnTo>
                  <a:lnTo>
                    <a:pt x="640" y="418"/>
                  </a:lnTo>
                  <a:lnTo>
                    <a:pt x="634" y="420"/>
                  </a:lnTo>
                  <a:lnTo>
                    <a:pt x="628" y="422"/>
                  </a:lnTo>
                  <a:lnTo>
                    <a:pt x="622" y="416"/>
                  </a:lnTo>
                  <a:lnTo>
                    <a:pt x="616" y="410"/>
                  </a:lnTo>
                  <a:lnTo>
                    <a:pt x="614" y="408"/>
                  </a:lnTo>
                  <a:lnTo>
                    <a:pt x="608" y="408"/>
                  </a:lnTo>
                  <a:lnTo>
                    <a:pt x="608" y="414"/>
                  </a:lnTo>
                  <a:lnTo>
                    <a:pt x="604" y="416"/>
                  </a:lnTo>
                  <a:lnTo>
                    <a:pt x="596" y="420"/>
                  </a:lnTo>
                  <a:lnTo>
                    <a:pt x="590" y="422"/>
                  </a:lnTo>
                  <a:lnTo>
                    <a:pt x="586" y="424"/>
                  </a:lnTo>
                  <a:lnTo>
                    <a:pt x="580" y="428"/>
                  </a:lnTo>
                  <a:lnTo>
                    <a:pt x="578" y="428"/>
                  </a:lnTo>
                  <a:lnTo>
                    <a:pt x="572" y="430"/>
                  </a:lnTo>
                  <a:lnTo>
                    <a:pt x="566" y="432"/>
                  </a:lnTo>
                  <a:lnTo>
                    <a:pt x="560" y="434"/>
                  </a:lnTo>
                  <a:lnTo>
                    <a:pt x="554" y="438"/>
                  </a:lnTo>
                  <a:lnTo>
                    <a:pt x="548" y="444"/>
                  </a:lnTo>
                  <a:lnTo>
                    <a:pt x="542" y="442"/>
                  </a:lnTo>
                  <a:lnTo>
                    <a:pt x="536" y="438"/>
                  </a:lnTo>
                  <a:lnTo>
                    <a:pt x="532" y="434"/>
                  </a:lnTo>
                  <a:lnTo>
                    <a:pt x="528" y="434"/>
                  </a:lnTo>
                  <a:lnTo>
                    <a:pt x="522" y="428"/>
                  </a:lnTo>
                  <a:lnTo>
                    <a:pt x="518" y="428"/>
                  </a:lnTo>
                  <a:lnTo>
                    <a:pt x="516" y="434"/>
                  </a:lnTo>
                  <a:lnTo>
                    <a:pt x="514" y="436"/>
                  </a:lnTo>
                  <a:lnTo>
                    <a:pt x="508" y="440"/>
                  </a:lnTo>
                  <a:lnTo>
                    <a:pt x="508" y="442"/>
                  </a:lnTo>
                  <a:lnTo>
                    <a:pt x="506" y="448"/>
                  </a:lnTo>
                  <a:lnTo>
                    <a:pt x="500" y="452"/>
                  </a:lnTo>
                  <a:lnTo>
                    <a:pt x="500" y="458"/>
                  </a:lnTo>
                  <a:lnTo>
                    <a:pt x="498" y="464"/>
                  </a:lnTo>
                  <a:lnTo>
                    <a:pt x="496" y="470"/>
                  </a:lnTo>
                  <a:lnTo>
                    <a:pt x="492" y="474"/>
                  </a:lnTo>
                  <a:lnTo>
                    <a:pt x="490" y="474"/>
                  </a:lnTo>
                  <a:lnTo>
                    <a:pt x="490" y="476"/>
                  </a:lnTo>
                  <a:lnTo>
                    <a:pt x="484" y="476"/>
                  </a:lnTo>
                  <a:lnTo>
                    <a:pt x="476" y="474"/>
                  </a:lnTo>
                  <a:lnTo>
                    <a:pt x="472" y="472"/>
                  </a:lnTo>
                  <a:lnTo>
                    <a:pt x="470" y="470"/>
                  </a:lnTo>
                  <a:lnTo>
                    <a:pt x="466" y="470"/>
                  </a:lnTo>
                  <a:lnTo>
                    <a:pt x="460" y="468"/>
                  </a:lnTo>
                  <a:lnTo>
                    <a:pt x="454" y="468"/>
                  </a:lnTo>
                  <a:lnTo>
                    <a:pt x="448" y="464"/>
                  </a:lnTo>
                  <a:lnTo>
                    <a:pt x="442" y="464"/>
                  </a:lnTo>
                  <a:lnTo>
                    <a:pt x="436" y="468"/>
                  </a:lnTo>
                  <a:lnTo>
                    <a:pt x="430" y="466"/>
                  </a:lnTo>
                  <a:lnTo>
                    <a:pt x="426" y="466"/>
                  </a:lnTo>
                  <a:lnTo>
                    <a:pt x="422" y="464"/>
                  </a:lnTo>
                  <a:lnTo>
                    <a:pt x="416" y="464"/>
                  </a:lnTo>
                  <a:lnTo>
                    <a:pt x="410" y="462"/>
                  </a:lnTo>
                  <a:lnTo>
                    <a:pt x="404" y="456"/>
                  </a:lnTo>
                  <a:lnTo>
                    <a:pt x="398" y="454"/>
                  </a:lnTo>
                  <a:lnTo>
                    <a:pt x="392" y="454"/>
                  </a:lnTo>
                  <a:lnTo>
                    <a:pt x="386" y="456"/>
                  </a:lnTo>
                  <a:lnTo>
                    <a:pt x="380" y="456"/>
                  </a:lnTo>
                  <a:lnTo>
                    <a:pt x="374" y="454"/>
                  </a:lnTo>
                  <a:lnTo>
                    <a:pt x="368" y="448"/>
                  </a:lnTo>
                  <a:lnTo>
                    <a:pt x="368" y="442"/>
                  </a:lnTo>
                  <a:lnTo>
                    <a:pt x="364" y="436"/>
                  </a:lnTo>
                  <a:lnTo>
                    <a:pt x="358" y="430"/>
                  </a:lnTo>
                  <a:lnTo>
                    <a:pt x="354" y="426"/>
                  </a:lnTo>
                  <a:lnTo>
                    <a:pt x="346" y="422"/>
                  </a:lnTo>
                  <a:lnTo>
                    <a:pt x="340" y="418"/>
                  </a:lnTo>
                  <a:lnTo>
                    <a:pt x="334" y="416"/>
                  </a:lnTo>
                  <a:lnTo>
                    <a:pt x="332" y="412"/>
                  </a:lnTo>
                  <a:lnTo>
                    <a:pt x="326" y="408"/>
                  </a:lnTo>
                  <a:lnTo>
                    <a:pt x="320" y="406"/>
                  </a:lnTo>
                  <a:lnTo>
                    <a:pt x="314" y="406"/>
                  </a:lnTo>
                  <a:lnTo>
                    <a:pt x="308" y="406"/>
                  </a:lnTo>
                  <a:lnTo>
                    <a:pt x="302" y="408"/>
                  </a:lnTo>
                  <a:lnTo>
                    <a:pt x="296" y="414"/>
                  </a:lnTo>
                  <a:lnTo>
                    <a:pt x="294" y="416"/>
                  </a:lnTo>
                  <a:lnTo>
                    <a:pt x="288" y="420"/>
                  </a:lnTo>
                  <a:lnTo>
                    <a:pt x="286" y="420"/>
                  </a:lnTo>
                  <a:lnTo>
                    <a:pt x="282" y="426"/>
                  </a:lnTo>
                  <a:lnTo>
                    <a:pt x="280" y="432"/>
                  </a:lnTo>
                  <a:lnTo>
                    <a:pt x="276" y="438"/>
                  </a:lnTo>
                  <a:lnTo>
                    <a:pt x="270" y="444"/>
                  </a:lnTo>
                  <a:lnTo>
                    <a:pt x="268" y="450"/>
                  </a:lnTo>
                  <a:lnTo>
                    <a:pt x="266" y="456"/>
                  </a:lnTo>
                  <a:lnTo>
                    <a:pt x="260" y="460"/>
                  </a:lnTo>
                  <a:lnTo>
                    <a:pt x="254" y="460"/>
                  </a:lnTo>
                  <a:lnTo>
                    <a:pt x="252" y="464"/>
                  </a:lnTo>
                  <a:lnTo>
                    <a:pt x="256" y="468"/>
                  </a:lnTo>
                  <a:lnTo>
                    <a:pt x="256" y="474"/>
                  </a:lnTo>
                  <a:lnTo>
                    <a:pt x="258" y="480"/>
                  </a:lnTo>
                  <a:lnTo>
                    <a:pt x="258" y="486"/>
                  </a:lnTo>
                  <a:lnTo>
                    <a:pt x="256" y="492"/>
                  </a:lnTo>
                  <a:lnTo>
                    <a:pt x="256" y="494"/>
                  </a:lnTo>
                  <a:lnTo>
                    <a:pt x="256" y="500"/>
                  </a:lnTo>
                  <a:lnTo>
                    <a:pt x="256" y="506"/>
                  </a:lnTo>
                  <a:lnTo>
                    <a:pt x="256" y="508"/>
                  </a:lnTo>
                  <a:lnTo>
                    <a:pt x="256" y="510"/>
                  </a:lnTo>
                  <a:lnTo>
                    <a:pt x="256" y="516"/>
                  </a:lnTo>
                  <a:lnTo>
                    <a:pt x="256" y="520"/>
                  </a:lnTo>
                  <a:lnTo>
                    <a:pt x="252" y="514"/>
                  </a:lnTo>
                  <a:lnTo>
                    <a:pt x="246" y="512"/>
                  </a:lnTo>
                  <a:lnTo>
                    <a:pt x="240" y="514"/>
                  </a:lnTo>
                  <a:lnTo>
                    <a:pt x="234" y="516"/>
                  </a:lnTo>
                  <a:lnTo>
                    <a:pt x="228" y="518"/>
                  </a:lnTo>
                  <a:lnTo>
                    <a:pt x="222" y="514"/>
                  </a:lnTo>
                  <a:lnTo>
                    <a:pt x="218" y="516"/>
                  </a:lnTo>
                  <a:lnTo>
                    <a:pt x="212" y="516"/>
                  </a:lnTo>
                  <a:lnTo>
                    <a:pt x="206" y="512"/>
                  </a:lnTo>
                  <a:lnTo>
                    <a:pt x="200" y="510"/>
                  </a:lnTo>
                  <a:lnTo>
                    <a:pt x="192" y="510"/>
                  </a:lnTo>
                  <a:lnTo>
                    <a:pt x="188" y="504"/>
                  </a:lnTo>
                  <a:lnTo>
                    <a:pt x="184" y="506"/>
                  </a:lnTo>
                  <a:lnTo>
                    <a:pt x="178" y="512"/>
                  </a:lnTo>
                  <a:lnTo>
                    <a:pt x="172" y="514"/>
                  </a:lnTo>
                  <a:lnTo>
                    <a:pt x="166" y="514"/>
                  </a:lnTo>
                  <a:lnTo>
                    <a:pt x="160" y="516"/>
                  </a:lnTo>
                  <a:lnTo>
                    <a:pt x="154" y="516"/>
                  </a:lnTo>
                  <a:lnTo>
                    <a:pt x="148" y="518"/>
                  </a:lnTo>
                  <a:lnTo>
                    <a:pt x="142" y="516"/>
                  </a:lnTo>
                  <a:lnTo>
                    <a:pt x="136" y="518"/>
                  </a:lnTo>
                  <a:lnTo>
                    <a:pt x="132" y="524"/>
                  </a:lnTo>
                  <a:lnTo>
                    <a:pt x="132" y="526"/>
                  </a:lnTo>
                  <a:lnTo>
                    <a:pt x="130" y="532"/>
                  </a:lnTo>
                  <a:lnTo>
                    <a:pt x="128" y="538"/>
                  </a:lnTo>
                  <a:lnTo>
                    <a:pt x="126" y="544"/>
                  </a:lnTo>
                  <a:lnTo>
                    <a:pt x="128" y="550"/>
                  </a:lnTo>
                  <a:lnTo>
                    <a:pt x="126" y="556"/>
                  </a:lnTo>
                  <a:lnTo>
                    <a:pt x="128" y="562"/>
                  </a:lnTo>
                  <a:lnTo>
                    <a:pt x="126" y="568"/>
                  </a:lnTo>
                  <a:lnTo>
                    <a:pt x="124" y="574"/>
                  </a:lnTo>
                  <a:lnTo>
                    <a:pt x="122" y="580"/>
                  </a:lnTo>
                  <a:lnTo>
                    <a:pt x="118" y="586"/>
                  </a:lnTo>
                  <a:lnTo>
                    <a:pt x="116" y="592"/>
                  </a:lnTo>
                  <a:lnTo>
                    <a:pt x="114" y="598"/>
                  </a:lnTo>
                  <a:lnTo>
                    <a:pt x="112" y="604"/>
                  </a:lnTo>
                  <a:lnTo>
                    <a:pt x="110" y="608"/>
                  </a:lnTo>
                  <a:lnTo>
                    <a:pt x="108" y="604"/>
                  </a:lnTo>
                  <a:lnTo>
                    <a:pt x="104" y="598"/>
                  </a:lnTo>
                  <a:lnTo>
                    <a:pt x="104" y="592"/>
                  </a:lnTo>
                  <a:lnTo>
                    <a:pt x="102" y="586"/>
                  </a:lnTo>
                  <a:lnTo>
                    <a:pt x="104" y="580"/>
                  </a:lnTo>
                  <a:lnTo>
                    <a:pt x="104" y="574"/>
                  </a:lnTo>
                  <a:lnTo>
                    <a:pt x="102" y="570"/>
                  </a:lnTo>
                  <a:lnTo>
                    <a:pt x="104" y="566"/>
                  </a:lnTo>
                  <a:lnTo>
                    <a:pt x="102" y="558"/>
                  </a:lnTo>
                  <a:lnTo>
                    <a:pt x="96" y="552"/>
                  </a:lnTo>
                  <a:lnTo>
                    <a:pt x="94" y="546"/>
                  </a:lnTo>
                  <a:lnTo>
                    <a:pt x="88" y="546"/>
                  </a:lnTo>
                  <a:lnTo>
                    <a:pt x="82" y="544"/>
                  </a:lnTo>
                  <a:lnTo>
                    <a:pt x="78" y="538"/>
                  </a:lnTo>
                  <a:lnTo>
                    <a:pt x="74" y="532"/>
                  </a:lnTo>
                  <a:lnTo>
                    <a:pt x="68" y="526"/>
                  </a:lnTo>
                  <a:lnTo>
                    <a:pt x="62" y="520"/>
                  </a:lnTo>
                  <a:lnTo>
                    <a:pt x="58" y="514"/>
                  </a:lnTo>
                  <a:lnTo>
                    <a:pt x="52" y="508"/>
                  </a:lnTo>
                  <a:lnTo>
                    <a:pt x="48" y="502"/>
                  </a:lnTo>
                  <a:lnTo>
                    <a:pt x="44" y="496"/>
                  </a:lnTo>
                  <a:lnTo>
                    <a:pt x="40" y="490"/>
                  </a:lnTo>
                  <a:lnTo>
                    <a:pt x="42" y="484"/>
                  </a:lnTo>
                  <a:lnTo>
                    <a:pt x="48" y="482"/>
                  </a:lnTo>
                  <a:lnTo>
                    <a:pt x="44" y="478"/>
                  </a:lnTo>
                  <a:lnTo>
                    <a:pt x="42" y="474"/>
                  </a:lnTo>
                  <a:lnTo>
                    <a:pt x="40" y="468"/>
                  </a:lnTo>
                  <a:lnTo>
                    <a:pt x="38" y="462"/>
                  </a:lnTo>
                  <a:lnTo>
                    <a:pt x="36" y="456"/>
                  </a:lnTo>
                  <a:lnTo>
                    <a:pt x="34" y="454"/>
                  </a:lnTo>
                  <a:lnTo>
                    <a:pt x="28" y="450"/>
                  </a:lnTo>
                  <a:lnTo>
                    <a:pt x="22" y="446"/>
                  </a:lnTo>
                  <a:lnTo>
                    <a:pt x="18" y="440"/>
                  </a:lnTo>
                  <a:lnTo>
                    <a:pt x="18" y="434"/>
                  </a:lnTo>
                  <a:lnTo>
                    <a:pt x="18" y="428"/>
                  </a:lnTo>
                  <a:lnTo>
                    <a:pt x="18" y="422"/>
                  </a:lnTo>
                  <a:lnTo>
                    <a:pt x="16" y="416"/>
                  </a:lnTo>
                  <a:lnTo>
                    <a:pt x="16" y="414"/>
                  </a:lnTo>
                  <a:lnTo>
                    <a:pt x="16" y="408"/>
                  </a:lnTo>
                  <a:lnTo>
                    <a:pt x="14" y="402"/>
                  </a:lnTo>
                  <a:lnTo>
                    <a:pt x="12" y="400"/>
                  </a:lnTo>
                  <a:lnTo>
                    <a:pt x="6" y="396"/>
                  </a:lnTo>
                  <a:lnTo>
                    <a:pt x="8" y="394"/>
                  </a:lnTo>
                  <a:lnTo>
                    <a:pt x="10" y="388"/>
                  </a:lnTo>
                  <a:lnTo>
                    <a:pt x="12" y="382"/>
                  </a:lnTo>
                  <a:lnTo>
                    <a:pt x="10" y="376"/>
                  </a:lnTo>
                  <a:lnTo>
                    <a:pt x="12" y="370"/>
                  </a:lnTo>
                  <a:lnTo>
                    <a:pt x="12" y="364"/>
                  </a:lnTo>
                  <a:lnTo>
                    <a:pt x="12" y="358"/>
                  </a:lnTo>
                  <a:lnTo>
                    <a:pt x="10" y="352"/>
                  </a:lnTo>
                  <a:lnTo>
                    <a:pt x="8" y="352"/>
                  </a:lnTo>
                  <a:lnTo>
                    <a:pt x="2" y="350"/>
                  </a:lnTo>
                  <a:lnTo>
                    <a:pt x="0" y="3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2" name="Freeform 229"/>
            <p:cNvSpPr>
              <a:spLocks/>
            </p:cNvSpPr>
            <p:nvPr/>
          </p:nvSpPr>
          <p:spPr bwMode="auto">
            <a:xfrm>
              <a:off x="4252913" y="3894138"/>
              <a:ext cx="74612" cy="174625"/>
            </a:xfrm>
            <a:custGeom>
              <a:avLst/>
              <a:gdLst>
                <a:gd name="T0" fmla="*/ 2147483647 w 186"/>
                <a:gd name="T1" fmla="*/ 2147483647 h 428"/>
                <a:gd name="T2" fmla="*/ 2147483647 w 186"/>
                <a:gd name="T3" fmla="*/ 2147483647 h 428"/>
                <a:gd name="T4" fmla="*/ 2147483647 w 186"/>
                <a:gd name="T5" fmla="*/ 2147483647 h 428"/>
                <a:gd name="T6" fmla="*/ 2147483647 w 186"/>
                <a:gd name="T7" fmla="*/ 2147483647 h 428"/>
                <a:gd name="T8" fmla="*/ 2147483647 w 186"/>
                <a:gd name="T9" fmla="*/ 2147483647 h 428"/>
                <a:gd name="T10" fmla="*/ 2147483647 w 186"/>
                <a:gd name="T11" fmla="*/ 2147483647 h 428"/>
                <a:gd name="T12" fmla="*/ 2147483647 w 186"/>
                <a:gd name="T13" fmla="*/ 2147483647 h 428"/>
                <a:gd name="T14" fmla="*/ 2147483647 w 186"/>
                <a:gd name="T15" fmla="*/ 2147483647 h 428"/>
                <a:gd name="T16" fmla="*/ 2147483647 w 186"/>
                <a:gd name="T17" fmla="*/ 2147483647 h 428"/>
                <a:gd name="T18" fmla="*/ 2147483647 w 186"/>
                <a:gd name="T19" fmla="*/ 2147483647 h 428"/>
                <a:gd name="T20" fmla="*/ 2147483647 w 186"/>
                <a:gd name="T21" fmla="*/ 2147483647 h 428"/>
                <a:gd name="T22" fmla="*/ 2147483647 w 186"/>
                <a:gd name="T23" fmla="*/ 2147483647 h 428"/>
                <a:gd name="T24" fmla="*/ 2147483647 w 186"/>
                <a:gd name="T25" fmla="*/ 2147483647 h 428"/>
                <a:gd name="T26" fmla="*/ 2147483647 w 186"/>
                <a:gd name="T27" fmla="*/ 2147483647 h 428"/>
                <a:gd name="T28" fmla="*/ 2147483647 w 186"/>
                <a:gd name="T29" fmla="*/ 2147483647 h 428"/>
                <a:gd name="T30" fmla="*/ 2147483647 w 186"/>
                <a:gd name="T31" fmla="*/ 2147483647 h 428"/>
                <a:gd name="T32" fmla="*/ 2147483647 w 186"/>
                <a:gd name="T33" fmla="*/ 2147483647 h 428"/>
                <a:gd name="T34" fmla="*/ 2147483647 w 186"/>
                <a:gd name="T35" fmla="*/ 2147483647 h 428"/>
                <a:gd name="T36" fmla="*/ 2147483647 w 186"/>
                <a:gd name="T37" fmla="*/ 2147483647 h 428"/>
                <a:gd name="T38" fmla="*/ 2147483647 w 186"/>
                <a:gd name="T39" fmla="*/ 2147483647 h 428"/>
                <a:gd name="T40" fmla="*/ 2147483647 w 186"/>
                <a:gd name="T41" fmla="*/ 2147483647 h 428"/>
                <a:gd name="T42" fmla="*/ 2147483647 w 186"/>
                <a:gd name="T43" fmla="*/ 2147483647 h 428"/>
                <a:gd name="T44" fmla="*/ 2147483647 w 186"/>
                <a:gd name="T45" fmla="*/ 2147483647 h 428"/>
                <a:gd name="T46" fmla="*/ 2147483647 w 186"/>
                <a:gd name="T47" fmla="*/ 2147483647 h 428"/>
                <a:gd name="T48" fmla="*/ 2147483647 w 186"/>
                <a:gd name="T49" fmla="*/ 2147483647 h 428"/>
                <a:gd name="T50" fmla="*/ 2147483647 w 186"/>
                <a:gd name="T51" fmla="*/ 2147483647 h 428"/>
                <a:gd name="T52" fmla="*/ 2147483647 w 186"/>
                <a:gd name="T53" fmla="*/ 2147483647 h 428"/>
                <a:gd name="T54" fmla="*/ 2147483647 w 186"/>
                <a:gd name="T55" fmla="*/ 2147483647 h 428"/>
                <a:gd name="T56" fmla="*/ 2147483647 w 186"/>
                <a:gd name="T57" fmla="*/ 2147483647 h 428"/>
                <a:gd name="T58" fmla="*/ 2147483647 w 186"/>
                <a:gd name="T59" fmla="*/ 2147483647 h 428"/>
                <a:gd name="T60" fmla="*/ 2147483647 w 186"/>
                <a:gd name="T61" fmla="*/ 2147483647 h 428"/>
                <a:gd name="T62" fmla="*/ 2147483647 w 186"/>
                <a:gd name="T63" fmla="*/ 2147483647 h 428"/>
                <a:gd name="T64" fmla="*/ 2147483647 w 186"/>
                <a:gd name="T65" fmla="*/ 2147483647 h 428"/>
                <a:gd name="T66" fmla="*/ 2147483647 w 186"/>
                <a:gd name="T67" fmla="*/ 2147483647 h 428"/>
                <a:gd name="T68" fmla="*/ 2147483647 w 186"/>
                <a:gd name="T69" fmla="*/ 2147483647 h 428"/>
                <a:gd name="T70" fmla="*/ 2147483647 w 186"/>
                <a:gd name="T71" fmla="*/ 2147483647 h 428"/>
                <a:gd name="T72" fmla="*/ 2147483647 w 186"/>
                <a:gd name="T73" fmla="*/ 2147483647 h 428"/>
                <a:gd name="T74" fmla="*/ 2147483647 w 186"/>
                <a:gd name="T75" fmla="*/ 2147483647 h 428"/>
                <a:gd name="T76" fmla="*/ 2147483647 w 186"/>
                <a:gd name="T77" fmla="*/ 2147483647 h 428"/>
                <a:gd name="T78" fmla="*/ 2147483647 w 186"/>
                <a:gd name="T79" fmla="*/ 2147483647 h 428"/>
                <a:gd name="T80" fmla="*/ 2147483647 w 186"/>
                <a:gd name="T81" fmla="*/ 2147483647 h 428"/>
                <a:gd name="T82" fmla="*/ 2147483647 w 186"/>
                <a:gd name="T83" fmla="*/ 2147483647 h 428"/>
                <a:gd name="T84" fmla="*/ 2147483647 w 186"/>
                <a:gd name="T85" fmla="*/ 2147483647 h 428"/>
                <a:gd name="T86" fmla="*/ 2147483647 w 186"/>
                <a:gd name="T87" fmla="*/ 2147483647 h 428"/>
                <a:gd name="T88" fmla="*/ 2147483647 w 186"/>
                <a:gd name="T89" fmla="*/ 2147483647 h 428"/>
                <a:gd name="T90" fmla="*/ 2147483647 w 186"/>
                <a:gd name="T91" fmla="*/ 2147483647 h 428"/>
                <a:gd name="T92" fmla="*/ 2147483647 w 186"/>
                <a:gd name="T93" fmla="*/ 2147483647 h 428"/>
                <a:gd name="T94" fmla="*/ 2147483647 w 186"/>
                <a:gd name="T95" fmla="*/ 2147483647 h 428"/>
                <a:gd name="T96" fmla="*/ 2147483647 w 186"/>
                <a:gd name="T97" fmla="*/ 2147483647 h 428"/>
                <a:gd name="T98" fmla="*/ 2147483647 w 186"/>
                <a:gd name="T99" fmla="*/ 2147483647 h 428"/>
                <a:gd name="T100" fmla="*/ 0 w 186"/>
                <a:gd name="T101" fmla="*/ 2147483647 h 428"/>
                <a:gd name="T102" fmla="*/ 0 w 186"/>
                <a:gd name="T103" fmla="*/ 2147483647 h 42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6"/>
                <a:gd name="T157" fmla="*/ 0 h 428"/>
                <a:gd name="T158" fmla="*/ 186 w 186"/>
                <a:gd name="T159" fmla="*/ 428 h 42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6" h="428">
                  <a:moveTo>
                    <a:pt x="0" y="116"/>
                  </a:moveTo>
                  <a:lnTo>
                    <a:pt x="2" y="116"/>
                  </a:lnTo>
                  <a:lnTo>
                    <a:pt x="6" y="108"/>
                  </a:lnTo>
                  <a:lnTo>
                    <a:pt x="6" y="102"/>
                  </a:lnTo>
                  <a:lnTo>
                    <a:pt x="8" y="96"/>
                  </a:lnTo>
                  <a:lnTo>
                    <a:pt x="10" y="96"/>
                  </a:lnTo>
                  <a:lnTo>
                    <a:pt x="10" y="94"/>
                  </a:lnTo>
                  <a:lnTo>
                    <a:pt x="14" y="92"/>
                  </a:lnTo>
                  <a:lnTo>
                    <a:pt x="18" y="90"/>
                  </a:lnTo>
                  <a:lnTo>
                    <a:pt x="22" y="84"/>
                  </a:lnTo>
                  <a:lnTo>
                    <a:pt x="24" y="78"/>
                  </a:lnTo>
                  <a:lnTo>
                    <a:pt x="30" y="78"/>
                  </a:lnTo>
                  <a:lnTo>
                    <a:pt x="34" y="72"/>
                  </a:lnTo>
                  <a:lnTo>
                    <a:pt x="40" y="64"/>
                  </a:lnTo>
                  <a:lnTo>
                    <a:pt x="44" y="64"/>
                  </a:lnTo>
                  <a:lnTo>
                    <a:pt x="50" y="70"/>
                  </a:lnTo>
                  <a:lnTo>
                    <a:pt x="56" y="68"/>
                  </a:lnTo>
                  <a:lnTo>
                    <a:pt x="62" y="66"/>
                  </a:lnTo>
                  <a:lnTo>
                    <a:pt x="68" y="66"/>
                  </a:lnTo>
                  <a:lnTo>
                    <a:pt x="70" y="66"/>
                  </a:lnTo>
                  <a:lnTo>
                    <a:pt x="74" y="66"/>
                  </a:lnTo>
                  <a:lnTo>
                    <a:pt x="78" y="62"/>
                  </a:lnTo>
                  <a:lnTo>
                    <a:pt x="80" y="60"/>
                  </a:lnTo>
                  <a:lnTo>
                    <a:pt x="86" y="54"/>
                  </a:lnTo>
                  <a:lnTo>
                    <a:pt x="94" y="50"/>
                  </a:lnTo>
                  <a:lnTo>
                    <a:pt x="94" y="44"/>
                  </a:lnTo>
                  <a:lnTo>
                    <a:pt x="98" y="38"/>
                  </a:lnTo>
                  <a:lnTo>
                    <a:pt x="98" y="34"/>
                  </a:lnTo>
                  <a:lnTo>
                    <a:pt x="100" y="34"/>
                  </a:lnTo>
                  <a:lnTo>
                    <a:pt x="102" y="28"/>
                  </a:lnTo>
                  <a:lnTo>
                    <a:pt x="100" y="22"/>
                  </a:lnTo>
                  <a:lnTo>
                    <a:pt x="98" y="16"/>
                  </a:lnTo>
                  <a:lnTo>
                    <a:pt x="98" y="10"/>
                  </a:lnTo>
                  <a:lnTo>
                    <a:pt x="104" y="8"/>
                  </a:lnTo>
                  <a:lnTo>
                    <a:pt x="108" y="8"/>
                  </a:lnTo>
                  <a:lnTo>
                    <a:pt x="116" y="6"/>
                  </a:lnTo>
                  <a:lnTo>
                    <a:pt x="120" y="0"/>
                  </a:lnTo>
                  <a:lnTo>
                    <a:pt x="126" y="0"/>
                  </a:lnTo>
                  <a:lnTo>
                    <a:pt x="130" y="6"/>
                  </a:lnTo>
                  <a:lnTo>
                    <a:pt x="136" y="10"/>
                  </a:lnTo>
                  <a:lnTo>
                    <a:pt x="142" y="16"/>
                  </a:lnTo>
                  <a:lnTo>
                    <a:pt x="146" y="22"/>
                  </a:lnTo>
                  <a:lnTo>
                    <a:pt x="148" y="24"/>
                  </a:lnTo>
                  <a:lnTo>
                    <a:pt x="150" y="24"/>
                  </a:lnTo>
                  <a:lnTo>
                    <a:pt x="150" y="28"/>
                  </a:lnTo>
                  <a:lnTo>
                    <a:pt x="152" y="32"/>
                  </a:lnTo>
                  <a:lnTo>
                    <a:pt x="158" y="34"/>
                  </a:lnTo>
                  <a:lnTo>
                    <a:pt x="158" y="36"/>
                  </a:lnTo>
                  <a:lnTo>
                    <a:pt x="160" y="36"/>
                  </a:lnTo>
                  <a:lnTo>
                    <a:pt x="166" y="40"/>
                  </a:lnTo>
                  <a:lnTo>
                    <a:pt x="168" y="44"/>
                  </a:lnTo>
                  <a:lnTo>
                    <a:pt x="172" y="48"/>
                  </a:lnTo>
                  <a:lnTo>
                    <a:pt x="170" y="50"/>
                  </a:lnTo>
                  <a:lnTo>
                    <a:pt x="170" y="52"/>
                  </a:lnTo>
                  <a:lnTo>
                    <a:pt x="168" y="58"/>
                  </a:lnTo>
                  <a:lnTo>
                    <a:pt x="164" y="64"/>
                  </a:lnTo>
                  <a:lnTo>
                    <a:pt x="166" y="70"/>
                  </a:lnTo>
                  <a:lnTo>
                    <a:pt x="170" y="76"/>
                  </a:lnTo>
                  <a:lnTo>
                    <a:pt x="174" y="82"/>
                  </a:lnTo>
                  <a:lnTo>
                    <a:pt x="180" y="88"/>
                  </a:lnTo>
                  <a:lnTo>
                    <a:pt x="180" y="92"/>
                  </a:lnTo>
                  <a:lnTo>
                    <a:pt x="180" y="98"/>
                  </a:lnTo>
                  <a:lnTo>
                    <a:pt x="182" y="104"/>
                  </a:lnTo>
                  <a:lnTo>
                    <a:pt x="180" y="106"/>
                  </a:lnTo>
                  <a:lnTo>
                    <a:pt x="182" y="114"/>
                  </a:lnTo>
                  <a:lnTo>
                    <a:pt x="186" y="120"/>
                  </a:lnTo>
                  <a:lnTo>
                    <a:pt x="186" y="124"/>
                  </a:lnTo>
                  <a:lnTo>
                    <a:pt x="184" y="132"/>
                  </a:lnTo>
                  <a:lnTo>
                    <a:pt x="180" y="136"/>
                  </a:lnTo>
                  <a:lnTo>
                    <a:pt x="174" y="136"/>
                  </a:lnTo>
                  <a:lnTo>
                    <a:pt x="172" y="142"/>
                  </a:lnTo>
                  <a:lnTo>
                    <a:pt x="170" y="148"/>
                  </a:lnTo>
                  <a:lnTo>
                    <a:pt x="176" y="154"/>
                  </a:lnTo>
                  <a:lnTo>
                    <a:pt x="172" y="160"/>
                  </a:lnTo>
                  <a:lnTo>
                    <a:pt x="172" y="166"/>
                  </a:lnTo>
                  <a:lnTo>
                    <a:pt x="172" y="168"/>
                  </a:lnTo>
                  <a:lnTo>
                    <a:pt x="168" y="174"/>
                  </a:lnTo>
                  <a:lnTo>
                    <a:pt x="162" y="176"/>
                  </a:lnTo>
                  <a:lnTo>
                    <a:pt x="156" y="178"/>
                  </a:lnTo>
                  <a:lnTo>
                    <a:pt x="154" y="182"/>
                  </a:lnTo>
                  <a:lnTo>
                    <a:pt x="156" y="188"/>
                  </a:lnTo>
                  <a:lnTo>
                    <a:pt x="150" y="192"/>
                  </a:lnTo>
                  <a:lnTo>
                    <a:pt x="148" y="198"/>
                  </a:lnTo>
                  <a:lnTo>
                    <a:pt x="142" y="204"/>
                  </a:lnTo>
                  <a:lnTo>
                    <a:pt x="144" y="210"/>
                  </a:lnTo>
                  <a:lnTo>
                    <a:pt x="144" y="216"/>
                  </a:lnTo>
                  <a:lnTo>
                    <a:pt x="142" y="222"/>
                  </a:lnTo>
                  <a:lnTo>
                    <a:pt x="140" y="228"/>
                  </a:lnTo>
                  <a:lnTo>
                    <a:pt x="134" y="230"/>
                  </a:lnTo>
                  <a:lnTo>
                    <a:pt x="126" y="230"/>
                  </a:lnTo>
                  <a:lnTo>
                    <a:pt x="120" y="230"/>
                  </a:lnTo>
                  <a:lnTo>
                    <a:pt x="120" y="236"/>
                  </a:lnTo>
                  <a:lnTo>
                    <a:pt x="120" y="242"/>
                  </a:lnTo>
                  <a:lnTo>
                    <a:pt x="120" y="248"/>
                  </a:lnTo>
                  <a:lnTo>
                    <a:pt x="118" y="250"/>
                  </a:lnTo>
                  <a:lnTo>
                    <a:pt x="118" y="256"/>
                  </a:lnTo>
                  <a:lnTo>
                    <a:pt x="118" y="262"/>
                  </a:lnTo>
                  <a:lnTo>
                    <a:pt x="118" y="268"/>
                  </a:lnTo>
                  <a:lnTo>
                    <a:pt x="118" y="272"/>
                  </a:lnTo>
                  <a:lnTo>
                    <a:pt x="116" y="280"/>
                  </a:lnTo>
                  <a:lnTo>
                    <a:pt x="116" y="284"/>
                  </a:lnTo>
                  <a:lnTo>
                    <a:pt x="118" y="290"/>
                  </a:lnTo>
                  <a:lnTo>
                    <a:pt x="116" y="298"/>
                  </a:lnTo>
                  <a:lnTo>
                    <a:pt x="116" y="302"/>
                  </a:lnTo>
                  <a:lnTo>
                    <a:pt x="116" y="304"/>
                  </a:lnTo>
                  <a:lnTo>
                    <a:pt x="114" y="310"/>
                  </a:lnTo>
                  <a:lnTo>
                    <a:pt x="114" y="312"/>
                  </a:lnTo>
                  <a:lnTo>
                    <a:pt x="116" y="314"/>
                  </a:lnTo>
                  <a:lnTo>
                    <a:pt x="116" y="316"/>
                  </a:lnTo>
                  <a:lnTo>
                    <a:pt x="118" y="322"/>
                  </a:lnTo>
                  <a:lnTo>
                    <a:pt x="116" y="328"/>
                  </a:lnTo>
                  <a:lnTo>
                    <a:pt x="118" y="332"/>
                  </a:lnTo>
                  <a:lnTo>
                    <a:pt x="120" y="338"/>
                  </a:lnTo>
                  <a:lnTo>
                    <a:pt x="122" y="344"/>
                  </a:lnTo>
                  <a:lnTo>
                    <a:pt x="118" y="344"/>
                  </a:lnTo>
                  <a:lnTo>
                    <a:pt x="118" y="350"/>
                  </a:lnTo>
                  <a:lnTo>
                    <a:pt x="120" y="356"/>
                  </a:lnTo>
                  <a:lnTo>
                    <a:pt x="120" y="362"/>
                  </a:lnTo>
                  <a:lnTo>
                    <a:pt x="120" y="368"/>
                  </a:lnTo>
                  <a:lnTo>
                    <a:pt x="116" y="374"/>
                  </a:lnTo>
                  <a:lnTo>
                    <a:pt x="118" y="380"/>
                  </a:lnTo>
                  <a:lnTo>
                    <a:pt x="118" y="386"/>
                  </a:lnTo>
                  <a:lnTo>
                    <a:pt x="120" y="392"/>
                  </a:lnTo>
                  <a:lnTo>
                    <a:pt x="118" y="398"/>
                  </a:lnTo>
                  <a:lnTo>
                    <a:pt x="118" y="402"/>
                  </a:lnTo>
                  <a:lnTo>
                    <a:pt x="116" y="408"/>
                  </a:lnTo>
                  <a:lnTo>
                    <a:pt x="116" y="412"/>
                  </a:lnTo>
                  <a:lnTo>
                    <a:pt x="116" y="414"/>
                  </a:lnTo>
                  <a:lnTo>
                    <a:pt x="116" y="418"/>
                  </a:lnTo>
                  <a:lnTo>
                    <a:pt x="114" y="418"/>
                  </a:lnTo>
                  <a:lnTo>
                    <a:pt x="108" y="418"/>
                  </a:lnTo>
                  <a:lnTo>
                    <a:pt x="102" y="420"/>
                  </a:lnTo>
                  <a:lnTo>
                    <a:pt x="100" y="420"/>
                  </a:lnTo>
                  <a:lnTo>
                    <a:pt x="96" y="420"/>
                  </a:lnTo>
                  <a:lnTo>
                    <a:pt x="90" y="420"/>
                  </a:lnTo>
                  <a:lnTo>
                    <a:pt x="84" y="422"/>
                  </a:lnTo>
                  <a:lnTo>
                    <a:pt x="78" y="422"/>
                  </a:lnTo>
                  <a:lnTo>
                    <a:pt x="72" y="424"/>
                  </a:lnTo>
                  <a:lnTo>
                    <a:pt x="68" y="424"/>
                  </a:lnTo>
                  <a:lnTo>
                    <a:pt x="62" y="424"/>
                  </a:lnTo>
                  <a:lnTo>
                    <a:pt x="56" y="426"/>
                  </a:lnTo>
                  <a:lnTo>
                    <a:pt x="50" y="428"/>
                  </a:lnTo>
                  <a:lnTo>
                    <a:pt x="50" y="426"/>
                  </a:lnTo>
                  <a:lnTo>
                    <a:pt x="54" y="424"/>
                  </a:lnTo>
                  <a:lnTo>
                    <a:pt x="60" y="424"/>
                  </a:lnTo>
                  <a:lnTo>
                    <a:pt x="60" y="420"/>
                  </a:lnTo>
                  <a:lnTo>
                    <a:pt x="58" y="414"/>
                  </a:lnTo>
                  <a:lnTo>
                    <a:pt x="54" y="408"/>
                  </a:lnTo>
                  <a:lnTo>
                    <a:pt x="52" y="402"/>
                  </a:lnTo>
                  <a:lnTo>
                    <a:pt x="52" y="404"/>
                  </a:lnTo>
                  <a:lnTo>
                    <a:pt x="48" y="398"/>
                  </a:lnTo>
                  <a:lnTo>
                    <a:pt x="48" y="392"/>
                  </a:lnTo>
                  <a:lnTo>
                    <a:pt x="48" y="386"/>
                  </a:lnTo>
                  <a:lnTo>
                    <a:pt x="46" y="380"/>
                  </a:lnTo>
                  <a:lnTo>
                    <a:pt x="44" y="374"/>
                  </a:lnTo>
                  <a:lnTo>
                    <a:pt x="50" y="374"/>
                  </a:lnTo>
                  <a:lnTo>
                    <a:pt x="50" y="370"/>
                  </a:lnTo>
                  <a:lnTo>
                    <a:pt x="50" y="364"/>
                  </a:lnTo>
                  <a:lnTo>
                    <a:pt x="50" y="358"/>
                  </a:lnTo>
                  <a:lnTo>
                    <a:pt x="50" y="352"/>
                  </a:lnTo>
                  <a:lnTo>
                    <a:pt x="50" y="344"/>
                  </a:lnTo>
                  <a:lnTo>
                    <a:pt x="50" y="342"/>
                  </a:lnTo>
                  <a:lnTo>
                    <a:pt x="52" y="336"/>
                  </a:lnTo>
                  <a:lnTo>
                    <a:pt x="52" y="332"/>
                  </a:lnTo>
                  <a:lnTo>
                    <a:pt x="50" y="328"/>
                  </a:lnTo>
                  <a:lnTo>
                    <a:pt x="50" y="320"/>
                  </a:lnTo>
                  <a:lnTo>
                    <a:pt x="50" y="314"/>
                  </a:lnTo>
                  <a:lnTo>
                    <a:pt x="50" y="310"/>
                  </a:lnTo>
                  <a:lnTo>
                    <a:pt x="50" y="302"/>
                  </a:lnTo>
                  <a:lnTo>
                    <a:pt x="50" y="298"/>
                  </a:lnTo>
                  <a:lnTo>
                    <a:pt x="50" y="292"/>
                  </a:lnTo>
                  <a:lnTo>
                    <a:pt x="50" y="286"/>
                  </a:lnTo>
                  <a:lnTo>
                    <a:pt x="50" y="278"/>
                  </a:lnTo>
                  <a:lnTo>
                    <a:pt x="50" y="276"/>
                  </a:lnTo>
                  <a:lnTo>
                    <a:pt x="52" y="270"/>
                  </a:lnTo>
                  <a:lnTo>
                    <a:pt x="50" y="264"/>
                  </a:lnTo>
                  <a:lnTo>
                    <a:pt x="50" y="262"/>
                  </a:lnTo>
                  <a:lnTo>
                    <a:pt x="50" y="256"/>
                  </a:lnTo>
                  <a:lnTo>
                    <a:pt x="50" y="252"/>
                  </a:lnTo>
                  <a:lnTo>
                    <a:pt x="50" y="246"/>
                  </a:lnTo>
                  <a:lnTo>
                    <a:pt x="50" y="240"/>
                  </a:lnTo>
                  <a:lnTo>
                    <a:pt x="50" y="234"/>
                  </a:lnTo>
                  <a:lnTo>
                    <a:pt x="48" y="228"/>
                  </a:lnTo>
                  <a:lnTo>
                    <a:pt x="44" y="222"/>
                  </a:lnTo>
                  <a:lnTo>
                    <a:pt x="40" y="216"/>
                  </a:lnTo>
                  <a:lnTo>
                    <a:pt x="38" y="214"/>
                  </a:lnTo>
                  <a:lnTo>
                    <a:pt x="36" y="212"/>
                  </a:lnTo>
                  <a:lnTo>
                    <a:pt x="36" y="204"/>
                  </a:lnTo>
                  <a:lnTo>
                    <a:pt x="34" y="202"/>
                  </a:lnTo>
                  <a:lnTo>
                    <a:pt x="34" y="196"/>
                  </a:lnTo>
                  <a:lnTo>
                    <a:pt x="34" y="190"/>
                  </a:lnTo>
                  <a:lnTo>
                    <a:pt x="34" y="184"/>
                  </a:lnTo>
                  <a:lnTo>
                    <a:pt x="34" y="178"/>
                  </a:lnTo>
                  <a:lnTo>
                    <a:pt x="34" y="172"/>
                  </a:lnTo>
                  <a:lnTo>
                    <a:pt x="34" y="166"/>
                  </a:lnTo>
                  <a:lnTo>
                    <a:pt x="28" y="162"/>
                  </a:lnTo>
                  <a:lnTo>
                    <a:pt x="24" y="158"/>
                  </a:lnTo>
                  <a:lnTo>
                    <a:pt x="20" y="156"/>
                  </a:lnTo>
                  <a:lnTo>
                    <a:pt x="18" y="154"/>
                  </a:lnTo>
                  <a:lnTo>
                    <a:pt x="12" y="150"/>
                  </a:lnTo>
                  <a:lnTo>
                    <a:pt x="6" y="146"/>
                  </a:lnTo>
                  <a:lnTo>
                    <a:pt x="0" y="140"/>
                  </a:lnTo>
                  <a:lnTo>
                    <a:pt x="0" y="134"/>
                  </a:lnTo>
                  <a:lnTo>
                    <a:pt x="0" y="128"/>
                  </a:lnTo>
                  <a:lnTo>
                    <a:pt x="2" y="122"/>
                  </a:lnTo>
                  <a:lnTo>
                    <a:pt x="0" y="1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3" name="Freeform 230"/>
            <p:cNvSpPr>
              <a:spLocks/>
            </p:cNvSpPr>
            <p:nvPr/>
          </p:nvSpPr>
          <p:spPr bwMode="auto">
            <a:xfrm>
              <a:off x="4095750" y="3816350"/>
              <a:ext cx="196850" cy="161925"/>
            </a:xfrm>
            <a:custGeom>
              <a:avLst/>
              <a:gdLst>
                <a:gd name="T0" fmla="*/ 2147483647 w 482"/>
                <a:gd name="T1" fmla="*/ 2147483647 h 394"/>
                <a:gd name="T2" fmla="*/ 2147483647 w 482"/>
                <a:gd name="T3" fmla="*/ 2147483647 h 394"/>
                <a:gd name="T4" fmla="*/ 2147483647 w 482"/>
                <a:gd name="T5" fmla="*/ 2147483647 h 394"/>
                <a:gd name="T6" fmla="*/ 2147483647 w 482"/>
                <a:gd name="T7" fmla="*/ 2147483647 h 394"/>
                <a:gd name="T8" fmla="*/ 2147483647 w 482"/>
                <a:gd name="T9" fmla="*/ 2147483647 h 394"/>
                <a:gd name="T10" fmla="*/ 2147483647 w 482"/>
                <a:gd name="T11" fmla="*/ 2147483647 h 394"/>
                <a:gd name="T12" fmla="*/ 2147483647 w 482"/>
                <a:gd name="T13" fmla="*/ 2147483647 h 394"/>
                <a:gd name="T14" fmla="*/ 2147483647 w 482"/>
                <a:gd name="T15" fmla="*/ 2147483647 h 394"/>
                <a:gd name="T16" fmla="*/ 2147483647 w 482"/>
                <a:gd name="T17" fmla="*/ 2147483647 h 394"/>
                <a:gd name="T18" fmla="*/ 2147483647 w 482"/>
                <a:gd name="T19" fmla="*/ 2147483647 h 394"/>
                <a:gd name="T20" fmla="*/ 2147483647 w 482"/>
                <a:gd name="T21" fmla="*/ 2147483647 h 394"/>
                <a:gd name="T22" fmla="*/ 2147483647 w 482"/>
                <a:gd name="T23" fmla="*/ 2147483647 h 394"/>
                <a:gd name="T24" fmla="*/ 2147483647 w 482"/>
                <a:gd name="T25" fmla="*/ 2147483647 h 394"/>
                <a:gd name="T26" fmla="*/ 2147483647 w 482"/>
                <a:gd name="T27" fmla="*/ 2147483647 h 394"/>
                <a:gd name="T28" fmla="*/ 2147483647 w 482"/>
                <a:gd name="T29" fmla="*/ 2147483647 h 394"/>
                <a:gd name="T30" fmla="*/ 2147483647 w 482"/>
                <a:gd name="T31" fmla="*/ 2147483647 h 394"/>
                <a:gd name="T32" fmla="*/ 2147483647 w 482"/>
                <a:gd name="T33" fmla="*/ 2147483647 h 394"/>
                <a:gd name="T34" fmla="*/ 2147483647 w 482"/>
                <a:gd name="T35" fmla="*/ 2147483647 h 394"/>
                <a:gd name="T36" fmla="*/ 2147483647 w 482"/>
                <a:gd name="T37" fmla="*/ 2147483647 h 394"/>
                <a:gd name="T38" fmla="*/ 2147483647 w 482"/>
                <a:gd name="T39" fmla="*/ 2147483647 h 394"/>
                <a:gd name="T40" fmla="*/ 2147483647 w 482"/>
                <a:gd name="T41" fmla="*/ 0 h 394"/>
                <a:gd name="T42" fmla="*/ 2147483647 w 482"/>
                <a:gd name="T43" fmla="*/ 2147483647 h 394"/>
                <a:gd name="T44" fmla="*/ 2147483647 w 482"/>
                <a:gd name="T45" fmla="*/ 2147483647 h 394"/>
                <a:gd name="T46" fmla="*/ 2147483647 w 482"/>
                <a:gd name="T47" fmla="*/ 2147483647 h 394"/>
                <a:gd name="T48" fmla="*/ 2147483647 w 482"/>
                <a:gd name="T49" fmla="*/ 2147483647 h 394"/>
                <a:gd name="T50" fmla="*/ 2147483647 w 482"/>
                <a:gd name="T51" fmla="*/ 2147483647 h 394"/>
                <a:gd name="T52" fmla="*/ 2147483647 w 482"/>
                <a:gd name="T53" fmla="*/ 2147483647 h 394"/>
                <a:gd name="T54" fmla="*/ 2147483647 w 482"/>
                <a:gd name="T55" fmla="*/ 2147483647 h 394"/>
                <a:gd name="T56" fmla="*/ 2147483647 w 482"/>
                <a:gd name="T57" fmla="*/ 2147483647 h 394"/>
                <a:gd name="T58" fmla="*/ 2147483647 w 482"/>
                <a:gd name="T59" fmla="*/ 2147483647 h 394"/>
                <a:gd name="T60" fmla="*/ 2147483647 w 482"/>
                <a:gd name="T61" fmla="*/ 2147483647 h 394"/>
                <a:gd name="T62" fmla="*/ 2147483647 w 482"/>
                <a:gd name="T63" fmla="*/ 2147483647 h 394"/>
                <a:gd name="T64" fmla="*/ 2147483647 w 482"/>
                <a:gd name="T65" fmla="*/ 2147483647 h 394"/>
                <a:gd name="T66" fmla="*/ 2147483647 w 482"/>
                <a:gd name="T67" fmla="*/ 2147483647 h 394"/>
                <a:gd name="T68" fmla="*/ 2147483647 w 482"/>
                <a:gd name="T69" fmla="*/ 2147483647 h 394"/>
                <a:gd name="T70" fmla="*/ 2147483647 w 482"/>
                <a:gd name="T71" fmla="*/ 2147483647 h 394"/>
                <a:gd name="T72" fmla="*/ 2147483647 w 482"/>
                <a:gd name="T73" fmla="*/ 2147483647 h 394"/>
                <a:gd name="T74" fmla="*/ 2147483647 w 482"/>
                <a:gd name="T75" fmla="*/ 2147483647 h 394"/>
                <a:gd name="T76" fmla="*/ 2147483647 w 482"/>
                <a:gd name="T77" fmla="*/ 2147483647 h 394"/>
                <a:gd name="T78" fmla="*/ 2147483647 w 482"/>
                <a:gd name="T79" fmla="*/ 2147483647 h 394"/>
                <a:gd name="T80" fmla="*/ 2147483647 w 482"/>
                <a:gd name="T81" fmla="*/ 2147483647 h 394"/>
                <a:gd name="T82" fmla="*/ 2147483647 w 482"/>
                <a:gd name="T83" fmla="*/ 2147483647 h 394"/>
                <a:gd name="T84" fmla="*/ 2147483647 w 482"/>
                <a:gd name="T85" fmla="*/ 2147483647 h 394"/>
                <a:gd name="T86" fmla="*/ 2147483647 w 482"/>
                <a:gd name="T87" fmla="*/ 2147483647 h 394"/>
                <a:gd name="T88" fmla="*/ 2147483647 w 482"/>
                <a:gd name="T89" fmla="*/ 2147483647 h 394"/>
                <a:gd name="T90" fmla="*/ 2147483647 w 482"/>
                <a:gd name="T91" fmla="*/ 2147483647 h 394"/>
                <a:gd name="T92" fmla="*/ 2147483647 w 482"/>
                <a:gd name="T93" fmla="*/ 2147483647 h 394"/>
                <a:gd name="T94" fmla="*/ 2147483647 w 482"/>
                <a:gd name="T95" fmla="*/ 2147483647 h 394"/>
                <a:gd name="T96" fmla="*/ 2147483647 w 482"/>
                <a:gd name="T97" fmla="*/ 2147483647 h 394"/>
                <a:gd name="T98" fmla="*/ 2147483647 w 482"/>
                <a:gd name="T99" fmla="*/ 2147483647 h 394"/>
                <a:gd name="T100" fmla="*/ 2147483647 w 482"/>
                <a:gd name="T101" fmla="*/ 2147483647 h 394"/>
                <a:gd name="T102" fmla="*/ 2147483647 w 482"/>
                <a:gd name="T103" fmla="*/ 2147483647 h 394"/>
                <a:gd name="T104" fmla="*/ 2147483647 w 482"/>
                <a:gd name="T105" fmla="*/ 2147483647 h 394"/>
                <a:gd name="T106" fmla="*/ 2147483647 w 482"/>
                <a:gd name="T107" fmla="*/ 2147483647 h 394"/>
                <a:gd name="T108" fmla="*/ 2147483647 w 482"/>
                <a:gd name="T109" fmla="*/ 2147483647 h 394"/>
                <a:gd name="T110" fmla="*/ 2147483647 w 482"/>
                <a:gd name="T111" fmla="*/ 2147483647 h 394"/>
                <a:gd name="T112" fmla="*/ 2147483647 w 482"/>
                <a:gd name="T113" fmla="*/ 2147483647 h 394"/>
                <a:gd name="T114" fmla="*/ 2147483647 w 482"/>
                <a:gd name="T115" fmla="*/ 2147483647 h 394"/>
                <a:gd name="T116" fmla="*/ 2147483647 w 482"/>
                <a:gd name="T117" fmla="*/ 2147483647 h 394"/>
                <a:gd name="T118" fmla="*/ 0 w 482"/>
                <a:gd name="T119" fmla="*/ 2147483647 h 39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82"/>
                <a:gd name="T181" fmla="*/ 0 h 394"/>
                <a:gd name="T182" fmla="*/ 482 w 482"/>
                <a:gd name="T183" fmla="*/ 394 h 39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82" h="394">
                  <a:moveTo>
                    <a:pt x="0" y="322"/>
                  </a:moveTo>
                  <a:lnTo>
                    <a:pt x="0" y="318"/>
                  </a:lnTo>
                  <a:lnTo>
                    <a:pt x="2" y="314"/>
                  </a:lnTo>
                  <a:lnTo>
                    <a:pt x="4" y="308"/>
                  </a:lnTo>
                  <a:lnTo>
                    <a:pt x="4" y="302"/>
                  </a:lnTo>
                  <a:lnTo>
                    <a:pt x="6" y="296"/>
                  </a:lnTo>
                  <a:lnTo>
                    <a:pt x="4" y="290"/>
                  </a:lnTo>
                  <a:lnTo>
                    <a:pt x="4" y="284"/>
                  </a:lnTo>
                  <a:lnTo>
                    <a:pt x="2" y="278"/>
                  </a:lnTo>
                  <a:lnTo>
                    <a:pt x="8" y="276"/>
                  </a:lnTo>
                  <a:lnTo>
                    <a:pt x="12" y="276"/>
                  </a:lnTo>
                  <a:lnTo>
                    <a:pt x="14" y="270"/>
                  </a:lnTo>
                  <a:lnTo>
                    <a:pt x="18" y="264"/>
                  </a:lnTo>
                  <a:lnTo>
                    <a:pt x="18" y="258"/>
                  </a:lnTo>
                  <a:lnTo>
                    <a:pt x="20" y="250"/>
                  </a:lnTo>
                  <a:lnTo>
                    <a:pt x="20" y="246"/>
                  </a:lnTo>
                  <a:lnTo>
                    <a:pt x="14" y="240"/>
                  </a:lnTo>
                  <a:lnTo>
                    <a:pt x="16" y="234"/>
                  </a:lnTo>
                  <a:lnTo>
                    <a:pt x="14" y="228"/>
                  </a:lnTo>
                  <a:lnTo>
                    <a:pt x="8" y="226"/>
                  </a:lnTo>
                  <a:lnTo>
                    <a:pt x="14" y="224"/>
                  </a:lnTo>
                  <a:lnTo>
                    <a:pt x="20" y="220"/>
                  </a:lnTo>
                  <a:lnTo>
                    <a:pt x="26" y="216"/>
                  </a:lnTo>
                  <a:lnTo>
                    <a:pt x="32" y="214"/>
                  </a:lnTo>
                  <a:lnTo>
                    <a:pt x="34" y="214"/>
                  </a:lnTo>
                  <a:lnTo>
                    <a:pt x="40" y="212"/>
                  </a:lnTo>
                  <a:lnTo>
                    <a:pt x="48" y="212"/>
                  </a:lnTo>
                  <a:lnTo>
                    <a:pt x="52" y="208"/>
                  </a:lnTo>
                  <a:lnTo>
                    <a:pt x="54" y="208"/>
                  </a:lnTo>
                  <a:lnTo>
                    <a:pt x="56" y="208"/>
                  </a:lnTo>
                  <a:lnTo>
                    <a:pt x="60" y="204"/>
                  </a:lnTo>
                  <a:lnTo>
                    <a:pt x="62" y="198"/>
                  </a:lnTo>
                  <a:lnTo>
                    <a:pt x="64" y="192"/>
                  </a:lnTo>
                  <a:lnTo>
                    <a:pt x="68" y="186"/>
                  </a:lnTo>
                  <a:lnTo>
                    <a:pt x="70" y="180"/>
                  </a:lnTo>
                  <a:lnTo>
                    <a:pt x="70" y="174"/>
                  </a:lnTo>
                  <a:lnTo>
                    <a:pt x="66" y="168"/>
                  </a:lnTo>
                  <a:lnTo>
                    <a:pt x="66" y="162"/>
                  </a:lnTo>
                  <a:lnTo>
                    <a:pt x="72" y="162"/>
                  </a:lnTo>
                  <a:lnTo>
                    <a:pt x="78" y="164"/>
                  </a:lnTo>
                  <a:lnTo>
                    <a:pt x="82" y="158"/>
                  </a:lnTo>
                  <a:lnTo>
                    <a:pt x="82" y="152"/>
                  </a:lnTo>
                  <a:lnTo>
                    <a:pt x="80" y="146"/>
                  </a:lnTo>
                  <a:lnTo>
                    <a:pt x="76" y="140"/>
                  </a:lnTo>
                  <a:lnTo>
                    <a:pt x="76" y="138"/>
                  </a:lnTo>
                  <a:lnTo>
                    <a:pt x="76" y="132"/>
                  </a:lnTo>
                  <a:lnTo>
                    <a:pt x="82" y="132"/>
                  </a:lnTo>
                  <a:lnTo>
                    <a:pt x="82" y="126"/>
                  </a:lnTo>
                  <a:lnTo>
                    <a:pt x="88" y="120"/>
                  </a:lnTo>
                  <a:lnTo>
                    <a:pt x="94" y="114"/>
                  </a:lnTo>
                  <a:lnTo>
                    <a:pt x="98" y="110"/>
                  </a:lnTo>
                  <a:lnTo>
                    <a:pt x="98" y="114"/>
                  </a:lnTo>
                  <a:lnTo>
                    <a:pt x="104" y="118"/>
                  </a:lnTo>
                  <a:lnTo>
                    <a:pt x="108" y="120"/>
                  </a:lnTo>
                  <a:lnTo>
                    <a:pt x="114" y="124"/>
                  </a:lnTo>
                  <a:lnTo>
                    <a:pt x="120" y="130"/>
                  </a:lnTo>
                  <a:lnTo>
                    <a:pt x="126" y="132"/>
                  </a:lnTo>
                  <a:lnTo>
                    <a:pt x="128" y="132"/>
                  </a:lnTo>
                  <a:lnTo>
                    <a:pt x="130" y="128"/>
                  </a:lnTo>
                  <a:lnTo>
                    <a:pt x="128" y="124"/>
                  </a:lnTo>
                  <a:lnTo>
                    <a:pt x="134" y="124"/>
                  </a:lnTo>
                  <a:lnTo>
                    <a:pt x="140" y="124"/>
                  </a:lnTo>
                  <a:lnTo>
                    <a:pt x="140" y="118"/>
                  </a:lnTo>
                  <a:lnTo>
                    <a:pt x="140" y="112"/>
                  </a:lnTo>
                  <a:lnTo>
                    <a:pt x="140" y="106"/>
                  </a:lnTo>
                  <a:lnTo>
                    <a:pt x="140" y="100"/>
                  </a:lnTo>
                  <a:lnTo>
                    <a:pt x="140" y="96"/>
                  </a:lnTo>
                  <a:lnTo>
                    <a:pt x="144" y="96"/>
                  </a:lnTo>
                  <a:lnTo>
                    <a:pt x="150" y="96"/>
                  </a:lnTo>
                  <a:lnTo>
                    <a:pt x="156" y="100"/>
                  </a:lnTo>
                  <a:lnTo>
                    <a:pt x="158" y="100"/>
                  </a:lnTo>
                  <a:lnTo>
                    <a:pt x="162" y="94"/>
                  </a:lnTo>
                  <a:lnTo>
                    <a:pt x="162" y="88"/>
                  </a:lnTo>
                  <a:lnTo>
                    <a:pt x="164" y="82"/>
                  </a:lnTo>
                  <a:lnTo>
                    <a:pt x="166" y="74"/>
                  </a:lnTo>
                  <a:lnTo>
                    <a:pt x="172" y="68"/>
                  </a:lnTo>
                  <a:lnTo>
                    <a:pt x="178" y="64"/>
                  </a:lnTo>
                  <a:lnTo>
                    <a:pt x="184" y="58"/>
                  </a:lnTo>
                  <a:lnTo>
                    <a:pt x="190" y="56"/>
                  </a:lnTo>
                  <a:lnTo>
                    <a:pt x="196" y="58"/>
                  </a:lnTo>
                  <a:lnTo>
                    <a:pt x="204" y="60"/>
                  </a:lnTo>
                  <a:lnTo>
                    <a:pt x="210" y="64"/>
                  </a:lnTo>
                  <a:lnTo>
                    <a:pt x="216" y="62"/>
                  </a:lnTo>
                  <a:lnTo>
                    <a:pt x="216" y="56"/>
                  </a:lnTo>
                  <a:lnTo>
                    <a:pt x="218" y="50"/>
                  </a:lnTo>
                  <a:lnTo>
                    <a:pt x="218" y="46"/>
                  </a:lnTo>
                  <a:lnTo>
                    <a:pt x="230" y="42"/>
                  </a:lnTo>
                  <a:lnTo>
                    <a:pt x="236" y="40"/>
                  </a:lnTo>
                  <a:lnTo>
                    <a:pt x="248" y="32"/>
                  </a:lnTo>
                  <a:lnTo>
                    <a:pt x="254" y="28"/>
                  </a:lnTo>
                  <a:lnTo>
                    <a:pt x="256" y="26"/>
                  </a:lnTo>
                  <a:lnTo>
                    <a:pt x="262" y="24"/>
                  </a:lnTo>
                  <a:lnTo>
                    <a:pt x="268" y="22"/>
                  </a:lnTo>
                  <a:lnTo>
                    <a:pt x="274" y="20"/>
                  </a:lnTo>
                  <a:lnTo>
                    <a:pt x="276" y="20"/>
                  </a:lnTo>
                  <a:lnTo>
                    <a:pt x="286" y="8"/>
                  </a:lnTo>
                  <a:lnTo>
                    <a:pt x="288" y="6"/>
                  </a:lnTo>
                  <a:lnTo>
                    <a:pt x="294" y="0"/>
                  </a:lnTo>
                  <a:lnTo>
                    <a:pt x="296" y="0"/>
                  </a:lnTo>
                  <a:lnTo>
                    <a:pt x="308" y="0"/>
                  </a:lnTo>
                  <a:lnTo>
                    <a:pt x="314" y="4"/>
                  </a:lnTo>
                  <a:lnTo>
                    <a:pt x="324" y="0"/>
                  </a:lnTo>
                  <a:lnTo>
                    <a:pt x="338" y="6"/>
                  </a:lnTo>
                  <a:lnTo>
                    <a:pt x="340" y="6"/>
                  </a:lnTo>
                  <a:lnTo>
                    <a:pt x="352" y="12"/>
                  </a:lnTo>
                  <a:lnTo>
                    <a:pt x="352" y="14"/>
                  </a:lnTo>
                  <a:lnTo>
                    <a:pt x="352" y="20"/>
                  </a:lnTo>
                  <a:lnTo>
                    <a:pt x="352" y="26"/>
                  </a:lnTo>
                  <a:lnTo>
                    <a:pt x="350" y="32"/>
                  </a:lnTo>
                  <a:lnTo>
                    <a:pt x="348" y="38"/>
                  </a:lnTo>
                  <a:lnTo>
                    <a:pt x="352" y="44"/>
                  </a:lnTo>
                  <a:lnTo>
                    <a:pt x="352" y="46"/>
                  </a:lnTo>
                  <a:lnTo>
                    <a:pt x="358" y="50"/>
                  </a:lnTo>
                  <a:lnTo>
                    <a:pt x="362" y="56"/>
                  </a:lnTo>
                  <a:lnTo>
                    <a:pt x="362" y="62"/>
                  </a:lnTo>
                  <a:lnTo>
                    <a:pt x="362" y="68"/>
                  </a:lnTo>
                  <a:lnTo>
                    <a:pt x="364" y="74"/>
                  </a:lnTo>
                  <a:lnTo>
                    <a:pt x="366" y="78"/>
                  </a:lnTo>
                  <a:lnTo>
                    <a:pt x="368" y="84"/>
                  </a:lnTo>
                  <a:lnTo>
                    <a:pt x="374" y="90"/>
                  </a:lnTo>
                  <a:lnTo>
                    <a:pt x="376" y="90"/>
                  </a:lnTo>
                  <a:lnTo>
                    <a:pt x="376" y="96"/>
                  </a:lnTo>
                  <a:lnTo>
                    <a:pt x="382" y="96"/>
                  </a:lnTo>
                  <a:lnTo>
                    <a:pt x="386" y="100"/>
                  </a:lnTo>
                  <a:lnTo>
                    <a:pt x="392" y="102"/>
                  </a:lnTo>
                  <a:lnTo>
                    <a:pt x="398" y="106"/>
                  </a:lnTo>
                  <a:lnTo>
                    <a:pt x="400" y="112"/>
                  </a:lnTo>
                  <a:lnTo>
                    <a:pt x="406" y="116"/>
                  </a:lnTo>
                  <a:lnTo>
                    <a:pt x="408" y="116"/>
                  </a:lnTo>
                  <a:lnTo>
                    <a:pt x="412" y="116"/>
                  </a:lnTo>
                  <a:lnTo>
                    <a:pt x="416" y="120"/>
                  </a:lnTo>
                  <a:lnTo>
                    <a:pt x="410" y="120"/>
                  </a:lnTo>
                  <a:lnTo>
                    <a:pt x="408" y="122"/>
                  </a:lnTo>
                  <a:lnTo>
                    <a:pt x="406" y="122"/>
                  </a:lnTo>
                  <a:lnTo>
                    <a:pt x="400" y="118"/>
                  </a:lnTo>
                  <a:lnTo>
                    <a:pt x="398" y="124"/>
                  </a:lnTo>
                  <a:lnTo>
                    <a:pt x="398" y="130"/>
                  </a:lnTo>
                  <a:lnTo>
                    <a:pt x="398" y="136"/>
                  </a:lnTo>
                  <a:lnTo>
                    <a:pt x="398" y="138"/>
                  </a:lnTo>
                  <a:lnTo>
                    <a:pt x="404" y="144"/>
                  </a:lnTo>
                  <a:lnTo>
                    <a:pt x="410" y="148"/>
                  </a:lnTo>
                  <a:lnTo>
                    <a:pt x="416" y="154"/>
                  </a:lnTo>
                  <a:lnTo>
                    <a:pt x="418" y="154"/>
                  </a:lnTo>
                  <a:lnTo>
                    <a:pt x="418" y="156"/>
                  </a:lnTo>
                  <a:lnTo>
                    <a:pt x="424" y="162"/>
                  </a:lnTo>
                  <a:lnTo>
                    <a:pt x="430" y="166"/>
                  </a:lnTo>
                  <a:lnTo>
                    <a:pt x="434" y="170"/>
                  </a:lnTo>
                  <a:lnTo>
                    <a:pt x="440" y="170"/>
                  </a:lnTo>
                  <a:lnTo>
                    <a:pt x="446" y="170"/>
                  </a:lnTo>
                  <a:lnTo>
                    <a:pt x="452" y="168"/>
                  </a:lnTo>
                  <a:lnTo>
                    <a:pt x="458" y="162"/>
                  </a:lnTo>
                  <a:lnTo>
                    <a:pt x="462" y="164"/>
                  </a:lnTo>
                  <a:lnTo>
                    <a:pt x="466" y="166"/>
                  </a:lnTo>
                  <a:lnTo>
                    <a:pt x="470" y="170"/>
                  </a:lnTo>
                  <a:lnTo>
                    <a:pt x="472" y="176"/>
                  </a:lnTo>
                  <a:lnTo>
                    <a:pt x="474" y="182"/>
                  </a:lnTo>
                  <a:lnTo>
                    <a:pt x="468" y="184"/>
                  </a:lnTo>
                  <a:lnTo>
                    <a:pt x="462" y="186"/>
                  </a:lnTo>
                  <a:lnTo>
                    <a:pt x="466" y="194"/>
                  </a:lnTo>
                  <a:lnTo>
                    <a:pt x="468" y="200"/>
                  </a:lnTo>
                  <a:lnTo>
                    <a:pt x="472" y="206"/>
                  </a:lnTo>
                  <a:lnTo>
                    <a:pt x="474" y="208"/>
                  </a:lnTo>
                  <a:lnTo>
                    <a:pt x="478" y="212"/>
                  </a:lnTo>
                  <a:lnTo>
                    <a:pt x="482" y="220"/>
                  </a:lnTo>
                  <a:lnTo>
                    <a:pt x="482" y="224"/>
                  </a:lnTo>
                  <a:lnTo>
                    <a:pt x="478" y="230"/>
                  </a:lnTo>
                  <a:lnTo>
                    <a:pt x="478" y="236"/>
                  </a:lnTo>
                  <a:lnTo>
                    <a:pt x="470" y="240"/>
                  </a:lnTo>
                  <a:lnTo>
                    <a:pt x="464" y="246"/>
                  </a:lnTo>
                  <a:lnTo>
                    <a:pt x="462" y="248"/>
                  </a:lnTo>
                  <a:lnTo>
                    <a:pt x="458" y="252"/>
                  </a:lnTo>
                  <a:lnTo>
                    <a:pt x="454" y="252"/>
                  </a:lnTo>
                  <a:lnTo>
                    <a:pt x="452" y="252"/>
                  </a:lnTo>
                  <a:lnTo>
                    <a:pt x="446" y="252"/>
                  </a:lnTo>
                  <a:lnTo>
                    <a:pt x="440" y="254"/>
                  </a:lnTo>
                  <a:lnTo>
                    <a:pt x="434" y="256"/>
                  </a:lnTo>
                  <a:lnTo>
                    <a:pt x="428" y="250"/>
                  </a:lnTo>
                  <a:lnTo>
                    <a:pt x="424" y="250"/>
                  </a:lnTo>
                  <a:lnTo>
                    <a:pt x="418" y="258"/>
                  </a:lnTo>
                  <a:lnTo>
                    <a:pt x="414" y="264"/>
                  </a:lnTo>
                  <a:lnTo>
                    <a:pt x="408" y="264"/>
                  </a:lnTo>
                  <a:lnTo>
                    <a:pt x="406" y="270"/>
                  </a:lnTo>
                  <a:lnTo>
                    <a:pt x="402" y="276"/>
                  </a:lnTo>
                  <a:lnTo>
                    <a:pt x="398" y="278"/>
                  </a:lnTo>
                  <a:lnTo>
                    <a:pt x="394" y="280"/>
                  </a:lnTo>
                  <a:lnTo>
                    <a:pt x="394" y="282"/>
                  </a:lnTo>
                  <a:lnTo>
                    <a:pt x="392" y="282"/>
                  </a:lnTo>
                  <a:lnTo>
                    <a:pt x="386" y="282"/>
                  </a:lnTo>
                  <a:lnTo>
                    <a:pt x="382" y="282"/>
                  </a:lnTo>
                  <a:lnTo>
                    <a:pt x="376" y="284"/>
                  </a:lnTo>
                  <a:lnTo>
                    <a:pt x="368" y="286"/>
                  </a:lnTo>
                  <a:lnTo>
                    <a:pt x="362" y="280"/>
                  </a:lnTo>
                  <a:lnTo>
                    <a:pt x="356" y="280"/>
                  </a:lnTo>
                  <a:lnTo>
                    <a:pt x="350" y="278"/>
                  </a:lnTo>
                  <a:lnTo>
                    <a:pt x="344" y="276"/>
                  </a:lnTo>
                  <a:lnTo>
                    <a:pt x="338" y="276"/>
                  </a:lnTo>
                  <a:lnTo>
                    <a:pt x="336" y="276"/>
                  </a:lnTo>
                  <a:lnTo>
                    <a:pt x="330" y="274"/>
                  </a:lnTo>
                  <a:lnTo>
                    <a:pt x="326" y="272"/>
                  </a:lnTo>
                  <a:lnTo>
                    <a:pt x="322" y="272"/>
                  </a:lnTo>
                  <a:lnTo>
                    <a:pt x="318" y="274"/>
                  </a:lnTo>
                  <a:lnTo>
                    <a:pt x="314" y="278"/>
                  </a:lnTo>
                  <a:lnTo>
                    <a:pt x="308" y="280"/>
                  </a:lnTo>
                  <a:lnTo>
                    <a:pt x="306" y="282"/>
                  </a:lnTo>
                  <a:lnTo>
                    <a:pt x="298" y="288"/>
                  </a:lnTo>
                  <a:lnTo>
                    <a:pt x="294" y="282"/>
                  </a:lnTo>
                  <a:lnTo>
                    <a:pt x="288" y="282"/>
                  </a:lnTo>
                  <a:lnTo>
                    <a:pt x="282" y="284"/>
                  </a:lnTo>
                  <a:lnTo>
                    <a:pt x="276" y="282"/>
                  </a:lnTo>
                  <a:lnTo>
                    <a:pt x="270" y="282"/>
                  </a:lnTo>
                  <a:lnTo>
                    <a:pt x="268" y="282"/>
                  </a:lnTo>
                  <a:lnTo>
                    <a:pt x="262" y="282"/>
                  </a:lnTo>
                  <a:lnTo>
                    <a:pt x="256" y="282"/>
                  </a:lnTo>
                  <a:lnTo>
                    <a:pt x="250" y="280"/>
                  </a:lnTo>
                  <a:lnTo>
                    <a:pt x="244" y="280"/>
                  </a:lnTo>
                  <a:lnTo>
                    <a:pt x="238" y="282"/>
                  </a:lnTo>
                  <a:lnTo>
                    <a:pt x="230" y="282"/>
                  </a:lnTo>
                  <a:lnTo>
                    <a:pt x="224" y="282"/>
                  </a:lnTo>
                  <a:lnTo>
                    <a:pt x="220" y="282"/>
                  </a:lnTo>
                  <a:lnTo>
                    <a:pt x="214" y="282"/>
                  </a:lnTo>
                  <a:lnTo>
                    <a:pt x="210" y="282"/>
                  </a:lnTo>
                  <a:lnTo>
                    <a:pt x="204" y="282"/>
                  </a:lnTo>
                  <a:lnTo>
                    <a:pt x="198" y="282"/>
                  </a:lnTo>
                  <a:lnTo>
                    <a:pt x="192" y="282"/>
                  </a:lnTo>
                  <a:lnTo>
                    <a:pt x="186" y="282"/>
                  </a:lnTo>
                  <a:lnTo>
                    <a:pt x="180" y="282"/>
                  </a:lnTo>
                  <a:lnTo>
                    <a:pt x="174" y="284"/>
                  </a:lnTo>
                  <a:lnTo>
                    <a:pt x="170" y="282"/>
                  </a:lnTo>
                  <a:lnTo>
                    <a:pt x="164" y="282"/>
                  </a:lnTo>
                  <a:lnTo>
                    <a:pt x="164" y="288"/>
                  </a:lnTo>
                  <a:lnTo>
                    <a:pt x="162" y="294"/>
                  </a:lnTo>
                  <a:lnTo>
                    <a:pt x="160" y="300"/>
                  </a:lnTo>
                  <a:lnTo>
                    <a:pt x="158" y="302"/>
                  </a:lnTo>
                  <a:lnTo>
                    <a:pt x="158" y="308"/>
                  </a:lnTo>
                  <a:lnTo>
                    <a:pt x="160" y="314"/>
                  </a:lnTo>
                  <a:lnTo>
                    <a:pt x="162" y="320"/>
                  </a:lnTo>
                  <a:lnTo>
                    <a:pt x="164" y="326"/>
                  </a:lnTo>
                  <a:lnTo>
                    <a:pt x="166" y="332"/>
                  </a:lnTo>
                  <a:lnTo>
                    <a:pt x="166" y="338"/>
                  </a:lnTo>
                  <a:lnTo>
                    <a:pt x="166" y="344"/>
                  </a:lnTo>
                  <a:lnTo>
                    <a:pt x="166" y="350"/>
                  </a:lnTo>
                  <a:lnTo>
                    <a:pt x="166" y="352"/>
                  </a:lnTo>
                  <a:lnTo>
                    <a:pt x="168" y="358"/>
                  </a:lnTo>
                  <a:lnTo>
                    <a:pt x="168" y="364"/>
                  </a:lnTo>
                  <a:lnTo>
                    <a:pt x="166" y="370"/>
                  </a:lnTo>
                  <a:lnTo>
                    <a:pt x="168" y="376"/>
                  </a:lnTo>
                  <a:lnTo>
                    <a:pt x="166" y="382"/>
                  </a:lnTo>
                  <a:lnTo>
                    <a:pt x="172" y="388"/>
                  </a:lnTo>
                  <a:lnTo>
                    <a:pt x="168" y="394"/>
                  </a:lnTo>
                  <a:lnTo>
                    <a:pt x="162" y="388"/>
                  </a:lnTo>
                  <a:lnTo>
                    <a:pt x="158" y="382"/>
                  </a:lnTo>
                  <a:lnTo>
                    <a:pt x="156" y="376"/>
                  </a:lnTo>
                  <a:lnTo>
                    <a:pt x="154" y="370"/>
                  </a:lnTo>
                  <a:lnTo>
                    <a:pt x="148" y="368"/>
                  </a:lnTo>
                  <a:lnTo>
                    <a:pt x="144" y="362"/>
                  </a:lnTo>
                  <a:lnTo>
                    <a:pt x="142" y="356"/>
                  </a:lnTo>
                  <a:lnTo>
                    <a:pt x="136" y="362"/>
                  </a:lnTo>
                  <a:lnTo>
                    <a:pt x="130" y="358"/>
                  </a:lnTo>
                  <a:lnTo>
                    <a:pt x="126" y="358"/>
                  </a:lnTo>
                  <a:lnTo>
                    <a:pt x="120" y="356"/>
                  </a:lnTo>
                  <a:lnTo>
                    <a:pt x="114" y="356"/>
                  </a:lnTo>
                  <a:lnTo>
                    <a:pt x="110" y="356"/>
                  </a:lnTo>
                  <a:lnTo>
                    <a:pt x="104" y="358"/>
                  </a:lnTo>
                  <a:lnTo>
                    <a:pt x="98" y="360"/>
                  </a:lnTo>
                  <a:lnTo>
                    <a:pt x="92" y="364"/>
                  </a:lnTo>
                  <a:lnTo>
                    <a:pt x="86" y="364"/>
                  </a:lnTo>
                  <a:lnTo>
                    <a:pt x="80" y="368"/>
                  </a:lnTo>
                  <a:lnTo>
                    <a:pt x="74" y="372"/>
                  </a:lnTo>
                  <a:lnTo>
                    <a:pt x="72" y="378"/>
                  </a:lnTo>
                  <a:lnTo>
                    <a:pt x="72" y="380"/>
                  </a:lnTo>
                  <a:lnTo>
                    <a:pt x="68" y="378"/>
                  </a:lnTo>
                  <a:lnTo>
                    <a:pt x="62" y="376"/>
                  </a:lnTo>
                  <a:lnTo>
                    <a:pt x="56" y="372"/>
                  </a:lnTo>
                  <a:lnTo>
                    <a:pt x="56" y="370"/>
                  </a:lnTo>
                  <a:lnTo>
                    <a:pt x="48" y="372"/>
                  </a:lnTo>
                  <a:lnTo>
                    <a:pt x="44" y="366"/>
                  </a:lnTo>
                  <a:lnTo>
                    <a:pt x="40" y="360"/>
                  </a:lnTo>
                  <a:lnTo>
                    <a:pt x="34" y="358"/>
                  </a:lnTo>
                  <a:lnTo>
                    <a:pt x="32" y="352"/>
                  </a:lnTo>
                  <a:lnTo>
                    <a:pt x="32" y="348"/>
                  </a:lnTo>
                  <a:lnTo>
                    <a:pt x="28" y="342"/>
                  </a:lnTo>
                  <a:lnTo>
                    <a:pt x="26" y="340"/>
                  </a:lnTo>
                  <a:lnTo>
                    <a:pt x="24" y="338"/>
                  </a:lnTo>
                  <a:lnTo>
                    <a:pt x="20" y="332"/>
                  </a:lnTo>
                  <a:lnTo>
                    <a:pt x="14" y="330"/>
                  </a:lnTo>
                  <a:lnTo>
                    <a:pt x="8" y="332"/>
                  </a:lnTo>
                  <a:lnTo>
                    <a:pt x="2" y="328"/>
                  </a:lnTo>
                  <a:lnTo>
                    <a:pt x="0" y="3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4" name="Freeform 231"/>
            <p:cNvSpPr>
              <a:spLocks/>
            </p:cNvSpPr>
            <p:nvPr/>
          </p:nvSpPr>
          <p:spPr bwMode="auto">
            <a:xfrm>
              <a:off x="5284788" y="3705225"/>
              <a:ext cx="257175" cy="182563"/>
            </a:xfrm>
            <a:custGeom>
              <a:avLst/>
              <a:gdLst>
                <a:gd name="T0" fmla="*/ 2147483647 w 634"/>
                <a:gd name="T1" fmla="*/ 2147483647 h 444"/>
                <a:gd name="T2" fmla="*/ 2147483647 w 634"/>
                <a:gd name="T3" fmla="*/ 2147483647 h 444"/>
                <a:gd name="T4" fmla="*/ 2147483647 w 634"/>
                <a:gd name="T5" fmla="*/ 2147483647 h 444"/>
                <a:gd name="T6" fmla="*/ 2147483647 w 634"/>
                <a:gd name="T7" fmla="*/ 2147483647 h 444"/>
                <a:gd name="T8" fmla="*/ 2147483647 w 634"/>
                <a:gd name="T9" fmla="*/ 2147483647 h 444"/>
                <a:gd name="T10" fmla="*/ 2147483647 w 634"/>
                <a:gd name="T11" fmla="*/ 2147483647 h 444"/>
                <a:gd name="T12" fmla="*/ 2147483647 w 634"/>
                <a:gd name="T13" fmla="*/ 2147483647 h 444"/>
                <a:gd name="T14" fmla="*/ 2147483647 w 634"/>
                <a:gd name="T15" fmla="*/ 2147483647 h 444"/>
                <a:gd name="T16" fmla="*/ 2147483647 w 634"/>
                <a:gd name="T17" fmla="*/ 2147483647 h 444"/>
                <a:gd name="T18" fmla="*/ 2147483647 w 634"/>
                <a:gd name="T19" fmla="*/ 2147483647 h 444"/>
                <a:gd name="T20" fmla="*/ 2147483647 w 634"/>
                <a:gd name="T21" fmla="*/ 2147483647 h 444"/>
                <a:gd name="T22" fmla="*/ 2147483647 w 634"/>
                <a:gd name="T23" fmla="*/ 2147483647 h 444"/>
                <a:gd name="T24" fmla="*/ 2147483647 w 634"/>
                <a:gd name="T25" fmla="*/ 2147483647 h 444"/>
                <a:gd name="T26" fmla="*/ 2147483647 w 634"/>
                <a:gd name="T27" fmla="*/ 2147483647 h 444"/>
                <a:gd name="T28" fmla="*/ 2147483647 w 634"/>
                <a:gd name="T29" fmla="*/ 2147483647 h 444"/>
                <a:gd name="T30" fmla="*/ 2147483647 w 634"/>
                <a:gd name="T31" fmla="*/ 2147483647 h 444"/>
                <a:gd name="T32" fmla="*/ 2147483647 w 634"/>
                <a:gd name="T33" fmla="*/ 2147483647 h 444"/>
                <a:gd name="T34" fmla="*/ 2147483647 w 634"/>
                <a:gd name="T35" fmla="*/ 2147483647 h 444"/>
                <a:gd name="T36" fmla="*/ 2147483647 w 634"/>
                <a:gd name="T37" fmla="*/ 2147483647 h 444"/>
                <a:gd name="T38" fmla="*/ 2147483647 w 634"/>
                <a:gd name="T39" fmla="*/ 2147483647 h 444"/>
                <a:gd name="T40" fmla="*/ 2147483647 w 634"/>
                <a:gd name="T41" fmla="*/ 2147483647 h 444"/>
                <a:gd name="T42" fmla="*/ 2147483647 w 634"/>
                <a:gd name="T43" fmla="*/ 2147483647 h 444"/>
                <a:gd name="T44" fmla="*/ 2147483647 w 634"/>
                <a:gd name="T45" fmla="*/ 2147483647 h 444"/>
                <a:gd name="T46" fmla="*/ 2147483647 w 634"/>
                <a:gd name="T47" fmla="*/ 2147483647 h 444"/>
                <a:gd name="T48" fmla="*/ 2147483647 w 634"/>
                <a:gd name="T49" fmla="*/ 2147483647 h 444"/>
                <a:gd name="T50" fmla="*/ 2147483647 w 634"/>
                <a:gd name="T51" fmla="*/ 2147483647 h 444"/>
                <a:gd name="T52" fmla="*/ 2147483647 w 634"/>
                <a:gd name="T53" fmla="*/ 2147483647 h 444"/>
                <a:gd name="T54" fmla="*/ 2147483647 w 634"/>
                <a:gd name="T55" fmla="*/ 2147483647 h 444"/>
                <a:gd name="T56" fmla="*/ 2147483647 w 634"/>
                <a:gd name="T57" fmla="*/ 2147483647 h 444"/>
                <a:gd name="T58" fmla="*/ 2147483647 w 634"/>
                <a:gd name="T59" fmla="*/ 2147483647 h 444"/>
                <a:gd name="T60" fmla="*/ 2147483647 w 634"/>
                <a:gd name="T61" fmla="*/ 2147483647 h 444"/>
                <a:gd name="T62" fmla="*/ 2147483647 w 634"/>
                <a:gd name="T63" fmla="*/ 2147483647 h 444"/>
                <a:gd name="T64" fmla="*/ 2147483647 w 634"/>
                <a:gd name="T65" fmla="*/ 2147483647 h 444"/>
                <a:gd name="T66" fmla="*/ 2147483647 w 634"/>
                <a:gd name="T67" fmla="*/ 2147483647 h 444"/>
                <a:gd name="T68" fmla="*/ 2147483647 w 634"/>
                <a:gd name="T69" fmla="*/ 2147483647 h 444"/>
                <a:gd name="T70" fmla="*/ 2147483647 w 634"/>
                <a:gd name="T71" fmla="*/ 2147483647 h 444"/>
                <a:gd name="T72" fmla="*/ 2147483647 w 634"/>
                <a:gd name="T73" fmla="*/ 2147483647 h 444"/>
                <a:gd name="T74" fmla="*/ 2147483647 w 634"/>
                <a:gd name="T75" fmla="*/ 2147483647 h 444"/>
                <a:gd name="T76" fmla="*/ 2147483647 w 634"/>
                <a:gd name="T77" fmla="*/ 2147483647 h 444"/>
                <a:gd name="T78" fmla="*/ 2147483647 w 634"/>
                <a:gd name="T79" fmla="*/ 2147483647 h 444"/>
                <a:gd name="T80" fmla="*/ 2147483647 w 634"/>
                <a:gd name="T81" fmla="*/ 2147483647 h 444"/>
                <a:gd name="T82" fmla="*/ 2147483647 w 634"/>
                <a:gd name="T83" fmla="*/ 2147483647 h 444"/>
                <a:gd name="T84" fmla="*/ 2147483647 w 634"/>
                <a:gd name="T85" fmla="*/ 2147483647 h 444"/>
                <a:gd name="T86" fmla="*/ 2147483647 w 634"/>
                <a:gd name="T87" fmla="*/ 2147483647 h 444"/>
                <a:gd name="T88" fmla="*/ 2147483647 w 634"/>
                <a:gd name="T89" fmla="*/ 2147483647 h 444"/>
                <a:gd name="T90" fmla="*/ 2147483647 w 634"/>
                <a:gd name="T91" fmla="*/ 2147483647 h 444"/>
                <a:gd name="T92" fmla="*/ 2147483647 w 634"/>
                <a:gd name="T93" fmla="*/ 2147483647 h 444"/>
                <a:gd name="T94" fmla="*/ 2147483647 w 634"/>
                <a:gd name="T95" fmla="*/ 2147483647 h 444"/>
                <a:gd name="T96" fmla="*/ 2147483647 w 634"/>
                <a:gd name="T97" fmla="*/ 2147483647 h 444"/>
                <a:gd name="T98" fmla="*/ 2147483647 w 634"/>
                <a:gd name="T99" fmla="*/ 2147483647 h 444"/>
                <a:gd name="T100" fmla="*/ 2147483647 w 634"/>
                <a:gd name="T101" fmla="*/ 2147483647 h 444"/>
                <a:gd name="T102" fmla="*/ 2147483647 w 634"/>
                <a:gd name="T103" fmla="*/ 2147483647 h 444"/>
                <a:gd name="T104" fmla="*/ 2147483647 w 634"/>
                <a:gd name="T105" fmla="*/ 2147483647 h 444"/>
                <a:gd name="T106" fmla="*/ 2147483647 w 634"/>
                <a:gd name="T107" fmla="*/ 2147483647 h 444"/>
                <a:gd name="T108" fmla="*/ 2147483647 w 634"/>
                <a:gd name="T109" fmla="*/ 2147483647 h 444"/>
                <a:gd name="T110" fmla="*/ 2147483647 w 634"/>
                <a:gd name="T111" fmla="*/ 2147483647 h 444"/>
                <a:gd name="T112" fmla="*/ 2147483647 w 634"/>
                <a:gd name="T113" fmla="*/ 2147483647 h 4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34"/>
                <a:gd name="T172" fmla="*/ 0 h 444"/>
                <a:gd name="T173" fmla="*/ 634 w 634"/>
                <a:gd name="T174" fmla="*/ 444 h 4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34" h="444">
                  <a:moveTo>
                    <a:pt x="0" y="260"/>
                  </a:moveTo>
                  <a:lnTo>
                    <a:pt x="6" y="256"/>
                  </a:lnTo>
                  <a:lnTo>
                    <a:pt x="12" y="260"/>
                  </a:lnTo>
                  <a:lnTo>
                    <a:pt x="12" y="254"/>
                  </a:lnTo>
                  <a:lnTo>
                    <a:pt x="10" y="248"/>
                  </a:lnTo>
                  <a:lnTo>
                    <a:pt x="8" y="242"/>
                  </a:lnTo>
                  <a:lnTo>
                    <a:pt x="6" y="236"/>
                  </a:lnTo>
                  <a:lnTo>
                    <a:pt x="4" y="230"/>
                  </a:lnTo>
                  <a:lnTo>
                    <a:pt x="6" y="224"/>
                  </a:lnTo>
                  <a:lnTo>
                    <a:pt x="10" y="218"/>
                  </a:lnTo>
                  <a:lnTo>
                    <a:pt x="12" y="212"/>
                  </a:lnTo>
                  <a:lnTo>
                    <a:pt x="12" y="206"/>
                  </a:lnTo>
                  <a:lnTo>
                    <a:pt x="10" y="200"/>
                  </a:lnTo>
                  <a:lnTo>
                    <a:pt x="10" y="194"/>
                  </a:lnTo>
                  <a:lnTo>
                    <a:pt x="8" y="188"/>
                  </a:lnTo>
                  <a:lnTo>
                    <a:pt x="8" y="182"/>
                  </a:lnTo>
                  <a:lnTo>
                    <a:pt x="10" y="182"/>
                  </a:lnTo>
                  <a:lnTo>
                    <a:pt x="14" y="180"/>
                  </a:lnTo>
                  <a:lnTo>
                    <a:pt x="20" y="174"/>
                  </a:lnTo>
                  <a:lnTo>
                    <a:pt x="24" y="170"/>
                  </a:lnTo>
                  <a:lnTo>
                    <a:pt x="24" y="166"/>
                  </a:lnTo>
                  <a:lnTo>
                    <a:pt x="26" y="162"/>
                  </a:lnTo>
                  <a:lnTo>
                    <a:pt x="30" y="160"/>
                  </a:lnTo>
                  <a:lnTo>
                    <a:pt x="32" y="154"/>
                  </a:lnTo>
                  <a:lnTo>
                    <a:pt x="28" y="148"/>
                  </a:lnTo>
                  <a:lnTo>
                    <a:pt x="26" y="142"/>
                  </a:lnTo>
                  <a:lnTo>
                    <a:pt x="28" y="136"/>
                  </a:lnTo>
                  <a:lnTo>
                    <a:pt x="28" y="128"/>
                  </a:lnTo>
                  <a:lnTo>
                    <a:pt x="30" y="124"/>
                  </a:lnTo>
                  <a:lnTo>
                    <a:pt x="32" y="118"/>
                  </a:lnTo>
                  <a:lnTo>
                    <a:pt x="32" y="112"/>
                  </a:lnTo>
                  <a:lnTo>
                    <a:pt x="38" y="106"/>
                  </a:lnTo>
                  <a:lnTo>
                    <a:pt x="44" y="102"/>
                  </a:lnTo>
                  <a:lnTo>
                    <a:pt x="50" y="104"/>
                  </a:lnTo>
                  <a:lnTo>
                    <a:pt x="56" y="106"/>
                  </a:lnTo>
                  <a:lnTo>
                    <a:pt x="60" y="112"/>
                  </a:lnTo>
                  <a:lnTo>
                    <a:pt x="66" y="116"/>
                  </a:lnTo>
                  <a:lnTo>
                    <a:pt x="72" y="114"/>
                  </a:lnTo>
                  <a:lnTo>
                    <a:pt x="78" y="114"/>
                  </a:lnTo>
                  <a:lnTo>
                    <a:pt x="84" y="116"/>
                  </a:lnTo>
                  <a:lnTo>
                    <a:pt x="90" y="112"/>
                  </a:lnTo>
                  <a:lnTo>
                    <a:pt x="94" y="112"/>
                  </a:lnTo>
                  <a:lnTo>
                    <a:pt x="102" y="110"/>
                  </a:lnTo>
                  <a:lnTo>
                    <a:pt x="106" y="112"/>
                  </a:lnTo>
                  <a:lnTo>
                    <a:pt x="108" y="112"/>
                  </a:lnTo>
                  <a:lnTo>
                    <a:pt x="138" y="126"/>
                  </a:lnTo>
                  <a:lnTo>
                    <a:pt x="170" y="140"/>
                  </a:lnTo>
                  <a:lnTo>
                    <a:pt x="200" y="154"/>
                  </a:lnTo>
                  <a:lnTo>
                    <a:pt x="220" y="162"/>
                  </a:lnTo>
                  <a:lnTo>
                    <a:pt x="220" y="174"/>
                  </a:lnTo>
                  <a:lnTo>
                    <a:pt x="222" y="208"/>
                  </a:lnTo>
                  <a:lnTo>
                    <a:pt x="224" y="234"/>
                  </a:lnTo>
                  <a:lnTo>
                    <a:pt x="234" y="222"/>
                  </a:lnTo>
                  <a:lnTo>
                    <a:pt x="244" y="208"/>
                  </a:lnTo>
                  <a:lnTo>
                    <a:pt x="262" y="184"/>
                  </a:lnTo>
                  <a:lnTo>
                    <a:pt x="270" y="174"/>
                  </a:lnTo>
                  <a:lnTo>
                    <a:pt x="284" y="156"/>
                  </a:lnTo>
                  <a:lnTo>
                    <a:pt x="290" y="146"/>
                  </a:lnTo>
                  <a:lnTo>
                    <a:pt x="296" y="140"/>
                  </a:lnTo>
                  <a:lnTo>
                    <a:pt x="318" y="110"/>
                  </a:lnTo>
                  <a:lnTo>
                    <a:pt x="346" y="72"/>
                  </a:lnTo>
                  <a:lnTo>
                    <a:pt x="362" y="52"/>
                  </a:lnTo>
                  <a:lnTo>
                    <a:pt x="376" y="48"/>
                  </a:lnTo>
                  <a:lnTo>
                    <a:pt x="404" y="40"/>
                  </a:lnTo>
                  <a:lnTo>
                    <a:pt x="422" y="36"/>
                  </a:lnTo>
                  <a:lnTo>
                    <a:pt x="434" y="32"/>
                  </a:lnTo>
                  <a:lnTo>
                    <a:pt x="494" y="16"/>
                  </a:lnTo>
                  <a:lnTo>
                    <a:pt x="552" y="2"/>
                  </a:lnTo>
                  <a:lnTo>
                    <a:pt x="556" y="0"/>
                  </a:lnTo>
                  <a:lnTo>
                    <a:pt x="556" y="4"/>
                  </a:lnTo>
                  <a:lnTo>
                    <a:pt x="606" y="116"/>
                  </a:lnTo>
                  <a:lnTo>
                    <a:pt x="604" y="118"/>
                  </a:lnTo>
                  <a:lnTo>
                    <a:pt x="606" y="118"/>
                  </a:lnTo>
                  <a:lnTo>
                    <a:pt x="610" y="120"/>
                  </a:lnTo>
                  <a:lnTo>
                    <a:pt x="630" y="160"/>
                  </a:lnTo>
                  <a:lnTo>
                    <a:pt x="634" y="162"/>
                  </a:lnTo>
                  <a:lnTo>
                    <a:pt x="628" y="164"/>
                  </a:lnTo>
                  <a:lnTo>
                    <a:pt x="622" y="166"/>
                  </a:lnTo>
                  <a:lnTo>
                    <a:pt x="614" y="170"/>
                  </a:lnTo>
                  <a:lnTo>
                    <a:pt x="610" y="172"/>
                  </a:lnTo>
                  <a:lnTo>
                    <a:pt x="604" y="174"/>
                  </a:lnTo>
                  <a:lnTo>
                    <a:pt x="598" y="176"/>
                  </a:lnTo>
                  <a:lnTo>
                    <a:pt x="592" y="180"/>
                  </a:lnTo>
                  <a:lnTo>
                    <a:pt x="586" y="186"/>
                  </a:lnTo>
                  <a:lnTo>
                    <a:pt x="580" y="192"/>
                  </a:lnTo>
                  <a:lnTo>
                    <a:pt x="578" y="196"/>
                  </a:lnTo>
                  <a:lnTo>
                    <a:pt x="576" y="204"/>
                  </a:lnTo>
                  <a:lnTo>
                    <a:pt x="574" y="210"/>
                  </a:lnTo>
                  <a:lnTo>
                    <a:pt x="576" y="216"/>
                  </a:lnTo>
                  <a:lnTo>
                    <a:pt x="578" y="222"/>
                  </a:lnTo>
                  <a:lnTo>
                    <a:pt x="580" y="226"/>
                  </a:lnTo>
                  <a:lnTo>
                    <a:pt x="580" y="230"/>
                  </a:lnTo>
                  <a:lnTo>
                    <a:pt x="578" y="236"/>
                  </a:lnTo>
                  <a:lnTo>
                    <a:pt x="572" y="238"/>
                  </a:lnTo>
                  <a:lnTo>
                    <a:pt x="566" y="240"/>
                  </a:lnTo>
                  <a:lnTo>
                    <a:pt x="560" y="242"/>
                  </a:lnTo>
                  <a:lnTo>
                    <a:pt x="554" y="246"/>
                  </a:lnTo>
                  <a:lnTo>
                    <a:pt x="548" y="250"/>
                  </a:lnTo>
                  <a:lnTo>
                    <a:pt x="546" y="256"/>
                  </a:lnTo>
                  <a:lnTo>
                    <a:pt x="540" y="256"/>
                  </a:lnTo>
                  <a:lnTo>
                    <a:pt x="534" y="260"/>
                  </a:lnTo>
                  <a:lnTo>
                    <a:pt x="528" y="262"/>
                  </a:lnTo>
                  <a:lnTo>
                    <a:pt x="522" y="264"/>
                  </a:lnTo>
                  <a:lnTo>
                    <a:pt x="516" y="266"/>
                  </a:lnTo>
                  <a:lnTo>
                    <a:pt x="510" y="268"/>
                  </a:lnTo>
                  <a:lnTo>
                    <a:pt x="504" y="268"/>
                  </a:lnTo>
                  <a:lnTo>
                    <a:pt x="498" y="270"/>
                  </a:lnTo>
                  <a:lnTo>
                    <a:pt x="492" y="272"/>
                  </a:lnTo>
                  <a:lnTo>
                    <a:pt x="486" y="274"/>
                  </a:lnTo>
                  <a:lnTo>
                    <a:pt x="480" y="274"/>
                  </a:lnTo>
                  <a:lnTo>
                    <a:pt x="474" y="278"/>
                  </a:lnTo>
                  <a:lnTo>
                    <a:pt x="468" y="284"/>
                  </a:lnTo>
                  <a:lnTo>
                    <a:pt x="462" y="286"/>
                  </a:lnTo>
                  <a:lnTo>
                    <a:pt x="456" y="288"/>
                  </a:lnTo>
                  <a:lnTo>
                    <a:pt x="450" y="290"/>
                  </a:lnTo>
                  <a:lnTo>
                    <a:pt x="448" y="288"/>
                  </a:lnTo>
                  <a:lnTo>
                    <a:pt x="446" y="288"/>
                  </a:lnTo>
                  <a:lnTo>
                    <a:pt x="438" y="292"/>
                  </a:lnTo>
                  <a:lnTo>
                    <a:pt x="432" y="292"/>
                  </a:lnTo>
                  <a:lnTo>
                    <a:pt x="428" y="294"/>
                  </a:lnTo>
                  <a:lnTo>
                    <a:pt x="420" y="298"/>
                  </a:lnTo>
                  <a:lnTo>
                    <a:pt x="416" y="300"/>
                  </a:lnTo>
                  <a:lnTo>
                    <a:pt x="410" y="302"/>
                  </a:lnTo>
                  <a:lnTo>
                    <a:pt x="404" y="306"/>
                  </a:lnTo>
                  <a:lnTo>
                    <a:pt x="398" y="310"/>
                  </a:lnTo>
                  <a:lnTo>
                    <a:pt x="392" y="314"/>
                  </a:lnTo>
                  <a:lnTo>
                    <a:pt x="390" y="316"/>
                  </a:lnTo>
                  <a:lnTo>
                    <a:pt x="390" y="322"/>
                  </a:lnTo>
                  <a:lnTo>
                    <a:pt x="386" y="328"/>
                  </a:lnTo>
                  <a:lnTo>
                    <a:pt x="382" y="334"/>
                  </a:lnTo>
                  <a:lnTo>
                    <a:pt x="374" y="340"/>
                  </a:lnTo>
                  <a:lnTo>
                    <a:pt x="370" y="344"/>
                  </a:lnTo>
                  <a:lnTo>
                    <a:pt x="364" y="344"/>
                  </a:lnTo>
                  <a:lnTo>
                    <a:pt x="356" y="346"/>
                  </a:lnTo>
                  <a:lnTo>
                    <a:pt x="352" y="346"/>
                  </a:lnTo>
                  <a:lnTo>
                    <a:pt x="346" y="348"/>
                  </a:lnTo>
                  <a:lnTo>
                    <a:pt x="340" y="346"/>
                  </a:lnTo>
                  <a:lnTo>
                    <a:pt x="334" y="344"/>
                  </a:lnTo>
                  <a:lnTo>
                    <a:pt x="328" y="344"/>
                  </a:lnTo>
                  <a:lnTo>
                    <a:pt x="322" y="348"/>
                  </a:lnTo>
                  <a:lnTo>
                    <a:pt x="318" y="352"/>
                  </a:lnTo>
                  <a:lnTo>
                    <a:pt x="312" y="354"/>
                  </a:lnTo>
                  <a:lnTo>
                    <a:pt x="306" y="358"/>
                  </a:lnTo>
                  <a:lnTo>
                    <a:pt x="302" y="364"/>
                  </a:lnTo>
                  <a:lnTo>
                    <a:pt x="296" y="370"/>
                  </a:lnTo>
                  <a:lnTo>
                    <a:pt x="290" y="372"/>
                  </a:lnTo>
                  <a:lnTo>
                    <a:pt x="284" y="374"/>
                  </a:lnTo>
                  <a:lnTo>
                    <a:pt x="278" y="376"/>
                  </a:lnTo>
                  <a:lnTo>
                    <a:pt x="272" y="378"/>
                  </a:lnTo>
                  <a:lnTo>
                    <a:pt x="266" y="378"/>
                  </a:lnTo>
                  <a:lnTo>
                    <a:pt x="264" y="380"/>
                  </a:lnTo>
                  <a:lnTo>
                    <a:pt x="258" y="384"/>
                  </a:lnTo>
                  <a:lnTo>
                    <a:pt x="252" y="386"/>
                  </a:lnTo>
                  <a:lnTo>
                    <a:pt x="246" y="386"/>
                  </a:lnTo>
                  <a:lnTo>
                    <a:pt x="240" y="388"/>
                  </a:lnTo>
                  <a:lnTo>
                    <a:pt x="234" y="386"/>
                  </a:lnTo>
                  <a:lnTo>
                    <a:pt x="228" y="386"/>
                  </a:lnTo>
                  <a:lnTo>
                    <a:pt x="222" y="386"/>
                  </a:lnTo>
                  <a:lnTo>
                    <a:pt x="216" y="388"/>
                  </a:lnTo>
                  <a:lnTo>
                    <a:pt x="210" y="388"/>
                  </a:lnTo>
                  <a:lnTo>
                    <a:pt x="204" y="388"/>
                  </a:lnTo>
                  <a:lnTo>
                    <a:pt x="198" y="390"/>
                  </a:lnTo>
                  <a:lnTo>
                    <a:pt x="192" y="392"/>
                  </a:lnTo>
                  <a:lnTo>
                    <a:pt x="186" y="394"/>
                  </a:lnTo>
                  <a:lnTo>
                    <a:pt x="182" y="400"/>
                  </a:lnTo>
                  <a:lnTo>
                    <a:pt x="178" y="406"/>
                  </a:lnTo>
                  <a:lnTo>
                    <a:pt x="174" y="412"/>
                  </a:lnTo>
                  <a:lnTo>
                    <a:pt x="168" y="414"/>
                  </a:lnTo>
                  <a:lnTo>
                    <a:pt x="162" y="416"/>
                  </a:lnTo>
                  <a:lnTo>
                    <a:pt x="156" y="420"/>
                  </a:lnTo>
                  <a:lnTo>
                    <a:pt x="154" y="426"/>
                  </a:lnTo>
                  <a:lnTo>
                    <a:pt x="150" y="432"/>
                  </a:lnTo>
                  <a:lnTo>
                    <a:pt x="150" y="430"/>
                  </a:lnTo>
                  <a:lnTo>
                    <a:pt x="152" y="426"/>
                  </a:lnTo>
                  <a:lnTo>
                    <a:pt x="150" y="426"/>
                  </a:lnTo>
                  <a:lnTo>
                    <a:pt x="150" y="428"/>
                  </a:lnTo>
                  <a:lnTo>
                    <a:pt x="144" y="430"/>
                  </a:lnTo>
                  <a:lnTo>
                    <a:pt x="144" y="432"/>
                  </a:lnTo>
                  <a:lnTo>
                    <a:pt x="144" y="434"/>
                  </a:lnTo>
                  <a:lnTo>
                    <a:pt x="138" y="432"/>
                  </a:lnTo>
                  <a:lnTo>
                    <a:pt x="132" y="430"/>
                  </a:lnTo>
                  <a:lnTo>
                    <a:pt x="126" y="428"/>
                  </a:lnTo>
                  <a:lnTo>
                    <a:pt x="120" y="432"/>
                  </a:lnTo>
                  <a:lnTo>
                    <a:pt x="114" y="438"/>
                  </a:lnTo>
                  <a:lnTo>
                    <a:pt x="108" y="442"/>
                  </a:lnTo>
                  <a:lnTo>
                    <a:pt x="102" y="440"/>
                  </a:lnTo>
                  <a:lnTo>
                    <a:pt x="96" y="442"/>
                  </a:lnTo>
                  <a:lnTo>
                    <a:pt x="90" y="444"/>
                  </a:lnTo>
                  <a:lnTo>
                    <a:pt x="84" y="442"/>
                  </a:lnTo>
                  <a:lnTo>
                    <a:pt x="78" y="438"/>
                  </a:lnTo>
                  <a:lnTo>
                    <a:pt x="72" y="436"/>
                  </a:lnTo>
                  <a:lnTo>
                    <a:pt x="68" y="434"/>
                  </a:lnTo>
                  <a:lnTo>
                    <a:pt x="62" y="438"/>
                  </a:lnTo>
                  <a:lnTo>
                    <a:pt x="58" y="438"/>
                  </a:lnTo>
                  <a:lnTo>
                    <a:pt x="58" y="432"/>
                  </a:lnTo>
                  <a:lnTo>
                    <a:pt x="58" y="426"/>
                  </a:lnTo>
                  <a:lnTo>
                    <a:pt x="54" y="420"/>
                  </a:lnTo>
                  <a:lnTo>
                    <a:pt x="52" y="414"/>
                  </a:lnTo>
                  <a:lnTo>
                    <a:pt x="48" y="408"/>
                  </a:lnTo>
                  <a:lnTo>
                    <a:pt x="44" y="402"/>
                  </a:lnTo>
                  <a:lnTo>
                    <a:pt x="42" y="396"/>
                  </a:lnTo>
                  <a:lnTo>
                    <a:pt x="42" y="390"/>
                  </a:lnTo>
                  <a:lnTo>
                    <a:pt x="42" y="384"/>
                  </a:lnTo>
                  <a:lnTo>
                    <a:pt x="44" y="378"/>
                  </a:lnTo>
                  <a:lnTo>
                    <a:pt x="44" y="372"/>
                  </a:lnTo>
                  <a:lnTo>
                    <a:pt x="44" y="366"/>
                  </a:lnTo>
                  <a:lnTo>
                    <a:pt x="42" y="360"/>
                  </a:lnTo>
                  <a:lnTo>
                    <a:pt x="38" y="354"/>
                  </a:lnTo>
                  <a:lnTo>
                    <a:pt x="32" y="348"/>
                  </a:lnTo>
                  <a:lnTo>
                    <a:pt x="32" y="342"/>
                  </a:lnTo>
                  <a:lnTo>
                    <a:pt x="32" y="336"/>
                  </a:lnTo>
                  <a:lnTo>
                    <a:pt x="30" y="332"/>
                  </a:lnTo>
                  <a:lnTo>
                    <a:pt x="28" y="324"/>
                  </a:lnTo>
                  <a:lnTo>
                    <a:pt x="26" y="320"/>
                  </a:lnTo>
                  <a:lnTo>
                    <a:pt x="26" y="314"/>
                  </a:lnTo>
                  <a:lnTo>
                    <a:pt x="26" y="306"/>
                  </a:lnTo>
                  <a:lnTo>
                    <a:pt x="24" y="302"/>
                  </a:lnTo>
                  <a:lnTo>
                    <a:pt x="22" y="296"/>
                  </a:lnTo>
                  <a:lnTo>
                    <a:pt x="22" y="290"/>
                  </a:lnTo>
                  <a:lnTo>
                    <a:pt x="20" y="284"/>
                  </a:lnTo>
                  <a:lnTo>
                    <a:pt x="18" y="278"/>
                  </a:lnTo>
                  <a:lnTo>
                    <a:pt x="16" y="272"/>
                  </a:lnTo>
                  <a:lnTo>
                    <a:pt x="12" y="266"/>
                  </a:lnTo>
                  <a:lnTo>
                    <a:pt x="6" y="264"/>
                  </a:lnTo>
                  <a:lnTo>
                    <a:pt x="0" y="264"/>
                  </a:lnTo>
                  <a:lnTo>
                    <a:pt x="0" y="2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5" name="Freeform 233"/>
            <p:cNvSpPr>
              <a:spLocks/>
            </p:cNvSpPr>
            <p:nvPr/>
          </p:nvSpPr>
          <p:spPr bwMode="auto">
            <a:xfrm>
              <a:off x="5078413" y="3295650"/>
              <a:ext cx="96837" cy="119063"/>
            </a:xfrm>
            <a:custGeom>
              <a:avLst/>
              <a:gdLst>
                <a:gd name="T0" fmla="*/ 2147483647 w 240"/>
                <a:gd name="T1" fmla="*/ 2147483647 h 290"/>
                <a:gd name="T2" fmla="*/ 2147483647 w 240"/>
                <a:gd name="T3" fmla="*/ 2147483647 h 290"/>
                <a:gd name="T4" fmla="*/ 2147483647 w 240"/>
                <a:gd name="T5" fmla="*/ 2147483647 h 290"/>
                <a:gd name="T6" fmla="*/ 2147483647 w 240"/>
                <a:gd name="T7" fmla="*/ 2147483647 h 290"/>
                <a:gd name="T8" fmla="*/ 2147483647 w 240"/>
                <a:gd name="T9" fmla="*/ 2147483647 h 290"/>
                <a:gd name="T10" fmla="*/ 2147483647 w 240"/>
                <a:gd name="T11" fmla="*/ 2147483647 h 290"/>
                <a:gd name="T12" fmla="*/ 2147483647 w 240"/>
                <a:gd name="T13" fmla="*/ 2147483647 h 290"/>
                <a:gd name="T14" fmla="*/ 2147483647 w 240"/>
                <a:gd name="T15" fmla="*/ 2147483647 h 290"/>
                <a:gd name="T16" fmla="*/ 2147483647 w 240"/>
                <a:gd name="T17" fmla="*/ 2147483647 h 290"/>
                <a:gd name="T18" fmla="*/ 2147483647 w 240"/>
                <a:gd name="T19" fmla="*/ 2147483647 h 290"/>
                <a:gd name="T20" fmla="*/ 2147483647 w 240"/>
                <a:gd name="T21" fmla="*/ 2147483647 h 290"/>
                <a:gd name="T22" fmla="*/ 2147483647 w 240"/>
                <a:gd name="T23" fmla="*/ 2147483647 h 290"/>
                <a:gd name="T24" fmla="*/ 2147483647 w 240"/>
                <a:gd name="T25" fmla="*/ 2147483647 h 290"/>
                <a:gd name="T26" fmla="*/ 2147483647 w 240"/>
                <a:gd name="T27" fmla="*/ 2147483647 h 290"/>
                <a:gd name="T28" fmla="*/ 2147483647 w 240"/>
                <a:gd name="T29" fmla="*/ 2147483647 h 290"/>
                <a:gd name="T30" fmla="*/ 2147483647 w 240"/>
                <a:gd name="T31" fmla="*/ 2147483647 h 290"/>
                <a:gd name="T32" fmla="*/ 2147483647 w 240"/>
                <a:gd name="T33" fmla="*/ 2147483647 h 290"/>
                <a:gd name="T34" fmla="*/ 2147483647 w 240"/>
                <a:gd name="T35" fmla="*/ 2147483647 h 290"/>
                <a:gd name="T36" fmla="*/ 2147483647 w 240"/>
                <a:gd name="T37" fmla="*/ 2147483647 h 290"/>
                <a:gd name="T38" fmla="*/ 2147483647 w 240"/>
                <a:gd name="T39" fmla="*/ 2147483647 h 290"/>
                <a:gd name="T40" fmla="*/ 2147483647 w 240"/>
                <a:gd name="T41" fmla="*/ 2147483647 h 290"/>
                <a:gd name="T42" fmla="*/ 2147483647 w 240"/>
                <a:gd name="T43" fmla="*/ 2147483647 h 290"/>
                <a:gd name="T44" fmla="*/ 2147483647 w 240"/>
                <a:gd name="T45" fmla="*/ 2147483647 h 290"/>
                <a:gd name="T46" fmla="*/ 2147483647 w 240"/>
                <a:gd name="T47" fmla="*/ 2147483647 h 290"/>
                <a:gd name="T48" fmla="*/ 2147483647 w 240"/>
                <a:gd name="T49" fmla="*/ 2147483647 h 290"/>
                <a:gd name="T50" fmla="*/ 2147483647 w 240"/>
                <a:gd name="T51" fmla="*/ 2147483647 h 290"/>
                <a:gd name="T52" fmla="*/ 2147483647 w 240"/>
                <a:gd name="T53" fmla="*/ 2147483647 h 290"/>
                <a:gd name="T54" fmla="*/ 2147483647 w 240"/>
                <a:gd name="T55" fmla="*/ 2147483647 h 290"/>
                <a:gd name="T56" fmla="*/ 2147483647 w 240"/>
                <a:gd name="T57" fmla="*/ 2147483647 h 290"/>
                <a:gd name="T58" fmla="*/ 2147483647 w 240"/>
                <a:gd name="T59" fmla="*/ 2147483647 h 290"/>
                <a:gd name="T60" fmla="*/ 2147483647 w 240"/>
                <a:gd name="T61" fmla="*/ 2147483647 h 290"/>
                <a:gd name="T62" fmla="*/ 2147483647 w 240"/>
                <a:gd name="T63" fmla="*/ 2147483647 h 290"/>
                <a:gd name="T64" fmla="*/ 2147483647 w 240"/>
                <a:gd name="T65" fmla="*/ 2147483647 h 290"/>
                <a:gd name="T66" fmla="*/ 2147483647 w 240"/>
                <a:gd name="T67" fmla="*/ 2147483647 h 290"/>
                <a:gd name="T68" fmla="*/ 2147483647 w 240"/>
                <a:gd name="T69" fmla="*/ 2147483647 h 290"/>
                <a:gd name="T70" fmla="*/ 2147483647 w 240"/>
                <a:gd name="T71" fmla="*/ 2147483647 h 290"/>
                <a:gd name="T72" fmla="*/ 2147483647 w 240"/>
                <a:gd name="T73" fmla="*/ 2147483647 h 290"/>
                <a:gd name="T74" fmla="*/ 2147483647 w 240"/>
                <a:gd name="T75" fmla="*/ 2147483647 h 290"/>
                <a:gd name="T76" fmla="*/ 2147483647 w 240"/>
                <a:gd name="T77" fmla="*/ 2147483647 h 290"/>
                <a:gd name="T78" fmla="*/ 2147483647 w 240"/>
                <a:gd name="T79" fmla="*/ 2147483647 h 290"/>
                <a:gd name="T80" fmla="*/ 2147483647 w 240"/>
                <a:gd name="T81" fmla="*/ 2147483647 h 290"/>
                <a:gd name="T82" fmla="*/ 2147483647 w 240"/>
                <a:gd name="T83" fmla="*/ 2147483647 h 290"/>
                <a:gd name="T84" fmla="*/ 2147483647 w 240"/>
                <a:gd name="T85" fmla="*/ 2147483647 h 290"/>
                <a:gd name="T86" fmla="*/ 2147483647 w 240"/>
                <a:gd name="T87" fmla="*/ 2147483647 h 290"/>
                <a:gd name="T88" fmla="*/ 2147483647 w 240"/>
                <a:gd name="T89" fmla="*/ 2147483647 h 290"/>
                <a:gd name="T90" fmla="*/ 2147483647 w 240"/>
                <a:gd name="T91" fmla="*/ 2147483647 h 290"/>
                <a:gd name="T92" fmla="*/ 2147483647 w 240"/>
                <a:gd name="T93" fmla="*/ 2147483647 h 290"/>
                <a:gd name="T94" fmla="*/ 2147483647 w 240"/>
                <a:gd name="T95" fmla="*/ 2147483647 h 290"/>
                <a:gd name="T96" fmla="*/ 2147483647 w 240"/>
                <a:gd name="T97" fmla="*/ 2147483647 h 290"/>
                <a:gd name="T98" fmla="*/ 2147483647 w 240"/>
                <a:gd name="T99" fmla="*/ 2147483647 h 290"/>
                <a:gd name="T100" fmla="*/ 2147483647 w 240"/>
                <a:gd name="T101" fmla="*/ 2147483647 h 290"/>
                <a:gd name="T102" fmla="*/ 2147483647 w 240"/>
                <a:gd name="T103" fmla="*/ 2147483647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0"/>
                <a:gd name="T157" fmla="*/ 0 h 290"/>
                <a:gd name="T158" fmla="*/ 240 w 240"/>
                <a:gd name="T159" fmla="*/ 290 h 2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0" h="290">
                  <a:moveTo>
                    <a:pt x="0" y="278"/>
                  </a:moveTo>
                  <a:lnTo>
                    <a:pt x="0" y="272"/>
                  </a:lnTo>
                  <a:lnTo>
                    <a:pt x="2" y="266"/>
                  </a:lnTo>
                  <a:lnTo>
                    <a:pt x="0" y="264"/>
                  </a:lnTo>
                  <a:lnTo>
                    <a:pt x="0" y="262"/>
                  </a:lnTo>
                  <a:lnTo>
                    <a:pt x="2" y="258"/>
                  </a:lnTo>
                  <a:lnTo>
                    <a:pt x="2" y="252"/>
                  </a:lnTo>
                  <a:lnTo>
                    <a:pt x="4" y="246"/>
                  </a:lnTo>
                  <a:lnTo>
                    <a:pt x="4" y="240"/>
                  </a:lnTo>
                  <a:lnTo>
                    <a:pt x="6" y="234"/>
                  </a:lnTo>
                  <a:lnTo>
                    <a:pt x="6" y="228"/>
                  </a:lnTo>
                  <a:lnTo>
                    <a:pt x="8" y="222"/>
                  </a:lnTo>
                  <a:lnTo>
                    <a:pt x="6" y="216"/>
                  </a:lnTo>
                  <a:lnTo>
                    <a:pt x="8" y="210"/>
                  </a:lnTo>
                  <a:lnTo>
                    <a:pt x="6" y="204"/>
                  </a:lnTo>
                  <a:lnTo>
                    <a:pt x="8" y="198"/>
                  </a:lnTo>
                  <a:lnTo>
                    <a:pt x="8" y="192"/>
                  </a:lnTo>
                  <a:lnTo>
                    <a:pt x="12" y="186"/>
                  </a:lnTo>
                  <a:lnTo>
                    <a:pt x="14" y="180"/>
                  </a:lnTo>
                  <a:lnTo>
                    <a:pt x="16" y="174"/>
                  </a:lnTo>
                  <a:lnTo>
                    <a:pt x="16" y="170"/>
                  </a:lnTo>
                  <a:lnTo>
                    <a:pt x="18" y="168"/>
                  </a:lnTo>
                  <a:lnTo>
                    <a:pt x="18" y="166"/>
                  </a:lnTo>
                  <a:lnTo>
                    <a:pt x="18" y="164"/>
                  </a:lnTo>
                  <a:lnTo>
                    <a:pt x="20" y="162"/>
                  </a:lnTo>
                  <a:lnTo>
                    <a:pt x="20" y="158"/>
                  </a:lnTo>
                  <a:lnTo>
                    <a:pt x="22" y="156"/>
                  </a:lnTo>
                  <a:lnTo>
                    <a:pt x="18" y="150"/>
                  </a:lnTo>
                  <a:lnTo>
                    <a:pt x="18" y="148"/>
                  </a:lnTo>
                  <a:lnTo>
                    <a:pt x="16" y="148"/>
                  </a:lnTo>
                  <a:lnTo>
                    <a:pt x="18" y="142"/>
                  </a:lnTo>
                  <a:lnTo>
                    <a:pt x="20" y="136"/>
                  </a:lnTo>
                  <a:lnTo>
                    <a:pt x="20" y="130"/>
                  </a:lnTo>
                  <a:lnTo>
                    <a:pt x="20" y="126"/>
                  </a:lnTo>
                  <a:lnTo>
                    <a:pt x="22" y="118"/>
                  </a:lnTo>
                  <a:lnTo>
                    <a:pt x="24" y="112"/>
                  </a:lnTo>
                  <a:lnTo>
                    <a:pt x="22" y="108"/>
                  </a:lnTo>
                  <a:lnTo>
                    <a:pt x="22" y="104"/>
                  </a:lnTo>
                  <a:lnTo>
                    <a:pt x="22" y="98"/>
                  </a:lnTo>
                  <a:lnTo>
                    <a:pt x="20" y="94"/>
                  </a:lnTo>
                  <a:lnTo>
                    <a:pt x="20" y="88"/>
                  </a:lnTo>
                  <a:lnTo>
                    <a:pt x="20" y="86"/>
                  </a:lnTo>
                  <a:lnTo>
                    <a:pt x="22" y="80"/>
                  </a:lnTo>
                  <a:lnTo>
                    <a:pt x="20" y="74"/>
                  </a:lnTo>
                  <a:lnTo>
                    <a:pt x="20" y="68"/>
                  </a:lnTo>
                  <a:lnTo>
                    <a:pt x="20" y="66"/>
                  </a:lnTo>
                  <a:lnTo>
                    <a:pt x="20" y="60"/>
                  </a:lnTo>
                  <a:lnTo>
                    <a:pt x="20" y="54"/>
                  </a:lnTo>
                  <a:lnTo>
                    <a:pt x="20" y="50"/>
                  </a:lnTo>
                  <a:lnTo>
                    <a:pt x="22" y="48"/>
                  </a:lnTo>
                  <a:lnTo>
                    <a:pt x="24" y="46"/>
                  </a:lnTo>
                  <a:lnTo>
                    <a:pt x="24" y="48"/>
                  </a:lnTo>
                  <a:lnTo>
                    <a:pt x="26" y="46"/>
                  </a:lnTo>
                  <a:lnTo>
                    <a:pt x="30" y="44"/>
                  </a:lnTo>
                  <a:lnTo>
                    <a:pt x="30" y="42"/>
                  </a:lnTo>
                  <a:lnTo>
                    <a:pt x="32" y="42"/>
                  </a:lnTo>
                  <a:lnTo>
                    <a:pt x="36" y="44"/>
                  </a:lnTo>
                  <a:lnTo>
                    <a:pt x="38" y="44"/>
                  </a:lnTo>
                  <a:lnTo>
                    <a:pt x="40" y="46"/>
                  </a:lnTo>
                  <a:lnTo>
                    <a:pt x="44" y="50"/>
                  </a:lnTo>
                  <a:lnTo>
                    <a:pt x="46" y="50"/>
                  </a:lnTo>
                  <a:lnTo>
                    <a:pt x="48" y="54"/>
                  </a:lnTo>
                  <a:lnTo>
                    <a:pt x="54" y="58"/>
                  </a:lnTo>
                  <a:lnTo>
                    <a:pt x="54" y="60"/>
                  </a:lnTo>
                  <a:lnTo>
                    <a:pt x="58" y="58"/>
                  </a:lnTo>
                  <a:lnTo>
                    <a:pt x="60" y="60"/>
                  </a:lnTo>
                  <a:lnTo>
                    <a:pt x="66" y="64"/>
                  </a:lnTo>
                  <a:lnTo>
                    <a:pt x="70" y="68"/>
                  </a:lnTo>
                  <a:lnTo>
                    <a:pt x="72" y="68"/>
                  </a:lnTo>
                  <a:lnTo>
                    <a:pt x="76" y="70"/>
                  </a:lnTo>
                  <a:lnTo>
                    <a:pt x="82" y="70"/>
                  </a:lnTo>
                  <a:lnTo>
                    <a:pt x="88" y="72"/>
                  </a:lnTo>
                  <a:lnTo>
                    <a:pt x="92" y="72"/>
                  </a:lnTo>
                  <a:lnTo>
                    <a:pt x="98" y="70"/>
                  </a:lnTo>
                  <a:lnTo>
                    <a:pt x="104" y="66"/>
                  </a:lnTo>
                  <a:lnTo>
                    <a:pt x="110" y="62"/>
                  </a:lnTo>
                  <a:lnTo>
                    <a:pt x="112" y="60"/>
                  </a:lnTo>
                  <a:lnTo>
                    <a:pt x="118" y="56"/>
                  </a:lnTo>
                  <a:lnTo>
                    <a:pt x="124" y="52"/>
                  </a:lnTo>
                  <a:lnTo>
                    <a:pt x="130" y="48"/>
                  </a:lnTo>
                  <a:lnTo>
                    <a:pt x="132" y="46"/>
                  </a:lnTo>
                  <a:lnTo>
                    <a:pt x="138" y="42"/>
                  </a:lnTo>
                  <a:lnTo>
                    <a:pt x="142" y="38"/>
                  </a:lnTo>
                  <a:lnTo>
                    <a:pt x="150" y="34"/>
                  </a:lnTo>
                  <a:lnTo>
                    <a:pt x="152" y="34"/>
                  </a:lnTo>
                  <a:lnTo>
                    <a:pt x="158" y="30"/>
                  </a:lnTo>
                  <a:lnTo>
                    <a:pt x="164" y="26"/>
                  </a:lnTo>
                  <a:lnTo>
                    <a:pt x="168" y="22"/>
                  </a:lnTo>
                  <a:lnTo>
                    <a:pt x="176" y="18"/>
                  </a:lnTo>
                  <a:lnTo>
                    <a:pt x="176" y="16"/>
                  </a:lnTo>
                  <a:lnTo>
                    <a:pt x="182" y="12"/>
                  </a:lnTo>
                  <a:lnTo>
                    <a:pt x="188" y="8"/>
                  </a:lnTo>
                  <a:lnTo>
                    <a:pt x="194" y="4"/>
                  </a:lnTo>
                  <a:lnTo>
                    <a:pt x="200" y="2"/>
                  </a:lnTo>
                  <a:lnTo>
                    <a:pt x="200" y="0"/>
                  </a:lnTo>
                  <a:lnTo>
                    <a:pt x="202" y="0"/>
                  </a:lnTo>
                  <a:lnTo>
                    <a:pt x="206" y="8"/>
                  </a:lnTo>
                  <a:lnTo>
                    <a:pt x="210" y="18"/>
                  </a:lnTo>
                  <a:lnTo>
                    <a:pt x="212" y="26"/>
                  </a:lnTo>
                  <a:lnTo>
                    <a:pt x="218" y="42"/>
                  </a:lnTo>
                  <a:lnTo>
                    <a:pt x="218" y="44"/>
                  </a:lnTo>
                  <a:lnTo>
                    <a:pt x="220" y="46"/>
                  </a:lnTo>
                  <a:lnTo>
                    <a:pt x="222" y="54"/>
                  </a:lnTo>
                  <a:lnTo>
                    <a:pt x="224" y="58"/>
                  </a:lnTo>
                  <a:lnTo>
                    <a:pt x="224" y="60"/>
                  </a:lnTo>
                  <a:lnTo>
                    <a:pt x="220" y="62"/>
                  </a:lnTo>
                  <a:lnTo>
                    <a:pt x="222" y="64"/>
                  </a:lnTo>
                  <a:lnTo>
                    <a:pt x="222" y="68"/>
                  </a:lnTo>
                  <a:lnTo>
                    <a:pt x="226" y="72"/>
                  </a:lnTo>
                  <a:lnTo>
                    <a:pt x="234" y="70"/>
                  </a:lnTo>
                  <a:lnTo>
                    <a:pt x="236" y="70"/>
                  </a:lnTo>
                  <a:lnTo>
                    <a:pt x="238" y="72"/>
                  </a:lnTo>
                  <a:lnTo>
                    <a:pt x="240" y="78"/>
                  </a:lnTo>
                  <a:lnTo>
                    <a:pt x="238" y="80"/>
                  </a:lnTo>
                  <a:lnTo>
                    <a:pt x="232" y="86"/>
                  </a:lnTo>
                  <a:lnTo>
                    <a:pt x="228" y="90"/>
                  </a:lnTo>
                  <a:lnTo>
                    <a:pt x="222" y="94"/>
                  </a:lnTo>
                  <a:lnTo>
                    <a:pt x="216" y="96"/>
                  </a:lnTo>
                  <a:lnTo>
                    <a:pt x="214" y="98"/>
                  </a:lnTo>
                  <a:lnTo>
                    <a:pt x="208" y="98"/>
                  </a:lnTo>
                  <a:lnTo>
                    <a:pt x="202" y="100"/>
                  </a:lnTo>
                  <a:lnTo>
                    <a:pt x="196" y="102"/>
                  </a:lnTo>
                  <a:lnTo>
                    <a:pt x="192" y="104"/>
                  </a:lnTo>
                  <a:lnTo>
                    <a:pt x="186" y="106"/>
                  </a:lnTo>
                  <a:lnTo>
                    <a:pt x="180" y="108"/>
                  </a:lnTo>
                  <a:lnTo>
                    <a:pt x="178" y="108"/>
                  </a:lnTo>
                  <a:lnTo>
                    <a:pt x="176" y="108"/>
                  </a:lnTo>
                  <a:lnTo>
                    <a:pt x="172" y="110"/>
                  </a:lnTo>
                  <a:lnTo>
                    <a:pt x="166" y="112"/>
                  </a:lnTo>
                  <a:lnTo>
                    <a:pt x="164" y="112"/>
                  </a:lnTo>
                  <a:lnTo>
                    <a:pt x="158" y="114"/>
                  </a:lnTo>
                  <a:lnTo>
                    <a:pt x="152" y="116"/>
                  </a:lnTo>
                  <a:lnTo>
                    <a:pt x="146" y="118"/>
                  </a:lnTo>
                  <a:lnTo>
                    <a:pt x="140" y="120"/>
                  </a:lnTo>
                  <a:lnTo>
                    <a:pt x="134" y="122"/>
                  </a:lnTo>
                  <a:lnTo>
                    <a:pt x="128" y="124"/>
                  </a:lnTo>
                  <a:lnTo>
                    <a:pt x="122" y="124"/>
                  </a:lnTo>
                  <a:lnTo>
                    <a:pt x="120" y="126"/>
                  </a:lnTo>
                  <a:lnTo>
                    <a:pt x="118" y="126"/>
                  </a:lnTo>
                  <a:lnTo>
                    <a:pt x="114" y="128"/>
                  </a:lnTo>
                  <a:lnTo>
                    <a:pt x="112" y="130"/>
                  </a:lnTo>
                  <a:lnTo>
                    <a:pt x="112" y="132"/>
                  </a:lnTo>
                  <a:lnTo>
                    <a:pt x="116" y="138"/>
                  </a:lnTo>
                  <a:lnTo>
                    <a:pt x="122" y="144"/>
                  </a:lnTo>
                  <a:lnTo>
                    <a:pt x="128" y="148"/>
                  </a:lnTo>
                  <a:lnTo>
                    <a:pt x="130" y="152"/>
                  </a:lnTo>
                  <a:lnTo>
                    <a:pt x="136" y="156"/>
                  </a:lnTo>
                  <a:lnTo>
                    <a:pt x="140" y="162"/>
                  </a:lnTo>
                  <a:lnTo>
                    <a:pt x="146" y="168"/>
                  </a:lnTo>
                  <a:lnTo>
                    <a:pt x="150" y="174"/>
                  </a:lnTo>
                  <a:lnTo>
                    <a:pt x="152" y="174"/>
                  </a:lnTo>
                  <a:lnTo>
                    <a:pt x="156" y="180"/>
                  </a:lnTo>
                  <a:lnTo>
                    <a:pt x="162" y="186"/>
                  </a:lnTo>
                  <a:lnTo>
                    <a:pt x="168" y="192"/>
                  </a:lnTo>
                  <a:lnTo>
                    <a:pt x="168" y="194"/>
                  </a:lnTo>
                  <a:lnTo>
                    <a:pt x="172" y="200"/>
                  </a:lnTo>
                  <a:lnTo>
                    <a:pt x="166" y="202"/>
                  </a:lnTo>
                  <a:lnTo>
                    <a:pt x="160" y="206"/>
                  </a:lnTo>
                  <a:lnTo>
                    <a:pt x="154" y="210"/>
                  </a:lnTo>
                  <a:lnTo>
                    <a:pt x="152" y="216"/>
                  </a:lnTo>
                  <a:lnTo>
                    <a:pt x="150" y="222"/>
                  </a:lnTo>
                  <a:lnTo>
                    <a:pt x="148" y="228"/>
                  </a:lnTo>
                  <a:lnTo>
                    <a:pt x="146" y="234"/>
                  </a:lnTo>
                  <a:lnTo>
                    <a:pt x="142" y="234"/>
                  </a:lnTo>
                  <a:lnTo>
                    <a:pt x="136" y="236"/>
                  </a:lnTo>
                  <a:lnTo>
                    <a:pt x="130" y="236"/>
                  </a:lnTo>
                  <a:lnTo>
                    <a:pt x="124" y="238"/>
                  </a:lnTo>
                  <a:lnTo>
                    <a:pt x="118" y="238"/>
                  </a:lnTo>
                  <a:lnTo>
                    <a:pt x="112" y="240"/>
                  </a:lnTo>
                  <a:lnTo>
                    <a:pt x="108" y="242"/>
                  </a:lnTo>
                  <a:lnTo>
                    <a:pt x="102" y="246"/>
                  </a:lnTo>
                  <a:lnTo>
                    <a:pt x="98" y="250"/>
                  </a:lnTo>
                  <a:lnTo>
                    <a:pt x="96" y="256"/>
                  </a:lnTo>
                  <a:lnTo>
                    <a:pt x="92" y="262"/>
                  </a:lnTo>
                  <a:lnTo>
                    <a:pt x="90" y="268"/>
                  </a:lnTo>
                  <a:lnTo>
                    <a:pt x="84" y="274"/>
                  </a:lnTo>
                  <a:lnTo>
                    <a:pt x="78" y="280"/>
                  </a:lnTo>
                  <a:lnTo>
                    <a:pt x="72" y="284"/>
                  </a:lnTo>
                  <a:lnTo>
                    <a:pt x="66" y="290"/>
                  </a:lnTo>
                  <a:lnTo>
                    <a:pt x="60" y="288"/>
                  </a:lnTo>
                  <a:lnTo>
                    <a:pt x="54" y="288"/>
                  </a:lnTo>
                  <a:lnTo>
                    <a:pt x="48" y="286"/>
                  </a:lnTo>
                  <a:lnTo>
                    <a:pt x="42" y="284"/>
                  </a:lnTo>
                  <a:lnTo>
                    <a:pt x="36" y="284"/>
                  </a:lnTo>
                  <a:lnTo>
                    <a:pt x="32" y="284"/>
                  </a:lnTo>
                  <a:lnTo>
                    <a:pt x="26" y="282"/>
                  </a:lnTo>
                  <a:lnTo>
                    <a:pt x="20" y="280"/>
                  </a:lnTo>
                  <a:lnTo>
                    <a:pt x="14" y="280"/>
                  </a:lnTo>
                  <a:lnTo>
                    <a:pt x="8" y="280"/>
                  </a:lnTo>
                  <a:lnTo>
                    <a:pt x="2" y="278"/>
                  </a:lnTo>
                  <a:lnTo>
                    <a:pt x="0" y="2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6" name="Freeform 234"/>
            <p:cNvSpPr>
              <a:spLocks/>
            </p:cNvSpPr>
            <p:nvPr/>
          </p:nvSpPr>
          <p:spPr bwMode="auto">
            <a:xfrm>
              <a:off x="3819525" y="3884613"/>
              <a:ext cx="76200" cy="49212"/>
            </a:xfrm>
            <a:custGeom>
              <a:avLst/>
              <a:gdLst>
                <a:gd name="T0" fmla="*/ 2147483647 w 186"/>
                <a:gd name="T1" fmla="*/ 2147483647 h 120"/>
                <a:gd name="T2" fmla="*/ 2147483647 w 186"/>
                <a:gd name="T3" fmla="*/ 2147483647 h 120"/>
                <a:gd name="T4" fmla="*/ 2147483647 w 186"/>
                <a:gd name="T5" fmla="*/ 2147483647 h 120"/>
                <a:gd name="T6" fmla="*/ 2147483647 w 186"/>
                <a:gd name="T7" fmla="*/ 2147483647 h 120"/>
                <a:gd name="T8" fmla="*/ 2147483647 w 186"/>
                <a:gd name="T9" fmla="*/ 2147483647 h 120"/>
                <a:gd name="T10" fmla="*/ 2147483647 w 186"/>
                <a:gd name="T11" fmla="*/ 2147483647 h 120"/>
                <a:gd name="T12" fmla="*/ 2147483647 w 186"/>
                <a:gd name="T13" fmla="*/ 0 h 120"/>
                <a:gd name="T14" fmla="*/ 2147483647 w 186"/>
                <a:gd name="T15" fmla="*/ 0 h 120"/>
                <a:gd name="T16" fmla="*/ 2147483647 w 186"/>
                <a:gd name="T17" fmla="*/ 0 h 120"/>
                <a:gd name="T18" fmla="*/ 2147483647 w 186"/>
                <a:gd name="T19" fmla="*/ 0 h 120"/>
                <a:gd name="T20" fmla="*/ 2147483647 w 186"/>
                <a:gd name="T21" fmla="*/ 0 h 120"/>
                <a:gd name="T22" fmla="*/ 2147483647 w 186"/>
                <a:gd name="T23" fmla="*/ 0 h 120"/>
                <a:gd name="T24" fmla="*/ 2147483647 w 186"/>
                <a:gd name="T25" fmla="*/ 2147483647 h 120"/>
                <a:gd name="T26" fmla="*/ 2147483647 w 186"/>
                <a:gd name="T27" fmla="*/ 2147483647 h 120"/>
                <a:gd name="T28" fmla="*/ 2147483647 w 186"/>
                <a:gd name="T29" fmla="*/ 2147483647 h 120"/>
                <a:gd name="T30" fmla="*/ 2147483647 w 186"/>
                <a:gd name="T31" fmla="*/ 2147483647 h 120"/>
                <a:gd name="T32" fmla="*/ 2147483647 w 186"/>
                <a:gd name="T33" fmla="*/ 2147483647 h 120"/>
                <a:gd name="T34" fmla="*/ 2147483647 w 186"/>
                <a:gd name="T35" fmla="*/ 2147483647 h 120"/>
                <a:gd name="T36" fmla="*/ 2147483647 w 186"/>
                <a:gd name="T37" fmla="*/ 2147483647 h 120"/>
                <a:gd name="T38" fmla="*/ 2147483647 w 186"/>
                <a:gd name="T39" fmla="*/ 2147483647 h 120"/>
                <a:gd name="T40" fmla="*/ 2147483647 w 186"/>
                <a:gd name="T41" fmla="*/ 2147483647 h 120"/>
                <a:gd name="T42" fmla="*/ 2147483647 w 186"/>
                <a:gd name="T43" fmla="*/ 2147483647 h 120"/>
                <a:gd name="T44" fmla="*/ 2147483647 w 186"/>
                <a:gd name="T45" fmla="*/ 2147483647 h 120"/>
                <a:gd name="T46" fmla="*/ 2147483647 w 186"/>
                <a:gd name="T47" fmla="*/ 2147483647 h 120"/>
                <a:gd name="T48" fmla="*/ 2147483647 w 186"/>
                <a:gd name="T49" fmla="*/ 2147483647 h 120"/>
                <a:gd name="T50" fmla="*/ 2147483647 w 186"/>
                <a:gd name="T51" fmla="*/ 2147483647 h 120"/>
                <a:gd name="T52" fmla="*/ 2147483647 w 186"/>
                <a:gd name="T53" fmla="*/ 2147483647 h 120"/>
                <a:gd name="T54" fmla="*/ 2147483647 w 186"/>
                <a:gd name="T55" fmla="*/ 2147483647 h 120"/>
                <a:gd name="T56" fmla="*/ 2147483647 w 186"/>
                <a:gd name="T57" fmla="*/ 2147483647 h 120"/>
                <a:gd name="T58" fmla="*/ 2147483647 w 186"/>
                <a:gd name="T59" fmla="*/ 2147483647 h 120"/>
                <a:gd name="T60" fmla="*/ 2147483647 w 186"/>
                <a:gd name="T61" fmla="*/ 2147483647 h 120"/>
                <a:gd name="T62" fmla="*/ 2147483647 w 186"/>
                <a:gd name="T63" fmla="*/ 2147483647 h 120"/>
                <a:gd name="T64" fmla="*/ 2147483647 w 186"/>
                <a:gd name="T65" fmla="*/ 2147483647 h 120"/>
                <a:gd name="T66" fmla="*/ 2147483647 w 186"/>
                <a:gd name="T67" fmla="*/ 2147483647 h 120"/>
                <a:gd name="T68" fmla="*/ 2147483647 w 186"/>
                <a:gd name="T69" fmla="*/ 2147483647 h 120"/>
                <a:gd name="T70" fmla="*/ 2147483647 w 186"/>
                <a:gd name="T71" fmla="*/ 2147483647 h 120"/>
                <a:gd name="T72" fmla="*/ 2147483647 w 186"/>
                <a:gd name="T73" fmla="*/ 2147483647 h 120"/>
                <a:gd name="T74" fmla="*/ 2147483647 w 186"/>
                <a:gd name="T75" fmla="*/ 2147483647 h 120"/>
                <a:gd name="T76" fmla="*/ 2147483647 w 186"/>
                <a:gd name="T77" fmla="*/ 2147483647 h 120"/>
                <a:gd name="T78" fmla="*/ 2147483647 w 186"/>
                <a:gd name="T79" fmla="*/ 2147483647 h 120"/>
                <a:gd name="T80" fmla="*/ 2147483647 w 186"/>
                <a:gd name="T81" fmla="*/ 2147483647 h 120"/>
                <a:gd name="T82" fmla="*/ 2147483647 w 186"/>
                <a:gd name="T83" fmla="*/ 2147483647 h 120"/>
                <a:gd name="T84" fmla="*/ 2147483647 w 186"/>
                <a:gd name="T85" fmla="*/ 2147483647 h 120"/>
                <a:gd name="T86" fmla="*/ 2147483647 w 186"/>
                <a:gd name="T87" fmla="*/ 2147483647 h 120"/>
                <a:gd name="T88" fmla="*/ 0 w 186"/>
                <a:gd name="T89" fmla="*/ 2147483647 h 12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86"/>
                <a:gd name="T136" fmla="*/ 0 h 120"/>
                <a:gd name="T137" fmla="*/ 186 w 186"/>
                <a:gd name="T138" fmla="*/ 120 h 12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86" h="120">
                  <a:moveTo>
                    <a:pt x="0" y="26"/>
                  </a:moveTo>
                  <a:lnTo>
                    <a:pt x="0" y="24"/>
                  </a:lnTo>
                  <a:lnTo>
                    <a:pt x="6" y="22"/>
                  </a:lnTo>
                  <a:lnTo>
                    <a:pt x="12" y="24"/>
                  </a:lnTo>
                  <a:lnTo>
                    <a:pt x="18" y="22"/>
                  </a:lnTo>
                  <a:lnTo>
                    <a:pt x="24" y="20"/>
                  </a:lnTo>
                  <a:lnTo>
                    <a:pt x="30" y="16"/>
                  </a:lnTo>
                  <a:lnTo>
                    <a:pt x="32" y="16"/>
                  </a:lnTo>
                  <a:lnTo>
                    <a:pt x="38" y="14"/>
                  </a:lnTo>
                  <a:lnTo>
                    <a:pt x="44" y="16"/>
                  </a:lnTo>
                  <a:lnTo>
                    <a:pt x="50" y="16"/>
                  </a:lnTo>
                  <a:lnTo>
                    <a:pt x="52" y="16"/>
                  </a:lnTo>
                  <a:lnTo>
                    <a:pt x="60" y="16"/>
                  </a:lnTo>
                  <a:lnTo>
                    <a:pt x="66" y="16"/>
                  </a:lnTo>
                  <a:lnTo>
                    <a:pt x="72" y="12"/>
                  </a:lnTo>
                  <a:lnTo>
                    <a:pt x="78" y="8"/>
                  </a:lnTo>
                  <a:lnTo>
                    <a:pt x="82" y="6"/>
                  </a:lnTo>
                  <a:lnTo>
                    <a:pt x="86" y="4"/>
                  </a:lnTo>
                  <a:lnTo>
                    <a:pt x="92" y="0"/>
                  </a:lnTo>
                  <a:lnTo>
                    <a:pt x="98" y="0"/>
                  </a:lnTo>
                  <a:lnTo>
                    <a:pt x="104" y="0"/>
                  </a:lnTo>
                  <a:lnTo>
                    <a:pt x="108" y="0"/>
                  </a:lnTo>
                  <a:lnTo>
                    <a:pt x="112" y="0"/>
                  </a:lnTo>
                  <a:lnTo>
                    <a:pt x="120" y="0"/>
                  </a:lnTo>
                  <a:lnTo>
                    <a:pt x="126" y="0"/>
                  </a:lnTo>
                  <a:lnTo>
                    <a:pt x="132" y="0"/>
                  </a:lnTo>
                  <a:lnTo>
                    <a:pt x="138" y="0"/>
                  </a:lnTo>
                  <a:lnTo>
                    <a:pt x="144" y="0"/>
                  </a:lnTo>
                  <a:lnTo>
                    <a:pt x="146" y="0"/>
                  </a:lnTo>
                  <a:lnTo>
                    <a:pt x="152" y="0"/>
                  </a:lnTo>
                  <a:lnTo>
                    <a:pt x="158" y="0"/>
                  </a:lnTo>
                  <a:lnTo>
                    <a:pt x="166" y="0"/>
                  </a:lnTo>
                  <a:lnTo>
                    <a:pt x="172" y="0"/>
                  </a:lnTo>
                  <a:lnTo>
                    <a:pt x="176" y="0"/>
                  </a:lnTo>
                  <a:lnTo>
                    <a:pt x="182" y="0"/>
                  </a:lnTo>
                  <a:lnTo>
                    <a:pt x="182" y="4"/>
                  </a:lnTo>
                  <a:lnTo>
                    <a:pt x="184" y="12"/>
                  </a:lnTo>
                  <a:lnTo>
                    <a:pt x="186" y="16"/>
                  </a:lnTo>
                  <a:lnTo>
                    <a:pt x="184" y="20"/>
                  </a:lnTo>
                  <a:lnTo>
                    <a:pt x="182" y="26"/>
                  </a:lnTo>
                  <a:lnTo>
                    <a:pt x="178" y="30"/>
                  </a:lnTo>
                  <a:lnTo>
                    <a:pt x="170" y="30"/>
                  </a:lnTo>
                  <a:lnTo>
                    <a:pt x="166" y="34"/>
                  </a:lnTo>
                  <a:lnTo>
                    <a:pt x="166" y="36"/>
                  </a:lnTo>
                  <a:lnTo>
                    <a:pt x="168" y="36"/>
                  </a:lnTo>
                  <a:lnTo>
                    <a:pt x="174" y="40"/>
                  </a:lnTo>
                  <a:lnTo>
                    <a:pt x="180" y="46"/>
                  </a:lnTo>
                  <a:lnTo>
                    <a:pt x="182" y="50"/>
                  </a:lnTo>
                  <a:lnTo>
                    <a:pt x="182" y="56"/>
                  </a:lnTo>
                  <a:lnTo>
                    <a:pt x="182" y="64"/>
                  </a:lnTo>
                  <a:lnTo>
                    <a:pt x="176" y="68"/>
                  </a:lnTo>
                  <a:lnTo>
                    <a:pt x="170" y="70"/>
                  </a:lnTo>
                  <a:lnTo>
                    <a:pt x="166" y="72"/>
                  </a:lnTo>
                  <a:lnTo>
                    <a:pt x="160" y="72"/>
                  </a:lnTo>
                  <a:lnTo>
                    <a:pt x="154" y="70"/>
                  </a:lnTo>
                  <a:lnTo>
                    <a:pt x="150" y="70"/>
                  </a:lnTo>
                  <a:lnTo>
                    <a:pt x="144" y="74"/>
                  </a:lnTo>
                  <a:lnTo>
                    <a:pt x="138" y="78"/>
                  </a:lnTo>
                  <a:lnTo>
                    <a:pt x="132" y="80"/>
                  </a:lnTo>
                  <a:lnTo>
                    <a:pt x="126" y="80"/>
                  </a:lnTo>
                  <a:lnTo>
                    <a:pt x="120" y="82"/>
                  </a:lnTo>
                  <a:lnTo>
                    <a:pt x="116" y="88"/>
                  </a:lnTo>
                  <a:lnTo>
                    <a:pt x="114" y="94"/>
                  </a:lnTo>
                  <a:lnTo>
                    <a:pt x="112" y="100"/>
                  </a:lnTo>
                  <a:lnTo>
                    <a:pt x="108" y="106"/>
                  </a:lnTo>
                  <a:lnTo>
                    <a:pt x="106" y="112"/>
                  </a:lnTo>
                  <a:lnTo>
                    <a:pt x="102" y="118"/>
                  </a:lnTo>
                  <a:lnTo>
                    <a:pt x="100" y="118"/>
                  </a:lnTo>
                  <a:lnTo>
                    <a:pt x="98" y="120"/>
                  </a:lnTo>
                  <a:lnTo>
                    <a:pt x="96" y="114"/>
                  </a:lnTo>
                  <a:lnTo>
                    <a:pt x="96" y="110"/>
                  </a:lnTo>
                  <a:lnTo>
                    <a:pt x="90" y="106"/>
                  </a:lnTo>
                  <a:lnTo>
                    <a:pt x="90" y="100"/>
                  </a:lnTo>
                  <a:lnTo>
                    <a:pt x="84" y="100"/>
                  </a:lnTo>
                  <a:lnTo>
                    <a:pt x="78" y="98"/>
                  </a:lnTo>
                  <a:lnTo>
                    <a:pt x="82" y="90"/>
                  </a:lnTo>
                  <a:lnTo>
                    <a:pt x="76" y="92"/>
                  </a:lnTo>
                  <a:lnTo>
                    <a:pt x="74" y="86"/>
                  </a:lnTo>
                  <a:lnTo>
                    <a:pt x="80" y="82"/>
                  </a:lnTo>
                  <a:lnTo>
                    <a:pt x="86" y="76"/>
                  </a:lnTo>
                  <a:lnTo>
                    <a:pt x="92" y="74"/>
                  </a:lnTo>
                  <a:lnTo>
                    <a:pt x="98" y="76"/>
                  </a:lnTo>
                  <a:lnTo>
                    <a:pt x="94" y="72"/>
                  </a:lnTo>
                  <a:lnTo>
                    <a:pt x="88" y="70"/>
                  </a:lnTo>
                  <a:lnTo>
                    <a:pt x="84" y="74"/>
                  </a:lnTo>
                  <a:lnTo>
                    <a:pt x="78" y="78"/>
                  </a:lnTo>
                  <a:lnTo>
                    <a:pt x="74" y="72"/>
                  </a:lnTo>
                  <a:lnTo>
                    <a:pt x="70" y="66"/>
                  </a:lnTo>
                  <a:lnTo>
                    <a:pt x="78" y="60"/>
                  </a:lnTo>
                  <a:lnTo>
                    <a:pt x="84" y="56"/>
                  </a:lnTo>
                  <a:lnTo>
                    <a:pt x="90" y="58"/>
                  </a:lnTo>
                  <a:lnTo>
                    <a:pt x="96" y="56"/>
                  </a:lnTo>
                  <a:lnTo>
                    <a:pt x="100" y="62"/>
                  </a:lnTo>
                  <a:lnTo>
                    <a:pt x="102" y="64"/>
                  </a:lnTo>
                  <a:lnTo>
                    <a:pt x="108" y="64"/>
                  </a:lnTo>
                  <a:lnTo>
                    <a:pt x="102" y="60"/>
                  </a:lnTo>
                  <a:lnTo>
                    <a:pt x="102" y="54"/>
                  </a:lnTo>
                  <a:lnTo>
                    <a:pt x="104" y="50"/>
                  </a:lnTo>
                  <a:lnTo>
                    <a:pt x="102" y="50"/>
                  </a:lnTo>
                  <a:lnTo>
                    <a:pt x="94" y="50"/>
                  </a:lnTo>
                  <a:lnTo>
                    <a:pt x="88" y="54"/>
                  </a:lnTo>
                  <a:lnTo>
                    <a:pt x="82" y="52"/>
                  </a:lnTo>
                  <a:lnTo>
                    <a:pt x="78" y="52"/>
                  </a:lnTo>
                  <a:lnTo>
                    <a:pt x="70" y="54"/>
                  </a:lnTo>
                  <a:lnTo>
                    <a:pt x="64" y="60"/>
                  </a:lnTo>
                  <a:lnTo>
                    <a:pt x="62" y="62"/>
                  </a:lnTo>
                  <a:lnTo>
                    <a:pt x="56" y="64"/>
                  </a:lnTo>
                  <a:lnTo>
                    <a:pt x="50" y="64"/>
                  </a:lnTo>
                  <a:lnTo>
                    <a:pt x="44" y="66"/>
                  </a:lnTo>
                  <a:lnTo>
                    <a:pt x="46" y="60"/>
                  </a:lnTo>
                  <a:lnTo>
                    <a:pt x="50" y="54"/>
                  </a:lnTo>
                  <a:lnTo>
                    <a:pt x="56" y="50"/>
                  </a:lnTo>
                  <a:lnTo>
                    <a:pt x="60" y="46"/>
                  </a:lnTo>
                  <a:lnTo>
                    <a:pt x="54" y="46"/>
                  </a:lnTo>
                  <a:lnTo>
                    <a:pt x="48" y="48"/>
                  </a:lnTo>
                  <a:lnTo>
                    <a:pt x="42" y="52"/>
                  </a:lnTo>
                  <a:lnTo>
                    <a:pt x="36" y="54"/>
                  </a:lnTo>
                  <a:lnTo>
                    <a:pt x="30" y="52"/>
                  </a:lnTo>
                  <a:lnTo>
                    <a:pt x="24" y="48"/>
                  </a:lnTo>
                  <a:lnTo>
                    <a:pt x="22" y="46"/>
                  </a:lnTo>
                  <a:lnTo>
                    <a:pt x="22" y="42"/>
                  </a:lnTo>
                  <a:lnTo>
                    <a:pt x="22" y="36"/>
                  </a:lnTo>
                  <a:lnTo>
                    <a:pt x="28" y="30"/>
                  </a:lnTo>
                  <a:lnTo>
                    <a:pt x="34" y="26"/>
                  </a:lnTo>
                  <a:lnTo>
                    <a:pt x="30" y="28"/>
                  </a:lnTo>
                  <a:lnTo>
                    <a:pt x="24" y="28"/>
                  </a:lnTo>
                  <a:lnTo>
                    <a:pt x="18" y="34"/>
                  </a:lnTo>
                  <a:lnTo>
                    <a:pt x="12" y="32"/>
                  </a:lnTo>
                  <a:lnTo>
                    <a:pt x="6" y="26"/>
                  </a:lnTo>
                  <a:lnTo>
                    <a:pt x="0" y="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7" name="Freeform 235"/>
            <p:cNvSpPr>
              <a:spLocks/>
            </p:cNvSpPr>
            <p:nvPr/>
          </p:nvSpPr>
          <p:spPr bwMode="auto">
            <a:xfrm>
              <a:off x="4937125" y="4560888"/>
              <a:ext cx="261938" cy="465137"/>
            </a:xfrm>
            <a:custGeom>
              <a:avLst/>
              <a:gdLst>
                <a:gd name="T0" fmla="*/ 2147483647 w 644"/>
                <a:gd name="T1" fmla="*/ 2147483647 h 1132"/>
                <a:gd name="T2" fmla="*/ 2147483647 w 644"/>
                <a:gd name="T3" fmla="*/ 2147483647 h 1132"/>
                <a:gd name="T4" fmla="*/ 2147483647 w 644"/>
                <a:gd name="T5" fmla="*/ 2147483647 h 1132"/>
                <a:gd name="T6" fmla="*/ 2147483647 w 644"/>
                <a:gd name="T7" fmla="*/ 2147483647 h 1132"/>
                <a:gd name="T8" fmla="*/ 2147483647 w 644"/>
                <a:gd name="T9" fmla="*/ 2147483647 h 1132"/>
                <a:gd name="T10" fmla="*/ 2147483647 w 644"/>
                <a:gd name="T11" fmla="*/ 2147483647 h 1132"/>
                <a:gd name="T12" fmla="*/ 2147483647 w 644"/>
                <a:gd name="T13" fmla="*/ 2147483647 h 1132"/>
                <a:gd name="T14" fmla="*/ 2147483647 w 644"/>
                <a:gd name="T15" fmla="*/ 2147483647 h 1132"/>
                <a:gd name="T16" fmla="*/ 2147483647 w 644"/>
                <a:gd name="T17" fmla="*/ 2147483647 h 1132"/>
                <a:gd name="T18" fmla="*/ 2147483647 w 644"/>
                <a:gd name="T19" fmla="*/ 2147483647 h 1132"/>
                <a:gd name="T20" fmla="*/ 2147483647 w 644"/>
                <a:gd name="T21" fmla="*/ 2147483647 h 1132"/>
                <a:gd name="T22" fmla="*/ 2147483647 w 644"/>
                <a:gd name="T23" fmla="*/ 2147483647 h 1132"/>
                <a:gd name="T24" fmla="*/ 2147483647 w 644"/>
                <a:gd name="T25" fmla="*/ 2147483647 h 1132"/>
                <a:gd name="T26" fmla="*/ 2147483647 w 644"/>
                <a:gd name="T27" fmla="*/ 2147483647 h 1132"/>
                <a:gd name="T28" fmla="*/ 2147483647 w 644"/>
                <a:gd name="T29" fmla="*/ 2147483647 h 1132"/>
                <a:gd name="T30" fmla="*/ 2147483647 w 644"/>
                <a:gd name="T31" fmla="*/ 2147483647 h 1132"/>
                <a:gd name="T32" fmla="*/ 2147483647 w 644"/>
                <a:gd name="T33" fmla="*/ 2147483647 h 1132"/>
                <a:gd name="T34" fmla="*/ 2147483647 w 644"/>
                <a:gd name="T35" fmla="*/ 2147483647 h 1132"/>
                <a:gd name="T36" fmla="*/ 2147483647 w 644"/>
                <a:gd name="T37" fmla="*/ 0 h 1132"/>
                <a:gd name="T38" fmla="*/ 2147483647 w 644"/>
                <a:gd name="T39" fmla="*/ 2147483647 h 1132"/>
                <a:gd name="T40" fmla="*/ 2147483647 w 644"/>
                <a:gd name="T41" fmla="*/ 2147483647 h 1132"/>
                <a:gd name="T42" fmla="*/ 2147483647 w 644"/>
                <a:gd name="T43" fmla="*/ 2147483647 h 1132"/>
                <a:gd name="T44" fmla="*/ 2147483647 w 644"/>
                <a:gd name="T45" fmla="*/ 2147483647 h 1132"/>
                <a:gd name="T46" fmla="*/ 2147483647 w 644"/>
                <a:gd name="T47" fmla="*/ 2147483647 h 1132"/>
                <a:gd name="T48" fmla="*/ 2147483647 w 644"/>
                <a:gd name="T49" fmla="*/ 2147483647 h 1132"/>
                <a:gd name="T50" fmla="*/ 2147483647 w 644"/>
                <a:gd name="T51" fmla="*/ 2147483647 h 1132"/>
                <a:gd name="T52" fmla="*/ 2147483647 w 644"/>
                <a:gd name="T53" fmla="*/ 2147483647 h 1132"/>
                <a:gd name="T54" fmla="*/ 2147483647 w 644"/>
                <a:gd name="T55" fmla="*/ 2147483647 h 1132"/>
                <a:gd name="T56" fmla="*/ 2147483647 w 644"/>
                <a:gd name="T57" fmla="*/ 2147483647 h 1132"/>
                <a:gd name="T58" fmla="*/ 2147483647 w 644"/>
                <a:gd name="T59" fmla="*/ 2147483647 h 1132"/>
                <a:gd name="T60" fmla="*/ 2147483647 w 644"/>
                <a:gd name="T61" fmla="*/ 2147483647 h 1132"/>
                <a:gd name="T62" fmla="*/ 2147483647 w 644"/>
                <a:gd name="T63" fmla="*/ 2147483647 h 1132"/>
                <a:gd name="T64" fmla="*/ 2147483647 w 644"/>
                <a:gd name="T65" fmla="*/ 2147483647 h 1132"/>
                <a:gd name="T66" fmla="*/ 2147483647 w 644"/>
                <a:gd name="T67" fmla="*/ 2147483647 h 1132"/>
                <a:gd name="T68" fmla="*/ 2147483647 w 644"/>
                <a:gd name="T69" fmla="*/ 2147483647 h 1132"/>
                <a:gd name="T70" fmla="*/ 2147483647 w 644"/>
                <a:gd name="T71" fmla="*/ 2147483647 h 1132"/>
                <a:gd name="T72" fmla="*/ 2147483647 w 644"/>
                <a:gd name="T73" fmla="*/ 2147483647 h 1132"/>
                <a:gd name="T74" fmla="*/ 2147483647 w 644"/>
                <a:gd name="T75" fmla="*/ 2147483647 h 1132"/>
                <a:gd name="T76" fmla="*/ 2147483647 w 644"/>
                <a:gd name="T77" fmla="*/ 2147483647 h 1132"/>
                <a:gd name="T78" fmla="*/ 2147483647 w 644"/>
                <a:gd name="T79" fmla="*/ 2147483647 h 1132"/>
                <a:gd name="T80" fmla="*/ 2147483647 w 644"/>
                <a:gd name="T81" fmla="*/ 2147483647 h 1132"/>
                <a:gd name="T82" fmla="*/ 2147483647 w 644"/>
                <a:gd name="T83" fmla="*/ 2147483647 h 1132"/>
                <a:gd name="T84" fmla="*/ 2147483647 w 644"/>
                <a:gd name="T85" fmla="*/ 2147483647 h 1132"/>
                <a:gd name="T86" fmla="*/ 2147483647 w 644"/>
                <a:gd name="T87" fmla="*/ 2147483647 h 1132"/>
                <a:gd name="T88" fmla="*/ 2147483647 w 644"/>
                <a:gd name="T89" fmla="*/ 2147483647 h 1132"/>
                <a:gd name="T90" fmla="*/ 2147483647 w 644"/>
                <a:gd name="T91" fmla="*/ 2147483647 h 1132"/>
                <a:gd name="T92" fmla="*/ 2147483647 w 644"/>
                <a:gd name="T93" fmla="*/ 2147483647 h 1132"/>
                <a:gd name="T94" fmla="*/ 2147483647 w 644"/>
                <a:gd name="T95" fmla="*/ 2147483647 h 1132"/>
                <a:gd name="T96" fmla="*/ 2147483647 w 644"/>
                <a:gd name="T97" fmla="*/ 2147483647 h 1132"/>
                <a:gd name="T98" fmla="*/ 2147483647 w 644"/>
                <a:gd name="T99" fmla="*/ 2147483647 h 1132"/>
                <a:gd name="T100" fmla="*/ 2147483647 w 644"/>
                <a:gd name="T101" fmla="*/ 2147483647 h 1132"/>
                <a:gd name="T102" fmla="*/ 2147483647 w 644"/>
                <a:gd name="T103" fmla="*/ 2147483647 h 1132"/>
                <a:gd name="T104" fmla="*/ 2147483647 w 644"/>
                <a:gd name="T105" fmla="*/ 2147483647 h 1132"/>
                <a:gd name="T106" fmla="*/ 2147483647 w 644"/>
                <a:gd name="T107" fmla="*/ 2147483647 h 1132"/>
                <a:gd name="T108" fmla="*/ 2147483647 w 644"/>
                <a:gd name="T109" fmla="*/ 2147483647 h 1132"/>
                <a:gd name="T110" fmla="*/ 2147483647 w 644"/>
                <a:gd name="T111" fmla="*/ 2147483647 h 1132"/>
                <a:gd name="T112" fmla="*/ 2147483647 w 644"/>
                <a:gd name="T113" fmla="*/ 2147483647 h 1132"/>
                <a:gd name="T114" fmla="*/ 2147483647 w 644"/>
                <a:gd name="T115" fmla="*/ 2147483647 h 11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4"/>
                <a:gd name="T175" fmla="*/ 0 h 1132"/>
                <a:gd name="T176" fmla="*/ 644 w 644"/>
                <a:gd name="T177" fmla="*/ 1132 h 11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4" h="1132">
                  <a:moveTo>
                    <a:pt x="0" y="312"/>
                  </a:moveTo>
                  <a:lnTo>
                    <a:pt x="0" y="310"/>
                  </a:lnTo>
                  <a:lnTo>
                    <a:pt x="6" y="310"/>
                  </a:lnTo>
                  <a:lnTo>
                    <a:pt x="12" y="308"/>
                  </a:lnTo>
                  <a:lnTo>
                    <a:pt x="18" y="304"/>
                  </a:lnTo>
                  <a:lnTo>
                    <a:pt x="24" y="302"/>
                  </a:lnTo>
                  <a:lnTo>
                    <a:pt x="30" y="298"/>
                  </a:lnTo>
                  <a:lnTo>
                    <a:pt x="36" y="296"/>
                  </a:lnTo>
                  <a:lnTo>
                    <a:pt x="42" y="294"/>
                  </a:lnTo>
                  <a:lnTo>
                    <a:pt x="48" y="294"/>
                  </a:lnTo>
                  <a:lnTo>
                    <a:pt x="54" y="292"/>
                  </a:lnTo>
                  <a:lnTo>
                    <a:pt x="60" y="290"/>
                  </a:lnTo>
                  <a:lnTo>
                    <a:pt x="66" y="288"/>
                  </a:lnTo>
                  <a:lnTo>
                    <a:pt x="72" y="288"/>
                  </a:lnTo>
                  <a:lnTo>
                    <a:pt x="78" y="286"/>
                  </a:lnTo>
                  <a:lnTo>
                    <a:pt x="84" y="282"/>
                  </a:lnTo>
                  <a:lnTo>
                    <a:pt x="88" y="280"/>
                  </a:lnTo>
                  <a:lnTo>
                    <a:pt x="94" y="276"/>
                  </a:lnTo>
                  <a:lnTo>
                    <a:pt x="98" y="276"/>
                  </a:lnTo>
                  <a:lnTo>
                    <a:pt x="104" y="272"/>
                  </a:lnTo>
                  <a:lnTo>
                    <a:pt x="112" y="272"/>
                  </a:lnTo>
                  <a:lnTo>
                    <a:pt x="116" y="268"/>
                  </a:lnTo>
                  <a:lnTo>
                    <a:pt x="122" y="266"/>
                  </a:lnTo>
                  <a:lnTo>
                    <a:pt x="128" y="264"/>
                  </a:lnTo>
                  <a:lnTo>
                    <a:pt x="130" y="264"/>
                  </a:lnTo>
                  <a:lnTo>
                    <a:pt x="136" y="262"/>
                  </a:lnTo>
                  <a:lnTo>
                    <a:pt x="142" y="260"/>
                  </a:lnTo>
                  <a:lnTo>
                    <a:pt x="150" y="258"/>
                  </a:lnTo>
                  <a:lnTo>
                    <a:pt x="156" y="254"/>
                  </a:lnTo>
                  <a:lnTo>
                    <a:pt x="164" y="252"/>
                  </a:lnTo>
                  <a:lnTo>
                    <a:pt x="170" y="250"/>
                  </a:lnTo>
                  <a:lnTo>
                    <a:pt x="176" y="246"/>
                  </a:lnTo>
                  <a:lnTo>
                    <a:pt x="184" y="244"/>
                  </a:lnTo>
                  <a:lnTo>
                    <a:pt x="188" y="248"/>
                  </a:lnTo>
                  <a:lnTo>
                    <a:pt x="188" y="254"/>
                  </a:lnTo>
                  <a:lnTo>
                    <a:pt x="192" y="260"/>
                  </a:lnTo>
                  <a:lnTo>
                    <a:pt x="196" y="266"/>
                  </a:lnTo>
                  <a:lnTo>
                    <a:pt x="200" y="272"/>
                  </a:lnTo>
                  <a:lnTo>
                    <a:pt x="206" y="276"/>
                  </a:lnTo>
                  <a:lnTo>
                    <a:pt x="212" y="282"/>
                  </a:lnTo>
                  <a:lnTo>
                    <a:pt x="212" y="276"/>
                  </a:lnTo>
                  <a:lnTo>
                    <a:pt x="220" y="280"/>
                  </a:lnTo>
                  <a:lnTo>
                    <a:pt x="226" y="276"/>
                  </a:lnTo>
                  <a:lnTo>
                    <a:pt x="232" y="276"/>
                  </a:lnTo>
                  <a:lnTo>
                    <a:pt x="238" y="274"/>
                  </a:lnTo>
                  <a:lnTo>
                    <a:pt x="244" y="272"/>
                  </a:lnTo>
                  <a:lnTo>
                    <a:pt x="250" y="272"/>
                  </a:lnTo>
                  <a:lnTo>
                    <a:pt x="256" y="274"/>
                  </a:lnTo>
                  <a:lnTo>
                    <a:pt x="260" y="280"/>
                  </a:lnTo>
                  <a:lnTo>
                    <a:pt x="262" y="286"/>
                  </a:lnTo>
                  <a:lnTo>
                    <a:pt x="262" y="294"/>
                  </a:lnTo>
                  <a:lnTo>
                    <a:pt x="264" y="300"/>
                  </a:lnTo>
                  <a:lnTo>
                    <a:pt x="264" y="306"/>
                  </a:lnTo>
                  <a:lnTo>
                    <a:pt x="266" y="312"/>
                  </a:lnTo>
                  <a:lnTo>
                    <a:pt x="264" y="316"/>
                  </a:lnTo>
                  <a:lnTo>
                    <a:pt x="264" y="322"/>
                  </a:lnTo>
                  <a:lnTo>
                    <a:pt x="264" y="328"/>
                  </a:lnTo>
                  <a:lnTo>
                    <a:pt x="264" y="332"/>
                  </a:lnTo>
                  <a:lnTo>
                    <a:pt x="260" y="338"/>
                  </a:lnTo>
                  <a:lnTo>
                    <a:pt x="254" y="344"/>
                  </a:lnTo>
                  <a:lnTo>
                    <a:pt x="254" y="352"/>
                  </a:lnTo>
                  <a:lnTo>
                    <a:pt x="254" y="354"/>
                  </a:lnTo>
                  <a:lnTo>
                    <a:pt x="252" y="360"/>
                  </a:lnTo>
                  <a:lnTo>
                    <a:pt x="246" y="364"/>
                  </a:lnTo>
                  <a:lnTo>
                    <a:pt x="242" y="370"/>
                  </a:lnTo>
                  <a:lnTo>
                    <a:pt x="246" y="378"/>
                  </a:lnTo>
                  <a:lnTo>
                    <a:pt x="250" y="382"/>
                  </a:lnTo>
                  <a:lnTo>
                    <a:pt x="252" y="390"/>
                  </a:lnTo>
                  <a:lnTo>
                    <a:pt x="252" y="396"/>
                  </a:lnTo>
                  <a:lnTo>
                    <a:pt x="256" y="402"/>
                  </a:lnTo>
                  <a:lnTo>
                    <a:pt x="262" y="406"/>
                  </a:lnTo>
                  <a:lnTo>
                    <a:pt x="266" y="412"/>
                  </a:lnTo>
                  <a:lnTo>
                    <a:pt x="272" y="418"/>
                  </a:lnTo>
                  <a:lnTo>
                    <a:pt x="276" y="424"/>
                  </a:lnTo>
                  <a:lnTo>
                    <a:pt x="280" y="430"/>
                  </a:lnTo>
                  <a:lnTo>
                    <a:pt x="286" y="436"/>
                  </a:lnTo>
                  <a:lnTo>
                    <a:pt x="288" y="438"/>
                  </a:lnTo>
                  <a:lnTo>
                    <a:pt x="294" y="442"/>
                  </a:lnTo>
                  <a:lnTo>
                    <a:pt x="294" y="448"/>
                  </a:lnTo>
                  <a:lnTo>
                    <a:pt x="288" y="454"/>
                  </a:lnTo>
                  <a:lnTo>
                    <a:pt x="290" y="460"/>
                  </a:lnTo>
                  <a:lnTo>
                    <a:pt x="298" y="460"/>
                  </a:lnTo>
                  <a:lnTo>
                    <a:pt x="300" y="460"/>
                  </a:lnTo>
                  <a:lnTo>
                    <a:pt x="302" y="460"/>
                  </a:lnTo>
                  <a:lnTo>
                    <a:pt x="304" y="456"/>
                  </a:lnTo>
                  <a:lnTo>
                    <a:pt x="304" y="450"/>
                  </a:lnTo>
                  <a:lnTo>
                    <a:pt x="302" y="444"/>
                  </a:lnTo>
                  <a:lnTo>
                    <a:pt x="304" y="438"/>
                  </a:lnTo>
                  <a:lnTo>
                    <a:pt x="302" y="432"/>
                  </a:lnTo>
                  <a:lnTo>
                    <a:pt x="300" y="426"/>
                  </a:lnTo>
                  <a:lnTo>
                    <a:pt x="294" y="420"/>
                  </a:lnTo>
                  <a:lnTo>
                    <a:pt x="298" y="416"/>
                  </a:lnTo>
                  <a:lnTo>
                    <a:pt x="302" y="412"/>
                  </a:lnTo>
                  <a:lnTo>
                    <a:pt x="304" y="406"/>
                  </a:lnTo>
                  <a:lnTo>
                    <a:pt x="304" y="400"/>
                  </a:lnTo>
                  <a:lnTo>
                    <a:pt x="310" y="394"/>
                  </a:lnTo>
                  <a:lnTo>
                    <a:pt x="314" y="390"/>
                  </a:lnTo>
                  <a:lnTo>
                    <a:pt x="320" y="390"/>
                  </a:lnTo>
                  <a:lnTo>
                    <a:pt x="328" y="390"/>
                  </a:lnTo>
                  <a:lnTo>
                    <a:pt x="332" y="386"/>
                  </a:lnTo>
                  <a:lnTo>
                    <a:pt x="336" y="386"/>
                  </a:lnTo>
                  <a:lnTo>
                    <a:pt x="336" y="380"/>
                  </a:lnTo>
                  <a:lnTo>
                    <a:pt x="338" y="374"/>
                  </a:lnTo>
                  <a:lnTo>
                    <a:pt x="338" y="368"/>
                  </a:lnTo>
                  <a:lnTo>
                    <a:pt x="340" y="362"/>
                  </a:lnTo>
                  <a:lnTo>
                    <a:pt x="340" y="356"/>
                  </a:lnTo>
                  <a:lnTo>
                    <a:pt x="340" y="350"/>
                  </a:lnTo>
                  <a:lnTo>
                    <a:pt x="340" y="344"/>
                  </a:lnTo>
                  <a:lnTo>
                    <a:pt x="340" y="338"/>
                  </a:lnTo>
                  <a:lnTo>
                    <a:pt x="340" y="334"/>
                  </a:lnTo>
                  <a:lnTo>
                    <a:pt x="338" y="330"/>
                  </a:lnTo>
                  <a:lnTo>
                    <a:pt x="338" y="324"/>
                  </a:lnTo>
                  <a:lnTo>
                    <a:pt x="340" y="318"/>
                  </a:lnTo>
                  <a:lnTo>
                    <a:pt x="342" y="312"/>
                  </a:lnTo>
                  <a:lnTo>
                    <a:pt x="344" y="308"/>
                  </a:lnTo>
                  <a:lnTo>
                    <a:pt x="344" y="302"/>
                  </a:lnTo>
                  <a:lnTo>
                    <a:pt x="344" y="296"/>
                  </a:lnTo>
                  <a:lnTo>
                    <a:pt x="344" y="294"/>
                  </a:lnTo>
                  <a:lnTo>
                    <a:pt x="344" y="288"/>
                  </a:lnTo>
                  <a:lnTo>
                    <a:pt x="342" y="286"/>
                  </a:lnTo>
                  <a:lnTo>
                    <a:pt x="338" y="280"/>
                  </a:lnTo>
                  <a:lnTo>
                    <a:pt x="332" y="274"/>
                  </a:lnTo>
                  <a:lnTo>
                    <a:pt x="328" y="268"/>
                  </a:lnTo>
                  <a:lnTo>
                    <a:pt x="328" y="266"/>
                  </a:lnTo>
                  <a:lnTo>
                    <a:pt x="322" y="260"/>
                  </a:lnTo>
                  <a:lnTo>
                    <a:pt x="320" y="254"/>
                  </a:lnTo>
                  <a:lnTo>
                    <a:pt x="316" y="246"/>
                  </a:lnTo>
                  <a:lnTo>
                    <a:pt x="310" y="240"/>
                  </a:lnTo>
                  <a:lnTo>
                    <a:pt x="306" y="234"/>
                  </a:lnTo>
                  <a:lnTo>
                    <a:pt x="302" y="228"/>
                  </a:lnTo>
                  <a:lnTo>
                    <a:pt x="298" y="222"/>
                  </a:lnTo>
                  <a:lnTo>
                    <a:pt x="292" y="216"/>
                  </a:lnTo>
                  <a:lnTo>
                    <a:pt x="290" y="214"/>
                  </a:lnTo>
                  <a:lnTo>
                    <a:pt x="284" y="208"/>
                  </a:lnTo>
                  <a:lnTo>
                    <a:pt x="282" y="208"/>
                  </a:lnTo>
                  <a:lnTo>
                    <a:pt x="276" y="208"/>
                  </a:lnTo>
                  <a:lnTo>
                    <a:pt x="270" y="204"/>
                  </a:lnTo>
                  <a:lnTo>
                    <a:pt x="266" y="198"/>
                  </a:lnTo>
                  <a:lnTo>
                    <a:pt x="266" y="192"/>
                  </a:lnTo>
                  <a:lnTo>
                    <a:pt x="268" y="186"/>
                  </a:lnTo>
                  <a:lnTo>
                    <a:pt x="268" y="180"/>
                  </a:lnTo>
                  <a:lnTo>
                    <a:pt x="266" y="174"/>
                  </a:lnTo>
                  <a:lnTo>
                    <a:pt x="266" y="168"/>
                  </a:lnTo>
                  <a:lnTo>
                    <a:pt x="266" y="162"/>
                  </a:lnTo>
                  <a:lnTo>
                    <a:pt x="264" y="156"/>
                  </a:lnTo>
                  <a:lnTo>
                    <a:pt x="264" y="150"/>
                  </a:lnTo>
                  <a:lnTo>
                    <a:pt x="262" y="144"/>
                  </a:lnTo>
                  <a:lnTo>
                    <a:pt x="260" y="140"/>
                  </a:lnTo>
                  <a:lnTo>
                    <a:pt x="260" y="134"/>
                  </a:lnTo>
                  <a:lnTo>
                    <a:pt x="258" y="128"/>
                  </a:lnTo>
                  <a:lnTo>
                    <a:pt x="256" y="122"/>
                  </a:lnTo>
                  <a:lnTo>
                    <a:pt x="256" y="116"/>
                  </a:lnTo>
                  <a:lnTo>
                    <a:pt x="258" y="110"/>
                  </a:lnTo>
                  <a:lnTo>
                    <a:pt x="262" y="104"/>
                  </a:lnTo>
                  <a:lnTo>
                    <a:pt x="266" y="98"/>
                  </a:lnTo>
                  <a:lnTo>
                    <a:pt x="268" y="94"/>
                  </a:lnTo>
                  <a:lnTo>
                    <a:pt x="272" y="86"/>
                  </a:lnTo>
                  <a:lnTo>
                    <a:pt x="272" y="82"/>
                  </a:lnTo>
                  <a:lnTo>
                    <a:pt x="274" y="76"/>
                  </a:lnTo>
                  <a:lnTo>
                    <a:pt x="280" y="74"/>
                  </a:lnTo>
                  <a:lnTo>
                    <a:pt x="288" y="74"/>
                  </a:lnTo>
                  <a:lnTo>
                    <a:pt x="294" y="74"/>
                  </a:lnTo>
                  <a:lnTo>
                    <a:pt x="296" y="74"/>
                  </a:lnTo>
                  <a:lnTo>
                    <a:pt x="302" y="74"/>
                  </a:lnTo>
                  <a:lnTo>
                    <a:pt x="308" y="76"/>
                  </a:lnTo>
                  <a:lnTo>
                    <a:pt x="314" y="76"/>
                  </a:lnTo>
                  <a:lnTo>
                    <a:pt x="320" y="76"/>
                  </a:lnTo>
                  <a:lnTo>
                    <a:pt x="326" y="76"/>
                  </a:lnTo>
                  <a:lnTo>
                    <a:pt x="332" y="76"/>
                  </a:lnTo>
                  <a:lnTo>
                    <a:pt x="338" y="70"/>
                  </a:lnTo>
                  <a:lnTo>
                    <a:pt x="344" y="66"/>
                  </a:lnTo>
                  <a:lnTo>
                    <a:pt x="350" y="64"/>
                  </a:lnTo>
                  <a:lnTo>
                    <a:pt x="356" y="70"/>
                  </a:lnTo>
                  <a:lnTo>
                    <a:pt x="362" y="72"/>
                  </a:lnTo>
                  <a:lnTo>
                    <a:pt x="366" y="78"/>
                  </a:lnTo>
                  <a:lnTo>
                    <a:pt x="372" y="84"/>
                  </a:lnTo>
                  <a:lnTo>
                    <a:pt x="378" y="84"/>
                  </a:lnTo>
                  <a:lnTo>
                    <a:pt x="384" y="82"/>
                  </a:lnTo>
                  <a:lnTo>
                    <a:pt x="390" y="86"/>
                  </a:lnTo>
                  <a:lnTo>
                    <a:pt x="396" y="86"/>
                  </a:lnTo>
                  <a:lnTo>
                    <a:pt x="402" y="82"/>
                  </a:lnTo>
                  <a:lnTo>
                    <a:pt x="406" y="76"/>
                  </a:lnTo>
                  <a:lnTo>
                    <a:pt x="412" y="76"/>
                  </a:lnTo>
                  <a:lnTo>
                    <a:pt x="418" y="76"/>
                  </a:lnTo>
                  <a:lnTo>
                    <a:pt x="424" y="82"/>
                  </a:lnTo>
                  <a:lnTo>
                    <a:pt x="430" y="82"/>
                  </a:lnTo>
                  <a:lnTo>
                    <a:pt x="436" y="84"/>
                  </a:lnTo>
                  <a:lnTo>
                    <a:pt x="442" y="86"/>
                  </a:lnTo>
                  <a:lnTo>
                    <a:pt x="446" y="86"/>
                  </a:lnTo>
                  <a:lnTo>
                    <a:pt x="450" y="80"/>
                  </a:lnTo>
                  <a:lnTo>
                    <a:pt x="456" y="80"/>
                  </a:lnTo>
                  <a:lnTo>
                    <a:pt x="462" y="76"/>
                  </a:lnTo>
                  <a:lnTo>
                    <a:pt x="466" y="70"/>
                  </a:lnTo>
                  <a:lnTo>
                    <a:pt x="468" y="64"/>
                  </a:lnTo>
                  <a:lnTo>
                    <a:pt x="472" y="58"/>
                  </a:lnTo>
                  <a:lnTo>
                    <a:pt x="476" y="54"/>
                  </a:lnTo>
                  <a:lnTo>
                    <a:pt x="482" y="54"/>
                  </a:lnTo>
                  <a:lnTo>
                    <a:pt x="484" y="52"/>
                  </a:lnTo>
                  <a:lnTo>
                    <a:pt x="490" y="54"/>
                  </a:lnTo>
                  <a:lnTo>
                    <a:pt x="496" y="56"/>
                  </a:lnTo>
                  <a:lnTo>
                    <a:pt x="502" y="62"/>
                  </a:lnTo>
                  <a:lnTo>
                    <a:pt x="508" y="64"/>
                  </a:lnTo>
                  <a:lnTo>
                    <a:pt x="514" y="58"/>
                  </a:lnTo>
                  <a:lnTo>
                    <a:pt x="520" y="54"/>
                  </a:lnTo>
                  <a:lnTo>
                    <a:pt x="526" y="52"/>
                  </a:lnTo>
                  <a:lnTo>
                    <a:pt x="532" y="48"/>
                  </a:lnTo>
                  <a:lnTo>
                    <a:pt x="538" y="48"/>
                  </a:lnTo>
                  <a:lnTo>
                    <a:pt x="544" y="46"/>
                  </a:lnTo>
                  <a:lnTo>
                    <a:pt x="550" y="46"/>
                  </a:lnTo>
                  <a:lnTo>
                    <a:pt x="556" y="48"/>
                  </a:lnTo>
                  <a:lnTo>
                    <a:pt x="562" y="42"/>
                  </a:lnTo>
                  <a:lnTo>
                    <a:pt x="568" y="38"/>
                  </a:lnTo>
                  <a:lnTo>
                    <a:pt x="572" y="34"/>
                  </a:lnTo>
                  <a:lnTo>
                    <a:pt x="578" y="32"/>
                  </a:lnTo>
                  <a:lnTo>
                    <a:pt x="586" y="30"/>
                  </a:lnTo>
                  <a:lnTo>
                    <a:pt x="590" y="26"/>
                  </a:lnTo>
                  <a:lnTo>
                    <a:pt x="598" y="22"/>
                  </a:lnTo>
                  <a:lnTo>
                    <a:pt x="600" y="22"/>
                  </a:lnTo>
                  <a:lnTo>
                    <a:pt x="606" y="16"/>
                  </a:lnTo>
                  <a:lnTo>
                    <a:pt x="612" y="12"/>
                  </a:lnTo>
                  <a:lnTo>
                    <a:pt x="618" y="6"/>
                  </a:lnTo>
                  <a:lnTo>
                    <a:pt x="624" y="4"/>
                  </a:lnTo>
                  <a:lnTo>
                    <a:pt x="628" y="0"/>
                  </a:lnTo>
                  <a:lnTo>
                    <a:pt x="632" y="2"/>
                  </a:lnTo>
                  <a:lnTo>
                    <a:pt x="636" y="8"/>
                  </a:lnTo>
                  <a:lnTo>
                    <a:pt x="636" y="14"/>
                  </a:lnTo>
                  <a:lnTo>
                    <a:pt x="630" y="20"/>
                  </a:lnTo>
                  <a:lnTo>
                    <a:pt x="636" y="22"/>
                  </a:lnTo>
                  <a:lnTo>
                    <a:pt x="632" y="28"/>
                  </a:lnTo>
                  <a:lnTo>
                    <a:pt x="632" y="34"/>
                  </a:lnTo>
                  <a:lnTo>
                    <a:pt x="634" y="40"/>
                  </a:lnTo>
                  <a:lnTo>
                    <a:pt x="630" y="46"/>
                  </a:lnTo>
                  <a:lnTo>
                    <a:pt x="626" y="52"/>
                  </a:lnTo>
                  <a:lnTo>
                    <a:pt x="622" y="58"/>
                  </a:lnTo>
                  <a:lnTo>
                    <a:pt x="622" y="60"/>
                  </a:lnTo>
                  <a:lnTo>
                    <a:pt x="628" y="64"/>
                  </a:lnTo>
                  <a:lnTo>
                    <a:pt x="626" y="70"/>
                  </a:lnTo>
                  <a:lnTo>
                    <a:pt x="628" y="76"/>
                  </a:lnTo>
                  <a:lnTo>
                    <a:pt x="626" y="82"/>
                  </a:lnTo>
                  <a:lnTo>
                    <a:pt x="626" y="84"/>
                  </a:lnTo>
                  <a:lnTo>
                    <a:pt x="628" y="90"/>
                  </a:lnTo>
                  <a:lnTo>
                    <a:pt x="628" y="98"/>
                  </a:lnTo>
                  <a:lnTo>
                    <a:pt x="630" y="102"/>
                  </a:lnTo>
                  <a:lnTo>
                    <a:pt x="630" y="110"/>
                  </a:lnTo>
                  <a:lnTo>
                    <a:pt x="628" y="116"/>
                  </a:lnTo>
                  <a:lnTo>
                    <a:pt x="628" y="122"/>
                  </a:lnTo>
                  <a:lnTo>
                    <a:pt x="626" y="122"/>
                  </a:lnTo>
                  <a:lnTo>
                    <a:pt x="630" y="128"/>
                  </a:lnTo>
                  <a:lnTo>
                    <a:pt x="630" y="134"/>
                  </a:lnTo>
                  <a:lnTo>
                    <a:pt x="626" y="140"/>
                  </a:lnTo>
                  <a:lnTo>
                    <a:pt x="632" y="146"/>
                  </a:lnTo>
                  <a:lnTo>
                    <a:pt x="632" y="152"/>
                  </a:lnTo>
                  <a:lnTo>
                    <a:pt x="632" y="158"/>
                  </a:lnTo>
                  <a:lnTo>
                    <a:pt x="630" y="164"/>
                  </a:lnTo>
                  <a:lnTo>
                    <a:pt x="626" y="170"/>
                  </a:lnTo>
                  <a:lnTo>
                    <a:pt x="632" y="174"/>
                  </a:lnTo>
                  <a:lnTo>
                    <a:pt x="630" y="178"/>
                  </a:lnTo>
                  <a:lnTo>
                    <a:pt x="632" y="186"/>
                  </a:lnTo>
                  <a:lnTo>
                    <a:pt x="630" y="192"/>
                  </a:lnTo>
                  <a:lnTo>
                    <a:pt x="630" y="198"/>
                  </a:lnTo>
                  <a:lnTo>
                    <a:pt x="628" y="204"/>
                  </a:lnTo>
                  <a:lnTo>
                    <a:pt x="628" y="210"/>
                  </a:lnTo>
                  <a:lnTo>
                    <a:pt x="628" y="216"/>
                  </a:lnTo>
                  <a:lnTo>
                    <a:pt x="630" y="222"/>
                  </a:lnTo>
                  <a:lnTo>
                    <a:pt x="630" y="228"/>
                  </a:lnTo>
                  <a:lnTo>
                    <a:pt x="632" y="234"/>
                  </a:lnTo>
                  <a:lnTo>
                    <a:pt x="634" y="240"/>
                  </a:lnTo>
                  <a:lnTo>
                    <a:pt x="634" y="246"/>
                  </a:lnTo>
                  <a:lnTo>
                    <a:pt x="630" y="252"/>
                  </a:lnTo>
                  <a:lnTo>
                    <a:pt x="632" y="258"/>
                  </a:lnTo>
                  <a:lnTo>
                    <a:pt x="638" y="256"/>
                  </a:lnTo>
                  <a:lnTo>
                    <a:pt x="638" y="262"/>
                  </a:lnTo>
                  <a:lnTo>
                    <a:pt x="632" y="268"/>
                  </a:lnTo>
                  <a:lnTo>
                    <a:pt x="632" y="274"/>
                  </a:lnTo>
                  <a:lnTo>
                    <a:pt x="634" y="280"/>
                  </a:lnTo>
                  <a:lnTo>
                    <a:pt x="634" y="278"/>
                  </a:lnTo>
                  <a:lnTo>
                    <a:pt x="638" y="272"/>
                  </a:lnTo>
                  <a:lnTo>
                    <a:pt x="644" y="274"/>
                  </a:lnTo>
                  <a:lnTo>
                    <a:pt x="644" y="280"/>
                  </a:lnTo>
                  <a:lnTo>
                    <a:pt x="642" y="286"/>
                  </a:lnTo>
                  <a:lnTo>
                    <a:pt x="644" y="294"/>
                  </a:lnTo>
                  <a:lnTo>
                    <a:pt x="642" y="298"/>
                  </a:lnTo>
                  <a:lnTo>
                    <a:pt x="636" y="304"/>
                  </a:lnTo>
                  <a:lnTo>
                    <a:pt x="632" y="306"/>
                  </a:lnTo>
                  <a:lnTo>
                    <a:pt x="638" y="312"/>
                  </a:lnTo>
                  <a:lnTo>
                    <a:pt x="632" y="312"/>
                  </a:lnTo>
                  <a:lnTo>
                    <a:pt x="634" y="318"/>
                  </a:lnTo>
                  <a:lnTo>
                    <a:pt x="628" y="320"/>
                  </a:lnTo>
                  <a:lnTo>
                    <a:pt x="626" y="326"/>
                  </a:lnTo>
                  <a:lnTo>
                    <a:pt x="632" y="324"/>
                  </a:lnTo>
                  <a:lnTo>
                    <a:pt x="632" y="330"/>
                  </a:lnTo>
                  <a:lnTo>
                    <a:pt x="628" y="336"/>
                  </a:lnTo>
                  <a:lnTo>
                    <a:pt x="626" y="342"/>
                  </a:lnTo>
                  <a:lnTo>
                    <a:pt x="624" y="348"/>
                  </a:lnTo>
                  <a:lnTo>
                    <a:pt x="618" y="354"/>
                  </a:lnTo>
                  <a:lnTo>
                    <a:pt x="614" y="360"/>
                  </a:lnTo>
                  <a:lnTo>
                    <a:pt x="608" y="366"/>
                  </a:lnTo>
                  <a:lnTo>
                    <a:pt x="604" y="372"/>
                  </a:lnTo>
                  <a:lnTo>
                    <a:pt x="598" y="378"/>
                  </a:lnTo>
                  <a:lnTo>
                    <a:pt x="596" y="384"/>
                  </a:lnTo>
                  <a:lnTo>
                    <a:pt x="592" y="390"/>
                  </a:lnTo>
                  <a:lnTo>
                    <a:pt x="590" y="396"/>
                  </a:lnTo>
                  <a:lnTo>
                    <a:pt x="584" y="398"/>
                  </a:lnTo>
                  <a:lnTo>
                    <a:pt x="578" y="400"/>
                  </a:lnTo>
                  <a:lnTo>
                    <a:pt x="578" y="404"/>
                  </a:lnTo>
                  <a:lnTo>
                    <a:pt x="576" y="406"/>
                  </a:lnTo>
                  <a:lnTo>
                    <a:pt x="574" y="412"/>
                  </a:lnTo>
                  <a:lnTo>
                    <a:pt x="570" y="418"/>
                  </a:lnTo>
                  <a:lnTo>
                    <a:pt x="564" y="422"/>
                  </a:lnTo>
                  <a:lnTo>
                    <a:pt x="558" y="426"/>
                  </a:lnTo>
                  <a:lnTo>
                    <a:pt x="552" y="430"/>
                  </a:lnTo>
                  <a:lnTo>
                    <a:pt x="546" y="432"/>
                  </a:lnTo>
                  <a:lnTo>
                    <a:pt x="540" y="438"/>
                  </a:lnTo>
                  <a:lnTo>
                    <a:pt x="534" y="442"/>
                  </a:lnTo>
                  <a:lnTo>
                    <a:pt x="534" y="444"/>
                  </a:lnTo>
                  <a:lnTo>
                    <a:pt x="532" y="450"/>
                  </a:lnTo>
                  <a:lnTo>
                    <a:pt x="526" y="450"/>
                  </a:lnTo>
                  <a:lnTo>
                    <a:pt x="524" y="450"/>
                  </a:lnTo>
                  <a:lnTo>
                    <a:pt x="518" y="454"/>
                  </a:lnTo>
                  <a:lnTo>
                    <a:pt x="512" y="454"/>
                  </a:lnTo>
                  <a:lnTo>
                    <a:pt x="506" y="452"/>
                  </a:lnTo>
                  <a:lnTo>
                    <a:pt x="504" y="456"/>
                  </a:lnTo>
                  <a:lnTo>
                    <a:pt x="498" y="460"/>
                  </a:lnTo>
                  <a:lnTo>
                    <a:pt x="492" y="462"/>
                  </a:lnTo>
                  <a:lnTo>
                    <a:pt x="486" y="464"/>
                  </a:lnTo>
                  <a:lnTo>
                    <a:pt x="480" y="466"/>
                  </a:lnTo>
                  <a:lnTo>
                    <a:pt x="474" y="470"/>
                  </a:lnTo>
                  <a:lnTo>
                    <a:pt x="472" y="466"/>
                  </a:lnTo>
                  <a:lnTo>
                    <a:pt x="468" y="472"/>
                  </a:lnTo>
                  <a:lnTo>
                    <a:pt x="462" y="474"/>
                  </a:lnTo>
                  <a:lnTo>
                    <a:pt x="458" y="476"/>
                  </a:lnTo>
                  <a:lnTo>
                    <a:pt x="450" y="480"/>
                  </a:lnTo>
                  <a:lnTo>
                    <a:pt x="446" y="484"/>
                  </a:lnTo>
                  <a:lnTo>
                    <a:pt x="438" y="488"/>
                  </a:lnTo>
                  <a:lnTo>
                    <a:pt x="438" y="490"/>
                  </a:lnTo>
                  <a:lnTo>
                    <a:pt x="432" y="492"/>
                  </a:lnTo>
                  <a:lnTo>
                    <a:pt x="426" y="496"/>
                  </a:lnTo>
                  <a:lnTo>
                    <a:pt x="422" y="498"/>
                  </a:lnTo>
                  <a:lnTo>
                    <a:pt x="416" y="504"/>
                  </a:lnTo>
                  <a:lnTo>
                    <a:pt x="414" y="504"/>
                  </a:lnTo>
                  <a:lnTo>
                    <a:pt x="408" y="512"/>
                  </a:lnTo>
                  <a:lnTo>
                    <a:pt x="404" y="518"/>
                  </a:lnTo>
                  <a:lnTo>
                    <a:pt x="398" y="516"/>
                  </a:lnTo>
                  <a:lnTo>
                    <a:pt x="392" y="514"/>
                  </a:lnTo>
                  <a:lnTo>
                    <a:pt x="396" y="518"/>
                  </a:lnTo>
                  <a:lnTo>
                    <a:pt x="402" y="524"/>
                  </a:lnTo>
                  <a:lnTo>
                    <a:pt x="398" y="530"/>
                  </a:lnTo>
                  <a:lnTo>
                    <a:pt x="392" y="536"/>
                  </a:lnTo>
                  <a:lnTo>
                    <a:pt x="386" y="542"/>
                  </a:lnTo>
                  <a:lnTo>
                    <a:pt x="382" y="548"/>
                  </a:lnTo>
                  <a:lnTo>
                    <a:pt x="376" y="554"/>
                  </a:lnTo>
                  <a:lnTo>
                    <a:pt x="370" y="558"/>
                  </a:lnTo>
                  <a:lnTo>
                    <a:pt x="368" y="562"/>
                  </a:lnTo>
                  <a:lnTo>
                    <a:pt x="364" y="568"/>
                  </a:lnTo>
                  <a:lnTo>
                    <a:pt x="364" y="574"/>
                  </a:lnTo>
                  <a:lnTo>
                    <a:pt x="358" y="574"/>
                  </a:lnTo>
                  <a:lnTo>
                    <a:pt x="356" y="568"/>
                  </a:lnTo>
                  <a:lnTo>
                    <a:pt x="356" y="574"/>
                  </a:lnTo>
                  <a:lnTo>
                    <a:pt x="356" y="580"/>
                  </a:lnTo>
                  <a:lnTo>
                    <a:pt x="354" y="582"/>
                  </a:lnTo>
                  <a:lnTo>
                    <a:pt x="348" y="582"/>
                  </a:lnTo>
                  <a:lnTo>
                    <a:pt x="348" y="576"/>
                  </a:lnTo>
                  <a:lnTo>
                    <a:pt x="344" y="582"/>
                  </a:lnTo>
                  <a:lnTo>
                    <a:pt x="338" y="586"/>
                  </a:lnTo>
                  <a:lnTo>
                    <a:pt x="332" y="590"/>
                  </a:lnTo>
                  <a:lnTo>
                    <a:pt x="326" y="594"/>
                  </a:lnTo>
                  <a:lnTo>
                    <a:pt x="320" y="598"/>
                  </a:lnTo>
                  <a:lnTo>
                    <a:pt x="316" y="604"/>
                  </a:lnTo>
                  <a:lnTo>
                    <a:pt x="312" y="610"/>
                  </a:lnTo>
                  <a:lnTo>
                    <a:pt x="306" y="616"/>
                  </a:lnTo>
                  <a:lnTo>
                    <a:pt x="302" y="622"/>
                  </a:lnTo>
                  <a:lnTo>
                    <a:pt x="296" y="628"/>
                  </a:lnTo>
                  <a:lnTo>
                    <a:pt x="290" y="634"/>
                  </a:lnTo>
                  <a:lnTo>
                    <a:pt x="284" y="638"/>
                  </a:lnTo>
                  <a:lnTo>
                    <a:pt x="278" y="644"/>
                  </a:lnTo>
                  <a:lnTo>
                    <a:pt x="274" y="646"/>
                  </a:lnTo>
                  <a:lnTo>
                    <a:pt x="268" y="648"/>
                  </a:lnTo>
                  <a:lnTo>
                    <a:pt x="268" y="646"/>
                  </a:lnTo>
                  <a:lnTo>
                    <a:pt x="264" y="640"/>
                  </a:lnTo>
                  <a:lnTo>
                    <a:pt x="258" y="636"/>
                  </a:lnTo>
                  <a:lnTo>
                    <a:pt x="256" y="630"/>
                  </a:lnTo>
                  <a:lnTo>
                    <a:pt x="250" y="632"/>
                  </a:lnTo>
                  <a:lnTo>
                    <a:pt x="256" y="632"/>
                  </a:lnTo>
                  <a:lnTo>
                    <a:pt x="258" y="638"/>
                  </a:lnTo>
                  <a:lnTo>
                    <a:pt x="264" y="644"/>
                  </a:lnTo>
                  <a:lnTo>
                    <a:pt x="260" y="650"/>
                  </a:lnTo>
                  <a:lnTo>
                    <a:pt x="264" y="652"/>
                  </a:lnTo>
                  <a:lnTo>
                    <a:pt x="264" y="658"/>
                  </a:lnTo>
                  <a:lnTo>
                    <a:pt x="262" y="664"/>
                  </a:lnTo>
                  <a:lnTo>
                    <a:pt x="264" y="670"/>
                  </a:lnTo>
                  <a:lnTo>
                    <a:pt x="258" y="670"/>
                  </a:lnTo>
                  <a:lnTo>
                    <a:pt x="260" y="676"/>
                  </a:lnTo>
                  <a:lnTo>
                    <a:pt x="258" y="682"/>
                  </a:lnTo>
                  <a:lnTo>
                    <a:pt x="258" y="688"/>
                  </a:lnTo>
                  <a:lnTo>
                    <a:pt x="258" y="694"/>
                  </a:lnTo>
                  <a:lnTo>
                    <a:pt x="264" y="700"/>
                  </a:lnTo>
                  <a:lnTo>
                    <a:pt x="268" y="704"/>
                  </a:lnTo>
                  <a:lnTo>
                    <a:pt x="274" y="706"/>
                  </a:lnTo>
                  <a:lnTo>
                    <a:pt x="276" y="712"/>
                  </a:lnTo>
                  <a:lnTo>
                    <a:pt x="278" y="718"/>
                  </a:lnTo>
                  <a:lnTo>
                    <a:pt x="280" y="724"/>
                  </a:lnTo>
                  <a:lnTo>
                    <a:pt x="282" y="726"/>
                  </a:lnTo>
                  <a:lnTo>
                    <a:pt x="280" y="730"/>
                  </a:lnTo>
                  <a:lnTo>
                    <a:pt x="278" y="736"/>
                  </a:lnTo>
                  <a:lnTo>
                    <a:pt x="280" y="742"/>
                  </a:lnTo>
                  <a:lnTo>
                    <a:pt x="280" y="748"/>
                  </a:lnTo>
                  <a:lnTo>
                    <a:pt x="282" y="742"/>
                  </a:lnTo>
                  <a:lnTo>
                    <a:pt x="280" y="748"/>
                  </a:lnTo>
                  <a:lnTo>
                    <a:pt x="280" y="754"/>
                  </a:lnTo>
                  <a:lnTo>
                    <a:pt x="284" y="760"/>
                  </a:lnTo>
                  <a:lnTo>
                    <a:pt x="286" y="766"/>
                  </a:lnTo>
                  <a:lnTo>
                    <a:pt x="290" y="772"/>
                  </a:lnTo>
                  <a:lnTo>
                    <a:pt x="288" y="778"/>
                  </a:lnTo>
                  <a:lnTo>
                    <a:pt x="288" y="784"/>
                  </a:lnTo>
                  <a:lnTo>
                    <a:pt x="292" y="790"/>
                  </a:lnTo>
                  <a:lnTo>
                    <a:pt x="292" y="796"/>
                  </a:lnTo>
                  <a:lnTo>
                    <a:pt x="292" y="800"/>
                  </a:lnTo>
                  <a:lnTo>
                    <a:pt x="292" y="806"/>
                  </a:lnTo>
                  <a:lnTo>
                    <a:pt x="292" y="812"/>
                  </a:lnTo>
                  <a:lnTo>
                    <a:pt x="290" y="818"/>
                  </a:lnTo>
                  <a:lnTo>
                    <a:pt x="288" y="822"/>
                  </a:lnTo>
                  <a:lnTo>
                    <a:pt x="294" y="830"/>
                  </a:lnTo>
                  <a:lnTo>
                    <a:pt x="296" y="824"/>
                  </a:lnTo>
                  <a:lnTo>
                    <a:pt x="294" y="818"/>
                  </a:lnTo>
                  <a:lnTo>
                    <a:pt x="298" y="810"/>
                  </a:lnTo>
                  <a:lnTo>
                    <a:pt x="302" y="806"/>
                  </a:lnTo>
                  <a:lnTo>
                    <a:pt x="302" y="810"/>
                  </a:lnTo>
                  <a:lnTo>
                    <a:pt x="302" y="818"/>
                  </a:lnTo>
                  <a:lnTo>
                    <a:pt x="304" y="810"/>
                  </a:lnTo>
                  <a:lnTo>
                    <a:pt x="304" y="816"/>
                  </a:lnTo>
                  <a:lnTo>
                    <a:pt x="304" y="820"/>
                  </a:lnTo>
                  <a:lnTo>
                    <a:pt x="304" y="826"/>
                  </a:lnTo>
                  <a:lnTo>
                    <a:pt x="302" y="832"/>
                  </a:lnTo>
                  <a:lnTo>
                    <a:pt x="300" y="838"/>
                  </a:lnTo>
                  <a:lnTo>
                    <a:pt x="300" y="844"/>
                  </a:lnTo>
                  <a:lnTo>
                    <a:pt x="300" y="850"/>
                  </a:lnTo>
                  <a:lnTo>
                    <a:pt x="300" y="856"/>
                  </a:lnTo>
                  <a:lnTo>
                    <a:pt x="306" y="860"/>
                  </a:lnTo>
                  <a:lnTo>
                    <a:pt x="304" y="866"/>
                  </a:lnTo>
                  <a:lnTo>
                    <a:pt x="300" y="872"/>
                  </a:lnTo>
                  <a:lnTo>
                    <a:pt x="298" y="878"/>
                  </a:lnTo>
                  <a:lnTo>
                    <a:pt x="298" y="884"/>
                  </a:lnTo>
                  <a:lnTo>
                    <a:pt x="296" y="890"/>
                  </a:lnTo>
                  <a:lnTo>
                    <a:pt x="294" y="896"/>
                  </a:lnTo>
                  <a:lnTo>
                    <a:pt x="292" y="902"/>
                  </a:lnTo>
                  <a:lnTo>
                    <a:pt x="292" y="908"/>
                  </a:lnTo>
                  <a:lnTo>
                    <a:pt x="288" y="914"/>
                  </a:lnTo>
                  <a:lnTo>
                    <a:pt x="288" y="920"/>
                  </a:lnTo>
                  <a:lnTo>
                    <a:pt x="288" y="926"/>
                  </a:lnTo>
                  <a:lnTo>
                    <a:pt x="288" y="932"/>
                  </a:lnTo>
                  <a:lnTo>
                    <a:pt x="288" y="926"/>
                  </a:lnTo>
                  <a:lnTo>
                    <a:pt x="294" y="926"/>
                  </a:lnTo>
                  <a:lnTo>
                    <a:pt x="296" y="920"/>
                  </a:lnTo>
                  <a:lnTo>
                    <a:pt x="298" y="926"/>
                  </a:lnTo>
                  <a:lnTo>
                    <a:pt x="298" y="930"/>
                  </a:lnTo>
                  <a:lnTo>
                    <a:pt x="296" y="936"/>
                  </a:lnTo>
                  <a:lnTo>
                    <a:pt x="296" y="938"/>
                  </a:lnTo>
                  <a:lnTo>
                    <a:pt x="294" y="944"/>
                  </a:lnTo>
                  <a:lnTo>
                    <a:pt x="292" y="950"/>
                  </a:lnTo>
                  <a:lnTo>
                    <a:pt x="288" y="956"/>
                  </a:lnTo>
                  <a:lnTo>
                    <a:pt x="284" y="962"/>
                  </a:lnTo>
                  <a:lnTo>
                    <a:pt x="278" y="966"/>
                  </a:lnTo>
                  <a:lnTo>
                    <a:pt x="274" y="972"/>
                  </a:lnTo>
                  <a:lnTo>
                    <a:pt x="268" y="978"/>
                  </a:lnTo>
                  <a:lnTo>
                    <a:pt x="262" y="982"/>
                  </a:lnTo>
                  <a:lnTo>
                    <a:pt x="256" y="984"/>
                  </a:lnTo>
                  <a:lnTo>
                    <a:pt x="250" y="988"/>
                  </a:lnTo>
                  <a:lnTo>
                    <a:pt x="244" y="990"/>
                  </a:lnTo>
                  <a:lnTo>
                    <a:pt x="238" y="992"/>
                  </a:lnTo>
                  <a:lnTo>
                    <a:pt x="234" y="994"/>
                  </a:lnTo>
                  <a:lnTo>
                    <a:pt x="228" y="996"/>
                  </a:lnTo>
                  <a:lnTo>
                    <a:pt x="226" y="998"/>
                  </a:lnTo>
                  <a:lnTo>
                    <a:pt x="220" y="1000"/>
                  </a:lnTo>
                  <a:lnTo>
                    <a:pt x="214" y="1002"/>
                  </a:lnTo>
                  <a:lnTo>
                    <a:pt x="208" y="1004"/>
                  </a:lnTo>
                  <a:lnTo>
                    <a:pt x="204" y="1006"/>
                  </a:lnTo>
                  <a:lnTo>
                    <a:pt x="198" y="1008"/>
                  </a:lnTo>
                  <a:lnTo>
                    <a:pt x="192" y="1010"/>
                  </a:lnTo>
                  <a:lnTo>
                    <a:pt x="188" y="1012"/>
                  </a:lnTo>
                  <a:lnTo>
                    <a:pt x="182" y="1016"/>
                  </a:lnTo>
                  <a:lnTo>
                    <a:pt x="174" y="1018"/>
                  </a:lnTo>
                  <a:lnTo>
                    <a:pt x="170" y="1020"/>
                  </a:lnTo>
                  <a:lnTo>
                    <a:pt x="166" y="1022"/>
                  </a:lnTo>
                  <a:lnTo>
                    <a:pt x="158" y="1024"/>
                  </a:lnTo>
                  <a:lnTo>
                    <a:pt x="156" y="1026"/>
                  </a:lnTo>
                  <a:lnTo>
                    <a:pt x="154" y="1030"/>
                  </a:lnTo>
                  <a:lnTo>
                    <a:pt x="152" y="1030"/>
                  </a:lnTo>
                  <a:lnTo>
                    <a:pt x="146" y="1034"/>
                  </a:lnTo>
                  <a:lnTo>
                    <a:pt x="140" y="1038"/>
                  </a:lnTo>
                  <a:lnTo>
                    <a:pt x="134" y="1042"/>
                  </a:lnTo>
                  <a:lnTo>
                    <a:pt x="130" y="1048"/>
                  </a:lnTo>
                  <a:lnTo>
                    <a:pt x="128" y="1054"/>
                  </a:lnTo>
                  <a:lnTo>
                    <a:pt x="126" y="1060"/>
                  </a:lnTo>
                  <a:lnTo>
                    <a:pt x="124" y="1062"/>
                  </a:lnTo>
                  <a:lnTo>
                    <a:pt x="122" y="1068"/>
                  </a:lnTo>
                  <a:lnTo>
                    <a:pt x="116" y="1072"/>
                  </a:lnTo>
                  <a:lnTo>
                    <a:pt x="110" y="1074"/>
                  </a:lnTo>
                  <a:lnTo>
                    <a:pt x="112" y="1074"/>
                  </a:lnTo>
                  <a:lnTo>
                    <a:pt x="116" y="1074"/>
                  </a:lnTo>
                  <a:lnTo>
                    <a:pt x="120" y="1080"/>
                  </a:lnTo>
                  <a:lnTo>
                    <a:pt x="122" y="1086"/>
                  </a:lnTo>
                  <a:lnTo>
                    <a:pt x="126" y="1088"/>
                  </a:lnTo>
                  <a:lnTo>
                    <a:pt x="132" y="1090"/>
                  </a:lnTo>
                  <a:lnTo>
                    <a:pt x="136" y="1084"/>
                  </a:lnTo>
                  <a:lnTo>
                    <a:pt x="136" y="1090"/>
                  </a:lnTo>
                  <a:lnTo>
                    <a:pt x="136" y="1096"/>
                  </a:lnTo>
                  <a:lnTo>
                    <a:pt x="136" y="1102"/>
                  </a:lnTo>
                  <a:lnTo>
                    <a:pt x="134" y="1108"/>
                  </a:lnTo>
                  <a:lnTo>
                    <a:pt x="134" y="1114"/>
                  </a:lnTo>
                  <a:lnTo>
                    <a:pt x="132" y="1120"/>
                  </a:lnTo>
                  <a:lnTo>
                    <a:pt x="132" y="1126"/>
                  </a:lnTo>
                  <a:lnTo>
                    <a:pt x="132" y="1132"/>
                  </a:lnTo>
                  <a:lnTo>
                    <a:pt x="126" y="1132"/>
                  </a:lnTo>
                  <a:lnTo>
                    <a:pt x="120" y="1132"/>
                  </a:lnTo>
                  <a:lnTo>
                    <a:pt x="112" y="1132"/>
                  </a:lnTo>
                  <a:lnTo>
                    <a:pt x="106" y="1132"/>
                  </a:lnTo>
                  <a:lnTo>
                    <a:pt x="100" y="1132"/>
                  </a:lnTo>
                  <a:lnTo>
                    <a:pt x="98" y="1132"/>
                  </a:lnTo>
                  <a:lnTo>
                    <a:pt x="94" y="1132"/>
                  </a:lnTo>
                  <a:lnTo>
                    <a:pt x="86" y="1132"/>
                  </a:lnTo>
                  <a:lnTo>
                    <a:pt x="88" y="1126"/>
                  </a:lnTo>
                  <a:lnTo>
                    <a:pt x="88" y="1120"/>
                  </a:lnTo>
                  <a:lnTo>
                    <a:pt x="88" y="1112"/>
                  </a:lnTo>
                  <a:lnTo>
                    <a:pt x="86" y="1106"/>
                  </a:lnTo>
                  <a:lnTo>
                    <a:pt x="86" y="1100"/>
                  </a:lnTo>
                  <a:lnTo>
                    <a:pt x="84" y="1094"/>
                  </a:lnTo>
                  <a:lnTo>
                    <a:pt x="86" y="1088"/>
                  </a:lnTo>
                  <a:lnTo>
                    <a:pt x="86" y="1086"/>
                  </a:lnTo>
                  <a:lnTo>
                    <a:pt x="86" y="1080"/>
                  </a:lnTo>
                  <a:lnTo>
                    <a:pt x="88" y="1074"/>
                  </a:lnTo>
                  <a:lnTo>
                    <a:pt x="84" y="1072"/>
                  </a:lnTo>
                  <a:lnTo>
                    <a:pt x="80" y="1070"/>
                  </a:lnTo>
                  <a:lnTo>
                    <a:pt x="78" y="1064"/>
                  </a:lnTo>
                  <a:lnTo>
                    <a:pt x="78" y="1058"/>
                  </a:lnTo>
                  <a:lnTo>
                    <a:pt x="82" y="1052"/>
                  </a:lnTo>
                  <a:lnTo>
                    <a:pt x="84" y="1048"/>
                  </a:lnTo>
                  <a:lnTo>
                    <a:pt x="84" y="1042"/>
                  </a:lnTo>
                  <a:lnTo>
                    <a:pt x="82" y="1038"/>
                  </a:lnTo>
                  <a:lnTo>
                    <a:pt x="82" y="1036"/>
                  </a:lnTo>
                  <a:lnTo>
                    <a:pt x="84" y="1034"/>
                  </a:lnTo>
                  <a:lnTo>
                    <a:pt x="84" y="1028"/>
                  </a:lnTo>
                  <a:lnTo>
                    <a:pt x="86" y="1022"/>
                  </a:lnTo>
                  <a:lnTo>
                    <a:pt x="86" y="1016"/>
                  </a:lnTo>
                  <a:lnTo>
                    <a:pt x="86" y="1010"/>
                  </a:lnTo>
                  <a:lnTo>
                    <a:pt x="86" y="1004"/>
                  </a:lnTo>
                  <a:lnTo>
                    <a:pt x="86" y="998"/>
                  </a:lnTo>
                  <a:lnTo>
                    <a:pt x="86" y="992"/>
                  </a:lnTo>
                  <a:lnTo>
                    <a:pt x="86" y="984"/>
                  </a:lnTo>
                  <a:lnTo>
                    <a:pt x="86" y="978"/>
                  </a:lnTo>
                  <a:lnTo>
                    <a:pt x="86" y="972"/>
                  </a:lnTo>
                  <a:lnTo>
                    <a:pt x="88" y="966"/>
                  </a:lnTo>
                  <a:lnTo>
                    <a:pt x="86" y="960"/>
                  </a:lnTo>
                  <a:lnTo>
                    <a:pt x="84" y="954"/>
                  </a:lnTo>
                  <a:lnTo>
                    <a:pt x="82" y="948"/>
                  </a:lnTo>
                  <a:lnTo>
                    <a:pt x="80" y="942"/>
                  </a:lnTo>
                  <a:lnTo>
                    <a:pt x="80" y="936"/>
                  </a:lnTo>
                  <a:lnTo>
                    <a:pt x="80" y="932"/>
                  </a:lnTo>
                  <a:lnTo>
                    <a:pt x="74" y="926"/>
                  </a:lnTo>
                  <a:lnTo>
                    <a:pt x="72" y="920"/>
                  </a:lnTo>
                  <a:lnTo>
                    <a:pt x="70" y="912"/>
                  </a:lnTo>
                  <a:lnTo>
                    <a:pt x="68" y="906"/>
                  </a:lnTo>
                  <a:lnTo>
                    <a:pt x="64" y="900"/>
                  </a:lnTo>
                  <a:lnTo>
                    <a:pt x="62" y="894"/>
                  </a:lnTo>
                  <a:lnTo>
                    <a:pt x="62" y="888"/>
                  </a:lnTo>
                  <a:lnTo>
                    <a:pt x="64" y="882"/>
                  </a:lnTo>
                  <a:lnTo>
                    <a:pt x="62" y="876"/>
                  </a:lnTo>
                  <a:lnTo>
                    <a:pt x="60" y="870"/>
                  </a:lnTo>
                  <a:lnTo>
                    <a:pt x="60" y="862"/>
                  </a:lnTo>
                  <a:lnTo>
                    <a:pt x="58" y="856"/>
                  </a:lnTo>
                  <a:lnTo>
                    <a:pt x="56" y="850"/>
                  </a:lnTo>
                  <a:lnTo>
                    <a:pt x="54" y="844"/>
                  </a:lnTo>
                  <a:lnTo>
                    <a:pt x="52" y="836"/>
                  </a:lnTo>
                  <a:lnTo>
                    <a:pt x="52" y="830"/>
                  </a:lnTo>
                  <a:lnTo>
                    <a:pt x="50" y="828"/>
                  </a:lnTo>
                  <a:lnTo>
                    <a:pt x="50" y="826"/>
                  </a:lnTo>
                  <a:lnTo>
                    <a:pt x="56" y="822"/>
                  </a:lnTo>
                  <a:lnTo>
                    <a:pt x="58" y="818"/>
                  </a:lnTo>
                  <a:lnTo>
                    <a:pt x="64" y="812"/>
                  </a:lnTo>
                  <a:lnTo>
                    <a:pt x="70" y="806"/>
                  </a:lnTo>
                  <a:lnTo>
                    <a:pt x="72" y="802"/>
                  </a:lnTo>
                  <a:lnTo>
                    <a:pt x="74" y="800"/>
                  </a:lnTo>
                  <a:lnTo>
                    <a:pt x="80" y="794"/>
                  </a:lnTo>
                  <a:lnTo>
                    <a:pt x="84" y="788"/>
                  </a:lnTo>
                  <a:lnTo>
                    <a:pt x="90" y="782"/>
                  </a:lnTo>
                  <a:lnTo>
                    <a:pt x="94" y="776"/>
                  </a:lnTo>
                  <a:lnTo>
                    <a:pt x="100" y="770"/>
                  </a:lnTo>
                  <a:lnTo>
                    <a:pt x="106" y="764"/>
                  </a:lnTo>
                  <a:lnTo>
                    <a:pt x="110" y="758"/>
                  </a:lnTo>
                  <a:lnTo>
                    <a:pt x="116" y="752"/>
                  </a:lnTo>
                  <a:lnTo>
                    <a:pt x="120" y="748"/>
                  </a:lnTo>
                  <a:lnTo>
                    <a:pt x="124" y="750"/>
                  </a:lnTo>
                  <a:lnTo>
                    <a:pt x="120" y="746"/>
                  </a:lnTo>
                  <a:lnTo>
                    <a:pt x="118" y="738"/>
                  </a:lnTo>
                  <a:lnTo>
                    <a:pt x="120" y="732"/>
                  </a:lnTo>
                  <a:lnTo>
                    <a:pt x="124" y="726"/>
                  </a:lnTo>
                  <a:lnTo>
                    <a:pt x="126" y="720"/>
                  </a:lnTo>
                  <a:lnTo>
                    <a:pt x="126" y="714"/>
                  </a:lnTo>
                  <a:lnTo>
                    <a:pt x="126" y="708"/>
                  </a:lnTo>
                  <a:lnTo>
                    <a:pt x="126" y="702"/>
                  </a:lnTo>
                  <a:lnTo>
                    <a:pt x="132" y="696"/>
                  </a:lnTo>
                  <a:lnTo>
                    <a:pt x="138" y="694"/>
                  </a:lnTo>
                  <a:lnTo>
                    <a:pt x="140" y="688"/>
                  </a:lnTo>
                  <a:lnTo>
                    <a:pt x="142" y="688"/>
                  </a:lnTo>
                  <a:lnTo>
                    <a:pt x="146" y="682"/>
                  </a:lnTo>
                  <a:lnTo>
                    <a:pt x="146" y="680"/>
                  </a:lnTo>
                  <a:lnTo>
                    <a:pt x="150" y="674"/>
                  </a:lnTo>
                  <a:lnTo>
                    <a:pt x="150" y="668"/>
                  </a:lnTo>
                  <a:lnTo>
                    <a:pt x="154" y="662"/>
                  </a:lnTo>
                  <a:lnTo>
                    <a:pt x="158" y="658"/>
                  </a:lnTo>
                  <a:lnTo>
                    <a:pt x="158" y="652"/>
                  </a:lnTo>
                  <a:lnTo>
                    <a:pt x="160" y="646"/>
                  </a:lnTo>
                  <a:lnTo>
                    <a:pt x="158" y="640"/>
                  </a:lnTo>
                  <a:lnTo>
                    <a:pt x="156" y="634"/>
                  </a:lnTo>
                  <a:lnTo>
                    <a:pt x="150" y="636"/>
                  </a:lnTo>
                  <a:lnTo>
                    <a:pt x="150" y="630"/>
                  </a:lnTo>
                  <a:lnTo>
                    <a:pt x="150" y="626"/>
                  </a:lnTo>
                  <a:lnTo>
                    <a:pt x="146" y="620"/>
                  </a:lnTo>
                  <a:lnTo>
                    <a:pt x="146" y="614"/>
                  </a:lnTo>
                  <a:lnTo>
                    <a:pt x="150" y="608"/>
                  </a:lnTo>
                  <a:lnTo>
                    <a:pt x="150" y="602"/>
                  </a:lnTo>
                  <a:lnTo>
                    <a:pt x="154" y="596"/>
                  </a:lnTo>
                  <a:lnTo>
                    <a:pt x="146" y="590"/>
                  </a:lnTo>
                  <a:lnTo>
                    <a:pt x="142" y="590"/>
                  </a:lnTo>
                  <a:lnTo>
                    <a:pt x="144" y="584"/>
                  </a:lnTo>
                  <a:lnTo>
                    <a:pt x="144" y="582"/>
                  </a:lnTo>
                  <a:lnTo>
                    <a:pt x="144" y="576"/>
                  </a:lnTo>
                  <a:lnTo>
                    <a:pt x="150" y="574"/>
                  </a:lnTo>
                  <a:lnTo>
                    <a:pt x="156" y="574"/>
                  </a:lnTo>
                  <a:lnTo>
                    <a:pt x="158" y="568"/>
                  </a:lnTo>
                  <a:lnTo>
                    <a:pt x="156" y="562"/>
                  </a:lnTo>
                  <a:lnTo>
                    <a:pt x="154" y="556"/>
                  </a:lnTo>
                  <a:lnTo>
                    <a:pt x="160" y="554"/>
                  </a:lnTo>
                  <a:lnTo>
                    <a:pt x="162" y="548"/>
                  </a:lnTo>
                  <a:lnTo>
                    <a:pt x="166" y="544"/>
                  </a:lnTo>
                  <a:lnTo>
                    <a:pt x="162" y="538"/>
                  </a:lnTo>
                  <a:lnTo>
                    <a:pt x="162" y="532"/>
                  </a:lnTo>
                  <a:lnTo>
                    <a:pt x="160" y="526"/>
                  </a:lnTo>
                  <a:lnTo>
                    <a:pt x="160" y="522"/>
                  </a:lnTo>
                  <a:lnTo>
                    <a:pt x="160" y="514"/>
                  </a:lnTo>
                  <a:lnTo>
                    <a:pt x="160" y="510"/>
                  </a:lnTo>
                  <a:lnTo>
                    <a:pt x="164" y="502"/>
                  </a:lnTo>
                  <a:lnTo>
                    <a:pt x="164" y="496"/>
                  </a:lnTo>
                  <a:lnTo>
                    <a:pt x="166" y="492"/>
                  </a:lnTo>
                  <a:lnTo>
                    <a:pt x="160" y="486"/>
                  </a:lnTo>
                  <a:lnTo>
                    <a:pt x="164" y="480"/>
                  </a:lnTo>
                  <a:lnTo>
                    <a:pt x="166" y="476"/>
                  </a:lnTo>
                  <a:lnTo>
                    <a:pt x="162" y="468"/>
                  </a:lnTo>
                  <a:lnTo>
                    <a:pt x="162" y="466"/>
                  </a:lnTo>
                  <a:lnTo>
                    <a:pt x="162" y="460"/>
                  </a:lnTo>
                  <a:lnTo>
                    <a:pt x="158" y="454"/>
                  </a:lnTo>
                  <a:lnTo>
                    <a:pt x="156" y="448"/>
                  </a:lnTo>
                  <a:lnTo>
                    <a:pt x="158" y="442"/>
                  </a:lnTo>
                  <a:lnTo>
                    <a:pt x="162" y="436"/>
                  </a:lnTo>
                  <a:lnTo>
                    <a:pt x="164" y="430"/>
                  </a:lnTo>
                  <a:lnTo>
                    <a:pt x="162" y="430"/>
                  </a:lnTo>
                  <a:lnTo>
                    <a:pt x="158" y="432"/>
                  </a:lnTo>
                  <a:lnTo>
                    <a:pt x="150" y="432"/>
                  </a:lnTo>
                  <a:lnTo>
                    <a:pt x="148" y="428"/>
                  </a:lnTo>
                  <a:lnTo>
                    <a:pt x="146" y="422"/>
                  </a:lnTo>
                  <a:lnTo>
                    <a:pt x="140" y="420"/>
                  </a:lnTo>
                  <a:lnTo>
                    <a:pt x="134" y="416"/>
                  </a:lnTo>
                  <a:lnTo>
                    <a:pt x="128" y="414"/>
                  </a:lnTo>
                  <a:lnTo>
                    <a:pt x="122" y="412"/>
                  </a:lnTo>
                  <a:lnTo>
                    <a:pt x="116" y="412"/>
                  </a:lnTo>
                  <a:lnTo>
                    <a:pt x="110" y="412"/>
                  </a:lnTo>
                  <a:lnTo>
                    <a:pt x="104" y="412"/>
                  </a:lnTo>
                  <a:lnTo>
                    <a:pt x="98" y="406"/>
                  </a:lnTo>
                  <a:lnTo>
                    <a:pt x="94" y="400"/>
                  </a:lnTo>
                  <a:lnTo>
                    <a:pt x="88" y="396"/>
                  </a:lnTo>
                  <a:lnTo>
                    <a:pt x="82" y="394"/>
                  </a:lnTo>
                  <a:lnTo>
                    <a:pt x="76" y="392"/>
                  </a:lnTo>
                  <a:lnTo>
                    <a:pt x="70" y="390"/>
                  </a:lnTo>
                  <a:lnTo>
                    <a:pt x="64" y="384"/>
                  </a:lnTo>
                  <a:lnTo>
                    <a:pt x="60" y="382"/>
                  </a:lnTo>
                  <a:lnTo>
                    <a:pt x="52" y="382"/>
                  </a:lnTo>
                  <a:lnTo>
                    <a:pt x="48" y="386"/>
                  </a:lnTo>
                  <a:lnTo>
                    <a:pt x="42" y="382"/>
                  </a:lnTo>
                  <a:lnTo>
                    <a:pt x="18" y="382"/>
                  </a:lnTo>
                  <a:lnTo>
                    <a:pt x="10" y="380"/>
                  </a:lnTo>
                  <a:lnTo>
                    <a:pt x="10" y="374"/>
                  </a:lnTo>
                  <a:lnTo>
                    <a:pt x="10" y="368"/>
                  </a:lnTo>
                  <a:lnTo>
                    <a:pt x="10" y="362"/>
                  </a:lnTo>
                  <a:lnTo>
                    <a:pt x="10" y="356"/>
                  </a:lnTo>
                  <a:lnTo>
                    <a:pt x="10" y="354"/>
                  </a:lnTo>
                  <a:lnTo>
                    <a:pt x="10" y="348"/>
                  </a:lnTo>
                  <a:lnTo>
                    <a:pt x="8" y="342"/>
                  </a:lnTo>
                  <a:lnTo>
                    <a:pt x="8" y="336"/>
                  </a:lnTo>
                  <a:lnTo>
                    <a:pt x="2" y="330"/>
                  </a:lnTo>
                  <a:lnTo>
                    <a:pt x="2" y="324"/>
                  </a:lnTo>
                  <a:lnTo>
                    <a:pt x="0" y="318"/>
                  </a:lnTo>
                  <a:lnTo>
                    <a:pt x="0" y="3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8" name="Freeform 236"/>
            <p:cNvSpPr>
              <a:spLocks/>
            </p:cNvSpPr>
            <p:nvPr/>
          </p:nvSpPr>
          <p:spPr bwMode="auto">
            <a:xfrm>
              <a:off x="4524375" y="4413250"/>
              <a:ext cx="304800" cy="346075"/>
            </a:xfrm>
            <a:custGeom>
              <a:avLst/>
              <a:gdLst>
                <a:gd name="T0" fmla="*/ 2147483647 w 750"/>
                <a:gd name="T1" fmla="*/ 2147483647 h 842"/>
                <a:gd name="T2" fmla="*/ 2147483647 w 750"/>
                <a:gd name="T3" fmla="*/ 2147483647 h 842"/>
                <a:gd name="T4" fmla="*/ 2147483647 w 750"/>
                <a:gd name="T5" fmla="*/ 2147483647 h 842"/>
                <a:gd name="T6" fmla="*/ 2147483647 w 750"/>
                <a:gd name="T7" fmla="*/ 2147483647 h 842"/>
                <a:gd name="T8" fmla="*/ 2147483647 w 750"/>
                <a:gd name="T9" fmla="*/ 2147483647 h 842"/>
                <a:gd name="T10" fmla="*/ 2147483647 w 750"/>
                <a:gd name="T11" fmla="*/ 2147483647 h 842"/>
                <a:gd name="T12" fmla="*/ 2147483647 w 750"/>
                <a:gd name="T13" fmla="*/ 2147483647 h 842"/>
                <a:gd name="T14" fmla="*/ 2147483647 w 750"/>
                <a:gd name="T15" fmla="*/ 2147483647 h 842"/>
                <a:gd name="T16" fmla="*/ 2147483647 w 750"/>
                <a:gd name="T17" fmla="*/ 2147483647 h 842"/>
                <a:gd name="T18" fmla="*/ 2147483647 w 750"/>
                <a:gd name="T19" fmla="*/ 2147483647 h 842"/>
                <a:gd name="T20" fmla="*/ 2147483647 w 750"/>
                <a:gd name="T21" fmla="*/ 2147483647 h 842"/>
                <a:gd name="T22" fmla="*/ 2147483647 w 750"/>
                <a:gd name="T23" fmla="*/ 2147483647 h 842"/>
                <a:gd name="T24" fmla="*/ 2147483647 w 750"/>
                <a:gd name="T25" fmla="*/ 2147483647 h 842"/>
                <a:gd name="T26" fmla="*/ 2147483647 w 750"/>
                <a:gd name="T27" fmla="*/ 2147483647 h 842"/>
                <a:gd name="T28" fmla="*/ 2147483647 w 750"/>
                <a:gd name="T29" fmla="*/ 2147483647 h 842"/>
                <a:gd name="T30" fmla="*/ 2147483647 w 750"/>
                <a:gd name="T31" fmla="*/ 2147483647 h 842"/>
                <a:gd name="T32" fmla="*/ 2147483647 w 750"/>
                <a:gd name="T33" fmla="*/ 0 h 842"/>
                <a:gd name="T34" fmla="*/ 2147483647 w 750"/>
                <a:gd name="T35" fmla="*/ 2147483647 h 842"/>
                <a:gd name="T36" fmla="*/ 2147483647 w 750"/>
                <a:gd name="T37" fmla="*/ 2147483647 h 842"/>
                <a:gd name="T38" fmla="*/ 2147483647 w 750"/>
                <a:gd name="T39" fmla="*/ 2147483647 h 842"/>
                <a:gd name="T40" fmla="*/ 2147483647 w 750"/>
                <a:gd name="T41" fmla="*/ 2147483647 h 842"/>
                <a:gd name="T42" fmla="*/ 2147483647 w 750"/>
                <a:gd name="T43" fmla="*/ 2147483647 h 842"/>
                <a:gd name="T44" fmla="*/ 2147483647 w 750"/>
                <a:gd name="T45" fmla="*/ 2147483647 h 842"/>
                <a:gd name="T46" fmla="*/ 2147483647 w 750"/>
                <a:gd name="T47" fmla="*/ 2147483647 h 842"/>
                <a:gd name="T48" fmla="*/ 2147483647 w 750"/>
                <a:gd name="T49" fmla="*/ 2147483647 h 842"/>
                <a:gd name="T50" fmla="*/ 2147483647 w 750"/>
                <a:gd name="T51" fmla="*/ 2147483647 h 842"/>
                <a:gd name="T52" fmla="*/ 2147483647 w 750"/>
                <a:gd name="T53" fmla="*/ 2147483647 h 842"/>
                <a:gd name="T54" fmla="*/ 2147483647 w 750"/>
                <a:gd name="T55" fmla="*/ 2147483647 h 842"/>
                <a:gd name="T56" fmla="*/ 2147483647 w 750"/>
                <a:gd name="T57" fmla="*/ 2147483647 h 842"/>
                <a:gd name="T58" fmla="*/ 2147483647 w 750"/>
                <a:gd name="T59" fmla="*/ 2147483647 h 842"/>
                <a:gd name="T60" fmla="*/ 2147483647 w 750"/>
                <a:gd name="T61" fmla="*/ 2147483647 h 842"/>
                <a:gd name="T62" fmla="*/ 2147483647 w 750"/>
                <a:gd name="T63" fmla="*/ 2147483647 h 842"/>
                <a:gd name="T64" fmla="*/ 2147483647 w 750"/>
                <a:gd name="T65" fmla="*/ 2147483647 h 842"/>
                <a:gd name="T66" fmla="*/ 2147483647 w 750"/>
                <a:gd name="T67" fmla="*/ 2147483647 h 842"/>
                <a:gd name="T68" fmla="*/ 2147483647 w 750"/>
                <a:gd name="T69" fmla="*/ 2147483647 h 842"/>
                <a:gd name="T70" fmla="*/ 2147483647 w 750"/>
                <a:gd name="T71" fmla="*/ 2147483647 h 842"/>
                <a:gd name="T72" fmla="*/ 2147483647 w 750"/>
                <a:gd name="T73" fmla="*/ 2147483647 h 842"/>
                <a:gd name="T74" fmla="*/ 2147483647 w 750"/>
                <a:gd name="T75" fmla="*/ 2147483647 h 842"/>
                <a:gd name="T76" fmla="*/ 2147483647 w 750"/>
                <a:gd name="T77" fmla="*/ 2147483647 h 842"/>
                <a:gd name="T78" fmla="*/ 2147483647 w 750"/>
                <a:gd name="T79" fmla="*/ 2147483647 h 842"/>
                <a:gd name="T80" fmla="*/ 2147483647 w 750"/>
                <a:gd name="T81" fmla="*/ 2147483647 h 842"/>
                <a:gd name="T82" fmla="*/ 2147483647 w 750"/>
                <a:gd name="T83" fmla="*/ 2147483647 h 842"/>
                <a:gd name="T84" fmla="*/ 2147483647 w 750"/>
                <a:gd name="T85" fmla="*/ 2147483647 h 842"/>
                <a:gd name="T86" fmla="*/ 2147483647 w 750"/>
                <a:gd name="T87" fmla="*/ 2147483647 h 842"/>
                <a:gd name="T88" fmla="*/ 2147483647 w 750"/>
                <a:gd name="T89" fmla="*/ 2147483647 h 842"/>
                <a:gd name="T90" fmla="*/ 2147483647 w 750"/>
                <a:gd name="T91" fmla="*/ 2147483647 h 842"/>
                <a:gd name="T92" fmla="*/ 2147483647 w 750"/>
                <a:gd name="T93" fmla="*/ 2147483647 h 842"/>
                <a:gd name="T94" fmla="*/ 2147483647 w 750"/>
                <a:gd name="T95" fmla="*/ 2147483647 h 842"/>
                <a:gd name="T96" fmla="*/ 2147483647 w 750"/>
                <a:gd name="T97" fmla="*/ 2147483647 h 842"/>
                <a:gd name="T98" fmla="*/ 2147483647 w 750"/>
                <a:gd name="T99" fmla="*/ 2147483647 h 842"/>
                <a:gd name="T100" fmla="*/ 2147483647 w 750"/>
                <a:gd name="T101" fmla="*/ 2147483647 h 842"/>
                <a:gd name="T102" fmla="*/ 2147483647 w 750"/>
                <a:gd name="T103" fmla="*/ 2147483647 h 842"/>
                <a:gd name="T104" fmla="*/ 2147483647 w 750"/>
                <a:gd name="T105" fmla="*/ 2147483647 h 842"/>
                <a:gd name="T106" fmla="*/ 2147483647 w 750"/>
                <a:gd name="T107" fmla="*/ 2147483647 h 842"/>
                <a:gd name="T108" fmla="*/ 2147483647 w 750"/>
                <a:gd name="T109" fmla="*/ 2147483647 h 842"/>
                <a:gd name="T110" fmla="*/ 2147483647 w 750"/>
                <a:gd name="T111" fmla="*/ 2147483647 h 842"/>
                <a:gd name="T112" fmla="*/ 2147483647 w 750"/>
                <a:gd name="T113" fmla="*/ 2147483647 h 842"/>
                <a:gd name="T114" fmla="*/ 2147483647 w 750"/>
                <a:gd name="T115" fmla="*/ 2147483647 h 842"/>
                <a:gd name="T116" fmla="*/ 2147483647 w 750"/>
                <a:gd name="T117" fmla="*/ 2147483647 h 8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50"/>
                <a:gd name="T178" fmla="*/ 0 h 842"/>
                <a:gd name="T179" fmla="*/ 750 w 750"/>
                <a:gd name="T180" fmla="*/ 842 h 8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50" h="842">
                  <a:moveTo>
                    <a:pt x="0" y="790"/>
                  </a:moveTo>
                  <a:lnTo>
                    <a:pt x="0" y="784"/>
                  </a:lnTo>
                  <a:lnTo>
                    <a:pt x="0" y="778"/>
                  </a:lnTo>
                  <a:lnTo>
                    <a:pt x="0" y="772"/>
                  </a:lnTo>
                  <a:lnTo>
                    <a:pt x="2" y="766"/>
                  </a:lnTo>
                  <a:lnTo>
                    <a:pt x="4" y="760"/>
                  </a:lnTo>
                  <a:lnTo>
                    <a:pt x="4" y="754"/>
                  </a:lnTo>
                  <a:lnTo>
                    <a:pt x="4" y="748"/>
                  </a:lnTo>
                  <a:lnTo>
                    <a:pt x="4" y="742"/>
                  </a:lnTo>
                  <a:lnTo>
                    <a:pt x="4" y="734"/>
                  </a:lnTo>
                  <a:lnTo>
                    <a:pt x="4" y="730"/>
                  </a:lnTo>
                  <a:lnTo>
                    <a:pt x="2" y="722"/>
                  </a:lnTo>
                  <a:lnTo>
                    <a:pt x="2" y="716"/>
                  </a:lnTo>
                  <a:lnTo>
                    <a:pt x="2" y="710"/>
                  </a:lnTo>
                  <a:lnTo>
                    <a:pt x="4" y="704"/>
                  </a:lnTo>
                  <a:lnTo>
                    <a:pt x="0" y="698"/>
                  </a:lnTo>
                  <a:lnTo>
                    <a:pt x="0" y="692"/>
                  </a:lnTo>
                  <a:lnTo>
                    <a:pt x="6" y="690"/>
                  </a:lnTo>
                  <a:lnTo>
                    <a:pt x="10" y="684"/>
                  </a:lnTo>
                  <a:lnTo>
                    <a:pt x="10" y="682"/>
                  </a:lnTo>
                  <a:lnTo>
                    <a:pt x="14" y="676"/>
                  </a:lnTo>
                  <a:lnTo>
                    <a:pt x="16" y="670"/>
                  </a:lnTo>
                  <a:lnTo>
                    <a:pt x="18" y="666"/>
                  </a:lnTo>
                  <a:lnTo>
                    <a:pt x="18" y="658"/>
                  </a:lnTo>
                  <a:lnTo>
                    <a:pt x="18" y="654"/>
                  </a:lnTo>
                  <a:lnTo>
                    <a:pt x="24" y="646"/>
                  </a:lnTo>
                  <a:lnTo>
                    <a:pt x="22" y="640"/>
                  </a:lnTo>
                  <a:lnTo>
                    <a:pt x="24" y="634"/>
                  </a:lnTo>
                  <a:lnTo>
                    <a:pt x="26" y="630"/>
                  </a:lnTo>
                  <a:lnTo>
                    <a:pt x="28" y="624"/>
                  </a:lnTo>
                  <a:lnTo>
                    <a:pt x="32" y="618"/>
                  </a:lnTo>
                  <a:lnTo>
                    <a:pt x="32" y="612"/>
                  </a:lnTo>
                  <a:lnTo>
                    <a:pt x="32" y="606"/>
                  </a:lnTo>
                  <a:lnTo>
                    <a:pt x="34" y="600"/>
                  </a:lnTo>
                  <a:lnTo>
                    <a:pt x="36" y="594"/>
                  </a:lnTo>
                  <a:lnTo>
                    <a:pt x="36" y="586"/>
                  </a:lnTo>
                  <a:lnTo>
                    <a:pt x="34" y="582"/>
                  </a:lnTo>
                  <a:lnTo>
                    <a:pt x="36" y="576"/>
                  </a:lnTo>
                  <a:lnTo>
                    <a:pt x="36" y="568"/>
                  </a:lnTo>
                  <a:lnTo>
                    <a:pt x="38" y="564"/>
                  </a:lnTo>
                  <a:lnTo>
                    <a:pt x="40" y="556"/>
                  </a:lnTo>
                  <a:lnTo>
                    <a:pt x="46" y="552"/>
                  </a:lnTo>
                  <a:lnTo>
                    <a:pt x="46" y="548"/>
                  </a:lnTo>
                  <a:lnTo>
                    <a:pt x="48" y="540"/>
                  </a:lnTo>
                  <a:lnTo>
                    <a:pt x="48" y="534"/>
                  </a:lnTo>
                  <a:lnTo>
                    <a:pt x="48" y="530"/>
                  </a:lnTo>
                  <a:lnTo>
                    <a:pt x="48" y="524"/>
                  </a:lnTo>
                  <a:lnTo>
                    <a:pt x="54" y="520"/>
                  </a:lnTo>
                  <a:lnTo>
                    <a:pt x="56" y="512"/>
                  </a:lnTo>
                  <a:lnTo>
                    <a:pt x="62" y="508"/>
                  </a:lnTo>
                  <a:lnTo>
                    <a:pt x="68" y="502"/>
                  </a:lnTo>
                  <a:lnTo>
                    <a:pt x="72" y="496"/>
                  </a:lnTo>
                  <a:lnTo>
                    <a:pt x="72" y="488"/>
                  </a:lnTo>
                  <a:lnTo>
                    <a:pt x="72" y="486"/>
                  </a:lnTo>
                  <a:lnTo>
                    <a:pt x="74" y="480"/>
                  </a:lnTo>
                  <a:lnTo>
                    <a:pt x="82" y="474"/>
                  </a:lnTo>
                  <a:lnTo>
                    <a:pt x="86" y="468"/>
                  </a:lnTo>
                  <a:lnTo>
                    <a:pt x="92" y="466"/>
                  </a:lnTo>
                  <a:lnTo>
                    <a:pt x="94" y="466"/>
                  </a:lnTo>
                  <a:lnTo>
                    <a:pt x="100" y="466"/>
                  </a:lnTo>
                  <a:lnTo>
                    <a:pt x="104" y="462"/>
                  </a:lnTo>
                  <a:lnTo>
                    <a:pt x="106" y="456"/>
                  </a:lnTo>
                  <a:lnTo>
                    <a:pt x="110" y="450"/>
                  </a:lnTo>
                  <a:lnTo>
                    <a:pt x="116" y="444"/>
                  </a:lnTo>
                  <a:lnTo>
                    <a:pt x="116" y="438"/>
                  </a:lnTo>
                  <a:lnTo>
                    <a:pt x="120" y="432"/>
                  </a:lnTo>
                  <a:lnTo>
                    <a:pt x="120" y="426"/>
                  </a:lnTo>
                  <a:lnTo>
                    <a:pt x="124" y="420"/>
                  </a:lnTo>
                  <a:lnTo>
                    <a:pt x="124" y="414"/>
                  </a:lnTo>
                  <a:lnTo>
                    <a:pt x="124" y="408"/>
                  </a:lnTo>
                  <a:lnTo>
                    <a:pt x="124" y="402"/>
                  </a:lnTo>
                  <a:lnTo>
                    <a:pt x="124" y="396"/>
                  </a:lnTo>
                  <a:lnTo>
                    <a:pt x="124" y="390"/>
                  </a:lnTo>
                  <a:lnTo>
                    <a:pt x="124" y="384"/>
                  </a:lnTo>
                  <a:lnTo>
                    <a:pt x="126" y="378"/>
                  </a:lnTo>
                  <a:lnTo>
                    <a:pt x="126" y="372"/>
                  </a:lnTo>
                  <a:lnTo>
                    <a:pt x="128" y="366"/>
                  </a:lnTo>
                  <a:lnTo>
                    <a:pt x="128" y="360"/>
                  </a:lnTo>
                  <a:lnTo>
                    <a:pt x="128" y="354"/>
                  </a:lnTo>
                  <a:lnTo>
                    <a:pt x="124" y="348"/>
                  </a:lnTo>
                  <a:lnTo>
                    <a:pt x="120" y="340"/>
                  </a:lnTo>
                  <a:lnTo>
                    <a:pt x="124" y="336"/>
                  </a:lnTo>
                  <a:lnTo>
                    <a:pt x="120" y="330"/>
                  </a:lnTo>
                  <a:lnTo>
                    <a:pt x="114" y="322"/>
                  </a:lnTo>
                  <a:lnTo>
                    <a:pt x="110" y="318"/>
                  </a:lnTo>
                  <a:lnTo>
                    <a:pt x="108" y="312"/>
                  </a:lnTo>
                  <a:lnTo>
                    <a:pt x="106" y="306"/>
                  </a:lnTo>
                  <a:lnTo>
                    <a:pt x="104" y="300"/>
                  </a:lnTo>
                  <a:lnTo>
                    <a:pt x="100" y="294"/>
                  </a:lnTo>
                  <a:lnTo>
                    <a:pt x="96" y="288"/>
                  </a:lnTo>
                  <a:lnTo>
                    <a:pt x="98" y="284"/>
                  </a:lnTo>
                  <a:lnTo>
                    <a:pt x="96" y="278"/>
                  </a:lnTo>
                  <a:lnTo>
                    <a:pt x="92" y="272"/>
                  </a:lnTo>
                  <a:lnTo>
                    <a:pt x="88" y="266"/>
                  </a:lnTo>
                  <a:lnTo>
                    <a:pt x="90" y="260"/>
                  </a:lnTo>
                  <a:lnTo>
                    <a:pt x="88" y="254"/>
                  </a:lnTo>
                  <a:lnTo>
                    <a:pt x="88" y="248"/>
                  </a:lnTo>
                  <a:lnTo>
                    <a:pt x="86" y="242"/>
                  </a:lnTo>
                  <a:lnTo>
                    <a:pt x="82" y="236"/>
                  </a:lnTo>
                  <a:lnTo>
                    <a:pt x="78" y="230"/>
                  </a:lnTo>
                  <a:lnTo>
                    <a:pt x="76" y="224"/>
                  </a:lnTo>
                  <a:lnTo>
                    <a:pt x="78" y="218"/>
                  </a:lnTo>
                  <a:lnTo>
                    <a:pt x="78" y="216"/>
                  </a:lnTo>
                  <a:lnTo>
                    <a:pt x="86" y="210"/>
                  </a:lnTo>
                  <a:lnTo>
                    <a:pt x="80" y="218"/>
                  </a:lnTo>
                  <a:lnTo>
                    <a:pt x="78" y="222"/>
                  </a:lnTo>
                  <a:lnTo>
                    <a:pt x="82" y="218"/>
                  </a:lnTo>
                  <a:lnTo>
                    <a:pt x="88" y="210"/>
                  </a:lnTo>
                  <a:lnTo>
                    <a:pt x="90" y="206"/>
                  </a:lnTo>
                  <a:lnTo>
                    <a:pt x="96" y="202"/>
                  </a:lnTo>
                  <a:lnTo>
                    <a:pt x="100" y="202"/>
                  </a:lnTo>
                  <a:lnTo>
                    <a:pt x="102" y="196"/>
                  </a:lnTo>
                  <a:lnTo>
                    <a:pt x="100" y="190"/>
                  </a:lnTo>
                  <a:lnTo>
                    <a:pt x="98" y="188"/>
                  </a:lnTo>
                  <a:lnTo>
                    <a:pt x="100" y="182"/>
                  </a:lnTo>
                  <a:lnTo>
                    <a:pt x="100" y="178"/>
                  </a:lnTo>
                  <a:lnTo>
                    <a:pt x="100" y="172"/>
                  </a:lnTo>
                  <a:lnTo>
                    <a:pt x="98" y="170"/>
                  </a:lnTo>
                  <a:lnTo>
                    <a:pt x="94" y="164"/>
                  </a:lnTo>
                  <a:lnTo>
                    <a:pt x="94" y="158"/>
                  </a:lnTo>
                  <a:lnTo>
                    <a:pt x="90" y="152"/>
                  </a:lnTo>
                  <a:lnTo>
                    <a:pt x="88" y="146"/>
                  </a:lnTo>
                  <a:lnTo>
                    <a:pt x="86" y="140"/>
                  </a:lnTo>
                  <a:lnTo>
                    <a:pt x="84" y="136"/>
                  </a:lnTo>
                  <a:lnTo>
                    <a:pt x="82" y="134"/>
                  </a:lnTo>
                  <a:lnTo>
                    <a:pt x="80" y="128"/>
                  </a:lnTo>
                  <a:lnTo>
                    <a:pt x="78" y="122"/>
                  </a:lnTo>
                  <a:lnTo>
                    <a:pt x="76" y="116"/>
                  </a:lnTo>
                  <a:lnTo>
                    <a:pt x="74" y="110"/>
                  </a:lnTo>
                  <a:lnTo>
                    <a:pt x="72" y="104"/>
                  </a:lnTo>
                  <a:lnTo>
                    <a:pt x="68" y="98"/>
                  </a:lnTo>
                  <a:lnTo>
                    <a:pt x="68" y="92"/>
                  </a:lnTo>
                  <a:lnTo>
                    <a:pt x="68" y="90"/>
                  </a:lnTo>
                  <a:lnTo>
                    <a:pt x="68" y="86"/>
                  </a:lnTo>
                  <a:lnTo>
                    <a:pt x="66" y="80"/>
                  </a:lnTo>
                  <a:lnTo>
                    <a:pt x="64" y="74"/>
                  </a:lnTo>
                  <a:lnTo>
                    <a:pt x="60" y="68"/>
                  </a:lnTo>
                  <a:lnTo>
                    <a:pt x="54" y="62"/>
                  </a:lnTo>
                  <a:lnTo>
                    <a:pt x="54" y="60"/>
                  </a:lnTo>
                  <a:lnTo>
                    <a:pt x="48" y="56"/>
                  </a:lnTo>
                  <a:lnTo>
                    <a:pt x="46" y="48"/>
                  </a:lnTo>
                  <a:lnTo>
                    <a:pt x="44" y="42"/>
                  </a:lnTo>
                  <a:lnTo>
                    <a:pt x="40" y="36"/>
                  </a:lnTo>
                  <a:lnTo>
                    <a:pt x="38" y="30"/>
                  </a:lnTo>
                  <a:lnTo>
                    <a:pt x="36" y="24"/>
                  </a:lnTo>
                  <a:lnTo>
                    <a:pt x="34" y="18"/>
                  </a:lnTo>
                  <a:lnTo>
                    <a:pt x="40" y="16"/>
                  </a:lnTo>
                  <a:lnTo>
                    <a:pt x="46" y="16"/>
                  </a:lnTo>
                  <a:lnTo>
                    <a:pt x="52" y="14"/>
                  </a:lnTo>
                  <a:lnTo>
                    <a:pt x="58" y="12"/>
                  </a:lnTo>
                  <a:lnTo>
                    <a:pt x="64" y="12"/>
                  </a:lnTo>
                  <a:lnTo>
                    <a:pt x="70" y="10"/>
                  </a:lnTo>
                  <a:lnTo>
                    <a:pt x="76" y="4"/>
                  </a:lnTo>
                  <a:lnTo>
                    <a:pt x="82" y="2"/>
                  </a:lnTo>
                  <a:lnTo>
                    <a:pt x="82" y="4"/>
                  </a:lnTo>
                  <a:lnTo>
                    <a:pt x="88" y="2"/>
                  </a:lnTo>
                  <a:lnTo>
                    <a:pt x="94" y="2"/>
                  </a:lnTo>
                  <a:lnTo>
                    <a:pt x="100" y="2"/>
                  </a:lnTo>
                  <a:lnTo>
                    <a:pt x="102" y="2"/>
                  </a:lnTo>
                  <a:lnTo>
                    <a:pt x="108" y="2"/>
                  </a:lnTo>
                  <a:lnTo>
                    <a:pt x="114" y="2"/>
                  </a:lnTo>
                  <a:lnTo>
                    <a:pt x="120" y="2"/>
                  </a:lnTo>
                  <a:lnTo>
                    <a:pt x="126" y="2"/>
                  </a:lnTo>
                  <a:lnTo>
                    <a:pt x="132" y="0"/>
                  </a:lnTo>
                  <a:lnTo>
                    <a:pt x="138" y="2"/>
                  </a:lnTo>
                  <a:lnTo>
                    <a:pt x="144" y="2"/>
                  </a:lnTo>
                  <a:lnTo>
                    <a:pt x="150" y="2"/>
                  </a:lnTo>
                  <a:lnTo>
                    <a:pt x="156" y="2"/>
                  </a:lnTo>
                  <a:lnTo>
                    <a:pt x="162" y="4"/>
                  </a:lnTo>
                  <a:lnTo>
                    <a:pt x="166" y="4"/>
                  </a:lnTo>
                  <a:lnTo>
                    <a:pt x="172" y="4"/>
                  </a:lnTo>
                  <a:lnTo>
                    <a:pt x="178" y="4"/>
                  </a:lnTo>
                  <a:lnTo>
                    <a:pt x="184" y="2"/>
                  </a:lnTo>
                  <a:lnTo>
                    <a:pt x="188" y="2"/>
                  </a:lnTo>
                  <a:lnTo>
                    <a:pt x="194" y="2"/>
                  </a:lnTo>
                  <a:lnTo>
                    <a:pt x="200" y="2"/>
                  </a:lnTo>
                  <a:lnTo>
                    <a:pt x="204" y="2"/>
                  </a:lnTo>
                  <a:lnTo>
                    <a:pt x="210" y="2"/>
                  </a:lnTo>
                  <a:lnTo>
                    <a:pt x="216" y="2"/>
                  </a:lnTo>
                  <a:lnTo>
                    <a:pt x="220" y="2"/>
                  </a:lnTo>
                  <a:lnTo>
                    <a:pt x="226" y="2"/>
                  </a:lnTo>
                  <a:lnTo>
                    <a:pt x="230" y="2"/>
                  </a:lnTo>
                  <a:lnTo>
                    <a:pt x="238" y="2"/>
                  </a:lnTo>
                  <a:lnTo>
                    <a:pt x="242" y="2"/>
                  </a:lnTo>
                  <a:lnTo>
                    <a:pt x="248" y="2"/>
                  </a:lnTo>
                  <a:lnTo>
                    <a:pt x="254" y="2"/>
                  </a:lnTo>
                  <a:lnTo>
                    <a:pt x="260" y="2"/>
                  </a:lnTo>
                  <a:lnTo>
                    <a:pt x="266" y="2"/>
                  </a:lnTo>
                  <a:lnTo>
                    <a:pt x="268" y="2"/>
                  </a:lnTo>
                  <a:lnTo>
                    <a:pt x="276" y="2"/>
                  </a:lnTo>
                  <a:lnTo>
                    <a:pt x="280" y="2"/>
                  </a:lnTo>
                  <a:lnTo>
                    <a:pt x="288" y="4"/>
                  </a:lnTo>
                  <a:lnTo>
                    <a:pt x="290" y="2"/>
                  </a:lnTo>
                  <a:lnTo>
                    <a:pt x="296" y="4"/>
                  </a:lnTo>
                  <a:lnTo>
                    <a:pt x="296" y="6"/>
                  </a:lnTo>
                  <a:lnTo>
                    <a:pt x="298" y="12"/>
                  </a:lnTo>
                  <a:lnTo>
                    <a:pt x="300" y="18"/>
                  </a:lnTo>
                  <a:lnTo>
                    <a:pt x="304" y="24"/>
                  </a:lnTo>
                  <a:lnTo>
                    <a:pt x="304" y="30"/>
                  </a:lnTo>
                  <a:lnTo>
                    <a:pt x="302" y="36"/>
                  </a:lnTo>
                  <a:lnTo>
                    <a:pt x="304" y="42"/>
                  </a:lnTo>
                  <a:lnTo>
                    <a:pt x="306" y="48"/>
                  </a:lnTo>
                  <a:lnTo>
                    <a:pt x="306" y="54"/>
                  </a:lnTo>
                  <a:lnTo>
                    <a:pt x="308" y="60"/>
                  </a:lnTo>
                  <a:lnTo>
                    <a:pt x="310" y="60"/>
                  </a:lnTo>
                  <a:lnTo>
                    <a:pt x="310" y="66"/>
                  </a:lnTo>
                  <a:lnTo>
                    <a:pt x="316" y="72"/>
                  </a:lnTo>
                  <a:lnTo>
                    <a:pt x="316" y="78"/>
                  </a:lnTo>
                  <a:lnTo>
                    <a:pt x="318" y="84"/>
                  </a:lnTo>
                  <a:lnTo>
                    <a:pt x="318" y="90"/>
                  </a:lnTo>
                  <a:lnTo>
                    <a:pt x="318" y="96"/>
                  </a:lnTo>
                  <a:lnTo>
                    <a:pt x="322" y="102"/>
                  </a:lnTo>
                  <a:lnTo>
                    <a:pt x="326" y="106"/>
                  </a:lnTo>
                  <a:lnTo>
                    <a:pt x="332" y="112"/>
                  </a:lnTo>
                  <a:lnTo>
                    <a:pt x="332" y="116"/>
                  </a:lnTo>
                  <a:lnTo>
                    <a:pt x="338" y="122"/>
                  </a:lnTo>
                  <a:lnTo>
                    <a:pt x="338" y="126"/>
                  </a:lnTo>
                  <a:lnTo>
                    <a:pt x="340" y="132"/>
                  </a:lnTo>
                  <a:lnTo>
                    <a:pt x="344" y="138"/>
                  </a:lnTo>
                  <a:lnTo>
                    <a:pt x="348" y="144"/>
                  </a:lnTo>
                  <a:lnTo>
                    <a:pt x="352" y="150"/>
                  </a:lnTo>
                  <a:lnTo>
                    <a:pt x="354" y="156"/>
                  </a:lnTo>
                  <a:lnTo>
                    <a:pt x="360" y="156"/>
                  </a:lnTo>
                  <a:lnTo>
                    <a:pt x="366" y="154"/>
                  </a:lnTo>
                  <a:lnTo>
                    <a:pt x="372" y="154"/>
                  </a:lnTo>
                  <a:lnTo>
                    <a:pt x="378" y="152"/>
                  </a:lnTo>
                  <a:lnTo>
                    <a:pt x="382" y="158"/>
                  </a:lnTo>
                  <a:lnTo>
                    <a:pt x="388" y="158"/>
                  </a:lnTo>
                  <a:lnTo>
                    <a:pt x="388" y="152"/>
                  </a:lnTo>
                  <a:lnTo>
                    <a:pt x="390" y="152"/>
                  </a:lnTo>
                  <a:lnTo>
                    <a:pt x="394" y="150"/>
                  </a:lnTo>
                  <a:lnTo>
                    <a:pt x="400" y="150"/>
                  </a:lnTo>
                  <a:lnTo>
                    <a:pt x="408" y="150"/>
                  </a:lnTo>
                  <a:lnTo>
                    <a:pt x="412" y="150"/>
                  </a:lnTo>
                  <a:lnTo>
                    <a:pt x="420" y="144"/>
                  </a:lnTo>
                  <a:lnTo>
                    <a:pt x="422" y="146"/>
                  </a:lnTo>
                  <a:lnTo>
                    <a:pt x="428" y="144"/>
                  </a:lnTo>
                  <a:lnTo>
                    <a:pt x="430" y="150"/>
                  </a:lnTo>
                  <a:lnTo>
                    <a:pt x="432" y="150"/>
                  </a:lnTo>
                  <a:lnTo>
                    <a:pt x="440" y="150"/>
                  </a:lnTo>
                  <a:lnTo>
                    <a:pt x="446" y="150"/>
                  </a:lnTo>
                  <a:lnTo>
                    <a:pt x="454" y="150"/>
                  </a:lnTo>
                  <a:lnTo>
                    <a:pt x="460" y="150"/>
                  </a:lnTo>
                  <a:lnTo>
                    <a:pt x="466" y="150"/>
                  </a:lnTo>
                  <a:lnTo>
                    <a:pt x="464" y="146"/>
                  </a:lnTo>
                  <a:lnTo>
                    <a:pt x="464" y="140"/>
                  </a:lnTo>
                  <a:lnTo>
                    <a:pt x="466" y="134"/>
                  </a:lnTo>
                  <a:lnTo>
                    <a:pt x="468" y="128"/>
                  </a:lnTo>
                  <a:lnTo>
                    <a:pt x="466" y="126"/>
                  </a:lnTo>
                  <a:lnTo>
                    <a:pt x="466" y="120"/>
                  </a:lnTo>
                  <a:lnTo>
                    <a:pt x="472" y="120"/>
                  </a:lnTo>
                  <a:lnTo>
                    <a:pt x="476" y="114"/>
                  </a:lnTo>
                  <a:lnTo>
                    <a:pt x="474" y="108"/>
                  </a:lnTo>
                  <a:lnTo>
                    <a:pt x="472" y="102"/>
                  </a:lnTo>
                  <a:lnTo>
                    <a:pt x="474" y="96"/>
                  </a:lnTo>
                  <a:lnTo>
                    <a:pt x="474" y="90"/>
                  </a:lnTo>
                  <a:lnTo>
                    <a:pt x="478" y="84"/>
                  </a:lnTo>
                  <a:lnTo>
                    <a:pt x="476" y="80"/>
                  </a:lnTo>
                  <a:lnTo>
                    <a:pt x="482" y="80"/>
                  </a:lnTo>
                  <a:lnTo>
                    <a:pt x="488" y="80"/>
                  </a:lnTo>
                  <a:lnTo>
                    <a:pt x="494" y="80"/>
                  </a:lnTo>
                  <a:lnTo>
                    <a:pt x="502" y="80"/>
                  </a:lnTo>
                  <a:lnTo>
                    <a:pt x="504" y="80"/>
                  </a:lnTo>
                  <a:lnTo>
                    <a:pt x="510" y="80"/>
                  </a:lnTo>
                  <a:lnTo>
                    <a:pt x="518" y="80"/>
                  </a:lnTo>
                  <a:lnTo>
                    <a:pt x="524" y="80"/>
                  </a:lnTo>
                  <a:lnTo>
                    <a:pt x="524" y="74"/>
                  </a:lnTo>
                  <a:lnTo>
                    <a:pt x="530" y="74"/>
                  </a:lnTo>
                  <a:lnTo>
                    <a:pt x="536" y="74"/>
                  </a:lnTo>
                  <a:lnTo>
                    <a:pt x="542" y="74"/>
                  </a:lnTo>
                  <a:lnTo>
                    <a:pt x="542" y="76"/>
                  </a:lnTo>
                  <a:lnTo>
                    <a:pt x="540" y="82"/>
                  </a:lnTo>
                  <a:lnTo>
                    <a:pt x="538" y="88"/>
                  </a:lnTo>
                  <a:lnTo>
                    <a:pt x="536" y="94"/>
                  </a:lnTo>
                  <a:lnTo>
                    <a:pt x="536" y="100"/>
                  </a:lnTo>
                  <a:lnTo>
                    <a:pt x="542" y="100"/>
                  </a:lnTo>
                  <a:lnTo>
                    <a:pt x="548" y="100"/>
                  </a:lnTo>
                  <a:lnTo>
                    <a:pt x="554" y="100"/>
                  </a:lnTo>
                  <a:lnTo>
                    <a:pt x="560" y="100"/>
                  </a:lnTo>
                  <a:lnTo>
                    <a:pt x="566" y="100"/>
                  </a:lnTo>
                  <a:lnTo>
                    <a:pt x="572" y="100"/>
                  </a:lnTo>
                  <a:lnTo>
                    <a:pt x="578" y="100"/>
                  </a:lnTo>
                  <a:lnTo>
                    <a:pt x="584" y="100"/>
                  </a:lnTo>
                  <a:lnTo>
                    <a:pt x="590" y="100"/>
                  </a:lnTo>
                  <a:lnTo>
                    <a:pt x="594" y="100"/>
                  </a:lnTo>
                  <a:lnTo>
                    <a:pt x="600" y="100"/>
                  </a:lnTo>
                  <a:lnTo>
                    <a:pt x="606" y="100"/>
                  </a:lnTo>
                  <a:lnTo>
                    <a:pt x="612" y="100"/>
                  </a:lnTo>
                  <a:lnTo>
                    <a:pt x="614" y="102"/>
                  </a:lnTo>
                  <a:lnTo>
                    <a:pt x="616" y="108"/>
                  </a:lnTo>
                  <a:lnTo>
                    <a:pt x="618" y="114"/>
                  </a:lnTo>
                  <a:lnTo>
                    <a:pt x="616" y="120"/>
                  </a:lnTo>
                  <a:lnTo>
                    <a:pt x="614" y="124"/>
                  </a:lnTo>
                  <a:lnTo>
                    <a:pt x="614" y="130"/>
                  </a:lnTo>
                  <a:lnTo>
                    <a:pt x="612" y="136"/>
                  </a:lnTo>
                  <a:lnTo>
                    <a:pt x="612" y="142"/>
                  </a:lnTo>
                  <a:lnTo>
                    <a:pt x="610" y="148"/>
                  </a:lnTo>
                  <a:lnTo>
                    <a:pt x="614" y="154"/>
                  </a:lnTo>
                  <a:lnTo>
                    <a:pt x="616" y="160"/>
                  </a:lnTo>
                  <a:lnTo>
                    <a:pt x="618" y="166"/>
                  </a:lnTo>
                  <a:lnTo>
                    <a:pt x="620" y="172"/>
                  </a:lnTo>
                  <a:lnTo>
                    <a:pt x="620" y="174"/>
                  </a:lnTo>
                  <a:lnTo>
                    <a:pt x="622" y="180"/>
                  </a:lnTo>
                  <a:lnTo>
                    <a:pt x="622" y="186"/>
                  </a:lnTo>
                  <a:lnTo>
                    <a:pt x="620" y="192"/>
                  </a:lnTo>
                  <a:lnTo>
                    <a:pt x="618" y="198"/>
                  </a:lnTo>
                  <a:lnTo>
                    <a:pt x="618" y="204"/>
                  </a:lnTo>
                  <a:lnTo>
                    <a:pt x="616" y="210"/>
                  </a:lnTo>
                  <a:lnTo>
                    <a:pt x="616" y="216"/>
                  </a:lnTo>
                  <a:lnTo>
                    <a:pt x="616" y="222"/>
                  </a:lnTo>
                  <a:lnTo>
                    <a:pt x="614" y="228"/>
                  </a:lnTo>
                  <a:lnTo>
                    <a:pt x="616" y="232"/>
                  </a:lnTo>
                  <a:lnTo>
                    <a:pt x="614" y="238"/>
                  </a:lnTo>
                  <a:lnTo>
                    <a:pt x="614" y="244"/>
                  </a:lnTo>
                  <a:lnTo>
                    <a:pt x="614" y="250"/>
                  </a:lnTo>
                  <a:lnTo>
                    <a:pt x="614" y="256"/>
                  </a:lnTo>
                  <a:lnTo>
                    <a:pt x="616" y="262"/>
                  </a:lnTo>
                  <a:lnTo>
                    <a:pt x="620" y="268"/>
                  </a:lnTo>
                  <a:lnTo>
                    <a:pt x="624" y="274"/>
                  </a:lnTo>
                  <a:lnTo>
                    <a:pt x="628" y="280"/>
                  </a:lnTo>
                  <a:lnTo>
                    <a:pt x="634" y="282"/>
                  </a:lnTo>
                  <a:lnTo>
                    <a:pt x="636" y="288"/>
                  </a:lnTo>
                  <a:lnTo>
                    <a:pt x="636" y="290"/>
                  </a:lnTo>
                  <a:lnTo>
                    <a:pt x="636" y="294"/>
                  </a:lnTo>
                  <a:lnTo>
                    <a:pt x="638" y="302"/>
                  </a:lnTo>
                  <a:lnTo>
                    <a:pt x="640" y="306"/>
                  </a:lnTo>
                  <a:lnTo>
                    <a:pt x="644" y="312"/>
                  </a:lnTo>
                  <a:lnTo>
                    <a:pt x="642" y="318"/>
                  </a:lnTo>
                  <a:lnTo>
                    <a:pt x="642" y="324"/>
                  </a:lnTo>
                  <a:lnTo>
                    <a:pt x="642" y="330"/>
                  </a:lnTo>
                  <a:lnTo>
                    <a:pt x="644" y="336"/>
                  </a:lnTo>
                  <a:lnTo>
                    <a:pt x="642" y="342"/>
                  </a:lnTo>
                  <a:lnTo>
                    <a:pt x="636" y="344"/>
                  </a:lnTo>
                  <a:lnTo>
                    <a:pt x="634" y="350"/>
                  </a:lnTo>
                  <a:lnTo>
                    <a:pt x="636" y="356"/>
                  </a:lnTo>
                  <a:lnTo>
                    <a:pt x="638" y="362"/>
                  </a:lnTo>
                  <a:lnTo>
                    <a:pt x="640" y="368"/>
                  </a:lnTo>
                  <a:lnTo>
                    <a:pt x="638" y="374"/>
                  </a:lnTo>
                  <a:lnTo>
                    <a:pt x="642" y="374"/>
                  </a:lnTo>
                  <a:lnTo>
                    <a:pt x="648" y="370"/>
                  </a:lnTo>
                  <a:lnTo>
                    <a:pt x="654" y="366"/>
                  </a:lnTo>
                  <a:lnTo>
                    <a:pt x="658" y="360"/>
                  </a:lnTo>
                  <a:lnTo>
                    <a:pt x="664" y="362"/>
                  </a:lnTo>
                  <a:lnTo>
                    <a:pt x="670" y="364"/>
                  </a:lnTo>
                  <a:lnTo>
                    <a:pt x="676" y="360"/>
                  </a:lnTo>
                  <a:lnTo>
                    <a:pt x="682" y="364"/>
                  </a:lnTo>
                  <a:lnTo>
                    <a:pt x="688" y="364"/>
                  </a:lnTo>
                  <a:lnTo>
                    <a:pt x="694" y="362"/>
                  </a:lnTo>
                  <a:lnTo>
                    <a:pt x="700" y="360"/>
                  </a:lnTo>
                  <a:lnTo>
                    <a:pt x="706" y="356"/>
                  </a:lnTo>
                  <a:lnTo>
                    <a:pt x="712" y="354"/>
                  </a:lnTo>
                  <a:lnTo>
                    <a:pt x="718" y="356"/>
                  </a:lnTo>
                  <a:lnTo>
                    <a:pt x="724" y="358"/>
                  </a:lnTo>
                  <a:lnTo>
                    <a:pt x="730" y="356"/>
                  </a:lnTo>
                  <a:lnTo>
                    <a:pt x="736" y="358"/>
                  </a:lnTo>
                  <a:lnTo>
                    <a:pt x="742" y="354"/>
                  </a:lnTo>
                  <a:lnTo>
                    <a:pt x="744" y="348"/>
                  </a:lnTo>
                  <a:lnTo>
                    <a:pt x="746" y="354"/>
                  </a:lnTo>
                  <a:lnTo>
                    <a:pt x="746" y="360"/>
                  </a:lnTo>
                  <a:lnTo>
                    <a:pt x="746" y="366"/>
                  </a:lnTo>
                  <a:lnTo>
                    <a:pt x="748" y="366"/>
                  </a:lnTo>
                  <a:lnTo>
                    <a:pt x="746" y="372"/>
                  </a:lnTo>
                  <a:lnTo>
                    <a:pt x="748" y="378"/>
                  </a:lnTo>
                  <a:lnTo>
                    <a:pt x="750" y="384"/>
                  </a:lnTo>
                  <a:lnTo>
                    <a:pt x="746" y="390"/>
                  </a:lnTo>
                  <a:lnTo>
                    <a:pt x="746" y="396"/>
                  </a:lnTo>
                  <a:lnTo>
                    <a:pt x="742" y="402"/>
                  </a:lnTo>
                  <a:lnTo>
                    <a:pt x="746" y="408"/>
                  </a:lnTo>
                  <a:lnTo>
                    <a:pt x="746" y="414"/>
                  </a:lnTo>
                  <a:lnTo>
                    <a:pt x="744" y="420"/>
                  </a:lnTo>
                  <a:lnTo>
                    <a:pt x="744" y="426"/>
                  </a:lnTo>
                  <a:lnTo>
                    <a:pt x="744" y="432"/>
                  </a:lnTo>
                  <a:lnTo>
                    <a:pt x="742" y="438"/>
                  </a:lnTo>
                  <a:lnTo>
                    <a:pt x="746" y="444"/>
                  </a:lnTo>
                  <a:lnTo>
                    <a:pt x="746" y="450"/>
                  </a:lnTo>
                  <a:lnTo>
                    <a:pt x="746" y="456"/>
                  </a:lnTo>
                  <a:lnTo>
                    <a:pt x="742" y="462"/>
                  </a:lnTo>
                  <a:lnTo>
                    <a:pt x="740" y="468"/>
                  </a:lnTo>
                  <a:lnTo>
                    <a:pt x="738" y="474"/>
                  </a:lnTo>
                  <a:lnTo>
                    <a:pt x="738" y="480"/>
                  </a:lnTo>
                  <a:lnTo>
                    <a:pt x="740" y="486"/>
                  </a:lnTo>
                  <a:lnTo>
                    <a:pt x="744" y="492"/>
                  </a:lnTo>
                  <a:lnTo>
                    <a:pt x="734" y="496"/>
                  </a:lnTo>
                  <a:lnTo>
                    <a:pt x="728" y="496"/>
                  </a:lnTo>
                  <a:lnTo>
                    <a:pt x="718" y="496"/>
                  </a:lnTo>
                  <a:lnTo>
                    <a:pt x="710" y="496"/>
                  </a:lnTo>
                  <a:lnTo>
                    <a:pt x="708" y="496"/>
                  </a:lnTo>
                  <a:lnTo>
                    <a:pt x="700" y="496"/>
                  </a:lnTo>
                  <a:lnTo>
                    <a:pt x="692" y="496"/>
                  </a:lnTo>
                  <a:lnTo>
                    <a:pt x="686" y="496"/>
                  </a:lnTo>
                  <a:lnTo>
                    <a:pt x="680" y="496"/>
                  </a:lnTo>
                  <a:lnTo>
                    <a:pt x="672" y="496"/>
                  </a:lnTo>
                  <a:lnTo>
                    <a:pt x="666" y="496"/>
                  </a:lnTo>
                  <a:lnTo>
                    <a:pt x="656" y="496"/>
                  </a:lnTo>
                  <a:lnTo>
                    <a:pt x="648" y="496"/>
                  </a:lnTo>
                  <a:lnTo>
                    <a:pt x="644" y="496"/>
                  </a:lnTo>
                  <a:lnTo>
                    <a:pt x="638" y="496"/>
                  </a:lnTo>
                  <a:lnTo>
                    <a:pt x="632" y="496"/>
                  </a:lnTo>
                  <a:lnTo>
                    <a:pt x="622" y="496"/>
                  </a:lnTo>
                  <a:lnTo>
                    <a:pt x="622" y="502"/>
                  </a:lnTo>
                  <a:lnTo>
                    <a:pt x="622" y="508"/>
                  </a:lnTo>
                  <a:lnTo>
                    <a:pt x="622" y="514"/>
                  </a:lnTo>
                  <a:lnTo>
                    <a:pt x="622" y="518"/>
                  </a:lnTo>
                  <a:lnTo>
                    <a:pt x="622" y="526"/>
                  </a:lnTo>
                  <a:lnTo>
                    <a:pt x="622" y="532"/>
                  </a:lnTo>
                  <a:lnTo>
                    <a:pt x="622" y="538"/>
                  </a:lnTo>
                  <a:lnTo>
                    <a:pt x="622" y="544"/>
                  </a:lnTo>
                  <a:lnTo>
                    <a:pt x="622" y="550"/>
                  </a:lnTo>
                  <a:lnTo>
                    <a:pt x="622" y="556"/>
                  </a:lnTo>
                  <a:lnTo>
                    <a:pt x="622" y="562"/>
                  </a:lnTo>
                  <a:lnTo>
                    <a:pt x="622" y="568"/>
                  </a:lnTo>
                  <a:lnTo>
                    <a:pt x="622" y="574"/>
                  </a:lnTo>
                  <a:lnTo>
                    <a:pt x="622" y="580"/>
                  </a:lnTo>
                  <a:lnTo>
                    <a:pt x="622" y="586"/>
                  </a:lnTo>
                  <a:lnTo>
                    <a:pt x="620" y="592"/>
                  </a:lnTo>
                  <a:lnTo>
                    <a:pt x="620" y="598"/>
                  </a:lnTo>
                  <a:lnTo>
                    <a:pt x="620" y="604"/>
                  </a:lnTo>
                  <a:lnTo>
                    <a:pt x="620" y="610"/>
                  </a:lnTo>
                  <a:lnTo>
                    <a:pt x="620" y="616"/>
                  </a:lnTo>
                  <a:lnTo>
                    <a:pt x="620" y="622"/>
                  </a:lnTo>
                  <a:lnTo>
                    <a:pt x="620" y="628"/>
                  </a:lnTo>
                  <a:lnTo>
                    <a:pt x="620" y="634"/>
                  </a:lnTo>
                  <a:lnTo>
                    <a:pt x="620" y="636"/>
                  </a:lnTo>
                  <a:lnTo>
                    <a:pt x="620" y="642"/>
                  </a:lnTo>
                  <a:lnTo>
                    <a:pt x="620" y="648"/>
                  </a:lnTo>
                  <a:lnTo>
                    <a:pt x="620" y="654"/>
                  </a:lnTo>
                  <a:lnTo>
                    <a:pt x="620" y="660"/>
                  </a:lnTo>
                  <a:lnTo>
                    <a:pt x="620" y="666"/>
                  </a:lnTo>
                  <a:lnTo>
                    <a:pt x="620" y="672"/>
                  </a:lnTo>
                  <a:lnTo>
                    <a:pt x="620" y="678"/>
                  </a:lnTo>
                  <a:lnTo>
                    <a:pt x="620" y="684"/>
                  </a:lnTo>
                  <a:lnTo>
                    <a:pt x="620" y="690"/>
                  </a:lnTo>
                  <a:lnTo>
                    <a:pt x="620" y="696"/>
                  </a:lnTo>
                  <a:lnTo>
                    <a:pt x="620" y="702"/>
                  </a:lnTo>
                  <a:lnTo>
                    <a:pt x="620" y="708"/>
                  </a:lnTo>
                  <a:lnTo>
                    <a:pt x="620" y="716"/>
                  </a:lnTo>
                  <a:lnTo>
                    <a:pt x="622" y="718"/>
                  </a:lnTo>
                  <a:lnTo>
                    <a:pt x="624" y="724"/>
                  </a:lnTo>
                  <a:lnTo>
                    <a:pt x="628" y="730"/>
                  </a:lnTo>
                  <a:lnTo>
                    <a:pt x="628" y="736"/>
                  </a:lnTo>
                  <a:lnTo>
                    <a:pt x="632" y="742"/>
                  </a:lnTo>
                  <a:lnTo>
                    <a:pt x="638" y="746"/>
                  </a:lnTo>
                  <a:lnTo>
                    <a:pt x="644" y="752"/>
                  </a:lnTo>
                  <a:lnTo>
                    <a:pt x="650" y="758"/>
                  </a:lnTo>
                  <a:lnTo>
                    <a:pt x="654" y="764"/>
                  </a:lnTo>
                  <a:lnTo>
                    <a:pt x="658" y="770"/>
                  </a:lnTo>
                  <a:lnTo>
                    <a:pt x="664" y="778"/>
                  </a:lnTo>
                  <a:lnTo>
                    <a:pt x="670" y="784"/>
                  </a:lnTo>
                  <a:lnTo>
                    <a:pt x="678" y="790"/>
                  </a:lnTo>
                  <a:lnTo>
                    <a:pt x="682" y="796"/>
                  </a:lnTo>
                  <a:lnTo>
                    <a:pt x="688" y="802"/>
                  </a:lnTo>
                  <a:lnTo>
                    <a:pt x="694" y="808"/>
                  </a:lnTo>
                  <a:lnTo>
                    <a:pt x="700" y="812"/>
                  </a:lnTo>
                  <a:lnTo>
                    <a:pt x="706" y="816"/>
                  </a:lnTo>
                  <a:lnTo>
                    <a:pt x="700" y="818"/>
                  </a:lnTo>
                  <a:lnTo>
                    <a:pt x="696" y="818"/>
                  </a:lnTo>
                  <a:lnTo>
                    <a:pt x="690" y="820"/>
                  </a:lnTo>
                  <a:lnTo>
                    <a:pt x="682" y="822"/>
                  </a:lnTo>
                  <a:lnTo>
                    <a:pt x="676" y="822"/>
                  </a:lnTo>
                  <a:lnTo>
                    <a:pt x="670" y="824"/>
                  </a:lnTo>
                  <a:lnTo>
                    <a:pt x="664" y="826"/>
                  </a:lnTo>
                  <a:lnTo>
                    <a:pt x="658" y="826"/>
                  </a:lnTo>
                  <a:lnTo>
                    <a:pt x="652" y="828"/>
                  </a:lnTo>
                  <a:lnTo>
                    <a:pt x="646" y="828"/>
                  </a:lnTo>
                  <a:lnTo>
                    <a:pt x="640" y="830"/>
                  </a:lnTo>
                  <a:lnTo>
                    <a:pt x="634" y="832"/>
                  </a:lnTo>
                  <a:lnTo>
                    <a:pt x="628" y="832"/>
                  </a:lnTo>
                  <a:lnTo>
                    <a:pt x="622" y="834"/>
                  </a:lnTo>
                  <a:lnTo>
                    <a:pt x="616" y="836"/>
                  </a:lnTo>
                  <a:lnTo>
                    <a:pt x="610" y="836"/>
                  </a:lnTo>
                  <a:lnTo>
                    <a:pt x="604" y="838"/>
                  </a:lnTo>
                  <a:lnTo>
                    <a:pt x="602" y="838"/>
                  </a:lnTo>
                  <a:lnTo>
                    <a:pt x="596" y="840"/>
                  </a:lnTo>
                  <a:lnTo>
                    <a:pt x="590" y="840"/>
                  </a:lnTo>
                  <a:lnTo>
                    <a:pt x="584" y="842"/>
                  </a:lnTo>
                  <a:lnTo>
                    <a:pt x="580" y="842"/>
                  </a:lnTo>
                  <a:lnTo>
                    <a:pt x="574" y="840"/>
                  </a:lnTo>
                  <a:lnTo>
                    <a:pt x="568" y="838"/>
                  </a:lnTo>
                  <a:lnTo>
                    <a:pt x="568" y="836"/>
                  </a:lnTo>
                  <a:lnTo>
                    <a:pt x="562" y="838"/>
                  </a:lnTo>
                  <a:lnTo>
                    <a:pt x="556" y="840"/>
                  </a:lnTo>
                  <a:lnTo>
                    <a:pt x="550" y="842"/>
                  </a:lnTo>
                  <a:lnTo>
                    <a:pt x="544" y="842"/>
                  </a:lnTo>
                  <a:lnTo>
                    <a:pt x="538" y="840"/>
                  </a:lnTo>
                  <a:lnTo>
                    <a:pt x="532" y="840"/>
                  </a:lnTo>
                  <a:lnTo>
                    <a:pt x="526" y="838"/>
                  </a:lnTo>
                  <a:lnTo>
                    <a:pt x="520" y="834"/>
                  </a:lnTo>
                  <a:lnTo>
                    <a:pt x="514" y="832"/>
                  </a:lnTo>
                  <a:lnTo>
                    <a:pt x="510" y="832"/>
                  </a:lnTo>
                  <a:lnTo>
                    <a:pt x="502" y="834"/>
                  </a:lnTo>
                  <a:lnTo>
                    <a:pt x="496" y="834"/>
                  </a:lnTo>
                  <a:lnTo>
                    <a:pt x="492" y="832"/>
                  </a:lnTo>
                  <a:lnTo>
                    <a:pt x="486" y="832"/>
                  </a:lnTo>
                  <a:lnTo>
                    <a:pt x="480" y="832"/>
                  </a:lnTo>
                  <a:lnTo>
                    <a:pt x="474" y="832"/>
                  </a:lnTo>
                  <a:lnTo>
                    <a:pt x="468" y="832"/>
                  </a:lnTo>
                  <a:lnTo>
                    <a:pt x="462" y="832"/>
                  </a:lnTo>
                  <a:lnTo>
                    <a:pt x="456" y="830"/>
                  </a:lnTo>
                  <a:lnTo>
                    <a:pt x="452" y="828"/>
                  </a:lnTo>
                  <a:lnTo>
                    <a:pt x="446" y="828"/>
                  </a:lnTo>
                  <a:lnTo>
                    <a:pt x="440" y="830"/>
                  </a:lnTo>
                  <a:lnTo>
                    <a:pt x="434" y="828"/>
                  </a:lnTo>
                  <a:lnTo>
                    <a:pt x="428" y="826"/>
                  </a:lnTo>
                  <a:lnTo>
                    <a:pt x="420" y="822"/>
                  </a:lnTo>
                  <a:lnTo>
                    <a:pt x="416" y="818"/>
                  </a:lnTo>
                  <a:lnTo>
                    <a:pt x="410" y="812"/>
                  </a:lnTo>
                  <a:lnTo>
                    <a:pt x="408" y="806"/>
                  </a:lnTo>
                  <a:lnTo>
                    <a:pt x="404" y="800"/>
                  </a:lnTo>
                  <a:lnTo>
                    <a:pt x="402" y="800"/>
                  </a:lnTo>
                  <a:lnTo>
                    <a:pt x="394" y="800"/>
                  </a:lnTo>
                  <a:lnTo>
                    <a:pt x="390" y="800"/>
                  </a:lnTo>
                  <a:lnTo>
                    <a:pt x="382" y="800"/>
                  </a:lnTo>
                  <a:lnTo>
                    <a:pt x="378" y="800"/>
                  </a:lnTo>
                  <a:lnTo>
                    <a:pt x="376" y="800"/>
                  </a:lnTo>
                  <a:lnTo>
                    <a:pt x="370" y="800"/>
                  </a:lnTo>
                  <a:lnTo>
                    <a:pt x="364" y="800"/>
                  </a:lnTo>
                  <a:lnTo>
                    <a:pt x="358" y="800"/>
                  </a:lnTo>
                  <a:lnTo>
                    <a:pt x="352" y="800"/>
                  </a:lnTo>
                  <a:lnTo>
                    <a:pt x="346" y="800"/>
                  </a:lnTo>
                  <a:lnTo>
                    <a:pt x="340" y="800"/>
                  </a:lnTo>
                  <a:lnTo>
                    <a:pt x="334" y="800"/>
                  </a:lnTo>
                  <a:lnTo>
                    <a:pt x="328" y="800"/>
                  </a:lnTo>
                  <a:lnTo>
                    <a:pt x="322" y="800"/>
                  </a:lnTo>
                  <a:lnTo>
                    <a:pt x="314" y="800"/>
                  </a:lnTo>
                  <a:lnTo>
                    <a:pt x="310" y="800"/>
                  </a:lnTo>
                  <a:lnTo>
                    <a:pt x="302" y="800"/>
                  </a:lnTo>
                  <a:lnTo>
                    <a:pt x="298" y="800"/>
                  </a:lnTo>
                  <a:lnTo>
                    <a:pt x="290" y="800"/>
                  </a:lnTo>
                  <a:lnTo>
                    <a:pt x="284" y="800"/>
                  </a:lnTo>
                  <a:lnTo>
                    <a:pt x="278" y="800"/>
                  </a:lnTo>
                  <a:lnTo>
                    <a:pt x="272" y="800"/>
                  </a:lnTo>
                  <a:lnTo>
                    <a:pt x="266" y="800"/>
                  </a:lnTo>
                  <a:lnTo>
                    <a:pt x="260" y="800"/>
                  </a:lnTo>
                  <a:lnTo>
                    <a:pt x="254" y="800"/>
                  </a:lnTo>
                  <a:lnTo>
                    <a:pt x="250" y="800"/>
                  </a:lnTo>
                  <a:lnTo>
                    <a:pt x="244" y="800"/>
                  </a:lnTo>
                  <a:lnTo>
                    <a:pt x="238" y="800"/>
                  </a:lnTo>
                  <a:lnTo>
                    <a:pt x="232" y="800"/>
                  </a:lnTo>
                  <a:lnTo>
                    <a:pt x="226" y="800"/>
                  </a:lnTo>
                  <a:lnTo>
                    <a:pt x="224" y="800"/>
                  </a:lnTo>
                  <a:lnTo>
                    <a:pt x="218" y="800"/>
                  </a:lnTo>
                  <a:lnTo>
                    <a:pt x="212" y="800"/>
                  </a:lnTo>
                  <a:lnTo>
                    <a:pt x="206" y="800"/>
                  </a:lnTo>
                  <a:lnTo>
                    <a:pt x="200" y="800"/>
                  </a:lnTo>
                  <a:lnTo>
                    <a:pt x="196" y="800"/>
                  </a:lnTo>
                  <a:lnTo>
                    <a:pt x="190" y="800"/>
                  </a:lnTo>
                  <a:lnTo>
                    <a:pt x="182" y="800"/>
                  </a:lnTo>
                  <a:lnTo>
                    <a:pt x="178" y="800"/>
                  </a:lnTo>
                  <a:lnTo>
                    <a:pt x="170" y="800"/>
                  </a:lnTo>
                  <a:lnTo>
                    <a:pt x="166" y="800"/>
                  </a:lnTo>
                  <a:lnTo>
                    <a:pt x="158" y="800"/>
                  </a:lnTo>
                  <a:lnTo>
                    <a:pt x="154" y="800"/>
                  </a:lnTo>
                  <a:lnTo>
                    <a:pt x="148" y="800"/>
                  </a:lnTo>
                  <a:lnTo>
                    <a:pt x="142" y="802"/>
                  </a:lnTo>
                  <a:lnTo>
                    <a:pt x="136" y="802"/>
                  </a:lnTo>
                  <a:lnTo>
                    <a:pt x="130" y="796"/>
                  </a:lnTo>
                  <a:lnTo>
                    <a:pt x="124" y="794"/>
                  </a:lnTo>
                  <a:lnTo>
                    <a:pt x="118" y="790"/>
                  </a:lnTo>
                  <a:lnTo>
                    <a:pt x="112" y="784"/>
                  </a:lnTo>
                  <a:lnTo>
                    <a:pt x="106" y="778"/>
                  </a:lnTo>
                  <a:lnTo>
                    <a:pt x="102" y="772"/>
                  </a:lnTo>
                  <a:lnTo>
                    <a:pt x="96" y="770"/>
                  </a:lnTo>
                  <a:lnTo>
                    <a:pt x="90" y="772"/>
                  </a:lnTo>
                  <a:lnTo>
                    <a:pt x="84" y="770"/>
                  </a:lnTo>
                  <a:lnTo>
                    <a:pt x="78" y="770"/>
                  </a:lnTo>
                  <a:lnTo>
                    <a:pt x="72" y="774"/>
                  </a:lnTo>
                  <a:lnTo>
                    <a:pt x="66" y="778"/>
                  </a:lnTo>
                  <a:lnTo>
                    <a:pt x="60" y="782"/>
                  </a:lnTo>
                  <a:lnTo>
                    <a:pt x="56" y="784"/>
                  </a:lnTo>
                  <a:lnTo>
                    <a:pt x="50" y="788"/>
                  </a:lnTo>
                  <a:lnTo>
                    <a:pt x="44" y="790"/>
                  </a:lnTo>
                  <a:lnTo>
                    <a:pt x="38" y="788"/>
                  </a:lnTo>
                  <a:lnTo>
                    <a:pt x="32" y="788"/>
                  </a:lnTo>
                  <a:lnTo>
                    <a:pt x="26" y="784"/>
                  </a:lnTo>
                  <a:lnTo>
                    <a:pt x="20" y="782"/>
                  </a:lnTo>
                  <a:lnTo>
                    <a:pt x="18" y="782"/>
                  </a:lnTo>
                  <a:lnTo>
                    <a:pt x="12" y="784"/>
                  </a:lnTo>
                  <a:lnTo>
                    <a:pt x="6" y="788"/>
                  </a:lnTo>
                  <a:lnTo>
                    <a:pt x="0" y="7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19" name="Freeform 237"/>
            <p:cNvSpPr>
              <a:spLocks/>
            </p:cNvSpPr>
            <p:nvPr/>
          </p:nvSpPr>
          <p:spPr bwMode="auto">
            <a:xfrm>
              <a:off x="4421188" y="3182938"/>
              <a:ext cx="96837" cy="201612"/>
            </a:xfrm>
            <a:custGeom>
              <a:avLst/>
              <a:gdLst>
                <a:gd name="T0" fmla="*/ 2147483647 w 236"/>
                <a:gd name="T1" fmla="*/ 2147483647 h 490"/>
                <a:gd name="T2" fmla="*/ 2147483647 w 236"/>
                <a:gd name="T3" fmla="*/ 2147483647 h 490"/>
                <a:gd name="T4" fmla="*/ 2147483647 w 236"/>
                <a:gd name="T5" fmla="*/ 2147483647 h 490"/>
                <a:gd name="T6" fmla="*/ 2147483647 w 236"/>
                <a:gd name="T7" fmla="*/ 2147483647 h 490"/>
                <a:gd name="T8" fmla="*/ 2147483647 w 236"/>
                <a:gd name="T9" fmla="*/ 2147483647 h 490"/>
                <a:gd name="T10" fmla="*/ 2147483647 w 236"/>
                <a:gd name="T11" fmla="*/ 2147483647 h 490"/>
                <a:gd name="T12" fmla="*/ 2147483647 w 236"/>
                <a:gd name="T13" fmla="*/ 2147483647 h 490"/>
                <a:gd name="T14" fmla="*/ 2147483647 w 236"/>
                <a:gd name="T15" fmla="*/ 2147483647 h 490"/>
                <a:gd name="T16" fmla="*/ 2147483647 w 236"/>
                <a:gd name="T17" fmla="*/ 2147483647 h 490"/>
                <a:gd name="T18" fmla="*/ 2147483647 w 236"/>
                <a:gd name="T19" fmla="*/ 2147483647 h 490"/>
                <a:gd name="T20" fmla="*/ 2147483647 w 236"/>
                <a:gd name="T21" fmla="*/ 2147483647 h 490"/>
                <a:gd name="T22" fmla="*/ 2147483647 w 236"/>
                <a:gd name="T23" fmla="*/ 2147483647 h 490"/>
                <a:gd name="T24" fmla="*/ 2147483647 w 236"/>
                <a:gd name="T25" fmla="*/ 2147483647 h 490"/>
                <a:gd name="T26" fmla="*/ 2147483647 w 236"/>
                <a:gd name="T27" fmla="*/ 2147483647 h 490"/>
                <a:gd name="T28" fmla="*/ 2147483647 w 236"/>
                <a:gd name="T29" fmla="*/ 2147483647 h 490"/>
                <a:gd name="T30" fmla="*/ 2147483647 w 236"/>
                <a:gd name="T31" fmla="*/ 2147483647 h 490"/>
                <a:gd name="T32" fmla="*/ 2147483647 w 236"/>
                <a:gd name="T33" fmla="*/ 2147483647 h 490"/>
                <a:gd name="T34" fmla="*/ 2147483647 w 236"/>
                <a:gd name="T35" fmla="*/ 2147483647 h 490"/>
                <a:gd name="T36" fmla="*/ 2147483647 w 236"/>
                <a:gd name="T37" fmla="*/ 2147483647 h 490"/>
                <a:gd name="T38" fmla="*/ 2147483647 w 236"/>
                <a:gd name="T39" fmla="*/ 2147483647 h 490"/>
                <a:gd name="T40" fmla="*/ 2147483647 w 236"/>
                <a:gd name="T41" fmla="*/ 2147483647 h 490"/>
                <a:gd name="T42" fmla="*/ 2147483647 w 236"/>
                <a:gd name="T43" fmla="*/ 2147483647 h 490"/>
                <a:gd name="T44" fmla="*/ 2147483647 w 236"/>
                <a:gd name="T45" fmla="*/ 2147483647 h 490"/>
                <a:gd name="T46" fmla="*/ 2147483647 w 236"/>
                <a:gd name="T47" fmla="*/ 2147483647 h 490"/>
                <a:gd name="T48" fmla="*/ 2147483647 w 236"/>
                <a:gd name="T49" fmla="*/ 2147483647 h 490"/>
                <a:gd name="T50" fmla="*/ 2147483647 w 236"/>
                <a:gd name="T51" fmla="*/ 2147483647 h 490"/>
                <a:gd name="T52" fmla="*/ 2147483647 w 236"/>
                <a:gd name="T53" fmla="*/ 2147483647 h 490"/>
                <a:gd name="T54" fmla="*/ 2147483647 w 236"/>
                <a:gd name="T55" fmla="*/ 2147483647 h 490"/>
                <a:gd name="T56" fmla="*/ 2147483647 w 236"/>
                <a:gd name="T57" fmla="*/ 2147483647 h 490"/>
                <a:gd name="T58" fmla="*/ 2147483647 w 236"/>
                <a:gd name="T59" fmla="*/ 2147483647 h 490"/>
                <a:gd name="T60" fmla="*/ 2147483647 w 236"/>
                <a:gd name="T61" fmla="*/ 2147483647 h 490"/>
                <a:gd name="T62" fmla="*/ 2147483647 w 236"/>
                <a:gd name="T63" fmla="*/ 2147483647 h 490"/>
                <a:gd name="T64" fmla="*/ 2147483647 w 236"/>
                <a:gd name="T65" fmla="*/ 2147483647 h 490"/>
                <a:gd name="T66" fmla="*/ 2147483647 w 236"/>
                <a:gd name="T67" fmla="*/ 2147483647 h 490"/>
                <a:gd name="T68" fmla="*/ 2147483647 w 236"/>
                <a:gd name="T69" fmla="*/ 2147483647 h 490"/>
                <a:gd name="T70" fmla="*/ 2147483647 w 236"/>
                <a:gd name="T71" fmla="*/ 2147483647 h 490"/>
                <a:gd name="T72" fmla="*/ 2147483647 w 236"/>
                <a:gd name="T73" fmla="*/ 2147483647 h 490"/>
                <a:gd name="T74" fmla="*/ 2147483647 w 236"/>
                <a:gd name="T75" fmla="*/ 2147483647 h 490"/>
                <a:gd name="T76" fmla="*/ 2147483647 w 236"/>
                <a:gd name="T77" fmla="*/ 2147483647 h 490"/>
                <a:gd name="T78" fmla="*/ 2147483647 w 236"/>
                <a:gd name="T79" fmla="*/ 2147483647 h 490"/>
                <a:gd name="T80" fmla="*/ 2147483647 w 236"/>
                <a:gd name="T81" fmla="*/ 2147483647 h 490"/>
                <a:gd name="T82" fmla="*/ 2147483647 w 236"/>
                <a:gd name="T83" fmla="*/ 2147483647 h 490"/>
                <a:gd name="T84" fmla="*/ 2147483647 w 236"/>
                <a:gd name="T85" fmla="*/ 2147483647 h 490"/>
                <a:gd name="T86" fmla="*/ 2147483647 w 236"/>
                <a:gd name="T87" fmla="*/ 2147483647 h 490"/>
                <a:gd name="T88" fmla="*/ 2147483647 w 236"/>
                <a:gd name="T89" fmla="*/ 2147483647 h 490"/>
                <a:gd name="T90" fmla="*/ 2147483647 w 236"/>
                <a:gd name="T91" fmla="*/ 2147483647 h 490"/>
                <a:gd name="T92" fmla="*/ 2147483647 w 236"/>
                <a:gd name="T93" fmla="*/ 2147483647 h 490"/>
                <a:gd name="T94" fmla="*/ 2147483647 w 236"/>
                <a:gd name="T95" fmla="*/ 2147483647 h 490"/>
                <a:gd name="T96" fmla="*/ 2147483647 w 236"/>
                <a:gd name="T97" fmla="*/ 2147483647 h 490"/>
                <a:gd name="T98" fmla="*/ 2147483647 w 236"/>
                <a:gd name="T99" fmla="*/ 2147483647 h 490"/>
                <a:gd name="T100" fmla="*/ 2147483647 w 236"/>
                <a:gd name="T101" fmla="*/ 2147483647 h 490"/>
                <a:gd name="T102" fmla="*/ 0 w 236"/>
                <a:gd name="T103" fmla="*/ 2147483647 h 4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6"/>
                <a:gd name="T157" fmla="*/ 0 h 490"/>
                <a:gd name="T158" fmla="*/ 236 w 236"/>
                <a:gd name="T159" fmla="*/ 490 h 4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6" h="490">
                  <a:moveTo>
                    <a:pt x="0" y="226"/>
                  </a:moveTo>
                  <a:lnTo>
                    <a:pt x="0" y="224"/>
                  </a:lnTo>
                  <a:lnTo>
                    <a:pt x="2" y="222"/>
                  </a:lnTo>
                  <a:lnTo>
                    <a:pt x="8" y="216"/>
                  </a:lnTo>
                  <a:lnTo>
                    <a:pt x="14" y="214"/>
                  </a:lnTo>
                  <a:lnTo>
                    <a:pt x="18" y="208"/>
                  </a:lnTo>
                  <a:lnTo>
                    <a:pt x="18" y="202"/>
                  </a:lnTo>
                  <a:lnTo>
                    <a:pt x="20" y="202"/>
                  </a:lnTo>
                  <a:lnTo>
                    <a:pt x="22" y="200"/>
                  </a:lnTo>
                  <a:lnTo>
                    <a:pt x="28" y="198"/>
                  </a:lnTo>
                  <a:lnTo>
                    <a:pt x="34" y="194"/>
                  </a:lnTo>
                  <a:lnTo>
                    <a:pt x="40" y="188"/>
                  </a:lnTo>
                  <a:lnTo>
                    <a:pt x="42" y="182"/>
                  </a:lnTo>
                  <a:lnTo>
                    <a:pt x="44" y="180"/>
                  </a:lnTo>
                  <a:lnTo>
                    <a:pt x="44" y="172"/>
                  </a:lnTo>
                  <a:lnTo>
                    <a:pt x="44" y="168"/>
                  </a:lnTo>
                  <a:lnTo>
                    <a:pt x="46" y="162"/>
                  </a:lnTo>
                  <a:lnTo>
                    <a:pt x="48" y="156"/>
                  </a:lnTo>
                  <a:lnTo>
                    <a:pt x="52" y="150"/>
                  </a:lnTo>
                  <a:lnTo>
                    <a:pt x="52" y="148"/>
                  </a:lnTo>
                  <a:lnTo>
                    <a:pt x="54" y="142"/>
                  </a:lnTo>
                  <a:lnTo>
                    <a:pt x="48" y="140"/>
                  </a:lnTo>
                  <a:lnTo>
                    <a:pt x="46" y="134"/>
                  </a:lnTo>
                  <a:lnTo>
                    <a:pt x="48" y="128"/>
                  </a:lnTo>
                  <a:lnTo>
                    <a:pt x="50" y="124"/>
                  </a:lnTo>
                  <a:lnTo>
                    <a:pt x="50" y="122"/>
                  </a:lnTo>
                  <a:lnTo>
                    <a:pt x="48" y="118"/>
                  </a:lnTo>
                  <a:lnTo>
                    <a:pt x="48" y="112"/>
                  </a:lnTo>
                  <a:lnTo>
                    <a:pt x="44" y="106"/>
                  </a:lnTo>
                  <a:lnTo>
                    <a:pt x="44" y="100"/>
                  </a:lnTo>
                  <a:lnTo>
                    <a:pt x="46" y="94"/>
                  </a:lnTo>
                  <a:lnTo>
                    <a:pt x="46" y="88"/>
                  </a:lnTo>
                  <a:lnTo>
                    <a:pt x="48" y="82"/>
                  </a:lnTo>
                  <a:lnTo>
                    <a:pt x="48" y="76"/>
                  </a:lnTo>
                  <a:lnTo>
                    <a:pt x="50" y="70"/>
                  </a:lnTo>
                  <a:lnTo>
                    <a:pt x="50" y="68"/>
                  </a:lnTo>
                  <a:lnTo>
                    <a:pt x="52" y="64"/>
                  </a:lnTo>
                  <a:lnTo>
                    <a:pt x="52" y="62"/>
                  </a:lnTo>
                  <a:lnTo>
                    <a:pt x="44" y="58"/>
                  </a:lnTo>
                  <a:lnTo>
                    <a:pt x="40" y="58"/>
                  </a:lnTo>
                  <a:lnTo>
                    <a:pt x="46" y="52"/>
                  </a:lnTo>
                  <a:lnTo>
                    <a:pt x="52" y="48"/>
                  </a:lnTo>
                  <a:lnTo>
                    <a:pt x="56" y="42"/>
                  </a:lnTo>
                  <a:lnTo>
                    <a:pt x="62" y="36"/>
                  </a:lnTo>
                  <a:lnTo>
                    <a:pt x="64" y="36"/>
                  </a:lnTo>
                  <a:lnTo>
                    <a:pt x="64" y="30"/>
                  </a:lnTo>
                  <a:lnTo>
                    <a:pt x="66" y="28"/>
                  </a:lnTo>
                  <a:lnTo>
                    <a:pt x="68" y="26"/>
                  </a:lnTo>
                  <a:lnTo>
                    <a:pt x="76" y="26"/>
                  </a:lnTo>
                  <a:lnTo>
                    <a:pt x="82" y="22"/>
                  </a:lnTo>
                  <a:lnTo>
                    <a:pt x="86" y="16"/>
                  </a:lnTo>
                  <a:lnTo>
                    <a:pt x="92" y="12"/>
                  </a:lnTo>
                  <a:lnTo>
                    <a:pt x="94" y="12"/>
                  </a:lnTo>
                  <a:lnTo>
                    <a:pt x="100" y="8"/>
                  </a:lnTo>
                  <a:lnTo>
                    <a:pt x="106" y="8"/>
                  </a:lnTo>
                  <a:lnTo>
                    <a:pt x="112" y="4"/>
                  </a:lnTo>
                  <a:lnTo>
                    <a:pt x="118" y="2"/>
                  </a:lnTo>
                  <a:lnTo>
                    <a:pt x="124" y="0"/>
                  </a:lnTo>
                  <a:lnTo>
                    <a:pt x="130" y="0"/>
                  </a:lnTo>
                  <a:lnTo>
                    <a:pt x="136" y="2"/>
                  </a:lnTo>
                  <a:lnTo>
                    <a:pt x="136" y="4"/>
                  </a:lnTo>
                  <a:lnTo>
                    <a:pt x="132" y="8"/>
                  </a:lnTo>
                  <a:lnTo>
                    <a:pt x="132" y="12"/>
                  </a:lnTo>
                  <a:lnTo>
                    <a:pt x="140" y="12"/>
                  </a:lnTo>
                  <a:lnTo>
                    <a:pt x="136" y="4"/>
                  </a:lnTo>
                  <a:lnTo>
                    <a:pt x="138" y="6"/>
                  </a:lnTo>
                  <a:lnTo>
                    <a:pt x="144" y="6"/>
                  </a:lnTo>
                  <a:lnTo>
                    <a:pt x="150" y="6"/>
                  </a:lnTo>
                  <a:lnTo>
                    <a:pt x="154" y="8"/>
                  </a:lnTo>
                  <a:lnTo>
                    <a:pt x="156" y="14"/>
                  </a:lnTo>
                  <a:lnTo>
                    <a:pt x="156" y="16"/>
                  </a:lnTo>
                  <a:lnTo>
                    <a:pt x="154" y="22"/>
                  </a:lnTo>
                  <a:lnTo>
                    <a:pt x="160" y="28"/>
                  </a:lnTo>
                  <a:lnTo>
                    <a:pt x="164" y="30"/>
                  </a:lnTo>
                  <a:lnTo>
                    <a:pt x="160" y="36"/>
                  </a:lnTo>
                  <a:lnTo>
                    <a:pt x="158" y="38"/>
                  </a:lnTo>
                  <a:lnTo>
                    <a:pt x="160" y="36"/>
                  </a:lnTo>
                  <a:lnTo>
                    <a:pt x="160" y="38"/>
                  </a:lnTo>
                  <a:lnTo>
                    <a:pt x="162" y="40"/>
                  </a:lnTo>
                  <a:lnTo>
                    <a:pt x="168" y="42"/>
                  </a:lnTo>
                  <a:lnTo>
                    <a:pt x="174" y="38"/>
                  </a:lnTo>
                  <a:lnTo>
                    <a:pt x="180" y="32"/>
                  </a:lnTo>
                  <a:lnTo>
                    <a:pt x="186" y="30"/>
                  </a:lnTo>
                  <a:lnTo>
                    <a:pt x="192" y="24"/>
                  </a:lnTo>
                  <a:lnTo>
                    <a:pt x="198" y="20"/>
                  </a:lnTo>
                  <a:lnTo>
                    <a:pt x="204" y="22"/>
                  </a:lnTo>
                  <a:lnTo>
                    <a:pt x="206" y="28"/>
                  </a:lnTo>
                  <a:lnTo>
                    <a:pt x="208" y="34"/>
                  </a:lnTo>
                  <a:lnTo>
                    <a:pt x="200" y="38"/>
                  </a:lnTo>
                  <a:lnTo>
                    <a:pt x="198" y="44"/>
                  </a:lnTo>
                  <a:lnTo>
                    <a:pt x="194" y="50"/>
                  </a:lnTo>
                  <a:lnTo>
                    <a:pt x="192" y="56"/>
                  </a:lnTo>
                  <a:lnTo>
                    <a:pt x="186" y="60"/>
                  </a:lnTo>
                  <a:lnTo>
                    <a:pt x="180" y="64"/>
                  </a:lnTo>
                  <a:lnTo>
                    <a:pt x="174" y="66"/>
                  </a:lnTo>
                  <a:lnTo>
                    <a:pt x="174" y="68"/>
                  </a:lnTo>
                  <a:lnTo>
                    <a:pt x="170" y="74"/>
                  </a:lnTo>
                  <a:lnTo>
                    <a:pt x="170" y="80"/>
                  </a:lnTo>
                  <a:lnTo>
                    <a:pt x="170" y="86"/>
                  </a:lnTo>
                  <a:lnTo>
                    <a:pt x="174" y="92"/>
                  </a:lnTo>
                  <a:lnTo>
                    <a:pt x="174" y="94"/>
                  </a:lnTo>
                  <a:lnTo>
                    <a:pt x="178" y="100"/>
                  </a:lnTo>
                  <a:lnTo>
                    <a:pt x="184" y="106"/>
                  </a:lnTo>
                  <a:lnTo>
                    <a:pt x="186" y="108"/>
                  </a:lnTo>
                  <a:lnTo>
                    <a:pt x="192" y="110"/>
                  </a:lnTo>
                  <a:lnTo>
                    <a:pt x="196" y="114"/>
                  </a:lnTo>
                  <a:lnTo>
                    <a:pt x="202" y="116"/>
                  </a:lnTo>
                  <a:lnTo>
                    <a:pt x="202" y="122"/>
                  </a:lnTo>
                  <a:lnTo>
                    <a:pt x="204" y="126"/>
                  </a:lnTo>
                  <a:lnTo>
                    <a:pt x="204" y="130"/>
                  </a:lnTo>
                  <a:lnTo>
                    <a:pt x="204" y="136"/>
                  </a:lnTo>
                  <a:lnTo>
                    <a:pt x="208" y="142"/>
                  </a:lnTo>
                  <a:lnTo>
                    <a:pt x="206" y="148"/>
                  </a:lnTo>
                  <a:lnTo>
                    <a:pt x="202" y="154"/>
                  </a:lnTo>
                  <a:lnTo>
                    <a:pt x="202" y="156"/>
                  </a:lnTo>
                  <a:lnTo>
                    <a:pt x="200" y="162"/>
                  </a:lnTo>
                  <a:lnTo>
                    <a:pt x="196" y="166"/>
                  </a:lnTo>
                  <a:lnTo>
                    <a:pt x="194" y="172"/>
                  </a:lnTo>
                  <a:lnTo>
                    <a:pt x="188" y="178"/>
                  </a:lnTo>
                  <a:lnTo>
                    <a:pt x="186" y="184"/>
                  </a:lnTo>
                  <a:lnTo>
                    <a:pt x="180" y="186"/>
                  </a:lnTo>
                  <a:lnTo>
                    <a:pt x="178" y="192"/>
                  </a:lnTo>
                  <a:lnTo>
                    <a:pt x="172" y="194"/>
                  </a:lnTo>
                  <a:lnTo>
                    <a:pt x="166" y="200"/>
                  </a:lnTo>
                  <a:lnTo>
                    <a:pt x="160" y="204"/>
                  </a:lnTo>
                  <a:lnTo>
                    <a:pt x="154" y="208"/>
                  </a:lnTo>
                  <a:lnTo>
                    <a:pt x="148" y="212"/>
                  </a:lnTo>
                  <a:lnTo>
                    <a:pt x="144" y="218"/>
                  </a:lnTo>
                  <a:lnTo>
                    <a:pt x="144" y="224"/>
                  </a:lnTo>
                  <a:lnTo>
                    <a:pt x="146" y="228"/>
                  </a:lnTo>
                  <a:lnTo>
                    <a:pt x="150" y="234"/>
                  </a:lnTo>
                  <a:lnTo>
                    <a:pt x="150" y="236"/>
                  </a:lnTo>
                  <a:lnTo>
                    <a:pt x="154" y="242"/>
                  </a:lnTo>
                  <a:lnTo>
                    <a:pt x="158" y="248"/>
                  </a:lnTo>
                  <a:lnTo>
                    <a:pt x="164" y="252"/>
                  </a:lnTo>
                  <a:lnTo>
                    <a:pt x="170" y="254"/>
                  </a:lnTo>
                  <a:lnTo>
                    <a:pt x="174" y="254"/>
                  </a:lnTo>
                  <a:lnTo>
                    <a:pt x="180" y="252"/>
                  </a:lnTo>
                  <a:lnTo>
                    <a:pt x="186" y="254"/>
                  </a:lnTo>
                  <a:lnTo>
                    <a:pt x="184" y="260"/>
                  </a:lnTo>
                  <a:lnTo>
                    <a:pt x="186" y="266"/>
                  </a:lnTo>
                  <a:lnTo>
                    <a:pt x="192" y="266"/>
                  </a:lnTo>
                  <a:lnTo>
                    <a:pt x="198" y="262"/>
                  </a:lnTo>
                  <a:lnTo>
                    <a:pt x="198" y="256"/>
                  </a:lnTo>
                  <a:lnTo>
                    <a:pt x="204" y="256"/>
                  </a:lnTo>
                  <a:lnTo>
                    <a:pt x="208" y="262"/>
                  </a:lnTo>
                  <a:lnTo>
                    <a:pt x="208" y="268"/>
                  </a:lnTo>
                  <a:lnTo>
                    <a:pt x="208" y="274"/>
                  </a:lnTo>
                  <a:lnTo>
                    <a:pt x="210" y="274"/>
                  </a:lnTo>
                  <a:lnTo>
                    <a:pt x="216" y="280"/>
                  </a:lnTo>
                  <a:lnTo>
                    <a:pt x="210" y="282"/>
                  </a:lnTo>
                  <a:lnTo>
                    <a:pt x="216" y="284"/>
                  </a:lnTo>
                  <a:lnTo>
                    <a:pt x="222" y="282"/>
                  </a:lnTo>
                  <a:lnTo>
                    <a:pt x="226" y="286"/>
                  </a:lnTo>
                  <a:lnTo>
                    <a:pt x="232" y="288"/>
                  </a:lnTo>
                  <a:lnTo>
                    <a:pt x="232" y="290"/>
                  </a:lnTo>
                  <a:lnTo>
                    <a:pt x="232" y="292"/>
                  </a:lnTo>
                  <a:lnTo>
                    <a:pt x="232" y="294"/>
                  </a:lnTo>
                  <a:lnTo>
                    <a:pt x="230" y="300"/>
                  </a:lnTo>
                  <a:lnTo>
                    <a:pt x="230" y="304"/>
                  </a:lnTo>
                  <a:lnTo>
                    <a:pt x="230" y="306"/>
                  </a:lnTo>
                  <a:lnTo>
                    <a:pt x="230" y="310"/>
                  </a:lnTo>
                  <a:lnTo>
                    <a:pt x="230" y="312"/>
                  </a:lnTo>
                  <a:lnTo>
                    <a:pt x="230" y="316"/>
                  </a:lnTo>
                  <a:lnTo>
                    <a:pt x="230" y="322"/>
                  </a:lnTo>
                  <a:lnTo>
                    <a:pt x="232" y="328"/>
                  </a:lnTo>
                  <a:lnTo>
                    <a:pt x="236" y="334"/>
                  </a:lnTo>
                  <a:lnTo>
                    <a:pt x="232" y="340"/>
                  </a:lnTo>
                  <a:lnTo>
                    <a:pt x="232" y="342"/>
                  </a:lnTo>
                  <a:lnTo>
                    <a:pt x="226" y="344"/>
                  </a:lnTo>
                  <a:lnTo>
                    <a:pt x="220" y="348"/>
                  </a:lnTo>
                  <a:lnTo>
                    <a:pt x="212" y="350"/>
                  </a:lnTo>
                  <a:lnTo>
                    <a:pt x="212" y="352"/>
                  </a:lnTo>
                  <a:lnTo>
                    <a:pt x="204" y="354"/>
                  </a:lnTo>
                  <a:lnTo>
                    <a:pt x="200" y="358"/>
                  </a:lnTo>
                  <a:lnTo>
                    <a:pt x="194" y="362"/>
                  </a:lnTo>
                  <a:lnTo>
                    <a:pt x="190" y="368"/>
                  </a:lnTo>
                  <a:lnTo>
                    <a:pt x="184" y="370"/>
                  </a:lnTo>
                  <a:lnTo>
                    <a:pt x="180" y="372"/>
                  </a:lnTo>
                  <a:lnTo>
                    <a:pt x="180" y="378"/>
                  </a:lnTo>
                  <a:lnTo>
                    <a:pt x="176" y="384"/>
                  </a:lnTo>
                  <a:lnTo>
                    <a:pt x="174" y="388"/>
                  </a:lnTo>
                  <a:lnTo>
                    <a:pt x="168" y="388"/>
                  </a:lnTo>
                  <a:lnTo>
                    <a:pt x="162" y="390"/>
                  </a:lnTo>
                  <a:lnTo>
                    <a:pt x="160" y="392"/>
                  </a:lnTo>
                  <a:lnTo>
                    <a:pt x="156" y="398"/>
                  </a:lnTo>
                  <a:lnTo>
                    <a:pt x="152" y="404"/>
                  </a:lnTo>
                  <a:lnTo>
                    <a:pt x="152" y="410"/>
                  </a:lnTo>
                  <a:lnTo>
                    <a:pt x="154" y="416"/>
                  </a:lnTo>
                  <a:lnTo>
                    <a:pt x="156" y="422"/>
                  </a:lnTo>
                  <a:lnTo>
                    <a:pt x="158" y="428"/>
                  </a:lnTo>
                  <a:lnTo>
                    <a:pt x="160" y="434"/>
                  </a:lnTo>
                  <a:lnTo>
                    <a:pt x="160" y="440"/>
                  </a:lnTo>
                  <a:lnTo>
                    <a:pt x="162" y="444"/>
                  </a:lnTo>
                  <a:lnTo>
                    <a:pt x="160" y="450"/>
                  </a:lnTo>
                  <a:lnTo>
                    <a:pt x="158" y="456"/>
                  </a:lnTo>
                  <a:lnTo>
                    <a:pt x="152" y="462"/>
                  </a:lnTo>
                  <a:lnTo>
                    <a:pt x="148" y="468"/>
                  </a:lnTo>
                  <a:lnTo>
                    <a:pt x="144" y="474"/>
                  </a:lnTo>
                  <a:lnTo>
                    <a:pt x="142" y="478"/>
                  </a:lnTo>
                  <a:lnTo>
                    <a:pt x="138" y="484"/>
                  </a:lnTo>
                  <a:lnTo>
                    <a:pt x="134" y="484"/>
                  </a:lnTo>
                  <a:lnTo>
                    <a:pt x="128" y="486"/>
                  </a:lnTo>
                  <a:lnTo>
                    <a:pt x="124" y="488"/>
                  </a:lnTo>
                  <a:lnTo>
                    <a:pt x="116" y="490"/>
                  </a:lnTo>
                  <a:lnTo>
                    <a:pt x="116" y="482"/>
                  </a:lnTo>
                  <a:lnTo>
                    <a:pt x="114" y="476"/>
                  </a:lnTo>
                  <a:lnTo>
                    <a:pt x="112" y="470"/>
                  </a:lnTo>
                  <a:lnTo>
                    <a:pt x="112" y="462"/>
                  </a:lnTo>
                  <a:lnTo>
                    <a:pt x="110" y="456"/>
                  </a:lnTo>
                  <a:lnTo>
                    <a:pt x="108" y="448"/>
                  </a:lnTo>
                  <a:lnTo>
                    <a:pt x="106" y="442"/>
                  </a:lnTo>
                  <a:lnTo>
                    <a:pt x="106" y="436"/>
                  </a:lnTo>
                  <a:lnTo>
                    <a:pt x="104" y="430"/>
                  </a:lnTo>
                  <a:lnTo>
                    <a:pt x="102" y="422"/>
                  </a:lnTo>
                  <a:lnTo>
                    <a:pt x="100" y="416"/>
                  </a:lnTo>
                  <a:lnTo>
                    <a:pt x="100" y="410"/>
                  </a:lnTo>
                  <a:lnTo>
                    <a:pt x="98" y="402"/>
                  </a:lnTo>
                  <a:lnTo>
                    <a:pt x="96" y="396"/>
                  </a:lnTo>
                  <a:lnTo>
                    <a:pt x="94" y="388"/>
                  </a:lnTo>
                  <a:lnTo>
                    <a:pt x="94" y="382"/>
                  </a:lnTo>
                  <a:lnTo>
                    <a:pt x="92" y="376"/>
                  </a:lnTo>
                  <a:lnTo>
                    <a:pt x="90" y="370"/>
                  </a:lnTo>
                  <a:lnTo>
                    <a:pt x="90" y="368"/>
                  </a:lnTo>
                  <a:lnTo>
                    <a:pt x="90" y="362"/>
                  </a:lnTo>
                  <a:lnTo>
                    <a:pt x="82" y="358"/>
                  </a:lnTo>
                  <a:lnTo>
                    <a:pt x="76" y="352"/>
                  </a:lnTo>
                  <a:lnTo>
                    <a:pt x="70" y="348"/>
                  </a:lnTo>
                  <a:lnTo>
                    <a:pt x="64" y="342"/>
                  </a:lnTo>
                  <a:lnTo>
                    <a:pt x="56" y="338"/>
                  </a:lnTo>
                  <a:lnTo>
                    <a:pt x="52" y="334"/>
                  </a:lnTo>
                  <a:lnTo>
                    <a:pt x="48" y="332"/>
                  </a:lnTo>
                  <a:lnTo>
                    <a:pt x="48" y="326"/>
                  </a:lnTo>
                  <a:lnTo>
                    <a:pt x="46" y="320"/>
                  </a:lnTo>
                  <a:lnTo>
                    <a:pt x="46" y="312"/>
                  </a:lnTo>
                  <a:lnTo>
                    <a:pt x="42" y="306"/>
                  </a:lnTo>
                  <a:lnTo>
                    <a:pt x="38" y="300"/>
                  </a:lnTo>
                  <a:lnTo>
                    <a:pt x="34" y="292"/>
                  </a:lnTo>
                  <a:lnTo>
                    <a:pt x="28" y="292"/>
                  </a:lnTo>
                  <a:lnTo>
                    <a:pt x="22" y="286"/>
                  </a:lnTo>
                  <a:lnTo>
                    <a:pt x="16" y="286"/>
                  </a:lnTo>
                  <a:lnTo>
                    <a:pt x="12" y="280"/>
                  </a:lnTo>
                  <a:lnTo>
                    <a:pt x="12" y="274"/>
                  </a:lnTo>
                  <a:lnTo>
                    <a:pt x="12" y="270"/>
                  </a:lnTo>
                  <a:lnTo>
                    <a:pt x="10" y="264"/>
                  </a:lnTo>
                  <a:lnTo>
                    <a:pt x="6" y="258"/>
                  </a:lnTo>
                  <a:lnTo>
                    <a:pt x="2" y="252"/>
                  </a:lnTo>
                  <a:lnTo>
                    <a:pt x="0" y="246"/>
                  </a:lnTo>
                  <a:lnTo>
                    <a:pt x="0" y="244"/>
                  </a:lnTo>
                  <a:lnTo>
                    <a:pt x="0" y="240"/>
                  </a:lnTo>
                  <a:lnTo>
                    <a:pt x="0" y="234"/>
                  </a:lnTo>
                  <a:lnTo>
                    <a:pt x="0" y="228"/>
                  </a:lnTo>
                  <a:lnTo>
                    <a:pt x="0" y="2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0" name="Freeform 238"/>
            <p:cNvSpPr>
              <a:spLocks/>
            </p:cNvSpPr>
            <p:nvPr/>
          </p:nvSpPr>
          <p:spPr bwMode="auto">
            <a:xfrm>
              <a:off x="4635500" y="4876800"/>
              <a:ext cx="396875" cy="360363"/>
            </a:xfrm>
            <a:custGeom>
              <a:avLst/>
              <a:gdLst>
                <a:gd name="T0" fmla="*/ 2147483647 w 974"/>
                <a:gd name="T1" fmla="*/ 2147483647 h 878"/>
                <a:gd name="T2" fmla="*/ 2147483647 w 974"/>
                <a:gd name="T3" fmla="*/ 2147483647 h 878"/>
                <a:gd name="T4" fmla="*/ 2147483647 w 974"/>
                <a:gd name="T5" fmla="*/ 2147483647 h 878"/>
                <a:gd name="T6" fmla="*/ 2147483647 w 974"/>
                <a:gd name="T7" fmla="*/ 2147483647 h 878"/>
                <a:gd name="T8" fmla="*/ 2147483647 w 974"/>
                <a:gd name="T9" fmla="*/ 2147483647 h 878"/>
                <a:gd name="T10" fmla="*/ 2147483647 w 974"/>
                <a:gd name="T11" fmla="*/ 2147483647 h 878"/>
                <a:gd name="T12" fmla="*/ 2147483647 w 974"/>
                <a:gd name="T13" fmla="*/ 2147483647 h 878"/>
                <a:gd name="T14" fmla="*/ 2147483647 w 974"/>
                <a:gd name="T15" fmla="*/ 2147483647 h 878"/>
                <a:gd name="T16" fmla="*/ 2147483647 w 974"/>
                <a:gd name="T17" fmla="*/ 2147483647 h 878"/>
                <a:gd name="T18" fmla="*/ 2147483647 w 974"/>
                <a:gd name="T19" fmla="*/ 2147483647 h 878"/>
                <a:gd name="T20" fmla="*/ 2147483647 w 974"/>
                <a:gd name="T21" fmla="*/ 2147483647 h 878"/>
                <a:gd name="T22" fmla="*/ 2147483647 w 974"/>
                <a:gd name="T23" fmla="*/ 2147483647 h 878"/>
                <a:gd name="T24" fmla="*/ 2147483647 w 974"/>
                <a:gd name="T25" fmla="*/ 2147483647 h 878"/>
                <a:gd name="T26" fmla="*/ 2147483647 w 974"/>
                <a:gd name="T27" fmla="*/ 2147483647 h 878"/>
                <a:gd name="T28" fmla="*/ 2147483647 w 974"/>
                <a:gd name="T29" fmla="*/ 2147483647 h 878"/>
                <a:gd name="T30" fmla="*/ 2147483647 w 974"/>
                <a:gd name="T31" fmla="*/ 2147483647 h 878"/>
                <a:gd name="T32" fmla="*/ 2147483647 w 974"/>
                <a:gd name="T33" fmla="*/ 2147483647 h 878"/>
                <a:gd name="T34" fmla="*/ 2147483647 w 974"/>
                <a:gd name="T35" fmla="*/ 2147483647 h 878"/>
                <a:gd name="T36" fmla="*/ 2147483647 w 974"/>
                <a:gd name="T37" fmla="*/ 2147483647 h 878"/>
                <a:gd name="T38" fmla="*/ 2147483647 w 974"/>
                <a:gd name="T39" fmla="*/ 2147483647 h 878"/>
                <a:gd name="T40" fmla="*/ 2147483647 w 974"/>
                <a:gd name="T41" fmla="*/ 2147483647 h 878"/>
                <a:gd name="T42" fmla="*/ 2147483647 w 974"/>
                <a:gd name="T43" fmla="*/ 2147483647 h 878"/>
                <a:gd name="T44" fmla="*/ 2147483647 w 974"/>
                <a:gd name="T45" fmla="*/ 2147483647 h 878"/>
                <a:gd name="T46" fmla="*/ 2147483647 w 974"/>
                <a:gd name="T47" fmla="*/ 2147483647 h 878"/>
                <a:gd name="T48" fmla="*/ 2147483647 w 974"/>
                <a:gd name="T49" fmla="*/ 2147483647 h 878"/>
                <a:gd name="T50" fmla="*/ 2147483647 w 974"/>
                <a:gd name="T51" fmla="*/ 2147483647 h 878"/>
                <a:gd name="T52" fmla="*/ 2147483647 w 974"/>
                <a:gd name="T53" fmla="*/ 2147483647 h 878"/>
                <a:gd name="T54" fmla="*/ 2147483647 w 974"/>
                <a:gd name="T55" fmla="*/ 2147483647 h 878"/>
                <a:gd name="T56" fmla="*/ 2147483647 w 974"/>
                <a:gd name="T57" fmla="*/ 2147483647 h 878"/>
                <a:gd name="T58" fmla="*/ 2147483647 w 974"/>
                <a:gd name="T59" fmla="*/ 2147483647 h 878"/>
                <a:gd name="T60" fmla="*/ 2147483647 w 974"/>
                <a:gd name="T61" fmla="*/ 2147483647 h 878"/>
                <a:gd name="T62" fmla="*/ 2147483647 w 974"/>
                <a:gd name="T63" fmla="*/ 2147483647 h 878"/>
                <a:gd name="T64" fmla="*/ 2147483647 w 974"/>
                <a:gd name="T65" fmla="*/ 2147483647 h 878"/>
                <a:gd name="T66" fmla="*/ 2147483647 w 974"/>
                <a:gd name="T67" fmla="*/ 2147483647 h 878"/>
                <a:gd name="T68" fmla="*/ 2147483647 w 974"/>
                <a:gd name="T69" fmla="*/ 2147483647 h 878"/>
                <a:gd name="T70" fmla="*/ 2147483647 w 974"/>
                <a:gd name="T71" fmla="*/ 2147483647 h 878"/>
                <a:gd name="T72" fmla="*/ 2147483647 w 974"/>
                <a:gd name="T73" fmla="*/ 2147483647 h 878"/>
                <a:gd name="T74" fmla="*/ 2147483647 w 974"/>
                <a:gd name="T75" fmla="*/ 2147483647 h 878"/>
                <a:gd name="T76" fmla="*/ 2147483647 w 974"/>
                <a:gd name="T77" fmla="*/ 2147483647 h 878"/>
                <a:gd name="T78" fmla="*/ 2147483647 w 974"/>
                <a:gd name="T79" fmla="*/ 2147483647 h 878"/>
                <a:gd name="T80" fmla="*/ 2147483647 w 974"/>
                <a:gd name="T81" fmla="*/ 2147483647 h 878"/>
                <a:gd name="T82" fmla="*/ 2147483647 w 974"/>
                <a:gd name="T83" fmla="*/ 2147483647 h 878"/>
                <a:gd name="T84" fmla="*/ 2147483647 w 974"/>
                <a:gd name="T85" fmla="*/ 2147483647 h 878"/>
                <a:gd name="T86" fmla="*/ 2147483647 w 974"/>
                <a:gd name="T87" fmla="*/ 2147483647 h 878"/>
                <a:gd name="T88" fmla="*/ 2147483647 w 974"/>
                <a:gd name="T89" fmla="*/ 2147483647 h 878"/>
                <a:gd name="T90" fmla="*/ 2147483647 w 974"/>
                <a:gd name="T91" fmla="*/ 2147483647 h 878"/>
                <a:gd name="T92" fmla="*/ 2147483647 w 974"/>
                <a:gd name="T93" fmla="*/ 2147483647 h 878"/>
                <a:gd name="T94" fmla="*/ 2147483647 w 974"/>
                <a:gd name="T95" fmla="*/ 2147483647 h 878"/>
                <a:gd name="T96" fmla="*/ 2147483647 w 974"/>
                <a:gd name="T97" fmla="*/ 2147483647 h 878"/>
                <a:gd name="T98" fmla="*/ 2147483647 w 974"/>
                <a:gd name="T99" fmla="*/ 2147483647 h 878"/>
                <a:gd name="T100" fmla="*/ 2147483647 w 974"/>
                <a:gd name="T101" fmla="*/ 2147483647 h 878"/>
                <a:gd name="T102" fmla="*/ 2147483647 w 974"/>
                <a:gd name="T103" fmla="*/ 2147483647 h 878"/>
                <a:gd name="T104" fmla="*/ 2147483647 w 974"/>
                <a:gd name="T105" fmla="*/ 2147483647 h 878"/>
                <a:gd name="T106" fmla="*/ 2147483647 w 974"/>
                <a:gd name="T107" fmla="*/ 2147483647 h 878"/>
                <a:gd name="T108" fmla="*/ 2147483647 w 974"/>
                <a:gd name="T109" fmla="*/ 2147483647 h 878"/>
                <a:gd name="T110" fmla="*/ 2147483647 w 974"/>
                <a:gd name="T111" fmla="*/ 2147483647 h 878"/>
                <a:gd name="T112" fmla="*/ 2147483647 w 974"/>
                <a:gd name="T113" fmla="*/ 2147483647 h 878"/>
                <a:gd name="T114" fmla="*/ 2147483647 w 974"/>
                <a:gd name="T115" fmla="*/ 2147483647 h 878"/>
                <a:gd name="T116" fmla="*/ 2147483647 w 974"/>
                <a:gd name="T117" fmla="*/ 2147483647 h 878"/>
                <a:gd name="T118" fmla="*/ 2147483647 w 974"/>
                <a:gd name="T119" fmla="*/ 2147483647 h 878"/>
                <a:gd name="T120" fmla="*/ 2147483647 w 974"/>
                <a:gd name="T121" fmla="*/ 2147483647 h 8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74"/>
                <a:gd name="T184" fmla="*/ 0 h 878"/>
                <a:gd name="T185" fmla="*/ 974 w 974"/>
                <a:gd name="T186" fmla="*/ 878 h 8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74" h="878">
                  <a:moveTo>
                    <a:pt x="0" y="446"/>
                  </a:moveTo>
                  <a:lnTo>
                    <a:pt x="4" y="444"/>
                  </a:lnTo>
                  <a:lnTo>
                    <a:pt x="8" y="440"/>
                  </a:lnTo>
                  <a:lnTo>
                    <a:pt x="16" y="440"/>
                  </a:lnTo>
                  <a:lnTo>
                    <a:pt x="18" y="434"/>
                  </a:lnTo>
                  <a:lnTo>
                    <a:pt x="18" y="428"/>
                  </a:lnTo>
                  <a:lnTo>
                    <a:pt x="20" y="422"/>
                  </a:lnTo>
                  <a:lnTo>
                    <a:pt x="24" y="416"/>
                  </a:lnTo>
                  <a:lnTo>
                    <a:pt x="30" y="410"/>
                  </a:lnTo>
                  <a:lnTo>
                    <a:pt x="36" y="408"/>
                  </a:lnTo>
                  <a:lnTo>
                    <a:pt x="42" y="414"/>
                  </a:lnTo>
                  <a:lnTo>
                    <a:pt x="42" y="416"/>
                  </a:lnTo>
                  <a:lnTo>
                    <a:pt x="46" y="422"/>
                  </a:lnTo>
                  <a:lnTo>
                    <a:pt x="52" y="424"/>
                  </a:lnTo>
                  <a:lnTo>
                    <a:pt x="54" y="430"/>
                  </a:lnTo>
                  <a:lnTo>
                    <a:pt x="52" y="436"/>
                  </a:lnTo>
                  <a:lnTo>
                    <a:pt x="52" y="442"/>
                  </a:lnTo>
                  <a:lnTo>
                    <a:pt x="56" y="448"/>
                  </a:lnTo>
                  <a:lnTo>
                    <a:pt x="60" y="454"/>
                  </a:lnTo>
                  <a:lnTo>
                    <a:pt x="66" y="454"/>
                  </a:lnTo>
                  <a:lnTo>
                    <a:pt x="68" y="460"/>
                  </a:lnTo>
                  <a:lnTo>
                    <a:pt x="72" y="458"/>
                  </a:lnTo>
                  <a:lnTo>
                    <a:pt x="78" y="458"/>
                  </a:lnTo>
                  <a:lnTo>
                    <a:pt x="84" y="460"/>
                  </a:lnTo>
                  <a:lnTo>
                    <a:pt x="90" y="464"/>
                  </a:lnTo>
                  <a:lnTo>
                    <a:pt x="96" y="468"/>
                  </a:lnTo>
                  <a:lnTo>
                    <a:pt x="102" y="468"/>
                  </a:lnTo>
                  <a:lnTo>
                    <a:pt x="108" y="466"/>
                  </a:lnTo>
                  <a:lnTo>
                    <a:pt x="114" y="468"/>
                  </a:lnTo>
                  <a:lnTo>
                    <a:pt x="118" y="468"/>
                  </a:lnTo>
                  <a:lnTo>
                    <a:pt x="124" y="466"/>
                  </a:lnTo>
                  <a:lnTo>
                    <a:pt x="132" y="464"/>
                  </a:lnTo>
                  <a:lnTo>
                    <a:pt x="136" y="466"/>
                  </a:lnTo>
                  <a:lnTo>
                    <a:pt x="142" y="466"/>
                  </a:lnTo>
                  <a:lnTo>
                    <a:pt x="148" y="470"/>
                  </a:lnTo>
                  <a:lnTo>
                    <a:pt x="154" y="472"/>
                  </a:lnTo>
                  <a:lnTo>
                    <a:pt x="160" y="470"/>
                  </a:lnTo>
                  <a:lnTo>
                    <a:pt x="166" y="468"/>
                  </a:lnTo>
                  <a:lnTo>
                    <a:pt x="162" y="462"/>
                  </a:lnTo>
                  <a:lnTo>
                    <a:pt x="166" y="456"/>
                  </a:lnTo>
                  <a:lnTo>
                    <a:pt x="170" y="456"/>
                  </a:lnTo>
                  <a:lnTo>
                    <a:pt x="176" y="454"/>
                  </a:lnTo>
                  <a:lnTo>
                    <a:pt x="178" y="448"/>
                  </a:lnTo>
                  <a:lnTo>
                    <a:pt x="182" y="442"/>
                  </a:lnTo>
                  <a:lnTo>
                    <a:pt x="184" y="442"/>
                  </a:lnTo>
                  <a:lnTo>
                    <a:pt x="190" y="442"/>
                  </a:lnTo>
                  <a:lnTo>
                    <a:pt x="196" y="440"/>
                  </a:lnTo>
                  <a:lnTo>
                    <a:pt x="202" y="436"/>
                  </a:lnTo>
                  <a:lnTo>
                    <a:pt x="208" y="436"/>
                  </a:lnTo>
                  <a:lnTo>
                    <a:pt x="208" y="432"/>
                  </a:lnTo>
                  <a:lnTo>
                    <a:pt x="208" y="426"/>
                  </a:lnTo>
                  <a:lnTo>
                    <a:pt x="208" y="418"/>
                  </a:lnTo>
                  <a:lnTo>
                    <a:pt x="208" y="414"/>
                  </a:lnTo>
                  <a:lnTo>
                    <a:pt x="208" y="412"/>
                  </a:lnTo>
                  <a:lnTo>
                    <a:pt x="208" y="408"/>
                  </a:lnTo>
                  <a:lnTo>
                    <a:pt x="208" y="402"/>
                  </a:lnTo>
                  <a:lnTo>
                    <a:pt x="208" y="396"/>
                  </a:lnTo>
                  <a:lnTo>
                    <a:pt x="208" y="388"/>
                  </a:lnTo>
                  <a:lnTo>
                    <a:pt x="208" y="382"/>
                  </a:lnTo>
                  <a:lnTo>
                    <a:pt x="210" y="376"/>
                  </a:lnTo>
                  <a:lnTo>
                    <a:pt x="210" y="368"/>
                  </a:lnTo>
                  <a:lnTo>
                    <a:pt x="210" y="362"/>
                  </a:lnTo>
                  <a:lnTo>
                    <a:pt x="210" y="360"/>
                  </a:lnTo>
                  <a:lnTo>
                    <a:pt x="210" y="352"/>
                  </a:lnTo>
                  <a:lnTo>
                    <a:pt x="210" y="346"/>
                  </a:lnTo>
                  <a:lnTo>
                    <a:pt x="210" y="338"/>
                  </a:lnTo>
                  <a:lnTo>
                    <a:pt x="210" y="332"/>
                  </a:lnTo>
                  <a:lnTo>
                    <a:pt x="210" y="326"/>
                  </a:lnTo>
                  <a:lnTo>
                    <a:pt x="210" y="320"/>
                  </a:lnTo>
                  <a:lnTo>
                    <a:pt x="210" y="318"/>
                  </a:lnTo>
                  <a:lnTo>
                    <a:pt x="210" y="310"/>
                  </a:lnTo>
                  <a:lnTo>
                    <a:pt x="212" y="304"/>
                  </a:lnTo>
                  <a:lnTo>
                    <a:pt x="212" y="296"/>
                  </a:lnTo>
                  <a:lnTo>
                    <a:pt x="212" y="290"/>
                  </a:lnTo>
                  <a:lnTo>
                    <a:pt x="212" y="284"/>
                  </a:lnTo>
                  <a:lnTo>
                    <a:pt x="212" y="276"/>
                  </a:lnTo>
                  <a:lnTo>
                    <a:pt x="212" y="268"/>
                  </a:lnTo>
                  <a:lnTo>
                    <a:pt x="212" y="260"/>
                  </a:lnTo>
                  <a:lnTo>
                    <a:pt x="212" y="254"/>
                  </a:lnTo>
                  <a:lnTo>
                    <a:pt x="212" y="252"/>
                  </a:lnTo>
                  <a:lnTo>
                    <a:pt x="212" y="246"/>
                  </a:lnTo>
                  <a:lnTo>
                    <a:pt x="212" y="242"/>
                  </a:lnTo>
                  <a:lnTo>
                    <a:pt x="212" y="238"/>
                  </a:lnTo>
                  <a:lnTo>
                    <a:pt x="212" y="230"/>
                  </a:lnTo>
                  <a:lnTo>
                    <a:pt x="212" y="224"/>
                  </a:lnTo>
                  <a:lnTo>
                    <a:pt x="212" y="218"/>
                  </a:lnTo>
                  <a:lnTo>
                    <a:pt x="212" y="210"/>
                  </a:lnTo>
                  <a:lnTo>
                    <a:pt x="212" y="204"/>
                  </a:lnTo>
                  <a:lnTo>
                    <a:pt x="212" y="198"/>
                  </a:lnTo>
                  <a:lnTo>
                    <a:pt x="214" y="190"/>
                  </a:lnTo>
                  <a:lnTo>
                    <a:pt x="214" y="182"/>
                  </a:lnTo>
                  <a:lnTo>
                    <a:pt x="220" y="188"/>
                  </a:lnTo>
                  <a:lnTo>
                    <a:pt x="224" y="192"/>
                  </a:lnTo>
                  <a:lnTo>
                    <a:pt x="230" y="196"/>
                  </a:lnTo>
                  <a:lnTo>
                    <a:pt x="234" y="198"/>
                  </a:lnTo>
                  <a:lnTo>
                    <a:pt x="238" y="204"/>
                  </a:lnTo>
                  <a:lnTo>
                    <a:pt x="240" y="210"/>
                  </a:lnTo>
                  <a:lnTo>
                    <a:pt x="242" y="216"/>
                  </a:lnTo>
                  <a:lnTo>
                    <a:pt x="246" y="222"/>
                  </a:lnTo>
                  <a:lnTo>
                    <a:pt x="250" y="228"/>
                  </a:lnTo>
                  <a:lnTo>
                    <a:pt x="250" y="234"/>
                  </a:lnTo>
                  <a:lnTo>
                    <a:pt x="252" y="240"/>
                  </a:lnTo>
                  <a:lnTo>
                    <a:pt x="252" y="246"/>
                  </a:lnTo>
                  <a:lnTo>
                    <a:pt x="256" y="252"/>
                  </a:lnTo>
                  <a:lnTo>
                    <a:pt x="258" y="258"/>
                  </a:lnTo>
                  <a:lnTo>
                    <a:pt x="260" y="264"/>
                  </a:lnTo>
                  <a:lnTo>
                    <a:pt x="260" y="270"/>
                  </a:lnTo>
                  <a:lnTo>
                    <a:pt x="262" y="276"/>
                  </a:lnTo>
                  <a:lnTo>
                    <a:pt x="260" y="282"/>
                  </a:lnTo>
                  <a:lnTo>
                    <a:pt x="256" y="288"/>
                  </a:lnTo>
                  <a:lnTo>
                    <a:pt x="252" y="292"/>
                  </a:lnTo>
                  <a:lnTo>
                    <a:pt x="248" y="298"/>
                  </a:lnTo>
                  <a:lnTo>
                    <a:pt x="246" y="304"/>
                  </a:lnTo>
                  <a:lnTo>
                    <a:pt x="248" y="308"/>
                  </a:lnTo>
                  <a:lnTo>
                    <a:pt x="246" y="316"/>
                  </a:lnTo>
                  <a:lnTo>
                    <a:pt x="248" y="322"/>
                  </a:lnTo>
                  <a:lnTo>
                    <a:pt x="250" y="326"/>
                  </a:lnTo>
                  <a:lnTo>
                    <a:pt x="250" y="328"/>
                  </a:lnTo>
                  <a:lnTo>
                    <a:pt x="252" y="330"/>
                  </a:lnTo>
                  <a:lnTo>
                    <a:pt x="254" y="328"/>
                  </a:lnTo>
                  <a:lnTo>
                    <a:pt x="260" y="324"/>
                  </a:lnTo>
                  <a:lnTo>
                    <a:pt x="266" y="322"/>
                  </a:lnTo>
                  <a:lnTo>
                    <a:pt x="272" y="326"/>
                  </a:lnTo>
                  <a:lnTo>
                    <a:pt x="278" y="328"/>
                  </a:lnTo>
                  <a:lnTo>
                    <a:pt x="284" y="326"/>
                  </a:lnTo>
                  <a:lnTo>
                    <a:pt x="290" y="326"/>
                  </a:lnTo>
                  <a:lnTo>
                    <a:pt x="296" y="324"/>
                  </a:lnTo>
                  <a:lnTo>
                    <a:pt x="300" y="326"/>
                  </a:lnTo>
                  <a:lnTo>
                    <a:pt x="306" y="326"/>
                  </a:lnTo>
                  <a:lnTo>
                    <a:pt x="310" y="326"/>
                  </a:lnTo>
                  <a:lnTo>
                    <a:pt x="316" y="320"/>
                  </a:lnTo>
                  <a:lnTo>
                    <a:pt x="316" y="314"/>
                  </a:lnTo>
                  <a:lnTo>
                    <a:pt x="322" y="314"/>
                  </a:lnTo>
                  <a:lnTo>
                    <a:pt x="328" y="312"/>
                  </a:lnTo>
                  <a:lnTo>
                    <a:pt x="334" y="308"/>
                  </a:lnTo>
                  <a:lnTo>
                    <a:pt x="338" y="302"/>
                  </a:lnTo>
                  <a:lnTo>
                    <a:pt x="340" y="296"/>
                  </a:lnTo>
                  <a:lnTo>
                    <a:pt x="346" y="292"/>
                  </a:lnTo>
                  <a:lnTo>
                    <a:pt x="352" y="288"/>
                  </a:lnTo>
                  <a:lnTo>
                    <a:pt x="356" y="282"/>
                  </a:lnTo>
                  <a:lnTo>
                    <a:pt x="362" y="282"/>
                  </a:lnTo>
                  <a:lnTo>
                    <a:pt x="368" y="274"/>
                  </a:lnTo>
                  <a:lnTo>
                    <a:pt x="368" y="272"/>
                  </a:lnTo>
                  <a:lnTo>
                    <a:pt x="372" y="266"/>
                  </a:lnTo>
                  <a:lnTo>
                    <a:pt x="372" y="260"/>
                  </a:lnTo>
                  <a:lnTo>
                    <a:pt x="376" y="254"/>
                  </a:lnTo>
                  <a:lnTo>
                    <a:pt x="376" y="248"/>
                  </a:lnTo>
                  <a:lnTo>
                    <a:pt x="378" y="242"/>
                  </a:lnTo>
                  <a:lnTo>
                    <a:pt x="380" y="236"/>
                  </a:lnTo>
                  <a:lnTo>
                    <a:pt x="384" y="230"/>
                  </a:lnTo>
                  <a:lnTo>
                    <a:pt x="386" y="224"/>
                  </a:lnTo>
                  <a:lnTo>
                    <a:pt x="392" y="220"/>
                  </a:lnTo>
                  <a:lnTo>
                    <a:pt x="396" y="220"/>
                  </a:lnTo>
                  <a:lnTo>
                    <a:pt x="402" y="216"/>
                  </a:lnTo>
                  <a:lnTo>
                    <a:pt x="408" y="216"/>
                  </a:lnTo>
                  <a:lnTo>
                    <a:pt x="414" y="218"/>
                  </a:lnTo>
                  <a:lnTo>
                    <a:pt x="420" y="222"/>
                  </a:lnTo>
                  <a:lnTo>
                    <a:pt x="426" y="226"/>
                  </a:lnTo>
                  <a:lnTo>
                    <a:pt x="432" y="230"/>
                  </a:lnTo>
                  <a:lnTo>
                    <a:pt x="434" y="230"/>
                  </a:lnTo>
                  <a:lnTo>
                    <a:pt x="438" y="236"/>
                  </a:lnTo>
                  <a:lnTo>
                    <a:pt x="444" y="242"/>
                  </a:lnTo>
                  <a:lnTo>
                    <a:pt x="450" y="244"/>
                  </a:lnTo>
                  <a:lnTo>
                    <a:pt x="456" y="242"/>
                  </a:lnTo>
                  <a:lnTo>
                    <a:pt x="462" y="242"/>
                  </a:lnTo>
                  <a:lnTo>
                    <a:pt x="466" y="248"/>
                  </a:lnTo>
                  <a:lnTo>
                    <a:pt x="472" y="250"/>
                  </a:lnTo>
                  <a:lnTo>
                    <a:pt x="478" y="250"/>
                  </a:lnTo>
                  <a:lnTo>
                    <a:pt x="480" y="250"/>
                  </a:lnTo>
                  <a:lnTo>
                    <a:pt x="486" y="254"/>
                  </a:lnTo>
                  <a:lnTo>
                    <a:pt x="492" y="256"/>
                  </a:lnTo>
                  <a:lnTo>
                    <a:pt x="496" y="256"/>
                  </a:lnTo>
                  <a:lnTo>
                    <a:pt x="504" y="254"/>
                  </a:lnTo>
                  <a:lnTo>
                    <a:pt x="508" y="250"/>
                  </a:lnTo>
                  <a:lnTo>
                    <a:pt x="512" y="248"/>
                  </a:lnTo>
                  <a:lnTo>
                    <a:pt x="516" y="250"/>
                  </a:lnTo>
                  <a:lnTo>
                    <a:pt x="522" y="250"/>
                  </a:lnTo>
                  <a:lnTo>
                    <a:pt x="526" y="250"/>
                  </a:lnTo>
                  <a:lnTo>
                    <a:pt x="532" y="250"/>
                  </a:lnTo>
                  <a:lnTo>
                    <a:pt x="538" y="246"/>
                  </a:lnTo>
                  <a:lnTo>
                    <a:pt x="544" y="242"/>
                  </a:lnTo>
                  <a:lnTo>
                    <a:pt x="546" y="238"/>
                  </a:lnTo>
                  <a:lnTo>
                    <a:pt x="550" y="230"/>
                  </a:lnTo>
                  <a:lnTo>
                    <a:pt x="550" y="226"/>
                  </a:lnTo>
                  <a:lnTo>
                    <a:pt x="552" y="224"/>
                  </a:lnTo>
                  <a:lnTo>
                    <a:pt x="554" y="216"/>
                  </a:lnTo>
                  <a:lnTo>
                    <a:pt x="556" y="212"/>
                  </a:lnTo>
                  <a:lnTo>
                    <a:pt x="558" y="206"/>
                  </a:lnTo>
                  <a:lnTo>
                    <a:pt x="560" y="200"/>
                  </a:lnTo>
                  <a:lnTo>
                    <a:pt x="560" y="198"/>
                  </a:lnTo>
                  <a:lnTo>
                    <a:pt x="562" y="192"/>
                  </a:lnTo>
                  <a:lnTo>
                    <a:pt x="564" y="186"/>
                  </a:lnTo>
                  <a:lnTo>
                    <a:pt x="562" y="180"/>
                  </a:lnTo>
                  <a:lnTo>
                    <a:pt x="564" y="180"/>
                  </a:lnTo>
                  <a:lnTo>
                    <a:pt x="570" y="180"/>
                  </a:lnTo>
                  <a:lnTo>
                    <a:pt x="576" y="178"/>
                  </a:lnTo>
                  <a:lnTo>
                    <a:pt x="576" y="176"/>
                  </a:lnTo>
                  <a:lnTo>
                    <a:pt x="580" y="174"/>
                  </a:lnTo>
                  <a:lnTo>
                    <a:pt x="582" y="174"/>
                  </a:lnTo>
                  <a:lnTo>
                    <a:pt x="588" y="172"/>
                  </a:lnTo>
                  <a:lnTo>
                    <a:pt x="594" y="174"/>
                  </a:lnTo>
                  <a:lnTo>
                    <a:pt x="596" y="172"/>
                  </a:lnTo>
                  <a:lnTo>
                    <a:pt x="600" y="166"/>
                  </a:lnTo>
                  <a:lnTo>
                    <a:pt x="604" y="160"/>
                  </a:lnTo>
                  <a:lnTo>
                    <a:pt x="610" y="156"/>
                  </a:lnTo>
                  <a:lnTo>
                    <a:pt x="614" y="150"/>
                  </a:lnTo>
                  <a:lnTo>
                    <a:pt x="620" y="148"/>
                  </a:lnTo>
                  <a:lnTo>
                    <a:pt x="622" y="142"/>
                  </a:lnTo>
                  <a:lnTo>
                    <a:pt x="624" y="136"/>
                  </a:lnTo>
                  <a:lnTo>
                    <a:pt x="626" y="130"/>
                  </a:lnTo>
                  <a:lnTo>
                    <a:pt x="626" y="122"/>
                  </a:lnTo>
                  <a:lnTo>
                    <a:pt x="628" y="118"/>
                  </a:lnTo>
                  <a:lnTo>
                    <a:pt x="630" y="112"/>
                  </a:lnTo>
                  <a:lnTo>
                    <a:pt x="630" y="108"/>
                  </a:lnTo>
                  <a:lnTo>
                    <a:pt x="636" y="106"/>
                  </a:lnTo>
                  <a:lnTo>
                    <a:pt x="638" y="100"/>
                  </a:lnTo>
                  <a:lnTo>
                    <a:pt x="640" y="100"/>
                  </a:lnTo>
                  <a:lnTo>
                    <a:pt x="644" y="94"/>
                  </a:lnTo>
                  <a:lnTo>
                    <a:pt x="650" y="90"/>
                  </a:lnTo>
                  <a:lnTo>
                    <a:pt x="654" y="88"/>
                  </a:lnTo>
                  <a:lnTo>
                    <a:pt x="660" y="86"/>
                  </a:lnTo>
                  <a:lnTo>
                    <a:pt x="666" y="84"/>
                  </a:lnTo>
                  <a:lnTo>
                    <a:pt x="668" y="78"/>
                  </a:lnTo>
                  <a:lnTo>
                    <a:pt x="674" y="74"/>
                  </a:lnTo>
                  <a:lnTo>
                    <a:pt x="680" y="72"/>
                  </a:lnTo>
                  <a:lnTo>
                    <a:pt x="686" y="66"/>
                  </a:lnTo>
                  <a:lnTo>
                    <a:pt x="690" y="60"/>
                  </a:lnTo>
                  <a:lnTo>
                    <a:pt x="690" y="58"/>
                  </a:lnTo>
                  <a:lnTo>
                    <a:pt x="696" y="54"/>
                  </a:lnTo>
                  <a:lnTo>
                    <a:pt x="698" y="48"/>
                  </a:lnTo>
                  <a:lnTo>
                    <a:pt x="704" y="42"/>
                  </a:lnTo>
                  <a:lnTo>
                    <a:pt x="704" y="38"/>
                  </a:lnTo>
                  <a:lnTo>
                    <a:pt x="710" y="34"/>
                  </a:lnTo>
                  <a:lnTo>
                    <a:pt x="716" y="30"/>
                  </a:lnTo>
                  <a:lnTo>
                    <a:pt x="718" y="30"/>
                  </a:lnTo>
                  <a:lnTo>
                    <a:pt x="724" y="30"/>
                  </a:lnTo>
                  <a:lnTo>
                    <a:pt x="728" y="30"/>
                  </a:lnTo>
                  <a:lnTo>
                    <a:pt x="736" y="28"/>
                  </a:lnTo>
                  <a:lnTo>
                    <a:pt x="742" y="26"/>
                  </a:lnTo>
                  <a:lnTo>
                    <a:pt x="746" y="22"/>
                  </a:lnTo>
                  <a:lnTo>
                    <a:pt x="748" y="22"/>
                  </a:lnTo>
                  <a:lnTo>
                    <a:pt x="752" y="16"/>
                  </a:lnTo>
                  <a:lnTo>
                    <a:pt x="754" y="10"/>
                  </a:lnTo>
                  <a:lnTo>
                    <a:pt x="756" y="8"/>
                  </a:lnTo>
                  <a:lnTo>
                    <a:pt x="756" y="6"/>
                  </a:lnTo>
                  <a:lnTo>
                    <a:pt x="762" y="6"/>
                  </a:lnTo>
                  <a:lnTo>
                    <a:pt x="764" y="6"/>
                  </a:lnTo>
                  <a:lnTo>
                    <a:pt x="770" y="4"/>
                  </a:lnTo>
                  <a:lnTo>
                    <a:pt x="774" y="4"/>
                  </a:lnTo>
                  <a:lnTo>
                    <a:pt x="778" y="4"/>
                  </a:lnTo>
                  <a:lnTo>
                    <a:pt x="784" y="2"/>
                  </a:lnTo>
                  <a:lnTo>
                    <a:pt x="788" y="0"/>
                  </a:lnTo>
                  <a:lnTo>
                    <a:pt x="794" y="0"/>
                  </a:lnTo>
                  <a:lnTo>
                    <a:pt x="800" y="0"/>
                  </a:lnTo>
                  <a:lnTo>
                    <a:pt x="806" y="4"/>
                  </a:lnTo>
                  <a:lnTo>
                    <a:pt x="810" y="4"/>
                  </a:lnTo>
                  <a:lnTo>
                    <a:pt x="814" y="6"/>
                  </a:lnTo>
                  <a:lnTo>
                    <a:pt x="820" y="10"/>
                  </a:lnTo>
                  <a:lnTo>
                    <a:pt x="822" y="12"/>
                  </a:lnTo>
                  <a:lnTo>
                    <a:pt x="828" y="10"/>
                  </a:lnTo>
                  <a:lnTo>
                    <a:pt x="834" y="14"/>
                  </a:lnTo>
                  <a:lnTo>
                    <a:pt x="840" y="14"/>
                  </a:lnTo>
                  <a:lnTo>
                    <a:pt x="846" y="12"/>
                  </a:lnTo>
                  <a:lnTo>
                    <a:pt x="852" y="14"/>
                  </a:lnTo>
                  <a:lnTo>
                    <a:pt x="858" y="12"/>
                  </a:lnTo>
                  <a:lnTo>
                    <a:pt x="864" y="10"/>
                  </a:lnTo>
                  <a:lnTo>
                    <a:pt x="870" y="12"/>
                  </a:lnTo>
                  <a:lnTo>
                    <a:pt x="876" y="12"/>
                  </a:lnTo>
                  <a:lnTo>
                    <a:pt x="880" y="14"/>
                  </a:lnTo>
                  <a:lnTo>
                    <a:pt x="886" y="16"/>
                  </a:lnTo>
                  <a:lnTo>
                    <a:pt x="892" y="20"/>
                  </a:lnTo>
                  <a:lnTo>
                    <a:pt x="892" y="22"/>
                  </a:lnTo>
                  <a:lnTo>
                    <a:pt x="894" y="24"/>
                  </a:lnTo>
                  <a:lnTo>
                    <a:pt x="894" y="30"/>
                  </a:lnTo>
                  <a:lnTo>
                    <a:pt x="896" y="38"/>
                  </a:lnTo>
                  <a:lnTo>
                    <a:pt x="898" y="44"/>
                  </a:lnTo>
                  <a:lnTo>
                    <a:pt x="900" y="50"/>
                  </a:lnTo>
                  <a:lnTo>
                    <a:pt x="902" y="56"/>
                  </a:lnTo>
                  <a:lnTo>
                    <a:pt x="902" y="64"/>
                  </a:lnTo>
                  <a:lnTo>
                    <a:pt x="904" y="70"/>
                  </a:lnTo>
                  <a:lnTo>
                    <a:pt x="906" y="76"/>
                  </a:lnTo>
                  <a:lnTo>
                    <a:pt x="904" y="82"/>
                  </a:lnTo>
                  <a:lnTo>
                    <a:pt x="904" y="88"/>
                  </a:lnTo>
                  <a:lnTo>
                    <a:pt x="906" y="94"/>
                  </a:lnTo>
                  <a:lnTo>
                    <a:pt x="910" y="100"/>
                  </a:lnTo>
                  <a:lnTo>
                    <a:pt x="912" y="106"/>
                  </a:lnTo>
                  <a:lnTo>
                    <a:pt x="914" y="114"/>
                  </a:lnTo>
                  <a:lnTo>
                    <a:pt x="916" y="120"/>
                  </a:lnTo>
                  <a:lnTo>
                    <a:pt x="922" y="126"/>
                  </a:lnTo>
                  <a:lnTo>
                    <a:pt x="922" y="130"/>
                  </a:lnTo>
                  <a:lnTo>
                    <a:pt x="922" y="136"/>
                  </a:lnTo>
                  <a:lnTo>
                    <a:pt x="924" y="142"/>
                  </a:lnTo>
                  <a:lnTo>
                    <a:pt x="926" y="148"/>
                  </a:lnTo>
                  <a:lnTo>
                    <a:pt x="928" y="154"/>
                  </a:lnTo>
                  <a:lnTo>
                    <a:pt x="930" y="160"/>
                  </a:lnTo>
                  <a:lnTo>
                    <a:pt x="928" y="166"/>
                  </a:lnTo>
                  <a:lnTo>
                    <a:pt x="928" y="172"/>
                  </a:lnTo>
                  <a:lnTo>
                    <a:pt x="928" y="178"/>
                  </a:lnTo>
                  <a:lnTo>
                    <a:pt x="928" y="186"/>
                  </a:lnTo>
                  <a:lnTo>
                    <a:pt x="928" y="192"/>
                  </a:lnTo>
                  <a:lnTo>
                    <a:pt x="928" y="198"/>
                  </a:lnTo>
                  <a:lnTo>
                    <a:pt x="928" y="204"/>
                  </a:lnTo>
                  <a:lnTo>
                    <a:pt x="928" y="210"/>
                  </a:lnTo>
                  <a:lnTo>
                    <a:pt x="928" y="216"/>
                  </a:lnTo>
                  <a:lnTo>
                    <a:pt x="926" y="222"/>
                  </a:lnTo>
                  <a:lnTo>
                    <a:pt x="926" y="228"/>
                  </a:lnTo>
                  <a:lnTo>
                    <a:pt x="924" y="230"/>
                  </a:lnTo>
                  <a:lnTo>
                    <a:pt x="924" y="232"/>
                  </a:lnTo>
                  <a:lnTo>
                    <a:pt x="926" y="236"/>
                  </a:lnTo>
                  <a:lnTo>
                    <a:pt x="926" y="242"/>
                  </a:lnTo>
                  <a:lnTo>
                    <a:pt x="924" y="246"/>
                  </a:lnTo>
                  <a:lnTo>
                    <a:pt x="920" y="252"/>
                  </a:lnTo>
                  <a:lnTo>
                    <a:pt x="920" y="258"/>
                  </a:lnTo>
                  <a:lnTo>
                    <a:pt x="922" y="264"/>
                  </a:lnTo>
                  <a:lnTo>
                    <a:pt x="916" y="266"/>
                  </a:lnTo>
                  <a:lnTo>
                    <a:pt x="910" y="262"/>
                  </a:lnTo>
                  <a:lnTo>
                    <a:pt x="902" y="258"/>
                  </a:lnTo>
                  <a:lnTo>
                    <a:pt x="896" y="254"/>
                  </a:lnTo>
                  <a:lnTo>
                    <a:pt x="892" y="250"/>
                  </a:lnTo>
                  <a:lnTo>
                    <a:pt x="890" y="248"/>
                  </a:lnTo>
                  <a:lnTo>
                    <a:pt x="884" y="250"/>
                  </a:lnTo>
                  <a:lnTo>
                    <a:pt x="878" y="256"/>
                  </a:lnTo>
                  <a:lnTo>
                    <a:pt x="872" y="262"/>
                  </a:lnTo>
                  <a:lnTo>
                    <a:pt x="872" y="264"/>
                  </a:lnTo>
                  <a:lnTo>
                    <a:pt x="872" y="266"/>
                  </a:lnTo>
                  <a:lnTo>
                    <a:pt x="870" y="270"/>
                  </a:lnTo>
                  <a:lnTo>
                    <a:pt x="866" y="276"/>
                  </a:lnTo>
                  <a:lnTo>
                    <a:pt x="864" y="282"/>
                  </a:lnTo>
                  <a:lnTo>
                    <a:pt x="858" y="288"/>
                  </a:lnTo>
                  <a:lnTo>
                    <a:pt x="854" y="294"/>
                  </a:lnTo>
                  <a:lnTo>
                    <a:pt x="852" y="300"/>
                  </a:lnTo>
                  <a:lnTo>
                    <a:pt x="852" y="304"/>
                  </a:lnTo>
                  <a:lnTo>
                    <a:pt x="852" y="306"/>
                  </a:lnTo>
                  <a:lnTo>
                    <a:pt x="852" y="312"/>
                  </a:lnTo>
                  <a:lnTo>
                    <a:pt x="852" y="318"/>
                  </a:lnTo>
                  <a:lnTo>
                    <a:pt x="856" y="324"/>
                  </a:lnTo>
                  <a:lnTo>
                    <a:pt x="858" y="326"/>
                  </a:lnTo>
                  <a:lnTo>
                    <a:pt x="860" y="332"/>
                  </a:lnTo>
                  <a:lnTo>
                    <a:pt x="860" y="338"/>
                  </a:lnTo>
                  <a:lnTo>
                    <a:pt x="866" y="344"/>
                  </a:lnTo>
                  <a:lnTo>
                    <a:pt x="870" y="350"/>
                  </a:lnTo>
                  <a:lnTo>
                    <a:pt x="876" y="352"/>
                  </a:lnTo>
                  <a:lnTo>
                    <a:pt x="882" y="356"/>
                  </a:lnTo>
                  <a:lnTo>
                    <a:pt x="888" y="358"/>
                  </a:lnTo>
                  <a:lnTo>
                    <a:pt x="894" y="358"/>
                  </a:lnTo>
                  <a:lnTo>
                    <a:pt x="900" y="358"/>
                  </a:lnTo>
                  <a:lnTo>
                    <a:pt x="906" y="358"/>
                  </a:lnTo>
                  <a:lnTo>
                    <a:pt x="912" y="358"/>
                  </a:lnTo>
                  <a:lnTo>
                    <a:pt x="914" y="358"/>
                  </a:lnTo>
                  <a:lnTo>
                    <a:pt x="918" y="356"/>
                  </a:lnTo>
                  <a:lnTo>
                    <a:pt x="918" y="350"/>
                  </a:lnTo>
                  <a:lnTo>
                    <a:pt x="918" y="344"/>
                  </a:lnTo>
                  <a:lnTo>
                    <a:pt x="920" y="338"/>
                  </a:lnTo>
                  <a:lnTo>
                    <a:pt x="920" y="332"/>
                  </a:lnTo>
                  <a:lnTo>
                    <a:pt x="922" y="326"/>
                  </a:lnTo>
                  <a:lnTo>
                    <a:pt x="922" y="324"/>
                  </a:lnTo>
                  <a:lnTo>
                    <a:pt x="928" y="326"/>
                  </a:lnTo>
                  <a:lnTo>
                    <a:pt x="936" y="326"/>
                  </a:lnTo>
                  <a:lnTo>
                    <a:pt x="940" y="326"/>
                  </a:lnTo>
                  <a:lnTo>
                    <a:pt x="942" y="326"/>
                  </a:lnTo>
                  <a:lnTo>
                    <a:pt x="948" y="326"/>
                  </a:lnTo>
                  <a:lnTo>
                    <a:pt x="954" y="326"/>
                  </a:lnTo>
                  <a:lnTo>
                    <a:pt x="962" y="326"/>
                  </a:lnTo>
                  <a:lnTo>
                    <a:pt x="968" y="326"/>
                  </a:lnTo>
                  <a:lnTo>
                    <a:pt x="974" y="326"/>
                  </a:lnTo>
                  <a:lnTo>
                    <a:pt x="972" y="330"/>
                  </a:lnTo>
                  <a:lnTo>
                    <a:pt x="972" y="336"/>
                  </a:lnTo>
                  <a:lnTo>
                    <a:pt x="970" y="342"/>
                  </a:lnTo>
                  <a:lnTo>
                    <a:pt x="968" y="348"/>
                  </a:lnTo>
                  <a:lnTo>
                    <a:pt x="966" y="354"/>
                  </a:lnTo>
                  <a:lnTo>
                    <a:pt x="964" y="360"/>
                  </a:lnTo>
                  <a:lnTo>
                    <a:pt x="962" y="364"/>
                  </a:lnTo>
                  <a:lnTo>
                    <a:pt x="960" y="370"/>
                  </a:lnTo>
                  <a:lnTo>
                    <a:pt x="958" y="376"/>
                  </a:lnTo>
                  <a:lnTo>
                    <a:pt x="956" y="380"/>
                  </a:lnTo>
                  <a:lnTo>
                    <a:pt x="954" y="388"/>
                  </a:lnTo>
                  <a:lnTo>
                    <a:pt x="954" y="394"/>
                  </a:lnTo>
                  <a:lnTo>
                    <a:pt x="952" y="400"/>
                  </a:lnTo>
                  <a:lnTo>
                    <a:pt x="952" y="402"/>
                  </a:lnTo>
                  <a:lnTo>
                    <a:pt x="950" y="406"/>
                  </a:lnTo>
                  <a:lnTo>
                    <a:pt x="950" y="412"/>
                  </a:lnTo>
                  <a:lnTo>
                    <a:pt x="948" y="418"/>
                  </a:lnTo>
                  <a:lnTo>
                    <a:pt x="944" y="424"/>
                  </a:lnTo>
                  <a:lnTo>
                    <a:pt x="944" y="428"/>
                  </a:lnTo>
                  <a:lnTo>
                    <a:pt x="940" y="432"/>
                  </a:lnTo>
                  <a:lnTo>
                    <a:pt x="940" y="434"/>
                  </a:lnTo>
                  <a:lnTo>
                    <a:pt x="940" y="438"/>
                  </a:lnTo>
                  <a:lnTo>
                    <a:pt x="936" y="444"/>
                  </a:lnTo>
                  <a:lnTo>
                    <a:pt x="932" y="450"/>
                  </a:lnTo>
                  <a:lnTo>
                    <a:pt x="926" y="456"/>
                  </a:lnTo>
                  <a:lnTo>
                    <a:pt x="920" y="462"/>
                  </a:lnTo>
                  <a:lnTo>
                    <a:pt x="914" y="462"/>
                  </a:lnTo>
                  <a:lnTo>
                    <a:pt x="914" y="466"/>
                  </a:lnTo>
                  <a:lnTo>
                    <a:pt x="910" y="470"/>
                  </a:lnTo>
                  <a:lnTo>
                    <a:pt x="904" y="470"/>
                  </a:lnTo>
                  <a:lnTo>
                    <a:pt x="902" y="470"/>
                  </a:lnTo>
                  <a:lnTo>
                    <a:pt x="900" y="470"/>
                  </a:lnTo>
                  <a:lnTo>
                    <a:pt x="898" y="474"/>
                  </a:lnTo>
                  <a:lnTo>
                    <a:pt x="894" y="480"/>
                  </a:lnTo>
                  <a:lnTo>
                    <a:pt x="890" y="482"/>
                  </a:lnTo>
                  <a:lnTo>
                    <a:pt x="884" y="488"/>
                  </a:lnTo>
                  <a:lnTo>
                    <a:pt x="882" y="490"/>
                  </a:lnTo>
                  <a:lnTo>
                    <a:pt x="882" y="492"/>
                  </a:lnTo>
                  <a:lnTo>
                    <a:pt x="876" y="498"/>
                  </a:lnTo>
                  <a:lnTo>
                    <a:pt x="872" y="504"/>
                  </a:lnTo>
                  <a:lnTo>
                    <a:pt x="868" y="510"/>
                  </a:lnTo>
                  <a:lnTo>
                    <a:pt x="862" y="516"/>
                  </a:lnTo>
                  <a:lnTo>
                    <a:pt x="860" y="522"/>
                  </a:lnTo>
                  <a:lnTo>
                    <a:pt x="856" y="528"/>
                  </a:lnTo>
                  <a:lnTo>
                    <a:pt x="854" y="532"/>
                  </a:lnTo>
                  <a:lnTo>
                    <a:pt x="856" y="536"/>
                  </a:lnTo>
                  <a:lnTo>
                    <a:pt x="854" y="538"/>
                  </a:lnTo>
                  <a:lnTo>
                    <a:pt x="848" y="544"/>
                  </a:lnTo>
                  <a:lnTo>
                    <a:pt x="842" y="550"/>
                  </a:lnTo>
                  <a:lnTo>
                    <a:pt x="840" y="556"/>
                  </a:lnTo>
                  <a:lnTo>
                    <a:pt x="838" y="558"/>
                  </a:lnTo>
                  <a:lnTo>
                    <a:pt x="838" y="560"/>
                  </a:lnTo>
                  <a:lnTo>
                    <a:pt x="834" y="568"/>
                  </a:lnTo>
                  <a:lnTo>
                    <a:pt x="830" y="572"/>
                  </a:lnTo>
                  <a:lnTo>
                    <a:pt x="826" y="578"/>
                  </a:lnTo>
                  <a:lnTo>
                    <a:pt x="824" y="584"/>
                  </a:lnTo>
                  <a:lnTo>
                    <a:pt x="822" y="588"/>
                  </a:lnTo>
                  <a:lnTo>
                    <a:pt x="820" y="588"/>
                  </a:lnTo>
                  <a:lnTo>
                    <a:pt x="818" y="594"/>
                  </a:lnTo>
                  <a:lnTo>
                    <a:pt x="816" y="596"/>
                  </a:lnTo>
                  <a:lnTo>
                    <a:pt x="814" y="602"/>
                  </a:lnTo>
                  <a:lnTo>
                    <a:pt x="808" y="606"/>
                  </a:lnTo>
                  <a:lnTo>
                    <a:pt x="804" y="612"/>
                  </a:lnTo>
                  <a:lnTo>
                    <a:pt x="800" y="618"/>
                  </a:lnTo>
                  <a:lnTo>
                    <a:pt x="796" y="624"/>
                  </a:lnTo>
                  <a:lnTo>
                    <a:pt x="792" y="630"/>
                  </a:lnTo>
                  <a:lnTo>
                    <a:pt x="788" y="634"/>
                  </a:lnTo>
                  <a:lnTo>
                    <a:pt x="784" y="638"/>
                  </a:lnTo>
                  <a:lnTo>
                    <a:pt x="778" y="644"/>
                  </a:lnTo>
                  <a:lnTo>
                    <a:pt x="772" y="646"/>
                  </a:lnTo>
                  <a:lnTo>
                    <a:pt x="766" y="652"/>
                  </a:lnTo>
                  <a:lnTo>
                    <a:pt x="760" y="656"/>
                  </a:lnTo>
                  <a:lnTo>
                    <a:pt x="756" y="658"/>
                  </a:lnTo>
                  <a:lnTo>
                    <a:pt x="750" y="662"/>
                  </a:lnTo>
                  <a:lnTo>
                    <a:pt x="746" y="668"/>
                  </a:lnTo>
                  <a:lnTo>
                    <a:pt x="742" y="674"/>
                  </a:lnTo>
                  <a:lnTo>
                    <a:pt x="736" y="680"/>
                  </a:lnTo>
                  <a:lnTo>
                    <a:pt x="732" y="686"/>
                  </a:lnTo>
                  <a:lnTo>
                    <a:pt x="726" y="692"/>
                  </a:lnTo>
                  <a:lnTo>
                    <a:pt x="720" y="698"/>
                  </a:lnTo>
                  <a:lnTo>
                    <a:pt x="716" y="704"/>
                  </a:lnTo>
                  <a:lnTo>
                    <a:pt x="710" y="710"/>
                  </a:lnTo>
                  <a:lnTo>
                    <a:pt x="704" y="714"/>
                  </a:lnTo>
                  <a:lnTo>
                    <a:pt x="698" y="720"/>
                  </a:lnTo>
                  <a:lnTo>
                    <a:pt x="692" y="726"/>
                  </a:lnTo>
                  <a:lnTo>
                    <a:pt x="686" y="730"/>
                  </a:lnTo>
                  <a:lnTo>
                    <a:pt x="686" y="732"/>
                  </a:lnTo>
                  <a:lnTo>
                    <a:pt x="680" y="736"/>
                  </a:lnTo>
                  <a:lnTo>
                    <a:pt x="674" y="738"/>
                  </a:lnTo>
                  <a:lnTo>
                    <a:pt x="672" y="740"/>
                  </a:lnTo>
                  <a:lnTo>
                    <a:pt x="668" y="746"/>
                  </a:lnTo>
                  <a:lnTo>
                    <a:pt x="662" y="750"/>
                  </a:lnTo>
                  <a:lnTo>
                    <a:pt x="656" y="756"/>
                  </a:lnTo>
                  <a:lnTo>
                    <a:pt x="650" y="758"/>
                  </a:lnTo>
                  <a:lnTo>
                    <a:pt x="644" y="764"/>
                  </a:lnTo>
                  <a:lnTo>
                    <a:pt x="640" y="766"/>
                  </a:lnTo>
                  <a:lnTo>
                    <a:pt x="634" y="770"/>
                  </a:lnTo>
                  <a:lnTo>
                    <a:pt x="628" y="774"/>
                  </a:lnTo>
                  <a:lnTo>
                    <a:pt x="622" y="778"/>
                  </a:lnTo>
                  <a:lnTo>
                    <a:pt x="616" y="784"/>
                  </a:lnTo>
                  <a:lnTo>
                    <a:pt x="610" y="786"/>
                  </a:lnTo>
                  <a:lnTo>
                    <a:pt x="606" y="790"/>
                  </a:lnTo>
                  <a:lnTo>
                    <a:pt x="600" y="792"/>
                  </a:lnTo>
                  <a:lnTo>
                    <a:pt x="594" y="796"/>
                  </a:lnTo>
                  <a:lnTo>
                    <a:pt x="588" y="796"/>
                  </a:lnTo>
                  <a:lnTo>
                    <a:pt x="584" y="800"/>
                  </a:lnTo>
                  <a:lnTo>
                    <a:pt x="578" y="802"/>
                  </a:lnTo>
                  <a:lnTo>
                    <a:pt x="572" y="806"/>
                  </a:lnTo>
                  <a:lnTo>
                    <a:pt x="566" y="804"/>
                  </a:lnTo>
                  <a:lnTo>
                    <a:pt x="560" y="804"/>
                  </a:lnTo>
                  <a:lnTo>
                    <a:pt x="554" y="802"/>
                  </a:lnTo>
                  <a:lnTo>
                    <a:pt x="548" y="802"/>
                  </a:lnTo>
                  <a:lnTo>
                    <a:pt x="542" y="802"/>
                  </a:lnTo>
                  <a:lnTo>
                    <a:pt x="536" y="802"/>
                  </a:lnTo>
                  <a:lnTo>
                    <a:pt x="534" y="802"/>
                  </a:lnTo>
                  <a:lnTo>
                    <a:pt x="530" y="804"/>
                  </a:lnTo>
                  <a:lnTo>
                    <a:pt x="524" y="810"/>
                  </a:lnTo>
                  <a:lnTo>
                    <a:pt x="522" y="818"/>
                  </a:lnTo>
                  <a:lnTo>
                    <a:pt x="528" y="822"/>
                  </a:lnTo>
                  <a:lnTo>
                    <a:pt x="522" y="824"/>
                  </a:lnTo>
                  <a:lnTo>
                    <a:pt x="516" y="824"/>
                  </a:lnTo>
                  <a:lnTo>
                    <a:pt x="510" y="824"/>
                  </a:lnTo>
                  <a:lnTo>
                    <a:pt x="504" y="822"/>
                  </a:lnTo>
                  <a:lnTo>
                    <a:pt x="498" y="820"/>
                  </a:lnTo>
                  <a:lnTo>
                    <a:pt x="496" y="818"/>
                  </a:lnTo>
                  <a:lnTo>
                    <a:pt x="490" y="818"/>
                  </a:lnTo>
                  <a:lnTo>
                    <a:pt x="488" y="818"/>
                  </a:lnTo>
                  <a:lnTo>
                    <a:pt x="486" y="820"/>
                  </a:lnTo>
                  <a:lnTo>
                    <a:pt x="482" y="822"/>
                  </a:lnTo>
                  <a:lnTo>
                    <a:pt x="478" y="828"/>
                  </a:lnTo>
                  <a:lnTo>
                    <a:pt x="474" y="834"/>
                  </a:lnTo>
                  <a:lnTo>
                    <a:pt x="466" y="834"/>
                  </a:lnTo>
                  <a:lnTo>
                    <a:pt x="462" y="834"/>
                  </a:lnTo>
                  <a:lnTo>
                    <a:pt x="456" y="832"/>
                  </a:lnTo>
                  <a:lnTo>
                    <a:pt x="450" y="828"/>
                  </a:lnTo>
                  <a:lnTo>
                    <a:pt x="444" y="828"/>
                  </a:lnTo>
                  <a:lnTo>
                    <a:pt x="438" y="826"/>
                  </a:lnTo>
                  <a:lnTo>
                    <a:pt x="432" y="824"/>
                  </a:lnTo>
                  <a:lnTo>
                    <a:pt x="426" y="824"/>
                  </a:lnTo>
                  <a:lnTo>
                    <a:pt x="420" y="822"/>
                  </a:lnTo>
                  <a:lnTo>
                    <a:pt x="414" y="822"/>
                  </a:lnTo>
                  <a:lnTo>
                    <a:pt x="408" y="820"/>
                  </a:lnTo>
                  <a:lnTo>
                    <a:pt x="406" y="820"/>
                  </a:lnTo>
                  <a:lnTo>
                    <a:pt x="400" y="822"/>
                  </a:lnTo>
                  <a:lnTo>
                    <a:pt x="394" y="822"/>
                  </a:lnTo>
                  <a:lnTo>
                    <a:pt x="390" y="828"/>
                  </a:lnTo>
                  <a:lnTo>
                    <a:pt x="384" y="828"/>
                  </a:lnTo>
                  <a:lnTo>
                    <a:pt x="378" y="828"/>
                  </a:lnTo>
                  <a:lnTo>
                    <a:pt x="372" y="824"/>
                  </a:lnTo>
                  <a:lnTo>
                    <a:pt x="372" y="826"/>
                  </a:lnTo>
                  <a:lnTo>
                    <a:pt x="370" y="826"/>
                  </a:lnTo>
                  <a:lnTo>
                    <a:pt x="364" y="826"/>
                  </a:lnTo>
                  <a:lnTo>
                    <a:pt x="358" y="824"/>
                  </a:lnTo>
                  <a:lnTo>
                    <a:pt x="358" y="822"/>
                  </a:lnTo>
                  <a:lnTo>
                    <a:pt x="358" y="820"/>
                  </a:lnTo>
                  <a:lnTo>
                    <a:pt x="356" y="822"/>
                  </a:lnTo>
                  <a:lnTo>
                    <a:pt x="358" y="824"/>
                  </a:lnTo>
                  <a:lnTo>
                    <a:pt x="356" y="824"/>
                  </a:lnTo>
                  <a:lnTo>
                    <a:pt x="352" y="822"/>
                  </a:lnTo>
                  <a:lnTo>
                    <a:pt x="350" y="822"/>
                  </a:lnTo>
                  <a:lnTo>
                    <a:pt x="344" y="822"/>
                  </a:lnTo>
                  <a:lnTo>
                    <a:pt x="338" y="826"/>
                  </a:lnTo>
                  <a:lnTo>
                    <a:pt x="332" y="826"/>
                  </a:lnTo>
                  <a:lnTo>
                    <a:pt x="326" y="826"/>
                  </a:lnTo>
                  <a:lnTo>
                    <a:pt x="320" y="830"/>
                  </a:lnTo>
                  <a:lnTo>
                    <a:pt x="318" y="834"/>
                  </a:lnTo>
                  <a:lnTo>
                    <a:pt x="314" y="836"/>
                  </a:lnTo>
                  <a:lnTo>
                    <a:pt x="308" y="838"/>
                  </a:lnTo>
                  <a:lnTo>
                    <a:pt x="304" y="846"/>
                  </a:lnTo>
                  <a:lnTo>
                    <a:pt x="302" y="846"/>
                  </a:lnTo>
                  <a:lnTo>
                    <a:pt x="296" y="848"/>
                  </a:lnTo>
                  <a:lnTo>
                    <a:pt x="290" y="848"/>
                  </a:lnTo>
                  <a:lnTo>
                    <a:pt x="284" y="846"/>
                  </a:lnTo>
                  <a:lnTo>
                    <a:pt x="278" y="848"/>
                  </a:lnTo>
                  <a:lnTo>
                    <a:pt x="272" y="850"/>
                  </a:lnTo>
                  <a:lnTo>
                    <a:pt x="266" y="850"/>
                  </a:lnTo>
                  <a:lnTo>
                    <a:pt x="260" y="848"/>
                  </a:lnTo>
                  <a:lnTo>
                    <a:pt x="254" y="846"/>
                  </a:lnTo>
                  <a:lnTo>
                    <a:pt x="248" y="846"/>
                  </a:lnTo>
                  <a:lnTo>
                    <a:pt x="242" y="848"/>
                  </a:lnTo>
                  <a:lnTo>
                    <a:pt x="240" y="852"/>
                  </a:lnTo>
                  <a:lnTo>
                    <a:pt x="234" y="852"/>
                  </a:lnTo>
                  <a:lnTo>
                    <a:pt x="228" y="852"/>
                  </a:lnTo>
                  <a:lnTo>
                    <a:pt x="222" y="854"/>
                  </a:lnTo>
                  <a:lnTo>
                    <a:pt x="216" y="860"/>
                  </a:lnTo>
                  <a:lnTo>
                    <a:pt x="212" y="864"/>
                  </a:lnTo>
                  <a:lnTo>
                    <a:pt x="204" y="868"/>
                  </a:lnTo>
                  <a:lnTo>
                    <a:pt x="200" y="872"/>
                  </a:lnTo>
                  <a:lnTo>
                    <a:pt x="194" y="878"/>
                  </a:lnTo>
                  <a:lnTo>
                    <a:pt x="190" y="876"/>
                  </a:lnTo>
                  <a:lnTo>
                    <a:pt x="186" y="874"/>
                  </a:lnTo>
                  <a:lnTo>
                    <a:pt x="178" y="874"/>
                  </a:lnTo>
                  <a:lnTo>
                    <a:pt x="174" y="872"/>
                  </a:lnTo>
                  <a:lnTo>
                    <a:pt x="166" y="868"/>
                  </a:lnTo>
                  <a:lnTo>
                    <a:pt x="162" y="864"/>
                  </a:lnTo>
                  <a:lnTo>
                    <a:pt x="156" y="862"/>
                  </a:lnTo>
                  <a:lnTo>
                    <a:pt x="158" y="856"/>
                  </a:lnTo>
                  <a:lnTo>
                    <a:pt x="154" y="850"/>
                  </a:lnTo>
                  <a:lnTo>
                    <a:pt x="148" y="850"/>
                  </a:lnTo>
                  <a:lnTo>
                    <a:pt x="144" y="846"/>
                  </a:lnTo>
                  <a:lnTo>
                    <a:pt x="140" y="846"/>
                  </a:lnTo>
                  <a:lnTo>
                    <a:pt x="134" y="846"/>
                  </a:lnTo>
                  <a:lnTo>
                    <a:pt x="128" y="846"/>
                  </a:lnTo>
                  <a:lnTo>
                    <a:pt x="130" y="840"/>
                  </a:lnTo>
                  <a:lnTo>
                    <a:pt x="128" y="834"/>
                  </a:lnTo>
                  <a:lnTo>
                    <a:pt x="128" y="828"/>
                  </a:lnTo>
                  <a:lnTo>
                    <a:pt x="126" y="826"/>
                  </a:lnTo>
                  <a:lnTo>
                    <a:pt x="120" y="826"/>
                  </a:lnTo>
                  <a:lnTo>
                    <a:pt x="116" y="826"/>
                  </a:lnTo>
                  <a:lnTo>
                    <a:pt x="110" y="828"/>
                  </a:lnTo>
                  <a:lnTo>
                    <a:pt x="106" y="834"/>
                  </a:lnTo>
                  <a:lnTo>
                    <a:pt x="108" y="840"/>
                  </a:lnTo>
                  <a:lnTo>
                    <a:pt x="108" y="846"/>
                  </a:lnTo>
                  <a:lnTo>
                    <a:pt x="104" y="842"/>
                  </a:lnTo>
                  <a:lnTo>
                    <a:pt x="102" y="836"/>
                  </a:lnTo>
                  <a:lnTo>
                    <a:pt x="98" y="830"/>
                  </a:lnTo>
                  <a:lnTo>
                    <a:pt x="102" y="826"/>
                  </a:lnTo>
                  <a:lnTo>
                    <a:pt x="102" y="820"/>
                  </a:lnTo>
                  <a:lnTo>
                    <a:pt x="104" y="816"/>
                  </a:lnTo>
                  <a:lnTo>
                    <a:pt x="110" y="810"/>
                  </a:lnTo>
                  <a:lnTo>
                    <a:pt x="106" y="804"/>
                  </a:lnTo>
                  <a:lnTo>
                    <a:pt x="106" y="800"/>
                  </a:lnTo>
                  <a:lnTo>
                    <a:pt x="102" y="794"/>
                  </a:lnTo>
                  <a:lnTo>
                    <a:pt x="100" y="788"/>
                  </a:lnTo>
                  <a:lnTo>
                    <a:pt x="98" y="782"/>
                  </a:lnTo>
                  <a:lnTo>
                    <a:pt x="92" y="776"/>
                  </a:lnTo>
                  <a:lnTo>
                    <a:pt x="90" y="770"/>
                  </a:lnTo>
                  <a:lnTo>
                    <a:pt x="86" y="766"/>
                  </a:lnTo>
                  <a:lnTo>
                    <a:pt x="84" y="760"/>
                  </a:lnTo>
                  <a:lnTo>
                    <a:pt x="90" y="766"/>
                  </a:lnTo>
                  <a:lnTo>
                    <a:pt x="84" y="758"/>
                  </a:lnTo>
                  <a:lnTo>
                    <a:pt x="84" y="754"/>
                  </a:lnTo>
                  <a:lnTo>
                    <a:pt x="82" y="752"/>
                  </a:lnTo>
                  <a:lnTo>
                    <a:pt x="76" y="752"/>
                  </a:lnTo>
                  <a:lnTo>
                    <a:pt x="74" y="746"/>
                  </a:lnTo>
                  <a:lnTo>
                    <a:pt x="76" y="744"/>
                  </a:lnTo>
                  <a:lnTo>
                    <a:pt x="78" y="738"/>
                  </a:lnTo>
                  <a:lnTo>
                    <a:pt x="80" y="732"/>
                  </a:lnTo>
                  <a:lnTo>
                    <a:pt x="84" y="736"/>
                  </a:lnTo>
                  <a:lnTo>
                    <a:pt x="90" y="736"/>
                  </a:lnTo>
                  <a:lnTo>
                    <a:pt x="94" y="732"/>
                  </a:lnTo>
                  <a:lnTo>
                    <a:pt x="100" y="728"/>
                  </a:lnTo>
                  <a:lnTo>
                    <a:pt x="102" y="722"/>
                  </a:lnTo>
                  <a:lnTo>
                    <a:pt x="104" y="716"/>
                  </a:lnTo>
                  <a:lnTo>
                    <a:pt x="104" y="710"/>
                  </a:lnTo>
                  <a:lnTo>
                    <a:pt x="104" y="702"/>
                  </a:lnTo>
                  <a:lnTo>
                    <a:pt x="104" y="698"/>
                  </a:lnTo>
                  <a:lnTo>
                    <a:pt x="102" y="694"/>
                  </a:lnTo>
                  <a:lnTo>
                    <a:pt x="102" y="686"/>
                  </a:lnTo>
                  <a:lnTo>
                    <a:pt x="102" y="682"/>
                  </a:lnTo>
                  <a:lnTo>
                    <a:pt x="100" y="678"/>
                  </a:lnTo>
                  <a:lnTo>
                    <a:pt x="98" y="672"/>
                  </a:lnTo>
                  <a:lnTo>
                    <a:pt x="98" y="666"/>
                  </a:lnTo>
                  <a:lnTo>
                    <a:pt x="96" y="660"/>
                  </a:lnTo>
                  <a:lnTo>
                    <a:pt x="92" y="654"/>
                  </a:lnTo>
                  <a:lnTo>
                    <a:pt x="88" y="648"/>
                  </a:lnTo>
                  <a:lnTo>
                    <a:pt x="82" y="642"/>
                  </a:lnTo>
                  <a:lnTo>
                    <a:pt x="80" y="636"/>
                  </a:lnTo>
                  <a:lnTo>
                    <a:pt x="76" y="630"/>
                  </a:lnTo>
                  <a:lnTo>
                    <a:pt x="72" y="624"/>
                  </a:lnTo>
                  <a:lnTo>
                    <a:pt x="70" y="618"/>
                  </a:lnTo>
                  <a:lnTo>
                    <a:pt x="66" y="612"/>
                  </a:lnTo>
                  <a:lnTo>
                    <a:pt x="62" y="606"/>
                  </a:lnTo>
                  <a:lnTo>
                    <a:pt x="62" y="604"/>
                  </a:lnTo>
                  <a:lnTo>
                    <a:pt x="60" y="598"/>
                  </a:lnTo>
                  <a:lnTo>
                    <a:pt x="56" y="592"/>
                  </a:lnTo>
                  <a:lnTo>
                    <a:pt x="54" y="586"/>
                  </a:lnTo>
                  <a:lnTo>
                    <a:pt x="50" y="580"/>
                  </a:lnTo>
                  <a:lnTo>
                    <a:pt x="48" y="574"/>
                  </a:lnTo>
                  <a:lnTo>
                    <a:pt x="44" y="568"/>
                  </a:lnTo>
                  <a:lnTo>
                    <a:pt x="44" y="562"/>
                  </a:lnTo>
                  <a:lnTo>
                    <a:pt x="42" y="556"/>
                  </a:lnTo>
                  <a:lnTo>
                    <a:pt x="40" y="550"/>
                  </a:lnTo>
                  <a:lnTo>
                    <a:pt x="38" y="544"/>
                  </a:lnTo>
                  <a:lnTo>
                    <a:pt x="36" y="540"/>
                  </a:lnTo>
                  <a:lnTo>
                    <a:pt x="34" y="534"/>
                  </a:lnTo>
                  <a:lnTo>
                    <a:pt x="34" y="528"/>
                  </a:lnTo>
                  <a:lnTo>
                    <a:pt x="32" y="522"/>
                  </a:lnTo>
                  <a:lnTo>
                    <a:pt x="30" y="516"/>
                  </a:lnTo>
                  <a:lnTo>
                    <a:pt x="30" y="512"/>
                  </a:lnTo>
                  <a:lnTo>
                    <a:pt x="28" y="506"/>
                  </a:lnTo>
                  <a:lnTo>
                    <a:pt x="26" y="500"/>
                  </a:lnTo>
                  <a:lnTo>
                    <a:pt x="22" y="494"/>
                  </a:lnTo>
                  <a:lnTo>
                    <a:pt x="20" y="488"/>
                  </a:lnTo>
                  <a:lnTo>
                    <a:pt x="20" y="482"/>
                  </a:lnTo>
                  <a:lnTo>
                    <a:pt x="14" y="476"/>
                  </a:lnTo>
                  <a:lnTo>
                    <a:pt x="12" y="470"/>
                  </a:lnTo>
                  <a:lnTo>
                    <a:pt x="6" y="464"/>
                  </a:lnTo>
                  <a:lnTo>
                    <a:pt x="6" y="458"/>
                  </a:lnTo>
                  <a:lnTo>
                    <a:pt x="2" y="452"/>
                  </a:lnTo>
                  <a:lnTo>
                    <a:pt x="0" y="44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1" name="Freeform 239"/>
            <p:cNvSpPr>
              <a:spLocks/>
            </p:cNvSpPr>
            <p:nvPr/>
          </p:nvSpPr>
          <p:spPr bwMode="auto">
            <a:xfrm>
              <a:off x="4960938" y="4275138"/>
              <a:ext cx="273050" cy="304800"/>
            </a:xfrm>
            <a:custGeom>
              <a:avLst/>
              <a:gdLst>
                <a:gd name="T0" fmla="*/ 2147483647 w 670"/>
                <a:gd name="T1" fmla="*/ 2147483647 h 744"/>
                <a:gd name="T2" fmla="*/ 2147483647 w 670"/>
                <a:gd name="T3" fmla="*/ 2147483647 h 744"/>
                <a:gd name="T4" fmla="*/ 2147483647 w 670"/>
                <a:gd name="T5" fmla="*/ 2147483647 h 744"/>
                <a:gd name="T6" fmla="*/ 2147483647 w 670"/>
                <a:gd name="T7" fmla="*/ 2147483647 h 744"/>
                <a:gd name="T8" fmla="*/ 2147483647 w 670"/>
                <a:gd name="T9" fmla="*/ 2147483647 h 744"/>
                <a:gd name="T10" fmla="*/ 2147483647 w 670"/>
                <a:gd name="T11" fmla="*/ 2147483647 h 744"/>
                <a:gd name="T12" fmla="*/ 2147483647 w 670"/>
                <a:gd name="T13" fmla="*/ 2147483647 h 744"/>
                <a:gd name="T14" fmla="*/ 2147483647 w 670"/>
                <a:gd name="T15" fmla="*/ 2147483647 h 744"/>
                <a:gd name="T16" fmla="*/ 2147483647 w 670"/>
                <a:gd name="T17" fmla="*/ 2147483647 h 744"/>
                <a:gd name="T18" fmla="*/ 2147483647 w 670"/>
                <a:gd name="T19" fmla="*/ 2147483647 h 744"/>
                <a:gd name="T20" fmla="*/ 2147483647 w 670"/>
                <a:gd name="T21" fmla="*/ 2147483647 h 744"/>
                <a:gd name="T22" fmla="*/ 2147483647 w 670"/>
                <a:gd name="T23" fmla="*/ 2147483647 h 744"/>
                <a:gd name="T24" fmla="*/ 2147483647 w 670"/>
                <a:gd name="T25" fmla="*/ 2147483647 h 744"/>
                <a:gd name="T26" fmla="*/ 2147483647 w 670"/>
                <a:gd name="T27" fmla="*/ 2147483647 h 744"/>
                <a:gd name="T28" fmla="*/ 2147483647 w 670"/>
                <a:gd name="T29" fmla="*/ 2147483647 h 744"/>
                <a:gd name="T30" fmla="*/ 2147483647 w 670"/>
                <a:gd name="T31" fmla="*/ 2147483647 h 744"/>
                <a:gd name="T32" fmla="*/ 2147483647 w 670"/>
                <a:gd name="T33" fmla="*/ 2147483647 h 744"/>
                <a:gd name="T34" fmla="*/ 2147483647 w 670"/>
                <a:gd name="T35" fmla="*/ 2147483647 h 744"/>
                <a:gd name="T36" fmla="*/ 2147483647 w 670"/>
                <a:gd name="T37" fmla="*/ 2147483647 h 744"/>
                <a:gd name="T38" fmla="*/ 2147483647 w 670"/>
                <a:gd name="T39" fmla="*/ 2147483647 h 744"/>
                <a:gd name="T40" fmla="*/ 2147483647 w 670"/>
                <a:gd name="T41" fmla="*/ 2147483647 h 744"/>
                <a:gd name="T42" fmla="*/ 2147483647 w 670"/>
                <a:gd name="T43" fmla="*/ 2147483647 h 744"/>
                <a:gd name="T44" fmla="*/ 2147483647 w 670"/>
                <a:gd name="T45" fmla="*/ 2147483647 h 744"/>
                <a:gd name="T46" fmla="*/ 2147483647 w 670"/>
                <a:gd name="T47" fmla="*/ 2147483647 h 744"/>
                <a:gd name="T48" fmla="*/ 2147483647 w 670"/>
                <a:gd name="T49" fmla="*/ 2147483647 h 744"/>
                <a:gd name="T50" fmla="*/ 2147483647 w 670"/>
                <a:gd name="T51" fmla="*/ 2147483647 h 744"/>
                <a:gd name="T52" fmla="*/ 2147483647 w 670"/>
                <a:gd name="T53" fmla="*/ 2147483647 h 744"/>
                <a:gd name="T54" fmla="*/ 2147483647 w 670"/>
                <a:gd name="T55" fmla="*/ 2147483647 h 744"/>
                <a:gd name="T56" fmla="*/ 2147483647 w 670"/>
                <a:gd name="T57" fmla="*/ 2147483647 h 744"/>
                <a:gd name="T58" fmla="*/ 2147483647 w 670"/>
                <a:gd name="T59" fmla="*/ 2147483647 h 744"/>
                <a:gd name="T60" fmla="*/ 2147483647 w 670"/>
                <a:gd name="T61" fmla="*/ 2147483647 h 744"/>
                <a:gd name="T62" fmla="*/ 2147483647 w 670"/>
                <a:gd name="T63" fmla="*/ 2147483647 h 744"/>
                <a:gd name="T64" fmla="*/ 2147483647 w 670"/>
                <a:gd name="T65" fmla="*/ 2147483647 h 744"/>
                <a:gd name="T66" fmla="*/ 2147483647 w 670"/>
                <a:gd name="T67" fmla="*/ 2147483647 h 744"/>
                <a:gd name="T68" fmla="*/ 2147483647 w 670"/>
                <a:gd name="T69" fmla="*/ 2147483647 h 744"/>
                <a:gd name="T70" fmla="*/ 2147483647 w 670"/>
                <a:gd name="T71" fmla="*/ 2147483647 h 744"/>
                <a:gd name="T72" fmla="*/ 2147483647 w 670"/>
                <a:gd name="T73" fmla="*/ 2147483647 h 744"/>
                <a:gd name="T74" fmla="*/ 2147483647 w 670"/>
                <a:gd name="T75" fmla="*/ 2147483647 h 744"/>
                <a:gd name="T76" fmla="*/ 2147483647 w 670"/>
                <a:gd name="T77" fmla="*/ 2147483647 h 744"/>
                <a:gd name="T78" fmla="*/ 2147483647 w 670"/>
                <a:gd name="T79" fmla="*/ 2147483647 h 744"/>
                <a:gd name="T80" fmla="*/ 2147483647 w 670"/>
                <a:gd name="T81" fmla="*/ 2147483647 h 744"/>
                <a:gd name="T82" fmla="*/ 2147483647 w 670"/>
                <a:gd name="T83" fmla="*/ 2147483647 h 744"/>
                <a:gd name="T84" fmla="*/ 2147483647 w 670"/>
                <a:gd name="T85" fmla="*/ 2147483647 h 744"/>
                <a:gd name="T86" fmla="*/ 2147483647 w 670"/>
                <a:gd name="T87" fmla="*/ 2147483647 h 744"/>
                <a:gd name="T88" fmla="*/ 2147483647 w 670"/>
                <a:gd name="T89" fmla="*/ 2147483647 h 744"/>
                <a:gd name="T90" fmla="*/ 2147483647 w 670"/>
                <a:gd name="T91" fmla="*/ 2147483647 h 744"/>
                <a:gd name="T92" fmla="*/ 2147483647 w 670"/>
                <a:gd name="T93" fmla="*/ 2147483647 h 744"/>
                <a:gd name="T94" fmla="*/ 2147483647 w 670"/>
                <a:gd name="T95" fmla="*/ 2147483647 h 744"/>
                <a:gd name="T96" fmla="*/ 2147483647 w 670"/>
                <a:gd name="T97" fmla="*/ 2147483647 h 744"/>
                <a:gd name="T98" fmla="*/ 2147483647 w 670"/>
                <a:gd name="T99" fmla="*/ 2147483647 h 744"/>
                <a:gd name="T100" fmla="*/ 2147483647 w 670"/>
                <a:gd name="T101" fmla="*/ 2147483647 h 744"/>
                <a:gd name="T102" fmla="*/ 2147483647 w 670"/>
                <a:gd name="T103" fmla="*/ 2147483647 h 744"/>
                <a:gd name="T104" fmla="*/ 2147483647 w 670"/>
                <a:gd name="T105" fmla="*/ 2147483647 h 744"/>
                <a:gd name="T106" fmla="*/ 2147483647 w 670"/>
                <a:gd name="T107" fmla="*/ 2147483647 h 744"/>
                <a:gd name="T108" fmla="*/ 2147483647 w 670"/>
                <a:gd name="T109" fmla="*/ 2147483647 h 744"/>
                <a:gd name="T110" fmla="*/ 2147483647 w 670"/>
                <a:gd name="T111" fmla="*/ 2147483647 h 74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70"/>
                <a:gd name="T169" fmla="*/ 0 h 744"/>
                <a:gd name="T170" fmla="*/ 670 w 670"/>
                <a:gd name="T171" fmla="*/ 744 h 74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70" h="744">
                  <a:moveTo>
                    <a:pt x="0" y="278"/>
                  </a:moveTo>
                  <a:lnTo>
                    <a:pt x="0" y="276"/>
                  </a:lnTo>
                  <a:lnTo>
                    <a:pt x="0" y="270"/>
                  </a:lnTo>
                  <a:lnTo>
                    <a:pt x="0" y="264"/>
                  </a:lnTo>
                  <a:lnTo>
                    <a:pt x="0" y="258"/>
                  </a:lnTo>
                  <a:lnTo>
                    <a:pt x="4" y="252"/>
                  </a:lnTo>
                  <a:lnTo>
                    <a:pt x="4" y="246"/>
                  </a:lnTo>
                  <a:lnTo>
                    <a:pt x="4" y="240"/>
                  </a:lnTo>
                  <a:lnTo>
                    <a:pt x="8" y="240"/>
                  </a:lnTo>
                  <a:lnTo>
                    <a:pt x="14" y="240"/>
                  </a:lnTo>
                  <a:lnTo>
                    <a:pt x="18" y="240"/>
                  </a:lnTo>
                  <a:lnTo>
                    <a:pt x="20" y="240"/>
                  </a:lnTo>
                  <a:lnTo>
                    <a:pt x="26" y="240"/>
                  </a:lnTo>
                  <a:lnTo>
                    <a:pt x="26" y="236"/>
                  </a:lnTo>
                  <a:lnTo>
                    <a:pt x="32" y="234"/>
                  </a:lnTo>
                  <a:lnTo>
                    <a:pt x="38" y="230"/>
                  </a:lnTo>
                  <a:lnTo>
                    <a:pt x="40" y="228"/>
                  </a:lnTo>
                  <a:lnTo>
                    <a:pt x="42" y="222"/>
                  </a:lnTo>
                  <a:lnTo>
                    <a:pt x="48" y="216"/>
                  </a:lnTo>
                  <a:lnTo>
                    <a:pt x="52" y="210"/>
                  </a:lnTo>
                  <a:lnTo>
                    <a:pt x="54" y="204"/>
                  </a:lnTo>
                  <a:lnTo>
                    <a:pt x="58" y="198"/>
                  </a:lnTo>
                  <a:lnTo>
                    <a:pt x="62" y="194"/>
                  </a:lnTo>
                  <a:lnTo>
                    <a:pt x="64" y="194"/>
                  </a:lnTo>
                  <a:lnTo>
                    <a:pt x="64" y="188"/>
                  </a:lnTo>
                  <a:lnTo>
                    <a:pt x="66" y="184"/>
                  </a:lnTo>
                  <a:lnTo>
                    <a:pt x="68" y="178"/>
                  </a:lnTo>
                  <a:lnTo>
                    <a:pt x="72" y="174"/>
                  </a:lnTo>
                  <a:lnTo>
                    <a:pt x="78" y="172"/>
                  </a:lnTo>
                  <a:lnTo>
                    <a:pt x="78" y="164"/>
                  </a:lnTo>
                  <a:lnTo>
                    <a:pt x="84" y="160"/>
                  </a:lnTo>
                  <a:lnTo>
                    <a:pt x="88" y="160"/>
                  </a:lnTo>
                  <a:lnTo>
                    <a:pt x="92" y="154"/>
                  </a:lnTo>
                  <a:lnTo>
                    <a:pt x="92" y="148"/>
                  </a:lnTo>
                  <a:lnTo>
                    <a:pt x="90" y="142"/>
                  </a:lnTo>
                  <a:lnTo>
                    <a:pt x="92" y="138"/>
                  </a:lnTo>
                  <a:lnTo>
                    <a:pt x="88" y="138"/>
                  </a:lnTo>
                  <a:lnTo>
                    <a:pt x="82" y="138"/>
                  </a:lnTo>
                  <a:lnTo>
                    <a:pt x="76" y="134"/>
                  </a:lnTo>
                  <a:lnTo>
                    <a:pt x="70" y="136"/>
                  </a:lnTo>
                  <a:lnTo>
                    <a:pt x="66" y="130"/>
                  </a:lnTo>
                  <a:lnTo>
                    <a:pt x="68" y="124"/>
                  </a:lnTo>
                  <a:lnTo>
                    <a:pt x="70" y="118"/>
                  </a:lnTo>
                  <a:lnTo>
                    <a:pt x="72" y="116"/>
                  </a:lnTo>
                  <a:lnTo>
                    <a:pt x="66" y="116"/>
                  </a:lnTo>
                  <a:lnTo>
                    <a:pt x="70" y="110"/>
                  </a:lnTo>
                  <a:lnTo>
                    <a:pt x="72" y="104"/>
                  </a:lnTo>
                  <a:lnTo>
                    <a:pt x="76" y="98"/>
                  </a:lnTo>
                  <a:lnTo>
                    <a:pt x="82" y="96"/>
                  </a:lnTo>
                  <a:lnTo>
                    <a:pt x="88" y="96"/>
                  </a:lnTo>
                  <a:lnTo>
                    <a:pt x="90" y="96"/>
                  </a:lnTo>
                  <a:lnTo>
                    <a:pt x="92" y="90"/>
                  </a:lnTo>
                  <a:lnTo>
                    <a:pt x="92" y="84"/>
                  </a:lnTo>
                  <a:lnTo>
                    <a:pt x="94" y="78"/>
                  </a:lnTo>
                  <a:lnTo>
                    <a:pt x="94" y="74"/>
                  </a:lnTo>
                  <a:lnTo>
                    <a:pt x="92" y="68"/>
                  </a:lnTo>
                  <a:lnTo>
                    <a:pt x="90" y="66"/>
                  </a:lnTo>
                  <a:lnTo>
                    <a:pt x="90" y="64"/>
                  </a:lnTo>
                  <a:lnTo>
                    <a:pt x="92" y="58"/>
                  </a:lnTo>
                  <a:lnTo>
                    <a:pt x="92" y="54"/>
                  </a:lnTo>
                  <a:lnTo>
                    <a:pt x="92" y="48"/>
                  </a:lnTo>
                  <a:lnTo>
                    <a:pt x="92" y="46"/>
                  </a:lnTo>
                  <a:lnTo>
                    <a:pt x="90" y="42"/>
                  </a:lnTo>
                  <a:lnTo>
                    <a:pt x="88" y="40"/>
                  </a:lnTo>
                  <a:lnTo>
                    <a:pt x="86" y="36"/>
                  </a:lnTo>
                  <a:lnTo>
                    <a:pt x="86" y="32"/>
                  </a:lnTo>
                  <a:lnTo>
                    <a:pt x="82" y="28"/>
                  </a:lnTo>
                  <a:lnTo>
                    <a:pt x="80" y="28"/>
                  </a:lnTo>
                  <a:lnTo>
                    <a:pt x="74" y="20"/>
                  </a:lnTo>
                  <a:lnTo>
                    <a:pt x="72" y="16"/>
                  </a:lnTo>
                  <a:lnTo>
                    <a:pt x="70" y="10"/>
                  </a:lnTo>
                  <a:lnTo>
                    <a:pt x="70" y="6"/>
                  </a:lnTo>
                  <a:lnTo>
                    <a:pt x="76" y="6"/>
                  </a:lnTo>
                  <a:lnTo>
                    <a:pt x="82" y="4"/>
                  </a:lnTo>
                  <a:lnTo>
                    <a:pt x="88" y="0"/>
                  </a:lnTo>
                  <a:lnTo>
                    <a:pt x="90" y="2"/>
                  </a:lnTo>
                  <a:lnTo>
                    <a:pt x="98" y="2"/>
                  </a:lnTo>
                  <a:lnTo>
                    <a:pt x="104" y="2"/>
                  </a:lnTo>
                  <a:lnTo>
                    <a:pt x="110" y="2"/>
                  </a:lnTo>
                  <a:lnTo>
                    <a:pt x="118" y="2"/>
                  </a:lnTo>
                  <a:lnTo>
                    <a:pt x="128" y="2"/>
                  </a:lnTo>
                  <a:lnTo>
                    <a:pt x="136" y="2"/>
                  </a:lnTo>
                  <a:lnTo>
                    <a:pt x="142" y="2"/>
                  </a:lnTo>
                  <a:lnTo>
                    <a:pt x="148" y="2"/>
                  </a:lnTo>
                  <a:lnTo>
                    <a:pt x="150" y="2"/>
                  </a:lnTo>
                  <a:lnTo>
                    <a:pt x="152" y="2"/>
                  </a:lnTo>
                  <a:lnTo>
                    <a:pt x="154" y="2"/>
                  </a:lnTo>
                  <a:lnTo>
                    <a:pt x="160" y="2"/>
                  </a:lnTo>
                  <a:lnTo>
                    <a:pt x="164" y="2"/>
                  </a:lnTo>
                  <a:lnTo>
                    <a:pt x="170" y="2"/>
                  </a:lnTo>
                  <a:lnTo>
                    <a:pt x="176" y="2"/>
                  </a:lnTo>
                  <a:lnTo>
                    <a:pt x="182" y="2"/>
                  </a:lnTo>
                  <a:lnTo>
                    <a:pt x="188" y="2"/>
                  </a:lnTo>
                  <a:lnTo>
                    <a:pt x="194" y="2"/>
                  </a:lnTo>
                  <a:lnTo>
                    <a:pt x="200" y="2"/>
                  </a:lnTo>
                  <a:lnTo>
                    <a:pt x="204" y="2"/>
                  </a:lnTo>
                  <a:lnTo>
                    <a:pt x="208" y="2"/>
                  </a:lnTo>
                  <a:lnTo>
                    <a:pt x="214" y="2"/>
                  </a:lnTo>
                  <a:lnTo>
                    <a:pt x="218" y="2"/>
                  </a:lnTo>
                  <a:lnTo>
                    <a:pt x="224" y="2"/>
                  </a:lnTo>
                  <a:lnTo>
                    <a:pt x="230" y="2"/>
                  </a:lnTo>
                  <a:lnTo>
                    <a:pt x="236" y="2"/>
                  </a:lnTo>
                  <a:lnTo>
                    <a:pt x="242" y="2"/>
                  </a:lnTo>
                  <a:lnTo>
                    <a:pt x="248" y="2"/>
                  </a:lnTo>
                  <a:lnTo>
                    <a:pt x="250" y="2"/>
                  </a:lnTo>
                  <a:lnTo>
                    <a:pt x="258" y="2"/>
                  </a:lnTo>
                  <a:lnTo>
                    <a:pt x="264" y="2"/>
                  </a:lnTo>
                  <a:lnTo>
                    <a:pt x="272" y="2"/>
                  </a:lnTo>
                  <a:lnTo>
                    <a:pt x="278" y="2"/>
                  </a:lnTo>
                  <a:lnTo>
                    <a:pt x="280" y="2"/>
                  </a:lnTo>
                  <a:lnTo>
                    <a:pt x="286" y="2"/>
                  </a:lnTo>
                  <a:lnTo>
                    <a:pt x="290" y="4"/>
                  </a:lnTo>
                  <a:lnTo>
                    <a:pt x="296" y="6"/>
                  </a:lnTo>
                  <a:lnTo>
                    <a:pt x="302" y="10"/>
                  </a:lnTo>
                  <a:lnTo>
                    <a:pt x="308" y="14"/>
                  </a:lnTo>
                  <a:lnTo>
                    <a:pt x="314" y="18"/>
                  </a:lnTo>
                  <a:lnTo>
                    <a:pt x="320" y="22"/>
                  </a:lnTo>
                  <a:lnTo>
                    <a:pt x="326" y="26"/>
                  </a:lnTo>
                  <a:lnTo>
                    <a:pt x="330" y="28"/>
                  </a:lnTo>
                  <a:lnTo>
                    <a:pt x="336" y="32"/>
                  </a:lnTo>
                  <a:lnTo>
                    <a:pt x="342" y="36"/>
                  </a:lnTo>
                  <a:lnTo>
                    <a:pt x="346" y="40"/>
                  </a:lnTo>
                  <a:lnTo>
                    <a:pt x="352" y="44"/>
                  </a:lnTo>
                  <a:lnTo>
                    <a:pt x="358" y="48"/>
                  </a:lnTo>
                  <a:lnTo>
                    <a:pt x="362" y="50"/>
                  </a:lnTo>
                  <a:lnTo>
                    <a:pt x="370" y="54"/>
                  </a:lnTo>
                  <a:lnTo>
                    <a:pt x="374" y="58"/>
                  </a:lnTo>
                  <a:lnTo>
                    <a:pt x="380" y="62"/>
                  </a:lnTo>
                  <a:lnTo>
                    <a:pt x="386" y="66"/>
                  </a:lnTo>
                  <a:lnTo>
                    <a:pt x="392" y="68"/>
                  </a:lnTo>
                  <a:lnTo>
                    <a:pt x="398" y="72"/>
                  </a:lnTo>
                  <a:lnTo>
                    <a:pt x="404" y="76"/>
                  </a:lnTo>
                  <a:lnTo>
                    <a:pt x="408" y="78"/>
                  </a:lnTo>
                  <a:lnTo>
                    <a:pt x="410" y="80"/>
                  </a:lnTo>
                  <a:lnTo>
                    <a:pt x="412" y="80"/>
                  </a:lnTo>
                  <a:lnTo>
                    <a:pt x="418" y="84"/>
                  </a:lnTo>
                  <a:lnTo>
                    <a:pt x="424" y="88"/>
                  </a:lnTo>
                  <a:lnTo>
                    <a:pt x="430" y="92"/>
                  </a:lnTo>
                  <a:lnTo>
                    <a:pt x="436" y="96"/>
                  </a:lnTo>
                  <a:lnTo>
                    <a:pt x="442" y="100"/>
                  </a:lnTo>
                  <a:lnTo>
                    <a:pt x="448" y="104"/>
                  </a:lnTo>
                  <a:lnTo>
                    <a:pt x="454" y="108"/>
                  </a:lnTo>
                  <a:lnTo>
                    <a:pt x="462" y="112"/>
                  </a:lnTo>
                  <a:lnTo>
                    <a:pt x="466" y="116"/>
                  </a:lnTo>
                  <a:lnTo>
                    <a:pt x="470" y="118"/>
                  </a:lnTo>
                  <a:lnTo>
                    <a:pt x="476" y="122"/>
                  </a:lnTo>
                  <a:lnTo>
                    <a:pt x="482" y="126"/>
                  </a:lnTo>
                  <a:lnTo>
                    <a:pt x="488" y="130"/>
                  </a:lnTo>
                  <a:lnTo>
                    <a:pt x="494" y="132"/>
                  </a:lnTo>
                  <a:lnTo>
                    <a:pt x="500" y="136"/>
                  </a:lnTo>
                  <a:lnTo>
                    <a:pt x="506" y="140"/>
                  </a:lnTo>
                  <a:lnTo>
                    <a:pt x="508" y="142"/>
                  </a:lnTo>
                  <a:lnTo>
                    <a:pt x="510" y="148"/>
                  </a:lnTo>
                  <a:lnTo>
                    <a:pt x="510" y="152"/>
                  </a:lnTo>
                  <a:lnTo>
                    <a:pt x="512" y="160"/>
                  </a:lnTo>
                  <a:lnTo>
                    <a:pt x="510" y="162"/>
                  </a:lnTo>
                  <a:lnTo>
                    <a:pt x="508" y="164"/>
                  </a:lnTo>
                  <a:lnTo>
                    <a:pt x="504" y="170"/>
                  </a:lnTo>
                  <a:lnTo>
                    <a:pt x="506" y="176"/>
                  </a:lnTo>
                  <a:lnTo>
                    <a:pt x="512" y="176"/>
                  </a:lnTo>
                  <a:lnTo>
                    <a:pt x="514" y="176"/>
                  </a:lnTo>
                  <a:lnTo>
                    <a:pt x="514" y="182"/>
                  </a:lnTo>
                  <a:lnTo>
                    <a:pt x="516" y="184"/>
                  </a:lnTo>
                  <a:lnTo>
                    <a:pt x="522" y="190"/>
                  </a:lnTo>
                  <a:lnTo>
                    <a:pt x="528" y="194"/>
                  </a:lnTo>
                  <a:lnTo>
                    <a:pt x="534" y="200"/>
                  </a:lnTo>
                  <a:lnTo>
                    <a:pt x="540" y="204"/>
                  </a:lnTo>
                  <a:lnTo>
                    <a:pt x="546" y="210"/>
                  </a:lnTo>
                  <a:lnTo>
                    <a:pt x="552" y="214"/>
                  </a:lnTo>
                  <a:lnTo>
                    <a:pt x="558" y="218"/>
                  </a:lnTo>
                  <a:lnTo>
                    <a:pt x="558" y="220"/>
                  </a:lnTo>
                  <a:lnTo>
                    <a:pt x="564" y="224"/>
                  </a:lnTo>
                  <a:lnTo>
                    <a:pt x="570" y="228"/>
                  </a:lnTo>
                  <a:lnTo>
                    <a:pt x="576" y="234"/>
                  </a:lnTo>
                  <a:lnTo>
                    <a:pt x="582" y="238"/>
                  </a:lnTo>
                  <a:lnTo>
                    <a:pt x="588" y="244"/>
                  </a:lnTo>
                  <a:lnTo>
                    <a:pt x="594" y="248"/>
                  </a:lnTo>
                  <a:lnTo>
                    <a:pt x="596" y="250"/>
                  </a:lnTo>
                  <a:lnTo>
                    <a:pt x="602" y="256"/>
                  </a:lnTo>
                  <a:lnTo>
                    <a:pt x="602" y="260"/>
                  </a:lnTo>
                  <a:lnTo>
                    <a:pt x="602" y="266"/>
                  </a:lnTo>
                  <a:lnTo>
                    <a:pt x="598" y="272"/>
                  </a:lnTo>
                  <a:lnTo>
                    <a:pt x="596" y="278"/>
                  </a:lnTo>
                  <a:lnTo>
                    <a:pt x="596" y="282"/>
                  </a:lnTo>
                  <a:lnTo>
                    <a:pt x="594" y="288"/>
                  </a:lnTo>
                  <a:lnTo>
                    <a:pt x="594" y="294"/>
                  </a:lnTo>
                  <a:lnTo>
                    <a:pt x="592" y="300"/>
                  </a:lnTo>
                  <a:lnTo>
                    <a:pt x="588" y="308"/>
                  </a:lnTo>
                  <a:lnTo>
                    <a:pt x="586" y="314"/>
                  </a:lnTo>
                  <a:lnTo>
                    <a:pt x="584" y="320"/>
                  </a:lnTo>
                  <a:lnTo>
                    <a:pt x="582" y="326"/>
                  </a:lnTo>
                  <a:lnTo>
                    <a:pt x="580" y="332"/>
                  </a:lnTo>
                  <a:lnTo>
                    <a:pt x="578" y="338"/>
                  </a:lnTo>
                  <a:lnTo>
                    <a:pt x="576" y="344"/>
                  </a:lnTo>
                  <a:lnTo>
                    <a:pt x="574" y="348"/>
                  </a:lnTo>
                  <a:lnTo>
                    <a:pt x="576" y="352"/>
                  </a:lnTo>
                  <a:lnTo>
                    <a:pt x="578" y="358"/>
                  </a:lnTo>
                  <a:lnTo>
                    <a:pt x="580" y="360"/>
                  </a:lnTo>
                  <a:lnTo>
                    <a:pt x="578" y="366"/>
                  </a:lnTo>
                  <a:lnTo>
                    <a:pt x="580" y="372"/>
                  </a:lnTo>
                  <a:lnTo>
                    <a:pt x="580" y="374"/>
                  </a:lnTo>
                  <a:lnTo>
                    <a:pt x="586" y="380"/>
                  </a:lnTo>
                  <a:lnTo>
                    <a:pt x="592" y="382"/>
                  </a:lnTo>
                  <a:lnTo>
                    <a:pt x="598" y="388"/>
                  </a:lnTo>
                  <a:lnTo>
                    <a:pt x="602" y="394"/>
                  </a:lnTo>
                  <a:lnTo>
                    <a:pt x="604" y="400"/>
                  </a:lnTo>
                  <a:lnTo>
                    <a:pt x="604" y="406"/>
                  </a:lnTo>
                  <a:lnTo>
                    <a:pt x="610" y="406"/>
                  </a:lnTo>
                  <a:lnTo>
                    <a:pt x="618" y="410"/>
                  </a:lnTo>
                  <a:lnTo>
                    <a:pt x="620" y="416"/>
                  </a:lnTo>
                  <a:lnTo>
                    <a:pt x="620" y="420"/>
                  </a:lnTo>
                  <a:lnTo>
                    <a:pt x="618" y="426"/>
                  </a:lnTo>
                  <a:lnTo>
                    <a:pt x="612" y="430"/>
                  </a:lnTo>
                  <a:lnTo>
                    <a:pt x="610" y="436"/>
                  </a:lnTo>
                  <a:lnTo>
                    <a:pt x="608" y="442"/>
                  </a:lnTo>
                  <a:lnTo>
                    <a:pt x="604" y="448"/>
                  </a:lnTo>
                  <a:lnTo>
                    <a:pt x="604" y="456"/>
                  </a:lnTo>
                  <a:lnTo>
                    <a:pt x="604" y="462"/>
                  </a:lnTo>
                  <a:lnTo>
                    <a:pt x="604" y="468"/>
                  </a:lnTo>
                  <a:lnTo>
                    <a:pt x="602" y="474"/>
                  </a:lnTo>
                  <a:lnTo>
                    <a:pt x="606" y="470"/>
                  </a:lnTo>
                  <a:lnTo>
                    <a:pt x="608" y="470"/>
                  </a:lnTo>
                  <a:lnTo>
                    <a:pt x="612" y="472"/>
                  </a:lnTo>
                  <a:lnTo>
                    <a:pt x="614" y="474"/>
                  </a:lnTo>
                  <a:lnTo>
                    <a:pt x="612" y="480"/>
                  </a:lnTo>
                  <a:lnTo>
                    <a:pt x="612" y="486"/>
                  </a:lnTo>
                  <a:lnTo>
                    <a:pt x="614" y="486"/>
                  </a:lnTo>
                  <a:lnTo>
                    <a:pt x="610" y="492"/>
                  </a:lnTo>
                  <a:lnTo>
                    <a:pt x="608" y="498"/>
                  </a:lnTo>
                  <a:lnTo>
                    <a:pt x="604" y="504"/>
                  </a:lnTo>
                  <a:lnTo>
                    <a:pt x="602" y="508"/>
                  </a:lnTo>
                  <a:lnTo>
                    <a:pt x="604" y="514"/>
                  </a:lnTo>
                  <a:lnTo>
                    <a:pt x="604" y="520"/>
                  </a:lnTo>
                  <a:lnTo>
                    <a:pt x="606" y="528"/>
                  </a:lnTo>
                  <a:lnTo>
                    <a:pt x="606" y="532"/>
                  </a:lnTo>
                  <a:lnTo>
                    <a:pt x="606" y="536"/>
                  </a:lnTo>
                  <a:lnTo>
                    <a:pt x="612" y="540"/>
                  </a:lnTo>
                  <a:lnTo>
                    <a:pt x="614" y="548"/>
                  </a:lnTo>
                  <a:lnTo>
                    <a:pt x="608" y="548"/>
                  </a:lnTo>
                  <a:lnTo>
                    <a:pt x="614" y="552"/>
                  </a:lnTo>
                  <a:lnTo>
                    <a:pt x="614" y="558"/>
                  </a:lnTo>
                  <a:lnTo>
                    <a:pt x="614" y="564"/>
                  </a:lnTo>
                  <a:lnTo>
                    <a:pt x="620" y="564"/>
                  </a:lnTo>
                  <a:lnTo>
                    <a:pt x="624" y="570"/>
                  </a:lnTo>
                  <a:lnTo>
                    <a:pt x="624" y="576"/>
                  </a:lnTo>
                  <a:lnTo>
                    <a:pt x="618" y="582"/>
                  </a:lnTo>
                  <a:lnTo>
                    <a:pt x="624" y="588"/>
                  </a:lnTo>
                  <a:lnTo>
                    <a:pt x="626" y="594"/>
                  </a:lnTo>
                  <a:lnTo>
                    <a:pt x="628" y="600"/>
                  </a:lnTo>
                  <a:lnTo>
                    <a:pt x="626" y="606"/>
                  </a:lnTo>
                  <a:lnTo>
                    <a:pt x="632" y="612"/>
                  </a:lnTo>
                  <a:lnTo>
                    <a:pt x="632" y="618"/>
                  </a:lnTo>
                  <a:lnTo>
                    <a:pt x="628" y="624"/>
                  </a:lnTo>
                  <a:lnTo>
                    <a:pt x="634" y="624"/>
                  </a:lnTo>
                  <a:lnTo>
                    <a:pt x="638" y="626"/>
                  </a:lnTo>
                  <a:lnTo>
                    <a:pt x="642" y="632"/>
                  </a:lnTo>
                  <a:lnTo>
                    <a:pt x="642" y="638"/>
                  </a:lnTo>
                  <a:lnTo>
                    <a:pt x="644" y="638"/>
                  </a:lnTo>
                  <a:lnTo>
                    <a:pt x="644" y="632"/>
                  </a:lnTo>
                  <a:lnTo>
                    <a:pt x="646" y="634"/>
                  </a:lnTo>
                  <a:lnTo>
                    <a:pt x="652" y="636"/>
                  </a:lnTo>
                  <a:lnTo>
                    <a:pt x="656" y="642"/>
                  </a:lnTo>
                  <a:lnTo>
                    <a:pt x="662" y="642"/>
                  </a:lnTo>
                  <a:lnTo>
                    <a:pt x="664" y="648"/>
                  </a:lnTo>
                  <a:lnTo>
                    <a:pt x="670" y="646"/>
                  </a:lnTo>
                  <a:lnTo>
                    <a:pt x="670" y="652"/>
                  </a:lnTo>
                  <a:lnTo>
                    <a:pt x="670" y="658"/>
                  </a:lnTo>
                  <a:lnTo>
                    <a:pt x="666" y="662"/>
                  </a:lnTo>
                  <a:lnTo>
                    <a:pt x="660" y="664"/>
                  </a:lnTo>
                  <a:lnTo>
                    <a:pt x="654" y="670"/>
                  </a:lnTo>
                  <a:lnTo>
                    <a:pt x="648" y="674"/>
                  </a:lnTo>
                  <a:lnTo>
                    <a:pt x="642" y="680"/>
                  </a:lnTo>
                  <a:lnTo>
                    <a:pt x="640" y="680"/>
                  </a:lnTo>
                  <a:lnTo>
                    <a:pt x="632" y="684"/>
                  </a:lnTo>
                  <a:lnTo>
                    <a:pt x="628" y="688"/>
                  </a:lnTo>
                  <a:lnTo>
                    <a:pt x="620" y="690"/>
                  </a:lnTo>
                  <a:lnTo>
                    <a:pt x="614" y="692"/>
                  </a:lnTo>
                  <a:lnTo>
                    <a:pt x="610" y="696"/>
                  </a:lnTo>
                  <a:lnTo>
                    <a:pt x="604" y="700"/>
                  </a:lnTo>
                  <a:lnTo>
                    <a:pt x="598" y="706"/>
                  </a:lnTo>
                  <a:lnTo>
                    <a:pt x="592" y="704"/>
                  </a:lnTo>
                  <a:lnTo>
                    <a:pt x="586" y="704"/>
                  </a:lnTo>
                  <a:lnTo>
                    <a:pt x="580" y="706"/>
                  </a:lnTo>
                  <a:lnTo>
                    <a:pt x="574" y="706"/>
                  </a:lnTo>
                  <a:lnTo>
                    <a:pt x="568" y="710"/>
                  </a:lnTo>
                  <a:lnTo>
                    <a:pt x="562" y="712"/>
                  </a:lnTo>
                  <a:lnTo>
                    <a:pt x="556" y="716"/>
                  </a:lnTo>
                  <a:lnTo>
                    <a:pt x="550" y="722"/>
                  </a:lnTo>
                  <a:lnTo>
                    <a:pt x="544" y="720"/>
                  </a:lnTo>
                  <a:lnTo>
                    <a:pt x="538" y="714"/>
                  </a:lnTo>
                  <a:lnTo>
                    <a:pt x="532" y="712"/>
                  </a:lnTo>
                  <a:lnTo>
                    <a:pt x="526" y="710"/>
                  </a:lnTo>
                  <a:lnTo>
                    <a:pt x="524" y="712"/>
                  </a:lnTo>
                  <a:lnTo>
                    <a:pt x="518" y="712"/>
                  </a:lnTo>
                  <a:lnTo>
                    <a:pt x="514" y="716"/>
                  </a:lnTo>
                  <a:lnTo>
                    <a:pt x="510" y="722"/>
                  </a:lnTo>
                  <a:lnTo>
                    <a:pt x="508" y="728"/>
                  </a:lnTo>
                  <a:lnTo>
                    <a:pt x="504" y="734"/>
                  </a:lnTo>
                  <a:lnTo>
                    <a:pt x="498" y="738"/>
                  </a:lnTo>
                  <a:lnTo>
                    <a:pt x="492" y="738"/>
                  </a:lnTo>
                  <a:lnTo>
                    <a:pt x="488" y="744"/>
                  </a:lnTo>
                  <a:lnTo>
                    <a:pt x="484" y="744"/>
                  </a:lnTo>
                  <a:lnTo>
                    <a:pt x="478" y="742"/>
                  </a:lnTo>
                  <a:lnTo>
                    <a:pt x="472" y="740"/>
                  </a:lnTo>
                  <a:lnTo>
                    <a:pt x="466" y="740"/>
                  </a:lnTo>
                  <a:lnTo>
                    <a:pt x="460" y="734"/>
                  </a:lnTo>
                  <a:lnTo>
                    <a:pt x="454" y="734"/>
                  </a:lnTo>
                  <a:lnTo>
                    <a:pt x="448" y="734"/>
                  </a:lnTo>
                  <a:lnTo>
                    <a:pt x="444" y="740"/>
                  </a:lnTo>
                  <a:lnTo>
                    <a:pt x="438" y="744"/>
                  </a:lnTo>
                  <a:lnTo>
                    <a:pt x="432" y="744"/>
                  </a:lnTo>
                  <a:lnTo>
                    <a:pt x="426" y="740"/>
                  </a:lnTo>
                  <a:lnTo>
                    <a:pt x="420" y="742"/>
                  </a:lnTo>
                  <a:lnTo>
                    <a:pt x="414" y="742"/>
                  </a:lnTo>
                  <a:lnTo>
                    <a:pt x="408" y="736"/>
                  </a:lnTo>
                  <a:lnTo>
                    <a:pt x="404" y="730"/>
                  </a:lnTo>
                  <a:lnTo>
                    <a:pt x="398" y="728"/>
                  </a:lnTo>
                  <a:lnTo>
                    <a:pt x="392" y="722"/>
                  </a:lnTo>
                  <a:lnTo>
                    <a:pt x="386" y="724"/>
                  </a:lnTo>
                  <a:lnTo>
                    <a:pt x="380" y="728"/>
                  </a:lnTo>
                  <a:lnTo>
                    <a:pt x="374" y="734"/>
                  </a:lnTo>
                  <a:lnTo>
                    <a:pt x="368" y="734"/>
                  </a:lnTo>
                  <a:lnTo>
                    <a:pt x="362" y="734"/>
                  </a:lnTo>
                  <a:lnTo>
                    <a:pt x="356" y="734"/>
                  </a:lnTo>
                  <a:lnTo>
                    <a:pt x="350" y="734"/>
                  </a:lnTo>
                  <a:lnTo>
                    <a:pt x="344" y="732"/>
                  </a:lnTo>
                  <a:lnTo>
                    <a:pt x="338" y="732"/>
                  </a:lnTo>
                  <a:lnTo>
                    <a:pt x="336" y="732"/>
                  </a:lnTo>
                  <a:lnTo>
                    <a:pt x="336" y="726"/>
                  </a:lnTo>
                  <a:lnTo>
                    <a:pt x="332" y="722"/>
                  </a:lnTo>
                  <a:lnTo>
                    <a:pt x="326" y="716"/>
                  </a:lnTo>
                  <a:lnTo>
                    <a:pt x="322" y="710"/>
                  </a:lnTo>
                  <a:lnTo>
                    <a:pt x="318" y="704"/>
                  </a:lnTo>
                  <a:lnTo>
                    <a:pt x="314" y="698"/>
                  </a:lnTo>
                  <a:lnTo>
                    <a:pt x="314" y="692"/>
                  </a:lnTo>
                  <a:lnTo>
                    <a:pt x="318" y="686"/>
                  </a:lnTo>
                  <a:lnTo>
                    <a:pt x="318" y="680"/>
                  </a:lnTo>
                  <a:lnTo>
                    <a:pt x="318" y="674"/>
                  </a:lnTo>
                  <a:lnTo>
                    <a:pt x="318" y="668"/>
                  </a:lnTo>
                  <a:lnTo>
                    <a:pt x="314" y="664"/>
                  </a:lnTo>
                  <a:lnTo>
                    <a:pt x="314" y="660"/>
                  </a:lnTo>
                  <a:lnTo>
                    <a:pt x="314" y="654"/>
                  </a:lnTo>
                  <a:lnTo>
                    <a:pt x="314" y="650"/>
                  </a:lnTo>
                  <a:lnTo>
                    <a:pt x="314" y="644"/>
                  </a:lnTo>
                  <a:lnTo>
                    <a:pt x="312" y="638"/>
                  </a:lnTo>
                  <a:lnTo>
                    <a:pt x="310" y="632"/>
                  </a:lnTo>
                  <a:lnTo>
                    <a:pt x="310" y="626"/>
                  </a:lnTo>
                  <a:lnTo>
                    <a:pt x="310" y="624"/>
                  </a:lnTo>
                  <a:lnTo>
                    <a:pt x="306" y="618"/>
                  </a:lnTo>
                  <a:lnTo>
                    <a:pt x="302" y="612"/>
                  </a:lnTo>
                  <a:lnTo>
                    <a:pt x="300" y="606"/>
                  </a:lnTo>
                  <a:lnTo>
                    <a:pt x="294" y="600"/>
                  </a:lnTo>
                  <a:lnTo>
                    <a:pt x="288" y="594"/>
                  </a:lnTo>
                  <a:lnTo>
                    <a:pt x="282" y="588"/>
                  </a:lnTo>
                  <a:lnTo>
                    <a:pt x="276" y="592"/>
                  </a:lnTo>
                  <a:lnTo>
                    <a:pt x="276" y="596"/>
                  </a:lnTo>
                  <a:lnTo>
                    <a:pt x="276" y="604"/>
                  </a:lnTo>
                  <a:lnTo>
                    <a:pt x="274" y="604"/>
                  </a:lnTo>
                  <a:lnTo>
                    <a:pt x="270" y="600"/>
                  </a:lnTo>
                  <a:lnTo>
                    <a:pt x="264" y="596"/>
                  </a:lnTo>
                  <a:lnTo>
                    <a:pt x="262" y="596"/>
                  </a:lnTo>
                  <a:lnTo>
                    <a:pt x="256" y="596"/>
                  </a:lnTo>
                  <a:lnTo>
                    <a:pt x="250" y="598"/>
                  </a:lnTo>
                  <a:lnTo>
                    <a:pt x="244" y="594"/>
                  </a:lnTo>
                  <a:lnTo>
                    <a:pt x="238" y="588"/>
                  </a:lnTo>
                  <a:lnTo>
                    <a:pt x="232" y="590"/>
                  </a:lnTo>
                  <a:lnTo>
                    <a:pt x="226" y="588"/>
                  </a:lnTo>
                  <a:lnTo>
                    <a:pt x="220" y="584"/>
                  </a:lnTo>
                  <a:lnTo>
                    <a:pt x="216" y="582"/>
                  </a:lnTo>
                  <a:lnTo>
                    <a:pt x="212" y="580"/>
                  </a:lnTo>
                  <a:lnTo>
                    <a:pt x="206" y="578"/>
                  </a:lnTo>
                  <a:lnTo>
                    <a:pt x="204" y="578"/>
                  </a:lnTo>
                  <a:lnTo>
                    <a:pt x="204" y="576"/>
                  </a:lnTo>
                  <a:lnTo>
                    <a:pt x="202" y="574"/>
                  </a:lnTo>
                  <a:lnTo>
                    <a:pt x="196" y="574"/>
                  </a:lnTo>
                  <a:lnTo>
                    <a:pt x="190" y="572"/>
                  </a:lnTo>
                  <a:lnTo>
                    <a:pt x="188" y="566"/>
                  </a:lnTo>
                  <a:lnTo>
                    <a:pt x="182" y="564"/>
                  </a:lnTo>
                  <a:lnTo>
                    <a:pt x="176" y="564"/>
                  </a:lnTo>
                  <a:lnTo>
                    <a:pt x="170" y="562"/>
                  </a:lnTo>
                  <a:lnTo>
                    <a:pt x="164" y="558"/>
                  </a:lnTo>
                  <a:lnTo>
                    <a:pt x="160" y="558"/>
                  </a:lnTo>
                  <a:lnTo>
                    <a:pt x="154" y="554"/>
                  </a:lnTo>
                  <a:lnTo>
                    <a:pt x="152" y="548"/>
                  </a:lnTo>
                  <a:lnTo>
                    <a:pt x="144" y="546"/>
                  </a:lnTo>
                  <a:lnTo>
                    <a:pt x="142" y="548"/>
                  </a:lnTo>
                  <a:lnTo>
                    <a:pt x="140" y="548"/>
                  </a:lnTo>
                  <a:lnTo>
                    <a:pt x="134" y="544"/>
                  </a:lnTo>
                  <a:lnTo>
                    <a:pt x="132" y="538"/>
                  </a:lnTo>
                  <a:lnTo>
                    <a:pt x="128" y="532"/>
                  </a:lnTo>
                  <a:lnTo>
                    <a:pt x="126" y="530"/>
                  </a:lnTo>
                  <a:lnTo>
                    <a:pt x="120" y="526"/>
                  </a:lnTo>
                  <a:lnTo>
                    <a:pt x="114" y="528"/>
                  </a:lnTo>
                  <a:lnTo>
                    <a:pt x="108" y="526"/>
                  </a:lnTo>
                  <a:lnTo>
                    <a:pt x="108" y="528"/>
                  </a:lnTo>
                  <a:lnTo>
                    <a:pt x="102" y="528"/>
                  </a:lnTo>
                  <a:lnTo>
                    <a:pt x="96" y="522"/>
                  </a:lnTo>
                  <a:lnTo>
                    <a:pt x="92" y="516"/>
                  </a:lnTo>
                  <a:lnTo>
                    <a:pt x="88" y="510"/>
                  </a:lnTo>
                  <a:lnTo>
                    <a:pt x="86" y="504"/>
                  </a:lnTo>
                  <a:lnTo>
                    <a:pt x="84" y="498"/>
                  </a:lnTo>
                  <a:lnTo>
                    <a:pt x="82" y="494"/>
                  </a:lnTo>
                  <a:lnTo>
                    <a:pt x="82" y="488"/>
                  </a:lnTo>
                  <a:lnTo>
                    <a:pt x="80" y="482"/>
                  </a:lnTo>
                  <a:lnTo>
                    <a:pt x="76" y="476"/>
                  </a:lnTo>
                  <a:lnTo>
                    <a:pt x="72" y="470"/>
                  </a:lnTo>
                  <a:lnTo>
                    <a:pt x="70" y="464"/>
                  </a:lnTo>
                  <a:lnTo>
                    <a:pt x="66" y="460"/>
                  </a:lnTo>
                  <a:lnTo>
                    <a:pt x="64" y="454"/>
                  </a:lnTo>
                  <a:lnTo>
                    <a:pt x="64" y="448"/>
                  </a:lnTo>
                  <a:lnTo>
                    <a:pt x="62" y="442"/>
                  </a:lnTo>
                  <a:lnTo>
                    <a:pt x="60" y="436"/>
                  </a:lnTo>
                  <a:lnTo>
                    <a:pt x="58" y="430"/>
                  </a:lnTo>
                  <a:lnTo>
                    <a:pt x="56" y="424"/>
                  </a:lnTo>
                  <a:lnTo>
                    <a:pt x="52" y="418"/>
                  </a:lnTo>
                  <a:lnTo>
                    <a:pt x="48" y="412"/>
                  </a:lnTo>
                  <a:lnTo>
                    <a:pt x="42" y="406"/>
                  </a:lnTo>
                  <a:lnTo>
                    <a:pt x="38" y="402"/>
                  </a:lnTo>
                  <a:lnTo>
                    <a:pt x="34" y="400"/>
                  </a:lnTo>
                  <a:lnTo>
                    <a:pt x="28" y="396"/>
                  </a:lnTo>
                  <a:lnTo>
                    <a:pt x="22" y="390"/>
                  </a:lnTo>
                  <a:lnTo>
                    <a:pt x="20" y="384"/>
                  </a:lnTo>
                  <a:lnTo>
                    <a:pt x="18" y="378"/>
                  </a:lnTo>
                  <a:lnTo>
                    <a:pt x="14" y="372"/>
                  </a:lnTo>
                  <a:lnTo>
                    <a:pt x="10" y="366"/>
                  </a:lnTo>
                  <a:lnTo>
                    <a:pt x="10" y="360"/>
                  </a:lnTo>
                  <a:lnTo>
                    <a:pt x="10" y="354"/>
                  </a:lnTo>
                  <a:lnTo>
                    <a:pt x="8" y="350"/>
                  </a:lnTo>
                  <a:lnTo>
                    <a:pt x="8" y="342"/>
                  </a:lnTo>
                  <a:lnTo>
                    <a:pt x="12" y="338"/>
                  </a:lnTo>
                  <a:lnTo>
                    <a:pt x="16" y="332"/>
                  </a:lnTo>
                  <a:lnTo>
                    <a:pt x="16" y="326"/>
                  </a:lnTo>
                  <a:lnTo>
                    <a:pt x="14" y="320"/>
                  </a:lnTo>
                  <a:lnTo>
                    <a:pt x="14" y="314"/>
                  </a:lnTo>
                  <a:lnTo>
                    <a:pt x="10" y="308"/>
                  </a:lnTo>
                  <a:lnTo>
                    <a:pt x="10" y="302"/>
                  </a:lnTo>
                  <a:lnTo>
                    <a:pt x="8" y="296"/>
                  </a:lnTo>
                  <a:lnTo>
                    <a:pt x="6" y="290"/>
                  </a:lnTo>
                  <a:lnTo>
                    <a:pt x="2" y="284"/>
                  </a:lnTo>
                  <a:lnTo>
                    <a:pt x="0" y="2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2" name="Freeform 240"/>
            <p:cNvSpPr>
              <a:spLocks/>
            </p:cNvSpPr>
            <p:nvPr/>
          </p:nvSpPr>
          <p:spPr bwMode="auto">
            <a:xfrm>
              <a:off x="4887913" y="5059363"/>
              <a:ext cx="58737" cy="60325"/>
            </a:xfrm>
            <a:custGeom>
              <a:avLst/>
              <a:gdLst>
                <a:gd name="T0" fmla="*/ 2147483647 w 144"/>
                <a:gd name="T1" fmla="*/ 2147483647 h 144"/>
                <a:gd name="T2" fmla="*/ 2147483647 w 144"/>
                <a:gd name="T3" fmla="*/ 2147483647 h 144"/>
                <a:gd name="T4" fmla="*/ 2147483647 w 144"/>
                <a:gd name="T5" fmla="*/ 2147483647 h 144"/>
                <a:gd name="T6" fmla="*/ 2147483647 w 144"/>
                <a:gd name="T7" fmla="*/ 2147483647 h 144"/>
                <a:gd name="T8" fmla="*/ 2147483647 w 144"/>
                <a:gd name="T9" fmla="*/ 2147483647 h 144"/>
                <a:gd name="T10" fmla="*/ 2147483647 w 144"/>
                <a:gd name="T11" fmla="*/ 2147483647 h 144"/>
                <a:gd name="T12" fmla="*/ 2147483647 w 144"/>
                <a:gd name="T13" fmla="*/ 2147483647 h 144"/>
                <a:gd name="T14" fmla="*/ 2147483647 w 144"/>
                <a:gd name="T15" fmla="*/ 2147483647 h 144"/>
                <a:gd name="T16" fmla="*/ 2147483647 w 144"/>
                <a:gd name="T17" fmla="*/ 2147483647 h 144"/>
                <a:gd name="T18" fmla="*/ 2147483647 w 144"/>
                <a:gd name="T19" fmla="*/ 2147483647 h 144"/>
                <a:gd name="T20" fmla="*/ 2147483647 w 144"/>
                <a:gd name="T21" fmla="*/ 2147483647 h 144"/>
                <a:gd name="T22" fmla="*/ 2147483647 w 144"/>
                <a:gd name="T23" fmla="*/ 2147483647 h 144"/>
                <a:gd name="T24" fmla="*/ 2147483647 w 144"/>
                <a:gd name="T25" fmla="*/ 2147483647 h 144"/>
                <a:gd name="T26" fmla="*/ 2147483647 w 144"/>
                <a:gd name="T27" fmla="*/ 2147483647 h 144"/>
                <a:gd name="T28" fmla="*/ 2147483647 w 144"/>
                <a:gd name="T29" fmla="*/ 2147483647 h 144"/>
                <a:gd name="T30" fmla="*/ 2147483647 w 144"/>
                <a:gd name="T31" fmla="*/ 2147483647 h 144"/>
                <a:gd name="T32" fmla="*/ 2147483647 w 144"/>
                <a:gd name="T33" fmla="*/ 2147483647 h 144"/>
                <a:gd name="T34" fmla="*/ 2147483647 w 144"/>
                <a:gd name="T35" fmla="*/ 2147483647 h 144"/>
                <a:gd name="T36" fmla="*/ 2147483647 w 144"/>
                <a:gd name="T37" fmla="*/ 2147483647 h 144"/>
                <a:gd name="T38" fmla="*/ 2147483647 w 144"/>
                <a:gd name="T39" fmla="*/ 2147483647 h 144"/>
                <a:gd name="T40" fmla="*/ 2147483647 w 144"/>
                <a:gd name="T41" fmla="*/ 2147483647 h 144"/>
                <a:gd name="T42" fmla="*/ 2147483647 w 144"/>
                <a:gd name="T43" fmla="*/ 2147483647 h 144"/>
                <a:gd name="T44" fmla="*/ 2147483647 w 144"/>
                <a:gd name="T45" fmla="*/ 2147483647 h 144"/>
                <a:gd name="T46" fmla="*/ 2147483647 w 144"/>
                <a:gd name="T47" fmla="*/ 2147483647 h 144"/>
                <a:gd name="T48" fmla="*/ 2147483647 w 144"/>
                <a:gd name="T49" fmla="*/ 2147483647 h 144"/>
                <a:gd name="T50" fmla="*/ 2147483647 w 144"/>
                <a:gd name="T51" fmla="*/ 2147483647 h 144"/>
                <a:gd name="T52" fmla="*/ 2147483647 w 144"/>
                <a:gd name="T53" fmla="*/ 2147483647 h 144"/>
                <a:gd name="T54" fmla="*/ 2147483647 w 144"/>
                <a:gd name="T55" fmla="*/ 2147483647 h 144"/>
                <a:gd name="T56" fmla="*/ 2147483647 w 144"/>
                <a:gd name="T57" fmla="*/ 0 h 144"/>
                <a:gd name="T58" fmla="*/ 2147483647 w 144"/>
                <a:gd name="T59" fmla="*/ 2147483647 h 144"/>
                <a:gd name="T60" fmla="*/ 2147483647 w 144"/>
                <a:gd name="T61" fmla="*/ 2147483647 h 144"/>
                <a:gd name="T62" fmla="*/ 2147483647 w 144"/>
                <a:gd name="T63" fmla="*/ 2147483647 h 144"/>
                <a:gd name="T64" fmla="*/ 2147483647 w 144"/>
                <a:gd name="T65" fmla="*/ 2147483647 h 144"/>
                <a:gd name="T66" fmla="*/ 2147483647 w 144"/>
                <a:gd name="T67" fmla="*/ 2147483647 h 144"/>
                <a:gd name="T68" fmla="*/ 2147483647 w 144"/>
                <a:gd name="T69" fmla="*/ 2147483647 h 144"/>
                <a:gd name="T70" fmla="*/ 2147483647 w 144"/>
                <a:gd name="T71" fmla="*/ 2147483647 h 144"/>
                <a:gd name="T72" fmla="*/ 2147483647 w 144"/>
                <a:gd name="T73" fmla="*/ 2147483647 h 144"/>
                <a:gd name="T74" fmla="*/ 2147483647 w 144"/>
                <a:gd name="T75" fmla="*/ 2147483647 h 144"/>
                <a:gd name="T76" fmla="*/ 2147483647 w 144"/>
                <a:gd name="T77" fmla="*/ 2147483647 h 144"/>
                <a:gd name="T78" fmla="*/ 2147483647 w 144"/>
                <a:gd name="T79" fmla="*/ 2147483647 h 144"/>
                <a:gd name="T80" fmla="*/ 2147483647 w 144"/>
                <a:gd name="T81" fmla="*/ 2147483647 h 144"/>
                <a:gd name="T82" fmla="*/ 2147483647 w 144"/>
                <a:gd name="T83" fmla="*/ 2147483647 h 144"/>
                <a:gd name="T84" fmla="*/ 0 w 144"/>
                <a:gd name="T85" fmla="*/ 2147483647 h 1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4"/>
                <a:gd name="T130" fmla="*/ 0 h 144"/>
                <a:gd name="T131" fmla="*/ 144 w 144"/>
                <a:gd name="T132" fmla="*/ 144 h 1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4" h="144">
                  <a:moveTo>
                    <a:pt x="0" y="74"/>
                  </a:moveTo>
                  <a:lnTo>
                    <a:pt x="4" y="80"/>
                  </a:lnTo>
                  <a:lnTo>
                    <a:pt x="6" y="82"/>
                  </a:lnTo>
                  <a:lnTo>
                    <a:pt x="8" y="88"/>
                  </a:lnTo>
                  <a:lnTo>
                    <a:pt x="10" y="94"/>
                  </a:lnTo>
                  <a:lnTo>
                    <a:pt x="10" y="96"/>
                  </a:lnTo>
                  <a:lnTo>
                    <a:pt x="12" y="98"/>
                  </a:lnTo>
                  <a:lnTo>
                    <a:pt x="16" y="104"/>
                  </a:lnTo>
                  <a:lnTo>
                    <a:pt x="20" y="110"/>
                  </a:lnTo>
                  <a:lnTo>
                    <a:pt x="18" y="116"/>
                  </a:lnTo>
                  <a:lnTo>
                    <a:pt x="20" y="120"/>
                  </a:lnTo>
                  <a:lnTo>
                    <a:pt x="24" y="120"/>
                  </a:lnTo>
                  <a:lnTo>
                    <a:pt x="30" y="126"/>
                  </a:lnTo>
                  <a:lnTo>
                    <a:pt x="30" y="128"/>
                  </a:lnTo>
                  <a:lnTo>
                    <a:pt x="36" y="134"/>
                  </a:lnTo>
                  <a:lnTo>
                    <a:pt x="40" y="140"/>
                  </a:lnTo>
                  <a:lnTo>
                    <a:pt x="46" y="142"/>
                  </a:lnTo>
                  <a:lnTo>
                    <a:pt x="52" y="142"/>
                  </a:lnTo>
                  <a:lnTo>
                    <a:pt x="58" y="142"/>
                  </a:lnTo>
                  <a:lnTo>
                    <a:pt x="60" y="144"/>
                  </a:lnTo>
                  <a:lnTo>
                    <a:pt x="62" y="138"/>
                  </a:lnTo>
                  <a:lnTo>
                    <a:pt x="64" y="132"/>
                  </a:lnTo>
                  <a:lnTo>
                    <a:pt x="68" y="126"/>
                  </a:lnTo>
                  <a:lnTo>
                    <a:pt x="70" y="122"/>
                  </a:lnTo>
                  <a:lnTo>
                    <a:pt x="74" y="116"/>
                  </a:lnTo>
                  <a:lnTo>
                    <a:pt x="74" y="114"/>
                  </a:lnTo>
                  <a:lnTo>
                    <a:pt x="80" y="108"/>
                  </a:lnTo>
                  <a:lnTo>
                    <a:pt x="86" y="108"/>
                  </a:lnTo>
                  <a:lnTo>
                    <a:pt x="92" y="106"/>
                  </a:lnTo>
                  <a:lnTo>
                    <a:pt x="98" y="106"/>
                  </a:lnTo>
                  <a:lnTo>
                    <a:pt x="104" y="104"/>
                  </a:lnTo>
                  <a:lnTo>
                    <a:pt x="110" y="102"/>
                  </a:lnTo>
                  <a:lnTo>
                    <a:pt x="114" y="98"/>
                  </a:lnTo>
                  <a:lnTo>
                    <a:pt x="116" y="98"/>
                  </a:lnTo>
                  <a:lnTo>
                    <a:pt x="122" y="94"/>
                  </a:lnTo>
                  <a:lnTo>
                    <a:pt x="126" y="92"/>
                  </a:lnTo>
                  <a:lnTo>
                    <a:pt x="124" y="86"/>
                  </a:lnTo>
                  <a:lnTo>
                    <a:pt x="124" y="80"/>
                  </a:lnTo>
                  <a:lnTo>
                    <a:pt x="130" y="74"/>
                  </a:lnTo>
                  <a:lnTo>
                    <a:pt x="134" y="70"/>
                  </a:lnTo>
                  <a:lnTo>
                    <a:pt x="134" y="64"/>
                  </a:lnTo>
                  <a:lnTo>
                    <a:pt x="140" y="60"/>
                  </a:lnTo>
                  <a:lnTo>
                    <a:pt x="144" y="54"/>
                  </a:lnTo>
                  <a:lnTo>
                    <a:pt x="142" y="48"/>
                  </a:lnTo>
                  <a:lnTo>
                    <a:pt x="140" y="40"/>
                  </a:lnTo>
                  <a:lnTo>
                    <a:pt x="138" y="36"/>
                  </a:lnTo>
                  <a:lnTo>
                    <a:pt x="136" y="34"/>
                  </a:lnTo>
                  <a:lnTo>
                    <a:pt x="132" y="32"/>
                  </a:lnTo>
                  <a:lnTo>
                    <a:pt x="126" y="28"/>
                  </a:lnTo>
                  <a:lnTo>
                    <a:pt x="120" y="22"/>
                  </a:lnTo>
                  <a:lnTo>
                    <a:pt x="114" y="16"/>
                  </a:lnTo>
                  <a:lnTo>
                    <a:pt x="112" y="12"/>
                  </a:lnTo>
                  <a:lnTo>
                    <a:pt x="106" y="8"/>
                  </a:lnTo>
                  <a:lnTo>
                    <a:pt x="102" y="2"/>
                  </a:lnTo>
                  <a:lnTo>
                    <a:pt x="100" y="0"/>
                  </a:lnTo>
                  <a:lnTo>
                    <a:pt x="98" y="0"/>
                  </a:lnTo>
                  <a:lnTo>
                    <a:pt x="92" y="2"/>
                  </a:lnTo>
                  <a:lnTo>
                    <a:pt x="90" y="2"/>
                  </a:lnTo>
                  <a:lnTo>
                    <a:pt x="84" y="4"/>
                  </a:lnTo>
                  <a:lnTo>
                    <a:pt x="78" y="10"/>
                  </a:lnTo>
                  <a:lnTo>
                    <a:pt x="76" y="8"/>
                  </a:lnTo>
                  <a:lnTo>
                    <a:pt x="70" y="10"/>
                  </a:lnTo>
                  <a:lnTo>
                    <a:pt x="66" y="14"/>
                  </a:lnTo>
                  <a:lnTo>
                    <a:pt x="62" y="20"/>
                  </a:lnTo>
                  <a:lnTo>
                    <a:pt x="56" y="20"/>
                  </a:lnTo>
                  <a:lnTo>
                    <a:pt x="54" y="20"/>
                  </a:lnTo>
                  <a:lnTo>
                    <a:pt x="48" y="24"/>
                  </a:lnTo>
                  <a:lnTo>
                    <a:pt x="44" y="26"/>
                  </a:lnTo>
                  <a:lnTo>
                    <a:pt x="40" y="32"/>
                  </a:lnTo>
                  <a:lnTo>
                    <a:pt x="38" y="38"/>
                  </a:lnTo>
                  <a:lnTo>
                    <a:pt x="32" y="44"/>
                  </a:lnTo>
                  <a:lnTo>
                    <a:pt x="28" y="50"/>
                  </a:lnTo>
                  <a:lnTo>
                    <a:pt x="26" y="50"/>
                  </a:lnTo>
                  <a:lnTo>
                    <a:pt x="24" y="56"/>
                  </a:lnTo>
                  <a:lnTo>
                    <a:pt x="20" y="62"/>
                  </a:lnTo>
                  <a:lnTo>
                    <a:pt x="14" y="66"/>
                  </a:lnTo>
                  <a:lnTo>
                    <a:pt x="8" y="68"/>
                  </a:lnTo>
                  <a:lnTo>
                    <a:pt x="6" y="70"/>
                  </a:lnTo>
                  <a:lnTo>
                    <a:pt x="4" y="70"/>
                  </a:lnTo>
                  <a:lnTo>
                    <a:pt x="4" y="72"/>
                  </a:lnTo>
                  <a:lnTo>
                    <a:pt x="2" y="72"/>
                  </a:lnTo>
                  <a:lnTo>
                    <a:pt x="0" y="72"/>
                  </a:lnTo>
                  <a:lnTo>
                    <a:pt x="0" y="7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3" name="Freeform 241"/>
            <p:cNvSpPr>
              <a:spLocks/>
            </p:cNvSpPr>
            <p:nvPr/>
          </p:nvSpPr>
          <p:spPr bwMode="auto">
            <a:xfrm>
              <a:off x="5132388" y="3733800"/>
              <a:ext cx="166687" cy="160338"/>
            </a:xfrm>
            <a:custGeom>
              <a:avLst/>
              <a:gdLst>
                <a:gd name="T0" fmla="*/ 2147483647 w 410"/>
                <a:gd name="T1" fmla="*/ 2147483647 h 388"/>
                <a:gd name="T2" fmla="*/ 2147483647 w 410"/>
                <a:gd name="T3" fmla="*/ 2147483647 h 388"/>
                <a:gd name="T4" fmla="*/ 2147483647 w 410"/>
                <a:gd name="T5" fmla="*/ 2147483647 h 388"/>
                <a:gd name="T6" fmla="*/ 2147483647 w 410"/>
                <a:gd name="T7" fmla="*/ 2147483647 h 388"/>
                <a:gd name="T8" fmla="*/ 2147483647 w 410"/>
                <a:gd name="T9" fmla="*/ 2147483647 h 388"/>
                <a:gd name="T10" fmla="*/ 2147483647 w 410"/>
                <a:gd name="T11" fmla="*/ 2147483647 h 388"/>
                <a:gd name="T12" fmla="*/ 2147483647 w 410"/>
                <a:gd name="T13" fmla="*/ 2147483647 h 388"/>
                <a:gd name="T14" fmla="*/ 2147483647 w 410"/>
                <a:gd name="T15" fmla="*/ 2147483647 h 388"/>
                <a:gd name="T16" fmla="*/ 2147483647 w 410"/>
                <a:gd name="T17" fmla="*/ 2147483647 h 388"/>
                <a:gd name="T18" fmla="*/ 2147483647 w 410"/>
                <a:gd name="T19" fmla="*/ 2147483647 h 388"/>
                <a:gd name="T20" fmla="*/ 2147483647 w 410"/>
                <a:gd name="T21" fmla="*/ 2147483647 h 388"/>
                <a:gd name="T22" fmla="*/ 2147483647 w 410"/>
                <a:gd name="T23" fmla="*/ 2147483647 h 388"/>
                <a:gd name="T24" fmla="*/ 2147483647 w 410"/>
                <a:gd name="T25" fmla="*/ 2147483647 h 388"/>
                <a:gd name="T26" fmla="*/ 2147483647 w 410"/>
                <a:gd name="T27" fmla="*/ 2147483647 h 388"/>
                <a:gd name="T28" fmla="*/ 2147483647 w 410"/>
                <a:gd name="T29" fmla="*/ 2147483647 h 388"/>
                <a:gd name="T30" fmla="*/ 2147483647 w 410"/>
                <a:gd name="T31" fmla="*/ 2147483647 h 388"/>
                <a:gd name="T32" fmla="*/ 2147483647 w 410"/>
                <a:gd name="T33" fmla="*/ 2147483647 h 388"/>
                <a:gd name="T34" fmla="*/ 2147483647 w 410"/>
                <a:gd name="T35" fmla="*/ 2147483647 h 388"/>
                <a:gd name="T36" fmla="*/ 2147483647 w 410"/>
                <a:gd name="T37" fmla="*/ 2147483647 h 388"/>
                <a:gd name="T38" fmla="*/ 2147483647 w 410"/>
                <a:gd name="T39" fmla="*/ 2147483647 h 388"/>
                <a:gd name="T40" fmla="*/ 2147483647 w 410"/>
                <a:gd name="T41" fmla="*/ 2147483647 h 388"/>
                <a:gd name="T42" fmla="*/ 2147483647 w 410"/>
                <a:gd name="T43" fmla="*/ 2147483647 h 388"/>
                <a:gd name="T44" fmla="*/ 2147483647 w 410"/>
                <a:gd name="T45" fmla="*/ 2147483647 h 388"/>
                <a:gd name="T46" fmla="*/ 2147483647 w 410"/>
                <a:gd name="T47" fmla="*/ 2147483647 h 388"/>
                <a:gd name="T48" fmla="*/ 2147483647 w 410"/>
                <a:gd name="T49" fmla="*/ 2147483647 h 388"/>
                <a:gd name="T50" fmla="*/ 2147483647 w 410"/>
                <a:gd name="T51" fmla="*/ 2147483647 h 388"/>
                <a:gd name="T52" fmla="*/ 2147483647 w 410"/>
                <a:gd name="T53" fmla="*/ 2147483647 h 388"/>
                <a:gd name="T54" fmla="*/ 2147483647 w 410"/>
                <a:gd name="T55" fmla="*/ 2147483647 h 388"/>
                <a:gd name="T56" fmla="*/ 2147483647 w 410"/>
                <a:gd name="T57" fmla="*/ 2147483647 h 388"/>
                <a:gd name="T58" fmla="*/ 2147483647 w 410"/>
                <a:gd name="T59" fmla="*/ 2147483647 h 388"/>
                <a:gd name="T60" fmla="*/ 2147483647 w 410"/>
                <a:gd name="T61" fmla="*/ 2147483647 h 388"/>
                <a:gd name="T62" fmla="*/ 2147483647 w 410"/>
                <a:gd name="T63" fmla="*/ 2147483647 h 388"/>
                <a:gd name="T64" fmla="*/ 2147483647 w 410"/>
                <a:gd name="T65" fmla="*/ 2147483647 h 388"/>
                <a:gd name="T66" fmla="*/ 2147483647 w 410"/>
                <a:gd name="T67" fmla="*/ 2147483647 h 388"/>
                <a:gd name="T68" fmla="*/ 2147483647 w 410"/>
                <a:gd name="T69" fmla="*/ 2147483647 h 388"/>
                <a:gd name="T70" fmla="*/ 2147483647 w 410"/>
                <a:gd name="T71" fmla="*/ 2147483647 h 388"/>
                <a:gd name="T72" fmla="*/ 2147483647 w 410"/>
                <a:gd name="T73" fmla="*/ 2147483647 h 388"/>
                <a:gd name="T74" fmla="*/ 2147483647 w 410"/>
                <a:gd name="T75" fmla="*/ 2147483647 h 388"/>
                <a:gd name="T76" fmla="*/ 2147483647 w 410"/>
                <a:gd name="T77" fmla="*/ 2147483647 h 388"/>
                <a:gd name="T78" fmla="*/ 2147483647 w 410"/>
                <a:gd name="T79" fmla="*/ 2147483647 h 388"/>
                <a:gd name="T80" fmla="*/ 2147483647 w 410"/>
                <a:gd name="T81" fmla="*/ 2147483647 h 388"/>
                <a:gd name="T82" fmla="*/ 2147483647 w 410"/>
                <a:gd name="T83" fmla="*/ 2147483647 h 388"/>
                <a:gd name="T84" fmla="*/ 2147483647 w 410"/>
                <a:gd name="T85" fmla="*/ 2147483647 h 388"/>
                <a:gd name="T86" fmla="*/ 2147483647 w 410"/>
                <a:gd name="T87" fmla="*/ 2147483647 h 388"/>
                <a:gd name="T88" fmla="*/ 2147483647 w 410"/>
                <a:gd name="T89" fmla="*/ 2147483647 h 388"/>
                <a:gd name="T90" fmla="*/ 2147483647 w 410"/>
                <a:gd name="T91" fmla="*/ 2147483647 h 388"/>
                <a:gd name="T92" fmla="*/ 2147483647 w 410"/>
                <a:gd name="T93" fmla="*/ 2147483647 h 388"/>
                <a:gd name="T94" fmla="*/ 2147483647 w 410"/>
                <a:gd name="T95" fmla="*/ 2147483647 h 388"/>
                <a:gd name="T96" fmla="*/ 2147483647 w 410"/>
                <a:gd name="T97" fmla="*/ 2147483647 h 388"/>
                <a:gd name="T98" fmla="*/ 2147483647 w 410"/>
                <a:gd name="T99" fmla="*/ 2147483647 h 388"/>
                <a:gd name="T100" fmla="*/ 2147483647 w 410"/>
                <a:gd name="T101" fmla="*/ 2147483647 h 388"/>
                <a:gd name="T102" fmla="*/ 2147483647 w 410"/>
                <a:gd name="T103" fmla="*/ 2147483647 h 388"/>
                <a:gd name="T104" fmla="*/ 2147483647 w 410"/>
                <a:gd name="T105" fmla="*/ 2147483647 h 388"/>
                <a:gd name="T106" fmla="*/ 2147483647 w 410"/>
                <a:gd name="T107" fmla="*/ 2147483647 h 388"/>
                <a:gd name="T108" fmla="*/ 2147483647 w 410"/>
                <a:gd name="T109" fmla="*/ 2147483647 h 388"/>
                <a:gd name="T110" fmla="*/ 2147483647 w 410"/>
                <a:gd name="T111" fmla="*/ 2147483647 h 388"/>
                <a:gd name="T112" fmla="*/ 2147483647 w 410"/>
                <a:gd name="T113" fmla="*/ 2147483647 h 388"/>
                <a:gd name="T114" fmla="*/ 2147483647 w 410"/>
                <a:gd name="T115" fmla="*/ 2147483647 h 388"/>
                <a:gd name="T116" fmla="*/ 2147483647 w 410"/>
                <a:gd name="T117" fmla="*/ 2147483647 h 388"/>
                <a:gd name="T118" fmla="*/ 2147483647 w 410"/>
                <a:gd name="T119" fmla="*/ 2147483647 h 388"/>
                <a:gd name="T120" fmla="*/ 2147483647 w 410"/>
                <a:gd name="T121" fmla="*/ 2147483647 h 388"/>
                <a:gd name="T122" fmla="*/ 0 w 410"/>
                <a:gd name="T123" fmla="*/ 2147483647 h 3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0"/>
                <a:gd name="T187" fmla="*/ 0 h 388"/>
                <a:gd name="T188" fmla="*/ 410 w 410"/>
                <a:gd name="T189" fmla="*/ 388 h 38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0" h="388">
                  <a:moveTo>
                    <a:pt x="0" y="198"/>
                  </a:moveTo>
                  <a:lnTo>
                    <a:pt x="4" y="194"/>
                  </a:lnTo>
                  <a:lnTo>
                    <a:pt x="8" y="188"/>
                  </a:lnTo>
                  <a:lnTo>
                    <a:pt x="8" y="182"/>
                  </a:lnTo>
                  <a:lnTo>
                    <a:pt x="12" y="176"/>
                  </a:lnTo>
                  <a:lnTo>
                    <a:pt x="12" y="170"/>
                  </a:lnTo>
                  <a:lnTo>
                    <a:pt x="12" y="164"/>
                  </a:lnTo>
                  <a:lnTo>
                    <a:pt x="14" y="158"/>
                  </a:lnTo>
                  <a:lnTo>
                    <a:pt x="18" y="152"/>
                  </a:lnTo>
                  <a:lnTo>
                    <a:pt x="20" y="146"/>
                  </a:lnTo>
                  <a:lnTo>
                    <a:pt x="22" y="140"/>
                  </a:lnTo>
                  <a:lnTo>
                    <a:pt x="24" y="134"/>
                  </a:lnTo>
                  <a:lnTo>
                    <a:pt x="26" y="128"/>
                  </a:lnTo>
                  <a:lnTo>
                    <a:pt x="28" y="122"/>
                  </a:lnTo>
                  <a:lnTo>
                    <a:pt x="30" y="116"/>
                  </a:lnTo>
                  <a:lnTo>
                    <a:pt x="28" y="110"/>
                  </a:lnTo>
                  <a:lnTo>
                    <a:pt x="26" y="104"/>
                  </a:lnTo>
                  <a:lnTo>
                    <a:pt x="26" y="98"/>
                  </a:lnTo>
                  <a:lnTo>
                    <a:pt x="26" y="92"/>
                  </a:lnTo>
                  <a:lnTo>
                    <a:pt x="30" y="88"/>
                  </a:lnTo>
                  <a:lnTo>
                    <a:pt x="32" y="80"/>
                  </a:lnTo>
                  <a:lnTo>
                    <a:pt x="32" y="76"/>
                  </a:lnTo>
                  <a:lnTo>
                    <a:pt x="32" y="70"/>
                  </a:lnTo>
                  <a:lnTo>
                    <a:pt x="36" y="66"/>
                  </a:lnTo>
                  <a:lnTo>
                    <a:pt x="42" y="68"/>
                  </a:lnTo>
                  <a:lnTo>
                    <a:pt x="48" y="64"/>
                  </a:lnTo>
                  <a:lnTo>
                    <a:pt x="54" y="66"/>
                  </a:lnTo>
                  <a:lnTo>
                    <a:pt x="56" y="66"/>
                  </a:lnTo>
                  <a:lnTo>
                    <a:pt x="58" y="60"/>
                  </a:lnTo>
                  <a:lnTo>
                    <a:pt x="62" y="54"/>
                  </a:lnTo>
                  <a:lnTo>
                    <a:pt x="60" y="48"/>
                  </a:lnTo>
                  <a:lnTo>
                    <a:pt x="66" y="44"/>
                  </a:lnTo>
                  <a:lnTo>
                    <a:pt x="72" y="44"/>
                  </a:lnTo>
                  <a:lnTo>
                    <a:pt x="76" y="38"/>
                  </a:lnTo>
                  <a:lnTo>
                    <a:pt x="82" y="38"/>
                  </a:lnTo>
                  <a:lnTo>
                    <a:pt x="88" y="34"/>
                  </a:lnTo>
                  <a:lnTo>
                    <a:pt x="94" y="30"/>
                  </a:lnTo>
                  <a:lnTo>
                    <a:pt x="100" y="30"/>
                  </a:lnTo>
                  <a:lnTo>
                    <a:pt x="106" y="26"/>
                  </a:lnTo>
                  <a:lnTo>
                    <a:pt x="110" y="24"/>
                  </a:lnTo>
                  <a:lnTo>
                    <a:pt x="112" y="16"/>
                  </a:lnTo>
                  <a:lnTo>
                    <a:pt x="114" y="12"/>
                  </a:lnTo>
                  <a:lnTo>
                    <a:pt x="120" y="4"/>
                  </a:lnTo>
                  <a:lnTo>
                    <a:pt x="124" y="0"/>
                  </a:lnTo>
                  <a:lnTo>
                    <a:pt x="126" y="6"/>
                  </a:lnTo>
                  <a:lnTo>
                    <a:pt x="130" y="12"/>
                  </a:lnTo>
                  <a:lnTo>
                    <a:pt x="134" y="18"/>
                  </a:lnTo>
                  <a:lnTo>
                    <a:pt x="136" y="24"/>
                  </a:lnTo>
                  <a:lnTo>
                    <a:pt x="138" y="30"/>
                  </a:lnTo>
                  <a:lnTo>
                    <a:pt x="142" y="36"/>
                  </a:lnTo>
                  <a:lnTo>
                    <a:pt x="146" y="42"/>
                  </a:lnTo>
                  <a:lnTo>
                    <a:pt x="146" y="46"/>
                  </a:lnTo>
                  <a:lnTo>
                    <a:pt x="148" y="54"/>
                  </a:lnTo>
                  <a:lnTo>
                    <a:pt x="150" y="58"/>
                  </a:lnTo>
                  <a:lnTo>
                    <a:pt x="152" y="64"/>
                  </a:lnTo>
                  <a:lnTo>
                    <a:pt x="154" y="70"/>
                  </a:lnTo>
                  <a:lnTo>
                    <a:pt x="156" y="76"/>
                  </a:lnTo>
                  <a:lnTo>
                    <a:pt x="158" y="82"/>
                  </a:lnTo>
                  <a:lnTo>
                    <a:pt x="160" y="88"/>
                  </a:lnTo>
                  <a:lnTo>
                    <a:pt x="162" y="94"/>
                  </a:lnTo>
                  <a:lnTo>
                    <a:pt x="162" y="96"/>
                  </a:lnTo>
                  <a:lnTo>
                    <a:pt x="160" y="100"/>
                  </a:lnTo>
                  <a:lnTo>
                    <a:pt x="164" y="108"/>
                  </a:lnTo>
                  <a:lnTo>
                    <a:pt x="164" y="114"/>
                  </a:lnTo>
                  <a:lnTo>
                    <a:pt x="164" y="120"/>
                  </a:lnTo>
                  <a:lnTo>
                    <a:pt x="166" y="126"/>
                  </a:lnTo>
                  <a:lnTo>
                    <a:pt x="168" y="132"/>
                  </a:lnTo>
                  <a:lnTo>
                    <a:pt x="170" y="138"/>
                  </a:lnTo>
                  <a:lnTo>
                    <a:pt x="172" y="144"/>
                  </a:lnTo>
                  <a:lnTo>
                    <a:pt x="176" y="150"/>
                  </a:lnTo>
                  <a:lnTo>
                    <a:pt x="180" y="156"/>
                  </a:lnTo>
                  <a:lnTo>
                    <a:pt x="182" y="160"/>
                  </a:lnTo>
                  <a:lnTo>
                    <a:pt x="180" y="166"/>
                  </a:lnTo>
                  <a:lnTo>
                    <a:pt x="186" y="172"/>
                  </a:lnTo>
                  <a:lnTo>
                    <a:pt x="192" y="174"/>
                  </a:lnTo>
                  <a:lnTo>
                    <a:pt x="192" y="180"/>
                  </a:lnTo>
                  <a:lnTo>
                    <a:pt x="196" y="186"/>
                  </a:lnTo>
                  <a:lnTo>
                    <a:pt x="198" y="192"/>
                  </a:lnTo>
                  <a:lnTo>
                    <a:pt x="198" y="198"/>
                  </a:lnTo>
                  <a:lnTo>
                    <a:pt x="202" y="202"/>
                  </a:lnTo>
                  <a:lnTo>
                    <a:pt x="206" y="200"/>
                  </a:lnTo>
                  <a:lnTo>
                    <a:pt x="206" y="194"/>
                  </a:lnTo>
                  <a:lnTo>
                    <a:pt x="202" y="188"/>
                  </a:lnTo>
                  <a:lnTo>
                    <a:pt x="202" y="182"/>
                  </a:lnTo>
                  <a:lnTo>
                    <a:pt x="204" y="176"/>
                  </a:lnTo>
                  <a:lnTo>
                    <a:pt x="210" y="176"/>
                  </a:lnTo>
                  <a:lnTo>
                    <a:pt x="216" y="182"/>
                  </a:lnTo>
                  <a:lnTo>
                    <a:pt x="220" y="184"/>
                  </a:lnTo>
                  <a:lnTo>
                    <a:pt x="218" y="190"/>
                  </a:lnTo>
                  <a:lnTo>
                    <a:pt x="220" y="196"/>
                  </a:lnTo>
                  <a:lnTo>
                    <a:pt x="222" y="202"/>
                  </a:lnTo>
                  <a:lnTo>
                    <a:pt x="226" y="208"/>
                  </a:lnTo>
                  <a:lnTo>
                    <a:pt x="230" y="212"/>
                  </a:lnTo>
                  <a:lnTo>
                    <a:pt x="236" y="212"/>
                  </a:lnTo>
                  <a:lnTo>
                    <a:pt x="244" y="208"/>
                  </a:lnTo>
                  <a:lnTo>
                    <a:pt x="248" y="208"/>
                  </a:lnTo>
                  <a:lnTo>
                    <a:pt x="252" y="212"/>
                  </a:lnTo>
                  <a:lnTo>
                    <a:pt x="258" y="216"/>
                  </a:lnTo>
                  <a:lnTo>
                    <a:pt x="260" y="222"/>
                  </a:lnTo>
                  <a:lnTo>
                    <a:pt x="264" y="228"/>
                  </a:lnTo>
                  <a:lnTo>
                    <a:pt x="270" y="228"/>
                  </a:lnTo>
                  <a:lnTo>
                    <a:pt x="276" y="232"/>
                  </a:lnTo>
                  <a:lnTo>
                    <a:pt x="282" y="232"/>
                  </a:lnTo>
                  <a:lnTo>
                    <a:pt x="288" y="234"/>
                  </a:lnTo>
                  <a:lnTo>
                    <a:pt x="294" y="240"/>
                  </a:lnTo>
                  <a:lnTo>
                    <a:pt x="298" y="246"/>
                  </a:lnTo>
                  <a:lnTo>
                    <a:pt x="302" y="252"/>
                  </a:lnTo>
                  <a:lnTo>
                    <a:pt x="306" y="258"/>
                  </a:lnTo>
                  <a:lnTo>
                    <a:pt x="310" y="264"/>
                  </a:lnTo>
                  <a:lnTo>
                    <a:pt x="314" y="270"/>
                  </a:lnTo>
                  <a:lnTo>
                    <a:pt x="318" y="276"/>
                  </a:lnTo>
                  <a:lnTo>
                    <a:pt x="324" y="282"/>
                  </a:lnTo>
                  <a:lnTo>
                    <a:pt x="330" y="286"/>
                  </a:lnTo>
                  <a:lnTo>
                    <a:pt x="332" y="286"/>
                  </a:lnTo>
                  <a:lnTo>
                    <a:pt x="340" y="290"/>
                  </a:lnTo>
                  <a:lnTo>
                    <a:pt x="344" y="296"/>
                  </a:lnTo>
                  <a:lnTo>
                    <a:pt x="350" y="302"/>
                  </a:lnTo>
                  <a:lnTo>
                    <a:pt x="354" y="308"/>
                  </a:lnTo>
                  <a:lnTo>
                    <a:pt x="354" y="302"/>
                  </a:lnTo>
                  <a:lnTo>
                    <a:pt x="358" y="306"/>
                  </a:lnTo>
                  <a:lnTo>
                    <a:pt x="358" y="312"/>
                  </a:lnTo>
                  <a:lnTo>
                    <a:pt x="362" y="318"/>
                  </a:lnTo>
                  <a:lnTo>
                    <a:pt x="362" y="324"/>
                  </a:lnTo>
                  <a:lnTo>
                    <a:pt x="364" y="330"/>
                  </a:lnTo>
                  <a:lnTo>
                    <a:pt x="370" y="334"/>
                  </a:lnTo>
                  <a:lnTo>
                    <a:pt x="376" y="334"/>
                  </a:lnTo>
                  <a:lnTo>
                    <a:pt x="380" y="338"/>
                  </a:lnTo>
                  <a:lnTo>
                    <a:pt x="386" y="344"/>
                  </a:lnTo>
                  <a:lnTo>
                    <a:pt x="388" y="350"/>
                  </a:lnTo>
                  <a:lnTo>
                    <a:pt x="394" y="356"/>
                  </a:lnTo>
                  <a:lnTo>
                    <a:pt x="394" y="358"/>
                  </a:lnTo>
                  <a:lnTo>
                    <a:pt x="400" y="360"/>
                  </a:lnTo>
                  <a:lnTo>
                    <a:pt x="404" y="354"/>
                  </a:lnTo>
                  <a:lnTo>
                    <a:pt x="408" y="360"/>
                  </a:lnTo>
                  <a:lnTo>
                    <a:pt x="410" y="366"/>
                  </a:lnTo>
                  <a:lnTo>
                    <a:pt x="406" y="368"/>
                  </a:lnTo>
                  <a:lnTo>
                    <a:pt x="400" y="372"/>
                  </a:lnTo>
                  <a:lnTo>
                    <a:pt x="394" y="376"/>
                  </a:lnTo>
                  <a:lnTo>
                    <a:pt x="392" y="382"/>
                  </a:lnTo>
                  <a:lnTo>
                    <a:pt x="388" y="388"/>
                  </a:lnTo>
                  <a:lnTo>
                    <a:pt x="382" y="388"/>
                  </a:lnTo>
                  <a:lnTo>
                    <a:pt x="378" y="382"/>
                  </a:lnTo>
                  <a:lnTo>
                    <a:pt x="372" y="380"/>
                  </a:lnTo>
                  <a:lnTo>
                    <a:pt x="368" y="382"/>
                  </a:lnTo>
                  <a:lnTo>
                    <a:pt x="362" y="376"/>
                  </a:lnTo>
                  <a:lnTo>
                    <a:pt x="360" y="372"/>
                  </a:lnTo>
                  <a:lnTo>
                    <a:pt x="356" y="366"/>
                  </a:lnTo>
                  <a:lnTo>
                    <a:pt x="350" y="360"/>
                  </a:lnTo>
                  <a:lnTo>
                    <a:pt x="344" y="358"/>
                  </a:lnTo>
                  <a:lnTo>
                    <a:pt x="338" y="352"/>
                  </a:lnTo>
                  <a:lnTo>
                    <a:pt x="336" y="346"/>
                  </a:lnTo>
                  <a:lnTo>
                    <a:pt x="332" y="340"/>
                  </a:lnTo>
                  <a:lnTo>
                    <a:pt x="332" y="338"/>
                  </a:lnTo>
                  <a:lnTo>
                    <a:pt x="330" y="334"/>
                  </a:lnTo>
                  <a:lnTo>
                    <a:pt x="324" y="328"/>
                  </a:lnTo>
                  <a:lnTo>
                    <a:pt x="318" y="322"/>
                  </a:lnTo>
                  <a:lnTo>
                    <a:pt x="312" y="318"/>
                  </a:lnTo>
                  <a:lnTo>
                    <a:pt x="306" y="314"/>
                  </a:lnTo>
                  <a:lnTo>
                    <a:pt x="300" y="308"/>
                  </a:lnTo>
                  <a:lnTo>
                    <a:pt x="294" y="304"/>
                  </a:lnTo>
                  <a:lnTo>
                    <a:pt x="290" y="300"/>
                  </a:lnTo>
                  <a:lnTo>
                    <a:pt x="288" y="294"/>
                  </a:lnTo>
                  <a:lnTo>
                    <a:pt x="284" y="288"/>
                  </a:lnTo>
                  <a:lnTo>
                    <a:pt x="280" y="282"/>
                  </a:lnTo>
                  <a:lnTo>
                    <a:pt x="276" y="276"/>
                  </a:lnTo>
                  <a:lnTo>
                    <a:pt x="270" y="270"/>
                  </a:lnTo>
                  <a:lnTo>
                    <a:pt x="264" y="266"/>
                  </a:lnTo>
                  <a:lnTo>
                    <a:pt x="258" y="264"/>
                  </a:lnTo>
                  <a:lnTo>
                    <a:pt x="252" y="262"/>
                  </a:lnTo>
                  <a:lnTo>
                    <a:pt x="246" y="258"/>
                  </a:lnTo>
                  <a:lnTo>
                    <a:pt x="240" y="254"/>
                  </a:lnTo>
                  <a:lnTo>
                    <a:pt x="234" y="248"/>
                  </a:lnTo>
                  <a:lnTo>
                    <a:pt x="232" y="246"/>
                  </a:lnTo>
                  <a:lnTo>
                    <a:pt x="226" y="244"/>
                  </a:lnTo>
                  <a:lnTo>
                    <a:pt x="220" y="244"/>
                  </a:lnTo>
                  <a:lnTo>
                    <a:pt x="218" y="244"/>
                  </a:lnTo>
                  <a:lnTo>
                    <a:pt x="212" y="246"/>
                  </a:lnTo>
                  <a:lnTo>
                    <a:pt x="206" y="242"/>
                  </a:lnTo>
                  <a:lnTo>
                    <a:pt x="200" y="242"/>
                  </a:lnTo>
                  <a:lnTo>
                    <a:pt x="194" y="242"/>
                  </a:lnTo>
                  <a:lnTo>
                    <a:pt x="188" y="240"/>
                  </a:lnTo>
                  <a:lnTo>
                    <a:pt x="182" y="242"/>
                  </a:lnTo>
                  <a:lnTo>
                    <a:pt x="178" y="244"/>
                  </a:lnTo>
                  <a:lnTo>
                    <a:pt x="172" y="244"/>
                  </a:lnTo>
                  <a:lnTo>
                    <a:pt x="170" y="246"/>
                  </a:lnTo>
                  <a:lnTo>
                    <a:pt x="170" y="244"/>
                  </a:lnTo>
                  <a:lnTo>
                    <a:pt x="168" y="238"/>
                  </a:lnTo>
                  <a:lnTo>
                    <a:pt x="166" y="236"/>
                  </a:lnTo>
                  <a:lnTo>
                    <a:pt x="164" y="232"/>
                  </a:lnTo>
                  <a:lnTo>
                    <a:pt x="158" y="232"/>
                  </a:lnTo>
                  <a:lnTo>
                    <a:pt x="154" y="238"/>
                  </a:lnTo>
                  <a:lnTo>
                    <a:pt x="150" y="242"/>
                  </a:lnTo>
                  <a:lnTo>
                    <a:pt x="144" y="244"/>
                  </a:lnTo>
                  <a:lnTo>
                    <a:pt x="142" y="244"/>
                  </a:lnTo>
                  <a:lnTo>
                    <a:pt x="134" y="246"/>
                  </a:lnTo>
                  <a:lnTo>
                    <a:pt x="128" y="248"/>
                  </a:lnTo>
                  <a:lnTo>
                    <a:pt x="124" y="248"/>
                  </a:lnTo>
                  <a:lnTo>
                    <a:pt x="118" y="242"/>
                  </a:lnTo>
                  <a:lnTo>
                    <a:pt x="114" y="236"/>
                  </a:lnTo>
                  <a:lnTo>
                    <a:pt x="112" y="230"/>
                  </a:lnTo>
                  <a:lnTo>
                    <a:pt x="106" y="230"/>
                  </a:lnTo>
                  <a:lnTo>
                    <a:pt x="100" y="228"/>
                  </a:lnTo>
                  <a:lnTo>
                    <a:pt x="94" y="222"/>
                  </a:lnTo>
                  <a:lnTo>
                    <a:pt x="90" y="216"/>
                  </a:lnTo>
                  <a:lnTo>
                    <a:pt x="88" y="222"/>
                  </a:lnTo>
                  <a:lnTo>
                    <a:pt x="86" y="228"/>
                  </a:lnTo>
                  <a:lnTo>
                    <a:pt x="84" y="232"/>
                  </a:lnTo>
                  <a:lnTo>
                    <a:pt x="84" y="234"/>
                  </a:lnTo>
                  <a:lnTo>
                    <a:pt x="82" y="240"/>
                  </a:lnTo>
                  <a:lnTo>
                    <a:pt x="80" y="246"/>
                  </a:lnTo>
                  <a:lnTo>
                    <a:pt x="78" y="252"/>
                  </a:lnTo>
                  <a:lnTo>
                    <a:pt x="76" y="258"/>
                  </a:lnTo>
                  <a:lnTo>
                    <a:pt x="74" y="264"/>
                  </a:lnTo>
                  <a:lnTo>
                    <a:pt x="72" y="270"/>
                  </a:lnTo>
                  <a:lnTo>
                    <a:pt x="70" y="270"/>
                  </a:lnTo>
                  <a:lnTo>
                    <a:pt x="66" y="264"/>
                  </a:lnTo>
                  <a:lnTo>
                    <a:pt x="62" y="258"/>
                  </a:lnTo>
                  <a:lnTo>
                    <a:pt x="60" y="252"/>
                  </a:lnTo>
                  <a:lnTo>
                    <a:pt x="56" y="250"/>
                  </a:lnTo>
                  <a:lnTo>
                    <a:pt x="52" y="246"/>
                  </a:lnTo>
                  <a:lnTo>
                    <a:pt x="46" y="246"/>
                  </a:lnTo>
                  <a:lnTo>
                    <a:pt x="42" y="252"/>
                  </a:lnTo>
                  <a:lnTo>
                    <a:pt x="38" y="258"/>
                  </a:lnTo>
                  <a:lnTo>
                    <a:pt x="32" y="256"/>
                  </a:lnTo>
                  <a:lnTo>
                    <a:pt x="26" y="254"/>
                  </a:lnTo>
                  <a:lnTo>
                    <a:pt x="20" y="254"/>
                  </a:lnTo>
                  <a:lnTo>
                    <a:pt x="14" y="254"/>
                  </a:lnTo>
                  <a:lnTo>
                    <a:pt x="8" y="258"/>
                  </a:lnTo>
                  <a:lnTo>
                    <a:pt x="8" y="256"/>
                  </a:lnTo>
                  <a:lnTo>
                    <a:pt x="6" y="250"/>
                  </a:lnTo>
                  <a:lnTo>
                    <a:pt x="6" y="244"/>
                  </a:lnTo>
                  <a:lnTo>
                    <a:pt x="6" y="238"/>
                  </a:lnTo>
                  <a:lnTo>
                    <a:pt x="4" y="232"/>
                  </a:lnTo>
                  <a:lnTo>
                    <a:pt x="4" y="226"/>
                  </a:lnTo>
                  <a:lnTo>
                    <a:pt x="4" y="220"/>
                  </a:lnTo>
                  <a:lnTo>
                    <a:pt x="2" y="214"/>
                  </a:lnTo>
                  <a:lnTo>
                    <a:pt x="2" y="208"/>
                  </a:lnTo>
                  <a:lnTo>
                    <a:pt x="2" y="202"/>
                  </a:lnTo>
                  <a:lnTo>
                    <a:pt x="0" y="1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4" name="Freeform 242"/>
            <p:cNvSpPr>
              <a:spLocks/>
            </p:cNvSpPr>
            <p:nvPr/>
          </p:nvSpPr>
          <p:spPr bwMode="auto">
            <a:xfrm>
              <a:off x="4722813" y="4752975"/>
              <a:ext cx="230187" cy="258763"/>
            </a:xfrm>
            <a:custGeom>
              <a:avLst/>
              <a:gdLst>
                <a:gd name="T0" fmla="*/ 0 w 564"/>
                <a:gd name="T1" fmla="*/ 2147483647 h 632"/>
                <a:gd name="T2" fmla="*/ 0 w 564"/>
                <a:gd name="T3" fmla="*/ 2147483647 h 632"/>
                <a:gd name="T4" fmla="*/ 2147483647 w 564"/>
                <a:gd name="T5" fmla="*/ 2147483647 h 632"/>
                <a:gd name="T6" fmla="*/ 2147483647 w 564"/>
                <a:gd name="T7" fmla="*/ 2147483647 h 632"/>
                <a:gd name="T8" fmla="*/ 2147483647 w 564"/>
                <a:gd name="T9" fmla="*/ 2147483647 h 632"/>
                <a:gd name="T10" fmla="*/ 2147483647 w 564"/>
                <a:gd name="T11" fmla="*/ 2147483647 h 632"/>
                <a:gd name="T12" fmla="*/ 2147483647 w 564"/>
                <a:gd name="T13" fmla="*/ 2147483647 h 632"/>
                <a:gd name="T14" fmla="*/ 2147483647 w 564"/>
                <a:gd name="T15" fmla="*/ 2147483647 h 632"/>
                <a:gd name="T16" fmla="*/ 2147483647 w 564"/>
                <a:gd name="T17" fmla="*/ 2147483647 h 632"/>
                <a:gd name="T18" fmla="*/ 2147483647 w 564"/>
                <a:gd name="T19" fmla="*/ 2147483647 h 632"/>
                <a:gd name="T20" fmla="*/ 2147483647 w 564"/>
                <a:gd name="T21" fmla="*/ 2147483647 h 632"/>
                <a:gd name="T22" fmla="*/ 2147483647 w 564"/>
                <a:gd name="T23" fmla="*/ 2147483647 h 632"/>
                <a:gd name="T24" fmla="*/ 2147483647 w 564"/>
                <a:gd name="T25" fmla="*/ 2147483647 h 632"/>
                <a:gd name="T26" fmla="*/ 2147483647 w 564"/>
                <a:gd name="T27" fmla="*/ 2147483647 h 632"/>
                <a:gd name="T28" fmla="*/ 2147483647 w 564"/>
                <a:gd name="T29" fmla="*/ 2147483647 h 632"/>
                <a:gd name="T30" fmla="*/ 2147483647 w 564"/>
                <a:gd name="T31" fmla="*/ 2147483647 h 632"/>
                <a:gd name="T32" fmla="*/ 2147483647 w 564"/>
                <a:gd name="T33" fmla="*/ 2147483647 h 632"/>
                <a:gd name="T34" fmla="*/ 2147483647 w 564"/>
                <a:gd name="T35" fmla="*/ 2147483647 h 632"/>
                <a:gd name="T36" fmla="*/ 2147483647 w 564"/>
                <a:gd name="T37" fmla="*/ 2147483647 h 632"/>
                <a:gd name="T38" fmla="*/ 2147483647 w 564"/>
                <a:gd name="T39" fmla="*/ 2147483647 h 632"/>
                <a:gd name="T40" fmla="*/ 2147483647 w 564"/>
                <a:gd name="T41" fmla="*/ 2147483647 h 632"/>
                <a:gd name="T42" fmla="*/ 2147483647 w 564"/>
                <a:gd name="T43" fmla="*/ 2147483647 h 632"/>
                <a:gd name="T44" fmla="*/ 2147483647 w 564"/>
                <a:gd name="T45" fmla="*/ 2147483647 h 632"/>
                <a:gd name="T46" fmla="*/ 2147483647 w 564"/>
                <a:gd name="T47" fmla="*/ 2147483647 h 632"/>
                <a:gd name="T48" fmla="*/ 2147483647 w 564"/>
                <a:gd name="T49" fmla="*/ 2147483647 h 632"/>
                <a:gd name="T50" fmla="*/ 2147483647 w 564"/>
                <a:gd name="T51" fmla="*/ 2147483647 h 632"/>
                <a:gd name="T52" fmla="*/ 2147483647 w 564"/>
                <a:gd name="T53" fmla="*/ 2147483647 h 632"/>
                <a:gd name="T54" fmla="*/ 2147483647 w 564"/>
                <a:gd name="T55" fmla="*/ 2147483647 h 632"/>
                <a:gd name="T56" fmla="*/ 2147483647 w 564"/>
                <a:gd name="T57" fmla="*/ 2147483647 h 632"/>
                <a:gd name="T58" fmla="*/ 2147483647 w 564"/>
                <a:gd name="T59" fmla="*/ 2147483647 h 632"/>
                <a:gd name="T60" fmla="*/ 2147483647 w 564"/>
                <a:gd name="T61" fmla="*/ 2147483647 h 632"/>
                <a:gd name="T62" fmla="*/ 2147483647 w 564"/>
                <a:gd name="T63" fmla="*/ 2147483647 h 632"/>
                <a:gd name="T64" fmla="*/ 2147483647 w 564"/>
                <a:gd name="T65" fmla="*/ 2147483647 h 632"/>
                <a:gd name="T66" fmla="*/ 2147483647 w 564"/>
                <a:gd name="T67" fmla="*/ 2147483647 h 632"/>
                <a:gd name="T68" fmla="*/ 2147483647 w 564"/>
                <a:gd name="T69" fmla="*/ 2147483647 h 632"/>
                <a:gd name="T70" fmla="*/ 2147483647 w 564"/>
                <a:gd name="T71" fmla="*/ 2147483647 h 632"/>
                <a:gd name="T72" fmla="*/ 2147483647 w 564"/>
                <a:gd name="T73" fmla="*/ 2147483647 h 632"/>
                <a:gd name="T74" fmla="*/ 2147483647 w 564"/>
                <a:gd name="T75" fmla="*/ 2147483647 h 632"/>
                <a:gd name="T76" fmla="*/ 2147483647 w 564"/>
                <a:gd name="T77" fmla="*/ 2147483647 h 632"/>
                <a:gd name="T78" fmla="*/ 2147483647 w 564"/>
                <a:gd name="T79" fmla="*/ 2147483647 h 632"/>
                <a:gd name="T80" fmla="*/ 2147483647 w 564"/>
                <a:gd name="T81" fmla="*/ 2147483647 h 632"/>
                <a:gd name="T82" fmla="*/ 2147483647 w 564"/>
                <a:gd name="T83" fmla="*/ 2147483647 h 632"/>
                <a:gd name="T84" fmla="*/ 2147483647 w 564"/>
                <a:gd name="T85" fmla="*/ 2147483647 h 632"/>
                <a:gd name="T86" fmla="*/ 2147483647 w 564"/>
                <a:gd name="T87" fmla="*/ 2147483647 h 632"/>
                <a:gd name="T88" fmla="*/ 2147483647 w 564"/>
                <a:gd name="T89" fmla="*/ 2147483647 h 632"/>
                <a:gd name="T90" fmla="*/ 2147483647 w 564"/>
                <a:gd name="T91" fmla="*/ 2147483647 h 632"/>
                <a:gd name="T92" fmla="*/ 2147483647 w 564"/>
                <a:gd name="T93" fmla="*/ 2147483647 h 632"/>
                <a:gd name="T94" fmla="*/ 2147483647 w 564"/>
                <a:gd name="T95" fmla="*/ 2147483647 h 632"/>
                <a:gd name="T96" fmla="*/ 2147483647 w 564"/>
                <a:gd name="T97" fmla="*/ 2147483647 h 632"/>
                <a:gd name="T98" fmla="*/ 2147483647 w 564"/>
                <a:gd name="T99" fmla="*/ 2147483647 h 632"/>
                <a:gd name="T100" fmla="*/ 2147483647 w 564"/>
                <a:gd name="T101" fmla="*/ 2147483647 h 632"/>
                <a:gd name="T102" fmla="*/ 2147483647 w 564"/>
                <a:gd name="T103" fmla="*/ 2147483647 h 632"/>
                <a:gd name="T104" fmla="*/ 2147483647 w 564"/>
                <a:gd name="T105" fmla="*/ 2147483647 h 632"/>
                <a:gd name="T106" fmla="*/ 2147483647 w 564"/>
                <a:gd name="T107" fmla="*/ 2147483647 h 632"/>
                <a:gd name="T108" fmla="*/ 2147483647 w 564"/>
                <a:gd name="T109" fmla="*/ 2147483647 h 632"/>
                <a:gd name="T110" fmla="*/ 2147483647 w 564"/>
                <a:gd name="T111" fmla="*/ 2147483647 h 632"/>
                <a:gd name="T112" fmla="*/ 2147483647 w 564"/>
                <a:gd name="T113" fmla="*/ 2147483647 h 632"/>
                <a:gd name="T114" fmla="*/ 2147483647 w 564"/>
                <a:gd name="T115" fmla="*/ 2147483647 h 632"/>
                <a:gd name="T116" fmla="*/ 2147483647 w 564"/>
                <a:gd name="T117" fmla="*/ 2147483647 h 632"/>
                <a:gd name="T118" fmla="*/ 2147483647 w 564"/>
                <a:gd name="T119" fmla="*/ 2147483647 h 63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64"/>
                <a:gd name="T181" fmla="*/ 0 h 632"/>
                <a:gd name="T182" fmla="*/ 564 w 564"/>
                <a:gd name="T183" fmla="*/ 632 h 63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64" h="632">
                  <a:moveTo>
                    <a:pt x="0" y="484"/>
                  </a:moveTo>
                  <a:lnTo>
                    <a:pt x="0" y="482"/>
                  </a:lnTo>
                  <a:lnTo>
                    <a:pt x="0" y="474"/>
                  </a:lnTo>
                  <a:lnTo>
                    <a:pt x="0" y="466"/>
                  </a:lnTo>
                  <a:lnTo>
                    <a:pt x="0" y="458"/>
                  </a:lnTo>
                  <a:lnTo>
                    <a:pt x="0" y="448"/>
                  </a:lnTo>
                  <a:lnTo>
                    <a:pt x="0" y="440"/>
                  </a:lnTo>
                  <a:lnTo>
                    <a:pt x="0" y="432"/>
                  </a:lnTo>
                  <a:lnTo>
                    <a:pt x="0" y="422"/>
                  </a:lnTo>
                  <a:lnTo>
                    <a:pt x="0" y="414"/>
                  </a:lnTo>
                  <a:lnTo>
                    <a:pt x="0" y="408"/>
                  </a:lnTo>
                  <a:lnTo>
                    <a:pt x="0" y="400"/>
                  </a:lnTo>
                  <a:lnTo>
                    <a:pt x="0" y="394"/>
                  </a:lnTo>
                  <a:lnTo>
                    <a:pt x="2" y="388"/>
                  </a:lnTo>
                  <a:lnTo>
                    <a:pt x="2" y="384"/>
                  </a:lnTo>
                  <a:lnTo>
                    <a:pt x="2" y="378"/>
                  </a:lnTo>
                  <a:lnTo>
                    <a:pt x="2" y="370"/>
                  </a:lnTo>
                  <a:lnTo>
                    <a:pt x="2" y="364"/>
                  </a:lnTo>
                  <a:lnTo>
                    <a:pt x="2" y="360"/>
                  </a:lnTo>
                  <a:lnTo>
                    <a:pt x="2" y="352"/>
                  </a:lnTo>
                  <a:lnTo>
                    <a:pt x="2" y="346"/>
                  </a:lnTo>
                  <a:lnTo>
                    <a:pt x="2" y="340"/>
                  </a:lnTo>
                  <a:lnTo>
                    <a:pt x="2" y="332"/>
                  </a:lnTo>
                  <a:lnTo>
                    <a:pt x="2" y="328"/>
                  </a:lnTo>
                  <a:lnTo>
                    <a:pt x="2" y="320"/>
                  </a:lnTo>
                  <a:lnTo>
                    <a:pt x="2" y="318"/>
                  </a:lnTo>
                  <a:lnTo>
                    <a:pt x="2" y="314"/>
                  </a:lnTo>
                  <a:lnTo>
                    <a:pt x="2" y="308"/>
                  </a:lnTo>
                  <a:lnTo>
                    <a:pt x="2" y="302"/>
                  </a:lnTo>
                  <a:lnTo>
                    <a:pt x="2" y="294"/>
                  </a:lnTo>
                  <a:lnTo>
                    <a:pt x="2" y="292"/>
                  </a:lnTo>
                  <a:lnTo>
                    <a:pt x="10" y="292"/>
                  </a:lnTo>
                  <a:lnTo>
                    <a:pt x="16" y="292"/>
                  </a:lnTo>
                  <a:lnTo>
                    <a:pt x="22" y="292"/>
                  </a:lnTo>
                  <a:lnTo>
                    <a:pt x="28" y="292"/>
                  </a:lnTo>
                  <a:lnTo>
                    <a:pt x="34" y="292"/>
                  </a:lnTo>
                  <a:lnTo>
                    <a:pt x="42" y="292"/>
                  </a:lnTo>
                  <a:lnTo>
                    <a:pt x="48" y="292"/>
                  </a:lnTo>
                  <a:lnTo>
                    <a:pt x="62" y="292"/>
                  </a:lnTo>
                  <a:lnTo>
                    <a:pt x="62" y="288"/>
                  </a:lnTo>
                  <a:lnTo>
                    <a:pt x="62" y="280"/>
                  </a:lnTo>
                  <a:lnTo>
                    <a:pt x="62" y="270"/>
                  </a:lnTo>
                  <a:lnTo>
                    <a:pt x="62" y="260"/>
                  </a:lnTo>
                  <a:lnTo>
                    <a:pt x="64" y="252"/>
                  </a:lnTo>
                  <a:lnTo>
                    <a:pt x="64" y="244"/>
                  </a:lnTo>
                  <a:lnTo>
                    <a:pt x="64" y="238"/>
                  </a:lnTo>
                  <a:lnTo>
                    <a:pt x="64" y="230"/>
                  </a:lnTo>
                  <a:lnTo>
                    <a:pt x="64" y="224"/>
                  </a:lnTo>
                  <a:lnTo>
                    <a:pt x="64" y="214"/>
                  </a:lnTo>
                  <a:lnTo>
                    <a:pt x="64" y="212"/>
                  </a:lnTo>
                  <a:lnTo>
                    <a:pt x="64" y="210"/>
                  </a:lnTo>
                  <a:lnTo>
                    <a:pt x="64" y="204"/>
                  </a:lnTo>
                  <a:lnTo>
                    <a:pt x="64" y="196"/>
                  </a:lnTo>
                  <a:lnTo>
                    <a:pt x="64" y="192"/>
                  </a:lnTo>
                  <a:lnTo>
                    <a:pt x="64" y="186"/>
                  </a:lnTo>
                  <a:lnTo>
                    <a:pt x="64" y="180"/>
                  </a:lnTo>
                  <a:lnTo>
                    <a:pt x="64" y="176"/>
                  </a:lnTo>
                  <a:lnTo>
                    <a:pt x="64" y="166"/>
                  </a:lnTo>
                  <a:lnTo>
                    <a:pt x="64" y="160"/>
                  </a:lnTo>
                  <a:lnTo>
                    <a:pt x="64" y="154"/>
                  </a:lnTo>
                  <a:lnTo>
                    <a:pt x="64" y="148"/>
                  </a:lnTo>
                  <a:lnTo>
                    <a:pt x="64" y="140"/>
                  </a:lnTo>
                  <a:lnTo>
                    <a:pt x="64" y="134"/>
                  </a:lnTo>
                  <a:lnTo>
                    <a:pt x="66" y="128"/>
                  </a:lnTo>
                  <a:lnTo>
                    <a:pt x="66" y="120"/>
                  </a:lnTo>
                  <a:lnTo>
                    <a:pt x="66" y="116"/>
                  </a:lnTo>
                  <a:lnTo>
                    <a:pt x="66" y="108"/>
                  </a:lnTo>
                  <a:lnTo>
                    <a:pt x="66" y="102"/>
                  </a:lnTo>
                  <a:lnTo>
                    <a:pt x="66" y="96"/>
                  </a:lnTo>
                  <a:lnTo>
                    <a:pt x="66" y="90"/>
                  </a:lnTo>
                  <a:lnTo>
                    <a:pt x="66" y="84"/>
                  </a:lnTo>
                  <a:lnTo>
                    <a:pt x="66" y="80"/>
                  </a:lnTo>
                  <a:lnTo>
                    <a:pt x="66" y="78"/>
                  </a:lnTo>
                  <a:lnTo>
                    <a:pt x="66" y="72"/>
                  </a:lnTo>
                  <a:lnTo>
                    <a:pt x="66" y="66"/>
                  </a:lnTo>
                  <a:lnTo>
                    <a:pt x="66" y="60"/>
                  </a:lnTo>
                  <a:lnTo>
                    <a:pt x="66" y="52"/>
                  </a:lnTo>
                  <a:lnTo>
                    <a:pt x="66" y="50"/>
                  </a:lnTo>
                  <a:lnTo>
                    <a:pt x="66" y="44"/>
                  </a:lnTo>
                  <a:lnTo>
                    <a:pt x="66" y="38"/>
                  </a:lnTo>
                  <a:lnTo>
                    <a:pt x="80" y="38"/>
                  </a:lnTo>
                  <a:lnTo>
                    <a:pt x="94" y="36"/>
                  </a:lnTo>
                  <a:lnTo>
                    <a:pt x="112" y="32"/>
                  </a:lnTo>
                  <a:lnTo>
                    <a:pt x="114" y="32"/>
                  </a:lnTo>
                  <a:lnTo>
                    <a:pt x="128" y="30"/>
                  </a:lnTo>
                  <a:lnTo>
                    <a:pt x="142" y="26"/>
                  </a:lnTo>
                  <a:lnTo>
                    <a:pt x="158" y="24"/>
                  </a:lnTo>
                  <a:lnTo>
                    <a:pt x="166" y="22"/>
                  </a:lnTo>
                  <a:lnTo>
                    <a:pt x="188" y="18"/>
                  </a:lnTo>
                  <a:lnTo>
                    <a:pt x="194" y="16"/>
                  </a:lnTo>
                  <a:lnTo>
                    <a:pt x="206" y="16"/>
                  </a:lnTo>
                  <a:lnTo>
                    <a:pt x="208" y="22"/>
                  </a:lnTo>
                  <a:lnTo>
                    <a:pt x="212" y="28"/>
                  </a:lnTo>
                  <a:lnTo>
                    <a:pt x="218" y="32"/>
                  </a:lnTo>
                  <a:lnTo>
                    <a:pt x="220" y="38"/>
                  </a:lnTo>
                  <a:lnTo>
                    <a:pt x="222" y="44"/>
                  </a:lnTo>
                  <a:lnTo>
                    <a:pt x="224" y="50"/>
                  </a:lnTo>
                  <a:lnTo>
                    <a:pt x="230" y="46"/>
                  </a:lnTo>
                  <a:lnTo>
                    <a:pt x="236" y="40"/>
                  </a:lnTo>
                  <a:lnTo>
                    <a:pt x="240" y="34"/>
                  </a:lnTo>
                  <a:lnTo>
                    <a:pt x="244" y="28"/>
                  </a:lnTo>
                  <a:lnTo>
                    <a:pt x="250" y="26"/>
                  </a:lnTo>
                  <a:lnTo>
                    <a:pt x="256" y="22"/>
                  </a:lnTo>
                  <a:lnTo>
                    <a:pt x="262" y="16"/>
                  </a:lnTo>
                  <a:lnTo>
                    <a:pt x="268" y="14"/>
                  </a:lnTo>
                  <a:lnTo>
                    <a:pt x="274" y="14"/>
                  </a:lnTo>
                  <a:lnTo>
                    <a:pt x="278" y="18"/>
                  </a:lnTo>
                  <a:lnTo>
                    <a:pt x="282" y="18"/>
                  </a:lnTo>
                  <a:lnTo>
                    <a:pt x="288" y="12"/>
                  </a:lnTo>
                  <a:lnTo>
                    <a:pt x="292" y="10"/>
                  </a:lnTo>
                  <a:lnTo>
                    <a:pt x="298" y="6"/>
                  </a:lnTo>
                  <a:lnTo>
                    <a:pt x="302" y="4"/>
                  </a:lnTo>
                  <a:lnTo>
                    <a:pt x="308" y="4"/>
                  </a:lnTo>
                  <a:lnTo>
                    <a:pt x="314" y="4"/>
                  </a:lnTo>
                  <a:lnTo>
                    <a:pt x="320" y="0"/>
                  </a:lnTo>
                  <a:lnTo>
                    <a:pt x="324" y="2"/>
                  </a:lnTo>
                  <a:lnTo>
                    <a:pt x="322" y="8"/>
                  </a:lnTo>
                  <a:lnTo>
                    <a:pt x="324" y="14"/>
                  </a:lnTo>
                  <a:lnTo>
                    <a:pt x="326" y="20"/>
                  </a:lnTo>
                  <a:lnTo>
                    <a:pt x="332" y="26"/>
                  </a:lnTo>
                  <a:lnTo>
                    <a:pt x="336" y="32"/>
                  </a:lnTo>
                  <a:lnTo>
                    <a:pt x="338" y="38"/>
                  </a:lnTo>
                  <a:lnTo>
                    <a:pt x="340" y="44"/>
                  </a:lnTo>
                  <a:lnTo>
                    <a:pt x="346" y="50"/>
                  </a:lnTo>
                  <a:lnTo>
                    <a:pt x="348" y="52"/>
                  </a:lnTo>
                  <a:lnTo>
                    <a:pt x="354" y="58"/>
                  </a:lnTo>
                  <a:lnTo>
                    <a:pt x="354" y="62"/>
                  </a:lnTo>
                  <a:lnTo>
                    <a:pt x="356" y="68"/>
                  </a:lnTo>
                  <a:lnTo>
                    <a:pt x="360" y="74"/>
                  </a:lnTo>
                  <a:lnTo>
                    <a:pt x="364" y="80"/>
                  </a:lnTo>
                  <a:lnTo>
                    <a:pt x="366" y="86"/>
                  </a:lnTo>
                  <a:lnTo>
                    <a:pt x="364" y="90"/>
                  </a:lnTo>
                  <a:lnTo>
                    <a:pt x="366" y="96"/>
                  </a:lnTo>
                  <a:lnTo>
                    <a:pt x="370" y="102"/>
                  </a:lnTo>
                  <a:lnTo>
                    <a:pt x="372" y="108"/>
                  </a:lnTo>
                  <a:lnTo>
                    <a:pt x="374" y="116"/>
                  </a:lnTo>
                  <a:lnTo>
                    <a:pt x="376" y="120"/>
                  </a:lnTo>
                  <a:lnTo>
                    <a:pt x="382" y="124"/>
                  </a:lnTo>
                  <a:lnTo>
                    <a:pt x="388" y="130"/>
                  </a:lnTo>
                  <a:lnTo>
                    <a:pt x="392" y="136"/>
                  </a:lnTo>
                  <a:lnTo>
                    <a:pt x="398" y="138"/>
                  </a:lnTo>
                  <a:lnTo>
                    <a:pt x="400" y="140"/>
                  </a:lnTo>
                  <a:lnTo>
                    <a:pt x="404" y="144"/>
                  </a:lnTo>
                  <a:lnTo>
                    <a:pt x="408" y="146"/>
                  </a:lnTo>
                  <a:lnTo>
                    <a:pt x="412" y="150"/>
                  </a:lnTo>
                  <a:lnTo>
                    <a:pt x="418" y="154"/>
                  </a:lnTo>
                  <a:lnTo>
                    <a:pt x="422" y="154"/>
                  </a:lnTo>
                  <a:lnTo>
                    <a:pt x="426" y="154"/>
                  </a:lnTo>
                  <a:lnTo>
                    <a:pt x="432" y="160"/>
                  </a:lnTo>
                  <a:lnTo>
                    <a:pt x="438" y="160"/>
                  </a:lnTo>
                  <a:lnTo>
                    <a:pt x="440" y="166"/>
                  </a:lnTo>
                  <a:lnTo>
                    <a:pt x="442" y="174"/>
                  </a:lnTo>
                  <a:lnTo>
                    <a:pt x="442" y="178"/>
                  </a:lnTo>
                  <a:lnTo>
                    <a:pt x="442" y="184"/>
                  </a:lnTo>
                  <a:lnTo>
                    <a:pt x="442" y="188"/>
                  </a:lnTo>
                  <a:lnTo>
                    <a:pt x="448" y="188"/>
                  </a:lnTo>
                  <a:lnTo>
                    <a:pt x="454" y="186"/>
                  </a:lnTo>
                  <a:lnTo>
                    <a:pt x="460" y="188"/>
                  </a:lnTo>
                  <a:lnTo>
                    <a:pt x="466" y="188"/>
                  </a:lnTo>
                  <a:lnTo>
                    <a:pt x="468" y="190"/>
                  </a:lnTo>
                  <a:lnTo>
                    <a:pt x="468" y="192"/>
                  </a:lnTo>
                  <a:lnTo>
                    <a:pt x="466" y="198"/>
                  </a:lnTo>
                  <a:lnTo>
                    <a:pt x="468" y="204"/>
                  </a:lnTo>
                  <a:lnTo>
                    <a:pt x="468" y="210"/>
                  </a:lnTo>
                  <a:lnTo>
                    <a:pt x="466" y="216"/>
                  </a:lnTo>
                  <a:lnTo>
                    <a:pt x="466" y="222"/>
                  </a:lnTo>
                  <a:lnTo>
                    <a:pt x="464" y="226"/>
                  </a:lnTo>
                  <a:lnTo>
                    <a:pt x="468" y="234"/>
                  </a:lnTo>
                  <a:lnTo>
                    <a:pt x="472" y="238"/>
                  </a:lnTo>
                  <a:lnTo>
                    <a:pt x="476" y="244"/>
                  </a:lnTo>
                  <a:lnTo>
                    <a:pt x="480" y="250"/>
                  </a:lnTo>
                  <a:lnTo>
                    <a:pt x="480" y="256"/>
                  </a:lnTo>
                  <a:lnTo>
                    <a:pt x="482" y="262"/>
                  </a:lnTo>
                  <a:lnTo>
                    <a:pt x="490" y="264"/>
                  </a:lnTo>
                  <a:lnTo>
                    <a:pt x="494" y="264"/>
                  </a:lnTo>
                  <a:lnTo>
                    <a:pt x="502" y="264"/>
                  </a:lnTo>
                  <a:lnTo>
                    <a:pt x="506" y="268"/>
                  </a:lnTo>
                  <a:lnTo>
                    <a:pt x="512" y="268"/>
                  </a:lnTo>
                  <a:lnTo>
                    <a:pt x="518" y="268"/>
                  </a:lnTo>
                  <a:lnTo>
                    <a:pt x="524" y="272"/>
                  </a:lnTo>
                  <a:lnTo>
                    <a:pt x="530" y="274"/>
                  </a:lnTo>
                  <a:lnTo>
                    <a:pt x="536" y="276"/>
                  </a:lnTo>
                  <a:lnTo>
                    <a:pt x="542" y="278"/>
                  </a:lnTo>
                  <a:lnTo>
                    <a:pt x="544" y="278"/>
                  </a:lnTo>
                  <a:lnTo>
                    <a:pt x="546" y="280"/>
                  </a:lnTo>
                  <a:lnTo>
                    <a:pt x="544" y="286"/>
                  </a:lnTo>
                  <a:lnTo>
                    <a:pt x="544" y="292"/>
                  </a:lnTo>
                  <a:lnTo>
                    <a:pt x="550" y="298"/>
                  </a:lnTo>
                  <a:lnTo>
                    <a:pt x="556" y="298"/>
                  </a:lnTo>
                  <a:lnTo>
                    <a:pt x="562" y="304"/>
                  </a:lnTo>
                  <a:lnTo>
                    <a:pt x="564" y="306"/>
                  </a:lnTo>
                  <a:lnTo>
                    <a:pt x="560" y="306"/>
                  </a:lnTo>
                  <a:lnTo>
                    <a:pt x="556" y="306"/>
                  </a:lnTo>
                  <a:lnTo>
                    <a:pt x="550" y="308"/>
                  </a:lnTo>
                  <a:lnTo>
                    <a:pt x="548" y="308"/>
                  </a:lnTo>
                  <a:lnTo>
                    <a:pt x="542" y="308"/>
                  </a:lnTo>
                  <a:lnTo>
                    <a:pt x="542" y="310"/>
                  </a:lnTo>
                  <a:lnTo>
                    <a:pt x="540" y="312"/>
                  </a:lnTo>
                  <a:lnTo>
                    <a:pt x="538" y="318"/>
                  </a:lnTo>
                  <a:lnTo>
                    <a:pt x="534" y="324"/>
                  </a:lnTo>
                  <a:lnTo>
                    <a:pt x="532" y="324"/>
                  </a:lnTo>
                  <a:lnTo>
                    <a:pt x="528" y="328"/>
                  </a:lnTo>
                  <a:lnTo>
                    <a:pt x="522" y="330"/>
                  </a:lnTo>
                  <a:lnTo>
                    <a:pt x="514" y="332"/>
                  </a:lnTo>
                  <a:lnTo>
                    <a:pt x="510" y="332"/>
                  </a:lnTo>
                  <a:lnTo>
                    <a:pt x="504" y="332"/>
                  </a:lnTo>
                  <a:lnTo>
                    <a:pt x="502" y="332"/>
                  </a:lnTo>
                  <a:lnTo>
                    <a:pt x="496" y="336"/>
                  </a:lnTo>
                  <a:lnTo>
                    <a:pt x="490" y="340"/>
                  </a:lnTo>
                  <a:lnTo>
                    <a:pt x="490" y="344"/>
                  </a:lnTo>
                  <a:lnTo>
                    <a:pt x="484" y="350"/>
                  </a:lnTo>
                  <a:lnTo>
                    <a:pt x="482" y="356"/>
                  </a:lnTo>
                  <a:lnTo>
                    <a:pt x="476" y="360"/>
                  </a:lnTo>
                  <a:lnTo>
                    <a:pt x="476" y="362"/>
                  </a:lnTo>
                  <a:lnTo>
                    <a:pt x="472" y="368"/>
                  </a:lnTo>
                  <a:lnTo>
                    <a:pt x="466" y="374"/>
                  </a:lnTo>
                  <a:lnTo>
                    <a:pt x="460" y="376"/>
                  </a:lnTo>
                  <a:lnTo>
                    <a:pt x="454" y="380"/>
                  </a:lnTo>
                  <a:lnTo>
                    <a:pt x="452" y="386"/>
                  </a:lnTo>
                  <a:lnTo>
                    <a:pt x="446" y="388"/>
                  </a:lnTo>
                  <a:lnTo>
                    <a:pt x="440" y="390"/>
                  </a:lnTo>
                  <a:lnTo>
                    <a:pt x="436" y="392"/>
                  </a:lnTo>
                  <a:lnTo>
                    <a:pt x="430" y="396"/>
                  </a:lnTo>
                  <a:lnTo>
                    <a:pt x="426" y="402"/>
                  </a:lnTo>
                  <a:lnTo>
                    <a:pt x="424" y="402"/>
                  </a:lnTo>
                  <a:lnTo>
                    <a:pt x="422" y="408"/>
                  </a:lnTo>
                  <a:lnTo>
                    <a:pt x="416" y="410"/>
                  </a:lnTo>
                  <a:lnTo>
                    <a:pt x="416" y="414"/>
                  </a:lnTo>
                  <a:lnTo>
                    <a:pt x="414" y="420"/>
                  </a:lnTo>
                  <a:lnTo>
                    <a:pt x="412" y="424"/>
                  </a:lnTo>
                  <a:lnTo>
                    <a:pt x="412" y="432"/>
                  </a:lnTo>
                  <a:lnTo>
                    <a:pt x="410" y="438"/>
                  </a:lnTo>
                  <a:lnTo>
                    <a:pt x="408" y="444"/>
                  </a:lnTo>
                  <a:lnTo>
                    <a:pt x="406" y="450"/>
                  </a:lnTo>
                  <a:lnTo>
                    <a:pt x="400" y="452"/>
                  </a:lnTo>
                  <a:lnTo>
                    <a:pt x="396" y="458"/>
                  </a:lnTo>
                  <a:lnTo>
                    <a:pt x="390" y="462"/>
                  </a:lnTo>
                  <a:lnTo>
                    <a:pt x="386" y="468"/>
                  </a:lnTo>
                  <a:lnTo>
                    <a:pt x="382" y="474"/>
                  </a:lnTo>
                  <a:lnTo>
                    <a:pt x="380" y="476"/>
                  </a:lnTo>
                  <a:lnTo>
                    <a:pt x="374" y="474"/>
                  </a:lnTo>
                  <a:lnTo>
                    <a:pt x="368" y="476"/>
                  </a:lnTo>
                  <a:lnTo>
                    <a:pt x="366" y="476"/>
                  </a:lnTo>
                  <a:lnTo>
                    <a:pt x="362" y="478"/>
                  </a:lnTo>
                  <a:lnTo>
                    <a:pt x="362" y="480"/>
                  </a:lnTo>
                  <a:lnTo>
                    <a:pt x="356" y="482"/>
                  </a:lnTo>
                  <a:lnTo>
                    <a:pt x="350" y="482"/>
                  </a:lnTo>
                  <a:lnTo>
                    <a:pt x="348" y="482"/>
                  </a:lnTo>
                  <a:lnTo>
                    <a:pt x="350" y="488"/>
                  </a:lnTo>
                  <a:lnTo>
                    <a:pt x="348" y="494"/>
                  </a:lnTo>
                  <a:lnTo>
                    <a:pt x="346" y="500"/>
                  </a:lnTo>
                  <a:lnTo>
                    <a:pt x="346" y="502"/>
                  </a:lnTo>
                  <a:lnTo>
                    <a:pt x="344" y="508"/>
                  </a:lnTo>
                  <a:lnTo>
                    <a:pt x="342" y="514"/>
                  </a:lnTo>
                  <a:lnTo>
                    <a:pt x="340" y="518"/>
                  </a:lnTo>
                  <a:lnTo>
                    <a:pt x="338" y="526"/>
                  </a:lnTo>
                  <a:lnTo>
                    <a:pt x="336" y="528"/>
                  </a:lnTo>
                  <a:lnTo>
                    <a:pt x="336" y="532"/>
                  </a:lnTo>
                  <a:lnTo>
                    <a:pt x="332" y="540"/>
                  </a:lnTo>
                  <a:lnTo>
                    <a:pt x="330" y="544"/>
                  </a:lnTo>
                  <a:lnTo>
                    <a:pt x="324" y="548"/>
                  </a:lnTo>
                  <a:lnTo>
                    <a:pt x="318" y="552"/>
                  </a:lnTo>
                  <a:lnTo>
                    <a:pt x="312" y="552"/>
                  </a:lnTo>
                  <a:lnTo>
                    <a:pt x="308" y="552"/>
                  </a:lnTo>
                  <a:lnTo>
                    <a:pt x="302" y="552"/>
                  </a:lnTo>
                  <a:lnTo>
                    <a:pt x="298" y="550"/>
                  </a:lnTo>
                  <a:lnTo>
                    <a:pt x="294" y="552"/>
                  </a:lnTo>
                  <a:lnTo>
                    <a:pt x="290" y="556"/>
                  </a:lnTo>
                  <a:lnTo>
                    <a:pt x="282" y="558"/>
                  </a:lnTo>
                  <a:lnTo>
                    <a:pt x="278" y="558"/>
                  </a:lnTo>
                  <a:lnTo>
                    <a:pt x="272" y="556"/>
                  </a:lnTo>
                  <a:lnTo>
                    <a:pt x="266" y="552"/>
                  </a:lnTo>
                  <a:lnTo>
                    <a:pt x="264" y="552"/>
                  </a:lnTo>
                  <a:lnTo>
                    <a:pt x="258" y="552"/>
                  </a:lnTo>
                  <a:lnTo>
                    <a:pt x="252" y="550"/>
                  </a:lnTo>
                  <a:lnTo>
                    <a:pt x="248" y="544"/>
                  </a:lnTo>
                  <a:lnTo>
                    <a:pt x="242" y="544"/>
                  </a:lnTo>
                  <a:lnTo>
                    <a:pt x="236" y="546"/>
                  </a:lnTo>
                  <a:lnTo>
                    <a:pt x="230" y="544"/>
                  </a:lnTo>
                  <a:lnTo>
                    <a:pt x="224" y="538"/>
                  </a:lnTo>
                  <a:lnTo>
                    <a:pt x="220" y="532"/>
                  </a:lnTo>
                  <a:lnTo>
                    <a:pt x="218" y="532"/>
                  </a:lnTo>
                  <a:lnTo>
                    <a:pt x="212" y="528"/>
                  </a:lnTo>
                  <a:lnTo>
                    <a:pt x="206" y="524"/>
                  </a:lnTo>
                  <a:lnTo>
                    <a:pt x="200" y="520"/>
                  </a:lnTo>
                  <a:lnTo>
                    <a:pt x="194" y="518"/>
                  </a:lnTo>
                  <a:lnTo>
                    <a:pt x="188" y="518"/>
                  </a:lnTo>
                  <a:lnTo>
                    <a:pt x="182" y="522"/>
                  </a:lnTo>
                  <a:lnTo>
                    <a:pt x="178" y="522"/>
                  </a:lnTo>
                  <a:lnTo>
                    <a:pt x="172" y="526"/>
                  </a:lnTo>
                  <a:lnTo>
                    <a:pt x="170" y="532"/>
                  </a:lnTo>
                  <a:lnTo>
                    <a:pt x="166" y="538"/>
                  </a:lnTo>
                  <a:lnTo>
                    <a:pt x="164" y="544"/>
                  </a:lnTo>
                  <a:lnTo>
                    <a:pt x="162" y="550"/>
                  </a:lnTo>
                  <a:lnTo>
                    <a:pt x="162" y="556"/>
                  </a:lnTo>
                  <a:lnTo>
                    <a:pt x="158" y="562"/>
                  </a:lnTo>
                  <a:lnTo>
                    <a:pt x="158" y="568"/>
                  </a:lnTo>
                  <a:lnTo>
                    <a:pt x="154" y="574"/>
                  </a:lnTo>
                  <a:lnTo>
                    <a:pt x="154" y="576"/>
                  </a:lnTo>
                  <a:lnTo>
                    <a:pt x="148" y="584"/>
                  </a:lnTo>
                  <a:lnTo>
                    <a:pt x="142" y="584"/>
                  </a:lnTo>
                  <a:lnTo>
                    <a:pt x="138" y="590"/>
                  </a:lnTo>
                  <a:lnTo>
                    <a:pt x="132" y="594"/>
                  </a:lnTo>
                  <a:lnTo>
                    <a:pt x="126" y="598"/>
                  </a:lnTo>
                  <a:lnTo>
                    <a:pt x="124" y="604"/>
                  </a:lnTo>
                  <a:lnTo>
                    <a:pt x="120" y="610"/>
                  </a:lnTo>
                  <a:lnTo>
                    <a:pt x="114" y="614"/>
                  </a:lnTo>
                  <a:lnTo>
                    <a:pt x="108" y="616"/>
                  </a:lnTo>
                  <a:lnTo>
                    <a:pt x="102" y="616"/>
                  </a:lnTo>
                  <a:lnTo>
                    <a:pt x="102" y="622"/>
                  </a:lnTo>
                  <a:lnTo>
                    <a:pt x="96" y="628"/>
                  </a:lnTo>
                  <a:lnTo>
                    <a:pt x="92" y="628"/>
                  </a:lnTo>
                  <a:lnTo>
                    <a:pt x="86" y="628"/>
                  </a:lnTo>
                  <a:lnTo>
                    <a:pt x="82" y="626"/>
                  </a:lnTo>
                  <a:lnTo>
                    <a:pt x="76" y="628"/>
                  </a:lnTo>
                  <a:lnTo>
                    <a:pt x="70" y="628"/>
                  </a:lnTo>
                  <a:lnTo>
                    <a:pt x="64" y="630"/>
                  </a:lnTo>
                  <a:lnTo>
                    <a:pt x="58" y="628"/>
                  </a:lnTo>
                  <a:lnTo>
                    <a:pt x="52" y="624"/>
                  </a:lnTo>
                  <a:lnTo>
                    <a:pt x="46" y="626"/>
                  </a:lnTo>
                  <a:lnTo>
                    <a:pt x="40" y="630"/>
                  </a:lnTo>
                  <a:lnTo>
                    <a:pt x="38" y="632"/>
                  </a:lnTo>
                  <a:lnTo>
                    <a:pt x="36" y="630"/>
                  </a:lnTo>
                  <a:lnTo>
                    <a:pt x="36" y="628"/>
                  </a:lnTo>
                  <a:lnTo>
                    <a:pt x="34" y="624"/>
                  </a:lnTo>
                  <a:lnTo>
                    <a:pt x="32" y="618"/>
                  </a:lnTo>
                  <a:lnTo>
                    <a:pt x="34" y="610"/>
                  </a:lnTo>
                  <a:lnTo>
                    <a:pt x="32" y="606"/>
                  </a:lnTo>
                  <a:lnTo>
                    <a:pt x="34" y="600"/>
                  </a:lnTo>
                  <a:lnTo>
                    <a:pt x="38" y="594"/>
                  </a:lnTo>
                  <a:lnTo>
                    <a:pt x="42" y="590"/>
                  </a:lnTo>
                  <a:lnTo>
                    <a:pt x="46" y="584"/>
                  </a:lnTo>
                  <a:lnTo>
                    <a:pt x="48" y="578"/>
                  </a:lnTo>
                  <a:lnTo>
                    <a:pt x="46" y="572"/>
                  </a:lnTo>
                  <a:lnTo>
                    <a:pt x="46" y="566"/>
                  </a:lnTo>
                  <a:lnTo>
                    <a:pt x="44" y="560"/>
                  </a:lnTo>
                  <a:lnTo>
                    <a:pt x="42" y="554"/>
                  </a:lnTo>
                  <a:lnTo>
                    <a:pt x="38" y="548"/>
                  </a:lnTo>
                  <a:lnTo>
                    <a:pt x="38" y="542"/>
                  </a:lnTo>
                  <a:lnTo>
                    <a:pt x="36" y="536"/>
                  </a:lnTo>
                  <a:lnTo>
                    <a:pt x="36" y="530"/>
                  </a:lnTo>
                  <a:lnTo>
                    <a:pt x="32" y="524"/>
                  </a:lnTo>
                  <a:lnTo>
                    <a:pt x="28" y="518"/>
                  </a:lnTo>
                  <a:lnTo>
                    <a:pt x="26" y="512"/>
                  </a:lnTo>
                  <a:lnTo>
                    <a:pt x="24" y="506"/>
                  </a:lnTo>
                  <a:lnTo>
                    <a:pt x="20" y="500"/>
                  </a:lnTo>
                  <a:lnTo>
                    <a:pt x="16" y="498"/>
                  </a:lnTo>
                  <a:lnTo>
                    <a:pt x="10" y="494"/>
                  </a:lnTo>
                  <a:lnTo>
                    <a:pt x="6" y="490"/>
                  </a:lnTo>
                  <a:lnTo>
                    <a:pt x="0" y="48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5" name="Freeform 243"/>
            <p:cNvSpPr>
              <a:spLocks/>
            </p:cNvSpPr>
            <p:nvPr/>
          </p:nvSpPr>
          <p:spPr bwMode="auto">
            <a:xfrm>
              <a:off x="4522788" y="4729163"/>
              <a:ext cx="331787" cy="341312"/>
            </a:xfrm>
            <a:custGeom>
              <a:avLst/>
              <a:gdLst>
                <a:gd name="T0" fmla="*/ 2147483647 w 816"/>
                <a:gd name="T1" fmla="*/ 2147483647 h 830"/>
                <a:gd name="T2" fmla="*/ 2147483647 w 816"/>
                <a:gd name="T3" fmla="*/ 0 h 830"/>
                <a:gd name="T4" fmla="*/ 2147483647 w 816"/>
                <a:gd name="T5" fmla="*/ 2147483647 h 830"/>
                <a:gd name="T6" fmla="*/ 2147483647 w 816"/>
                <a:gd name="T7" fmla="*/ 2147483647 h 830"/>
                <a:gd name="T8" fmla="*/ 2147483647 w 816"/>
                <a:gd name="T9" fmla="*/ 2147483647 h 830"/>
                <a:gd name="T10" fmla="*/ 2147483647 w 816"/>
                <a:gd name="T11" fmla="*/ 2147483647 h 830"/>
                <a:gd name="T12" fmla="*/ 2147483647 w 816"/>
                <a:gd name="T13" fmla="*/ 2147483647 h 830"/>
                <a:gd name="T14" fmla="*/ 2147483647 w 816"/>
                <a:gd name="T15" fmla="*/ 2147483647 h 830"/>
                <a:gd name="T16" fmla="*/ 2147483647 w 816"/>
                <a:gd name="T17" fmla="*/ 2147483647 h 830"/>
                <a:gd name="T18" fmla="*/ 2147483647 w 816"/>
                <a:gd name="T19" fmla="*/ 2147483647 h 830"/>
                <a:gd name="T20" fmla="*/ 2147483647 w 816"/>
                <a:gd name="T21" fmla="*/ 2147483647 h 830"/>
                <a:gd name="T22" fmla="*/ 2147483647 w 816"/>
                <a:gd name="T23" fmla="*/ 2147483647 h 830"/>
                <a:gd name="T24" fmla="*/ 2147483647 w 816"/>
                <a:gd name="T25" fmla="*/ 2147483647 h 830"/>
                <a:gd name="T26" fmla="*/ 2147483647 w 816"/>
                <a:gd name="T27" fmla="*/ 2147483647 h 830"/>
                <a:gd name="T28" fmla="*/ 2147483647 w 816"/>
                <a:gd name="T29" fmla="*/ 2147483647 h 830"/>
                <a:gd name="T30" fmla="*/ 2147483647 w 816"/>
                <a:gd name="T31" fmla="*/ 2147483647 h 830"/>
                <a:gd name="T32" fmla="*/ 2147483647 w 816"/>
                <a:gd name="T33" fmla="*/ 2147483647 h 830"/>
                <a:gd name="T34" fmla="*/ 2147483647 w 816"/>
                <a:gd name="T35" fmla="*/ 2147483647 h 830"/>
                <a:gd name="T36" fmla="*/ 2147483647 w 816"/>
                <a:gd name="T37" fmla="*/ 2147483647 h 830"/>
                <a:gd name="T38" fmla="*/ 2147483647 w 816"/>
                <a:gd name="T39" fmla="*/ 2147483647 h 830"/>
                <a:gd name="T40" fmla="*/ 2147483647 w 816"/>
                <a:gd name="T41" fmla="*/ 2147483647 h 830"/>
                <a:gd name="T42" fmla="*/ 2147483647 w 816"/>
                <a:gd name="T43" fmla="*/ 2147483647 h 830"/>
                <a:gd name="T44" fmla="*/ 2147483647 w 816"/>
                <a:gd name="T45" fmla="*/ 2147483647 h 830"/>
                <a:gd name="T46" fmla="*/ 2147483647 w 816"/>
                <a:gd name="T47" fmla="*/ 2147483647 h 830"/>
                <a:gd name="T48" fmla="*/ 2147483647 w 816"/>
                <a:gd name="T49" fmla="*/ 2147483647 h 830"/>
                <a:gd name="T50" fmla="*/ 2147483647 w 816"/>
                <a:gd name="T51" fmla="*/ 2147483647 h 830"/>
                <a:gd name="T52" fmla="*/ 2147483647 w 816"/>
                <a:gd name="T53" fmla="*/ 2147483647 h 830"/>
                <a:gd name="T54" fmla="*/ 2147483647 w 816"/>
                <a:gd name="T55" fmla="*/ 2147483647 h 830"/>
                <a:gd name="T56" fmla="*/ 2147483647 w 816"/>
                <a:gd name="T57" fmla="*/ 2147483647 h 830"/>
                <a:gd name="T58" fmla="*/ 2147483647 w 816"/>
                <a:gd name="T59" fmla="*/ 2147483647 h 830"/>
                <a:gd name="T60" fmla="*/ 2147483647 w 816"/>
                <a:gd name="T61" fmla="*/ 2147483647 h 830"/>
                <a:gd name="T62" fmla="*/ 2147483647 w 816"/>
                <a:gd name="T63" fmla="*/ 2147483647 h 830"/>
                <a:gd name="T64" fmla="*/ 2147483647 w 816"/>
                <a:gd name="T65" fmla="*/ 2147483647 h 830"/>
                <a:gd name="T66" fmla="*/ 2147483647 w 816"/>
                <a:gd name="T67" fmla="*/ 2147483647 h 830"/>
                <a:gd name="T68" fmla="*/ 2147483647 w 816"/>
                <a:gd name="T69" fmla="*/ 2147483647 h 830"/>
                <a:gd name="T70" fmla="*/ 2147483647 w 816"/>
                <a:gd name="T71" fmla="*/ 2147483647 h 830"/>
                <a:gd name="T72" fmla="*/ 2147483647 w 816"/>
                <a:gd name="T73" fmla="*/ 2147483647 h 830"/>
                <a:gd name="T74" fmla="*/ 2147483647 w 816"/>
                <a:gd name="T75" fmla="*/ 2147483647 h 830"/>
                <a:gd name="T76" fmla="*/ 2147483647 w 816"/>
                <a:gd name="T77" fmla="*/ 2147483647 h 830"/>
                <a:gd name="T78" fmla="*/ 2147483647 w 816"/>
                <a:gd name="T79" fmla="*/ 2147483647 h 830"/>
                <a:gd name="T80" fmla="*/ 2147483647 w 816"/>
                <a:gd name="T81" fmla="*/ 2147483647 h 830"/>
                <a:gd name="T82" fmla="*/ 2147483647 w 816"/>
                <a:gd name="T83" fmla="*/ 2147483647 h 830"/>
                <a:gd name="T84" fmla="*/ 2147483647 w 816"/>
                <a:gd name="T85" fmla="*/ 2147483647 h 830"/>
                <a:gd name="T86" fmla="*/ 2147483647 w 816"/>
                <a:gd name="T87" fmla="*/ 2147483647 h 830"/>
                <a:gd name="T88" fmla="*/ 2147483647 w 816"/>
                <a:gd name="T89" fmla="*/ 2147483647 h 830"/>
                <a:gd name="T90" fmla="*/ 2147483647 w 816"/>
                <a:gd name="T91" fmla="*/ 2147483647 h 830"/>
                <a:gd name="T92" fmla="*/ 2147483647 w 816"/>
                <a:gd name="T93" fmla="*/ 2147483647 h 830"/>
                <a:gd name="T94" fmla="*/ 2147483647 w 816"/>
                <a:gd name="T95" fmla="*/ 2147483647 h 830"/>
                <a:gd name="T96" fmla="*/ 2147483647 w 816"/>
                <a:gd name="T97" fmla="*/ 2147483647 h 830"/>
                <a:gd name="T98" fmla="*/ 2147483647 w 816"/>
                <a:gd name="T99" fmla="*/ 2147483647 h 830"/>
                <a:gd name="T100" fmla="*/ 2147483647 w 816"/>
                <a:gd name="T101" fmla="*/ 2147483647 h 830"/>
                <a:gd name="T102" fmla="*/ 2147483647 w 816"/>
                <a:gd name="T103" fmla="*/ 2147483647 h 830"/>
                <a:gd name="T104" fmla="*/ 2147483647 w 816"/>
                <a:gd name="T105" fmla="*/ 2147483647 h 830"/>
                <a:gd name="T106" fmla="*/ 2147483647 w 816"/>
                <a:gd name="T107" fmla="*/ 2147483647 h 830"/>
                <a:gd name="T108" fmla="*/ 2147483647 w 816"/>
                <a:gd name="T109" fmla="*/ 2147483647 h 830"/>
                <a:gd name="T110" fmla="*/ 2147483647 w 816"/>
                <a:gd name="T111" fmla="*/ 2147483647 h 830"/>
                <a:gd name="T112" fmla="*/ 2147483647 w 816"/>
                <a:gd name="T113" fmla="*/ 2147483647 h 830"/>
                <a:gd name="T114" fmla="*/ 2147483647 w 816"/>
                <a:gd name="T115" fmla="*/ 2147483647 h 830"/>
                <a:gd name="T116" fmla="*/ 2147483647 w 816"/>
                <a:gd name="T117" fmla="*/ 2147483647 h 830"/>
                <a:gd name="T118" fmla="*/ 2147483647 w 816"/>
                <a:gd name="T119" fmla="*/ 2147483647 h 830"/>
                <a:gd name="T120" fmla="*/ 2147483647 w 816"/>
                <a:gd name="T121" fmla="*/ 2147483647 h 830"/>
                <a:gd name="T122" fmla="*/ 2147483647 w 816"/>
                <a:gd name="T123" fmla="*/ 2147483647 h 830"/>
                <a:gd name="T124" fmla="*/ 2147483647 w 816"/>
                <a:gd name="T125" fmla="*/ 2147483647 h 8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16"/>
                <a:gd name="T190" fmla="*/ 0 h 830"/>
                <a:gd name="T191" fmla="*/ 816 w 816"/>
                <a:gd name="T192" fmla="*/ 830 h 8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16" h="830">
                  <a:moveTo>
                    <a:pt x="2" y="20"/>
                  </a:moveTo>
                  <a:lnTo>
                    <a:pt x="8" y="18"/>
                  </a:lnTo>
                  <a:lnTo>
                    <a:pt x="14" y="14"/>
                  </a:lnTo>
                  <a:lnTo>
                    <a:pt x="20" y="12"/>
                  </a:lnTo>
                  <a:lnTo>
                    <a:pt x="22" y="12"/>
                  </a:lnTo>
                  <a:lnTo>
                    <a:pt x="28" y="14"/>
                  </a:lnTo>
                  <a:lnTo>
                    <a:pt x="34" y="18"/>
                  </a:lnTo>
                  <a:lnTo>
                    <a:pt x="40" y="18"/>
                  </a:lnTo>
                  <a:lnTo>
                    <a:pt x="46" y="20"/>
                  </a:lnTo>
                  <a:lnTo>
                    <a:pt x="52" y="18"/>
                  </a:lnTo>
                  <a:lnTo>
                    <a:pt x="58" y="14"/>
                  </a:lnTo>
                  <a:lnTo>
                    <a:pt x="62" y="12"/>
                  </a:lnTo>
                  <a:lnTo>
                    <a:pt x="68" y="8"/>
                  </a:lnTo>
                  <a:lnTo>
                    <a:pt x="74" y="4"/>
                  </a:lnTo>
                  <a:lnTo>
                    <a:pt x="80" y="0"/>
                  </a:lnTo>
                  <a:lnTo>
                    <a:pt x="86" y="0"/>
                  </a:lnTo>
                  <a:lnTo>
                    <a:pt x="92" y="2"/>
                  </a:lnTo>
                  <a:lnTo>
                    <a:pt x="98" y="0"/>
                  </a:lnTo>
                  <a:lnTo>
                    <a:pt x="104" y="2"/>
                  </a:lnTo>
                  <a:lnTo>
                    <a:pt x="108" y="8"/>
                  </a:lnTo>
                  <a:lnTo>
                    <a:pt x="114" y="14"/>
                  </a:lnTo>
                  <a:lnTo>
                    <a:pt x="120" y="20"/>
                  </a:lnTo>
                  <a:lnTo>
                    <a:pt x="126" y="24"/>
                  </a:lnTo>
                  <a:lnTo>
                    <a:pt x="132" y="26"/>
                  </a:lnTo>
                  <a:lnTo>
                    <a:pt x="138" y="32"/>
                  </a:lnTo>
                  <a:lnTo>
                    <a:pt x="144" y="32"/>
                  </a:lnTo>
                  <a:lnTo>
                    <a:pt x="150" y="30"/>
                  </a:lnTo>
                  <a:lnTo>
                    <a:pt x="156" y="30"/>
                  </a:lnTo>
                  <a:lnTo>
                    <a:pt x="160" y="30"/>
                  </a:lnTo>
                  <a:lnTo>
                    <a:pt x="168" y="30"/>
                  </a:lnTo>
                  <a:lnTo>
                    <a:pt x="172" y="30"/>
                  </a:lnTo>
                  <a:lnTo>
                    <a:pt x="180" y="30"/>
                  </a:lnTo>
                  <a:lnTo>
                    <a:pt x="184" y="30"/>
                  </a:lnTo>
                  <a:lnTo>
                    <a:pt x="192" y="30"/>
                  </a:lnTo>
                  <a:lnTo>
                    <a:pt x="198" y="30"/>
                  </a:lnTo>
                  <a:lnTo>
                    <a:pt x="202" y="30"/>
                  </a:lnTo>
                  <a:lnTo>
                    <a:pt x="208" y="30"/>
                  </a:lnTo>
                  <a:lnTo>
                    <a:pt x="214" y="30"/>
                  </a:lnTo>
                  <a:lnTo>
                    <a:pt x="220" y="30"/>
                  </a:lnTo>
                  <a:lnTo>
                    <a:pt x="226" y="30"/>
                  </a:lnTo>
                  <a:lnTo>
                    <a:pt x="228" y="30"/>
                  </a:lnTo>
                  <a:lnTo>
                    <a:pt x="234" y="30"/>
                  </a:lnTo>
                  <a:lnTo>
                    <a:pt x="240" y="30"/>
                  </a:lnTo>
                  <a:lnTo>
                    <a:pt x="246" y="30"/>
                  </a:lnTo>
                  <a:lnTo>
                    <a:pt x="252" y="30"/>
                  </a:lnTo>
                  <a:lnTo>
                    <a:pt x="256" y="30"/>
                  </a:lnTo>
                  <a:lnTo>
                    <a:pt x="262" y="30"/>
                  </a:lnTo>
                  <a:lnTo>
                    <a:pt x="268" y="30"/>
                  </a:lnTo>
                  <a:lnTo>
                    <a:pt x="274" y="30"/>
                  </a:lnTo>
                  <a:lnTo>
                    <a:pt x="280" y="30"/>
                  </a:lnTo>
                  <a:lnTo>
                    <a:pt x="286" y="30"/>
                  </a:lnTo>
                  <a:lnTo>
                    <a:pt x="292" y="30"/>
                  </a:lnTo>
                  <a:lnTo>
                    <a:pt x="300" y="30"/>
                  </a:lnTo>
                  <a:lnTo>
                    <a:pt x="304" y="30"/>
                  </a:lnTo>
                  <a:lnTo>
                    <a:pt x="312" y="30"/>
                  </a:lnTo>
                  <a:lnTo>
                    <a:pt x="316" y="30"/>
                  </a:lnTo>
                  <a:lnTo>
                    <a:pt x="324" y="30"/>
                  </a:lnTo>
                  <a:lnTo>
                    <a:pt x="330" y="30"/>
                  </a:lnTo>
                  <a:lnTo>
                    <a:pt x="336" y="30"/>
                  </a:lnTo>
                  <a:lnTo>
                    <a:pt x="342" y="30"/>
                  </a:lnTo>
                  <a:lnTo>
                    <a:pt x="348" y="30"/>
                  </a:lnTo>
                  <a:lnTo>
                    <a:pt x="354" y="30"/>
                  </a:lnTo>
                  <a:lnTo>
                    <a:pt x="360" y="30"/>
                  </a:lnTo>
                  <a:lnTo>
                    <a:pt x="366" y="30"/>
                  </a:lnTo>
                  <a:lnTo>
                    <a:pt x="372" y="30"/>
                  </a:lnTo>
                  <a:lnTo>
                    <a:pt x="378" y="30"/>
                  </a:lnTo>
                  <a:lnTo>
                    <a:pt x="380" y="30"/>
                  </a:lnTo>
                  <a:lnTo>
                    <a:pt x="384" y="30"/>
                  </a:lnTo>
                  <a:lnTo>
                    <a:pt x="392" y="30"/>
                  </a:lnTo>
                  <a:lnTo>
                    <a:pt x="396" y="30"/>
                  </a:lnTo>
                  <a:lnTo>
                    <a:pt x="404" y="30"/>
                  </a:lnTo>
                  <a:lnTo>
                    <a:pt x="406" y="30"/>
                  </a:lnTo>
                  <a:lnTo>
                    <a:pt x="410" y="36"/>
                  </a:lnTo>
                  <a:lnTo>
                    <a:pt x="412" y="42"/>
                  </a:lnTo>
                  <a:lnTo>
                    <a:pt x="418" y="48"/>
                  </a:lnTo>
                  <a:lnTo>
                    <a:pt x="422" y="52"/>
                  </a:lnTo>
                  <a:lnTo>
                    <a:pt x="430" y="56"/>
                  </a:lnTo>
                  <a:lnTo>
                    <a:pt x="436" y="58"/>
                  </a:lnTo>
                  <a:lnTo>
                    <a:pt x="442" y="60"/>
                  </a:lnTo>
                  <a:lnTo>
                    <a:pt x="448" y="58"/>
                  </a:lnTo>
                  <a:lnTo>
                    <a:pt x="454" y="58"/>
                  </a:lnTo>
                  <a:lnTo>
                    <a:pt x="458" y="60"/>
                  </a:lnTo>
                  <a:lnTo>
                    <a:pt x="464" y="62"/>
                  </a:lnTo>
                  <a:lnTo>
                    <a:pt x="470" y="62"/>
                  </a:lnTo>
                  <a:lnTo>
                    <a:pt x="476" y="62"/>
                  </a:lnTo>
                  <a:lnTo>
                    <a:pt x="482" y="62"/>
                  </a:lnTo>
                  <a:lnTo>
                    <a:pt x="488" y="62"/>
                  </a:lnTo>
                  <a:lnTo>
                    <a:pt x="494" y="62"/>
                  </a:lnTo>
                  <a:lnTo>
                    <a:pt x="498" y="64"/>
                  </a:lnTo>
                  <a:lnTo>
                    <a:pt x="504" y="64"/>
                  </a:lnTo>
                  <a:lnTo>
                    <a:pt x="512" y="62"/>
                  </a:lnTo>
                  <a:lnTo>
                    <a:pt x="516" y="62"/>
                  </a:lnTo>
                  <a:lnTo>
                    <a:pt x="522" y="64"/>
                  </a:lnTo>
                  <a:lnTo>
                    <a:pt x="528" y="68"/>
                  </a:lnTo>
                  <a:lnTo>
                    <a:pt x="534" y="70"/>
                  </a:lnTo>
                  <a:lnTo>
                    <a:pt x="540" y="70"/>
                  </a:lnTo>
                  <a:lnTo>
                    <a:pt x="546" y="72"/>
                  </a:lnTo>
                  <a:lnTo>
                    <a:pt x="552" y="72"/>
                  </a:lnTo>
                  <a:lnTo>
                    <a:pt x="558" y="70"/>
                  </a:lnTo>
                  <a:lnTo>
                    <a:pt x="564" y="68"/>
                  </a:lnTo>
                  <a:lnTo>
                    <a:pt x="570" y="66"/>
                  </a:lnTo>
                  <a:lnTo>
                    <a:pt x="570" y="68"/>
                  </a:lnTo>
                  <a:lnTo>
                    <a:pt x="576" y="70"/>
                  </a:lnTo>
                  <a:lnTo>
                    <a:pt x="582" y="72"/>
                  </a:lnTo>
                  <a:lnTo>
                    <a:pt x="586" y="72"/>
                  </a:lnTo>
                  <a:lnTo>
                    <a:pt x="592" y="70"/>
                  </a:lnTo>
                  <a:lnTo>
                    <a:pt x="598" y="70"/>
                  </a:lnTo>
                  <a:lnTo>
                    <a:pt x="604" y="68"/>
                  </a:lnTo>
                  <a:lnTo>
                    <a:pt x="606" y="68"/>
                  </a:lnTo>
                  <a:lnTo>
                    <a:pt x="612" y="66"/>
                  </a:lnTo>
                  <a:lnTo>
                    <a:pt x="618" y="66"/>
                  </a:lnTo>
                  <a:lnTo>
                    <a:pt x="624" y="64"/>
                  </a:lnTo>
                  <a:lnTo>
                    <a:pt x="630" y="62"/>
                  </a:lnTo>
                  <a:lnTo>
                    <a:pt x="636" y="62"/>
                  </a:lnTo>
                  <a:lnTo>
                    <a:pt x="642" y="60"/>
                  </a:lnTo>
                  <a:lnTo>
                    <a:pt x="648" y="58"/>
                  </a:lnTo>
                  <a:lnTo>
                    <a:pt x="654" y="58"/>
                  </a:lnTo>
                  <a:lnTo>
                    <a:pt x="660" y="56"/>
                  </a:lnTo>
                  <a:lnTo>
                    <a:pt x="666" y="56"/>
                  </a:lnTo>
                  <a:lnTo>
                    <a:pt x="672" y="54"/>
                  </a:lnTo>
                  <a:lnTo>
                    <a:pt x="678" y="52"/>
                  </a:lnTo>
                  <a:lnTo>
                    <a:pt x="684" y="52"/>
                  </a:lnTo>
                  <a:lnTo>
                    <a:pt x="692" y="50"/>
                  </a:lnTo>
                  <a:lnTo>
                    <a:pt x="698" y="48"/>
                  </a:lnTo>
                  <a:lnTo>
                    <a:pt x="702" y="48"/>
                  </a:lnTo>
                  <a:lnTo>
                    <a:pt x="708" y="46"/>
                  </a:lnTo>
                  <a:lnTo>
                    <a:pt x="712" y="44"/>
                  </a:lnTo>
                  <a:lnTo>
                    <a:pt x="718" y="44"/>
                  </a:lnTo>
                  <a:lnTo>
                    <a:pt x="724" y="42"/>
                  </a:lnTo>
                  <a:lnTo>
                    <a:pt x="730" y="40"/>
                  </a:lnTo>
                  <a:lnTo>
                    <a:pt x="736" y="40"/>
                  </a:lnTo>
                  <a:lnTo>
                    <a:pt x="742" y="38"/>
                  </a:lnTo>
                  <a:lnTo>
                    <a:pt x="748" y="36"/>
                  </a:lnTo>
                  <a:lnTo>
                    <a:pt x="756" y="36"/>
                  </a:lnTo>
                  <a:lnTo>
                    <a:pt x="758" y="36"/>
                  </a:lnTo>
                  <a:lnTo>
                    <a:pt x="764" y="36"/>
                  </a:lnTo>
                  <a:lnTo>
                    <a:pt x="770" y="38"/>
                  </a:lnTo>
                  <a:lnTo>
                    <a:pt x="776" y="40"/>
                  </a:lnTo>
                  <a:lnTo>
                    <a:pt x="782" y="36"/>
                  </a:lnTo>
                  <a:lnTo>
                    <a:pt x="788" y="38"/>
                  </a:lnTo>
                  <a:lnTo>
                    <a:pt x="794" y="40"/>
                  </a:lnTo>
                  <a:lnTo>
                    <a:pt x="800" y="42"/>
                  </a:lnTo>
                  <a:lnTo>
                    <a:pt x="800" y="44"/>
                  </a:lnTo>
                  <a:lnTo>
                    <a:pt x="806" y="48"/>
                  </a:lnTo>
                  <a:lnTo>
                    <a:pt x="812" y="54"/>
                  </a:lnTo>
                  <a:lnTo>
                    <a:pt x="816" y="58"/>
                  </a:lnTo>
                  <a:lnTo>
                    <a:pt x="812" y="56"/>
                  </a:lnTo>
                  <a:lnTo>
                    <a:pt x="806" y="60"/>
                  </a:lnTo>
                  <a:lnTo>
                    <a:pt x="800" y="60"/>
                  </a:lnTo>
                  <a:lnTo>
                    <a:pt x="794" y="60"/>
                  </a:lnTo>
                  <a:lnTo>
                    <a:pt x="790" y="62"/>
                  </a:lnTo>
                  <a:lnTo>
                    <a:pt x="784" y="66"/>
                  </a:lnTo>
                  <a:lnTo>
                    <a:pt x="780" y="68"/>
                  </a:lnTo>
                  <a:lnTo>
                    <a:pt x="774" y="74"/>
                  </a:lnTo>
                  <a:lnTo>
                    <a:pt x="770" y="74"/>
                  </a:lnTo>
                  <a:lnTo>
                    <a:pt x="766" y="70"/>
                  </a:lnTo>
                  <a:lnTo>
                    <a:pt x="760" y="70"/>
                  </a:lnTo>
                  <a:lnTo>
                    <a:pt x="754" y="72"/>
                  </a:lnTo>
                  <a:lnTo>
                    <a:pt x="748" y="78"/>
                  </a:lnTo>
                  <a:lnTo>
                    <a:pt x="742" y="82"/>
                  </a:lnTo>
                  <a:lnTo>
                    <a:pt x="736" y="84"/>
                  </a:lnTo>
                  <a:lnTo>
                    <a:pt x="732" y="90"/>
                  </a:lnTo>
                  <a:lnTo>
                    <a:pt x="728" y="96"/>
                  </a:lnTo>
                  <a:lnTo>
                    <a:pt x="722" y="102"/>
                  </a:lnTo>
                  <a:lnTo>
                    <a:pt x="716" y="106"/>
                  </a:lnTo>
                  <a:lnTo>
                    <a:pt x="714" y="100"/>
                  </a:lnTo>
                  <a:lnTo>
                    <a:pt x="712" y="94"/>
                  </a:lnTo>
                  <a:lnTo>
                    <a:pt x="710" y="88"/>
                  </a:lnTo>
                  <a:lnTo>
                    <a:pt x="704" y="84"/>
                  </a:lnTo>
                  <a:lnTo>
                    <a:pt x="700" y="78"/>
                  </a:lnTo>
                  <a:lnTo>
                    <a:pt x="698" y="72"/>
                  </a:lnTo>
                  <a:lnTo>
                    <a:pt x="686" y="72"/>
                  </a:lnTo>
                  <a:lnTo>
                    <a:pt x="680" y="74"/>
                  </a:lnTo>
                  <a:lnTo>
                    <a:pt x="658" y="78"/>
                  </a:lnTo>
                  <a:lnTo>
                    <a:pt x="650" y="80"/>
                  </a:lnTo>
                  <a:lnTo>
                    <a:pt x="634" y="82"/>
                  </a:lnTo>
                  <a:lnTo>
                    <a:pt x="620" y="86"/>
                  </a:lnTo>
                  <a:lnTo>
                    <a:pt x="606" y="88"/>
                  </a:lnTo>
                  <a:lnTo>
                    <a:pt x="604" y="88"/>
                  </a:lnTo>
                  <a:lnTo>
                    <a:pt x="586" y="92"/>
                  </a:lnTo>
                  <a:lnTo>
                    <a:pt x="572" y="94"/>
                  </a:lnTo>
                  <a:lnTo>
                    <a:pt x="558" y="94"/>
                  </a:lnTo>
                  <a:lnTo>
                    <a:pt x="558" y="100"/>
                  </a:lnTo>
                  <a:lnTo>
                    <a:pt x="558" y="106"/>
                  </a:lnTo>
                  <a:lnTo>
                    <a:pt x="558" y="108"/>
                  </a:lnTo>
                  <a:lnTo>
                    <a:pt x="558" y="116"/>
                  </a:lnTo>
                  <a:lnTo>
                    <a:pt x="558" y="122"/>
                  </a:lnTo>
                  <a:lnTo>
                    <a:pt x="558" y="128"/>
                  </a:lnTo>
                  <a:lnTo>
                    <a:pt x="558" y="134"/>
                  </a:lnTo>
                  <a:lnTo>
                    <a:pt x="558" y="136"/>
                  </a:lnTo>
                  <a:lnTo>
                    <a:pt x="558" y="140"/>
                  </a:lnTo>
                  <a:lnTo>
                    <a:pt x="558" y="146"/>
                  </a:lnTo>
                  <a:lnTo>
                    <a:pt x="558" y="152"/>
                  </a:lnTo>
                  <a:lnTo>
                    <a:pt x="558" y="158"/>
                  </a:lnTo>
                  <a:lnTo>
                    <a:pt x="558" y="164"/>
                  </a:lnTo>
                  <a:lnTo>
                    <a:pt x="558" y="172"/>
                  </a:lnTo>
                  <a:lnTo>
                    <a:pt x="558" y="176"/>
                  </a:lnTo>
                  <a:lnTo>
                    <a:pt x="558" y="184"/>
                  </a:lnTo>
                  <a:lnTo>
                    <a:pt x="556" y="190"/>
                  </a:lnTo>
                  <a:lnTo>
                    <a:pt x="556" y="196"/>
                  </a:lnTo>
                  <a:lnTo>
                    <a:pt x="556" y="204"/>
                  </a:lnTo>
                  <a:lnTo>
                    <a:pt x="556" y="210"/>
                  </a:lnTo>
                  <a:lnTo>
                    <a:pt x="556" y="216"/>
                  </a:lnTo>
                  <a:lnTo>
                    <a:pt x="556" y="222"/>
                  </a:lnTo>
                  <a:lnTo>
                    <a:pt x="556" y="232"/>
                  </a:lnTo>
                  <a:lnTo>
                    <a:pt x="556" y="236"/>
                  </a:lnTo>
                  <a:lnTo>
                    <a:pt x="556" y="242"/>
                  </a:lnTo>
                  <a:lnTo>
                    <a:pt x="556" y="248"/>
                  </a:lnTo>
                  <a:lnTo>
                    <a:pt x="556" y="252"/>
                  </a:lnTo>
                  <a:lnTo>
                    <a:pt x="556" y="260"/>
                  </a:lnTo>
                  <a:lnTo>
                    <a:pt x="556" y="266"/>
                  </a:lnTo>
                  <a:lnTo>
                    <a:pt x="556" y="268"/>
                  </a:lnTo>
                  <a:lnTo>
                    <a:pt x="556" y="270"/>
                  </a:lnTo>
                  <a:lnTo>
                    <a:pt x="556" y="280"/>
                  </a:lnTo>
                  <a:lnTo>
                    <a:pt x="556" y="286"/>
                  </a:lnTo>
                  <a:lnTo>
                    <a:pt x="556" y="294"/>
                  </a:lnTo>
                  <a:lnTo>
                    <a:pt x="556" y="300"/>
                  </a:lnTo>
                  <a:lnTo>
                    <a:pt x="556" y="308"/>
                  </a:lnTo>
                  <a:lnTo>
                    <a:pt x="554" y="316"/>
                  </a:lnTo>
                  <a:lnTo>
                    <a:pt x="554" y="326"/>
                  </a:lnTo>
                  <a:lnTo>
                    <a:pt x="554" y="336"/>
                  </a:lnTo>
                  <a:lnTo>
                    <a:pt x="554" y="344"/>
                  </a:lnTo>
                  <a:lnTo>
                    <a:pt x="554" y="348"/>
                  </a:lnTo>
                  <a:lnTo>
                    <a:pt x="540" y="348"/>
                  </a:lnTo>
                  <a:lnTo>
                    <a:pt x="534" y="348"/>
                  </a:lnTo>
                  <a:lnTo>
                    <a:pt x="526" y="348"/>
                  </a:lnTo>
                  <a:lnTo>
                    <a:pt x="520" y="348"/>
                  </a:lnTo>
                  <a:lnTo>
                    <a:pt x="514" y="348"/>
                  </a:lnTo>
                  <a:lnTo>
                    <a:pt x="508" y="348"/>
                  </a:lnTo>
                  <a:lnTo>
                    <a:pt x="502" y="348"/>
                  </a:lnTo>
                  <a:lnTo>
                    <a:pt x="494" y="348"/>
                  </a:lnTo>
                  <a:lnTo>
                    <a:pt x="494" y="350"/>
                  </a:lnTo>
                  <a:lnTo>
                    <a:pt x="494" y="358"/>
                  </a:lnTo>
                  <a:lnTo>
                    <a:pt x="494" y="364"/>
                  </a:lnTo>
                  <a:lnTo>
                    <a:pt x="494" y="370"/>
                  </a:lnTo>
                  <a:lnTo>
                    <a:pt x="494" y="374"/>
                  </a:lnTo>
                  <a:lnTo>
                    <a:pt x="494" y="376"/>
                  </a:lnTo>
                  <a:lnTo>
                    <a:pt x="494" y="384"/>
                  </a:lnTo>
                  <a:lnTo>
                    <a:pt x="494" y="388"/>
                  </a:lnTo>
                  <a:lnTo>
                    <a:pt x="494" y="396"/>
                  </a:lnTo>
                  <a:lnTo>
                    <a:pt x="494" y="402"/>
                  </a:lnTo>
                  <a:lnTo>
                    <a:pt x="494" y="408"/>
                  </a:lnTo>
                  <a:lnTo>
                    <a:pt x="494" y="416"/>
                  </a:lnTo>
                  <a:lnTo>
                    <a:pt x="494" y="420"/>
                  </a:lnTo>
                  <a:lnTo>
                    <a:pt x="494" y="426"/>
                  </a:lnTo>
                  <a:lnTo>
                    <a:pt x="494" y="434"/>
                  </a:lnTo>
                  <a:lnTo>
                    <a:pt x="494" y="440"/>
                  </a:lnTo>
                  <a:lnTo>
                    <a:pt x="494" y="444"/>
                  </a:lnTo>
                  <a:lnTo>
                    <a:pt x="492" y="450"/>
                  </a:lnTo>
                  <a:lnTo>
                    <a:pt x="492" y="456"/>
                  </a:lnTo>
                  <a:lnTo>
                    <a:pt x="492" y="464"/>
                  </a:lnTo>
                  <a:lnTo>
                    <a:pt x="492" y="470"/>
                  </a:lnTo>
                  <a:lnTo>
                    <a:pt x="492" y="478"/>
                  </a:lnTo>
                  <a:lnTo>
                    <a:pt x="492" y="488"/>
                  </a:lnTo>
                  <a:lnTo>
                    <a:pt x="492" y="496"/>
                  </a:lnTo>
                  <a:lnTo>
                    <a:pt x="492" y="504"/>
                  </a:lnTo>
                  <a:lnTo>
                    <a:pt x="492" y="514"/>
                  </a:lnTo>
                  <a:lnTo>
                    <a:pt x="492" y="522"/>
                  </a:lnTo>
                  <a:lnTo>
                    <a:pt x="492" y="530"/>
                  </a:lnTo>
                  <a:lnTo>
                    <a:pt x="492" y="538"/>
                  </a:lnTo>
                  <a:lnTo>
                    <a:pt x="492" y="540"/>
                  </a:lnTo>
                  <a:lnTo>
                    <a:pt x="492" y="548"/>
                  </a:lnTo>
                  <a:lnTo>
                    <a:pt x="490" y="556"/>
                  </a:lnTo>
                  <a:lnTo>
                    <a:pt x="490" y="562"/>
                  </a:lnTo>
                  <a:lnTo>
                    <a:pt x="490" y="568"/>
                  </a:lnTo>
                  <a:lnTo>
                    <a:pt x="490" y="576"/>
                  </a:lnTo>
                  <a:lnTo>
                    <a:pt x="490" y="582"/>
                  </a:lnTo>
                  <a:lnTo>
                    <a:pt x="490" y="588"/>
                  </a:lnTo>
                  <a:lnTo>
                    <a:pt x="490" y="596"/>
                  </a:lnTo>
                  <a:lnTo>
                    <a:pt x="490" y="600"/>
                  </a:lnTo>
                  <a:lnTo>
                    <a:pt x="490" y="604"/>
                  </a:lnTo>
                  <a:lnTo>
                    <a:pt x="490" y="610"/>
                  </a:lnTo>
                  <a:lnTo>
                    <a:pt x="490" y="612"/>
                  </a:lnTo>
                  <a:lnTo>
                    <a:pt x="490" y="618"/>
                  </a:lnTo>
                  <a:lnTo>
                    <a:pt x="490" y="626"/>
                  </a:lnTo>
                  <a:lnTo>
                    <a:pt x="490" y="634"/>
                  </a:lnTo>
                  <a:lnTo>
                    <a:pt x="490" y="642"/>
                  </a:lnTo>
                  <a:lnTo>
                    <a:pt x="490" y="648"/>
                  </a:lnTo>
                  <a:lnTo>
                    <a:pt x="490" y="654"/>
                  </a:lnTo>
                  <a:lnTo>
                    <a:pt x="490" y="662"/>
                  </a:lnTo>
                  <a:lnTo>
                    <a:pt x="488" y="668"/>
                  </a:lnTo>
                  <a:lnTo>
                    <a:pt x="488" y="676"/>
                  </a:lnTo>
                  <a:lnTo>
                    <a:pt x="488" y="678"/>
                  </a:lnTo>
                  <a:lnTo>
                    <a:pt x="488" y="684"/>
                  </a:lnTo>
                  <a:lnTo>
                    <a:pt x="488" y="690"/>
                  </a:lnTo>
                  <a:lnTo>
                    <a:pt x="488" y="696"/>
                  </a:lnTo>
                  <a:lnTo>
                    <a:pt x="488" y="704"/>
                  </a:lnTo>
                  <a:lnTo>
                    <a:pt x="488" y="710"/>
                  </a:lnTo>
                  <a:lnTo>
                    <a:pt x="488" y="718"/>
                  </a:lnTo>
                  <a:lnTo>
                    <a:pt x="488" y="720"/>
                  </a:lnTo>
                  <a:lnTo>
                    <a:pt x="488" y="726"/>
                  </a:lnTo>
                  <a:lnTo>
                    <a:pt x="488" y="734"/>
                  </a:lnTo>
                  <a:lnTo>
                    <a:pt x="486" y="740"/>
                  </a:lnTo>
                  <a:lnTo>
                    <a:pt x="486" y="746"/>
                  </a:lnTo>
                  <a:lnTo>
                    <a:pt x="486" y="754"/>
                  </a:lnTo>
                  <a:lnTo>
                    <a:pt x="486" y="760"/>
                  </a:lnTo>
                  <a:lnTo>
                    <a:pt x="486" y="766"/>
                  </a:lnTo>
                  <a:lnTo>
                    <a:pt x="486" y="770"/>
                  </a:lnTo>
                  <a:lnTo>
                    <a:pt x="486" y="772"/>
                  </a:lnTo>
                  <a:lnTo>
                    <a:pt x="486" y="776"/>
                  </a:lnTo>
                  <a:lnTo>
                    <a:pt x="486" y="784"/>
                  </a:lnTo>
                  <a:lnTo>
                    <a:pt x="486" y="790"/>
                  </a:lnTo>
                  <a:lnTo>
                    <a:pt x="486" y="794"/>
                  </a:lnTo>
                  <a:lnTo>
                    <a:pt x="480" y="794"/>
                  </a:lnTo>
                  <a:lnTo>
                    <a:pt x="474" y="798"/>
                  </a:lnTo>
                  <a:lnTo>
                    <a:pt x="468" y="800"/>
                  </a:lnTo>
                  <a:lnTo>
                    <a:pt x="462" y="800"/>
                  </a:lnTo>
                  <a:lnTo>
                    <a:pt x="460" y="800"/>
                  </a:lnTo>
                  <a:lnTo>
                    <a:pt x="456" y="806"/>
                  </a:lnTo>
                  <a:lnTo>
                    <a:pt x="454" y="812"/>
                  </a:lnTo>
                  <a:lnTo>
                    <a:pt x="448" y="814"/>
                  </a:lnTo>
                  <a:lnTo>
                    <a:pt x="444" y="814"/>
                  </a:lnTo>
                  <a:lnTo>
                    <a:pt x="440" y="820"/>
                  </a:lnTo>
                  <a:lnTo>
                    <a:pt x="444" y="826"/>
                  </a:lnTo>
                  <a:lnTo>
                    <a:pt x="438" y="828"/>
                  </a:lnTo>
                  <a:lnTo>
                    <a:pt x="432" y="830"/>
                  </a:lnTo>
                  <a:lnTo>
                    <a:pt x="426" y="828"/>
                  </a:lnTo>
                  <a:lnTo>
                    <a:pt x="420" y="824"/>
                  </a:lnTo>
                  <a:lnTo>
                    <a:pt x="414" y="824"/>
                  </a:lnTo>
                  <a:lnTo>
                    <a:pt x="410" y="822"/>
                  </a:lnTo>
                  <a:lnTo>
                    <a:pt x="402" y="824"/>
                  </a:lnTo>
                  <a:lnTo>
                    <a:pt x="396" y="826"/>
                  </a:lnTo>
                  <a:lnTo>
                    <a:pt x="392" y="826"/>
                  </a:lnTo>
                  <a:lnTo>
                    <a:pt x="386" y="824"/>
                  </a:lnTo>
                  <a:lnTo>
                    <a:pt x="380" y="826"/>
                  </a:lnTo>
                  <a:lnTo>
                    <a:pt x="374" y="826"/>
                  </a:lnTo>
                  <a:lnTo>
                    <a:pt x="368" y="822"/>
                  </a:lnTo>
                  <a:lnTo>
                    <a:pt x="362" y="818"/>
                  </a:lnTo>
                  <a:lnTo>
                    <a:pt x="356" y="816"/>
                  </a:lnTo>
                  <a:lnTo>
                    <a:pt x="350" y="816"/>
                  </a:lnTo>
                  <a:lnTo>
                    <a:pt x="346" y="818"/>
                  </a:lnTo>
                  <a:lnTo>
                    <a:pt x="344" y="812"/>
                  </a:lnTo>
                  <a:lnTo>
                    <a:pt x="338" y="812"/>
                  </a:lnTo>
                  <a:lnTo>
                    <a:pt x="334" y="806"/>
                  </a:lnTo>
                  <a:lnTo>
                    <a:pt x="330" y="800"/>
                  </a:lnTo>
                  <a:lnTo>
                    <a:pt x="330" y="794"/>
                  </a:lnTo>
                  <a:lnTo>
                    <a:pt x="332" y="788"/>
                  </a:lnTo>
                  <a:lnTo>
                    <a:pt x="330" y="782"/>
                  </a:lnTo>
                  <a:lnTo>
                    <a:pt x="324" y="780"/>
                  </a:lnTo>
                  <a:lnTo>
                    <a:pt x="320" y="774"/>
                  </a:lnTo>
                  <a:lnTo>
                    <a:pt x="320" y="772"/>
                  </a:lnTo>
                  <a:lnTo>
                    <a:pt x="314" y="766"/>
                  </a:lnTo>
                  <a:lnTo>
                    <a:pt x="308" y="768"/>
                  </a:lnTo>
                  <a:lnTo>
                    <a:pt x="302" y="774"/>
                  </a:lnTo>
                  <a:lnTo>
                    <a:pt x="298" y="780"/>
                  </a:lnTo>
                  <a:lnTo>
                    <a:pt x="296" y="786"/>
                  </a:lnTo>
                  <a:lnTo>
                    <a:pt x="296" y="792"/>
                  </a:lnTo>
                  <a:lnTo>
                    <a:pt x="294" y="798"/>
                  </a:lnTo>
                  <a:lnTo>
                    <a:pt x="286" y="798"/>
                  </a:lnTo>
                  <a:lnTo>
                    <a:pt x="282" y="802"/>
                  </a:lnTo>
                  <a:lnTo>
                    <a:pt x="278" y="804"/>
                  </a:lnTo>
                  <a:lnTo>
                    <a:pt x="274" y="806"/>
                  </a:lnTo>
                  <a:lnTo>
                    <a:pt x="268" y="800"/>
                  </a:lnTo>
                  <a:lnTo>
                    <a:pt x="262" y="794"/>
                  </a:lnTo>
                  <a:lnTo>
                    <a:pt x="260" y="792"/>
                  </a:lnTo>
                  <a:lnTo>
                    <a:pt x="256" y="786"/>
                  </a:lnTo>
                  <a:lnTo>
                    <a:pt x="252" y="780"/>
                  </a:lnTo>
                  <a:lnTo>
                    <a:pt x="244" y="776"/>
                  </a:lnTo>
                  <a:lnTo>
                    <a:pt x="240" y="770"/>
                  </a:lnTo>
                  <a:lnTo>
                    <a:pt x="234" y="764"/>
                  </a:lnTo>
                  <a:lnTo>
                    <a:pt x="232" y="758"/>
                  </a:lnTo>
                  <a:lnTo>
                    <a:pt x="228" y="752"/>
                  </a:lnTo>
                  <a:lnTo>
                    <a:pt x="224" y="746"/>
                  </a:lnTo>
                  <a:lnTo>
                    <a:pt x="224" y="740"/>
                  </a:lnTo>
                  <a:lnTo>
                    <a:pt x="220" y="734"/>
                  </a:lnTo>
                  <a:lnTo>
                    <a:pt x="216" y="728"/>
                  </a:lnTo>
                  <a:lnTo>
                    <a:pt x="214" y="722"/>
                  </a:lnTo>
                  <a:lnTo>
                    <a:pt x="210" y="716"/>
                  </a:lnTo>
                  <a:lnTo>
                    <a:pt x="208" y="710"/>
                  </a:lnTo>
                  <a:lnTo>
                    <a:pt x="208" y="704"/>
                  </a:lnTo>
                  <a:lnTo>
                    <a:pt x="206" y="700"/>
                  </a:lnTo>
                  <a:lnTo>
                    <a:pt x="206" y="692"/>
                  </a:lnTo>
                  <a:lnTo>
                    <a:pt x="202" y="688"/>
                  </a:lnTo>
                  <a:lnTo>
                    <a:pt x="200" y="682"/>
                  </a:lnTo>
                  <a:lnTo>
                    <a:pt x="198" y="676"/>
                  </a:lnTo>
                  <a:lnTo>
                    <a:pt x="202" y="670"/>
                  </a:lnTo>
                  <a:lnTo>
                    <a:pt x="202" y="666"/>
                  </a:lnTo>
                  <a:lnTo>
                    <a:pt x="200" y="660"/>
                  </a:lnTo>
                  <a:lnTo>
                    <a:pt x="198" y="654"/>
                  </a:lnTo>
                  <a:lnTo>
                    <a:pt x="196" y="652"/>
                  </a:lnTo>
                  <a:lnTo>
                    <a:pt x="190" y="646"/>
                  </a:lnTo>
                  <a:lnTo>
                    <a:pt x="190" y="640"/>
                  </a:lnTo>
                  <a:lnTo>
                    <a:pt x="192" y="634"/>
                  </a:lnTo>
                  <a:lnTo>
                    <a:pt x="192" y="628"/>
                  </a:lnTo>
                  <a:lnTo>
                    <a:pt x="188" y="622"/>
                  </a:lnTo>
                  <a:lnTo>
                    <a:pt x="188" y="616"/>
                  </a:lnTo>
                  <a:lnTo>
                    <a:pt x="184" y="610"/>
                  </a:lnTo>
                  <a:lnTo>
                    <a:pt x="184" y="604"/>
                  </a:lnTo>
                  <a:lnTo>
                    <a:pt x="184" y="598"/>
                  </a:lnTo>
                  <a:lnTo>
                    <a:pt x="186" y="592"/>
                  </a:lnTo>
                  <a:lnTo>
                    <a:pt x="184" y="586"/>
                  </a:lnTo>
                  <a:lnTo>
                    <a:pt x="182" y="580"/>
                  </a:lnTo>
                  <a:lnTo>
                    <a:pt x="182" y="574"/>
                  </a:lnTo>
                  <a:lnTo>
                    <a:pt x="184" y="568"/>
                  </a:lnTo>
                  <a:lnTo>
                    <a:pt x="184" y="562"/>
                  </a:lnTo>
                  <a:lnTo>
                    <a:pt x="184" y="556"/>
                  </a:lnTo>
                  <a:lnTo>
                    <a:pt x="182" y="552"/>
                  </a:lnTo>
                  <a:lnTo>
                    <a:pt x="182" y="546"/>
                  </a:lnTo>
                  <a:lnTo>
                    <a:pt x="180" y="540"/>
                  </a:lnTo>
                  <a:lnTo>
                    <a:pt x="176" y="534"/>
                  </a:lnTo>
                  <a:lnTo>
                    <a:pt x="172" y="528"/>
                  </a:lnTo>
                  <a:lnTo>
                    <a:pt x="170" y="522"/>
                  </a:lnTo>
                  <a:lnTo>
                    <a:pt x="170" y="518"/>
                  </a:lnTo>
                  <a:lnTo>
                    <a:pt x="168" y="510"/>
                  </a:lnTo>
                  <a:lnTo>
                    <a:pt x="164" y="506"/>
                  </a:lnTo>
                  <a:lnTo>
                    <a:pt x="164" y="500"/>
                  </a:lnTo>
                  <a:lnTo>
                    <a:pt x="162" y="494"/>
                  </a:lnTo>
                  <a:lnTo>
                    <a:pt x="162" y="488"/>
                  </a:lnTo>
                  <a:lnTo>
                    <a:pt x="164" y="482"/>
                  </a:lnTo>
                  <a:lnTo>
                    <a:pt x="166" y="476"/>
                  </a:lnTo>
                  <a:lnTo>
                    <a:pt x="164" y="470"/>
                  </a:lnTo>
                  <a:lnTo>
                    <a:pt x="164" y="464"/>
                  </a:lnTo>
                  <a:lnTo>
                    <a:pt x="164" y="458"/>
                  </a:lnTo>
                  <a:lnTo>
                    <a:pt x="162" y="452"/>
                  </a:lnTo>
                  <a:lnTo>
                    <a:pt x="160" y="446"/>
                  </a:lnTo>
                  <a:lnTo>
                    <a:pt x="164" y="440"/>
                  </a:lnTo>
                  <a:lnTo>
                    <a:pt x="164" y="434"/>
                  </a:lnTo>
                  <a:lnTo>
                    <a:pt x="162" y="428"/>
                  </a:lnTo>
                  <a:lnTo>
                    <a:pt x="166" y="430"/>
                  </a:lnTo>
                  <a:lnTo>
                    <a:pt x="172" y="430"/>
                  </a:lnTo>
                  <a:lnTo>
                    <a:pt x="178" y="432"/>
                  </a:lnTo>
                  <a:lnTo>
                    <a:pt x="178" y="430"/>
                  </a:lnTo>
                  <a:lnTo>
                    <a:pt x="176" y="422"/>
                  </a:lnTo>
                  <a:lnTo>
                    <a:pt x="176" y="416"/>
                  </a:lnTo>
                  <a:lnTo>
                    <a:pt x="176" y="410"/>
                  </a:lnTo>
                  <a:lnTo>
                    <a:pt x="176" y="406"/>
                  </a:lnTo>
                  <a:lnTo>
                    <a:pt x="176" y="400"/>
                  </a:lnTo>
                  <a:lnTo>
                    <a:pt x="176" y="392"/>
                  </a:lnTo>
                  <a:lnTo>
                    <a:pt x="170" y="396"/>
                  </a:lnTo>
                  <a:lnTo>
                    <a:pt x="168" y="396"/>
                  </a:lnTo>
                  <a:lnTo>
                    <a:pt x="166" y="396"/>
                  </a:lnTo>
                  <a:lnTo>
                    <a:pt x="166" y="390"/>
                  </a:lnTo>
                  <a:lnTo>
                    <a:pt x="164" y="384"/>
                  </a:lnTo>
                  <a:lnTo>
                    <a:pt x="162" y="378"/>
                  </a:lnTo>
                  <a:lnTo>
                    <a:pt x="160" y="372"/>
                  </a:lnTo>
                  <a:lnTo>
                    <a:pt x="158" y="366"/>
                  </a:lnTo>
                  <a:lnTo>
                    <a:pt x="154" y="362"/>
                  </a:lnTo>
                  <a:lnTo>
                    <a:pt x="152" y="354"/>
                  </a:lnTo>
                  <a:lnTo>
                    <a:pt x="150" y="354"/>
                  </a:lnTo>
                  <a:lnTo>
                    <a:pt x="146" y="348"/>
                  </a:lnTo>
                  <a:lnTo>
                    <a:pt x="142" y="342"/>
                  </a:lnTo>
                  <a:lnTo>
                    <a:pt x="136" y="336"/>
                  </a:lnTo>
                  <a:lnTo>
                    <a:pt x="134" y="330"/>
                  </a:lnTo>
                  <a:lnTo>
                    <a:pt x="130" y="324"/>
                  </a:lnTo>
                  <a:lnTo>
                    <a:pt x="130" y="322"/>
                  </a:lnTo>
                  <a:lnTo>
                    <a:pt x="128" y="316"/>
                  </a:lnTo>
                  <a:lnTo>
                    <a:pt x="126" y="310"/>
                  </a:lnTo>
                  <a:lnTo>
                    <a:pt x="120" y="304"/>
                  </a:lnTo>
                  <a:lnTo>
                    <a:pt x="118" y="298"/>
                  </a:lnTo>
                  <a:lnTo>
                    <a:pt x="114" y="292"/>
                  </a:lnTo>
                  <a:lnTo>
                    <a:pt x="112" y="292"/>
                  </a:lnTo>
                  <a:lnTo>
                    <a:pt x="108" y="286"/>
                  </a:lnTo>
                  <a:lnTo>
                    <a:pt x="108" y="280"/>
                  </a:lnTo>
                  <a:lnTo>
                    <a:pt x="104" y="274"/>
                  </a:lnTo>
                  <a:lnTo>
                    <a:pt x="100" y="270"/>
                  </a:lnTo>
                  <a:lnTo>
                    <a:pt x="98" y="264"/>
                  </a:lnTo>
                  <a:lnTo>
                    <a:pt x="98" y="258"/>
                  </a:lnTo>
                  <a:lnTo>
                    <a:pt x="96" y="252"/>
                  </a:lnTo>
                  <a:lnTo>
                    <a:pt x="92" y="246"/>
                  </a:lnTo>
                  <a:lnTo>
                    <a:pt x="90" y="240"/>
                  </a:lnTo>
                  <a:lnTo>
                    <a:pt x="90" y="234"/>
                  </a:lnTo>
                  <a:lnTo>
                    <a:pt x="88" y="228"/>
                  </a:lnTo>
                  <a:lnTo>
                    <a:pt x="86" y="222"/>
                  </a:lnTo>
                  <a:lnTo>
                    <a:pt x="80" y="216"/>
                  </a:lnTo>
                  <a:lnTo>
                    <a:pt x="78" y="210"/>
                  </a:lnTo>
                  <a:lnTo>
                    <a:pt x="78" y="208"/>
                  </a:lnTo>
                  <a:lnTo>
                    <a:pt x="74" y="202"/>
                  </a:lnTo>
                  <a:lnTo>
                    <a:pt x="72" y="196"/>
                  </a:lnTo>
                  <a:lnTo>
                    <a:pt x="68" y="190"/>
                  </a:lnTo>
                  <a:lnTo>
                    <a:pt x="66" y="184"/>
                  </a:lnTo>
                  <a:lnTo>
                    <a:pt x="62" y="178"/>
                  </a:lnTo>
                  <a:lnTo>
                    <a:pt x="60" y="172"/>
                  </a:lnTo>
                  <a:lnTo>
                    <a:pt x="58" y="170"/>
                  </a:lnTo>
                  <a:lnTo>
                    <a:pt x="58" y="164"/>
                  </a:lnTo>
                  <a:lnTo>
                    <a:pt x="54" y="158"/>
                  </a:lnTo>
                  <a:lnTo>
                    <a:pt x="52" y="152"/>
                  </a:lnTo>
                  <a:lnTo>
                    <a:pt x="50" y="146"/>
                  </a:lnTo>
                  <a:lnTo>
                    <a:pt x="48" y="144"/>
                  </a:lnTo>
                  <a:lnTo>
                    <a:pt x="44" y="138"/>
                  </a:lnTo>
                  <a:lnTo>
                    <a:pt x="42" y="132"/>
                  </a:lnTo>
                  <a:lnTo>
                    <a:pt x="38" y="126"/>
                  </a:lnTo>
                  <a:lnTo>
                    <a:pt x="34" y="120"/>
                  </a:lnTo>
                  <a:lnTo>
                    <a:pt x="28" y="116"/>
                  </a:lnTo>
                  <a:lnTo>
                    <a:pt x="22" y="110"/>
                  </a:lnTo>
                  <a:lnTo>
                    <a:pt x="18" y="104"/>
                  </a:lnTo>
                  <a:lnTo>
                    <a:pt x="16" y="98"/>
                  </a:lnTo>
                  <a:lnTo>
                    <a:pt x="14" y="92"/>
                  </a:lnTo>
                  <a:lnTo>
                    <a:pt x="12" y="86"/>
                  </a:lnTo>
                  <a:lnTo>
                    <a:pt x="6" y="80"/>
                  </a:lnTo>
                  <a:lnTo>
                    <a:pt x="4" y="74"/>
                  </a:lnTo>
                  <a:lnTo>
                    <a:pt x="2" y="68"/>
                  </a:lnTo>
                  <a:lnTo>
                    <a:pt x="2" y="62"/>
                  </a:lnTo>
                  <a:lnTo>
                    <a:pt x="0" y="56"/>
                  </a:lnTo>
                  <a:lnTo>
                    <a:pt x="0" y="50"/>
                  </a:lnTo>
                  <a:lnTo>
                    <a:pt x="0" y="44"/>
                  </a:lnTo>
                  <a:lnTo>
                    <a:pt x="0" y="38"/>
                  </a:lnTo>
                  <a:lnTo>
                    <a:pt x="0" y="32"/>
                  </a:lnTo>
                  <a:lnTo>
                    <a:pt x="2" y="26"/>
                  </a:lnTo>
                  <a:lnTo>
                    <a:pt x="2" y="2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6" name="Freeform 244"/>
            <p:cNvSpPr>
              <a:spLocks/>
            </p:cNvSpPr>
            <p:nvPr/>
          </p:nvSpPr>
          <p:spPr bwMode="auto">
            <a:xfrm>
              <a:off x="5465763" y="3502025"/>
              <a:ext cx="22225" cy="44450"/>
            </a:xfrm>
            <a:custGeom>
              <a:avLst/>
              <a:gdLst>
                <a:gd name="T0" fmla="*/ 2147483647 w 54"/>
                <a:gd name="T1" fmla="*/ 2147483647 h 110"/>
                <a:gd name="T2" fmla="*/ 2147483647 w 54"/>
                <a:gd name="T3" fmla="*/ 2147483647 h 110"/>
                <a:gd name="T4" fmla="*/ 0 w 54"/>
                <a:gd name="T5" fmla="*/ 2147483647 h 110"/>
                <a:gd name="T6" fmla="*/ 2147483647 w 54"/>
                <a:gd name="T7" fmla="*/ 2147483647 h 110"/>
                <a:gd name="T8" fmla="*/ 2147483647 w 54"/>
                <a:gd name="T9" fmla="*/ 2147483647 h 110"/>
                <a:gd name="T10" fmla="*/ 2147483647 w 54"/>
                <a:gd name="T11" fmla="*/ 2147483647 h 110"/>
                <a:gd name="T12" fmla="*/ 2147483647 w 54"/>
                <a:gd name="T13" fmla="*/ 2147483647 h 110"/>
                <a:gd name="T14" fmla="*/ 2147483647 w 54"/>
                <a:gd name="T15" fmla="*/ 2147483647 h 110"/>
                <a:gd name="T16" fmla="*/ 2147483647 w 54"/>
                <a:gd name="T17" fmla="*/ 2147483647 h 110"/>
                <a:gd name="T18" fmla="*/ 2147483647 w 54"/>
                <a:gd name="T19" fmla="*/ 2147483647 h 110"/>
                <a:gd name="T20" fmla="*/ 2147483647 w 54"/>
                <a:gd name="T21" fmla="*/ 2147483647 h 110"/>
                <a:gd name="T22" fmla="*/ 2147483647 w 54"/>
                <a:gd name="T23" fmla="*/ 2147483647 h 110"/>
                <a:gd name="T24" fmla="*/ 2147483647 w 54"/>
                <a:gd name="T25" fmla="*/ 2147483647 h 110"/>
                <a:gd name="T26" fmla="*/ 2147483647 w 54"/>
                <a:gd name="T27" fmla="*/ 2147483647 h 110"/>
                <a:gd name="T28" fmla="*/ 2147483647 w 54"/>
                <a:gd name="T29" fmla="*/ 2147483647 h 110"/>
                <a:gd name="T30" fmla="*/ 2147483647 w 54"/>
                <a:gd name="T31" fmla="*/ 2147483647 h 110"/>
                <a:gd name="T32" fmla="*/ 2147483647 w 54"/>
                <a:gd name="T33" fmla="*/ 2147483647 h 110"/>
                <a:gd name="T34" fmla="*/ 2147483647 w 54"/>
                <a:gd name="T35" fmla="*/ 0 h 110"/>
                <a:gd name="T36" fmla="*/ 2147483647 w 54"/>
                <a:gd name="T37" fmla="*/ 2147483647 h 110"/>
                <a:gd name="T38" fmla="*/ 2147483647 w 54"/>
                <a:gd name="T39" fmla="*/ 2147483647 h 110"/>
                <a:gd name="T40" fmla="*/ 2147483647 w 54"/>
                <a:gd name="T41" fmla="*/ 2147483647 h 110"/>
                <a:gd name="T42" fmla="*/ 2147483647 w 54"/>
                <a:gd name="T43" fmla="*/ 2147483647 h 110"/>
                <a:gd name="T44" fmla="*/ 2147483647 w 54"/>
                <a:gd name="T45" fmla="*/ 2147483647 h 110"/>
                <a:gd name="T46" fmla="*/ 2147483647 w 54"/>
                <a:gd name="T47" fmla="*/ 2147483647 h 110"/>
                <a:gd name="T48" fmla="*/ 2147483647 w 54"/>
                <a:gd name="T49" fmla="*/ 2147483647 h 110"/>
                <a:gd name="T50" fmla="*/ 2147483647 w 54"/>
                <a:gd name="T51" fmla="*/ 2147483647 h 110"/>
                <a:gd name="T52" fmla="*/ 2147483647 w 54"/>
                <a:gd name="T53" fmla="*/ 2147483647 h 110"/>
                <a:gd name="T54" fmla="*/ 2147483647 w 54"/>
                <a:gd name="T55" fmla="*/ 2147483647 h 110"/>
                <a:gd name="T56" fmla="*/ 2147483647 w 54"/>
                <a:gd name="T57" fmla="*/ 2147483647 h 110"/>
                <a:gd name="T58" fmla="*/ 2147483647 w 54"/>
                <a:gd name="T59" fmla="*/ 2147483647 h 110"/>
                <a:gd name="T60" fmla="*/ 2147483647 w 54"/>
                <a:gd name="T61" fmla="*/ 2147483647 h 110"/>
                <a:gd name="T62" fmla="*/ 2147483647 w 54"/>
                <a:gd name="T63" fmla="*/ 2147483647 h 110"/>
                <a:gd name="T64" fmla="*/ 2147483647 w 54"/>
                <a:gd name="T65" fmla="*/ 2147483647 h 110"/>
                <a:gd name="T66" fmla="*/ 2147483647 w 54"/>
                <a:gd name="T67" fmla="*/ 2147483647 h 110"/>
                <a:gd name="T68" fmla="*/ 2147483647 w 54"/>
                <a:gd name="T69" fmla="*/ 2147483647 h 110"/>
                <a:gd name="T70" fmla="*/ 2147483647 w 54"/>
                <a:gd name="T71" fmla="*/ 2147483647 h 110"/>
                <a:gd name="T72" fmla="*/ 2147483647 w 54"/>
                <a:gd name="T73" fmla="*/ 2147483647 h 110"/>
                <a:gd name="T74" fmla="*/ 2147483647 w 54"/>
                <a:gd name="T75" fmla="*/ 2147483647 h 110"/>
                <a:gd name="T76" fmla="*/ 2147483647 w 54"/>
                <a:gd name="T77" fmla="*/ 2147483647 h 110"/>
                <a:gd name="T78" fmla="*/ 2147483647 w 54"/>
                <a:gd name="T79" fmla="*/ 2147483647 h 110"/>
                <a:gd name="T80" fmla="*/ 2147483647 w 54"/>
                <a:gd name="T81" fmla="*/ 2147483647 h 110"/>
                <a:gd name="T82" fmla="*/ 2147483647 w 54"/>
                <a:gd name="T83" fmla="*/ 2147483647 h 110"/>
                <a:gd name="T84" fmla="*/ 2147483647 w 54"/>
                <a:gd name="T85" fmla="*/ 2147483647 h 110"/>
                <a:gd name="T86" fmla="*/ 2147483647 w 54"/>
                <a:gd name="T87" fmla="*/ 2147483647 h 110"/>
                <a:gd name="T88" fmla="*/ 2147483647 w 54"/>
                <a:gd name="T89" fmla="*/ 2147483647 h 110"/>
                <a:gd name="T90" fmla="*/ 2147483647 w 54"/>
                <a:gd name="T91" fmla="*/ 2147483647 h 110"/>
                <a:gd name="T92" fmla="*/ 2147483647 w 54"/>
                <a:gd name="T93" fmla="*/ 2147483647 h 110"/>
                <a:gd name="T94" fmla="*/ 2147483647 w 54"/>
                <a:gd name="T95" fmla="*/ 2147483647 h 110"/>
                <a:gd name="T96" fmla="*/ 2147483647 w 54"/>
                <a:gd name="T97" fmla="*/ 2147483647 h 110"/>
                <a:gd name="T98" fmla="*/ 2147483647 w 54"/>
                <a:gd name="T99" fmla="*/ 2147483647 h 110"/>
                <a:gd name="T100" fmla="*/ 2147483647 w 54"/>
                <a:gd name="T101" fmla="*/ 2147483647 h 110"/>
                <a:gd name="T102" fmla="*/ 2147483647 w 54"/>
                <a:gd name="T103" fmla="*/ 2147483647 h 110"/>
                <a:gd name="T104" fmla="*/ 2147483647 w 54"/>
                <a:gd name="T105" fmla="*/ 2147483647 h 110"/>
                <a:gd name="T106" fmla="*/ 2147483647 w 54"/>
                <a:gd name="T107" fmla="*/ 2147483647 h 110"/>
                <a:gd name="T108" fmla="*/ 2147483647 w 54"/>
                <a:gd name="T109" fmla="*/ 2147483647 h 110"/>
                <a:gd name="T110" fmla="*/ 2147483647 w 54"/>
                <a:gd name="T111" fmla="*/ 2147483647 h 110"/>
                <a:gd name="T112" fmla="*/ 2147483647 w 54"/>
                <a:gd name="T113" fmla="*/ 2147483647 h 110"/>
                <a:gd name="T114" fmla="*/ 2147483647 w 54"/>
                <a:gd name="T115" fmla="*/ 2147483647 h 110"/>
                <a:gd name="T116" fmla="*/ 2147483647 w 54"/>
                <a:gd name="T117" fmla="*/ 2147483647 h 110"/>
                <a:gd name="T118" fmla="*/ 2147483647 w 54"/>
                <a:gd name="T119" fmla="*/ 2147483647 h 1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4"/>
                <a:gd name="T181" fmla="*/ 0 h 110"/>
                <a:gd name="T182" fmla="*/ 54 w 54"/>
                <a:gd name="T183" fmla="*/ 110 h 1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4" h="110">
                  <a:moveTo>
                    <a:pt x="2" y="60"/>
                  </a:moveTo>
                  <a:lnTo>
                    <a:pt x="2" y="56"/>
                  </a:lnTo>
                  <a:lnTo>
                    <a:pt x="0" y="50"/>
                  </a:lnTo>
                  <a:lnTo>
                    <a:pt x="2" y="44"/>
                  </a:lnTo>
                  <a:lnTo>
                    <a:pt x="2" y="46"/>
                  </a:lnTo>
                  <a:lnTo>
                    <a:pt x="6" y="46"/>
                  </a:lnTo>
                  <a:lnTo>
                    <a:pt x="4" y="40"/>
                  </a:lnTo>
                  <a:lnTo>
                    <a:pt x="6" y="34"/>
                  </a:lnTo>
                  <a:lnTo>
                    <a:pt x="8" y="40"/>
                  </a:lnTo>
                  <a:lnTo>
                    <a:pt x="8" y="34"/>
                  </a:lnTo>
                  <a:lnTo>
                    <a:pt x="8" y="28"/>
                  </a:lnTo>
                  <a:lnTo>
                    <a:pt x="12" y="22"/>
                  </a:lnTo>
                  <a:lnTo>
                    <a:pt x="10" y="16"/>
                  </a:lnTo>
                  <a:lnTo>
                    <a:pt x="12" y="12"/>
                  </a:lnTo>
                  <a:lnTo>
                    <a:pt x="16" y="6"/>
                  </a:lnTo>
                  <a:lnTo>
                    <a:pt x="20" y="2"/>
                  </a:lnTo>
                  <a:lnTo>
                    <a:pt x="26" y="0"/>
                  </a:lnTo>
                  <a:lnTo>
                    <a:pt x="32" y="4"/>
                  </a:lnTo>
                  <a:lnTo>
                    <a:pt x="32" y="8"/>
                  </a:lnTo>
                  <a:lnTo>
                    <a:pt x="40" y="14"/>
                  </a:lnTo>
                  <a:lnTo>
                    <a:pt x="42" y="14"/>
                  </a:lnTo>
                  <a:lnTo>
                    <a:pt x="46" y="16"/>
                  </a:lnTo>
                  <a:lnTo>
                    <a:pt x="46" y="18"/>
                  </a:lnTo>
                  <a:lnTo>
                    <a:pt x="48" y="24"/>
                  </a:lnTo>
                  <a:lnTo>
                    <a:pt x="48" y="30"/>
                  </a:lnTo>
                  <a:lnTo>
                    <a:pt x="48" y="32"/>
                  </a:lnTo>
                  <a:lnTo>
                    <a:pt x="46" y="36"/>
                  </a:lnTo>
                  <a:lnTo>
                    <a:pt x="44" y="42"/>
                  </a:lnTo>
                  <a:lnTo>
                    <a:pt x="44" y="48"/>
                  </a:lnTo>
                  <a:lnTo>
                    <a:pt x="46" y="54"/>
                  </a:lnTo>
                  <a:lnTo>
                    <a:pt x="46" y="60"/>
                  </a:lnTo>
                  <a:lnTo>
                    <a:pt x="52" y="64"/>
                  </a:lnTo>
                  <a:lnTo>
                    <a:pt x="52" y="72"/>
                  </a:lnTo>
                  <a:lnTo>
                    <a:pt x="52" y="76"/>
                  </a:lnTo>
                  <a:lnTo>
                    <a:pt x="54" y="80"/>
                  </a:lnTo>
                  <a:lnTo>
                    <a:pt x="52" y="80"/>
                  </a:lnTo>
                  <a:lnTo>
                    <a:pt x="50" y="86"/>
                  </a:lnTo>
                  <a:lnTo>
                    <a:pt x="48" y="92"/>
                  </a:lnTo>
                  <a:lnTo>
                    <a:pt x="46" y="98"/>
                  </a:lnTo>
                  <a:lnTo>
                    <a:pt x="44" y="104"/>
                  </a:lnTo>
                  <a:lnTo>
                    <a:pt x="38" y="104"/>
                  </a:lnTo>
                  <a:lnTo>
                    <a:pt x="32" y="106"/>
                  </a:lnTo>
                  <a:lnTo>
                    <a:pt x="28" y="110"/>
                  </a:lnTo>
                  <a:lnTo>
                    <a:pt x="26" y="110"/>
                  </a:lnTo>
                  <a:lnTo>
                    <a:pt x="20" y="110"/>
                  </a:lnTo>
                  <a:lnTo>
                    <a:pt x="14" y="104"/>
                  </a:lnTo>
                  <a:lnTo>
                    <a:pt x="10" y="100"/>
                  </a:lnTo>
                  <a:lnTo>
                    <a:pt x="10" y="98"/>
                  </a:lnTo>
                  <a:lnTo>
                    <a:pt x="8" y="96"/>
                  </a:lnTo>
                  <a:lnTo>
                    <a:pt x="10" y="96"/>
                  </a:lnTo>
                  <a:lnTo>
                    <a:pt x="10" y="92"/>
                  </a:lnTo>
                  <a:lnTo>
                    <a:pt x="8" y="84"/>
                  </a:lnTo>
                  <a:lnTo>
                    <a:pt x="6" y="80"/>
                  </a:lnTo>
                  <a:lnTo>
                    <a:pt x="6" y="78"/>
                  </a:lnTo>
                  <a:lnTo>
                    <a:pt x="2" y="72"/>
                  </a:lnTo>
                  <a:lnTo>
                    <a:pt x="2" y="66"/>
                  </a:lnTo>
                  <a:lnTo>
                    <a:pt x="2" y="6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7" name="Freeform 245"/>
            <p:cNvSpPr>
              <a:spLocks/>
            </p:cNvSpPr>
            <p:nvPr/>
          </p:nvSpPr>
          <p:spPr bwMode="auto">
            <a:xfrm>
              <a:off x="4776788" y="4479925"/>
              <a:ext cx="290512" cy="280988"/>
            </a:xfrm>
            <a:custGeom>
              <a:avLst/>
              <a:gdLst>
                <a:gd name="T0" fmla="*/ 0 w 716"/>
                <a:gd name="T1" fmla="*/ 2147483647 h 684"/>
                <a:gd name="T2" fmla="*/ 0 w 716"/>
                <a:gd name="T3" fmla="*/ 2147483647 h 684"/>
                <a:gd name="T4" fmla="*/ 2147483647 w 716"/>
                <a:gd name="T5" fmla="*/ 2147483647 h 684"/>
                <a:gd name="T6" fmla="*/ 2147483647 w 716"/>
                <a:gd name="T7" fmla="*/ 2147483647 h 684"/>
                <a:gd name="T8" fmla="*/ 2147483647 w 716"/>
                <a:gd name="T9" fmla="*/ 2147483647 h 684"/>
                <a:gd name="T10" fmla="*/ 2147483647 w 716"/>
                <a:gd name="T11" fmla="*/ 2147483647 h 684"/>
                <a:gd name="T12" fmla="*/ 2147483647 w 716"/>
                <a:gd name="T13" fmla="*/ 2147483647 h 684"/>
                <a:gd name="T14" fmla="*/ 2147483647 w 716"/>
                <a:gd name="T15" fmla="*/ 2147483647 h 684"/>
                <a:gd name="T16" fmla="*/ 2147483647 w 716"/>
                <a:gd name="T17" fmla="*/ 2147483647 h 684"/>
                <a:gd name="T18" fmla="*/ 2147483647 w 716"/>
                <a:gd name="T19" fmla="*/ 2147483647 h 684"/>
                <a:gd name="T20" fmla="*/ 2147483647 w 716"/>
                <a:gd name="T21" fmla="*/ 2147483647 h 684"/>
                <a:gd name="T22" fmla="*/ 2147483647 w 716"/>
                <a:gd name="T23" fmla="*/ 2147483647 h 684"/>
                <a:gd name="T24" fmla="*/ 2147483647 w 716"/>
                <a:gd name="T25" fmla="*/ 2147483647 h 684"/>
                <a:gd name="T26" fmla="*/ 2147483647 w 716"/>
                <a:gd name="T27" fmla="*/ 2147483647 h 684"/>
                <a:gd name="T28" fmla="*/ 2147483647 w 716"/>
                <a:gd name="T29" fmla="*/ 2147483647 h 684"/>
                <a:gd name="T30" fmla="*/ 2147483647 w 716"/>
                <a:gd name="T31" fmla="*/ 2147483647 h 684"/>
                <a:gd name="T32" fmla="*/ 2147483647 w 716"/>
                <a:gd name="T33" fmla="*/ 2147483647 h 684"/>
                <a:gd name="T34" fmla="*/ 2147483647 w 716"/>
                <a:gd name="T35" fmla="*/ 2147483647 h 684"/>
                <a:gd name="T36" fmla="*/ 2147483647 w 716"/>
                <a:gd name="T37" fmla="*/ 2147483647 h 684"/>
                <a:gd name="T38" fmla="*/ 2147483647 w 716"/>
                <a:gd name="T39" fmla="*/ 2147483647 h 684"/>
                <a:gd name="T40" fmla="*/ 2147483647 w 716"/>
                <a:gd name="T41" fmla="*/ 2147483647 h 684"/>
                <a:gd name="T42" fmla="*/ 2147483647 w 716"/>
                <a:gd name="T43" fmla="*/ 2147483647 h 684"/>
                <a:gd name="T44" fmla="*/ 2147483647 w 716"/>
                <a:gd name="T45" fmla="*/ 2147483647 h 684"/>
                <a:gd name="T46" fmla="*/ 2147483647 w 716"/>
                <a:gd name="T47" fmla="*/ 2147483647 h 684"/>
                <a:gd name="T48" fmla="*/ 2147483647 w 716"/>
                <a:gd name="T49" fmla="*/ 2147483647 h 684"/>
                <a:gd name="T50" fmla="*/ 2147483647 w 716"/>
                <a:gd name="T51" fmla="*/ 2147483647 h 684"/>
                <a:gd name="T52" fmla="*/ 2147483647 w 716"/>
                <a:gd name="T53" fmla="*/ 2147483647 h 684"/>
                <a:gd name="T54" fmla="*/ 2147483647 w 716"/>
                <a:gd name="T55" fmla="*/ 2147483647 h 684"/>
                <a:gd name="T56" fmla="*/ 2147483647 w 716"/>
                <a:gd name="T57" fmla="*/ 2147483647 h 684"/>
                <a:gd name="T58" fmla="*/ 2147483647 w 716"/>
                <a:gd name="T59" fmla="*/ 2147483647 h 684"/>
                <a:gd name="T60" fmla="*/ 2147483647 w 716"/>
                <a:gd name="T61" fmla="*/ 2147483647 h 684"/>
                <a:gd name="T62" fmla="*/ 2147483647 w 716"/>
                <a:gd name="T63" fmla="*/ 2147483647 h 684"/>
                <a:gd name="T64" fmla="*/ 2147483647 w 716"/>
                <a:gd name="T65" fmla="*/ 2147483647 h 684"/>
                <a:gd name="T66" fmla="*/ 2147483647 w 716"/>
                <a:gd name="T67" fmla="*/ 2147483647 h 684"/>
                <a:gd name="T68" fmla="*/ 2147483647 w 716"/>
                <a:gd name="T69" fmla="*/ 2147483647 h 684"/>
                <a:gd name="T70" fmla="*/ 2147483647 w 716"/>
                <a:gd name="T71" fmla="*/ 2147483647 h 684"/>
                <a:gd name="T72" fmla="*/ 2147483647 w 716"/>
                <a:gd name="T73" fmla="*/ 2147483647 h 684"/>
                <a:gd name="T74" fmla="*/ 2147483647 w 716"/>
                <a:gd name="T75" fmla="*/ 2147483647 h 684"/>
                <a:gd name="T76" fmla="*/ 2147483647 w 716"/>
                <a:gd name="T77" fmla="*/ 2147483647 h 684"/>
                <a:gd name="T78" fmla="*/ 2147483647 w 716"/>
                <a:gd name="T79" fmla="*/ 2147483647 h 684"/>
                <a:gd name="T80" fmla="*/ 2147483647 w 716"/>
                <a:gd name="T81" fmla="*/ 2147483647 h 684"/>
                <a:gd name="T82" fmla="*/ 2147483647 w 716"/>
                <a:gd name="T83" fmla="*/ 2147483647 h 684"/>
                <a:gd name="T84" fmla="*/ 2147483647 w 716"/>
                <a:gd name="T85" fmla="*/ 2147483647 h 684"/>
                <a:gd name="T86" fmla="*/ 2147483647 w 716"/>
                <a:gd name="T87" fmla="*/ 2147483647 h 684"/>
                <a:gd name="T88" fmla="*/ 2147483647 w 716"/>
                <a:gd name="T89" fmla="*/ 2147483647 h 684"/>
                <a:gd name="T90" fmla="*/ 2147483647 w 716"/>
                <a:gd name="T91" fmla="*/ 2147483647 h 684"/>
                <a:gd name="T92" fmla="*/ 2147483647 w 716"/>
                <a:gd name="T93" fmla="*/ 2147483647 h 684"/>
                <a:gd name="T94" fmla="*/ 2147483647 w 716"/>
                <a:gd name="T95" fmla="*/ 2147483647 h 684"/>
                <a:gd name="T96" fmla="*/ 2147483647 w 716"/>
                <a:gd name="T97" fmla="*/ 2147483647 h 684"/>
                <a:gd name="T98" fmla="*/ 2147483647 w 716"/>
                <a:gd name="T99" fmla="*/ 2147483647 h 684"/>
                <a:gd name="T100" fmla="*/ 2147483647 w 716"/>
                <a:gd name="T101" fmla="*/ 2147483647 h 684"/>
                <a:gd name="T102" fmla="*/ 2147483647 w 716"/>
                <a:gd name="T103" fmla="*/ 2147483647 h 684"/>
                <a:gd name="T104" fmla="*/ 2147483647 w 716"/>
                <a:gd name="T105" fmla="*/ 2147483647 h 684"/>
                <a:gd name="T106" fmla="*/ 2147483647 w 716"/>
                <a:gd name="T107" fmla="*/ 2147483647 h 684"/>
                <a:gd name="T108" fmla="*/ 2147483647 w 716"/>
                <a:gd name="T109" fmla="*/ 2147483647 h 684"/>
                <a:gd name="T110" fmla="*/ 2147483647 w 716"/>
                <a:gd name="T111" fmla="*/ 2147483647 h 684"/>
                <a:gd name="T112" fmla="*/ 2147483647 w 716"/>
                <a:gd name="T113" fmla="*/ 2147483647 h 68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6"/>
                <a:gd name="T172" fmla="*/ 0 h 684"/>
                <a:gd name="T173" fmla="*/ 716 w 716"/>
                <a:gd name="T174" fmla="*/ 684 h 68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6" h="684">
                  <a:moveTo>
                    <a:pt x="0" y="554"/>
                  </a:moveTo>
                  <a:lnTo>
                    <a:pt x="0" y="546"/>
                  </a:lnTo>
                  <a:lnTo>
                    <a:pt x="0" y="540"/>
                  </a:lnTo>
                  <a:lnTo>
                    <a:pt x="0" y="534"/>
                  </a:lnTo>
                  <a:lnTo>
                    <a:pt x="0" y="528"/>
                  </a:lnTo>
                  <a:lnTo>
                    <a:pt x="0" y="522"/>
                  </a:lnTo>
                  <a:lnTo>
                    <a:pt x="0" y="516"/>
                  </a:lnTo>
                  <a:lnTo>
                    <a:pt x="0" y="510"/>
                  </a:lnTo>
                  <a:lnTo>
                    <a:pt x="0" y="504"/>
                  </a:lnTo>
                  <a:lnTo>
                    <a:pt x="0" y="498"/>
                  </a:lnTo>
                  <a:lnTo>
                    <a:pt x="0" y="492"/>
                  </a:lnTo>
                  <a:lnTo>
                    <a:pt x="0" y="486"/>
                  </a:lnTo>
                  <a:lnTo>
                    <a:pt x="0" y="480"/>
                  </a:lnTo>
                  <a:lnTo>
                    <a:pt x="0" y="474"/>
                  </a:lnTo>
                  <a:lnTo>
                    <a:pt x="0" y="472"/>
                  </a:lnTo>
                  <a:lnTo>
                    <a:pt x="0" y="466"/>
                  </a:lnTo>
                  <a:lnTo>
                    <a:pt x="0" y="460"/>
                  </a:lnTo>
                  <a:lnTo>
                    <a:pt x="0" y="454"/>
                  </a:lnTo>
                  <a:lnTo>
                    <a:pt x="0" y="448"/>
                  </a:lnTo>
                  <a:lnTo>
                    <a:pt x="0" y="442"/>
                  </a:lnTo>
                  <a:lnTo>
                    <a:pt x="0" y="436"/>
                  </a:lnTo>
                  <a:lnTo>
                    <a:pt x="0" y="430"/>
                  </a:lnTo>
                  <a:lnTo>
                    <a:pt x="2" y="424"/>
                  </a:lnTo>
                  <a:lnTo>
                    <a:pt x="2" y="418"/>
                  </a:lnTo>
                  <a:lnTo>
                    <a:pt x="2" y="412"/>
                  </a:lnTo>
                  <a:lnTo>
                    <a:pt x="2" y="406"/>
                  </a:lnTo>
                  <a:lnTo>
                    <a:pt x="2" y="400"/>
                  </a:lnTo>
                  <a:lnTo>
                    <a:pt x="2" y="394"/>
                  </a:lnTo>
                  <a:lnTo>
                    <a:pt x="2" y="388"/>
                  </a:lnTo>
                  <a:lnTo>
                    <a:pt x="2" y="382"/>
                  </a:lnTo>
                  <a:lnTo>
                    <a:pt x="2" y="376"/>
                  </a:lnTo>
                  <a:lnTo>
                    <a:pt x="2" y="370"/>
                  </a:lnTo>
                  <a:lnTo>
                    <a:pt x="2" y="364"/>
                  </a:lnTo>
                  <a:lnTo>
                    <a:pt x="2" y="356"/>
                  </a:lnTo>
                  <a:lnTo>
                    <a:pt x="2" y="352"/>
                  </a:lnTo>
                  <a:lnTo>
                    <a:pt x="2" y="346"/>
                  </a:lnTo>
                  <a:lnTo>
                    <a:pt x="2" y="340"/>
                  </a:lnTo>
                  <a:lnTo>
                    <a:pt x="2" y="334"/>
                  </a:lnTo>
                  <a:lnTo>
                    <a:pt x="12" y="334"/>
                  </a:lnTo>
                  <a:lnTo>
                    <a:pt x="18" y="334"/>
                  </a:lnTo>
                  <a:lnTo>
                    <a:pt x="24" y="334"/>
                  </a:lnTo>
                  <a:lnTo>
                    <a:pt x="28" y="334"/>
                  </a:lnTo>
                  <a:lnTo>
                    <a:pt x="36" y="334"/>
                  </a:lnTo>
                  <a:lnTo>
                    <a:pt x="46" y="334"/>
                  </a:lnTo>
                  <a:lnTo>
                    <a:pt x="52" y="334"/>
                  </a:lnTo>
                  <a:lnTo>
                    <a:pt x="60" y="334"/>
                  </a:lnTo>
                  <a:lnTo>
                    <a:pt x="66" y="334"/>
                  </a:lnTo>
                  <a:lnTo>
                    <a:pt x="72" y="334"/>
                  </a:lnTo>
                  <a:lnTo>
                    <a:pt x="80" y="334"/>
                  </a:lnTo>
                  <a:lnTo>
                    <a:pt x="88" y="334"/>
                  </a:lnTo>
                  <a:lnTo>
                    <a:pt x="90" y="334"/>
                  </a:lnTo>
                  <a:lnTo>
                    <a:pt x="98" y="334"/>
                  </a:lnTo>
                  <a:lnTo>
                    <a:pt x="108" y="334"/>
                  </a:lnTo>
                  <a:lnTo>
                    <a:pt x="114" y="334"/>
                  </a:lnTo>
                  <a:lnTo>
                    <a:pt x="124" y="330"/>
                  </a:lnTo>
                  <a:lnTo>
                    <a:pt x="120" y="324"/>
                  </a:lnTo>
                  <a:lnTo>
                    <a:pt x="118" y="318"/>
                  </a:lnTo>
                  <a:lnTo>
                    <a:pt x="118" y="312"/>
                  </a:lnTo>
                  <a:lnTo>
                    <a:pt x="120" y="306"/>
                  </a:lnTo>
                  <a:lnTo>
                    <a:pt x="122" y="300"/>
                  </a:lnTo>
                  <a:lnTo>
                    <a:pt x="126" y="294"/>
                  </a:lnTo>
                  <a:lnTo>
                    <a:pt x="126" y="288"/>
                  </a:lnTo>
                  <a:lnTo>
                    <a:pt x="126" y="282"/>
                  </a:lnTo>
                  <a:lnTo>
                    <a:pt x="122" y="276"/>
                  </a:lnTo>
                  <a:lnTo>
                    <a:pt x="124" y="270"/>
                  </a:lnTo>
                  <a:lnTo>
                    <a:pt x="124" y="264"/>
                  </a:lnTo>
                  <a:lnTo>
                    <a:pt x="124" y="258"/>
                  </a:lnTo>
                  <a:lnTo>
                    <a:pt x="126" y="252"/>
                  </a:lnTo>
                  <a:lnTo>
                    <a:pt x="126" y="246"/>
                  </a:lnTo>
                  <a:lnTo>
                    <a:pt x="122" y="240"/>
                  </a:lnTo>
                  <a:lnTo>
                    <a:pt x="126" y="234"/>
                  </a:lnTo>
                  <a:lnTo>
                    <a:pt x="126" y="228"/>
                  </a:lnTo>
                  <a:lnTo>
                    <a:pt x="130" y="222"/>
                  </a:lnTo>
                  <a:lnTo>
                    <a:pt x="128" y="216"/>
                  </a:lnTo>
                  <a:lnTo>
                    <a:pt x="126" y="210"/>
                  </a:lnTo>
                  <a:lnTo>
                    <a:pt x="128" y="204"/>
                  </a:lnTo>
                  <a:lnTo>
                    <a:pt x="126" y="204"/>
                  </a:lnTo>
                  <a:lnTo>
                    <a:pt x="126" y="198"/>
                  </a:lnTo>
                  <a:lnTo>
                    <a:pt x="126" y="192"/>
                  </a:lnTo>
                  <a:lnTo>
                    <a:pt x="124" y="186"/>
                  </a:lnTo>
                  <a:lnTo>
                    <a:pt x="128" y="186"/>
                  </a:lnTo>
                  <a:lnTo>
                    <a:pt x="134" y="190"/>
                  </a:lnTo>
                  <a:lnTo>
                    <a:pt x="134" y="198"/>
                  </a:lnTo>
                  <a:lnTo>
                    <a:pt x="140" y="198"/>
                  </a:lnTo>
                  <a:lnTo>
                    <a:pt x="146" y="200"/>
                  </a:lnTo>
                  <a:lnTo>
                    <a:pt x="148" y="204"/>
                  </a:lnTo>
                  <a:lnTo>
                    <a:pt x="150" y="210"/>
                  </a:lnTo>
                  <a:lnTo>
                    <a:pt x="148" y="216"/>
                  </a:lnTo>
                  <a:lnTo>
                    <a:pt x="144" y="222"/>
                  </a:lnTo>
                  <a:lnTo>
                    <a:pt x="150" y="224"/>
                  </a:lnTo>
                  <a:lnTo>
                    <a:pt x="156" y="228"/>
                  </a:lnTo>
                  <a:lnTo>
                    <a:pt x="162" y="222"/>
                  </a:lnTo>
                  <a:lnTo>
                    <a:pt x="168" y="218"/>
                  </a:lnTo>
                  <a:lnTo>
                    <a:pt x="174" y="218"/>
                  </a:lnTo>
                  <a:lnTo>
                    <a:pt x="180" y="216"/>
                  </a:lnTo>
                  <a:lnTo>
                    <a:pt x="186" y="214"/>
                  </a:lnTo>
                  <a:lnTo>
                    <a:pt x="190" y="214"/>
                  </a:lnTo>
                  <a:lnTo>
                    <a:pt x="196" y="212"/>
                  </a:lnTo>
                  <a:lnTo>
                    <a:pt x="202" y="212"/>
                  </a:lnTo>
                  <a:lnTo>
                    <a:pt x="206" y="210"/>
                  </a:lnTo>
                  <a:lnTo>
                    <a:pt x="204" y="216"/>
                  </a:lnTo>
                  <a:lnTo>
                    <a:pt x="204" y="222"/>
                  </a:lnTo>
                  <a:lnTo>
                    <a:pt x="206" y="228"/>
                  </a:lnTo>
                  <a:lnTo>
                    <a:pt x="206" y="234"/>
                  </a:lnTo>
                  <a:lnTo>
                    <a:pt x="208" y="240"/>
                  </a:lnTo>
                  <a:lnTo>
                    <a:pt x="214" y="242"/>
                  </a:lnTo>
                  <a:lnTo>
                    <a:pt x="220" y="248"/>
                  </a:lnTo>
                  <a:lnTo>
                    <a:pt x="226" y="246"/>
                  </a:lnTo>
                  <a:lnTo>
                    <a:pt x="232" y="250"/>
                  </a:lnTo>
                  <a:lnTo>
                    <a:pt x="238" y="250"/>
                  </a:lnTo>
                  <a:lnTo>
                    <a:pt x="244" y="254"/>
                  </a:lnTo>
                  <a:lnTo>
                    <a:pt x="250" y="258"/>
                  </a:lnTo>
                  <a:lnTo>
                    <a:pt x="256" y="258"/>
                  </a:lnTo>
                  <a:lnTo>
                    <a:pt x="262" y="260"/>
                  </a:lnTo>
                  <a:lnTo>
                    <a:pt x="268" y="258"/>
                  </a:lnTo>
                  <a:lnTo>
                    <a:pt x="274" y="258"/>
                  </a:lnTo>
                  <a:lnTo>
                    <a:pt x="280" y="262"/>
                  </a:lnTo>
                  <a:lnTo>
                    <a:pt x="286" y="264"/>
                  </a:lnTo>
                  <a:lnTo>
                    <a:pt x="292" y="264"/>
                  </a:lnTo>
                  <a:lnTo>
                    <a:pt x="298" y="262"/>
                  </a:lnTo>
                  <a:lnTo>
                    <a:pt x="304" y="258"/>
                  </a:lnTo>
                  <a:lnTo>
                    <a:pt x="306" y="254"/>
                  </a:lnTo>
                  <a:lnTo>
                    <a:pt x="308" y="248"/>
                  </a:lnTo>
                  <a:lnTo>
                    <a:pt x="310" y="242"/>
                  </a:lnTo>
                  <a:lnTo>
                    <a:pt x="314" y="236"/>
                  </a:lnTo>
                  <a:lnTo>
                    <a:pt x="320" y="234"/>
                  </a:lnTo>
                  <a:lnTo>
                    <a:pt x="322" y="240"/>
                  </a:lnTo>
                  <a:lnTo>
                    <a:pt x="322" y="246"/>
                  </a:lnTo>
                  <a:lnTo>
                    <a:pt x="324" y="252"/>
                  </a:lnTo>
                  <a:lnTo>
                    <a:pt x="330" y="258"/>
                  </a:lnTo>
                  <a:lnTo>
                    <a:pt x="336" y="262"/>
                  </a:lnTo>
                  <a:lnTo>
                    <a:pt x="338" y="268"/>
                  </a:lnTo>
                  <a:lnTo>
                    <a:pt x="338" y="274"/>
                  </a:lnTo>
                  <a:lnTo>
                    <a:pt x="342" y="280"/>
                  </a:lnTo>
                  <a:lnTo>
                    <a:pt x="350" y="286"/>
                  </a:lnTo>
                  <a:lnTo>
                    <a:pt x="354" y="284"/>
                  </a:lnTo>
                  <a:lnTo>
                    <a:pt x="360" y="282"/>
                  </a:lnTo>
                  <a:lnTo>
                    <a:pt x="364" y="286"/>
                  </a:lnTo>
                  <a:lnTo>
                    <a:pt x="370" y="290"/>
                  </a:lnTo>
                  <a:lnTo>
                    <a:pt x="376" y="294"/>
                  </a:lnTo>
                  <a:lnTo>
                    <a:pt x="382" y="294"/>
                  </a:lnTo>
                  <a:lnTo>
                    <a:pt x="388" y="294"/>
                  </a:lnTo>
                  <a:lnTo>
                    <a:pt x="388" y="296"/>
                  </a:lnTo>
                  <a:lnTo>
                    <a:pt x="390" y="296"/>
                  </a:lnTo>
                  <a:lnTo>
                    <a:pt x="394" y="302"/>
                  </a:lnTo>
                  <a:lnTo>
                    <a:pt x="398" y="308"/>
                  </a:lnTo>
                  <a:lnTo>
                    <a:pt x="398" y="314"/>
                  </a:lnTo>
                  <a:lnTo>
                    <a:pt x="398" y="320"/>
                  </a:lnTo>
                  <a:lnTo>
                    <a:pt x="404" y="324"/>
                  </a:lnTo>
                  <a:lnTo>
                    <a:pt x="406" y="322"/>
                  </a:lnTo>
                  <a:lnTo>
                    <a:pt x="412" y="326"/>
                  </a:lnTo>
                  <a:lnTo>
                    <a:pt x="416" y="332"/>
                  </a:lnTo>
                  <a:lnTo>
                    <a:pt x="416" y="334"/>
                  </a:lnTo>
                  <a:lnTo>
                    <a:pt x="418" y="340"/>
                  </a:lnTo>
                  <a:lnTo>
                    <a:pt x="422" y="346"/>
                  </a:lnTo>
                  <a:lnTo>
                    <a:pt x="424" y="352"/>
                  </a:lnTo>
                  <a:lnTo>
                    <a:pt x="424" y="358"/>
                  </a:lnTo>
                  <a:lnTo>
                    <a:pt x="430" y="360"/>
                  </a:lnTo>
                  <a:lnTo>
                    <a:pt x="434" y="360"/>
                  </a:lnTo>
                  <a:lnTo>
                    <a:pt x="440" y="364"/>
                  </a:lnTo>
                  <a:lnTo>
                    <a:pt x="444" y="360"/>
                  </a:lnTo>
                  <a:lnTo>
                    <a:pt x="450" y="356"/>
                  </a:lnTo>
                  <a:lnTo>
                    <a:pt x="456" y="354"/>
                  </a:lnTo>
                  <a:lnTo>
                    <a:pt x="462" y="348"/>
                  </a:lnTo>
                  <a:lnTo>
                    <a:pt x="468" y="352"/>
                  </a:lnTo>
                  <a:lnTo>
                    <a:pt x="464" y="358"/>
                  </a:lnTo>
                  <a:lnTo>
                    <a:pt x="470" y="364"/>
                  </a:lnTo>
                  <a:lnTo>
                    <a:pt x="476" y="364"/>
                  </a:lnTo>
                  <a:lnTo>
                    <a:pt x="476" y="358"/>
                  </a:lnTo>
                  <a:lnTo>
                    <a:pt x="476" y="352"/>
                  </a:lnTo>
                  <a:lnTo>
                    <a:pt x="476" y="346"/>
                  </a:lnTo>
                  <a:lnTo>
                    <a:pt x="476" y="340"/>
                  </a:lnTo>
                  <a:lnTo>
                    <a:pt x="476" y="334"/>
                  </a:lnTo>
                  <a:lnTo>
                    <a:pt x="476" y="326"/>
                  </a:lnTo>
                  <a:lnTo>
                    <a:pt x="476" y="322"/>
                  </a:lnTo>
                  <a:lnTo>
                    <a:pt x="476" y="314"/>
                  </a:lnTo>
                  <a:lnTo>
                    <a:pt x="476" y="308"/>
                  </a:lnTo>
                  <a:lnTo>
                    <a:pt x="476" y="302"/>
                  </a:lnTo>
                  <a:lnTo>
                    <a:pt x="476" y="296"/>
                  </a:lnTo>
                  <a:lnTo>
                    <a:pt x="476" y="294"/>
                  </a:lnTo>
                  <a:lnTo>
                    <a:pt x="478" y="288"/>
                  </a:lnTo>
                  <a:lnTo>
                    <a:pt x="478" y="280"/>
                  </a:lnTo>
                  <a:lnTo>
                    <a:pt x="478" y="276"/>
                  </a:lnTo>
                  <a:lnTo>
                    <a:pt x="476" y="276"/>
                  </a:lnTo>
                  <a:lnTo>
                    <a:pt x="470" y="278"/>
                  </a:lnTo>
                  <a:lnTo>
                    <a:pt x="466" y="280"/>
                  </a:lnTo>
                  <a:lnTo>
                    <a:pt x="460" y="280"/>
                  </a:lnTo>
                  <a:lnTo>
                    <a:pt x="456" y="286"/>
                  </a:lnTo>
                  <a:lnTo>
                    <a:pt x="456" y="292"/>
                  </a:lnTo>
                  <a:lnTo>
                    <a:pt x="452" y="294"/>
                  </a:lnTo>
                  <a:lnTo>
                    <a:pt x="446" y="292"/>
                  </a:lnTo>
                  <a:lnTo>
                    <a:pt x="440" y="290"/>
                  </a:lnTo>
                  <a:lnTo>
                    <a:pt x="434" y="290"/>
                  </a:lnTo>
                  <a:lnTo>
                    <a:pt x="428" y="286"/>
                  </a:lnTo>
                  <a:lnTo>
                    <a:pt x="424" y="280"/>
                  </a:lnTo>
                  <a:lnTo>
                    <a:pt x="418" y="274"/>
                  </a:lnTo>
                  <a:lnTo>
                    <a:pt x="414" y="268"/>
                  </a:lnTo>
                  <a:lnTo>
                    <a:pt x="412" y="262"/>
                  </a:lnTo>
                  <a:lnTo>
                    <a:pt x="406" y="262"/>
                  </a:lnTo>
                  <a:lnTo>
                    <a:pt x="402" y="256"/>
                  </a:lnTo>
                  <a:lnTo>
                    <a:pt x="396" y="250"/>
                  </a:lnTo>
                  <a:lnTo>
                    <a:pt x="394" y="244"/>
                  </a:lnTo>
                  <a:lnTo>
                    <a:pt x="394" y="238"/>
                  </a:lnTo>
                  <a:lnTo>
                    <a:pt x="390" y="232"/>
                  </a:lnTo>
                  <a:lnTo>
                    <a:pt x="390" y="226"/>
                  </a:lnTo>
                  <a:lnTo>
                    <a:pt x="394" y="220"/>
                  </a:lnTo>
                  <a:lnTo>
                    <a:pt x="394" y="216"/>
                  </a:lnTo>
                  <a:lnTo>
                    <a:pt x="398" y="210"/>
                  </a:lnTo>
                  <a:lnTo>
                    <a:pt x="398" y="204"/>
                  </a:lnTo>
                  <a:lnTo>
                    <a:pt x="400" y="198"/>
                  </a:lnTo>
                  <a:lnTo>
                    <a:pt x="402" y="192"/>
                  </a:lnTo>
                  <a:lnTo>
                    <a:pt x="402" y="186"/>
                  </a:lnTo>
                  <a:lnTo>
                    <a:pt x="406" y="180"/>
                  </a:lnTo>
                  <a:lnTo>
                    <a:pt x="410" y="174"/>
                  </a:lnTo>
                  <a:lnTo>
                    <a:pt x="410" y="168"/>
                  </a:lnTo>
                  <a:lnTo>
                    <a:pt x="408" y="162"/>
                  </a:lnTo>
                  <a:lnTo>
                    <a:pt x="408" y="156"/>
                  </a:lnTo>
                  <a:lnTo>
                    <a:pt x="406" y="150"/>
                  </a:lnTo>
                  <a:lnTo>
                    <a:pt x="406" y="144"/>
                  </a:lnTo>
                  <a:lnTo>
                    <a:pt x="406" y="138"/>
                  </a:lnTo>
                  <a:lnTo>
                    <a:pt x="408" y="132"/>
                  </a:lnTo>
                  <a:lnTo>
                    <a:pt x="408" y="126"/>
                  </a:lnTo>
                  <a:lnTo>
                    <a:pt x="408" y="120"/>
                  </a:lnTo>
                  <a:lnTo>
                    <a:pt x="410" y="114"/>
                  </a:lnTo>
                  <a:lnTo>
                    <a:pt x="410" y="108"/>
                  </a:lnTo>
                  <a:lnTo>
                    <a:pt x="408" y="102"/>
                  </a:lnTo>
                  <a:lnTo>
                    <a:pt x="406" y="96"/>
                  </a:lnTo>
                  <a:lnTo>
                    <a:pt x="404" y="90"/>
                  </a:lnTo>
                  <a:lnTo>
                    <a:pt x="402" y="84"/>
                  </a:lnTo>
                  <a:lnTo>
                    <a:pt x="402" y="82"/>
                  </a:lnTo>
                  <a:lnTo>
                    <a:pt x="400" y="80"/>
                  </a:lnTo>
                  <a:lnTo>
                    <a:pt x="394" y="76"/>
                  </a:lnTo>
                  <a:lnTo>
                    <a:pt x="398" y="72"/>
                  </a:lnTo>
                  <a:lnTo>
                    <a:pt x="402" y="68"/>
                  </a:lnTo>
                  <a:lnTo>
                    <a:pt x="408" y="62"/>
                  </a:lnTo>
                  <a:lnTo>
                    <a:pt x="414" y="56"/>
                  </a:lnTo>
                  <a:lnTo>
                    <a:pt x="418" y="50"/>
                  </a:lnTo>
                  <a:lnTo>
                    <a:pt x="424" y="46"/>
                  </a:lnTo>
                  <a:lnTo>
                    <a:pt x="426" y="40"/>
                  </a:lnTo>
                  <a:lnTo>
                    <a:pt x="430" y="34"/>
                  </a:lnTo>
                  <a:lnTo>
                    <a:pt x="428" y="28"/>
                  </a:lnTo>
                  <a:lnTo>
                    <a:pt x="426" y="22"/>
                  </a:lnTo>
                  <a:lnTo>
                    <a:pt x="432" y="20"/>
                  </a:lnTo>
                  <a:lnTo>
                    <a:pt x="438" y="18"/>
                  </a:lnTo>
                  <a:lnTo>
                    <a:pt x="444" y="18"/>
                  </a:lnTo>
                  <a:lnTo>
                    <a:pt x="450" y="16"/>
                  </a:lnTo>
                  <a:lnTo>
                    <a:pt x="456" y="16"/>
                  </a:lnTo>
                  <a:lnTo>
                    <a:pt x="460" y="14"/>
                  </a:lnTo>
                  <a:lnTo>
                    <a:pt x="468" y="14"/>
                  </a:lnTo>
                  <a:lnTo>
                    <a:pt x="470" y="12"/>
                  </a:lnTo>
                  <a:lnTo>
                    <a:pt x="476" y="12"/>
                  </a:lnTo>
                  <a:lnTo>
                    <a:pt x="482" y="12"/>
                  </a:lnTo>
                  <a:lnTo>
                    <a:pt x="486" y="10"/>
                  </a:lnTo>
                  <a:lnTo>
                    <a:pt x="494" y="8"/>
                  </a:lnTo>
                  <a:lnTo>
                    <a:pt x="498" y="8"/>
                  </a:lnTo>
                  <a:lnTo>
                    <a:pt x="504" y="8"/>
                  </a:lnTo>
                  <a:lnTo>
                    <a:pt x="510" y="6"/>
                  </a:lnTo>
                  <a:lnTo>
                    <a:pt x="516" y="4"/>
                  </a:lnTo>
                  <a:lnTo>
                    <a:pt x="522" y="4"/>
                  </a:lnTo>
                  <a:lnTo>
                    <a:pt x="528" y="4"/>
                  </a:lnTo>
                  <a:lnTo>
                    <a:pt x="528" y="2"/>
                  </a:lnTo>
                  <a:lnTo>
                    <a:pt x="534" y="2"/>
                  </a:lnTo>
                  <a:lnTo>
                    <a:pt x="540" y="0"/>
                  </a:lnTo>
                  <a:lnTo>
                    <a:pt x="542" y="6"/>
                  </a:lnTo>
                  <a:lnTo>
                    <a:pt x="544" y="12"/>
                  </a:lnTo>
                  <a:lnTo>
                    <a:pt x="548" y="18"/>
                  </a:lnTo>
                  <a:lnTo>
                    <a:pt x="552" y="24"/>
                  </a:lnTo>
                  <a:lnTo>
                    <a:pt x="558" y="30"/>
                  </a:lnTo>
                  <a:lnTo>
                    <a:pt x="564" y="30"/>
                  </a:lnTo>
                  <a:lnTo>
                    <a:pt x="564" y="28"/>
                  </a:lnTo>
                  <a:lnTo>
                    <a:pt x="570" y="30"/>
                  </a:lnTo>
                  <a:lnTo>
                    <a:pt x="576" y="28"/>
                  </a:lnTo>
                  <a:lnTo>
                    <a:pt x="582" y="32"/>
                  </a:lnTo>
                  <a:lnTo>
                    <a:pt x="584" y="34"/>
                  </a:lnTo>
                  <a:lnTo>
                    <a:pt x="588" y="40"/>
                  </a:lnTo>
                  <a:lnTo>
                    <a:pt x="590" y="46"/>
                  </a:lnTo>
                  <a:lnTo>
                    <a:pt x="596" y="50"/>
                  </a:lnTo>
                  <a:lnTo>
                    <a:pt x="598" y="50"/>
                  </a:lnTo>
                  <a:lnTo>
                    <a:pt x="600" y="48"/>
                  </a:lnTo>
                  <a:lnTo>
                    <a:pt x="608" y="50"/>
                  </a:lnTo>
                  <a:lnTo>
                    <a:pt x="610" y="56"/>
                  </a:lnTo>
                  <a:lnTo>
                    <a:pt x="616" y="60"/>
                  </a:lnTo>
                  <a:lnTo>
                    <a:pt x="620" y="60"/>
                  </a:lnTo>
                  <a:lnTo>
                    <a:pt x="626" y="64"/>
                  </a:lnTo>
                  <a:lnTo>
                    <a:pt x="632" y="66"/>
                  </a:lnTo>
                  <a:lnTo>
                    <a:pt x="638" y="66"/>
                  </a:lnTo>
                  <a:lnTo>
                    <a:pt x="644" y="68"/>
                  </a:lnTo>
                  <a:lnTo>
                    <a:pt x="646" y="74"/>
                  </a:lnTo>
                  <a:lnTo>
                    <a:pt x="652" y="76"/>
                  </a:lnTo>
                  <a:lnTo>
                    <a:pt x="658" y="76"/>
                  </a:lnTo>
                  <a:lnTo>
                    <a:pt x="660" y="78"/>
                  </a:lnTo>
                  <a:lnTo>
                    <a:pt x="660" y="80"/>
                  </a:lnTo>
                  <a:lnTo>
                    <a:pt x="662" y="80"/>
                  </a:lnTo>
                  <a:lnTo>
                    <a:pt x="668" y="82"/>
                  </a:lnTo>
                  <a:lnTo>
                    <a:pt x="672" y="84"/>
                  </a:lnTo>
                  <a:lnTo>
                    <a:pt x="672" y="90"/>
                  </a:lnTo>
                  <a:lnTo>
                    <a:pt x="674" y="96"/>
                  </a:lnTo>
                  <a:lnTo>
                    <a:pt x="674" y="98"/>
                  </a:lnTo>
                  <a:lnTo>
                    <a:pt x="674" y="100"/>
                  </a:lnTo>
                  <a:lnTo>
                    <a:pt x="676" y="100"/>
                  </a:lnTo>
                  <a:lnTo>
                    <a:pt x="682" y="98"/>
                  </a:lnTo>
                  <a:lnTo>
                    <a:pt x="688" y="104"/>
                  </a:lnTo>
                  <a:lnTo>
                    <a:pt x="690" y="108"/>
                  </a:lnTo>
                  <a:lnTo>
                    <a:pt x="696" y="114"/>
                  </a:lnTo>
                  <a:lnTo>
                    <a:pt x="698" y="120"/>
                  </a:lnTo>
                  <a:lnTo>
                    <a:pt x="694" y="126"/>
                  </a:lnTo>
                  <a:lnTo>
                    <a:pt x="694" y="132"/>
                  </a:lnTo>
                  <a:lnTo>
                    <a:pt x="702" y="136"/>
                  </a:lnTo>
                  <a:lnTo>
                    <a:pt x="706" y="140"/>
                  </a:lnTo>
                  <a:lnTo>
                    <a:pt x="706" y="146"/>
                  </a:lnTo>
                  <a:lnTo>
                    <a:pt x="708" y="152"/>
                  </a:lnTo>
                  <a:lnTo>
                    <a:pt x="712" y="158"/>
                  </a:lnTo>
                  <a:lnTo>
                    <a:pt x="716" y="166"/>
                  </a:lnTo>
                  <a:lnTo>
                    <a:pt x="712" y="170"/>
                  </a:lnTo>
                  <a:lnTo>
                    <a:pt x="706" y="176"/>
                  </a:lnTo>
                  <a:lnTo>
                    <a:pt x="702" y="182"/>
                  </a:lnTo>
                  <a:lnTo>
                    <a:pt x="694" y="182"/>
                  </a:lnTo>
                  <a:lnTo>
                    <a:pt x="688" y="186"/>
                  </a:lnTo>
                  <a:lnTo>
                    <a:pt x="692" y="192"/>
                  </a:lnTo>
                  <a:lnTo>
                    <a:pt x="694" y="198"/>
                  </a:lnTo>
                  <a:lnTo>
                    <a:pt x="696" y="206"/>
                  </a:lnTo>
                  <a:lnTo>
                    <a:pt x="696" y="212"/>
                  </a:lnTo>
                  <a:lnTo>
                    <a:pt x="692" y="216"/>
                  </a:lnTo>
                  <a:lnTo>
                    <a:pt x="690" y="224"/>
                  </a:lnTo>
                  <a:lnTo>
                    <a:pt x="688" y="228"/>
                  </a:lnTo>
                  <a:lnTo>
                    <a:pt x="690" y="236"/>
                  </a:lnTo>
                  <a:lnTo>
                    <a:pt x="692" y="242"/>
                  </a:lnTo>
                  <a:lnTo>
                    <a:pt x="692" y="248"/>
                  </a:lnTo>
                  <a:lnTo>
                    <a:pt x="690" y="254"/>
                  </a:lnTo>
                  <a:lnTo>
                    <a:pt x="690" y="260"/>
                  </a:lnTo>
                  <a:lnTo>
                    <a:pt x="690" y="266"/>
                  </a:lnTo>
                  <a:lnTo>
                    <a:pt x="688" y="272"/>
                  </a:lnTo>
                  <a:lnTo>
                    <a:pt x="690" y="278"/>
                  </a:lnTo>
                  <a:lnTo>
                    <a:pt x="690" y="282"/>
                  </a:lnTo>
                  <a:lnTo>
                    <a:pt x="696" y="288"/>
                  </a:lnTo>
                  <a:lnTo>
                    <a:pt x="702" y="290"/>
                  </a:lnTo>
                  <a:lnTo>
                    <a:pt x="702" y="292"/>
                  </a:lnTo>
                  <a:lnTo>
                    <a:pt x="696" y="298"/>
                  </a:lnTo>
                  <a:lnTo>
                    <a:pt x="690" y="300"/>
                  </a:lnTo>
                  <a:lnTo>
                    <a:pt x="684" y="304"/>
                  </a:lnTo>
                  <a:lnTo>
                    <a:pt x="678" y="306"/>
                  </a:lnTo>
                  <a:lnTo>
                    <a:pt x="672" y="310"/>
                  </a:lnTo>
                  <a:lnTo>
                    <a:pt x="668" y="316"/>
                  </a:lnTo>
                  <a:lnTo>
                    <a:pt x="668" y="322"/>
                  </a:lnTo>
                  <a:lnTo>
                    <a:pt x="672" y="328"/>
                  </a:lnTo>
                  <a:lnTo>
                    <a:pt x="670" y="334"/>
                  </a:lnTo>
                  <a:lnTo>
                    <a:pt x="668" y="340"/>
                  </a:lnTo>
                  <a:lnTo>
                    <a:pt x="670" y="346"/>
                  </a:lnTo>
                  <a:lnTo>
                    <a:pt x="666" y="352"/>
                  </a:lnTo>
                  <a:lnTo>
                    <a:pt x="664" y="358"/>
                  </a:lnTo>
                  <a:lnTo>
                    <a:pt x="660" y="366"/>
                  </a:lnTo>
                  <a:lnTo>
                    <a:pt x="656" y="372"/>
                  </a:lnTo>
                  <a:lnTo>
                    <a:pt x="650" y="376"/>
                  </a:lnTo>
                  <a:lnTo>
                    <a:pt x="656" y="378"/>
                  </a:lnTo>
                  <a:lnTo>
                    <a:pt x="656" y="384"/>
                  </a:lnTo>
                  <a:lnTo>
                    <a:pt x="656" y="388"/>
                  </a:lnTo>
                  <a:lnTo>
                    <a:pt x="662" y="392"/>
                  </a:lnTo>
                  <a:lnTo>
                    <a:pt x="668" y="398"/>
                  </a:lnTo>
                  <a:lnTo>
                    <a:pt x="668" y="404"/>
                  </a:lnTo>
                  <a:lnTo>
                    <a:pt x="672" y="404"/>
                  </a:lnTo>
                  <a:lnTo>
                    <a:pt x="678" y="398"/>
                  </a:lnTo>
                  <a:lnTo>
                    <a:pt x="682" y="404"/>
                  </a:lnTo>
                  <a:lnTo>
                    <a:pt x="674" y="406"/>
                  </a:lnTo>
                  <a:lnTo>
                    <a:pt x="668" y="410"/>
                  </a:lnTo>
                  <a:lnTo>
                    <a:pt x="662" y="412"/>
                  </a:lnTo>
                  <a:lnTo>
                    <a:pt x="654" y="414"/>
                  </a:lnTo>
                  <a:lnTo>
                    <a:pt x="648" y="418"/>
                  </a:lnTo>
                  <a:lnTo>
                    <a:pt x="640" y="420"/>
                  </a:lnTo>
                  <a:lnTo>
                    <a:pt x="634" y="422"/>
                  </a:lnTo>
                  <a:lnTo>
                    <a:pt x="628" y="424"/>
                  </a:lnTo>
                  <a:lnTo>
                    <a:pt x="626" y="424"/>
                  </a:lnTo>
                  <a:lnTo>
                    <a:pt x="620" y="426"/>
                  </a:lnTo>
                  <a:lnTo>
                    <a:pt x="614" y="428"/>
                  </a:lnTo>
                  <a:lnTo>
                    <a:pt x="610" y="432"/>
                  </a:lnTo>
                  <a:lnTo>
                    <a:pt x="602" y="432"/>
                  </a:lnTo>
                  <a:lnTo>
                    <a:pt x="596" y="436"/>
                  </a:lnTo>
                  <a:lnTo>
                    <a:pt x="592" y="436"/>
                  </a:lnTo>
                  <a:lnTo>
                    <a:pt x="586" y="440"/>
                  </a:lnTo>
                  <a:lnTo>
                    <a:pt x="582" y="442"/>
                  </a:lnTo>
                  <a:lnTo>
                    <a:pt x="576" y="446"/>
                  </a:lnTo>
                  <a:lnTo>
                    <a:pt x="570" y="448"/>
                  </a:lnTo>
                  <a:lnTo>
                    <a:pt x="564" y="448"/>
                  </a:lnTo>
                  <a:lnTo>
                    <a:pt x="558" y="450"/>
                  </a:lnTo>
                  <a:lnTo>
                    <a:pt x="552" y="452"/>
                  </a:lnTo>
                  <a:lnTo>
                    <a:pt x="546" y="454"/>
                  </a:lnTo>
                  <a:lnTo>
                    <a:pt x="540" y="454"/>
                  </a:lnTo>
                  <a:lnTo>
                    <a:pt x="534" y="456"/>
                  </a:lnTo>
                  <a:lnTo>
                    <a:pt x="528" y="458"/>
                  </a:lnTo>
                  <a:lnTo>
                    <a:pt x="522" y="462"/>
                  </a:lnTo>
                  <a:lnTo>
                    <a:pt x="516" y="464"/>
                  </a:lnTo>
                  <a:lnTo>
                    <a:pt x="510" y="468"/>
                  </a:lnTo>
                  <a:lnTo>
                    <a:pt x="504" y="470"/>
                  </a:lnTo>
                  <a:lnTo>
                    <a:pt x="498" y="470"/>
                  </a:lnTo>
                  <a:lnTo>
                    <a:pt x="498" y="472"/>
                  </a:lnTo>
                  <a:lnTo>
                    <a:pt x="498" y="478"/>
                  </a:lnTo>
                  <a:lnTo>
                    <a:pt x="500" y="484"/>
                  </a:lnTo>
                  <a:lnTo>
                    <a:pt x="500" y="490"/>
                  </a:lnTo>
                  <a:lnTo>
                    <a:pt x="506" y="496"/>
                  </a:lnTo>
                  <a:lnTo>
                    <a:pt x="506" y="502"/>
                  </a:lnTo>
                  <a:lnTo>
                    <a:pt x="508" y="508"/>
                  </a:lnTo>
                  <a:lnTo>
                    <a:pt x="508" y="514"/>
                  </a:lnTo>
                  <a:lnTo>
                    <a:pt x="508" y="516"/>
                  </a:lnTo>
                  <a:lnTo>
                    <a:pt x="502" y="516"/>
                  </a:lnTo>
                  <a:lnTo>
                    <a:pt x="496" y="516"/>
                  </a:lnTo>
                  <a:lnTo>
                    <a:pt x="490" y="516"/>
                  </a:lnTo>
                  <a:lnTo>
                    <a:pt x="484" y="518"/>
                  </a:lnTo>
                  <a:lnTo>
                    <a:pt x="478" y="516"/>
                  </a:lnTo>
                  <a:lnTo>
                    <a:pt x="472" y="516"/>
                  </a:lnTo>
                  <a:lnTo>
                    <a:pt x="466" y="518"/>
                  </a:lnTo>
                  <a:lnTo>
                    <a:pt x="460" y="518"/>
                  </a:lnTo>
                  <a:lnTo>
                    <a:pt x="454" y="520"/>
                  </a:lnTo>
                  <a:lnTo>
                    <a:pt x="448" y="522"/>
                  </a:lnTo>
                  <a:lnTo>
                    <a:pt x="442" y="524"/>
                  </a:lnTo>
                  <a:lnTo>
                    <a:pt x="436" y="528"/>
                  </a:lnTo>
                  <a:lnTo>
                    <a:pt x="430" y="532"/>
                  </a:lnTo>
                  <a:lnTo>
                    <a:pt x="426" y="538"/>
                  </a:lnTo>
                  <a:lnTo>
                    <a:pt x="420" y="538"/>
                  </a:lnTo>
                  <a:lnTo>
                    <a:pt x="418" y="538"/>
                  </a:lnTo>
                  <a:lnTo>
                    <a:pt x="414" y="544"/>
                  </a:lnTo>
                  <a:lnTo>
                    <a:pt x="414" y="548"/>
                  </a:lnTo>
                  <a:lnTo>
                    <a:pt x="414" y="554"/>
                  </a:lnTo>
                  <a:lnTo>
                    <a:pt x="414" y="560"/>
                  </a:lnTo>
                  <a:lnTo>
                    <a:pt x="414" y="566"/>
                  </a:lnTo>
                  <a:lnTo>
                    <a:pt x="412" y="572"/>
                  </a:lnTo>
                  <a:lnTo>
                    <a:pt x="408" y="578"/>
                  </a:lnTo>
                  <a:lnTo>
                    <a:pt x="404" y="580"/>
                  </a:lnTo>
                  <a:lnTo>
                    <a:pt x="398" y="580"/>
                  </a:lnTo>
                  <a:lnTo>
                    <a:pt x="394" y="584"/>
                  </a:lnTo>
                  <a:lnTo>
                    <a:pt x="388" y="586"/>
                  </a:lnTo>
                  <a:lnTo>
                    <a:pt x="382" y="588"/>
                  </a:lnTo>
                  <a:lnTo>
                    <a:pt x="376" y="592"/>
                  </a:lnTo>
                  <a:lnTo>
                    <a:pt x="368" y="598"/>
                  </a:lnTo>
                  <a:lnTo>
                    <a:pt x="362" y="602"/>
                  </a:lnTo>
                  <a:lnTo>
                    <a:pt x="356" y="606"/>
                  </a:lnTo>
                  <a:lnTo>
                    <a:pt x="350" y="608"/>
                  </a:lnTo>
                  <a:lnTo>
                    <a:pt x="346" y="614"/>
                  </a:lnTo>
                  <a:lnTo>
                    <a:pt x="342" y="620"/>
                  </a:lnTo>
                  <a:lnTo>
                    <a:pt x="338" y="626"/>
                  </a:lnTo>
                  <a:lnTo>
                    <a:pt x="338" y="632"/>
                  </a:lnTo>
                  <a:lnTo>
                    <a:pt x="332" y="640"/>
                  </a:lnTo>
                  <a:lnTo>
                    <a:pt x="330" y="640"/>
                  </a:lnTo>
                  <a:lnTo>
                    <a:pt x="324" y="646"/>
                  </a:lnTo>
                  <a:lnTo>
                    <a:pt x="318" y="652"/>
                  </a:lnTo>
                  <a:lnTo>
                    <a:pt x="314" y="660"/>
                  </a:lnTo>
                  <a:lnTo>
                    <a:pt x="308" y="666"/>
                  </a:lnTo>
                  <a:lnTo>
                    <a:pt x="306" y="672"/>
                  </a:lnTo>
                  <a:lnTo>
                    <a:pt x="300" y="678"/>
                  </a:lnTo>
                  <a:lnTo>
                    <a:pt x="294" y="678"/>
                  </a:lnTo>
                  <a:lnTo>
                    <a:pt x="290" y="680"/>
                  </a:lnTo>
                  <a:lnTo>
                    <a:pt x="286" y="682"/>
                  </a:lnTo>
                  <a:lnTo>
                    <a:pt x="280" y="684"/>
                  </a:lnTo>
                  <a:lnTo>
                    <a:pt x="274" y="682"/>
                  </a:lnTo>
                  <a:lnTo>
                    <a:pt x="268" y="678"/>
                  </a:lnTo>
                  <a:lnTo>
                    <a:pt x="262" y="676"/>
                  </a:lnTo>
                  <a:lnTo>
                    <a:pt x="258" y="676"/>
                  </a:lnTo>
                  <a:lnTo>
                    <a:pt x="252" y="672"/>
                  </a:lnTo>
                  <a:lnTo>
                    <a:pt x="246" y="674"/>
                  </a:lnTo>
                  <a:lnTo>
                    <a:pt x="240" y="678"/>
                  </a:lnTo>
                  <a:lnTo>
                    <a:pt x="236" y="680"/>
                  </a:lnTo>
                  <a:lnTo>
                    <a:pt x="228" y="676"/>
                  </a:lnTo>
                  <a:lnTo>
                    <a:pt x="230" y="674"/>
                  </a:lnTo>
                  <a:lnTo>
                    <a:pt x="224" y="670"/>
                  </a:lnTo>
                  <a:lnTo>
                    <a:pt x="220" y="666"/>
                  </a:lnTo>
                  <a:lnTo>
                    <a:pt x="212" y="670"/>
                  </a:lnTo>
                  <a:lnTo>
                    <a:pt x="206" y="670"/>
                  </a:lnTo>
                  <a:lnTo>
                    <a:pt x="202" y="670"/>
                  </a:lnTo>
                  <a:lnTo>
                    <a:pt x="194" y="666"/>
                  </a:lnTo>
                  <a:lnTo>
                    <a:pt x="190" y="662"/>
                  </a:lnTo>
                  <a:lnTo>
                    <a:pt x="184" y="656"/>
                  </a:lnTo>
                  <a:lnTo>
                    <a:pt x="178" y="652"/>
                  </a:lnTo>
                  <a:lnTo>
                    <a:pt x="178" y="650"/>
                  </a:lnTo>
                  <a:lnTo>
                    <a:pt x="172" y="648"/>
                  </a:lnTo>
                  <a:lnTo>
                    <a:pt x="166" y="646"/>
                  </a:lnTo>
                  <a:lnTo>
                    <a:pt x="160" y="644"/>
                  </a:lnTo>
                  <a:lnTo>
                    <a:pt x="154" y="648"/>
                  </a:lnTo>
                  <a:lnTo>
                    <a:pt x="148" y="646"/>
                  </a:lnTo>
                  <a:lnTo>
                    <a:pt x="142" y="644"/>
                  </a:lnTo>
                  <a:lnTo>
                    <a:pt x="136" y="644"/>
                  </a:lnTo>
                  <a:lnTo>
                    <a:pt x="134" y="644"/>
                  </a:lnTo>
                  <a:lnTo>
                    <a:pt x="126" y="644"/>
                  </a:lnTo>
                  <a:lnTo>
                    <a:pt x="120" y="646"/>
                  </a:lnTo>
                  <a:lnTo>
                    <a:pt x="114" y="648"/>
                  </a:lnTo>
                  <a:lnTo>
                    <a:pt x="108" y="648"/>
                  </a:lnTo>
                  <a:lnTo>
                    <a:pt x="102" y="650"/>
                  </a:lnTo>
                  <a:lnTo>
                    <a:pt x="96" y="652"/>
                  </a:lnTo>
                  <a:lnTo>
                    <a:pt x="90" y="652"/>
                  </a:lnTo>
                  <a:lnTo>
                    <a:pt x="86" y="654"/>
                  </a:lnTo>
                  <a:lnTo>
                    <a:pt x="80" y="650"/>
                  </a:lnTo>
                  <a:lnTo>
                    <a:pt x="74" y="646"/>
                  </a:lnTo>
                  <a:lnTo>
                    <a:pt x="68" y="640"/>
                  </a:lnTo>
                  <a:lnTo>
                    <a:pt x="62" y="634"/>
                  </a:lnTo>
                  <a:lnTo>
                    <a:pt x="58" y="628"/>
                  </a:lnTo>
                  <a:lnTo>
                    <a:pt x="50" y="622"/>
                  </a:lnTo>
                  <a:lnTo>
                    <a:pt x="44" y="616"/>
                  </a:lnTo>
                  <a:lnTo>
                    <a:pt x="38" y="608"/>
                  </a:lnTo>
                  <a:lnTo>
                    <a:pt x="34" y="602"/>
                  </a:lnTo>
                  <a:lnTo>
                    <a:pt x="30" y="596"/>
                  </a:lnTo>
                  <a:lnTo>
                    <a:pt x="24" y="590"/>
                  </a:lnTo>
                  <a:lnTo>
                    <a:pt x="18" y="584"/>
                  </a:lnTo>
                  <a:lnTo>
                    <a:pt x="12" y="580"/>
                  </a:lnTo>
                  <a:lnTo>
                    <a:pt x="8" y="574"/>
                  </a:lnTo>
                  <a:lnTo>
                    <a:pt x="8" y="568"/>
                  </a:lnTo>
                  <a:lnTo>
                    <a:pt x="4" y="562"/>
                  </a:lnTo>
                  <a:lnTo>
                    <a:pt x="2" y="556"/>
                  </a:lnTo>
                  <a:lnTo>
                    <a:pt x="0" y="5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8" name="Freeform 246"/>
            <p:cNvSpPr>
              <a:spLocks/>
            </p:cNvSpPr>
            <p:nvPr/>
          </p:nvSpPr>
          <p:spPr bwMode="auto">
            <a:xfrm>
              <a:off x="5356225" y="3389313"/>
              <a:ext cx="46038" cy="44450"/>
            </a:xfrm>
            <a:custGeom>
              <a:avLst/>
              <a:gdLst>
                <a:gd name="T0" fmla="*/ 0 w 112"/>
                <a:gd name="T1" fmla="*/ 2147483647 h 106"/>
                <a:gd name="T2" fmla="*/ 2147483647 w 112"/>
                <a:gd name="T3" fmla="*/ 2147483647 h 106"/>
                <a:gd name="T4" fmla="*/ 2147483647 w 112"/>
                <a:gd name="T5" fmla="*/ 2147483647 h 106"/>
                <a:gd name="T6" fmla="*/ 2147483647 w 112"/>
                <a:gd name="T7" fmla="*/ 2147483647 h 106"/>
                <a:gd name="T8" fmla="*/ 2147483647 w 112"/>
                <a:gd name="T9" fmla="*/ 2147483647 h 106"/>
                <a:gd name="T10" fmla="*/ 2147483647 w 112"/>
                <a:gd name="T11" fmla="*/ 2147483647 h 106"/>
                <a:gd name="T12" fmla="*/ 2147483647 w 112"/>
                <a:gd name="T13" fmla="*/ 2147483647 h 106"/>
                <a:gd name="T14" fmla="*/ 2147483647 w 112"/>
                <a:gd name="T15" fmla="*/ 2147483647 h 106"/>
                <a:gd name="T16" fmla="*/ 2147483647 w 112"/>
                <a:gd name="T17" fmla="*/ 0 h 106"/>
                <a:gd name="T18" fmla="*/ 2147483647 w 112"/>
                <a:gd name="T19" fmla="*/ 0 h 106"/>
                <a:gd name="T20" fmla="*/ 2147483647 w 112"/>
                <a:gd name="T21" fmla="*/ 0 h 106"/>
                <a:gd name="T22" fmla="*/ 2147483647 w 112"/>
                <a:gd name="T23" fmla="*/ 0 h 106"/>
                <a:gd name="T24" fmla="*/ 2147483647 w 112"/>
                <a:gd name="T25" fmla="*/ 2147483647 h 106"/>
                <a:gd name="T26" fmla="*/ 2147483647 w 112"/>
                <a:gd name="T27" fmla="*/ 2147483647 h 106"/>
                <a:gd name="T28" fmla="*/ 2147483647 w 112"/>
                <a:gd name="T29" fmla="*/ 2147483647 h 106"/>
                <a:gd name="T30" fmla="*/ 2147483647 w 112"/>
                <a:gd name="T31" fmla="*/ 2147483647 h 106"/>
                <a:gd name="T32" fmla="*/ 2147483647 w 112"/>
                <a:gd name="T33" fmla="*/ 2147483647 h 106"/>
                <a:gd name="T34" fmla="*/ 2147483647 w 112"/>
                <a:gd name="T35" fmla="*/ 2147483647 h 106"/>
                <a:gd name="T36" fmla="*/ 2147483647 w 112"/>
                <a:gd name="T37" fmla="*/ 2147483647 h 106"/>
                <a:gd name="T38" fmla="*/ 2147483647 w 112"/>
                <a:gd name="T39" fmla="*/ 2147483647 h 106"/>
                <a:gd name="T40" fmla="*/ 2147483647 w 112"/>
                <a:gd name="T41" fmla="*/ 2147483647 h 106"/>
                <a:gd name="T42" fmla="*/ 2147483647 w 112"/>
                <a:gd name="T43" fmla="*/ 2147483647 h 106"/>
                <a:gd name="T44" fmla="*/ 2147483647 w 112"/>
                <a:gd name="T45" fmla="*/ 2147483647 h 106"/>
                <a:gd name="T46" fmla="*/ 2147483647 w 112"/>
                <a:gd name="T47" fmla="*/ 2147483647 h 106"/>
                <a:gd name="T48" fmla="*/ 2147483647 w 112"/>
                <a:gd name="T49" fmla="*/ 2147483647 h 106"/>
                <a:gd name="T50" fmla="*/ 2147483647 w 112"/>
                <a:gd name="T51" fmla="*/ 2147483647 h 106"/>
                <a:gd name="T52" fmla="*/ 2147483647 w 112"/>
                <a:gd name="T53" fmla="*/ 2147483647 h 106"/>
                <a:gd name="T54" fmla="*/ 2147483647 w 112"/>
                <a:gd name="T55" fmla="*/ 2147483647 h 106"/>
                <a:gd name="T56" fmla="*/ 2147483647 w 112"/>
                <a:gd name="T57" fmla="*/ 2147483647 h 106"/>
                <a:gd name="T58" fmla="*/ 2147483647 w 112"/>
                <a:gd name="T59" fmla="*/ 2147483647 h 106"/>
                <a:gd name="T60" fmla="*/ 2147483647 w 112"/>
                <a:gd name="T61" fmla="*/ 2147483647 h 106"/>
                <a:gd name="T62" fmla="*/ 2147483647 w 112"/>
                <a:gd name="T63" fmla="*/ 2147483647 h 106"/>
                <a:gd name="T64" fmla="*/ 2147483647 w 112"/>
                <a:gd name="T65" fmla="*/ 2147483647 h 106"/>
                <a:gd name="T66" fmla="*/ 2147483647 w 112"/>
                <a:gd name="T67" fmla="*/ 2147483647 h 106"/>
                <a:gd name="T68" fmla="*/ 2147483647 w 112"/>
                <a:gd name="T69" fmla="*/ 2147483647 h 106"/>
                <a:gd name="T70" fmla="*/ 2147483647 w 112"/>
                <a:gd name="T71" fmla="*/ 2147483647 h 106"/>
                <a:gd name="T72" fmla="*/ 2147483647 w 112"/>
                <a:gd name="T73" fmla="*/ 2147483647 h 106"/>
                <a:gd name="T74" fmla="*/ 2147483647 w 112"/>
                <a:gd name="T75" fmla="*/ 2147483647 h 106"/>
                <a:gd name="T76" fmla="*/ 2147483647 w 112"/>
                <a:gd name="T77" fmla="*/ 2147483647 h 106"/>
                <a:gd name="T78" fmla="*/ 2147483647 w 112"/>
                <a:gd name="T79" fmla="*/ 2147483647 h 106"/>
                <a:gd name="T80" fmla="*/ 0 w 112"/>
                <a:gd name="T81" fmla="*/ 2147483647 h 1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2"/>
                <a:gd name="T124" fmla="*/ 0 h 106"/>
                <a:gd name="T125" fmla="*/ 112 w 112"/>
                <a:gd name="T126" fmla="*/ 106 h 1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2" h="106">
                  <a:moveTo>
                    <a:pt x="0" y="68"/>
                  </a:moveTo>
                  <a:lnTo>
                    <a:pt x="0" y="66"/>
                  </a:lnTo>
                  <a:lnTo>
                    <a:pt x="4" y="62"/>
                  </a:lnTo>
                  <a:lnTo>
                    <a:pt x="6" y="58"/>
                  </a:lnTo>
                  <a:lnTo>
                    <a:pt x="8" y="58"/>
                  </a:lnTo>
                  <a:lnTo>
                    <a:pt x="10" y="52"/>
                  </a:lnTo>
                  <a:lnTo>
                    <a:pt x="14" y="46"/>
                  </a:lnTo>
                  <a:lnTo>
                    <a:pt x="16" y="40"/>
                  </a:lnTo>
                  <a:lnTo>
                    <a:pt x="20" y="34"/>
                  </a:lnTo>
                  <a:lnTo>
                    <a:pt x="22" y="30"/>
                  </a:lnTo>
                  <a:lnTo>
                    <a:pt x="22" y="24"/>
                  </a:lnTo>
                  <a:lnTo>
                    <a:pt x="26" y="18"/>
                  </a:lnTo>
                  <a:lnTo>
                    <a:pt x="26" y="12"/>
                  </a:lnTo>
                  <a:lnTo>
                    <a:pt x="30" y="6"/>
                  </a:lnTo>
                  <a:lnTo>
                    <a:pt x="30" y="4"/>
                  </a:lnTo>
                  <a:lnTo>
                    <a:pt x="36" y="2"/>
                  </a:lnTo>
                  <a:lnTo>
                    <a:pt x="42" y="0"/>
                  </a:lnTo>
                  <a:lnTo>
                    <a:pt x="48" y="0"/>
                  </a:lnTo>
                  <a:lnTo>
                    <a:pt x="50" y="0"/>
                  </a:lnTo>
                  <a:lnTo>
                    <a:pt x="56" y="0"/>
                  </a:lnTo>
                  <a:lnTo>
                    <a:pt x="62" y="0"/>
                  </a:lnTo>
                  <a:lnTo>
                    <a:pt x="64" y="0"/>
                  </a:lnTo>
                  <a:lnTo>
                    <a:pt x="70" y="2"/>
                  </a:lnTo>
                  <a:lnTo>
                    <a:pt x="76" y="4"/>
                  </a:lnTo>
                  <a:lnTo>
                    <a:pt x="76" y="6"/>
                  </a:lnTo>
                  <a:lnTo>
                    <a:pt x="76" y="8"/>
                  </a:lnTo>
                  <a:lnTo>
                    <a:pt x="78" y="14"/>
                  </a:lnTo>
                  <a:lnTo>
                    <a:pt x="80" y="20"/>
                  </a:lnTo>
                  <a:lnTo>
                    <a:pt x="86" y="26"/>
                  </a:lnTo>
                  <a:lnTo>
                    <a:pt x="90" y="32"/>
                  </a:lnTo>
                  <a:lnTo>
                    <a:pt x="88" y="36"/>
                  </a:lnTo>
                  <a:lnTo>
                    <a:pt x="82" y="30"/>
                  </a:lnTo>
                  <a:lnTo>
                    <a:pt x="76" y="36"/>
                  </a:lnTo>
                  <a:lnTo>
                    <a:pt x="70" y="42"/>
                  </a:lnTo>
                  <a:lnTo>
                    <a:pt x="64" y="48"/>
                  </a:lnTo>
                  <a:lnTo>
                    <a:pt x="70" y="48"/>
                  </a:lnTo>
                  <a:lnTo>
                    <a:pt x="76" y="52"/>
                  </a:lnTo>
                  <a:lnTo>
                    <a:pt x="82" y="48"/>
                  </a:lnTo>
                  <a:lnTo>
                    <a:pt x="88" y="54"/>
                  </a:lnTo>
                  <a:lnTo>
                    <a:pt x="90" y="60"/>
                  </a:lnTo>
                  <a:lnTo>
                    <a:pt x="92" y="66"/>
                  </a:lnTo>
                  <a:lnTo>
                    <a:pt x="94" y="68"/>
                  </a:lnTo>
                  <a:lnTo>
                    <a:pt x="94" y="70"/>
                  </a:lnTo>
                  <a:lnTo>
                    <a:pt x="94" y="72"/>
                  </a:lnTo>
                  <a:lnTo>
                    <a:pt x="98" y="78"/>
                  </a:lnTo>
                  <a:lnTo>
                    <a:pt x="102" y="84"/>
                  </a:lnTo>
                  <a:lnTo>
                    <a:pt x="104" y="88"/>
                  </a:lnTo>
                  <a:lnTo>
                    <a:pt x="110" y="94"/>
                  </a:lnTo>
                  <a:lnTo>
                    <a:pt x="110" y="100"/>
                  </a:lnTo>
                  <a:lnTo>
                    <a:pt x="112" y="106"/>
                  </a:lnTo>
                  <a:lnTo>
                    <a:pt x="106" y="106"/>
                  </a:lnTo>
                  <a:lnTo>
                    <a:pt x="100" y="106"/>
                  </a:lnTo>
                  <a:lnTo>
                    <a:pt x="94" y="106"/>
                  </a:lnTo>
                  <a:lnTo>
                    <a:pt x="88" y="106"/>
                  </a:lnTo>
                  <a:lnTo>
                    <a:pt x="86" y="106"/>
                  </a:lnTo>
                  <a:lnTo>
                    <a:pt x="84" y="106"/>
                  </a:lnTo>
                  <a:lnTo>
                    <a:pt x="82" y="106"/>
                  </a:lnTo>
                  <a:lnTo>
                    <a:pt x="80" y="106"/>
                  </a:lnTo>
                  <a:lnTo>
                    <a:pt x="72" y="106"/>
                  </a:lnTo>
                  <a:lnTo>
                    <a:pt x="70" y="106"/>
                  </a:lnTo>
                  <a:lnTo>
                    <a:pt x="64" y="100"/>
                  </a:lnTo>
                  <a:lnTo>
                    <a:pt x="62" y="94"/>
                  </a:lnTo>
                  <a:lnTo>
                    <a:pt x="60" y="88"/>
                  </a:lnTo>
                  <a:lnTo>
                    <a:pt x="58" y="82"/>
                  </a:lnTo>
                  <a:lnTo>
                    <a:pt x="54" y="76"/>
                  </a:lnTo>
                  <a:lnTo>
                    <a:pt x="54" y="74"/>
                  </a:lnTo>
                  <a:lnTo>
                    <a:pt x="48" y="74"/>
                  </a:lnTo>
                  <a:lnTo>
                    <a:pt x="42" y="72"/>
                  </a:lnTo>
                  <a:lnTo>
                    <a:pt x="36" y="72"/>
                  </a:lnTo>
                  <a:lnTo>
                    <a:pt x="30" y="72"/>
                  </a:lnTo>
                  <a:lnTo>
                    <a:pt x="24" y="70"/>
                  </a:lnTo>
                  <a:lnTo>
                    <a:pt x="18" y="70"/>
                  </a:lnTo>
                  <a:lnTo>
                    <a:pt x="12" y="68"/>
                  </a:lnTo>
                  <a:lnTo>
                    <a:pt x="8" y="68"/>
                  </a:lnTo>
                  <a:lnTo>
                    <a:pt x="4" y="68"/>
                  </a:lnTo>
                  <a:lnTo>
                    <a:pt x="0"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29" name="Freeform 247"/>
            <p:cNvSpPr>
              <a:spLocks/>
            </p:cNvSpPr>
            <p:nvPr/>
          </p:nvSpPr>
          <p:spPr bwMode="auto">
            <a:xfrm>
              <a:off x="4465638" y="4179888"/>
              <a:ext cx="47625" cy="39687"/>
            </a:xfrm>
            <a:custGeom>
              <a:avLst/>
              <a:gdLst>
                <a:gd name="T0" fmla="*/ 2147483647 w 120"/>
                <a:gd name="T1" fmla="*/ 2147483647 h 96"/>
                <a:gd name="T2" fmla="*/ 2147483647 w 120"/>
                <a:gd name="T3" fmla="*/ 2147483647 h 96"/>
                <a:gd name="T4" fmla="*/ 2147483647 w 120"/>
                <a:gd name="T5" fmla="*/ 2147483647 h 96"/>
                <a:gd name="T6" fmla="*/ 2147483647 w 120"/>
                <a:gd name="T7" fmla="*/ 2147483647 h 96"/>
                <a:gd name="T8" fmla="*/ 2147483647 w 120"/>
                <a:gd name="T9" fmla="*/ 2147483647 h 96"/>
                <a:gd name="T10" fmla="*/ 2147483647 w 120"/>
                <a:gd name="T11" fmla="*/ 2147483647 h 96"/>
                <a:gd name="T12" fmla="*/ 2147483647 w 120"/>
                <a:gd name="T13" fmla="*/ 2147483647 h 96"/>
                <a:gd name="T14" fmla="*/ 2147483647 w 120"/>
                <a:gd name="T15" fmla="*/ 2147483647 h 96"/>
                <a:gd name="T16" fmla="*/ 2147483647 w 120"/>
                <a:gd name="T17" fmla="*/ 2147483647 h 96"/>
                <a:gd name="T18" fmla="*/ 2147483647 w 120"/>
                <a:gd name="T19" fmla="*/ 2147483647 h 96"/>
                <a:gd name="T20" fmla="*/ 2147483647 w 120"/>
                <a:gd name="T21" fmla="*/ 2147483647 h 96"/>
                <a:gd name="T22" fmla="*/ 2147483647 w 120"/>
                <a:gd name="T23" fmla="*/ 2147483647 h 96"/>
                <a:gd name="T24" fmla="*/ 2147483647 w 120"/>
                <a:gd name="T25" fmla="*/ 2147483647 h 96"/>
                <a:gd name="T26" fmla="*/ 2147483647 w 120"/>
                <a:gd name="T27" fmla="*/ 2147483647 h 96"/>
                <a:gd name="T28" fmla="*/ 2147483647 w 120"/>
                <a:gd name="T29" fmla="*/ 2147483647 h 96"/>
                <a:gd name="T30" fmla="*/ 2147483647 w 120"/>
                <a:gd name="T31" fmla="*/ 2147483647 h 96"/>
                <a:gd name="T32" fmla="*/ 2147483647 w 120"/>
                <a:gd name="T33" fmla="*/ 2147483647 h 96"/>
                <a:gd name="T34" fmla="*/ 2147483647 w 120"/>
                <a:gd name="T35" fmla="*/ 2147483647 h 96"/>
                <a:gd name="T36" fmla="*/ 2147483647 w 120"/>
                <a:gd name="T37" fmla="*/ 2147483647 h 96"/>
                <a:gd name="T38" fmla="*/ 2147483647 w 120"/>
                <a:gd name="T39" fmla="*/ 2147483647 h 96"/>
                <a:gd name="T40" fmla="*/ 2147483647 w 120"/>
                <a:gd name="T41" fmla="*/ 2147483647 h 96"/>
                <a:gd name="T42" fmla="*/ 2147483647 w 120"/>
                <a:gd name="T43" fmla="*/ 2147483647 h 96"/>
                <a:gd name="T44" fmla="*/ 2147483647 w 120"/>
                <a:gd name="T45" fmla="*/ 2147483647 h 96"/>
                <a:gd name="T46" fmla="*/ 2147483647 w 120"/>
                <a:gd name="T47" fmla="*/ 2147483647 h 96"/>
                <a:gd name="T48" fmla="*/ 2147483647 w 120"/>
                <a:gd name="T49" fmla="*/ 2147483647 h 96"/>
                <a:gd name="T50" fmla="*/ 2147483647 w 120"/>
                <a:gd name="T51" fmla="*/ 2147483647 h 96"/>
                <a:gd name="T52" fmla="*/ 2147483647 w 120"/>
                <a:gd name="T53" fmla="*/ 2147483647 h 96"/>
                <a:gd name="T54" fmla="*/ 2147483647 w 120"/>
                <a:gd name="T55" fmla="*/ 2147483647 h 96"/>
                <a:gd name="T56" fmla="*/ 2147483647 w 120"/>
                <a:gd name="T57" fmla="*/ 2147483647 h 96"/>
                <a:gd name="T58" fmla="*/ 2147483647 w 120"/>
                <a:gd name="T59" fmla="*/ 2147483647 h 96"/>
                <a:gd name="T60" fmla="*/ 2147483647 w 120"/>
                <a:gd name="T61" fmla="*/ 2147483647 h 96"/>
                <a:gd name="T62" fmla="*/ 2147483647 w 120"/>
                <a:gd name="T63" fmla="*/ 2147483647 h 96"/>
                <a:gd name="T64" fmla="*/ 2147483647 w 120"/>
                <a:gd name="T65" fmla="*/ 2147483647 h 96"/>
                <a:gd name="T66" fmla="*/ 2147483647 w 120"/>
                <a:gd name="T67" fmla="*/ 2147483647 h 96"/>
                <a:gd name="T68" fmla="*/ 2147483647 w 120"/>
                <a:gd name="T69" fmla="*/ 2147483647 h 96"/>
                <a:gd name="T70" fmla="*/ 2147483647 w 120"/>
                <a:gd name="T71" fmla="*/ 2147483647 h 96"/>
                <a:gd name="T72" fmla="*/ 0 w 120"/>
                <a:gd name="T73" fmla="*/ 2147483647 h 96"/>
                <a:gd name="T74" fmla="*/ 2147483647 w 120"/>
                <a:gd name="T75" fmla="*/ 2147483647 h 96"/>
                <a:gd name="T76" fmla="*/ 2147483647 w 120"/>
                <a:gd name="T77" fmla="*/ 2147483647 h 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0"/>
                <a:gd name="T118" fmla="*/ 0 h 96"/>
                <a:gd name="T119" fmla="*/ 120 w 120"/>
                <a:gd name="T120" fmla="*/ 96 h 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0" h="96">
                  <a:moveTo>
                    <a:pt x="16" y="52"/>
                  </a:moveTo>
                  <a:lnTo>
                    <a:pt x="16" y="54"/>
                  </a:lnTo>
                  <a:lnTo>
                    <a:pt x="22" y="50"/>
                  </a:lnTo>
                  <a:lnTo>
                    <a:pt x="16" y="52"/>
                  </a:lnTo>
                  <a:lnTo>
                    <a:pt x="14" y="46"/>
                  </a:lnTo>
                  <a:lnTo>
                    <a:pt x="18" y="42"/>
                  </a:lnTo>
                  <a:lnTo>
                    <a:pt x="22" y="36"/>
                  </a:lnTo>
                  <a:lnTo>
                    <a:pt x="26" y="30"/>
                  </a:lnTo>
                  <a:lnTo>
                    <a:pt x="26" y="24"/>
                  </a:lnTo>
                  <a:lnTo>
                    <a:pt x="24" y="16"/>
                  </a:lnTo>
                  <a:lnTo>
                    <a:pt x="24" y="12"/>
                  </a:lnTo>
                  <a:lnTo>
                    <a:pt x="26" y="6"/>
                  </a:lnTo>
                  <a:lnTo>
                    <a:pt x="26" y="0"/>
                  </a:lnTo>
                  <a:lnTo>
                    <a:pt x="28" y="4"/>
                  </a:lnTo>
                  <a:lnTo>
                    <a:pt x="32" y="8"/>
                  </a:lnTo>
                  <a:lnTo>
                    <a:pt x="38" y="12"/>
                  </a:lnTo>
                  <a:lnTo>
                    <a:pt x="40" y="12"/>
                  </a:lnTo>
                  <a:lnTo>
                    <a:pt x="42" y="12"/>
                  </a:lnTo>
                  <a:lnTo>
                    <a:pt x="48" y="12"/>
                  </a:lnTo>
                  <a:lnTo>
                    <a:pt x="50" y="12"/>
                  </a:lnTo>
                  <a:lnTo>
                    <a:pt x="56" y="12"/>
                  </a:lnTo>
                  <a:lnTo>
                    <a:pt x="60" y="12"/>
                  </a:lnTo>
                  <a:lnTo>
                    <a:pt x="66" y="12"/>
                  </a:lnTo>
                  <a:lnTo>
                    <a:pt x="72" y="12"/>
                  </a:lnTo>
                  <a:lnTo>
                    <a:pt x="78" y="12"/>
                  </a:lnTo>
                  <a:lnTo>
                    <a:pt x="84" y="12"/>
                  </a:lnTo>
                  <a:lnTo>
                    <a:pt x="90" y="12"/>
                  </a:lnTo>
                  <a:lnTo>
                    <a:pt x="96" y="12"/>
                  </a:lnTo>
                  <a:lnTo>
                    <a:pt x="102" y="12"/>
                  </a:lnTo>
                  <a:lnTo>
                    <a:pt x="108" y="12"/>
                  </a:lnTo>
                  <a:lnTo>
                    <a:pt x="114" y="12"/>
                  </a:lnTo>
                  <a:lnTo>
                    <a:pt x="120" y="12"/>
                  </a:lnTo>
                  <a:lnTo>
                    <a:pt x="120" y="18"/>
                  </a:lnTo>
                  <a:lnTo>
                    <a:pt x="120" y="24"/>
                  </a:lnTo>
                  <a:lnTo>
                    <a:pt x="120" y="30"/>
                  </a:lnTo>
                  <a:lnTo>
                    <a:pt x="120" y="36"/>
                  </a:lnTo>
                  <a:lnTo>
                    <a:pt x="120" y="42"/>
                  </a:lnTo>
                  <a:lnTo>
                    <a:pt x="120" y="48"/>
                  </a:lnTo>
                  <a:lnTo>
                    <a:pt x="120" y="50"/>
                  </a:lnTo>
                  <a:lnTo>
                    <a:pt x="120" y="56"/>
                  </a:lnTo>
                  <a:lnTo>
                    <a:pt x="120" y="60"/>
                  </a:lnTo>
                  <a:lnTo>
                    <a:pt x="120" y="66"/>
                  </a:lnTo>
                  <a:lnTo>
                    <a:pt x="120" y="72"/>
                  </a:lnTo>
                  <a:lnTo>
                    <a:pt x="120" y="78"/>
                  </a:lnTo>
                  <a:lnTo>
                    <a:pt x="120" y="84"/>
                  </a:lnTo>
                  <a:lnTo>
                    <a:pt x="120" y="90"/>
                  </a:lnTo>
                  <a:lnTo>
                    <a:pt x="116" y="92"/>
                  </a:lnTo>
                  <a:lnTo>
                    <a:pt x="110" y="92"/>
                  </a:lnTo>
                  <a:lnTo>
                    <a:pt x="104" y="92"/>
                  </a:lnTo>
                  <a:lnTo>
                    <a:pt x="98" y="92"/>
                  </a:lnTo>
                  <a:lnTo>
                    <a:pt x="94" y="92"/>
                  </a:lnTo>
                  <a:lnTo>
                    <a:pt x="88" y="92"/>
                  </a:lnTo>
                  <a:lnTo>
                    <a:pt x="84" y="92"/>
                  </a:lnTo>
                  <a:lnTo>
                    <a:pt x="78" y="92"/>
                  </a:lnTo>
                  <a:lnTo>
                    <a:pt x="72" y="92"/>
                  </a:lnTo>
                  <a:lnTo>
                    <a:pt x="66" y="92"/>
                  </a:lnTo>
                  <a:lnTo>
                    <a:pt x="64" y="92"/>
                  </a:lnTo>
                  <a:lnTo>
                    <a:pt x="58" y="92"/>
                  </a:lnTo>
                  <a:lnTo>
                    <a:pt x="52" y="92"/>
                  </a:lnTo>
                  <a:lnTo>
                    <a:pt x="46" y="92"/>
                  </a:lnTo>
                  <a:lnTo>
                    <a:pt x="40" y="92"/>
                  </a:lnTo>
                  <a:lnTo>
                    <a:pt x="38" y="92"/>
                  </a:lnTo>
                  <a:lnTo>
                    <a:pt x="32" y="96"/>
                  </a:lnTo>
                  <a:lnTo>
                    <a:pt x="26" y="92"/>
                  </a:lnTo>
                  <a:lnTo>
                    <a:pt x="28" y="88"/>
                  </a:lnTo>
                  <a:lnTo>
                    <a:pt x="22" y="86"/>
                  </a:lnTo>
                  <a:lnTo>
                    <a:pt x="18" y="88"/>
                  </a:lnTo>
                  <a:lnTo>
                    <a:pt x="10" y="84"/>
                  </a:lnTo>
                  <a:lnTo>
                    <a:pt x="6" y="84"/>
                  </a:lnTo>
                  <a:lnTo>
                    <a:pt x="0" y="82"/>
                  </a:lnTo>
                  <a:lnTo>
                    <a:pt x="0" y="76"/>
                  </a:lnTo>
                  <a:lnTo>
                    <a:pt x="6" y="70"/>
                  </a:lnTo>
                  <a:lnTo>
                    <a:pt x="6" y="64"/>
                  </a:lnTo>
                  <a:lnTo>
                    <a:pt x="12" y="58"/>
                  </a:lnTo>
                  <a:lnTo>
                    <a:pt x="16" y="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0" name="Freeform 248"/>
            <p:cNvSpPr>
              <a:spLocks/>
            </p:cNvSpPr>
            <p:nvPr/>
          </p:nvSpPr>
          <p:spPr bwMode="auto">
            <a:xfrm>
              <a:off x="4953000" y="4311650"/>
              <a:ext cx="46038" cy="61913"/>
            </a:xfrm>
            <a:custGeom>
              <a:avLst/>
              <a:gdLst>
                <a:gd name="T0" fmla="*/ 2147483647 w 112"/>
                <a:gd name="T1" fmla="*/ 2147483647 h 148"/>
                <a:gd name="T2" fmla="*/ 2147483647 w 112"/>
                <a:gd name="T3" fmla="*/ 2147483647 h 148"/>
                <a:gd name="T4" fmla="*/ 2147483647 w 112"/>
                <a:gd name="T5" fmla="*/ 2147483647 h 148"/>
                <a:gd name="T6" fmla="*/ 2147483647 w 112"/>
                <a:gd name="T7" fmla="*/ 2147483647 h 148"/>
                <a:gd name="T8" fmla="*/ 2147483647 w 112"/>
                <a:gd name="T9" fmla="*/ 2147483647 h 148"/>
                <a:gd name="T10" fmla="*/ 2147483647 w 112"/>
                <a:gd name="T11" fmla="*/ 2147483647 h 148"/>
                <a:gd name="T12" fmla="*/ 2147483647 w 112"/>
                <a:gd name="T13" fmla="*/ 2147483647 h 148"/>
                <a:gd name="T14" fmla="*/ 2147483647 w 112"/>
                <a:gd name="T15" fmla="*/ 2147483647 h 148"/>
                <a:gd name="T16" fmla="*/ 2147483647 w 112"/>
                <a:gd name="T17" fmla="*/ 0 h 148"/>
                <a:gd name="T18" fmla="*/ 2147483647 w 112"/>
                <a:gd name="T19" fmla="*/ 2147483647 h 148"/>
                <a:gd name="T20" fmla="*/ 2147483647 w 112"/>
                <a:gd name="T21" fmla="*/ 2147483647 h 148"/>
                <a:gd name="T22" fmla="*/ 2147483647 w 112"/>
                <a:gd name="T23" fmla="*/ 2147483647 h 148"/>
                <a:gd name="T24" fmla="*/ 2147483647 w 112"/>
                <a:gd name="T25" fmla="*/ 2147483647 h 148"/>
                <a:gd name="T26" fmla="*/ 2147483647 w 112"/>
                <a:gd name="T27" fmla="*/ 2147483647 h 148"/>
                <a:gd name="T28" fmla="*/ 2147483647 w 112"/>
                <a:gd name="T29" fmla="*/ 2147483647 h 148"/>
                <a:gd name="T30" fmla="*/ 2147483647 w 112"/>
                <a:gd name="T31" fmla="*/ 2147483647 h 148"/>
                <a:gd name="T32" fmla="*/ 2147483647 w 112"/>
                <a:gd name="T33" fmla="*/ 2147483647 h 148"/>
                <a:gd name="T34" fmla="*/ 2147483647 w 112"/>
                <a:gd name="T35" fmla="*/ 2147483647 h 148"/>
                <a:gd name="T36" fmla="*/ 2147483647 w 112"/>
                <a:gd name="T37" fmla="*/ 2147483647 h 148"/>
                <a:gd name="T38" fmla="*/ 2147483647 w 112"/>
                <a:gd name="T39" fmla="*/ 2147483647 h 148"/>
                <a:gd name="T40" fmla="*/ 2147483647 w 112"/>
                <a:gd name="T41" fmla="*/ 2147483647 h 148"/>
                <a:gd name="T42" fmla="*/ 2147483647 w 112"/>
                <a:gd name="T43" fmla="*/ 2147483647 h 148"/>
                <a:gd name="T44" fmla="*/ 2147483647 w 112"/>
                <a:gd name="T45" fmla="*/ 2147483647 h 148"/>
                <a:gd name="T46" fmla="*/ 2147483647 w 112"/>
                <a:gd name="T47" fmla="*/ 2147483647 h 148"/>
                <a:gd name="T48" fmla="*/ 2147483647 w 112"/>
                <a:gd name="T49" fmla="*/ 2147483647 h 148"/>
                <a:gd name="T50" fmla="*/ 2147483647 w 112"/>
                <a:gd name="T51" fmla="*/ 2147483647 h 148"/>
                <a:gd name="T52" fmla="*/ 2147483647 w 112"/>
                <a:gd name="T53" fmla="*/ 2147483647 h 148"/>
                <a:gd name="T54" fmla="*/ 2147483647 w 112"/>
                <a:gd name="T55" fmla="*/ 2147483647 h 148"/>
                <a:gd name="T56" fmla="*/ 2147483647 w 112"/>
                <a:gd name="T57" fmla="*/ 2147483647 h 148"/>
                <a:gd name="T58" fmla="*/ 2147483647 w 112"/>
                <a:gd name="T59" fmla="*/ 2147483647 h 148"/>
                <a:gd name="T60" fmla="*/ 2147483647 w 112"/>
                <a:gd name="T61" fmla="*/ 2147483647 h 148"/>
                <a:gd name="T62" fmla="*/ 2147483647 w 112"/>
                <a:gd name="T63" fmla="*/ 2147483647 h 148"/>
                <a:gd name="T64" fmla="*/ 2147483647 w 112"/>
                <a:gd name="T65" fmla="*/ 2147483647 h 148"/>
                <a:gd name="T66" fmla="*/ 2147483647 w 112"/>
                <a:gd name="T67" fmla="*/ 2147483647 h 148"/>
                <a:gd name="T68" fmla="*/ 2147483647 w 112"/>
                <a:gd name="T69" fmla="*/ 2147483647 h 148"/>
                <a:gd name="T70" fmla="*/ 2147483647 w 112"/>
                <a:gd name="T71" fmla="*/ 2147483647 h 148"/>
                <a:gd name="T72" fmla="*/ 2147483647 w 112"/>
                <a:gd name="T73" fmla="*/ 2147483647 h 148"/>
                <a:gd name="T74" fmla="*/ 2147483647 w 112"/>
                <a:gd name="T75" fmla="*/ 2147483647 h 148"/>
                <a:gd name="T76" fmla="*/ 2147483647 w 112"/>
                <a:gd name="T77" fmla="*/ 2147483647 h 148"/>
                <a:gd name="T78" fmla="*/ 2147483647 w 112"/>
                <a:gd name="T79" fmla="*/ 2147483647 h 148"/>
                <a:gd name="T80" fmla="*/ 2147483647 w 112"/>
                <a:gd name="T81" fmla="*/ 2147483647 h 148"/>
                <a:gd name="T82" fmla="*/ 2147483647 w 112"/>
                <a:gd name="T83" fmla="*/ 2147483647 h 148"/>
                <a:gd name="T84" fmla="*/ 2147483647 w 112"/>
                <a:gd name="T85" fmla="*/ 2147483647 h 148"/>
                <a:gd name="T86" fmla="*/ 2147483647 w 112"/>
                <a:gd name="T87" fmla="*/ 2147483647 h 148"/>
                <a:gd name="T88" fmla="*/ 2147483647 w 112"/>
                <a:gd name="T89" fmla="*/ 2147483647 h 14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2"/>
                <a:gd name="T136" fmla="*/ 0 h 148"/>
                <a:gd name="T137" fmla="*/ 112 w 112"/>
                <a:gd name="T138" fmla="*/ 148 h 14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2" h="148">
                  <a:moveTo>
                    <a:pt x="0" y="30"/>
                  </a:moveTo>
                  <a:lnTo>
                    <a:pt x="2" y="30"/>
                  </a:lnTo>
                  <a:lnTo>
                    <a:pt x="2" y="22"/>
                  </a:lnTo>
                  <a:lnTo>
                    <a:pt x="8" y="20"/>
                  </a:lnTo>
                  <a:lnTo>
                    <a:pt x="14" y="22"/>
                  </a:lnTo>
                  <a:lnTo>
                    <a:pt x="20" y="26"/>
                  </a:lnTo>
                  <a:lnTo>
                    <a:pt x="20" y="34"/>
                  </a:lnTo>
                  <a:lnTo>
                    <a:pt x="26" y="34"/>
                  </a:lnTo>
                  <a:lnTo>
                    <a:pt x="32" y="34"/>
                  </a:lnTo>
                  <a:lnTo>
                    <a:pt x="34" y="34"/>
                  </a:lnTo>
                  <a:lnTo>
                    <a:pt x="40" y="34"/>
                  </a:lnTo>
                  <a:lnTo>
                    <a:pt x="46" y="30"/>
                  </a:lnTo>
                  <a:lnTo>
                    <a:pt x="52" y="30"/>
                  </a:lnTo>
                  <a:lnTo>
                    <a:pt x="56" y="24"/>
                  </a:lnTo>
                  <a:lnTo>
                    <a:pt x="56" y="18"/>
                  </a:lnTo>
                  <a:lnTo>
                    <a:pt x="56" y="12"/>
                  </a:lnTo>
                  <a:lnTo>
                    <a:pt x="58" y="6"/>
                  </a:lnTo>
                  <a:lnTo>
                    <a:pt x="58" y="0"/>
                  </a:lnTo>
                  <a:lnTo>
                    <a:pt x="60" y="2"/>
                  </a:lnTo>
                  <a:lnTo>
                    <a:pt x="66" y="6"/>
                  </a:lnTo>
                  <a:lnTo>
                    <a:pt x="70" y="8"/>
                  </a:lnTo>
                  <a:lnTo>
                    <a:pt x="74" y="2"/>
                  </a:lnTo>
                  <a:lnTo>
                    <a:pt x="78" y="4"/>
                  </a:lnTo>
                  <a:lnTo>
                    <a:pt x="82" y="2"/>
                  </a:lnTo>
                  <a:lnTo>
                    <a:pt x="88" y="2"/>
                  </a:lnTo>
                  <a:lnTo>
                    <a:pt x="94" y="6"/>
                  </a:lnTo>
                  <a:lnTo>
                    <a:pt x="96" y="6"/>
                  </a:lnTo>
                  <a:lnTo>
                    <a:pt x="92" y="12"/>
                  </a:lnTo>
                  <a:lnTo>
                    <a:pt x="90" y="18"/>
                  </a:lnTo>
                  <a:lnTo>
                    <a:pt x="86" y="24"/>
                  </a:lnTo>
                  <a:lnTo>
                    <a:pt x="92" y="24"/>
                  </a:lnTo>
                  <a:lnTo>
                    <a:pt x="90" y="26"/>
                  </a:lnTo>
                  <a:lnTo>
                    <a:pt x="88" y="32"/>
                  </a:lnTo>
                  <a:lnTo>
                    <a:pt x="86" y="38"/>
                  </a:lnTo>
                  <a:lnTo>
                    <a:pt x="90" y="44"/>
                  </a:lnTo>
                  <a:lnTo>
                    <a:pt x="96" y="42"/>
                  </a:lnTo>
                  <a:lnTo>
                    <a:pt x="102" y="46"/>
                  </a:lnTo>
                  <a:lnTo>
                    <a:pt x="108" y="46"/>
                  </a:lnTo>
                  <a:lnTo>
                    <a:pt x="112" y="46"/>
                  </a:lnTo>
                  <a:lnTo>
                    <a:pt x="110" y="50"/>
                  </a:lnTo>
                  <a:lnTo>
                    <a:pt x="112" y="56"/>
                  </a:lnTo>
                  <a:lnTo>
                    <a:pt x="112" y="62"/>
                  </a:lnTo>
                  <a:lnTo>
                    <a:pt x="108" y="68"/>
                  </a:lnTo>
                  <a:lnTo>
                    <a:pt x="104" y="68"/>
                  </a:lnTo>
                  <a:lnTo>
                    <a:pt x="98" y="72"/>
                  </a:lnTo>
                  <a:lnTo>
                    <a:pt x="98" y="80"/>
                  </a:lnTo>
                  <a:lnTo>
                    <a:pt x="92" y="82"/>
                  </a:lnTo>
                  <a:lnTo>
                    <a:pt x="88" y="86"/>
                  </a:lnTo>
                  <a:lnTo>
                    <a:pt x="86" y="92"/>
                  </a:lnTo>
                  <a:lnTo>
                    <a:pt x="84" y="96"/>
                  </a:lnTo>
                  <a:lnTo>
                    <a:pt x="84" y="102"/>
                  </a:lnTo>
                  <a:lnTo>
                    <a:pt x="82" y="102"/>
                  </a:lnTo>
                  <a:lnTo>
                    <a:pt x="78" y="106"/>
                  </a:lnTo>
                  <a:lnTo>
                    <a:pt x="74" y="112"/>
                  </a:lnTo>
                  <a:lnTo>
                    <a:pt x="72" y="118"/>
                  </a:lnTo>
                  <a:lnTo>
                    <a:pt x="68" y="124"/>
                  </a:lnTo>
                  <a:lnTo>
                    <a:pt x="62" y="130"/>
                  </a:lnTo>
                  <a:lnTo>
                    <a:pt x="60" y="136"/>
                  </a:lnTo>
                  <a:lnTo>
                    <a:pt x="58" y="138"/>
                  </a:lnTo>
                  <a:lnTo>
                    <a:pt x="52" y="142"/>
                  </a:lnTo>
                  <a:lnTo>
                    <a:pt x="46" y="144"/>
                  </a:lnTo>
                  <a:lnTo>
                    <a:pt x="46" y="148"/>
                  </a:lnTo>
                  <a:lnTo>
                    <a:pt x="40" y="148"/>
                  </a:lnTo>
                  <a:lnTo>
                    <a:pt x="38" y="148"/>
                  </a:lnTo>
                  <a:lnTo>
                    <a:pt x="34" y="148"/>
                  </a:lnTo>
                  <a:lnTo>
                    <a:pt x="28" y="148"/>
                  </a:lnTo>
                  <a:lnTo>
                    <a:pt x="24" y="148"/>
                  </a:lnTo>
                  <a:lnTo>
                    <a:pt x="24" y="142"/>
                  </a:lnTo>
                  <a:lnTo>
                    <a:pt x="22" y="136"/>
                  </a:lnTo>
                  <a:lnTo>
                    <a:pt x="22" y="130"/>
                  </a:lnTo>
                  <a:lnTo>
                    <a:pt x="20" y="124"/>
                  </a:lnTo>
                  <a:lnTo>
                    <a:pt x="18" y="118"/>
                  </a:lnTo>
                  <a:lnTo>
                    <a:pt x="14" y="112"/>
                  </a:lnTo>
                  <a:lnTo>
                    <a:pt x="12" y="106"/>
                  </a:lnTo>
                  <a:lnTo>
                    <a:pt x="12" y="100"/>
                  </a:lnTo>
                  <a:lnTo>
                    <a:pt x="14" y="94"/>
                  </a:lnTo>
                  <a:lnTo>
                    <a:pt x="14" y="88"/>
                  </a:lnTo>
                  <a:lnTo>
                    <a:pt x="14" y="82"/>
                  </a:lnTo>
                  <a:lnTo>
                    <a:pt x="14" y="76"/>
                  </a:lnTo>
                  <a:lnTo>
                    <a:pt x="12" y="72"/>
                  </a:lnTo>
                  <a:lnTo>
                    <a:pt x="12" y="70"/>
                  </a:lnTo>
                  <a:lnTo>
                    <a:pt x="14" y="66"/>
                  </a:lnTo>
                  <a:lnTo>
                    <a:pt x="12" y="66"/>
                  </a:lnTo>
                  <a:lnTo>
                    <a:pt x="12" y="60"/>
                  </a:lnTo>
                  <a:lnTo>
                    <a:pt x="14" y="54"/>
                  </a:lnTo>
                  <a:lnTo>
                    <a:pt x="8" y="48"/>
                  </a:lnTo>
                  <a:lnTo>
                    <a:pt x="4" y="42"/>
                  </a:lnTo>
                  <a:lnTo>
                    <a:pt x="2" y="36"/>
                  </a:lnTo>
                  <a:lnTo>
                    <a:pt x="0" y="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1" name="Freeform 249"/>
            <p:cNvSpPr>
              <a:spLocks/>
            </p:cNvSpPr>
            <p:nvPr/>
          </p:nvSpPr>
          <p:spPr bwMode="auto">
            <a:xfrm>
              <a:off x="5267325" y="3884613"/>
              <a:ext cx="39688" cy="50800"/>
            </a:xfrm>
            <a:custGeom>
              <a:avLst/>
              <a:gdLst>
                <a:gd name="T0" fmla="*/ 2147483647 w 98"/>
                <a:gd name="T1" fmla="*/ 2147483647 h 124"/>
                <a:gd name="T2" fmla="*/ 2147483647 w 98"/>
                <a:gd name="T3" fmla="*/ 2147483647 h 124"/>
                <a:gd name="T4" fmla="*/ 0 w 98"/>
                <a:gd name="T5" fmla="*/ 2147483647 h 124"/>
                <a:gd name="T6" fmla="*/ 0 w 98"/>
                <a:gd name="T7" fmla="*/ 2147483647 h 124"/>
                <a:gd name="T8" fmla="*/ 2147483647 w 98"/>
                <a:gd name="T9" fmla="*/ 2147483647 h 124"/>
                <a:gd name="T10" fmla="*/ 2147483647 w 98"/>
                <a:gd name="T11" fmla="*/ 2147483647 h 124"/>
                <a:gd name="T12" fmla="*/ 2147483647 w 98"/>
                <a:gd name="T13" fmla="*/ 2147483647 h 124"/>
                <a:gd name="T14" fmla="*/ 2147483647 w 98"/>
                <a:gd name="T15" fmla="*/ 2147483647 h 124"/>
                <a:gd name="T16" fmla="*/ 2147483647 w 98"/>
                <a:gd name="T17" fmla="*/ 2147483647 h 124"/>
                <a:gd name="T18" fmla="*/ 2147483647 w 98"/>
                <a:gd name="T19" fmla="*/ 2147483647 h 124"/>
                <a:gd name="T20" fmla="*/ 2147483647 w 98"/>
                <a:gd name="T21" fmla="*/ 2147483647 h 124"/>
                <a:gd name="T22" fmla="*/ 2147483647 w 98"/>
                <a:gd name="T23" fmla="*/ 2147483647 h 124"/>
                <a:gd name="T24" fmla="*/ 2147483647 w 98"/>
                <a:gd name="T25" fmla="*/ 2147483647 h 124"/>
                <a:gd name="T26" fmla="*/ 2147483647 w 98"/>
                <a:gd name="T27" fmla="*/ 0 h 124"/>
                <a:gd name="T28" fmla="*/ 2147483647 w 98"/>
                <a:gd name="T29" fmla="*/ 2147483647 h 124"/>
                <a:gd name="T30" fmla="*/ 2147483647 w 98"/>
                <a:gd name="T31" fmla="*/ 2147483647 h 124"/>
                <a:gd name="T32" fmla="*/ 2147483647 w 98"/>
                <a:gd name="T33" fmla="*/ 2147483647 h 124"/>
                <a:gd name="T34" fmla="*/ 2147483647 w 98"/>
                <a:gd name="T35" fmla="*/ 2147483647 h 124"/>
                <a:gd name="T36" fmla="*/ 2147483647 w 98"/>
                <a:gd name="T37" fmla="*/ 2147483647 h 124"/>
                <a:gd name="T38" fmla="*/ 2147483647 w 98"/>
                <a:gd name="T39" fmla="*/ 2147483647 h 124"/>
                <a:gd name="T40" fmla="*/ 2147483647 w 98"/>
                <a:gd name="T41" fmla="*/ 2147483647 h 124"/>
                <a:gd name="T42" fmla="*/ 2147483647 w 98"/>
                <a:gd name="T43" fmla="*/ 2147483647 h 124"/>
                <a:gd name="T44" fmla="*/ 2147483647 w 98"/>
                <a:gd name="T45" fmla="*/ 2147483647 h 124"/>
                <a:gd name="T46" fmla="*/ 2147483647 w 98"/>
                <a:gd name="T47" fmla="*/ 2147483647 h 124"/>
                <a:gd name="T48" fmla="*/ 2147483647 w 98"/>
                <a:gd name="T49" fmla="*/ 2147483647 h 124"/>
                <a:gd name="T50" fmla="*/ 2147483647 w 98"/>
                <a:gd name="T51" fmla="*/ 2147483647 h 124"/>
                <a:gd name="T52" fmla="*/ 2147483647 w 98"/>
                <a:gd name="T53" fmla="*/ 2147483647 h 124"/>
                <a:gd name="T54" fmla="*/ 2147483647 w 98"/>
                <a:gd name="T55" fmla="*/ 2147483647 h 124"/>
                <a:gd name="T56" fmla="*/ 2147483647 w 98"/>
                <a:gd name="T57" fmla="*/ 2147483647 h 124"/>
                <a:gd name="T58" fmla="*/ 2147483647 w 98"/>
                <a:gd name="T59" fmla="*/ 2147483647 h 124"/>
                <a:gd name="T60" fmla="*/ 2147483647 w 98"/>
                <a:gd name="T61" fmla="*/ 2147483647 h 124"/>
                <a:gd name="T62" fmla="*/ 2147483647 w 98"/>
                <a:gd name="T63" fmla="*/ 2147483647 h 124"/>
                <a:gd name="T64" fmla="*/ 2147483647 w 98"/>
                <a:gd name="T65" fmla="*/ 2147483647 h 124"/>
                <a:gd name="T66" fmla="*/ 2147483647 w 98"/>
                <a:gd name="T67" fmla="*/ 2147483647 h 124"/>
                <a:gd name="T68" fmla="*/ 2147483647 w 98"/>
                <a:gd name="T69" fmla="*/ 2147483647 h 124"/>
                <a:gd name="T70" fmla="*/ 2147483647 w 98"/>
                <a:gd name="T71" fmla="*/ 2147483647 h 124"/>
                <a:gd name="T72" fmla="*/ 2147483647 w 98"/>
                <a:gd name="T73" fmla="*/ 2147483647 h 124"/>
                <a:gd name="T74" fmla="*/ 2147483647 w 98"/>
                <a:gd name="T75" fmla="*/ 2147483647 h 12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98"/>
                <a:gd name="T115" fmla="*/ 0 h 124"/>
                <a:gd name="T116" fmla="*/ 98 w 98"/>
                <a:gd name="T117" fmla="*/ 124 h 12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98" h="124">
                  <a:moveTo>
                    <a:pt x="2" y="116"/>
                  </a:moveTo>
                  <a:lnTo>
                    <a:pt x="2" y="112"/>
                  </a:lnTo>
                  <a:lnTo>
                    <a:pt x="2" y="106"/>
                  </a:lnTo>
                  <a:lnTo>
                    <a:pt x="2" y="100"/>
                  </a:lnTo>
                  <a:lnTo>
                    <a:pt x="0" y="94"/>
                  </a:lnTo>
                  <a:lnTo>
                    <a:pt x="0" y="86"/>
                  </a:lnTo>
                  <a:lnTo>
                    <a:pt x="0" y="80"/>
                  </a:lnTo>
                  <a:lnTo>
                    <a:pt x="0" y="74"/>
                  </a:lnTo>
                  <a:lnTo>
                    <a:pt x="2" y="68"/>
                  </a:lnTo>
                  <a:lnTo>
                    <a:pt x="4" y="66"/>
                  </a:lnTo>
                  <a:lnTo>
                    <a:pt x="10" y="62"/>
                  </a:lnTo>
                  <a:lnTo>
                    <a:pt x="14" y="54"/>
                  </a:lnTo>
                  <a:lnTo>
                    <a:pt x="18" y="48"/>
                  </a:lnTo>
                  <a:lnTo>
                    <a:pt x="22" y="42"/>
                  </a:lnTo>
                  <a:lnTo>
                    <a:pt x="24" y="36"/>
                  </a:lnTo>
                  <a:lnTo>
                    <a:pt x="30" y="28"/>
                  </a:lnTo>
                  <a:lnTo>
                    <a:pt x="32" y="22"/>
                  </a:lnTo>
                  <a:lnTo>
                    <a:pt x="36" y="16"/>
                  </a:lnTo>
                  <a:lnTo>
                    <a:pt x="40" y="14"/>
                  </a:lnTo>
                  <a:lnTo>
                    <a:pt x="46" y="16"/>
                  </a:lnTo>
                  <a:lnTo>
                    <a:pt x="50" y="22"/>
                  </a:lnTo>
                  <a:lnTo>
                    <a:pt x="56" y="22"/>
                  </a:lnTo>
                  <a:lnTo>
                    <a:pt x="60" y="16"/>
                  </a:lnTo>
                  <a:lnTo>
                    <a:pt x="62" y="10"/>
                  </a:lnTo>
                  <a:lnTo>
                    <a:pt x="68" y="6"/>
                  </a:lnTo>
                  <a:lnTo>
                    <a:pt x="74" y="2"/>
                  </a:lnTo>
                  <a:lnTo>
                    <a:pt x="78" y="0"/>
                  </a:lnTo>
                  <a:lnTo>
                    <a:pt x="82" y="6"/>
                  </a:lnTo>
                  <a:lnTo>
                    <a:pt x="88" y="12"/>
                  </a:lnTo>
                  <a:lnTo>
                    <a:pt x="92" y="18"/>
                  </a:lnTo>
                  <a:lnTo>
                    <a:pt x="94" y="24"/>
                  </a:lnTo>
                  <a:lnTo>
                    <a:pt x="96" y="30"/>
                  </a:lnTo>
                  <a:lnTo>
                    <a:pt x="98" y="36"/>
                  </a:lnTo>
                  <a:lnTo>
                    <a:pt x="98" y="44"/>
                  </a:lnTo>
                  <a:lnTo>
                    <a:pt x="96" y="48"/>
                  </a:lnTo>
                  <a:lnTo>
                    <a:pt x="90" y="52"/>
                  </a:lnTo>
                  <a:lnTo>
                    <a:pt x="84" y="54"/>
                  </a:lnTo>
                  <a:lnTo>
                    <a:pt x="78" y="60"/>
                  </a:lnTo>
                  <a:lnTo>
                    <a:pt x="72" y="64"/>
                  </a:lnTo>
                  <a:lnTo>
                    <a:pt x="66" y="66"/>
                  </a:lnTo>
                  <a:lnTo>
                    <a:pt x="60" y="68"/>
                  </a:lnTo>
                  <a:lnTo>
                    <a:pt x="56" y="74"/>
                  </a:lnTo>
                  <a:lnTo>
                    <a:pt x="54" y="78"/>
                  </a:lnTo>
                  <a:lnTo>
                    <a:pt x="48" y="80"/>
                  </a:lnTo>
                  <a:lnTo>
                    <a:pt x="46" y="80"/>
                  </a:lnTo>
                  <a:lnTo>
                    <a:pt x="52" y="86"/>
                  </a:lnTo>
                  <a:lnTo>
                    <a:pt x="58" y="80"/>
                  </a:lnTo>
                  <a:lnTo>
                    <a:pt x="64" y="78"/>
                  </a:lnTo>
                  <a:lnTo>
                    <a:pt x="66" y="78"/>
                  </a:lnTo>
                  <a:lnTo>
                    <a:pt x="72" y="78"/>
                  </a:lnTo>
                  <a:lnTo>
                    <a:pt x="76" y="78"/>
                  </a:lnTo>
                  <a:lnTo>
                    <a:pt x="80" y="78"/>
                  </a:lnTo>
                  <a:lnTo>
                    <a:pt x="84" y="80"/>
                  </a:lnTo>
                  <a:lnTo>
                    <a:pt x="90" y="86"/>
                  </a:lnTo>
                  <a:lnTo>
                    <a:pt x="88" y="86"/>
                  </a:lnTo>
                  <a:lnTo>
                    <a:pt x="86" y="90"/>
                  </a:lnTo>
                  <a:lnTo>
                    <a:pt x="84" y="94"/>
                  </a:lnTo>
                  <a:lnTo>
                    <a:pt x="80" y="100"/>
                  </a:lnTo>
                  <a:lnTo>
                    <a:pt x="78" y="106"/>
                  </a:lnTo>
                  <a:lnTo>
                    <a:pt x="74" y="112"/>
                  </a:lnTo>
                  <a:lnTo>
                    <a:pt x="72" y="118"/>
                  </a:lnTo>
                  <a:lnTo>
                    <a:pt x="66" y="118"/>
                  </a:lnTo>
                  <a:lnTo>
                    <a:pt x="60" y="114"/>
                  </a:lnTo>
                  <a:lnTo>
                    <a:pt x="54" y="112"/>
                  </a:lnTo>
                  <a:lnTo>
                    <a:pt x="52" y="112"/>
                  </a:lnTo>
                  <a:lnTo>
                    <a:pt x="44" y="114"/>
                  </a:lnTo>
                  <a:lnTo>
                    <a:pt x="38" y="118"/>
                  </a:lnTo>
                  <a:lnTo>
                    <a:pt x="34" y="118"/>
                  </a:lnTo>
                  <a:lnTo>
                    <a:pt x="30" y="120"/>
                  </a:lnTo>
                  <a:lnTo>
                    <a:pt x="24" y="118"/>
                  </a:lnTo>
                  <a:lnTo>
                    <a:pt x="18" y="122"/>
                  </a:lnTo>
                  <a:lnTo>
                    <a:pt x="12" y="124"/>
                  </a:lnTo>
                  <a:lnTo>
                    <a:pt x="6" y="120"/>
                  </a:lnTo>
                  <a:lnTo>
                    <a:pt x="2" y="1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2" name="Freeform 250"/>
            <p:cNvSpPr>
              <a:spLocks/>
            </p:cNvSpPr>
            <p:nvPr/>
          </p:nvSpPr>
          <p:spPr bwMode="auto">
            <a:xfrm>
              <a:off x="4949825" y="4276725"/>
              <a:ext cx="50800" cy="49213"/>
            </a:xfrm>
            <a:custGeom>
              <a:avLst/>
              <a:gdLst>
                <a:gd name="T0" fmla="*/ 2147483647 w 124"/>
                <a:gd name="T1" fmla="*/ 2147483647 h 122"/>
                <a:gd name="T2" fmla="*/ 2147483647 w 124"/>
                <a:gd name="T3" fmla="*/ 2147483647 h 122"/>
                <a:gd name="T4" fmla="*/ 2147483647 w 124"/>
                <a:gd name="T5" fmla="*/ 2147483647 h 122"/>
                <a:gd name="T6" fmla="*/ 2147483647 w 124"/>
                <a:gd name="T7" fmla="*/ 2147483647 h 122"/>
                <a:gd name="T8" fmla="*/ 2147483647 w 124"/>
                <a:gd name="T9" fmla="*/ 2147483647 h 122"/>
                <a:gd name="T10" fmla="*/ 2147483647 w 124"/>
                <a:gd name="T11" fmla="*/ 2147483647 h 122"/>
                <a:gd name="T12" fmla="*/ 2147483647 w 124"/>
                <a:gd name="T13" fmla="*/ 2147483647 h 122"/>
                <a:gd name="T14" fmla="*/ 2147483647 w 124"/>
                <a:gd name="T15" fmla="*/ 2147483647 h 122"/>
                <a:gd name="T16" fmla="*/ 2147483647 w 124"/>
                <a:gd name="T17" fmla="*/ 2147483647 h 122"/>
                <a:gd name="T18" fmla="*/ 2147483647 w 124"/>
                <a:gd name="T19" fmla="*/ 2147483647 h 122"/>
                <a:gd name="T20" fmla="*/ 2147483647 w 124"/>
                <a:gd name="T21" fmla="*/ 2147483647 h 122"/>
                <a:gd name="T22" fmla="*/ 2147483647 w 124"/>
                <a:gd name="T23" fmla="*/ 2147483647 h 122"/>
                <a:gd name="T24" fmla="*/ 2147483647 w 124"/>
                <a:gd name="T25" fmla="*/ 2147483647 h 122"/>
                <a:gd name="T26" fmla="*/ 2147483647 w 124"/>
                <a:gd name="T27" fmla="*/ 2147483647 h 122"/>
                <a:gd name="T28" fmla="*/ 2147483647 w 124"/>
                <a:gd name="T29" fmla="*/ 0 h 122"/>
                <a:gd name="T30" fmla="*/ 2147483647 w 124"/>
                <a:gd name="T31" fmla="*/ 2147483647 h 122"/>
                <a:gd name="T32" fmla="*/ 2147483647 w 124"/>
                <a:gd name="T33" fmla="*/ 2147483647 h 122"/>
                <a:gd name="T34" fmla="*/ 2147483647 w 124"/>
                <a:gd name="T35" fmla="*/ 2147483647 h 122"/>
                <a:gd name="T36" fmla="*/ 2147483647 w 124"/>
                <a:gd name="T37" fmla="*/ 2147483647 h 122"/>
                <a:gd name="T38" fmla="*/ 2147483647 w 124"/>
                <a:gd name="T39" fmla="*/ 2147483647 h 122"/>
                <a:gd name="T40" fmla="*/ 2147483647 w 124"/>
                <a:gd name="T41" fmla="*/ 2147483647 h 122"/>
                <a:gd name="T42" fmla="*/ 2147483647 w 124"/>
                <a:gd name="T43" fmla="*/ 2147483647 h 122"/>
                <a:gd name="T44" fmla="*/ 2147483647 w 124"/>
                <a:gd name="T45" fmla="*/ 2147483647 h 122"/>
                <a:gd name="T46" fmla="*/ 2147483647 w 124"/>
                <a:gd name="T47" fmla="*/ 2147483647 h 122"/>
                <a:gd name="T48" fmla="*/ 2147483647 w 124"/>
                <a:gd name="T49" fmla="*/ 2147483647 h 122"/>
                <a:gd name="T50" fmla="*/ 2147483647 w 124"/>
                <a:gd name="T51" fmla="*/ 2147483647 h 122"/>
                <a:gd name="T52" fmla="*/ 2147483647 w 124"/>
                <a:gd name="T53" fmla="*/ 2147483647 h 122"/>
                <a:gd name="T54" fmla="*/ 2147483647 w 124"/>
                <a:gd name="T55" fmla="*/ 2147483647 h 122"/>
                <a:gd name="T56" fmla="*/ 2147483647 w 124"/>
                <a:gd name="T57" fmla="*/ 2147483647 h 122"/>
                <a:gd name="T58" fmla="*/ 2147483647 w 124"/>
                <a:gd name="T59" fmla="*/ 2147483647 h 122"/>
                <a:gd name="T60" fmla="*/ 2147483647 w 124"/>
                <a:gd name="T61" fmla="*/ 2147483647 h 122"/>
                <a:gd name="T62" fmla="*/ 2147483647 w 124"/>
                <a:gd name="T63" fmla="*/ 2147483647 h 122"/>
                <a:gd name="T64" fmla="*/ 2147483647 w 124"/>
                <a:gd name="T65" fmla="*/ 2147483647 h 122"/>
                <a:gd name="T66" fmla="*/ 2147483647 w 124"/>
                <a:gd name="T67" fmla="*/ 2147483647 h 122"/>
                <a:gd name="T68" fmla="*/ 2147483647 w 124"/>
                <a:gd name="T69" fmla="*/ 2147483647 h 122"/>
                <a:gd name="T70" fmla="*/ 2147483647 w 124"/>
                <a:gd name="T71" fmla="*/ 2147483647 h 122"/>
                <a:gd name="T72" fmla="*/ 2147483647 w 124"/>
                <a:gd name="T73" fmla="*/ 2147483647 h 122"/>
                <a:gd name="T74" fmla="*/ 2147483647 w 124"/>
                <a:gd name="T75" fmla="*/ 2147483647 h 122"/>
                <a:gd name="T76" fmla="*/ 2147483647 w 124"/>
                <a:gd name="T77" fmla="*/ 2147483647 h 122"/>
                <a:gd name="T78" fmla="*/ 2147483647 w 124"/>
                <a:gd name="T79" fmla="*/ 2147483647 h 122"/>
                <a:gd name="T80" fmla="*/ 2147483647 w 124"/>
                <a:gd name="T81" fmla="*/ 2147483647 h 122"/>
                <a:gd name="T82" fmla="*/ 2147483647 w 124"/>
                <a:gd name="T83" fmla="*/ 2147483647 h 122"/>
                <a:gd name="T84" fmla="*/ 2147483647 w 124"/>
                <a:gd name="T85" fmla="*/ 2147483647 h 122"/>
                <a:gd name="T86" fmla="*/ 2147483647 w 124"/>
                <a:gd name="T87" fmla="*/ 2147483647 h 1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24"/>
                <a:gd name="T133" fmla="*/ 0 h 122"/>
                <a:gd name="T134" fmla="*/ 124 w 124"/>
                <a:gd name="T135" fmla="*/ 122 h 1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24" h="122">
                  <a:moveTo>
                    <a:pt x="2" y="100"/>
                  </a:moveTo>
                  <a:lnTo>
                    <a:pt x="2" y="100"/>
                  </a:lnTo>
                  <a:lnTo>
                    <a:pt x="0" y="94"/>
                  </a:lnTo>
                  <a:lnTo>
                    <a:pt x="6" y="92"/>
                  </a:lnTo>
                  <a:lnTo>
                    <a:pt x="12" y="86"/>
                  </a:lnTo>
                  <a:lnTo>
                    <a:pt x="18" y="80"/>
                  </a:lnTo>
                  <a:lnTo>
                    <a:pt x="20" y="74"/>
                  </a:lnTo>
                  <a:lnTo>
                    <a:pt x="20" y="68"/>
                  </a:lnTo>
                  <a:lnTo>
                    <a:pt x="18" y="62"/>
                  </a:lnTo>
                  <a:lnTo>
                    <a:pt x="18" y="58"/>
                  </a:lnTo>
                  <a:lnTo>
                    <a:pt x="20" y="52"/>
                  </a:lnTo>
                  <a:lnTo>
                    <a:pt x="24" y="46"/>
                  </a:lnTo>
                  <a:lnTo>
                    <a:pt x="24" y="44"/>
                  </a:lnTo>
                  <a:lnTo>
                    <a:pt x="30" y="38"/>
                  </a:lnTo>
                  <a:lnTo>
                    <a:pt x="34" y="32"/>
                  </a:lnTo>
                  <a:lnTo>
                    <a:pt x="40" y="28"/>
                  </a:lnTo>
                  <a:lnTo>
                    <a:pt x="46" y="24"/>
                  </a:lnTo>
                  <a:lnTo>
                    <a:pt x="52" y="24"/>
                  </a:lnTo>
                  <a:lnTo>
                    <a:pt x="56" y="20"/>
                  </a:lnTo>
                  <a:lnTo>
                    <a:pt x="62" y="20"/>
                  </a:lnTo>
                  <a:lnTo>
                    <a:pt x="64" y="24"/>
                  </a:lnTo>
                  <a:lnTo>
                    <a:pt x="70" y="28"/>
                  </a:lnTo>
                  <a:lnTo>
                    <a:pt x="78" y="22"/>
                  </a:lnTo>
                  <a:lnTo>
                    <a:pt x="82" y="16"/>
                  </a:lnTo>
                  <a:lnTo>
                    <a:pt x="88" y="12"/>
                  </a:lnTo>
                  <a:lnTo>
                    <a:pt x="90" y="6"/>
                  </a:lnTo>
                  <a:lnTo>
                    <a:pt x="92" y="6"/>
                  </a:lnTo>
                  <a:lnTo>
                    <a:pt x="94" y="2"/>
                  </a:lnTo>
                  <a:lnTo>
                    <a:pt x="100" y="0"/>
                  </a:lnTo>
                  <a:lnTo>
                    <a:pt x="100" y="2"/>
                  </a:lnTo>
                  <a:lnTo>
                    <a:pt x="100" y="6"/>
                  </a:lnTo>
                  <a:lnTo>
                    <a:pt x="102" y="12"/>
                  </a:lnTo>
                  <a:lnTo>
                    <a:pt x="104" y="16"/>
                  </a:lnTo>
                  <a:lnTo>
                    <a:pt x="110" y="24"/>
                  </a:lnTo>
                  <a:lnTo>
                    <a:pt x="112" y="24"/>
                  </a:lnTo>
                  <a:lnTo>
                    <a:pt x="116" y="28"/>
                  </a:lnTo>
                  <a:lnTo>
                    <a:pt x="116" y="32"/>
                  </a:lnTo>
                  <a:lnTo>
                    <a:pt x="118" y="36"/>
                  </a:lnTo>
                  <a:lnTo>
                    <a:pt x="120" y="38"/>
                  </a:lnTo>
                  <a:lnTo>
                    <a:pt x="122" y="42"/>
                  </a:lnTo>
                  <a:lnTo>
                    <a:pt x="122" y="44"/>
                  </a:lnTo>
                  <a:lnTo>
                    <a:pt x="122" y="50"/>
                  </a:lnTo>
                  <a:lnTo>
                    <a:pt x="122" y="54"/>
                  </a:lnTo>
                  <a:lnTo>
                    <a:pt x="120" y="60"/>
                  </a:lnTo>
                  <a:lnTo>
                    <a:pt x="120" y="62"/>
                  </a:lnTo>
                  <a:lnTo>
                    <a:pt x="122" y="64"/>
                  </a:lnTo>
                  <a:lnTo>
                    <a:pt x="124" y="70"/>
                  </a:lnTo>
                  <a:lnTo>
                    <a:pt x="124" y="74"/>
                  </a:lnTo>
                  <a:lnTo>
                    <a:pt x="122" y="80"/>
                  </a:lnTo>
                  <a:lnTo>
                    <a:pt x="122" y="86"/>
                  </a:lnTo>
                  <a:lnTo>
                    <a:pt x="120" y="92"/>
                  </a:lnTo>
                  <a:lnTo>
                    <a:pt x="118" y="92"/>
                  </a:lnTo>
                  <a:lnTo>
                    <a:pt x="112" y="92"/>
                  </a:lnTo>
                  <a:lnTo>
                    <a:pt x="106" y="94"/>
                  </a:lnTo>
                  <a:lnTo>
                    <a:pt x="104" y="94"/>
                  </a:lnTo>
                  <a:lnTo>
                    <a:pt x="98" y="90"/>
                  </a:lnTo>
                  <a:lnTo>
                    <a:pt x="92" y="90"/>
                  </a:lnTo>
                  <a:lnTo>
                    <a:pt x="88" y="92"/>
                  </a:lnTo>
                  <a:lnTo>
                    <a:pt x="84" y="90"/>
                  </a:lnTo>
                  <a:lnTo>
                    <a:pt x="80" y="96"/>
                  </a:lnTo>
                  <a:lnTo>
                    <a:pt x="76" y="94"/>
                  </a:lnTo>
                  <a:lnTo>
                    <a:pt x="70" y="90"/>
                  </a:lnTo>
                  <a:lnTo>
                    <a:pt x="68" y="88"/>
                  </a:lnTo>
                  <a:lnTo>
                    <a:pt x="68" y="94"/>
                  </a:lnTo>
                  <a:lnTo>
                    <a:pt x="66" y="100"/>
                  </a:lnTo>
                  <a:lnTo>
                    <a:pt x="66" y="106"/>
                  </a:lnTo>
                  <a:lnTo>
                    <a:pt x="66" y="112"/>
                  </a:lnTo>
                  <a:lnTo>
                    <a:pt x="62" y="118"/>
                  </a:lnTo>
                  <a:lnTo>
                    <a:pt x="56" y="118"/>
                  </a:lnTo>
                  <a:lnTo>
                    <a:pt x="50" y="122"/>
                  </a:lnTo>
                  <a:lnTo>
                    <a:pt x="44" y="122"/>
                  </a:lnTo>
                  <a:lnTo>
                    <a:pt x="42" y="122"/>
                  </a:lnTo>
                  <a:lnTo>
                    <a:pt x="36" y="122"/>
                  </a:lnTo>
                  <a:lnTo>
                    <a:pt x="30" y="122"/>
                  </a:lnTo>
                  <a:lnTo>
                    <a:pt x="30" y="114"/>
                  </a:lnTo>
                  <a:lnTo>
                    <a:pt x="24" y="110"/>
                  </a:lnTo>
                  <a:lnTo>
                    <a:pt x="18" y="108"/>
                  </a:lnTo>
                  <a:lnTo>
                    <a:pt x="12" y="110"/>
                  </a:lnTo>
                  <a:lnTo>
                    <a:pt x="12" y="118"/>
                  </a:lnTo>
                  <a:lnTo>
                    <a:pt x="10" y="118"/>
                  </a:lnTo>
                  <a:lnTo>
                    <a:pt x="8" y="114"/>
                  </a:lnTo>
                  <a:lnTo>
                    <a:pt x="4" y="112"/>
                  </a:lnTo>
                  <a:lnTo>
                    <a:pt x="2" y="106"/>
                  </a:lnTo>
                  <a:lnTo>
                    <a:pt x="2" y="10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3" name="Freeform 251"/>
            <p:cNvSpPr>
              <a:spLocks/>
            </p:cNvSpPr>
            <p:nvPr/>
          </p:nvSpPr>
          <p:spPr bwMode="auto">
            <a:xfrm>
              <a:off x="4229100" y="3929063"/>
              <a:ext cx="47625" cy="144462"/>
            </a:xfrm>
            <a:custGeom>
              <a:avLst/>
              <a:gdLst>
                <a:gd name="T0" fmla="*/ 2147483647 w 118"/>
                <a:gd name="T1" fmla="*/ 2147483647 h 350"/>
                <a:gd name="T2" fmla="*/ 2147483647 w 118"/>
                <a:gd name="T3" fmla="*/ 2147483647 h 350"/>
                <a:gd name="T4" fmla="*/ 2147483647 w 118"/>
                <a:gd name="T5" fmla="*/ 2147483647 h 350"/>
                <a:gd name="T6" fmla="*/ 2147483647 w 118"/>
                <a:gd name="T7" fmla="*/ 2147483647 h 350"/>
                <a:gd name="T8" fmla="*/ 2147483647 w 118"/>
                <a:gd name="T9" fmla="*/ 2147483647 h 350"/>
                <a:gd name="T10" fmla="*/ 2147483647 w 118"/>
                <a:gd name="T11" fmla="*/ 2147483647 h 350"/>
                <a:gd name="T12" fmla="*/ 2147483647 w 118"/>
                <a:gd name="T13" fmla="*/ 2147483647 h 350"/>
                <a:gd name="T14" fmla="*/ 2147483647 w 118"/>
                <a:gd name="T15" fmla="*/ 2147483647 h 350"/>
                <a:gd name="T16" fmla="*/ 2147483647 w 118"/>
                <a:gd name="T17" fmla="*/ 2147483647 h 350"/>
                <a:gd name="T18" fmla="*/ 2147483647 w 118"/>
                <a:gd name="T19" fmla="*/ 2147483647 h 350"/>
                <a:gd name="T20" fmla="*/ 2147483647 w 118"/>
                <a:gd name="T21" fmla="*/ 2147483647 h 350"/>
                <a:gd name="T22" fmla="*/ 2147483647 w 118"/>
                <a:gd name="T23" fmla="*/ 2147483647 h 350"/>
                <a:gd name="T24" fmla="*/ 2147483647 w 118"/>
                <a:gd name="T25" fmla="*/ 2147483647 h 350"/>
                <a:gd name="T26" fmla="*/ 2147483647 w 118"/>
                <a:gd name="T27" fmla="*/ 2147483647 h 350"/>
                <a:gd name="T28" fmla="*/ 2147483647 w 118"/>
                <a:gd name="T29" fmla="*/ 2147483647 h 350"/>
                <a:gd name="T30" fmla="*/ 2147483647 w 118"/>
                <a:gd name="T31" fmla="*/ 2147483647 h 350"/>
                <a:gd name="T32" fmla="*/ 2147483647 w 118"/>
                <a:gd name="T33" fmla="*/ 2147483647 h 350"/>
                <a:gd name="T34" fmla="*/ 2147483647 w 118"/>
                <a:gd name="T35" fmla="*/ 2147483647 h 350"/>
                <a:gd name="T36" fmla="*/ 2147483647 w 118"/>
                <a:gd name="T37" fmla="*/ 2147483647 h 350"/>
                <a:gd name="T38" fmla="*/ 2147483647 w 118"/>
                <a:gd name="T39" fmla="*/ 2147483647 h 350"/>
                <a:gd name="T40" fmla="*/ 2147483647 w 118"/>
                <a:gd name="T41" fmla="*/ 2147483647 h 350"/>
                <a:gd name="T42" fmla="*/ 2147483647 w 118"/>
                <a:gd name="T43" fmla="*/ 2147483647 h 350"/>
                <a:gd name="T44" fmla="*/ 2147483647 w 118"/>
                <a:gd name="T45" fmla="*/ 2147483647 h 350"/>
                <a:gd name="T46" fmla="*/ 2147483647 w 118"/>
                <a:gd name="T47" fmla="*/ 2147483647 h 350"/>
                <a:gd name="T48" fmla="*/ 2147483647 w 118"/>
                <a:gd name="T49" fmla="*/ 2147483647 h 350"/>
                <a:gd name="T50" fmla="*/ 2147483647 w 118"/>
                <a:gd name="T51" fmla="*/ 2147483647 h 350"/>
                <a:gd name="T52" fmla="*/ 2147483647 w 118"/>
                <a:gd name="T53" fmla="*/ 2147483647 h 350"/>
                <a:gd name="T54" fmla="*/ 2147483647 w 118"/>
                <a:gd name="T55" fmla="*/ 2147483647 h 350"/>
                <a:gd name="T56" fmla="*/ 2147483647 w 118"/>
                <a:gd name="T57" fmla="*/ 2147483647 h 350"/>
                <a:gd name="T58" fmla="*/ 2147483647 w 118"/>
                <a:gd name="T59" fmla="*/ 2147483647 h 350"/>
                <a:gd name="T60" fmla="*/ 2147483647 w 118"/>
                <a:gd name="T61" fmla="*/ 2147483647 h 350"/>
                <a:gd name="T62" fmla="*/ 2147483647 w 118"/>
                <a:gd name="T63" fmla="*/ 2147483647 h 350"/>
                <a:gd name="T64" fmla="*/ 2147483647 w 118"/>
                <a:gd name="T65" fmla="*/ 2147483647 h 350"/>
                <a:gd name="T66" fmla="*/ 2147483647 w 118"/>
                <a:gd name="T67" fmla="*/ 2147483647 h 350"/>
                <a:gd name="T68" fmla="*/ 2147483647 w 118"/>
                <a:gd name="T69" fmla="*/ 2147483647 h 350"/>
                <a:gd name="T70" fmla="*/ 2147483647 w 118"/>
                <a:gd name="T71" fmla="*/ 2147483647 h 350"/>
                <a:gd name="T72" fmla="*/ 2147483647 w 118"/>
                <a:gd name="T73" fmla="*/ 2147483647 h 350"/>
                <a:gd name="T74" fmla="*/ 2147483647 w 118"/>
                <a:gd name="T75" fmla="*/ 2147483647 h 350"/>
                <a:gd name="T76" fmla="*/ 2147483647 w 118"/>
                <a:gd name="T77" fmla="*/ 2147483647 h 350"/>
                <a:gd name="T78" fmla="*/ 2147483647 w 118"/>
                <a:gd name="T79" fmla="*/ 2147483647 h 350"/>
                <a:gd name="T80" fmla="*/ 2147483647 w 118"/>
                <a:gd name="T81" fmla="*/ 2147483647 h 350"/>
                <a:gd name="T82" fmla="*/ 2147483647 w 118"/>
                <a:gd name="T83" fmla="*/ 2147483647 h 350"/>
                <a:gd name="T84" fmla="*/ 2147483647 w 118"/>
                <a:gd name="T85" fmla="*/ 2147483647 h 350"/>
                <a:gd name="T86" fmla="*/ 2147483647 w 118"/>
                <a:gd name="T87" fmla="*/ 2147483647 h 350"/>
                <a:gd name="T88" fmla="*/ 2147483647 w 118"/>
                <a:gd name="T89" fmla="*/ 2147483647 h 350"/>
                <a:gd name="T90" fmla="*/ 2147483647 w 118"/>
                <a:gd name="T91" fmla="*/ 2147483647 h 350"/>
                <a:gd name="T92" fmla="*/ 2147483647 w 118"/>
                <a:gd name="T93" fmla="*/ 2147483647 h 350"/>
                <a:gd name="T94" fmla="*/ 2147483647 w 118"/>
                <a:gd name="T95" fmla="*/ 2147483647 h 350"/>
                <a:gd name="T96" fmla="*/ 2147483647 w 118"/>
                <a:gd name="T97" fmla="*/ 2147483647 h 350"/>
                <a:gd name="T98" fmla="*/ 2147483647 w 118"/>
                <a:gd name="T99" fmla="*/ 2147483647 h 350"/>
                <a:gd name="T100" fmla="*/ 2147483647 w 118"/>
                <a:gd name="T101" fmla="*/ 2147483647 h 350"/>
                <a:gd name="T102" fmla="*/ 2147483647 w 118"/>
                <a:gd name="T103" fmla="*/ 2147483647 h 350"/>
                <a:gd name="T104" fmla="*/ 2147483647 w 118"/>
                <a:gd name="T105" fmla="*/ 2147483647 h 350"/>
                <a:gd name="T106" fmla="*/ 2147483647 w 118"/>
                <a:gd name="T107" fmla="*/ 2147483647 h 350"/>
                <a:gd name="T108" fmla="*/ 2147483647 w 118"/>
                <a:gd name="T109" fmla="*/ 2147483647 h 350"/>
                <a:gd name="T110" fmla="*/ 2147483647 w 118"/>
                <a:gd name="T111" fmla="*/ 2147483647 h 350"/>
                <a:gd name="T112" fmla="*/ 0 w 118"/>
                <a:gd name="T113" fmla="*/ 0 h 3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18"/>
                <a:gd name="T172" fmla="*/ 0 h 350"/>
                <a:gd name="T173" fmla="*/ 118 w 118"/>
                <a:gd name="T174" fmla="*/ 350 h 3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18" h="350">
                  <a:moveTo>
                    <a:pt x="0" y="0"/>
                  </a:moveTo>
                  <a:lnTo>
                    <a:pt x="4" y="2"/>
                  </a:lnTo>
                  <a:lnTo>
                    <a:pt x="10" y="4"/>
                  </a:lnTo>
                  <a:lnTo>
                    <a:pt x="12" y="4"/>
                  </a:lnTo>
                  <a:lnTo>
                    <a:pt x="18" y="4"/>
                  </a:lnTo>
                  <a:lnTo>
                    <a:pt x="24" y="6"/>
                  </a:lnTo>
                  <a:lnTo>
                    <a:pt x="30" y="8"/>
                  </a:lnTo>
                  <a:lnTo>
                    <a:pt x="36" y="8"/>
                  </a:lnTo>
                  <a:lnTo>
                    <a:pt x="42" y="14"/>
                  </a:lnTo>
                  <a:lnTo>
                    <a:pt x="50" y="12"/>
                  </a:lnTo>
                  <a:lnTo>
                    <a:pt x="56" y="10"/>
                  </a:lnTo>
                  <a:lnTo>
                    <a:pt x="60" y="10"/>
                  </a:lnTo>
                  <a:lnTo>
                    <a:pt x="66" y="10"/>
                  </a:lnTo>
                  <a:lnTo>
                    <a:pt x="64" y="16"/>
                  </a:lnTo>
                  <a:lnTo>
                    <a:pt x="64" y="22"/>
                  </a:lnTo>
                  <a:lnTo>
                    <a:pt x="60" y="30"/>
                  </a:lnTo>
                  <a:lnTo>
                    <a:pt x="58" y="30"/>
                  </a:lnTo>
                  <a:lnTo>
                    <a:pt x="60" y="36"/>
                  </a:lnTo>
                  <a:lnTo>
                    <a:pt x="58" y="42"/>
                  </a:lnTo>
                  <a:lnTo>
                    <a:pt x="58" y="48"/>
                  </a:lnTo>
                  <a:lnTo>
                    <a:pt x="58" y="54"/>
                  </a:lnTo>
                  <a:lnTo>
                    <a:pt x="64" y="60"/>
                  </a:lnTo>
                  <a:lnTo>
                    <a:pt x="70" y="64"/>
                  </a:lnTo>
                  <a:lnTo>
                    <a:pt x="76" y="68"/>
                  </a:lnTo>
                  <a:lnTo>
                    <a:pt x="78" y="70"/>
                  </a:lnTo>
                  <a:lnTo>
                    <a:pt x="82" y="72"/>
                  </a:lnTo>
                  <a:lnTo>
                    <a:pt x="86" y="76"/>
                  </a:lnTo>
                  <a:lnTo>
                    <a:pt x="92" y="80"/>
                  </a:lnTo>
                  <a:lnTo>
                    <a:pt x="92" y="86"/>
                  </a:lnTo>
                  <a:lnTo>
                    <a:pt x="92" y="92"/>
                  </a:lnTo>
                  <a:lnTo>
                    <a:pt x="92" y="98"/>
                  </a:lnTo>
                  <a:lnTo>
                    <a:pt x="92" y="104"/>
                  </a:lnTo>
                  <a:lnTo>
                    <a:pt x="92" y="110"/>
                  </a:lnTo>
                  <a:lnTo>
                    <a:pt x="92" y="116"/>
                  </a:lnTo>
                  <a:lnTo>
                    <a:pt x="94" y="118"/>
                  </a:lnTo>
                  <a:lnTo>
                    <a:pt x="94" y="126"/>
                  </a:lnTo>
                  <a:lnTo>
                    <a:pt x="96" y="128"/>
                  </a:lnTo>
                  <a:lnTo>
                    <a:pt x="98" y="130"/>
                  </a:lnTo>
                  <a:lnTo>
                    <a:pt x="102" y="136"/>
                  </a:lnTo>
                  <a:lnTo>
                    <a:pt x="106" y="142"/>
                  </a:lnTo>
                  <a:lnTo>
                    <a:pt x="108" y="148"/>
                  </a:lnTo>
                  <a:lnTo>
                    <a:pt x="108" y="154"/>
                  </a:lnTo>
                  <a:lnTo>
                    <a:pt x="108" y="160"/>
                  </a:lnTo>
                  <a:lnTo>
                    <a:pt x="108" y="166"/>
                  </a:lnTo>
                  <a:lnTo>
                    <a:pt x="108" y="170"/>
                  </a:lnTo>
                  <a:lnTo>
                    <a:pt x="108" y="176"/>
                  </a:lnTo>
                  <a:lnTo>
                    <a:pt x="108" y="178"/>
                  </a:lnTo>
                  <a:lnTo>
                    <a:pt x="110" y="184"/>
                  </a:lnTo>
                  <a:lnTo>
                    <a:pt x="108" y="190"/>
                  </a:lnTo>
                  <a:lnTo>
                    <a:pt x="108" y="192"/>
                  </a:lnTo>
                  <a:lnTo>
                    <a:pt x="108" y="200"/>
                  </a:lnTo>
                  <a:lnTo>
                    <a:pt x="108" y="206"/>
                  </a:lnTo>
                  <a:lnTo>
                    <a:pt x="108" y="212"/>
                  </a:lnTo>
                  <a:lnTo>
                    <a:pt x="108" y="216"/>
                  </a:lnTo>
                  <a:lnTo>
                    <a:pt x="108" y="224"/>
                  </a:lnTo>
                  <a:lnTo>
                    <a:pt x="108" y="228"/>
                  </a:lnTo>
                  <a:lnTo>
                    <a:pt x="108" y="234"/>
                  </a:lnTo>
                  <a:lnTo>
                    <a:pt x="108" y="242"/>
                  </a:lnTo>
                  <a:lnTo>
                    <a:pt x="110" y="246"/>
                  </a:lnTo>
                  <a:lnTo>
                    <a:pt x="110" y="250"/>
                  </a:lnTo>
                  <a:lnTo>
                    <a:pt x="108" y="256"/>
                  </a:lnTo>
                  <a:lnTo>
                    <a:pt x="108" y="258"/>
                  </a:lnTo>
                  <a:lnTo>
                    <a:pt x="108" y="266"/>
                  </a:lnTo>
                  <a:lnTo>
                    <a:pt x="108" y="272"/>
                  </a:lnTo>
                  <a:lnTo>
                    <a:pt x="108" y="278"/>
                  </a:lnTo>
                  <a:lnTo>
                    <a:pt x="108" y="284"/>
                  </a:lnTo>
                  <a:lnTo>
                    <a:pt x="108" y="288"/>
                  </a:lnTo>
                  <a:lnTo>
                    <a:pt x="102" y="288"/>
                  </a:lnTo>
                  <a:lnTo>
                    <a:pt x="104" y="294"/>
                  </a:lnTo>
                  <a:lnTo>
                    <a:pt x="106" y="300"/>
                  </a:lnTo>
                  <a:lnTo>
                    <a:pt x="106" y="306"/>
                  </a:lnTo>
                  <a:lnTo>
                    <a:pt x="106" y="312"/>
                  </a:lnTo>
                  <a:lnTo>
                    <a:pt x="110" y="318"/>
                  </a:lnTo>
                  <a:lnTo>
                    <a:pt x="110" y="316"/>
                  </a:lnTo>
                  <a:lnTo>
                    <a:pt x="112" y="322"/>
                  </a:lnTo>
                  <a:lnTo>
                    <a:pt x="116" y="328"/>
                  </a:lnTo>
                  <a:lnTo>
                    <a:pt x="118" y="334"/>
                  </a:lnTo>
                  <a:lnTo>
                    <a:pt x="118" y="338"/>
                  </a:lnTo>
                  <a:lnTo>
                    <a:pt x="112" y="338"/>
                  </a:lnTo>
                  <a:lnTo>
                    <a:pt x="108" y="340"/>
                  </a:lnTo>
                  <a:lnTo>
                    <a:pt x="108" y="342"/>
                  </a:lnTo>
                  <a:lnTo>
                    <a:pt x="106" y="342"/>
                  </a:lnTo>
                  <a:lnTo>
                    <a:pt x="100" y="344"/>
                  </a:lnTo>
                  <a:lnTo>
                    <a:pt x="94" y="346"/>
                  </a:lnTo>
                  <a:lnTo>
                    <a:pt x="86" y="346"/>
                  </a:lnTo>
                  <a:lnTo>
                    <a:pt x="82" y="350"/>
                  </a:lnTo>
                  <a:lnTo>
                    <a:pt x="82" y="348"/>
                  </a:lnTo>
                  <a:lnTo>
                    <a:pt x="82" y="346"/>
                  </a:lnTo>
                  <a:lnTo>
                    <a:pt x="76" y="346"/>
                  </a:lnTo>
                  <a:lnTo>
                    <a:pt x="70" y="340"/>
                  </a:lnTo>
                  <a:lnTo>
                    <a:pt x="64" y="334"/>
                  </a:lnTo>
                  <a:lnTo>
                    <a:pt x="58" y="328"/>
                  </a:lnTo>
                  <a:lnTo>
                    <a:pt x="52" y="322"/>
                  </a:lnTo>
                  <a:lnTo>
                    <a:pt x="52" y="320"/>
                  </a:lnTo>
                  <a:lnTo>
                    <a:pt x="50" y="316"/>
                  </a:lnTo>
                  <a:lnTo>
                    <a:pt x="48" y="310"/>
                  </a:lnTo>
                  <a:lnTo>
                    <a:pt x="44" y="304"/>
                  </a:lnTo>
                  <a:lnTo>
                    <a:pt x="40" y="300"/>
                  </a:lnTo>
                  <a:lnTo>
                    <a:pt x="42" y="294"/>
                  </a:lnTo>
                  <a:lnTo>
                    <a:pt x="40" y="290"/>
                  </a:lnTo>
                  <a:lnTo>
                    <a:pt x="46" y="284"/>
                  </a:lnTo>
                  <a:lnTo>
                    <a:pt x="46" y="280"/>
                  </a:lnTo>
                  <a:lnTo>
                    <a:pt x="48" y="274"/>
                  </a:lnTo>
                  <a:lnTo>
                    <a:pt x="48" y="268"/>
                  </a:lnTo>
                  <a:lnTo>
                    <a:pt x="48" y="262"/>
                  </a:lnTo>
                  <a:lnTo>
                    <a:pt x="42" y="260"/>
                  </a:lnTo>
                  <a:lnTo>
                    <a:pt x="40" y="254"/>
                  </a:lnTo>
                  <a:lnTo>
                    <a:pt x="40" y="248"/>
                  </a:lnTo>
                  <a:lnTo>
                    <a:pt x="40" y="246"/>
                  </a:lnTo>
                  <a:lnTo>
                    <a:pt x="44" y="242"/>
                  </a:lnTo>
                  <a:lnTo>
                    <a:pt x="46" y="236"/>
                  </a:lnTo>
                  <a:lnTo>
                    <a:pt x="46" y="228"/>
                  </a:lnTo>
                  <a:lnTo>
                    <a:pt x="46" y="226"/>
                  </a:lnTo>
                  <a:lnTo>
                    <a:pt x="46" y="220"/>
                  </a:lnTo>
                  <a:lnTo>
                    <a:pt x="46" y="212"/>
                  </a:lnTo>
                  <a:lnTo>
                    <a:pt x="46" y="208"/>
                  </a:lnTo>
                  <a:lnTo>
                    <a:pt x="48" y="202"/>
                  </a:lnTo>
                  <a:lnTo>
                    <a:pt x="52" y="196"/>
                  </a:lnTo>
                  <a:lnTo>
                    <a:pt x="50" y="190"/>
                  </a:lnTo>
                  <a:lnTo>
                    <a:pt x="48" y="184"/>
                  </a:lnTo>
                  <a:lnTo>
                    <a:pt x="40" y="180"/>
                  </a:lnTo>
                  <a:lnTo>
                    <a:pt x="36" y="174"/>
                  </a:lnTo>
                  <a:lnTo>
                    <a:pt x="34" y="168"/>
                  </a:lnTo>
                  <a:lnTo>
                    <a:pt x="32" y="166"/>
                  </a:lnTo>
                  <a:lnTo>
                    <a:pt x="38" y="164"/>
                  </a:lnTo>
                  <a:lnTo>
                    <a:pt x="38" y="162"/>
                  </a:lnTo>
                  <a:lnTo>
                    <a:pt x="40" y="160"/>
                  </a:lnTo>
                  <a:lnTo>
                    <a:pt x="40" y="152"/>
                  </a:lnTo>
                  <a:lnTo>
                    <a:pt x="36" y="148"/>
                  </a:lnTo>
                  <a:lnTo>
                    <a:pt x="38" y="142"/>
                  </a:lnTo>
                  <a:lnTo>
                    <a:pt x="42" y="136"/>
                  </a:lnTo>
                  <a:lnTo>
                    <a:pt x="40" y="130"/>
                  </a:lnTo>
                  <a:lnTo>
                    <a:pt x="42" y="124"/>
                  </a:lnTo>
                  <a:lnTo>
                    <a:pt x="40" y="118"/>
                  </a:lnTo>
                  <a:lnTo>
                    <a:pt x="34" y="114"/>
                  </a:lnTo>
                  <a:lnTo>
                    <a:pt x="28" y="118"/>
                  </a:lnTo>
                  <a:lnTo>
                    <a:pt x="22" y="118"/>
                  </a:lnTo>
                  <a:lnTo>
                    <a:pt x="26" y="116"/>
                  </a:lnTo>
                  <a:lnTo>
                    <a:pt x="26" y="110"/>
                  </a:lnTo>
                  <a:lnTo>
                    <a:pt x="32" y="110"/>
                  </a:lnTo>
                  <a:lnTo>
                    <a:pt x="30" y="104"/>
                  </a:lnTo>
                  <a:lnTo>
                    <a:pt x="30" y="98"/>
                  </a:lnTo>
                  <a:lnTo>
                    <a:pt x="30" y="92"/>
                  </a:lnTo>
                  <a:lnTo>
                    <a:pt x="30" y="86"/>
                  </a:lnTo>
                  <a:lnTo>
                    <a:pt x="30" y="80"/>
                  </a:lnTo>
                  <a:lnTo>
                    <a:pt x="34" y="78"/>
                  </a:lnTo>
                  <a:lnTo>
                    <a:pt x="34" y="76"/>
                  </a:lnTo>
                  <a:lnTo>
                    <a:pt x="32" y="72"/>
                  </a:lnTo>
                  <a:lnTo>
                    <a:pt x="30" y="66"/>
                  </a:lnTo>
                  <a:lnTo>
                    <a:pt x="32" y="60"/>
                  </a:lnTo>
                  <a:lnTo>
                    <a:pt x="34" y="58"/>
                  </a:lnTo>
                  <a:lnTo>
                    <a:pt x="28" y="54"/>
                  </a:lnTo>
                  <a:lnTo>
                    <a:pt x="22" y="52"/>
                  </a:lnTo>
                  <a:lnTo>
                    <a:pt x="18" y="46"/>
                  </a:lnTo>
                  <a:lnTo>
                    <a:pt x="18" y="44"/>
                  </a:lnTo>
                  <a:lnTo>
                    <a:pt x="12" y="38"/>
                  </a:lnTo>
                  <a:lnTo>
                    <a:pt x="10" y="38"/>
                  </a:lnTo>
                  <a:lnTo>
                    <a:pt x="4" y="32"/>
                  </a:lnTo>
                  <a:lnTo>
                    <a:pt x="4" y="30"/>
                  </a:lnTo>
                  <a:lnTo>
                    <a:pt x="6" y="26"/>
                  </a:lnTo>
                  <a:lnTo>
                    <a:pt x="10" y="20"/>
                  </a:lnTo>
                  <a:lnTo>
                    <a:pt x="10" y="12"/>
                  </a:lnTo>
                  <a:lnTo>
                    <a:pt x="12" y="12"/>
                  </a:lnTo>
                  <a:lnTo>
                    <a:pt x="12" y="6"/>
                  </a:lnTo>
                  <a:lnTo>
                    <a:pt x="10" y="4"/>
                  </a:lnTo>
                  <a:lnTo>
                    <a:pt x="4" y="4"/>
                  </a:lnTo>
                  <a:lnTo>
                    <a:pt x="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4" name="Freeform 252"/>
            <p:cNvSpPr>
              <a:spLocks/>
            </p:cNvSpPr>
            <p:nvPr/>
          </p:nvSpPr>
          <p:spPr bwMode="auto">
            <a:xfrm>
              <a:off x="4983163" y="4978400"/>
              <a:ext cx="31750" cy="46038"/>
            </a:xfrm>
            <a:custGeom>
              <a:avLst/>
              <a:gdLst>
                <a:gd name="T0" fmla="*/ 0 w 78"/>
                <a:gd name="T1" fmla="*/ 2147483647 h 110"/>
                <a:gd name="T2" fmla="*/ 0 w 78"/>
                <a:gd name="T3" fmla="*/ 2147483647 h 110"/>
                <a:gd name="T4" fmla="*/ 0 w 78"/>
                <a:gd name="T5" fmla="*/ 2147483647 h 110"/>
                <a:gd name="T6" fmla="*/ 0 w 78"/>
                <a:gd name="T7" fmla="*/ 2147483647 h 110"/>
                <a:gd name="T8" fmla="*/ 0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2147483647 h 110"/>
                <a:gd name="T18" fmla="*/ 2147483647 w 78"/>
                <a:gd name="T19" fmla="*/ 2147483647 h 110"/>
                <a:gd name="T20" fmla="*/ 2147483647 w 78"/>
                <a:gd name="T21" fmla="*/ 2147483647 h 110"/>
                <a:gd name="T22" fmla="*/ 2147483647 w 78"/>
                <a:gd name="T23" fmla="*/ 2147483647 h 110"/>
                <a:gd name="T24" fmla="*/ 2147483647 w 78"/>
                <a:gd name="T25" fmla="*/ 2147483647 h 110"/>
                <a:gd name="T26" fmla="*/ 2147483647 w 78"/>
                <a:gd name="T27" fmla="*/ 2147483647 h 110"/>
                <a:gd name="T28" fmla="*/ 2147483647 w 78"/>
                <a:gd name="T29" fmla="*/ 2147483647 h 110"/>
                <a:gd name="T30" fmla="*/ 2147483647 w 78"/>
                <a:gd name="T31" fmla="*/ 0 h 110"/>
                <a:gd name="T32" fmla="*/ 2147483647 w 78"/>
                <a:gd name="T33" fmla="*/ 2147483647 h 110"/>
                <a:gd name="T34" fmla="*/ 2147483647 w 78"/>
                <a:gd name="T35" fmla="*/ 2147483647 h 110"/>
                <a:gd name="T36" fmla="*/ 2147483647 w 78"/>
                <a:gd name="T37" fmla="*/ 2147483647 h 110"/>
                <a:gd name="T38" fmla="*/ 2147483647 w 78"/>
                <a:gd name="T39" fmla="*/ 2147483647 h 110"/>
                <a:gd name="T40" fmla="*/ 2147483647 w 78"/>
                <a:gd name="T41" fmla="*/ 2147483647 h 110"/>
                <a:gd name="T42" fmla="*/ 2147483647 w 78"/>
                <a:gd name="T43" fmla="*/ 2147483647 h 110"/>
                <a:gd name="T44" fmla="*/ 2147483647 w 78"/>
                <a:gd name="T45" fmla="*/ 2147483647 h 110"/>
                <a:gd name="T46" fmla="*/ 2147483647 w 78"/>
                <a:gd name="T47" fmla="*/ 2147483647 h 110"/>
                <a:gd name="T48" fmla="*/ 2147483647 w 78"/>
                <a:gd name="T49" fmla="*/ 2147483647 h 110"/>
                <a:gd name="T50" fmla="*/ 2147483647 w 78"/>
                <a:gd name="T51" fmla="*/ 2147483647 h 110"/>
                <a:gd name="T52" fmla="*/ 2147483647 w 78"/>
                <a:gd name="T53" fmla="*/ 2147483647 h 110"/>
                <a:gd name="T54" fmla="*/ 2147483647 w 78"/>
                <a:gd name="T55" fmla="*/ 2147483647 h 110"/>
                <a:gd name="T56" fmla="*/ 2147483647 w 78"/>
                <a:gd name="T57" fmla="*/ 2147483647 h 110"/>
                <a:gd name="T58" fmla="*/ 2147483647 w 78"/>
                <a:gd name="T59" fmla="*/ 2147483647 h 110"/>
                <a:gd name="T60" fmla="*/ 2147483647 w 78"/>
                <a:gd name="T61" fmla="*/ 2147483647 h 110"/>
                <a:gd name="T62" fmla="*/ 2147483647 w 78"/>
                <a:gd name="T63" fmla="*/ 2147483647 h 110"/>
                <a:gd name="T64" fmla="*/ 2147483647 w 78"/>
                <a:gd name="T65" fmla="*/ 2147483647 h 110"/>
                <a:gd name="T66" fmla="*/ 2147483647 w 78"/>
                <a:gd name="T67" fmla="*/ 2147483647 h 110"/>
                <a:gd name="T68" fmla="*/ 2147483647 w 78"/>
                <a:gd name="T69" fmla="*/ 2147483647 h 110"/>
                <a:gd name="T70" fmla="*/ 2147483647 w 78"/>
                <a:gd name="T71" fmla="*/ 2147483647 h 110"/>
                <a:gd name="T72" fmla="*/ 2147483647 w 78"/>
                <a:gd name="T73" fmla="*/ 2147483647 h 110"/>
                <a:gd name="T74" fmla="*/ 2147483647 w 78"/>
                <a:gd name="T75" fmla="*/ 2147483647 h 110"/>
                <a:gd name="T76" fmla="*/ 2147483647 w 78"/>
                <a:gd name="T77" fmla="*/ 2147483647 h 110"/>
                <a:gd name="T78" fmla="*/ 2147483647 w 78"/>
                <a:gd name="T79" fmla="*/ 2147483647 h 110"/>
                <a:gd name="T80" fmla="*/ 2147483647 w 78"/>
                <a:gd name="T81" fmla="*/ 2147483647 h 110"/>
                <a:gd name="T82" fmla="*/ 2147483647 w 78"/>
                <a:gd name="T83" fmla="*/ 2147483647 h 110"/>
                <a:gd name="T84" fmla="*/ 2147483647 w 78"/>
                <a:gd name="T85" fmla="*/ 2147483647 h 110"/>
                <a:gd name="T86" fmla="*/ 2147483647 w 78"/>
                <a:gd name="T87" fmla="*/ 2147483647 h 110"/>
                <a:gd name="T88" fmla="*/ 2147483647 w 78"/>
                <a:gd name="T89" fmla="*/ 2147483647 h 110"/>
                <a:gd name="T90" fmla="*/ 2147483647 w 78"/>
                <a:gd name="T91" fmla="*/ 2147483647 h 110"/>
                <a:gd name="T92" fmla="*/ 2147483647 w 78"/>
                <a:gd name="T93" fmla="*/ 2147483647 h 110"/>
                <a:gd name="T94" fmla="*/ 2147483647 w 78"/>
                <a:gd name="T95" fmla="*/ 2147483647 h 110"/>
                <a:gd name="T96" fmla="*/ 2147483647 w 78"/>
                <a:gd name="T97" fmla="*/ 2147483647 h 110"/>
                <a:gd name="T98" fmla="*/ 2147483647 w 78"/>
                <a:gd name="T99" fmla="*/ 2147483647 h 110"/>
                <a:gd name="T100" fmla="*/ 2147483647 w 78"/>
                <a:gd name="T101" fmla="*/ 2147483647 h 110"/>
                <a:gd name="T102" fmla="*/ 2147483647 w 78"/>
                <a:gd name="T103" fmla="*/ 2147483647 h 110"/>
                <a:gd name="T104" fmla="*/ 2147483647 w 78"/>
                <a:gd name="T105" fmla="*/ 2147483647 h 110"/>
                <a:gd name="T106" fmla="*/ 2147483647 w 78"/>
                <a:gd name="T107" fmla="*/ 2147483647 h 110"/>
                <a:gd name="T108" fmla="*/ 2147483647 w 78"/>
                <a:gd name="T109" fmla="*/ 2147483647 h 110"/>
                <a:gd name="T110" fmla="*/ 2147483647 w 78"/>
                <a:gd name="T111" fmla="*/ 2147483647 h 110"/>
                <a:gd name="T112" fmla="*/ 2147483647 w 78"/>
                <a:gd name="T113" fmla="*/ 2147483647 h 110"/>
                <a:gd name="T114" fmla="*/ 2147483647 w 78"/>
                <a:gd name="T115" fmla="*/ 2147483647 h 110"/>
                <a:gd name="T116" fmla="*/ 0 w 78"/>
                <a:gd name="T117" fmla="*/ 2147483647 h 11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8"/>
                <a:gd name="T178" fmla="*/ 0 h 110"/>
                <a:gd name="T179" fmla="*/ 78 w 78"/>
                <a:gd name="T180" fmla="*/ 110 h 11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8" h="110">
                  <a:moveTo>
                    <a:pt x="0" y="70"/>
                  </a:moveTo>
                  <a:lnTo>
                    <a:pt x="0" y="64"/>
                  </a:lnTo>
                  <a:lnTo>
                    <a:pt x="0" y="58"/>
                  </a:lnTo>
                  <a:lnTo>
                    <a:pt x="0" y="56"/>
                  </a:lnTo>
                  <a:lnTo>
                    <a:pt x="0" y="52"/>
                  </a:lnTo>
                  <a:lnTo>
                    <a:pt x="2" y="46"/>
                  </a:lnTo>
                  <a:lnTo>
                    <a:pt x="6" y="40"/>
                  </a:lnTo>
                  <a:lnTo>
                    <a:pt x="12" y="34"/>
                  </a:lnTo>
                  <a:lnTo>
                    <a:pt x="14" y="28"/>
                  </a:lnTo>
                  <a:lnTo>
                    <a:pt x="18" y="22"/>
                  </a:lnTo>
                  <a:lnTo>
                    <a:pt x="20" y="18"/>
                  </a:lnTo>
                  <a:lnTo>
                    <a:pt x="20" y="16"/>
                  </a:lnTo>
                  <a:lnTo>
                    <a:pt x="20" y="14"/>
                  </a:lnTo>
                  <a:lnTo>
                    <a:pt x="26" y="8"/>
                  </a:lnTo>
                  <a:lnTo>
                    <a:pt x="32" y="2"/>
                  </a:lnTo>
                  <a:lnTo>
                    <a:pt x="38" y="0"/>
                  </a:lnTo>
                  <a:lnTo>
                    <a:pt x="40" y="2"/>
                  </a:lnTo>
                  <a:lnTo>
                    <a:pt x="44" y="6"/>
                  </a:lnTo>
                  <a:lnTo>
                    <a:pt x="50" y="10"/>
                  </a:lnTo>
                  <a:lnTo>
                    <a:pt x="58" y="14"/>
                  </a:lnTo>
                  <a:lnTo>
                    <a:pt x="64" y="18"/>
                  </a:lnTo>
                  <a:lnTo>
                    <a:pt x="70" y="16"/>
                  </a:lnTo>
                  <a:lnTo>
                    <a:pt x="74" y="18"/>
                  </a:lnTo>
                  <a:lnTo>
                    <a:pt x="78" y="20"/>
                  </a:lnTo>
                  <a:lnTo>
                    <a:pt x="76" y="26"/>
                  </a:lnTo>
                  <a:lnTo>
                    <a:pt x="76" y="32"/>
                  </a:lnTo>
                  <a:lnTo>
                    <a:pt x="76" y="34"/>
                  </a:lnTo>
                  <a:lnTo>
                    <a:pt x="74" y="40"/>
                  </a:lnTo>
                  <a:lnTo>
                    <a:pt x="76" y="46"/>
                  </a:lnTo>
                  <a:lnTo>
                    <a:pt x="76" y="52"/>
                  </a:lnTo>
                  <a:lnTo>
                    <a:pt x="78" y="58"/>
                  </a:lnTo>
                  <a:lnTo>
                    <a:pt x="78" y="66"/>
                  </a:lnTo>
                  <a:lnTo>
                    <a:pt x="78" y="72"/>
                  </a:lnTo>
                  <a:lnTo>
                    <a:pt x="76" y="78"/>
                  </a:lnTo>
                  <a:lnTo>
                    <a:pt x="70" y="76"/>
                  </a:lnTo>
                  <a:lnTo>
                    <a:pt x="70" y="78"/>
                  </a:lnTo>
                  <a:lnTo>
                    <a:pt x="68" y="84"/>
                  </a:lnTo>
                  <a:lnTo>
                    <a:pt x="68" y="90"/>
                  </a:lnTo>
                  <a:lnTo>
                    <a:pt x="66" y="96"/>
                  </a:lnTo>
                  <a:lnTo>
                    <a:pt x="66" y="102"/>
                  </a:lnTo>
                  <a:lnTo>
                    <a:pt x="66" y="108"/>
                  </a:lnTo>
                  <a:lnTo>
                    <a:pt x="62" y="110"/>
                  </a:lnTo>
                  <a:lnTo>
                    <a:pt x="60" y="110"/>
                  </a:lnTo>
                  <a:lnTo>
                    <a:pt x="54" y="110"/>
                  </a:lnTo>
                  <a:lnTo>
                    <a:pt x="48" y="110"/>
                  </a:lnTo>
                  <a:lnTo>
                    <a:pt x="42" y="110"/>
                  </a:lnTo>
                  <a:lnTo>
                    <a:pt x="36" y="110"/>
                  </a:lnTo>
                  <a:lnTo>
                    <a:pt x="30" y="108"/>
                  </a:lnTo>
                  <a:lnTo>
                    <a:pt x="24" y="104"/>
                  </a:lnTo>
                  <a:lnTo>
                    <a:pt x="18" y="102"/>
                  </a:lnTo>
                  <a:lnTo>
                    <a:pt x="14" y="96"/>
                  </a:lnTo>
                  <a:lnTo>
                    <a:pt x="8" y="90"/>
                  </a:lnTo>
                  <a:lnTo>
                    <a:pt x="8" y="84"/>
                  </a:lnTo>
                  <a:lnTo>
                    <a:pt x="6" y="78"/>
                  </a:lnTo>
                  <a:lnTo>
                    <a:pt x="4" y="76"/>
                  </a:lnTo>
                  <a:lnTo>
                    <a:pt x="0" y="7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5" name="Freeform 253"/>
            <p:cNvSpPr>
              <a:spLocks/>
            </p:cNvSpPr>
            <p:nvPr/>
          </p:nvSpPr>
          <p:spPr bwMode="auto">
            <a:xfrm>
              <a:off x="5040313" y="4513263"/>
              <a:ext cx="77787" cy="220662"/>
            </a:xfrm>
            <a:custGeom>
              <a:avLst/>
              <a:gdLst>
                <a:gd name="T0" fmla="*/ 2147483647 w 192"/>
                <a:gd name="T1" fmla="*/ 2147483647 h 536"/>
                <a:gd name="T2" fmla="*/ 2147483647 w 192"/>
                <a:gd name="T3" fmla="*/ 2147483647 h 536"/>
                <a:gd name="T4" fmla="*/ 2147483647 w 192"/>
                <a:gd name="T5" fmla="*/ 2147483647 h 536"/>
                <a:gd name="T6" fmla="*/ 2147483647 w 192"/>
                <a:gd name="T7" fmla="*/ 2147483647 h 536"/>
                <a:gd name="T8" fmla="*/ 2147483647 w 192"/>
                <a:gd name="T9" fmla="*/ 2147483647 h 536"/>
                <a:gd name="T10" fmla="*/ 2147483647 w 192"/>
                <a:gd name="T11" fmla="*/ 2147483647 h 536"/>
                <a:gd name="T12" fmla="*/ 2147483647 w 192"/>
                <a:gd name="T13" fmla="*/ 2147483647 h 536"/>
                <a:gd name="T14" fmla="*/ 2147483647 w 192"/>
                <a:gd name="T15" fmla="*/ 2147483647 h 536"/>
                <a:gd name="T16" fmla="*/ 2147483647 w 192"/>
                <a:gd name="T17" fmla="*/ 2147483647 h 536"/>
                <a:gd name="T18" fmla="*/ 2147483647 w 192"/>
                <a:gd name="T19" fmla="*/ 2147483647 h 536"/>
                <a:gd name="T20" fmla="*/ 2147483647 w 192"/>
                <a:gd name="T21" fmla="*/ 2147483647 h 536"/>
                <a:gd name="T22" fmla="*/ 2147483647 w 192"/>
                <a:gd name="T23" fmla="*/ 2147483647 h 536"/>
                <a:gd name="T24" fmla="*/ 2147483647 w 192"/>
                <a:gd name="T25" fmla="*/ 2147483647 h 536"/>
                <a:gd name="T26" fmla="*/ 2147483647 w 192"/>
                <a:gd name="T27" fmla="*/ 2147483647 h 536"/>
                <a:gd name="T28" fmla="*/ 2147483647 w 192"/>
                <a:gd name="T29" fmla="*/ 2147483647 h 536"/>
                <a:gd name="T30" fmla="*/ 2147483647 w 192"/>
                <a:gd name="T31" fmla="*/ 2147483647 h 536"/>
                <a:gd name="T32" fmla="*/ 2147483647 w 192"/>
                <a:gd name="T33" fmla="*/ 2147483647 h 536"/>
                <a:gd name="T34" fmla="*/ 2147483647 w 192"/>
                <a:gd name="T35" fmla="*/ 2147483647 h 536"/>
                <a:gd name="T36" fmla="*/ 2147483647 w 192"/>
                <a:gd name="T37" fmla="*/ 2147483647 h 536"/>
                <a:gd name="T38" fmla="*/ 2147483647 w 192"/>
                <a:gd name="T39" fmla="*/ 2147483647 h 536"/>
                <a:gd name="T40" fmla="*/ 2147483647 w 192"/>
                <a:gd name="T41" fmla="*/ 2147483647 h 536"/>
                <a:gd name="T42" fmla="*/ 2147483647 w 192"/>
                <a:gd name="T43" fmla="*/ 2147483647 h 536"/>
                <a:gd name="T44" fmla="*/ 2147483647 w 192"/>
                <a:gd name="T45" fmla="*/ 2147483647 h 536"/>
                <a:gd name="T46" fmla="*/ 2147483647 w 192"/>
                <a:gd name="T47" fmla="*/ 2147483647 h 536"/>
                <a:gd name="T48" fmla="*/ 2147483647 w 192"/>
                <a:gd name="T49" fmla="*/ 2147483647 h 536"/>
                <a:gd name="T50" fmla="*/ 2147483647 w 192"/>
                <a:gd name="T51" fmla="*/ 2147483647 h 536"/>
                <a:gd name="T52" fmla="*/ 2147483647 w 192"/>
                <a:gd name="T53" fmla="*/ 2147483647 h 536"/>
                <a:gd name="T54" fmla="*/ 2147483647 w 192"/>
                <a:gd name="T55" fmla="*/ 2147483647 h 536"/>
                <a:gd name="T56" fmla="*/ 2147483647 w 192"/>
                <a:gd name="T57" fmla="*/ 2147483647 h 536"/>
                <a:gd name="T58" fmla="*/ 2147483647 w 192"/>
                <a:gd name="T59" fmla="*/ 2147483647 h 536"/>
                <a:gd name="T60" fmla="*/ 2147483647 w 192"/>
                <a:gd name="T61" fmla="*/ 2147483647 h 536"/>
                <a:gd name="T62" fmla="*/ 2147483647 w 192"/>
                <a:gd name="T63" fmla="*/ 2147483647 h 536"/>
                <a:gd name="T64" fmla="*/ 2147483647 w 192"/>
                <a:gd name="T65" fmla="*/ 2147483647 h 536"/>
                <a:gd name="T66" fmla="*/ 2147483647 w 192"/>
                <a:gd name="T67" fmla="*/ 2147483647 h 536"/>
                <a:gd name="T68" fmla="*/ 2147483647 w 192"/>
                <a:gd name="T69" fmla="*/ 2147483647 h 536"/>
                <a:gd name="T70" fmla="*/ 2147483647 w 192"/>
                <a:gd name="T71" fmla="*/ 2147483647 h 536"/>
                <a:gd name="T72" fmla="*/ 2147483647 w 192"/>
                <a:gd name="T73" fmla="*/ 2147483647 h 536"/>
                <a:gd name="T74" fmla="*/ 2147483647 w 192"/>
                <a:gd name="T75" fmla="*/ 2147483647 h 536"/>
                <a:gd name="T76" fmla="*/ 2147483647 w 192"/>
                <a:gd name="T77" fmla="*/ 2147483647 h 536"/>
                <a:gd name="T78" fmla="*/ 2147483647 w 192"/>
                <a:gd name="T79" fmla="*/ 2147483647 h 536"/>
                <a:gd name="T80" fmla="*/ 2147483647 w 192"/>
                <a:gd name="T81" fmla="*/ 2147483647 h 536"/>
                <a:gd name="T82" fmla="*/ 2147483647 w 192"/>
                <a:gd name="T83" fmla="*/ 2147483647 h 536"/>
                <a:gd name="T84" fmla="*/ 2147483647 w 192"/>
                <a:gd name="T85" fmla="*/ 2147483647 h 536"/>
                <a:gd name="T86" fmla="*/ 2147483647 w 192"/>
                <a:gd name="T87" fmla="*/ 2147483647 h 536"/>
                <a:gd name="T88" fmla="*/ 2147483647 w 192"/>
                <a:gd name="T89" fmla="*/ 2147483647 h 536"/>
                <a:gd name="T90" fmla="*/ 2147483647 w 192"/>
                <a:gd name="T91" fmla="*/ 2147483647 h 536"/>
                <a:gd name="T92" fmla="*/ 2147483647 w 192"/>
                <a:gd name="T93" fmla="*/ 2147483647 h 536"/>
                <a:gd name="T94" fmla="*/ 2147483647 w 192"/>
                <a:gd name="T95" fmla="*/ 2147483647 h 536"/>
                <a:gd name="T96" fmla="*/ 2147483647 w 192"/>
                <a:gd name="T97" fmla="*/ 2147483647 h 536"/>
                <a:gd name="T98" fmla="*/ 2147483647 w 192"/>
                <a:gd name="T99" fmla="*/ 2147483647 h 536"/>
                <a:gd name="T100" fmla="*/ 2147483647 w 192"/>
                <a:gd name="T101" fmla="*/ 2147483647 h 536"/>
                <a:gd name="T102" fmla="*/ 2147483647 w 192"/>
                <a:gd name="T103" fmla="*/ 2147483647 h 536"/>
                <a:gd name="T104" fmla="*/ 2147483647 w 192"/>
                <a:gd name="T105" fmla="*/ 2147483647 h 536"/>
                <a:gd name="T106" fmla="*/ 2147483647 w 192"/>
                <a:gd name="T107" fmla="*/ 2147483647 h 536"/>
                <a:gd name="T108" fmla="*/ 2147483647 w 192"/>
                <a:gd name="T109" fmla="*/ 2147483647 h 536"/>
                <a:gd name="T110" fmla="*/ 2147483647 w 192"/>
                <a:gd name="T111" fmla="*/ 2147483647 h 536"/>
                <a:gd name="T112" fmla="*/ 2147483647 w 192"/>
                <a:gd name="T113" fmla="*/ 2147483647 h 536"/>
                <a:gd name="T114" fmla="*/ 2147483647 w 192"/>
                <a:gd name="T115" fmla="*/ 2147483647 h 536"/>
                <a:gd name="T116" fmla="*/ 2147483647 w 192"/>
                <a:gd name="T117" fmla="*/ 2147483647 h 536"/>
                <a:gd name="T118" fmla="*/ 2147483647 w 192"/>
                <a:gd name="T119" fmla="*/ 2147483647 h 536"/>
                <a:gd name="T120" fmla="*/ 2147483647 w 192"/>
                <a:gd name="T121" fmla="*/ 2147483647 h 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2"/>
                <a:gd name="T184" fmla="*/ 0 h 536"/>
                <a:gd name="T185" fmla="*/ 192 w 192"/>
                <a:gd name="T186" fmla="*/ 536 h 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2" h="536">
                  <a:moveTo>
                    <a:pt x="6" y="300"/>
                  </a:moveTo>
                  <a:lnTo>
                    <a:pt x="6" y="294"/>
                  </a:lnTo>
                  <a:lnTo>
                    <a:pt x="0" y="292"/>
                  </a:lnTo>
                  <a:lnTo>
                    <a:pt x="6" y="288"/>
                  </a:lnTo>
                  <a:lnTo>
                    <a:pt x="10" y="282"/>
                  </a:lnTo>
                  <a:lnTo>
                    <a:pt x="14" y="274"/>
                  </a:lnTo>
                  <a:lnTo>
                    <a:pt x="16" y="268"/>
                  </a:lnTo>
                  <a:lnTo>
                    <a:pt x="20" y="262"/>
                  </a:lnTo>
                  <a:lnTo>
                    <a:pt x="18" y="256"/>
                  </a:lnTo>
                  <a:lnTo>
                    <a:pt x="20" y="250"/>
                  </a:lnTo>
                  <a:lnTo>
                    <a:pt x="22" y="244"/>
                  </a:lnTo>
                  <a:lnTo>
                    <a:pt x="18" y="238"/>
                  </a:lnTo>
                  <a:lnTo>
                    <a:pt x="18" y="232"/>
                  </a:lnTo>
                  <a:lnTo>
                    <a:pt x="22" y="226"/>
                  </a:lnTo>
                  <a:lnTo>
                    <a:pt x="28" y="222"/>
                  </a:lnTo>
                  <a:lnTo>
                    <a:pt x="34" y="220"/>
                  </a:lnTo>
                  <a:lnTo>
                    <a:pt x="40" y="216"/>
                  </a:lnTo>
                  <a:lnTo>
                    <a:pt x="46" y="214"/>
                  </a:lnTo>
                  <a:lnTo>
                    <a:pt x="52" y="208"/>
                  </a:lnTo>
                  <a:lnTo>
                    <a:pt x="52" y="206"/>
                  </a:lnTo>
                  <a:lnTo>
                    <a:pt x="46" y="204"/>
                  </a:lnTo>
                  <a:lnTo>
                    <a:pt x="40" y="198"/>
                  </a:lnTo>
                  <a:lnTo>
                    <a:pt x="40" y="194"/>
                  </a:lnTo>
                  <a:lnTo>
                    <a:pt x="38" y="188"/>
                  </a:lnTo>
                  <a:lnTo>
                    <a:pt x="40" y="182"/>
                  </a:lnTo>
                  <a:lnTo>
                    <a:pt x="40" y="176"/>
                  </a:lnTo>
                  <a:lnTo>
                    <a:pt x="40" y="170"/>
                  </a:lnTo>
                  <a:lnTo>
                    <a:pt x="42" y="164"/>
                  </a:lnTo>
                  <a:lnTo>
                    <a:pt x="42" y="158"/>
                  </a:lnTo>
                  <a:lnTo>
                    <a:pt x="40" y="152"/>
                  </a:lnTo>
                  <a:lnTo>
                    <a:pt x="38" y="144"/>
                  </a:lnTo>
                  <a:lnTo>
                    <a:pt x="40" y="140"/>
                  </a:lnTo>
                  <a:lnTo>
                    <a:pt x="42" y="132"/>
                  </a:lnTo>
                  <a:lnTo>
                    <a:pt x="46" y="128"/>
                  </a:lnTo>
                  <a:lnTo>
                    <a:pt x="46" y="122"/>
                  </a:lnTo>
                  <a:lnTo>
                    <a:pt x="44" y="114"/>
                  </a:lnTo>
                  <a:lnTo>
                    <a:pt x="42" y="108"/>
                  </a:lnTo>
                  <a:lnTo>
                    <a:pt x="38" y="102"/>
                  </a:lnTo>
                  <a:lnTo>
                    <a:pt x="44" y="98"/>
                  </a:lnTo>
                  <a:lnTo>
                    <a:pt x="52" y="98"/>
                  </a:lnTo>
                  <a:lnTo>
                    <a:pt x="56" y="92"/>
                  </a:lnTo>
                  <a:lnTo>
                    <a:pt x="62" y="86"/>
                  </a:lnTo>
                  <a:lnTo>
                    <a:pt x="66" y="82"/>
                  </a:lnTo>
                  <a:lnTo>
                    <a:pt x="62" y="74"/>
                  </a:lnTo>
                  <a:lnTo>
                    <a:pt x="58" y="68"/>
                  </a:lnTo>
                  <a:lnTo>
                    <a:pt x="56" y="62"/>
                  </a:lnTo>
                  <a:lnTo>
                    <a:pt x="56" y="56"/>
                  </a:lnTo>
                  <a:lnTo>
                    <a:pt x="52" y="52"/>
                  </a:lnTo>
                  <a:lnTo>
                    <a:pt x="44" y="48"/>
                  </a:lnTo>
                  <a:lnTo>
                    <a:pt x="44" y="42"/>
                  </a:lnTo>
                  <a:lnTo>
                    <a:pt x="48" y="36"/>
                  </a:lnTo>
                  <a:lnTo>
                    <a:pt x="46" y="30"/>
                  </a:lnTo>
                  <a:lnTo>
                    <a:pt x="40" y="24"/>
                  </a:lnTo>
                  <a:lnTo>
                    <a:pt x="38" y="20"/>
                  </a:lnTo>
                  <a:lnTo>
                    <a:pt x="32" y="14"/>
                  </a:lnTo>
                  <a:lnTo>
                    <a:pt x="26" y="16"/>
                  </a:lnTo>
                  <a:lnTo>
                    <a:pt x="24" y="16"/>
                  </a:lnTo>
                  <a:lnTo>
                    <a:pt x="24" y="14"/>
                  </a:lnTo>
                  <a:lnTo>
                    <a:pt x="24" y="12"/>
                  </a:lnTo>
                  <a:lnTo>
                    <a:pt x="22" y="6"/>
                  </a:lnTo>
                  <a:lnTo>
                    <a:pt x="22" y="0"/>
                  </a:lnTo>
                  <a:lnTo>
                    <a:pt x="26" y="2"/>
                  </a:lnTo>
                  <a:lnTo>
                    <a:pt x="32" y="6"/>
                  </a:lnTo>
                  <a:lnTo>
                    <a:pt x="38" y="8"/>
                  </a:lnTo>
                  <a:lnTo>
                    <a:pt x="44" y="6"/>
                  </a:lnTo>
                  <a:lnTo>
                    <a:pt x="50" y="12"/>
                  </a:lnTo>
                  <a:lnTo>
                    <a:pt x="56" y="16"/>
                  </a:lnTo>
                  <a:lnTo>
                    <a:pt x="62" y="14"/>
                  </a:lnTo>
                  <a:lnTo>
                    <a:pt x="68" y="14"/>
                  </a:lnTo>
                  <a:lnTo>
                    <a:pt x="70" y="14"/>
                  </a:lnTo>
                  <a:lnTo>
                    <a:pt x="76" y="18"/>
                  </a:lnTo>
                  <a:lnTo>
                    <a:pt x="80" y="22"/>
                  </a:lnTo>
                  <a:lnTo>
                    <a:pt x="82" y="22"/>
                  </a:lnTo>
                  <a:lnTo>
                    <a:pt x="82" y="14"/>
                  </a:lnTo>
                  <a:lnTo>
                    <a:pt x="82" y="10"/>
                  </a:lnTo>
                  <a:lnTo>
                    <a:pt x="88" y="6"/>
                  </a:lnTo>
                  <a:lnTo>
                    <a:pt x="94" y="12"/>
                  </a:lnTo>
                  <a:lnTo>
                    <a:pt x="100" y="18"/>
                  </a:lnTo>
                  <a:lnTo>
                    <a:pt x="106" y="24"/>
                  </a:lnTo>
                  <a:lnTo>
                    <a:pt x="108" y="30"/>
                  </a:lnTo>
                  <a:lnTo>
                    <a:pt x="112" y="36"/>
                  </a:lnTo>
                  <a:lnTo>
                    <a:pt x="116" y="42"/>
                  </a:lnTo>
                  <a:lnTo>
                    <a:pt x="116" y="44"/>
                  </a:lnTo>
                  <a:lnTo>
                    <a:pt x="116" y="50"/>
                  </a:lnTo>
                  <a:lnTo>
                    <a:pt x="118" y="56"/>
                  </a:lnTo>
                  <a:lnTo>
                    <a:pt x="120" y="62"/>
                  </a:lnTo>
                  <a:lnTo>
                    <a:pt x="120" y="68"/>
                  </a:lnTo>
                  <a:lnTo>
                    <a:pt x="120" y="72"/>
                  </a:lnTo>
                  <a:lnTo>
                    <a:pt x="120" y="78"/>
                  </a:lnTo>
                  <a:lnTo>
                    <a:pt x="120" y="82"/>
                  </a:lnTo>
                  <a:lnTo>
                    <a:pt x="124" y="86"/>
                  </a:lnTo>
                  <a:lnTo>
                    <a:pt x="124" y="92"/>
                  </a:lnTo>
                  <a:lnTo>
                    <a:pt x="124" y="98"/>
                  </a:lnTo>
                  <a:lnTo>
                    <a:pt x="124" y="104"/>
                  </a:lnTo>
                  <a:lnTo>
                    <a:pt x="120" y="110"/>
                  </a:lnTo>
                  <a:lnTo>
                    <a:pt x="120" y="116"/>
                  </a:lnTo>
                  <a:lnTo>
                    <a:pt x="124" y="122"/>
                  </a:lnTo>
                  <a:lnTo>
                    <a:pt x="128" y="128"/>
                  </a:lnTo>
                  <a:lnTo>
                    <a:pt x="132" y="134"/>
                  </a:lnTo>
                  <a:lnTo>
                    <a:pt x="138" y="140"/>
                  </a:lnTo>
                  <a:lnTo>
                    <a:pt x="142" y="144"/>
                  </a:lnTo>
                  <a:lnTo>
                    <a:pt x="142" y="150"/>
                  </a:lnTo>
                  <a:lnTo>
                    <a:pt x="136" y="150"/>
                  </a:lnTo>
                  <a:lnTo>
                    <a:pt x="128" y="150"/>
                  </a:lnTo>
                  <a:lnTo>
                    <a:pt x="122" y="152"/>
                  </a:lnTo>
                  <a:lnTo>
                    <a:pt x="120" y="158"/>
                  </a:lnTo>
                  <a:lnTo>
                    <a:pt x="120" y="162"/>
                  </a:lnTo>
                  <a:lnTo>
                    <a:pt x="116" y="170"/>
                  </a:lnTo>
                  <a:lnTo>
                    <a:pt x="114" y="174"/>
                  </a:lnTo>
                  <a:lnTo>
                    <a:pt x="110" y="180"/>
                  </a:lnTo>
                  <a:lnTo>
                    <a:pt x="106" y="186"/>
                  </a:lnTo>
                  <a:lnTo>
                    <a:pt x="104" y="192"/>
                  </a:lnTo>
                  <a:lnTo>
                    <a:pt x="104" y="198"/>
                  </a:lnTo>
                  <a:lnTo>
                    <a:pt x="106" y="204"/>
                  </a:lnTo>
                  <a:lnTo>
                    <a:pt x="108" y="210"/>
                  </a:lnTo>
                  <a:lnTo>
                    <a:pt x="108" y="216"/>
                  </a:lnTo>
                  <a:lnTo>
                    <a:pt x="110" y="220"/>
                  </a:lnTo>
                  <a:lnTo>
                    <a:pt x="112" y="226"/>
                  </a:lnTo>
                  <a:lnTo>
                    <a:pt x="112" y="232"/>
                  </a:lnTo>
                  <a:lnTo>
                    <a:pt x="114" y="238"/>
                  </a:lnTo>
                  <a:lnTo>
                    <a:pt x="114" y="244"/>
                  </a:lnTo>
                  <a:lnTo>
                    <a:pt x="114" y="250"/>
                  </a:lnTo>
                  <a:lnTo>
                    <a:pt x="116" y="256"/>
                  </a:lnTo>
                  <a:lnTo>
                    <a:pt x="116" y="262"/>
                  </a:lnTo>
                  <a:lnTo>
                    <a:pt x="114" y="268"/>
                  </a:lnTo>
                  <a:lnTo>
                    <a:pt x="114" y="274"/>
                  </a:lnTo>
                  <a:lnTo>
                    <a:pt x="118" y="280"/>
                  </a:lnTo>
                  <a:lnTo>
                    <a:pt x="124" y="284"/>
                  </a:lnTo>
                  <a:lnTo>
                    <a:pt x="130" y="284"/>
                  </a:lnTo>
                  <a:lnTo>
                    <a:pt x="132" y="284"/>
                  </a:lnTo>
                  <a:lnTo>
                    <a:pt x="138" y="290"/>
                  </a:lnTo>
                  <a:lnTo>
                    <a:pt x="140" y="292"/>
                  </a:lnTo>
                  <a:lnTo>
                    <a:pt x="146" y="298"/>
                  </a:lnTo>
                  <a:lnTo>
                    <a:pt x="150" y="304"/>
                  </a:lnTo>
                  <a:lnTo>
                    <a:pt x="154" y="310"/>
                  </a:lnTo>
                  <a:lnTo>
                    <a:pt x="158" y="316"/>
                  </a:lnTo>
                  <a:lnTo>
                    <a:pt x="164" y="322"/>
                  </a:lnTo>
                  <a:lnTo>
                    <a:pt x="168" y="330"/>
                  </a:lnTo>
                  <a:lnTo>
                    <a:pt x="170" y="336"/>
                  </a:lnTo>
                  <a:lnTo>
                    <a:pt x="176" y="342"/>
                  </a:lnTo>
                  <a:lnTo>
                    <a:pt x="176" y="344"/>
                  </a:lnTo>
                  <a:lnTo>
                    <a:pt x="180" y="350"/>
                  </a:lnTo>
                  <a:lnTo>
                    <a:pt x="186" y="356"/>
                  </a:lnTo>
                  <a:lnTo>
                    <a:pt x="190" y="362"/>
                  </a:lnTo>
                  <a:lnTo>
                    <a:pt x="192" y="364"/>
                  </a:lnTo>
                  <a:lnTo>
                    <a:pt x="192" y="370"/>
                  </a:lnTo>
                  <a:lnTo>
                    <a:pt x="192" y="372"/>
                  </a:lnTo>
                  <a:lnTo>
                    <a:pt x="192" y="378"/>
                  </a:lnTo>
                  <a:lnTo>
                    <a:pt x="192" y="384"/>
                  </a:lnTo>
                  <a:lnTo>
                    <a:pt x="190" y="388"/>
                  </a:lnTo>
                  <a:lnTo>
                    <a:pt x="188" y="394"/>
                  </a:lnTo>
                  <a:lnTo>
                    <a:pt x="186" y="400"/>
                  </a:lnTo>
                  <a:lnTo>
                    <a:pt x="186" y="406"/>
                  </a:lnTo>
                  <a:lnTo>
                    <a:pt x="188" y="410"/>
                  </a:lnTo>
                  <a:lnTo>
                    <a:pt x="188" y="414"/>
                  </a:lnTo>
                  <a:lnTo>
                    <a:pt x="188" y="420"/>
                  </a:lnTo>
                  <a:lnTo>
                    <a:pt x="188" y="426"/>
                  </a:lnTo>
                  <a:lnTo>
                    <a:pt x="188" y="432"/>
                  </a:lnTo>
                  <a:lnTo>
                    <a:pt x="188" y="438"/>
                  </a:lnTo>
                  <a:lnTo>
                    <a:pt x="186" y="444"/>
                  </a:lnTo>
                  <a:lnTo>
                    <a:pt x="186" y="450"/>
                  </a:lnTo>
                  <a:lnTo>
                    <a:pt x="184" y="456"/>
                  </a:lnTo>
                  <a:lnTo>
                    <a:pt x="184" y="462"/>
                  </a:lnTo>
                  <a:lnTo>
                    <a:pt x="180" y="462"/>
                  </a:lnTo>
                  <a:lnTo>
                    <a:pt x="176" y="466"/>
                  </a:lnTo>
                  <a:lnTo>
                    <a:pt x="168" y="466"/>
                  </a:lnTo>
                  <a:lnTo>
                    <a:pt x="162" y="466"/>
                  </a:lnTo>
                  <a:lnTo>
                    <a:pt x="158" y="470"/>
                  </a:lnTo>
                  <a:lnTo>
                    <a:pt x="152" y="476"/>
                  </a:lnTo>
                  <a:lnTo>
                    <a:pt x="152" y="482"/>
                  </a:lnTo>
                  <a:lnTo>
                    <a:pt x="150" y="488"/>
                  </a:lnTo>
                  <a:lnTo>
                    <a:pt x="146" y="492"/>
                  </a:lnTo>
                  <a:lnTo>
                    <a:pt x="142" y="496"/>
                  </a:lnTo>
                  <a:lnTo>
                    <a:pt x="148" y="502"/>
                  </a:lnTo>
                  <a:lnTo>
                    <a:pt x="150" y="508"/>
                  </a:lnTo>
                  <a:lnTo>
                    <a:pt x="152" y="514"/>
                  </a:lnTo>
                  <a:lnTo>
                    <a:pt x="150" y="520"/>
                  </a:lnTo>
                  <a:lnTo>
                    <a:pt x="152" y="526"/>
                  </a:lnTo>
                  <a:lnTo>
                    <a:pt x="152" y="532"/>
                  </a:lnTo>
                  <a:lnTo>
                    <a:pt x="150" y="536"/>
                  </a:lnTo>
                  <a:lnTo>
                    <a:pt x="148" y="536"/>
                  </a:lnTo>
                  <a:lnTo>
                    <a:pt x="146" y="536"/>
                  </a:lnTo>
                  <a:lnTo>
                    <a:pt x="138" y="536"/>
                  </a:lnTo>
                  <a:lnTo>
                    <a:pt x="136" y="530"/>
                  </a:lnTo>
                  <a:lnTo>
                    <a:pt x="142" y="524"/>
                  </a:lnTo>
                  <a:lnTo>
                    <a:pt x="142" y="518"/>
                  </a:lnTo>
                  <a:lnTo>
                    <a:pt x="136" y="514"/>
                  </a:lnTo>
                  <a:lnTo>
                    <a:pt x="134" y="512"/>
                  </a:lnTo>
                  <a:lnTo>
                    <a:pt x="128" y="506"/>
                  </a:lnTo>
                  <a:lnTo>
                    <a:pt x="124" y="500"/>
                  </a:lnTo>
                  <a:lnTo>
                    <a:pt x="120" y="494"/>
                  </a:lnTo>
                  <a:lnTo>
                    <a:pt x="114" y="488"/>
                  </a:lnTo>
                  <a:lnTo>
                    <a:pt x="110" y="482"/>
                  </a:lnTo>
                  <a:lnTo>
                    <a:pt x="104" y="478"/>
                  </a:lnTo>
                  <a:lnTo>
                    <a:pt x="100" y="472"/>
                  </a:lnTo>
                  <a:lnTo>
                    <a:pt x="100" y="466"/>
                  </a:lnTo>
                  <a:lnTo>
                    <a:pt x="98" y="458"/>
                  </a:lnTo>
                  <a:lnTo>
                    <a:pt x="94" y="454"/>
                  </a:lnTo>
                  <a:lnTo>
                    <a:pt x="90" y="446"/>
                  </a:lnTo>
                  <a:lnTo>
                    <a:pt x="94" y="440"/>
                  </a:lnTo>
                  <a:lnTo>
                    <a:pt x="100" y="436"/>
                  </a:lnTo>
                  <a:lnTo>
                    <a:pt x="102" y="430"/>
                  </a:lnTo>
                  <a:lnTo>
                    <a:pt x="102" y="428"/>
                  </a:lnTo>
                  <a:lnTo>
                    <a:pt x="102" y="420"/>
                  </a:lnTo>
                  <a:lnTo>
                    <a:pt x="108" y="414"/>
                  </a:lnTo>
                  <a:lnTo>
                    <a:pt x="112" y="408"/>
                  </a:lnTo>
                  <a:lnTo>
                    <a:pt x="112" y="404"/>
                  </a:lnTo>
                  <a:lnTo>
                    <a:pt x="112" y="398"/>
                  </a:lnTo>
                  <a:lnTo>
                    <a:pt x="112" y="392"/>
                  </a:lnTo>
                  <a:lnTo>
                    <a:pt x="114" y="388"/>
                  </a:lnTo>
                  <a:lnTo>
                    <a:pt x="112" y="382"/>
                  </a:lnTo>
                  <a:lnTo>
                    <a:pt x="112" y="376"/>
                  </a:lnTo>
                  <a:lnTo>
                    <a:pt x="110" y="370"/>
                  </a:lnTo>
                  <a:lnTo>
                    <a:pt x="110" y="362"/>
                  </a:lnTo>
                  <a:lnTo>
                    <a:pt x="108" y="356"/>
                  </a:lnTo>
                  <a:lnTo>
                    <a:pt x="104" y="350"/>
                  </a:lnTo>
                  <a:lnTo>
                    <a:pt x="98" y="348"/>
                  </a:lnTo>
                  <a:lnTo>
                    <a:pt x="92" y="348"/>
                  </a:lnTo>
                  <a:lnTo>
                    <a:pt x="86" y="350"/>
                  </a:lnTo>
                  <a:lnTo>
                    <a:pt x="80" y="352"/>
                  </a:lnTo>
                  <a:lnTo>
                    <a:pt x="74" y="352"/>
                  </a:lnTo>
                  <a:lnTo>
                    <a:pt x="68" y="356"/>
                  </a:lnTo>
                  <a:lnTo>
                    <a:pt x="60" y="352"/>
                  </a:lnTo>
                  <a:lnTo>
                    <a:pt x="60" y="358"/>
                  </a:lnTo>
                  <a:lnTo>
                    <a:pt x="54" y="352"/>
                  </a:lnTo>
                  <a:lnTo>
                    <a:pt x="48" y="348"/>
                  </a:lnTo>
                  <a:lnTo>
                    <a:pt x="44" y="342"/>
                  </a:lnTo>
                  <a:lnTo>
                    <a:pt x="40" y="336"/>
                  </a:lnTo>
                  <a:lnTo>
                    <a:pt x="36" y="330"/>
                  </a:lnTo>
                  <a:lnTo>
                    <a:pt x="36" y="324"/>
                  </a:lnTo>
                  <a:lnTo>
                    <a:pt x="32" y="320"/>
                  </a:lnTo>
                  <a:lnTo>
                    <a:pt x="28" y="314"/>
                  </a:lnTo>
                  <a:lnTo>
                    <a:pt x="22" y="320"/>
                  </a:lnTo>
                  <a:lnTo>
                    <a:pt x="18" y="320"/>
                  </a:lnTo>
                  <a:lnTo>
                    <a:pt x="18" y="314"/>
                  </a:lnTo>
                  <a:lnTo>
                    <a:pt x="12" y="308"/>
                  </a:lnTo>
                  <a:lnTo>
                    <a:pt x="6" y="304"/>
                  </a:lnTo>
                  <a:lnTo>
                    <a:pt x="6" y="30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6" name="Freeform 254"/>
            <p:cNvSpPr>
              <a:spLocks/>
            </p:cNvSpPr>
            <p:nvPr/>
          </p:nvSpPr>
          <p:spPr bwMode="auto">
            <a:xfrm>
              <a:off x="4854575" y="4691063"/>
              <a:ext cx="192088" cy="193675"/>
            </a:xfrm>
            <a:custGeom>
              <a:avLst/>
              <a:gdLst>
                <a:gd name="T0" fmla="*/ 2147483647 w 472"/>
                <a:gd name="T1" fmla="*/ 2147483647 h 470"/>
                <a:gd name="T2" fmla="*/ 2147483647 w 472"/>
                <a:gd name="T3" fmla="*/ 2147483647 h 470"/>
                <a:gd name="T4" fmla="*/ 2147483647 w 472"/>
                <a:gd name="T5" fmla="*/ 2147483647 h 470"/>
                <a:gd name="T6" fmla="*/ 2147483647 w 472"/>
                <a:gd name="T7" fmla="*/ 2147483647 h 470"/>
                <a:gd name="T8" fmla="*/ 2147483647 w 472"/>
                <a:gd name="T9" fmla="*/ 2147483647 h 470"/>
                <a:gd name="T10" fmla="*/ 2147483647 w 472"/>
                <a:gd name="T11" fmla="*/ 2147483647 h 470"/>
                <a:gd name="T12" fmla="*/ 2147483647 w 472"/>
                <a:gd name="T13" fmla="*/ 2147483647 h 470"/>
                <a:gd name="T14" fmla="*/ 2147483647 w 472"/>
                <a:gd name="T15" fmla="*/ 2147483647 h 470"/>
                <a:gd name="T16" fmla="*/ 2147483647 w 472"/>
                <a:gd name="T17" fmla="*/ 2147483647 h 470"/>
                <a:gd name="T18" fmla="*/ 2147483647 w 472"/>
                <a:gd name="T19" fmla="*/ 2147483647 h 470"/>
                <a:gd name="T20" fmla="*/ 2147483647 w 472"/>
                <a:gd name="T21" fmla="*/ 2147483647 h 470"/>
                <a:gd name="T22" fmla="*/ 2147483647 w 472"/>
                <a:gd name="T23" fmla="*/ 2147483647 h 470"/>
                <a:gd name="T24" fmla="*/ 2147483647 w 472"/>
                <a:gd name="T25" fmla="*/ 2147483647 h 470"/>
                <a:gd name="T26" fmla="*/ 2147483647 w 472"/>
                <a:gd name="T27" fmla="*/ 0 h 470"/>
                <a:gd name="T28" fmla="*/ 2147483647 w 472"/>
                <a:gd name="T29" fmla="*/ 2147483647 h 470"/>
                <a:gd name="T30" fmla="*/ 2147483647 w 472"/>
                <a:gd name="T31" fmla="*/ 2147483647 h 470"/>
                <a:gd name="T32" fmla="*/ 2147483647 w 472"/>
                <a:gd name="T33" fmla="*/ 2147483647 h 470"/>
                <a:gd name="T34" fmla="*/ 2147483647 w 472"/>
                <a:gd name="T35" fmla="*/ 2147483647 h 470"/>
                <a:gd name="T36" fmla="*/ 2147483647 w 472"/>
                <a:gd name="T37" fmla="*/ 2147483647 h 470"/>
                <a:gd name="T38" fmla="*/ 2147483647 w 472"/>
                <a:gd name="T39" fmla="*/ 2147483647 h 470"/>
                <a:gd name="T40" fmla="*/ 2147483647 w 472"/>
                <a:gd name="T41" fmla="*/ 2147483647 h 470"/>
                <a:gd name="T42" fmla="*/ 2147483647 w 472"/>
                <a:gd name="T43" fmla="*/ 2147483647 h 470"/>
                <a:gd name="T44" fmla="*/ 2147483647 w 472"/>
                <a:gd name="T45" fmla="*/ 2147483647 h 470"/>
                <a:gd name="T46" fmla="*/ 2147483647 w 472"/>
                <a:gd name="T47" fmla="*/ 2147483647 h 470"/>
                <a:gd name="T48" fmla="*/ 2147483647 w 472"/>
                <a:gd name="T49" fmla="*/ 2147483647 h 470"/>
                <a:gd name="T50" fmla="*/ 2147483647 w 472"/>
                <a:gd name="T51" fmla="*/ 2147483647 h 470"/>
                <a:gd name="T52" fmla="*/ 2147483647 w 472"/>
                <a:gd name="T53" fmla="*/ 2147483647 h 470"/>
                <a:gd name="T54" fmla="*/ 2147483647 w 472"/>
                <a:gd name="T55" fmla="*/ 2147483647 h 470"/>
                <a:gd name="T56" fmla="*/ 2147483647 w 472"/>
                <a:gd name="T57" fmla="*/ 2147483647 h 470"/>
                <a:gd name="T58" fmla="*/ 2147483647 w 472"/>
                <a:gd name="T59" fmla="*/ 2147483647 h 470"/>
                <a:gd name="T60" fmla="*/ 2147483647 w 472"/>
                <a:gd name="T61" fmla="*/ 2147483647 h 470"/>
                <a:gd name="T62" fmla="*/ 2147483647 w 472"/>
                <a:gd name="T63" fmla="*/ 2147483647 h 470"/>
                <a:gd name="T64" fmla="*/ 2147483647 w 472"/>
                <a:gd name="T65" fmla="*/ 2147483647 h 470"/>
                <a:gd name="T66" fmla="*/ 2147483647 w 472"/>
                <a:gd name="T67" fmla="*/ 2147483647 h 470"/>
                <a:gd name="T68" fmla="*/ 2147483647 w 472"/>
                <a:gd name="T69" fmla="*/ 2147483647 h 470"/>
                <a:gd name="T70" fmla="*/ 2147483647 w 472"/>
                <a:gd name="T71" fmla="*/ 2147483647 h 470"/>
                <a:gd name="T72" fmla="*/ 2147483647 w 472"/>
                <a:gd name="T73" fmla="*/ 2147483647 h 470"/>
                <a:gd name="T74" fmla="*/ 2147483647 w 472"/>
                <a:gd name="T75" fmla="*/ 2147483647 h 470"/>
                <a:gd name="T76" fmla="*/ 2147483647 w 472"/>
                <a:gd name="T77" fmla="*/ 2147483647 h 470"/>
                <a:gd name="T78" fmla="*/ 2147483647 w 472"/>
                <a:gd name="T79" fmla="*/ 2147483647 h 470"/>
                <a:gd name="T80" fmla="*/ 2147483647 w 472"/>
                <a:gd name="T81" fmla="*/ 2147483647 h 470"/>
                <a:gd name="T82" fmla="*/ 2147483647 w 472"/>
                <a:gd name="T83" fmla="*/ 2147483647 h 470"/>
                <a:gd name="T84" fmla="*/ 2147483647 w 472"/>
                <a:gd name="T85" fmla="*/ 2147483647 h 470"/>
                <a:gd name="T86" fmla="*/ 2147483647 w 472"/>
                <a:gd name="T87" fmla="*/ 2147483647 h 470"/>
                <a:gd name="T88" fmla="*/ 2147483647 w 472"/>
                <a:gd name="T89" fmla="*/ 2147483647 h 470"/>
                <a:gd name="T90" fmla="*/ 2147483647 w 472"/>
                <a:gd name="T91" fmla="*/ 2147483647 h 470"/>
                <a:gd name="T92" fmla="*/ 2147483647 w 472"/>
                <a:gd name="T93" fmla="*/ 2147483647 h 470"/>
                <a:gd name="T94" fmla="*/ 2147483647 w 472"/>
                <a:gd name="T95" fmla="*/ 2147483647 h 470"/>
                <a:gd name="T96" fmla="*/ 2147483647 w 472"/>
                <a:gd name="T97" fmla="*/ 2147483647 h 470"/>
                <a:gd name="T98" fmla="*/ 2147483647 w 472"/>
                <a:gd name="T99" fmla="*/ 2147483647 h 470"/>
                <a:gd name="T100" fmla="*/ 2147483647 w 472"/>
                <a:gd name="T101" fmla="*/ 2147483647 h 470"/>
                <a:gd name="T102" fmla="*/ 2147483647 w 472"/>
                <a:gd name="T103" fmla="*/ 2147483647 h 470"/>
                <a:gd name="T104" fmla="*/ 2147483647 w 472"/>
                <a:gd name="T105" fmla="*/ 2147483647 h 470"/>
                <a:gd name="T106" fmla="*/ 2147483647 w 472"/>
                <a:gd name="T107" fmla="*/ 2147483647 h 470"/>
                <a:gd name="T108" fmla="*/ 2147483647 w 472"/>
                <a:gd name="T109" fmla="*/ 2147483647 h 470"/>
                <a:gd name="T110" fmla="*/ 2147483647 w 472"/>
                <a:gd name="T111" fmla="*/ 2147483647 h 470"/>
                <a:gd name="T112" fmla="*/ 2147483647 w 472"/>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72"/>
                <a:gd name="T172" fmla="*/ 0 h 470"/>
                <a:gd name="T173" fmla="*/ 472 w 472"/>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72" h="470">
                  <a:moveTo>
                    <a:pt x="2" y="150"/>
                  </a:moveTo>
                  <a:lnTo>
                    <a:pt x="2" y="150"/>
                  </a:lnTo>
                  <a:lnTo>
                    <a:pt x="10" y="154"/>
                  </a:lnTo>
                  <a:lnTo>
                    <a:pt x="14" y="154"/>
                  </a:lnTo>
                  <a:lnTo>
                    <a:pt x="20" y="154"/>
                  </a:lnTo>
                  <a:lnTo>
                    <a:pt x="28" y="150"/>
                  </a:lnTo>
                  <a:lnTo>
                    <a:pt x="32" y="154"/>
                  </a:lnTo>
                  <a:lnTo>
                    <a:pt x="38" y="158"/>
                  </a:lnTo>
                  <a:lnTo>
                    <a:pt x="36" y="160"/>
                  </a:lnTo>
                  <a:lnTo>
                    <a:pt x="44" y="164"/>
                  </a:lnTo>
                  <a:lnTo>
                    <a:pt x="48" y="162"/>
                  </a:lnTo>
                  <a:lnTo>
                    <a:pt x="54" y="158"/>
                  </a:lnTo>
                  <a:lnTo>
                    <a:pt x="60" y="156"/>
                  </a:lnTo>
                  <a:lnTo>
                    <a:pt x="66" y="160"/>
                  </a:lnTo>
                  <a:lnTo>
                    <a:pt x="70" y="160"/>
                  </a:lnTo>
                  <a:lnTo>
                    <a:pt x="76" y="162"/>
                  </a:lnTo>
                  <a:lnTo>
                    <a:pt x="82" y="166"/>
                  </a:lnTo>
                  <a:lnTo>
                    <a:pt x="88" y="168"/>
                  </a:lnTo>
                  <a:lnTo>
                    <a:pt x="94" y="166"/>
                  </a:lnTo>
                  <a:lnTo>
                    <a:pt x="98" y="164"/>
                  </a:lnTo>
                  <a:lnTo>
                    <a:pt x="102" y="162"/>
                  </a:lnTo>
                  <a:lnTo>
                    <a:pt x="108" y="162"/>
                  </a:lnTo>
                  <a:lnTo>
                    <a:pt x="114" y="156"/>
                  </a:lnTo>
                  <a:lnTo>
                    <a:pt x="116" y="150"/>
                  </a:lnTo>
                  <a:lnTo>
                    <a:pt x="122" y="144"/>
                  </a:lnTo>
                  <a:lnTo>
                    <a:pt x="126" y="136"/>
                  </a:lnTo>
                  <a:lnTo>
                    <a:pt x="132" y="130"/>
                  </a:lnTo>
                  <a:lnTo>
                    <a:pt x="138" y="124"/>
                  </a:lnTo>
                  <a:lnTo>
                    <a:pt x="140" y="124"/>
                  </a:lnTo>
                  <a:lnTo>
                    <a:pt x="146" y="116"/>
                  </a:lnTo>
                  <a:lnTo>
                    <a:pt x="146" y="110"/>
                  </a:lnTo>
                  <a:lnTo>
                    <a:pt x="150" y="104"/>
                  </a:lnTo>
                  <a:lnTo>
                    <a:pt x="154" y="98"/>
                  </a:lnTo>
                  <a:lnTo>
                    <a:pt x="158" y="92"/>
                  </a:lnTo>
                  <a:lnTo>
                    <a:pt x="164" y="90"/>
                  </a:lnTo>
                  <a:lnTo>
                    <a:pt x="170" y="86"/>
                  </a:lnTo>
                  <a:lnTo>
                    <a:pt x="176" y="82"/>
                  </a:lnTo>
                  <a:lnTo>
                    <a:pt x="184" y="76"/>
                  </a:lnTo>
                  <a:lnTo>
                    <a:pt x="190" y="72"/>
                  </a:lnTo>
                  <a:lnTo>
                    <a:pt x="196" y="70"/>
                  </a:lnTo>
                  <a:lnTo>
                    <a:pt x="202" y="68"/>
                  </a:lnTo>
                  <a:lnTo>
                    <a:pt x="206" y="64"/>
                  </a:lnTo>
                  <a:lnTo>
                    <a:pt x="212" y="64"/>
                  </a:lnTo>
                  <a:lnTo>
                    <a:pt x="216" y="62"/>
                  </a:lnTo>
                  <a:lnTo>
                    <a:pt x="220" y="56"/>
                  </a:lnTo>
                  <a:lnTo>
                    <a:pt x="222" y="50"/>
                  </a:lnTo>
                  <a:lnTo>
                    <a:pt x="222" y="44"/>
                  </a:lnTo>
                  <a:lnTo>
                    <a:pt x="222" y="38"/>
                  </a:lnTo>
                  <a:lnTo>
                    <a:pt x="222" y="32"/>
                  </a:lnTo>
                  <a:lnTo>
                    <a:pt x="222" y="28"/>
                  </a:lnTo>
                  <a:lnTo>
                    <a:pt x="226" y="22"/>
                  </a:lnTo>
                  <a:lnTo>
                    <a:pt x="228" y="22"/>
                  </a:lnTo>
                  <a:lnTo>
                    <a:pt x="234" y="22"/>
                  </a:lnTo>
                  <a:lnTo>
                    <a:pt x="238" y="16"/>
                  </a:lnTo>
                  <a:lnTo>
                    <a:pt x="244" y="12"/>
                  </a:lnTo>
                  <a:lnTo>
                    <a:pt x="250" y="8"/>
                  </a:lnTo>
                  <a:lnTo>
                    <a:pt x="256" y="6"/>
                  </a:lnTo>
                  <a:lnTo>
                    <a:pt x="262" y="4"/>
                  </a:lnTo>
                  <a:lnTo>
                    <a:pt x="268" y="2"/>
                  </a:lnTo>
                  <a:lnTo>
                    <a:pt x="274" y="2"/>
                  </a:lnTo>
                  <a:lnTo>
                    <a:pt x="280" y="0"/>
                  </a:lnTo>
                  <a:lnTo>
                    <a:pt x="286" y="0"/>
                  </a:lnTo>
                  <a:lnTo>
                    <a:pt x="292" y="2"/>
                  </a:lnTo>
                  <a:lnTo>
                    <a:pt x="298" y="0"/>
                  </a:lnTo>
                  <a:lnTo>
                    <a:pt x="304" y="0"/>
                  </a:lnTo>
                  <a:lnTo>
                    <a:pt x="310" y="0"/>
                  </a:lnTo>
                  <a:lnTo>
                    <a:pt x="316" y="0"/>
                  </a:lnTo>
                  <a:lnTo>
                    <a:pt x="316" y="6"/>
                  </a:lnTo>
                  <a:lnTo>
                    <a:pt x="316" y="12"/>
                  </a:lnTo>
                  <a:lnTo>
                    <a:pt x="316" y="18"/>
                  </a:lnTo>
                  <a:lnTo>
                    <a:pt x="316" y="24"/>
                  </a:lnTo>
                  <a:lnTo>
                    <a:pt x="324" y="26"/>
                  </a:lnTo>
                  <a:lnTo>
                    <a:pt x="348" y="26"/>
                  </a:lnTo>
                  <a:lnTo>
                    <a:pt x="354" y="30"/>
                  </a:lnTo>
                  <a:lnTo>
                    <a:pt x="358" y="26"/>
                  </a:lnTo>
                  <a:lnTo>
                    <a:pt x="366" y="26"/>
                  </a:lnTo>
                  <a:lnTo>
                    <a:pt x="370" y="28"/>
                  </a:lnTo>
                  <a:lnTo>
                    <a:pt x="376" y="34"/>
                  </a:lnTo>
                  <a:lnTo>
                    <a:pt x="382" y="36"/>
                  </a:lnTo>
                  <a:lnTo>
                    <a:pt x="388" y="38"/>
                  </a:lnTo>
                  <a:lnTo>
                    <a:pt x="394" y="40"/>
                  </a:lnTo>
                  <a:lnTo>
                    <a:pt x="400" y="44"/>
                  </a:lnTo>
                  <a:lnTo>
                    <a:pt x="404" y="50"/>
                  </a:lnTo>
                  <a:lnTo>
                    <a:pt x="410" y="56"/>
                  </a:lnTo>
                  <a:lnTo>
                    <a:pt x="416" y="56"/>
                  </a:lnTo>
                  <a:lnTo>
                    <a:pt x="422" y="56"/>
                  </a:lnTo>
                  <a:lnTo>
                    <a:pt x="428" y="56"/>
                  </a:lnTo>
                  <a:lnTo>
                    <a:pt x="434" y="58"/>
                  </a:lnTo>
                  <a:lnTo>
                    <a:pt x="440" y="60"/>
                  </a:lnTo>
                  <a:lnTo>
                    <a:pt x="446" y="64"/>
                  </a:lnTo>
                  <a:lnTo>
                    <a:pt x="452" y="66"/>
                  </a:lnTo>
                  <a:lnTo>
                    <a:pt x="454" y="72"/>
                  </a:lnTo>
                  <a:lnTo>
                    <a:pt x="456" y="76"/>
                  </a:lnTo>
                  <a:lnTo>
                    <a:pt x="464" y="76"/>
                  </a:lnTo>
                  <a:lnTo>
                    <a:pt x="468" y="74"/>
                  </a:lnTo>
                  <a:lnTo>
                    <a:pt x="470" y="74"/>
                  </a:lnTo>
                  <a:lnTo>
                    <a:pt x="468" y="80"/>
                  </a:lnTo>
                  <a:lnTo>
                    <a:pt x="464" y="86"/>
                  </a:lnTo>
                  <a:lnTo>
                    <a:pt x="462" y="92"/>
                  </a:lnTo>
                  <a:lnTo>
                    <a:pt x="464" y="98"/>
                  </a:lnTo>
                  <a:lnTo>
                    <a:pt x="468" y="104"/>
                  </a:lnTo>
                  <a:lnTo>
                    <a:pt x="468" y="110"/>
                  </a:lnTo>
                  <a:lnTo>
                    <a:pt x="468" y="112"/>
                  </a:lnTo>
                  <a:lnTo>
                    <a:pt x="472" y="120"/>
                  </a:lnTo>
                  <a:lnTo>
                    <a:pt x="470" y="124"/>
                  </a:lnTo>
                  <a:lnTo>
                    <a:pt x="466" y="130"/>
                  </a:lnTo>
                  <a:lnTo>
                    <a:pt x="472" y="136"/>
                  </a:lnTo>
                  <a:lnTo>
                    <a:pt x="470" y="140"/>
                  </a:lnTo>
                  <a:lnTo>
                    <a:pt x="470" y="146"/>
                  </a:lnTo>
                  <a:lnTo>
                    <a:pt x="466" y="154"/>
                  </a:lnTo>
                  <a:lnTo>
                    <a:pt x="466" y="158"/>
                  </a:lnTo>
                  <a:lnTo>
                    <a:pt x="466" y="166"/>
                  </a:lnTo>
                  <a:lnTo>
                    <a:pt x="466" y="170"/>
                  </a:lnTo>
                  <a:lnTo>
                    <a:pt x="468" y="176"/>
                  </a:lnTo>
                  <a:lnTo>
                    <a:pt x="468" y="182"/>
                  </a:lnTo>
                  <a:lnTo>
                    <a:pt x="472" y="188"/>
                  </a:lnTo>
                  <a:lnTo>
                    <a:pt x="468" y="192"/>
                  </a:lnTo>
                  <a:lnTo>
                    <a:pt x="466" y="198"/>
                  </a:lnTo>
                  <a:lnTo>
                    <a:pt x="460" y="200"/>
                  </a:lnTo>
                  <a:lnTo>
                    <a:pt x="462" y="206"/>
                  </a:lnTo>
                  <a:lnTo>
                    <a:pt x="464" y="212"/>
                  </a:lnTo>
                  <a:lnTo>
                    <a:pt x="462" y="218"/>
                  </a:lnTo>
                  <a:lnTo>
                    <a:pt x="456" y="218"/>
                  </a:lnTo>
                  <a:lnTo>
                    <a:pt x="450" y="220"/>
                  </a:lnTo>
                  <a:lnTo>
                    <a:pt x="450" y="226"/>
                  </a:lnTo>
                  <a:lnTo>
                    <a:pt x="450" y="228"/>
                  </a:lnTo>
                  <a:lnTo>
                    <a:pt x="448" y="234"/>
                  </a:lnTo>
                  <a:lnTo>
                    <a:pt x="452" y="234"/>
                  </a:lnTo>
                  <a:lnTo>
                    <a:pt x="460" y="240"/>
                  </a:lnTo>
                  <a:lnTo>
                    <a:pt x="456" y="246"/>
                  </a:lnTo>
                  <a:lnTo>
                    <a:pt x="456" y="252"/>
                  </a:lnTo>
                  <a:lnTo>
                    <a:pt x="452" y="258"/>
                  </a:lnTo>
                  <a:lnTo>
                    <a:pt x="452" y="264"/>
                  </a:lnTo>
                  <a:lnTo>
                    <a:pt x="456" y="270"/>
                  </a:lnTo>
                  <a:lnTo>
                    <a:pt x="456" y="274"/>
                  </a:lnTo>
                  <a:lnTo>
                    <a:pt x="456" y="280"/>
                  </a:lnTo>
                  <a:lnTo>
                    <a:pt x="462" y="278"/>
                  </a:lnTo>
                  <a:lnTo>
                    <a:pt x="464" y="284"/>
                  </a:lnTo>
                  <a:lnTo>
                    <a:pt x="466" y="290"/>
                  </a:lnTo>
                  <a:lnTo>
                    <a:pt x="464" y="296"/>
                  </a:lnTo>
                  <a:lnTo>
                    <a:pt x="464" y="302"/>
                  </a:lnTo>
                  <a:lnTo>
                    <a:pt x="460" y="306"/>
                  </a:lnTo>
                  <a:lnTo>
                    <a:pt x="456" y="312"/>
                  </a:lnTo>
                  <a:lnTo>
                    <a:pt x="456" y="318"/>
                  </a:lnTo>
                  <a:lnTo>
                    <a:pt x="452" y="324"/>
                  </a:lnTo>
                  <a:lnTo>
                    <a:pt x="452" y="326"/>
                  </a:lnTo>
                  <a:lnTo>
                    <a:pt x="448" y="332"/>
                  </a:lnTo>
                  <a:lnTo>
                    <a:pt x="446" y="332"/>
                  </a:lnTo>
                  <a:lnTo>
                    <a:pt x="444" y="338"/>
                  </a:lnTo>
                  <a:lnTo>
                    <a:pt x="438" y="340"/>
                  </a:lnTo>
                  <a:lnTo>
                    <a:pt x="432" y="346"/>
                  </a:lnTo>
                  <a:lnTo>
                    <a:pt x="432" y="352"/>
                  </a:lnTo>
                  <a:lnTo>
                    <a:pt x="432" y="358"/>
                  </a:lnTo>
                  <a:lnTo>
                    <a:pt x="432" y="364"/>
                  </a:lnTo>
                  <a:lnTo>
                    <a:pt x="430" y="370"/>
                  </a:lnTo>
                  <a:lnTo>
                    <a:pt x="426" y="376"/>
                  </a:lnTo>
                  <a:lnTo>
                    <a:pt x="424" y="382"/>
                  </a:lnTo>
                  <a:lnTo>
                    <a:pt x="426" y="390"/>
                  </a:lnTo>
                  <a:lnTo>
                    <a:pt x="430" y="394"/>
                  </a:lnTo>
                  <a:lnTo>
                    <a:pt x="426" y="392"/>
                  </a:lnTo>
                  <a:lnTo>
                    <a:pt x="422" y="396"/>
                  </a:lnTo>
                  <a:lnTo>
                    <a:pt x="416" y="402"/>
                  </a:lnTo>
                  <a:lnTo>
                    <a:pt x="412" y="408"/>
                  </a:lnTo>
                  <a:lnTo>
                    <a:pt x="406" y="414"/>
                  </a:lnTo>
                  <a:lnTo>
                    <a:pt x="400" y="420"/>
                  </a:lnTo>
                  <a:lnTo>
                    <a:pt x="396" y="426"/>
                  </a:lnTo>
                  <a:lnTo>
                    <a:pt x="390" y="432"/>
                  </a:lnTo>
                  <a:lnTo>
                    <a:pt x="386" y="438"/>
                  </a:lnTo>
                  <a:lnTo>
                    <a:pt x="380" y="444"/>
                  </a:lnTo>
                  <a:lnTo>
                    <a:pt x="378" y="446"/>
                  </a:lnTo>
                  <a:lnTo>
                    <a:pt x="376" y="450"/>
                  </a:lnTo>
                  <a:lnTo>
                    <a:pt x="370" y="456"/>
                  </a:lnTo>
                  <a:lnTo>
                    <a:pt x="364" y="462"/>
                  </a:lnTo>
                  <a:lnTo>
                    <a:pt x="362" y="466"/>
                  </a:lnTo>
                  <a:lnTo>
                    <a:pt x="356" y="470"/>
                  </a:lnTo>
                  <a:lnTo>
                    <a:pt x="350" y="466"/>
                  </a:lnTo>
                  <a:lnTo>
                    <a:pt x="344" y="464"/>
                  </a:lnTo>
                  <a:lnTo>
                    <a:pt x="340" y="462"/>
                  </a:lnTo>
                  <a:lnTo>
                    <a:pt x="334" y="462"/>
                  </a:lnTo>
                  <a:lnTo>
                    <a:pt x="328" y="460"/>
                  </a:lnTo>
                  <a:lnTo>
                    <a:pt x="322" y="462"/>
                  </a:lnTo>
                  <a:lnTo>
                    <a:pt x="316" y="464"/>
                  </a:lnTo>
                  <a:lnTo>
                    <a:pt x="310" y="462"/>
                  </a:lnTo>
                  <a:lnTo>
                    <a:pt x="304" y="464"/>
                  </a:lnTo>
                  <a:lnTo>
                    <a:pt x="298" y="464"/>
                  </a:lnTo>
                  <a:lnTo>
                    <a:pt x="292" y="460"/>
                  </a:lnTo>
                  <a:lnTo>
                    <a:pt x="286" y="462"/>
                  </a:lnTo>
                  <a:lnTo>
                    <a:pt x="284" y="460"/>
                  </a:lnTo>
                  <a:lnTo>
                    <a:pt x="278" y="456"/>
                  </a:lnTo>
                  <a:lnTo>
                    <a:pt x="274" y="454"/>
                  </a:lnTo>
                  <a:lnTo>
                    <a:pt x="270" y="454"/>
                  </a:lnTo>
                  <a:lnTo>
                    <a:pt x="264" y="450"/>
                  </a:lnTo>
                  <a:lnTo>
                    <a:pt x="258" y="450"/>
                  </a:lnTo>
                  <a:lnTo>
                    <a:pt x="252" y="450"/>
                  </a:lnTo>
                  <a:lnTo>
                    <a:pt x="248" y="452"/>
                  </a:lnTo>
                  <a:lnTo>
                    <a:pt x="242" y="454"/>
                  </a:lnTo>
                  <a:lnTo>
                    <a:pt x="240" y="452"/>
                  </a:lnTo>
                  <a:lnTo>
                    <a:pt x="234" y="446"/>
                  </a:lnTo>
                  <a:lnTo>
                    <a:pt x="228" y="446"/>
                  </a:lnTo>
                  <a:lnTo>
                    <a:pt x="222" y="440"/>
                  </a:lnTo>
                  <a:lnTo>
                    <a:pt x="222" y="434"/>
                  </a:lnTo>
                  <a:lnTo>
                    <a:pt x="224" y="428"/>
                  </a:lnTo>
                  <a:lnTo>
                    <a:pt x="222" y="426"/>
                  </a:lnTo>
                  <a:lnTo>
                    <a:pt x="220" y="426"/>
                  </a:lnTo>
                  <a:lnTo>
                    <a:pt x="214" y="424"/>
                  </a:lnTo>
                  <a:lnTo>
                    <a:pt x="208" y="422"/>
                  </a:lnTo>
                  <a:lnTo>
                    <a:pt x="202" y="420"/>
                  </a:lnTo>
                  <a:lnTo>
                    <a:pt x="196" y="416"/>
                  </a:lnTo>
                  <a:lnTo>
                    <a:pt x="190" y="416"/>
                  </a:lnTo>
                  <a:lnTo>
                    <a:pt x="184" y="416"/>
                  </a:lnTo>
                  <a:lnTo>
                    <a:pt x="180" y="412"/>
                  </a:lnTo>
                  <a:lnTo>
                    <a:pt x="172" y="412"/>
                  </a:lnTo>
                  <a:lnTo>
                    <a:pt x="168" y="412"/>
                  </a:lnTo>
                  <a:lnTo>
                    <a:pt x="160" y="410"/>
                  </a:lnTo>
                  <a:lnTo>
                    <a:pt x="158" y="404"/>
                  </a:lnTo>
                  <a:lnTo>
                    <a:pt x="158" y="398"/>
                  </a:lnTo>
                  <a:lnTo>
                    <a:pt x="154" y="392"/>
                  </a:lnTo>
                  <a:lnTo>
                    <a:pt x="150" y="386"/>
                  </a:lnTo>
                  <a:lnTo>
                    <a:pt x="146" y="382"/>
                  </a:lnTo>
                  <a:lnTo>
                    <a:pt x="142" y="374"/>
                  </a:lnTo>
                  <a:lnTo>
                    <a:pt x="144" y="370"/>
                  </a:lnTo>
                  <a:lnTo>
                    <a:pt x="144" y="364"/>
                  </a:lnTo>
                  <a:lnTo>
                    <a:pt x="146" y="358"/>
                  </a:lnTo>
                  <a:lnTo>
                    <a:pt x="146" y="352"/>
                  </a:lnTo>
                  <a:lnTo>
                    <a:pt x="144" y="346"/>
                  </a:lnTo>
                  <a:lnTo>
                    <a:pt x="146" y="340"/>
                  </a:lnTo>
                  <a:lnTo>
                    <a:pt x="146" y="338"/>
                  </a:lnTo>
                  <a:lnTo>
                    <a:pt x="144" y="336"/>
                  </a:lnTo>
                  <a:lnTo>
                    <a:pt x="138" y="336"/>
                  </a:lnTo>
                  <a:lnTo>
                    <a:pt x="132" y="334"/>
                  </a:lnTo>
                  <a:lnTo>
                    <a:pt x="126" y="336"/>
                  </a:lnTo>
                  <a:lnTo>
                    <a:pt x="120" y="336"/>
                  </a:lnTo>
                  <a:lnTo>
                    <a:pt x="120" y="332"/>
                  </a:lnTo>
                  <a:lnTo>
                    <a:pt x="120" y="326"/>
                  </a:lnTo>
                  <a:lnTo>
                    <a:pt x="120" y="322"/>
                  </a:lnTo>
                  <a:lnTo>
                    <a:pt x="118" y="314"/>
                  </a:lnTo>
                  <a:lnTo>
                    <a:pt x="116" y="308"/>
                  </a:lnTo>
                  <a:lnTo>
                    <a:pt x="110" y="308"/>
                  </a:lnTo>
                  <a:lnTo>
                    <a:pt x="104" y="302"/>
                  </a:lnTo>
                  <a:lnTo>
                    <a:pt x="100" y="302"/>
                  </a:lnTo>
                  <a:lnTo>
                    <a:pt x="96" y="302"/>
                  </a:lnTo>
                  <a:lnTo>
                    <a:pt x="90" y="298"/>
                  </a:lnTo>
                  <a:lnTo>
                    <a:pt x="86" y="294"/>
                  </a:lnTo>
                  <a:lnTo>
                    <a:pt x="82" y="292"/>
                  </a:lnTo>
                  <a:lnTo>
                    <a:pt x="78" y="288"/>
                  </a:lnTo>
                  <a:lnTo>
                    <a:pt x="76" y="286"/>
                  </a:lnTo>
                  <a:lnTo>
                    <a:pt x="70" y="284"/>
                  </a:lnTo>
                  <a:lnTo>
                    <a:pt x="66" y="278"/>
                  </a:lnTo>
                  <a:lnTo>
                    <a:pt x="60" y="272"/>
                  </a:lnTo>
                  <a:lnTo>
                    <a:pt x="54" y="268"/>
                  </a:lnTo>
                  <a:lnTo>
                    <a:pt x="52" y="264"/>
                  </a:lnTo>
                  <a:lnTo>
                    <a:pt x="50" y="256"/>
                  </a:lnTo>
                  <a:lnTo>
                    <a:pt x="48" y="250"/>
                  </a:lnTo>
                  <a:lnTo>
                    <a:pt x="44" y="244"/>
                  </a:lnTo>
                  <a:lnTo>
                    <a:pt x="42" y="238"/>
                  </a:lnTo>
                  <a:lnTo>
                    <a:pt x="44" y="234"/>
                  </a:lnTo>
                  <a:lnTo>
                    <a:pt x="42" y="228"/>
                  </a:lnTo>
                  <a:lnTo>
                    <a:pt x="38" y="222"/>
                  </a:lnTo>
                  <a:lnTo>
                    <a:pt x="34" y="216"/>
                  </a:lnTo>
                  <a:lnTo>
                    <a:pt x="32" y="210"/>
                  </a:lnTo>
                  <a:lnTo>
                    <a:pt x="32" y="206"/>
                  </a:lnTo>
                  <a:lnTo>
                    <a:pt x="26" y="200"/>
                  </a:lnTo>
                  <a:lnTo>
                    <a:pt x="24" y="198"/>
                  </a:lnTo>
                  <a:lnTo>
                    <a:pt x="18" y="192"/>
                  </a:lnTo>
                  <a:lnTo>
                    <a:pt x="16" y="186"/>
                  </a:lnTo>
                  <a:lnTo>
                    <a:pt x="14" y="180"/>
                  </a:lnTo>
                  <a:lnTo>
                    <a:pt x="10" y="174"/>
                  </a:lnTo>
                  <a:lnTo>
                    <a:pt x="4" y="168"/>
                  </a:lnTo>
                  <a:lnTo>
                    <a:pt x="2" y="162"/>
                  </a:lnTo>
                  <a:lnTo>
                    <a:pt x="0" y="156"/>
                  </a:lnTo>
                  <a:lnTo>
                    <a:pt x="2" y="1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7" name="Freeform 255"/>
            <p:cNvSpPr>
              <a:spLocks/>
            </p:cNvSpPr>
            <p:nvPr/>
          </p:nvSpPr>
          <p:spPr bwMode="auto">
            <a:xfrm>
              <a:off x="5057775" y="3298825"/>
              <a:ext cx="30163" cy="107950"/>
            </a:xfrm>
            <a:custGeom>
              <a:avLst/>
              <a:gdLst>
                <a:gd name="T0" fmla="*/ 0 w 72"/>
                <a:gd name="T1" fmla="*/ 2147483647 h 262"/>
                <a:gd name="T2" fmla="*/ 2147483647 w 72"/>
                <a:gd name="T3" fmla="*/ 2147483647 h 262"/>
                <a:gd name="T4" fmla="*/ 2147483647 w 72"/>
                <a:gd name="T5" fmla="*/ 2147483647 h 262"/>
                <a:gd name="T6" fmla="*/ 2147483647 w 72"/>
                <a:gd name="T7" fmla="*/ 2147483647 h 262"/>
                <a:gd name="T8" fmla="*/ 2147483647 w 72"/>
                <a:gd name="T9" fmla="*/ 2147483647 h 262"/>
                <a:gd name="T10" fmla="*/ 2147483647 w 72"/>
                <a:gd name="T11" fmla="*/ 2147483647 h 262"/>
                <a:gd name="T12" fmla="*/ 2147483647 w 72"/>
                <a:gd name="T13" fmla="*/ 2147483647 h 262"/>
                <a:gd name="T14" fmla="*/ 2147483647 w 72"/>
                <a:gd name="T15" fmla="*/ 2147483647 h 262"/>
                <a:gd name="T16" fmla="*/ 2147483647 w 72"/>
                <a:gd name="T17" fmla="*/ 2147483647 h 262"/>
                <a:gd name="T18" fmla="*/ 2147483647 w 72"/>
                <a:gd name="T19" fmla="*/ 2147483647 h 262"/>
                <a:gd name="T20" fmla="*/ 2147483647 w 72"/>
                <a:gd name="T21" fmla="*/ 2147483647 h 262"/>
                <a:gd name="T22" fmla="*/ 2147483647 w 72"/>
                <a:gd name="T23" fmla="*/ 2147483647 h 262"/>
                <a:gd name="T24" fmla="*/ 2147483647 w 72"/>
                <a:gd name="T25" fmla="*/ 2147483647 h 262"/>
                <a:gd name="T26" fmla="*/ 2147483647 w 72"/>
                <a:gd name="T27" fmla="*/ 0 h 262"/>
                <a:gd name="T28" fmla="*/ 2147483647 w 72"/>
                <a:gd name="T29" fmla="*/ 2147483647 h 262"/>
                <a:gd name="T30" fmla="*/ 2147483647 w 72"/>
                <a:gd name="T31" fmla="*/ 2147483647 h 262"/>
                <a:gd name="T32" fmla="*/ 2147483647 w 72"/>
                <a:gd name="T33" fmla="*/ 2147483647 h 262"/>
                <a:gd name="T34" fmla="*/ 2147483647 w 72"/>
                <a:gd name="T35" fmla="*/ 2147483647 h 262"/>
                <a:gd name="T36" fmla="*/ 2147483647 w 72"/>
                <a:gd name="T37" fmla="*/ 2147483647 h 262"/>
                <a:gd name="T38" fmla="*/ 2147483647 w 72"/>
                <a:gd name="T39" fmla="*/ 2147483647 h 262"/>
                <a:gd name="T40" fmla="*/ 2147483647 w 72"/>
                <a:gd name="T41" fmla="*/ 2147483647 h 262"/>
                <a:gd name="T42" fmla="*/ 2147483647 w 72"/>
                <a:gd name="T43" fmla="*/ 2147483647 h 262"/>
                <a:gd name="T44" fmla="*/ 2147483647 w 72"/>
                <a:gd name="T45" fmla="*/ 2147483647 h 262"/>
                <a:gd name="T46" fmla="*/ 2147483647 w 72"/>
                <a:gd name="T47" fmla="*/ 2147483647 h 262"/>
                <a:gd name="T48" fmla="*/ 2147483647 w 72"/>
                <a:gd name="T49" fmla="*/ 2147483647 h 262"/>
                <a:gd name="T50" fmla="*/ 2147483647 w 72"/>
                <a:gd name="T51" fmla="*/ 2147483647 h 262"/>
                <a:gd name="T52" fmla="*/ 2147483647 w 72"/>
                <a:gd name="T53" fmla="*/ 2147483647 h 262"/>
                <a:gd name="T54" fmla="*/ 2147483647 w 72"/>
                <a:gd name="T55" fmla="*/ 2147483647 h 262"/>
                <a:gd name="T56" fmla="*/ 2147483647 w 72"/>
                <a:gd name="T57" fmla="*/ 2147483647 h 262"/>
                <a:gd name="T58" fmla="*/ 2147483647 w 72"/>
                <a:gd name="T59" fmla="*/ 2147483647 h 262"/>
                <a:gd name="T60" fmla="*/ 2147483647 w 72"/>
                <a:gd name="T61" fmla="*/ 2147483647 h 262"/>
                <a:gd name="T62" fmla="*/ 2147483647 w 72"/>
                <a:gd name="T63" fmla="*/ 2147483647 h 262"/>
                <a:gd name="T64" fmla="*/ 2147483647 w 72"/>
                <a:gd name="T65" fmla="*/ 2147483647 h 262"/>
                <a:gd name="T66" fmla="*/ 2147483647 w 72"/>
                <a:gd name="T67" fmla="*/ 2147483647 h 262"/>
                <a:gd name="T68" fmla="*/ 2147483647 w 72"/>
                <a:gd name="T69" fmla="*/ 2147483647 h 262"/>
                <a:gd name="T70" fmla="*/ 2147483647 w 72"/>
                <a:gd name="T71" fmla="*/ 2147483647 h 262"/>
                <a:gd name="T72" fmla="*/ 2147483647 w 72"/>
                <a:gd name="T73" fmla="*/ 2147483647 h 262"/>
                <a:gd name="T74" fmla="*/ 2147483647 w 72"/>
                <a:gd name="T75" fmla="*/ 2147483647 h 262"/>
                <a:gd name="T76" fmla="*/ 2147483647 w 72"/>
                <a:gd name="T77" fmla="*/ 2147483647 h 262"/>
                <a:gd name="T78" fmla="*/ 2147483647 w 72"/>
                <a:gd name="T79" fmla="*/ 2147483647 h 262"/>
                <a:gd name="T80" fmla="*/ 2147483647 w 72"/>
                <a:gd name="T81" fmla="*/ 2147483647 h 262"/>
                <a:gd name="T82" fmla="*/ 2147483647 w 72"/>
                <a:gd name="T83" fmla="*/ 2147483647 h 262"/>
                <a:gd name="T84" fmla="*/ 2147483647 w 72"/>
                <a:gd name="T85" fmla="*/ 2147483647 h 262"/>
                <a:gd name="T86" fmla="*/ 2147483647 w 72"/>
                <a:gd name="T87" fmla="*/ 2147483647 h 262"/>
                <a:gd name="T88" fmla="*/ 2147483647 w 72"/>
                <a:gd name="T89" fmla="*/ 2147483647 h 262"/>
                <a:gd name="T90" fmla="*/ 2147483647 w 72"/>
                <a:gd name="T91" fmla="*/ 2147483647 h 262"/>
                <a:gd name="T92" fmla="*/ 2147483647 w 72"/>
                <a:gd name="T93" fmla="*/ 2147483647 h 262"/>
                <a:gd name="T94" fmla="*/ 2147483647 w 72"/>
                <a:gd name="T95" fmla="*/ 2147483647 h 262"/>
                <a:gd name="T96" fmla="*/ 2147483647 w 72"/>
                <a:gd name="T97" fmla="*/ 2147483647 h 262"/>
                <a:gd name="T98" fmla="*/ 2147483647 w 72"/>
                <a:gd name="T99" fmla="*/ 2147483647 h 262"/>
                <a:gd name="T100" fmla="*/ 2147483647 w 72"/>
                <a:gd name="T101" fmla="*/ 2147483647 h 262"/>
                <a:gd name="T102" fmla="*/ 2147483647 w 72"/>
                <a:gd name="T103" fmla="*/ 2147483647 h 262"/>
                <a:gd name="T104" fmla="*/ 2147483647 w 72"/>
                <a:gd name="T105" fmla="*/ 2147483647 h 262"/>
                <a:gd name="T106" fmla="*/ 2147483647 w 72"/>
                <a:gd name="T107" fmla="*/ 2147483647 h 262"/>
                <a:gd name="T108" fmla="*/ 2147483647 w 72"/>
                <a:gd name="T109" fmla="*/ 2147483647 h 262"/>
                <a:gd name="T110" fmla="*/ 2147483647 w 72"/>
                <a:gd name="T111" fmla="*/ 2147483647 h 262"/>
                <a:gd name="T112" fmla="*/ 2147483647 w 72"/>
                <a:gd name="T113" fmla="*/ 2147483647 h 262"/>
                <a:gd name="T114" fmla="*/ 2147483647 w 72"/>
                <a:gd name="T115" fmla="*/ 2147483647 h 262"/>
                <a:gd name="T116" fmla="*/ 2147483647 w 72"/>
                <a:gd name="T117" fmla="*/ 2147483647 h 262"/>
                <a:gd name="T118" fmla="*/ 2147483647 w 72"/>
                <a:gd name="T119" fmla="*/ 2147483647 h 262"/>
                <a:gd name="T120" fmla="*/ 2147483647 w 72"/>
                <a:gd name="T121" fmla="*/ 2147483647 h 262"/>
                <a:gd name="T122" fmla="*/ 0 w 72"/>
                <a:gd name="T123" fmla="*/ 2147483647 h 26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2"/>
                <a:gd name="T187" fmla="*/ 0 h 262"/>
                <a:gd name="T188" fmla="*/ 72 w 72"/>
                <a:gd name="T189" fmla="*/ 262 h 26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2" h="262">
                  <a:moveTo>
                    <a:pt x="0" y="144"/>
                  </a:moveTo>
                  <a:lnTo>
                    <a:pt x="0" y="142"/>
                  </a:lnTo>
                  <a:lnTo>
                    <a:pt x="4" y="136"/>
                  </a:lnTo>
                  <a:lnTo>
                    <a:pt x="6" y="130"/>
                  </a:lnTo>
                  <a:lnTo>
                    <a:pt x="10" y="124"/>
                  </a:lnTo>
                  <a:lnTo>
                    <a:pt x="12" y="122"/>
                  </a:lnTo>
                  <a:lnTo>
                    <a:pt x="14" y="120"/>
                  </a:lnTo>
                  <a:lnTo>
                    <a:pt x="10" y="118"/>
                  </a:lnTo>
                  <a:lnTo>
                    <a:pt x="10" y="116"/>
                  </a:lnTo>
                  <a:lnTo>
                    <a:pt x="14" y="110"/>
                  </a:lnTo>
                  <a:lnTo>
                    <a:pt x="14" y="108"/>
                  </a:lnTo>
                  <a:lnTo>
                    <a:pt x="18" y="102"/>
                  </a:lnTo>
                  <a:lnTo>
                    <a:pt x="18" y="100"/>
                  </a:lnTo>
                  <a:lnTo>
                    <a:pt x="20" y="98"/>
                  </a:lnTo>
                  <a:lnTo>
                    <a:pt x="20" y="94"/>
                  </a:lnTo>
                  <a:lnTo>
                    <a:pt x="22" y="88"/>
                  </a:lnTo>
                  <a:lnTo>
                    <a:pt x="24" y="82"/>
                  </a:lnTo>
                  <a:lnTo>
                    <a:pt x="26" y="76"/>
                  </a:lnTo>
                  <a:lnTo>
                    <a:pt x="26" y="74"/>
                  </a:lnTo>
                  <a:lnTo>
                    <a:pt x="26" y="68"/>
                  </a:lnTo>
                  <a:lnTo>
                    <a:pt x="26" y="66"/>
                  </a:lnTo>
                  <a:lnTo>
                    <a:pt x="28" y="60"/>
                  </a:lnTo>
                  <a:lnTo>
                    <a:pt x="28" y="54"/>
                  </a:lnTo>
                  <a:lnTo>
                    <a:pt x="30" y="50"/>
                  </a:lnTo>
                  <a:lnTo>
                    <a:pt x="30" y="44"/>
                  </a:lnTo>
                  <a:lnTo>
                    <a:pt x="30" y="38"/>
                  </a:lnTo>
                  <a:lnTo>
                    <a:pt x="34" y="32"/>
                  </a:lnTo>
                  <a:lnTo>
                    <a:pt x="38" y="28"/>
                  </a:lnTo>
                  <a:lnTo>
                    <a:pt x="38" y="24"/>
                  </a:lnTo>
                  <a:lnTo>
                    <a:pt x="38" y="20"/>
                  </a:lnTo>
                  <a:lnTo>
                    <a:pt x="38" y="14"/>
                  </a:lnTo>
                  <a:lnTo>
                    <a:pt x="38" y="12"/>
                  </a:lnTo>
                  <a:lnTo>
                    <a:pt x="44" y="14"/>
                  </a:lnTo>
                  <a:lnTo>
                    <a:pt x="48" y="12"/>
                  </a:lnTo>
                  <a:lnTo>
                    <a:pt x="52" y="16"/>
                  </a:lnTo>
                  <a:lnTo>
                    <a:pt x="58" y="14"/>
                  </a:lnTo>
                  <a:lnTo>
                    <a:pt x="62" y="12"/>
                  </a:lnTo>
                  <a:lnTo>
                    <a:pt x="62" y="8"/>
                  </a:lnTo>
                  <a:lnTo>
                    <a:pt x="64" y="2"/>
                  </a:lnTo>
                  <a:lnTo>
                    <a:pt x="64" y="0"/>
                  </a:lnTo>
                  <a:lnTo>
                    <a:pt x="66" y="2"/>
                  </a:lnTo>
                  <a:lnTo>
                    <a:pt x="68" y="2"/>
                  </a:lnTo>
                  <a:lnTo>
                    <a:pt x="70" y="2"/>
                  </a:lnTo>
                  <a:lnTo>
                    <a:pt x="70" y="4"/>
                  </a:lnTo>
                  <a:lnTo>
                    <a:pt x="70" y="10"/>
                  </a:lnTo>
                  <a:lnTo>
                    <a:pt x="70" y="14"/>
                  </a:lnTo>
                  <a:lnTo>
                    <a:pt x="68" y="16"/>
                  </a:lnTo>
                  <a:lnTo>
                    <a:pt x="68" y="20"/>
                  </a:lnTo>
                  <a:lnTo>
                    <a:pt x="68" y="24"/>
                  </a:lnTo>
                  <a:lnTo>
                    <a:pt x="68" y="26"/>
                  </a:lnTo>
                  <a:lnTo>
                    <a:pt x="70" y="28"/>
                  </a:lnTo>
                  <a:lnTo>
                    <a:pt x="70" y="32"/>
                  </a:lnTo>
                  <a:lnTo>
                    <a:pt x="72" y="32"/>
                  </a:lnTo>
                  <a:lnTo>
                    <a:pt x="72" y="34"/>
                  </a:lnTo>
                  <a:lnTo>
                    <a:pt x="72" y="36"/>
                  </a:lnTo>
                  <a:lnTo>
                    <a:pt x="70" y="36"/>
                  </a:lnTo>
                  <a:lnTo>
                    <a:pt x="68" y="40"/>
                  </a:lnTo>
                  <a:lnTo>
                    <a:pt x="70" y="40"/>
                  </a:lnTo>
                  <a:lnTo>
                    <a:pt x="72" y="40"/>
                  </a:lnTo>
                  <a:lnTo>
                    <a:pt x="70" y="42"/>
                  </a:lnTo>
                  <a:lnTo>
                    <a:pt x="68" y="44"/>
                  </a:lnTo>
                  <a:lnTo>
                    <a:pt x="68" y="48"/>
                  </a:lnTo>
                  <a:lnTo>
                    <a:pt x="68" y="54"/>
                  </a:lnTo>
                  <a:lnTo>
                    <a:pt x="68" y="60"/>
                  </a:lnTo>
                  <a:lnTo>
                    <a:pt x="68" y="62"/>
                  </a:lnTo>
                  <a:lnTo>
                    <a:pt x="64" y="60"/>
                  </a:lnTo>
                  <a:lnTo>
                    <a:pt x="62" y="60"/>
                  </a:lnTo>
                  <a:lnTo>
                    <a:pt x="60" y="54"/>
                  </a:lnTo>
                  <a:lnTo>
                    <a:pt x="54" y="54"/>
                  </a:lnTo>
                  <a:lnTo>
                    <a:pt x="52" y="54"/>
                  </a:lnTo>
                  <a:lnTo>
                    <a:pt x="46" y="50"/>
                  </a:lnTo>
                  <a:lnTo>
                    <a:pt x="44" y="54"/>
                  </a:lnTo>
                  <a:lnTo>
                    <a:pt x="38" y="60"/>
                  </a:lnTo>
                  <a:lnTo>
                    <a:pt x="38" y="62"/>
                  </a:lnTo>
                  <a:lnTo>
                    <a:pt x="38" y="66"/>
                  </a:lnTo>
                  <a:lnTo>
                    <a:pt x="38" y="68"/>
                  </a:lnTo>
                  <a:lnTo>
                    <a:pt x="36" y="74"/>
                  </a:lnTo>
                  <a:lnTo>
                    <a:pt x="34" y="74"/>
                  </a:lnTo>
                  <a:lnTo>
                    <a:pt x="34" y="76"/>
                  </a:lnTo>
                  <a:lnTo>
                    <a:pt x="36" y="80"/>
                  </a:lnTo>
                  <a:lnTo>
                    <a:pt x="38" y="84"/>
                  </a:lnTo>
                  <a:lnTo>
                    <a:pt x="38" y="88"/>
                  </a:lnTo>
                  <a:lnTo>
                    <a:pt x="38" y="90"/>
                  </a:lnTo>
                  <a:lnTo>
                    <a:pt x="38" y="94"/>
                  </a:lnTo>
                  <a:lnTo>
                    <a:pt x="38" y="98"/>
                  </a:lnTo>
                  <a:lnTo>
                    <a:pt x="36" y="98"/>
                  </a:lnTo>
                  <a:lnTo>
                    <a:pt x="36" y="100"/>
                  </a:lnTo>
                  <a:lnTo>
                    <a:pt x="38" y="102"/>
                  </a:lnTo>
                  <a:lnTo>
                    <a:pt x="40" y="102"/>
                  </a:lnTo>
                  <a:lnTo>
                    <a:pt x="46" y="100"/>
                  </a:lnTo>
                  <a:lnTo>
                    <a:pt x="50" y="102"/>
                  </a:lnTo>
                  <a:lnTo>
                    <a:pt x="52" y="102"/>
                  </a:lnTo>
                  <a:lnTo>
                    <a:pt x="52" y="104"/>
                  </a:lnTo>
                  <a:lnTo>
                    <a:pt x="52" y="106"/>
                  </a:lnTo>
                  <a:lnTo>
                    <a:pt x="46" y="108"/>
                  </a:lnTo>
                  <a:lnTo>
                    <a:pt x="40" y="112"/>
                  </a:lnTo>
                  <a:lnTo>
                    <a:pt x="40" y="114"/>
                  </a:lnTo>
                  <a:lnTo>
                    <a:pt x="38" y="116"/>
                  </a:lnTo>
                  <a:lnTo>
                    <a:pt x="38" y="122"/>
                  </a:lnTo>
                  <a:lnTo>
                    <a:pt x="34" y="128"/>
                  </a:lnTo>
                  <a:lnTo>
                    <a:pt x="38" y="134"/>
                  </a:lnTo>
                  <a:lnTo>
                    <a:pt x="42" y="134"/>
                  </a:lnTo>
                  <a:lnTo>
                    <a:pt x="46" y="134"/>
                  </a:lnTo>
                  <a:lnTo>
                    <a:pt x="52" y="132"/>
                  </a:lnTo>
                  <a:lnTo>
                    <a:pt x="58" y="128"/>
                  </a:lnTo>
                  <a:lnTo>
                    <a:pt x="60" y="126"/>
                  </a:lnTo>
                  <a:lnTo>
                    <a:pt x="62" y="126"/>
                  </a:lnTo>
                  <a:lnTo>
                    <a:pt x="64" y="124"/>
                  </a:lnTo>
                  <a:lnTo>
                    <a:pt x="68" y="124"/>
                  </a:lnTo>
                  <a:lnTo>
                    <a:pt x="68" y="130"/>
                  </a:lnTo>
                  <a:lnTo>
                    <a:pt x="66" y="136"/>
                  </a:lnTo>
                  <a:lnTo>
                    <a:pt x="64" y="142"/>
                  </a:lnTo>
                  <a:lnTo>
                    <a:pt x="66" y="142"/>
                  </a:lnTo>
                  <a:lnTo>
                    <a:pt x="66" y="144"/>
                  </a:lnTo>
                  <a:lnTo>
                    <a:pt x="70" y="150"/>
                  </a:lnTo>
                  <a:lnTo>
                    <a:pt x="68" y="152"/>
                  </a:lnTo>
                  <a:lnTo>
                    <a:pt x="68" y="156"/>
                  </a:lnTo>
                  <a:lnTo>
                    <a:pt x="66" y="158"/>
                  </a:lnTo>
                  <a:lnTo>
                    <a:pt x="66" y="160"/>
                  </a:lnTo>
                  <a:lnTo>
                    <a:pt x="66" y="162"/>
                  </a:lnTo>
                  <a:lnTo>
                    <a:pt x="64" y="164"/>
                  </a:lnTo>
                  <a:lnTo>
                    <a:pt x="64" y="168"/>
                  </a:lnTo>
                  <a:lnTo>
                    <a:pt x="62" y="174"/>
                  </a:lnTo>
                  <a:lnTo>
                    <a:pt x="60" y="180"/>
                  </a:lnTo>
                  <a:lnTo>
                    <a:pt x="56" y="186"/>
                  </a:lnTo>
                  <a:lnTo>
                    <a:pt x="56" y="192"/>
                  </a:lnTo>
                  <a:lnTo>
                    <a:pt x="54" y="198"/>
                  </a:lnTo>
                  <a:lnTo>
                    <a:pt x="56" y="204"/>
                  </a:lnTo>
                  <a:lnTo>
                    <a:pt x="54" y="210"/>
                  </a:lnTo>
                  <a:lnTo>
                    <a:pt x="56" y="216"/>
                  </a:lnTo>
                  <a:lnTo>
                    <a:pt x="54" y="222"/>
                  </a:lnTo>
                  <a:lnTo>
                    <a:pt x="54" y="228"/>
                  </a:lnTo>
                  <a:lnTo>
                    <a:pt x="52" y="234"/>
                  </a:lnTo>
                  <a:lnTo>
                    <a:pt x="52" y="240"/>
                  </a:lnTo>
                  <a:lnTo>
                    <a:pt x="50" y="246"/>
                  </a:lnTo>
                  <a:lnTo>
                    <a:pt x="50" y="252"/>
                  </a:lnTo>
                  <a:lnTo>
                    <a:pt x="48" y="256"/>
                  </a:lnTo>
                  <a:lnTo>
                    <a:pt x="48" y="258"/>
                  </a:lnTo>
                  <a:lnTo>
                    <a:pt x="44" y="262"/>
                  </a:lnTo>
                  <a:lnTo>
                    <a:pt x="42" y="258"/>
                  </a:lnTo>
                  <a:lnTo>
                    <a:pt x="42" y="254"/>
                  </a:lnTo>
                  <a:lnTo>
                    <a:pt x="42" y="250"/>
                  </a:lnTo>
                  <a:lnTo>
                    <a:pt x="40" y="244"/>
                  </a:lnTo>
                  <a:lnTo>
                    <a:pt x="38" y="240"/>
                  </a:lnTo>
                  <a:lnTo>
                    <a:pt x="34" y="232"/>
                  </a:lnTo>
                  <a:lnTo>
                    <a:pt x="34" y="228"/>
                  </a:lnTo>
                  <a:lnTo>
                    <a:pt x="30" y="222"/>
                  </a:lnTo>
                  <a:lnTo>
                    <a:pt x="30" y="220"/>
                  </a:lnTo>
                  <a:lnTo>
                    <a:pt x="30" y="218"/>
                  </a:lnTo>
                  <a:lnTo>
                    <a:pt x="28" y="212"/>
                  </a:lnTo>
                  <a:lnTo>
                    <a:pt x="24" y="206"/>
                  </a:lnTo>
                  <a:lnTo>
                    <a:pt x="20" y="200"/>
                  </a:lnTo>
                  <a:lnTo>
                    <a:pt x="20" y="194"/>
                  </a:lnTo>
                  <a:lnTo>
                    <a:pt x="16" y="188"/>
                  </a:lnTo>
                  <a:lnTo>
                    <a:pt x="16" y="182"/>
                  </a:lnTo>
                  <a:lnTo>
                    <a:pt x="14" y="180"/>
                  </a:lnTo>
                  <a:lnTo>
                    <a:pt x="12" y="176"/>
                  </a:lnTo>
                  <a:lnTo>
                    <a:pt x="10" y="172"/>
                  </a:lnTo>
                  <a:lnTo>
                    <a:pt x="8" y="166"/>
                  </a:lnTo>
                  <a:lnTo>
                    <a:pt x="6" y="160"/>
                  </a:lnTo>
                  <a:lnTo>
                    <a:pt x="4" y="158"/>
                  </a:lnTo>
                  <a:lnTo>
                    <a:pt x="2" y="152"/>
                  </a:lnTo>
                  <a:lnTo>
                    <a:pt x="0" y="146"/>
                  </a:lnTo>
                  <a:lnTo>
                    <a:pt x="0" y="1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8" name="Freeform 256"/>
            <p:cNvSpPr>
              <a:spLocks/>
            </p:cNvSpPr>
            <p:nvPr/>
          </p:nvSpPr>
          <p:spPr bwMode="auto">
            <a:xfrm>
              <a:off x="5073650" y="3257550"/>
              <a:ext cx="33338" cy="47625"/>
            </a:xfrm>
            <a:custGeom>
              <a:avLst/>
              <a:gdLst>
                <a:gd name="T0" fmla="*/ 0 w 82"/>
                <a:gd name="T1" fmla="*/ 2147483647 h 114"/>
                <a:gd name="T2" fmla="*/ 2147483647 w 82"/>
                <a:gd name="T3" fmla="*/ 2147483647 h 114"/>
                <a:gd name="T4" fmla="*/ 2147483647 w 82"/>
                <a:gd name="T5" fmla="*/ 2147483647 h 114"/>
                <a:gd name="T6" fmla="*/ 2147483647 w 82"/>
                <a:gd name="T7" fmla="*/ 2147483647 h 114"/>
                <a:gd name="T8" fmla="*/ 2147483647 w 82"/>
                <a:gd name="T9" fmla="*/ 2147483647 h 114"/>
                <a:gd name="T10" fmla="*/ 2147483647 w 82"/>
                <a:gd name="T11" fmla="*/ 2147483647 h 114"/>
                <a:gd name="T12" fmla="*/ 2147483647 w 82"/>
                <a:gd name="T13" fmla="*/ 2147483647 h 114"/>
                <a:gd name="T14" fmla="*/ 2147483647 w 82"/>
                <a:gd name="T15" fmla="*/ 2147483647 h 114"/>
                <a:gd name="T16" fmla="*/ 2147483647 w 82"/>
                <a:gd name="T17" fmla="*/ 2147483647 h 114"/>
                <a:gd name="T18" fmla="*/ 2147483647 w 82"/>
                <a:gd name="T19" fmla="*/ 2147483647 h 114"/>
                <a:gd name="T20" fmla="*/ 2147483647 w 82"/>
                <a:gd name="T21" fmla="*/ 2147483647 h 114"/>
                <a:gd name="T22" fmla="*/ 2147483647 w 82"/>
                <a:gd name="T23" fmla="*/ 2147483647 h 114"/>
                <a:gd name="T24" fmla="*/ 2147483647 w 82"/>
                <a:gd name="T25" fmla="*/ 2147483647 h 114"/>
                <a:gd name="T26" fmla="*/ 2147483647 w 82"/>
                <a:gd name="T27" fmla="*/ 2147483647 h 114"/>
                <a:gd name="T28" fmla="*/ 2147483647 w 82"/>
                <a:gd name="T29" fmla="*/ 2147483647 h 114"/>
                <a:gd name="T30" fmla="*/ 2147483647 w 82"/>
                <a:gd name="T31" fmla="*/ 2147483647 h 114"/>
                <a:gd name="T32" fmla="*/ 2147483647 w 82"/>
                <a:gd name="T33" fmla="*/ 2147483647 h 114"/>
                <a:gd name="T34" fmla="*/ 2147483647 w 82"/>
                <a:gd name="T35" fmla="*/ 2147483647 h 114"/>
                <a:gd name="T36" fmla="*/ 2147483647 w 82"/>
                <a:gd name="T37" fmla="*/ 2147483647 h 114"/>
                <a:gd name="T38" fmla="*/ 2147483647 w 82"/>
                <a:gd name="T39" fmla="*/ 0 h 114"/>
                <a:gd name="T40" fmla="*/ 2147483647 w 82"/>
                <a:gd name="T41" fmla="*/ 2147483647 h 114"/>
                <a:gd name="T42" fmla="*/ 2147483647 w 82"/>
                <a:gd name="T43" fmla="*/ 2147483647 h 114"/>
                <a:gd name="T44" fmla="*/ 2147483647 w 82"/>
                <a:gd name="T45" fmla="*/ 2147483647 h 114"/>
                <a:gd name="T46" fmla="*/ 2147483647 w 82"/>
                <a:gd name="T47" fmla="*/ 2147483647 h 114"/>
                <a:gd name="T48" fmla="*/ 2147483647 w 82"/>
                <a:gd name="T49" fmla="*/ 2147483647 h 114"/>
                <a:gd name="T50" fmla="*/ 2147483647 w 82"/>
                <a:gd name="T51" fmla="*/ 2147483647 h 114"/>
                <a:gd name="T52" fmla="*/ 2147483647 w 82"/>
                <a:gd name="T53" fmla="*/ 2147483647 h 114"/>
                <a:gd name="T54" fmla="*/ 2147483647 w 82"/>
                <a:gd name="T55" fmla="*/ 2147483647 h 114"/>
                <a:gd name="T56" fmla="*/ 2147483647 w 82"/>
                <a:gd name="T57" fmla="*/ 2147483647 h 114"/>
                <a:gd name="T58" fmla="*/ 2147483647 w 82"/>
                <a:gd name="T59" fmla="*/ 2147483647 h 114"/>
                <a:gd name="T60" fmla="*/ 2147483647 w 82"/>
                <a:gd name="T61" fmla="*/ 2147483647 h 114"/>
                <a:gd name="T62" fmla="*/ 2147483647 w 82"/>
                <a:gd name="T63" fmla="*/ 2147483647 h 114"/>
                <a:gd name="T64" fmla="*/ 2147483647 w 82"/>
                <a:gd name="T65" fmla="*/ 2147483647 h 114"/>
                <a:gd name="T66" fmla="*/ 2147483647 w 82"/>
                <a:gd name="T67" fmla="*/ 2147483647 h 114"/>
                <a:gd name="T68" fmla="*/ 2147483647 w 82"/>
                <a:gd name="T69" fmla="*/ 2147483647 h 114"/>
                <a:gd name="T70" fmla="*/ 2147483647 w 82"/>
                <a:gd name="T71" fmla="*/ 2147483647 h 114"/>
                <a:gd name="T72" fmla="*/ 2147483647 w 82"/>
                <a:gd name="T73" fmla="*/ 2147483647 h 114"/>
                <a:gd name="T74" fmla="*/ 2147483647 w 82"/>
                <a:gd name="T75" fmla="*/ 2147483647 h 114"/>
                <a:gd name="T76" fmla="*/ 2147483647 w 82"/>
                <a:gd name="T77" fmla="*/ 2147483647 h 114"/>
                <a:gd name="T78" fmla="*/ 2147483647 w 82"/>
                <a:gd name="T79" fmla="*/ 2147483647 h 114"/>
                <a:gd name="T80" fmla="*/ 2147483647 w 82"/>
                <a:gd name="T81" fmla="*/ 2147483647 h 114"/>
                <a:gd name="T82" fmla="*/ 2147483647 w 82"/>
                <a:gd name="T83" fmla="*/ 2147483647 h 114"/>
                <a:gd name="T84" fmla="*/ 2147483647 w 82"/>
                <a:gd name="T85" fmla="*/ 2147483647 h 114"/>
                <a:gd name="T86" fmla="*/ 2147483647 w 82"/>
                <a:gd name="T87" fmla="*/ 2147483647 h 114"/>
                <a:gd name="T88" fmla="*/ 2147483647 w 82"/>
                <a:gd name="T89" fmla="*/ 2147483647 h 114"/>
                <a:gd name="T90" fmla="*/ 2147483647 w 82"/>
                <a:gd name="T91" fmla="*/ 2147483647 h 114"/>
                <a:gd name="T92" fmla="*/ 0 w 82"/>
                <a:gd name="T93" fmla="*/ 2147483647 h 1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2"/>
                <a:gd name="T142" fmla="*/ 0 h 114"/>
                <a:gd name="T143" fmla="*/ 82 w 82"/>
                <a:gd name="T144" fmla="*/ 114 h 11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2" h="114">
                  <a:moveTo>
                    <a:pt x="0" y="112"/>
                  </a:moveTo>
                  <a:lnTo>
                    <a:pt x="0" y="110"/>
                  </a:lnTo>
                  <a:lnTo>
                    <a:pt x="4" y="104"/>
                  </a:lnTo>
                  <a:lnTo>
                    <a:pt x="4" y="98"/>
                  </a:lnTo>
                  <a:lnTo>
                    <a:pt x="6" y="96"/>
                  </a:lnTo>
                  <a:lnTo>
                    <a:pt x="6" y="94"/>
                  </a:lnTo>
                  <a:lnTo>
                    <a:pt x="8" y="90"/>
                  </a:lnTo>
                  <a:lnTo>
                    <a:pt x="10" y="84"/>
                  </a:lnTo>
                  <a:lnTo>
                    <a:pt x="12" y="78"/>
                  </a:lnTo>
                  <a:lnTo>
                    <a:pt x="14" y="76"/>
                  </a:lnTo>
                  <a:lnTo>
                    <a:pt x="14" y="72"/>
                  </a:lnTo>
                  <a:lnTo>
                    <a:pt x="16" y="66"/>
                  </a:lnTo>
                  <a:lnTo>
                    <a:pt x="18" y="58"/>
                  </a:lnTo>
                  <a:lnTo>
                    <a:pt x="22" y="56"/>
                  </a:lnTo>
                  <a:lnTo>
                    <a:pt x="24" y="52"/>
                  </a:lnTo>
                  <a:lnTo>
                    <a:pt x="24" y="50"/>
                  </a:lnTo>
                  <a:lnTo>
                    <a:pt x="26" y="44"/>
                  </a:lnTo>
                  <a:lnTo>
                    <a:pt x="26" y="40"/>
                  </a:lnTo>
                  <a:lnTo>
                    <a:pt x="26" y="34"/>
                  </a:lnTo>
                  <a:lnTo>
                    <a:pt x="26" y="30"/>
                  </a:lnTo>
                  <a:lnTo>
                    <a:pt x="30" y="24"/>
                  </a:lnTo>
                  <a:lnTo>
                    <a:pt x="32" y="20"/>
                  </a:lnTo>
                  <a:lnTo>
                    <a:pt x="36" y="16"/>
                  </a:lnTo>
                  <a:lnTo>
                    <a:pt x="42" y="12"/>
                  </a:lnTo>
                  <a:lnTo>
                    <a:pt x="42" y="10"/>
                  </a:lnTo>
                  <a:lnTo>
                    <a:pt x="42" y="4"/>
                  </a:lnTo>
                  <a:lnTo>
                    <a:pt x="46" y="4"/>
                  </a:lnTo>
                  <a:lnTo>
                    <a:pt x="50" y="4"/>
                  </a:lnTo>
                  <a:lnTo>
                    <a:pt x="52" y="4"/>
                  </a:lnTo>
                  <a:lnTo>
                    <a:pt x="58" y="4"/>
                  </a:lnTo>
                  <a:lnTo>
                    <a:pt x="60" y="4"/>
                  </a:lnTo>
                  <a:lnTo>
                    <a:pt x="60" y="2"/>
                  </a:lnTo>
                  <a:lnTo>
                    <a:pt x="60" y="0"/>
                  </a:lnTo>
                  <a:lnTo>
                    <a:pt x="64" y="2"/>
                  </a:lnTo>
                  <a:lnTo>
                    <a:pt x="66" y="4"/>
                  </a:lnTo>
                  <a:lnTo>
                    <a:pt x="68" y="6"/>
                  </a:lnTo>
                  <a:lnTo>
                    <a:pt x="64" y="12"/>
                  </a:lnTo>
                  <a:lnTo>
                    <a:pt x="64" y="14"/>
                  </a:lnTo>
                  <a:lnTo>
                    <a:pt x="70" y="14"/>
                  </a:lnTo>
                  <a:lnTo>
                    <a:pt x="72" y="16"/>
                  </a:lnTo>
                  <a:lnTo>
                    <a:pt x="76" y="18"/>
                  </a:lnTo>
                  <a:lnTo>
                    <a:pt x="76" y="22"/>
                  </a:lnTo>
                  <a:lnTo>
                    <a:pt x="80" y="28"/>
                  </a:lnTo>
                  <a:lnTo>
                    <a:pt x="82" y="34"/>
                  </a:lnTo>
                  <a:lnTo>
                    <a:pt x="80" y="38"/>
                  </a:lnTo>
                  <a:lnTo>
                    <a:pt x="74" y="44"/>
                  </a:lnTo>
                  <a:lnTo>
                    <a:pt x="68" y="48"/>
                  </a:lnTo>
                  <a:lnTo>
                    <a:pt x="64" y="54"/>
                  </a:lnTo>
                  <a:lnTo>
                    <a:pt x="70" y="58"/>
                  </a:lnTo>
                  <a:lnTo>
                    <a:pt x="70" y="60"/>
                  </a:lnTo>
                  <a:lnTo>
                    <a:pt x="64" y="58"/>
                  </a:lnTo>
                  <a:lnTo>
                    <a:pt x="58" y="60"/>
                  </a:lnTo>
                  <a:lnTo>
                    <a:pt x="56" y="58"/>
                  </a:lnTo>
                  <a:lnTo>
                    <a:pt x="52" y="60"/>
                  </a:lnTo>
                  <a:lnTo>
                    <a:pt x="48" y="66"/>
                  </a:lnTo>
                  <a:lnTo>
                    <a:pt x="46" y="70"/>
                  </a:lnTo>
                  <a:lnTo>
                    <a:pt x="50" y="76"/>
                  </a:lnTo>
                  <a:lnTo>
                    <a:pt x="52" y="76"/>
                  </a:lnTo>
                  <a:lnTo>
                    <a:pt x="52" y="78"/>
                  </a:lnTo>
                  <a:lnTo>
                    <a:pt x="46" y="80"/>
                  </a:lnTo>
                  <a:lnTo>
                    <a:pt x="46" y="84"/>
                  </a:lnTo>
                  <a:lnTo>
                    <a:pt x="44" y="88"/>
                  </a:lnTo>
                  <a:lnTo>
                    <a:pt x="42" y="88"/>
                  </a:lnTo>
                  <a:lnTo>
                    <a:pt x="38" y="94"/>
                  </a:lnTo>
                  <a:lnTo>
                    <a:pt x="36" y="94"/>
                  </a:lnTo>
                  <a:lnTo>
                    <a:pt x="32" y="98"/>
                  </a:lnTo>
                  <a:lnTo>
                    <a:pt x="30" y="98"/>
                  </a:lnTo>
                  <a:lnTo>
                    <a:pt x="30" y="100"/>
                  </a:lnTo>
                  <a:lnTo>
                    <a:pt x="28" y="100"/>
                  </a:lnTo>
                  <a:lnTo>
                    <a:pt x="26" y="98"/>
                  </a:lnTo>
                  <a:lnTo>
                    <a:pt x="26" y="100"/>
                  </a:lnTo>
                  <a:lnTo>
                    <a:pt x="24" y="106"/>
                  </a:lnTo>
                  <a:lnTo>
                    <a:pt x="24" y="110"/>
                  </a:lnTo>
                  <a:lnTo>
                    <a:pt x="20" y="112"/>
                  </a:lnTo>
                  <a:lnTo>
                    <a:pt x="14" y="114"/>
                  </a:lnTo>
                  <a:lnTo>
                    <a:pt x="10" y="110"/>
                  </a:lnTo>
                  <a:lnTo>
                    <a:pt x="6" y="112"/>
                  </a:lnTo>
                  <a:lnTo>
                    <a:pt x="0" y="110"/>
                  </a:lnTo>
                  <a:lnTo>
                    <a:pt x="0" y="1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39" name="Freeform 257"/>
            <p:cNvSpPr>
              <a:spLocks/>
            </p:cNvSpPr>
            <p:nvPr/>
          </p:nvSpPr>
          <p:spPr bwMode="auto">
            <a:xfrm>
              <a:off x="3817938" y="3852863"/>
              <a:ext cx="74612" cy="22225"/>
            </a:xfrm>
            <a:custGeom>
              <a:avLst/>
              <a:gdLst>
                <a:gd name="T0" fmla="*/ 2147483647 w 182"/>
                <a:gd name="T1" fmla="*/ 2147483647 h 52"/>
                <a:gd name="T2" fmla="*/ 2147483647 w 182"/>
                <a:gd name="T3" fmla="*/ 2147483647 h 52"/>
                <a:gd name="T4" fmla="*/ 2147483647 w 182"/>
                <a:gd name="T5" fmla="*/ 2147483647 h 52"/>
                <a:gd name="T6" fmla="*/ 2147483647 w 182"/>
                <a:gd name="T7" fmla="*/ 2147483647 h 52"/>
                <a:gd name="T8" fmla="*/ 2147483647 w 182"/>
                <a:gd name="T9" fmla="*/ 2147483647 h 52"/>
                <a:gd name="T10" fmla="*/ 2147483647 w 182"/>
                <a:gd name="T11" fmla="*/ 2147483647 h 52"/>
                <a:gd name="T12" fmla="*/ 2147483647 w 182"/>
                <a:gd name="T13" fmla="*/ 2147483647 h 52"/>
                <a:gd name="T14" fmla="*/ 2147483647 w 182"/>
                <a:gd name="T15" fmla="*/ 2147483647 h 52"/>
                <a:gd name="T16" fmla="*/ 2147483647 w 182"/>
                <a:gd name="T17" fmla="*/ 2147483647 h 52"/>
                <a:gd name="T18" fmla="*/ 2147483647 w 182"/>
                <a:gd name="T19" fmla="*/ 2147483647 h 52"/>
                <a:gd name="T20" fmla="*/ 2147483647 w 182"/>
                <a:gd name="T21" fmla="*/ 2147483647 h 52"/>
                <a:gd name="T22" fmla="*/ 2147483647 w 182"/>
                <a:gd name="T23" fmla="*/ 2147483647 h 52"/>
                <a:gd name="T24" fmla="*/ 2147483647 w 182"/>
                <a:gd name="T25" fmla="*/ 2147483647 h 52"/>
                <a:gd name="T26" fmla="*/ 2147483647 w 182"/>
                <a:gd name="T27" fmla="*/ 2147483647 h 52"/>
                <a:gd name="T28" fmla="*/ 2147483647 w 182"/>
                <a:gd name="T29" fmla="*/ 2147483647 h 52"/>
                <a:gd name="T30" fmla="*/ 2147483647 w 182"/>
                <a:gd name="T31" fmla="*/ 2147483647 h 52"/>
                <a:gd name="T32" fmla="*/ 2147483647 w 182"/>
                <a:gd name="T33" fmla="*/ 2147483647 h 52"/>
                <a:gd name="T34" fmla="*/ 2147483647 w 182"/>
                <a:gd name="T35" fmla="*/ 2147483647 h 52"/>
                <a:gd name="T36" fmla="*/ 2147483647 w 182"/>
                <a:gd name="T37" fmla="*/ 2147483647 h 52"/>
                <a:gd name="T38" fmla="*/ 2147483647 w 182"/>
                <a:gd name="T39" fmla="*/ 2147483647 h 52"/>
                <a:gd name="T40" fmla="*/ 2147483647 w 182"/>
                <a:gd name="T41" fmla="*/ 2147483647 h 52"/>
                <a:gd name="T42" fmla="*/ 2147483647 w 182"/>
                <a:gd name="T43" fmla="*/ 2147483647 h 52"/>
                <a:gd name="T44" fmla="*/ 2147483647 w 182"/>
                <a:gd name="T45" fmla="*/ 2147483647 h 52"/>
                <a:gd name="T46" fmla="*/ 2147483647 w 182"/>
                <a:gd name="T47" fmla="*/ 0 h 52"/>
                <a:gd name="T48" fmla="*/ 2147483647 w 182"/>
                <a:gd name="T49" fmla="*/ 0 h 52"/>
                <a:gd name="T50" fmla="*/ 2147483647 w 182"/>
                <a:gd name="T51" fmla="*/ 2147483647 h 52"/>
                <a:gd name="T52" fmla="*/ 2147483647 w 182"/>
                <a:gd name="T53" fmla="*/ 2147483647 h 52"/>
                <a:gd name="T54" fmla="*/ 2147483647 w 182"/>
                <a:gd name="T55" fmla="*/ 2147483647 h 52"/>
                <a:gd name="T56" fmla="*/ 2147483647 w 182"/>
                <a:gd name="T57" fmla="*/ 2147483647 h 52"/>
                <a:gd name="T58" fmla="*/ 2147483647 w 182"/>
                <a:gd name="T59" fmla="*/ 2147483647 h 52"/>
                <a:gd name="T60" fmla="*/ 2147483647 w 182"/>
                <a:gd name="T61" fmla="*/ 2147483647 h 52"/>
                <a:gd name="T62" fmla="*/ 2147483647 w 182"/>
                <a:gd name="T63" fmla="*/ 2147483647 h 52"/>
                <a:gd name="T64" fmla="*/ 2147483647 w 182"/>
                <a:gd name="T65" fmla="*/ 2147483647 h 52"/>
                <a:gd name="T66" fmla="*/ 2147483647 w 182"/>
                <a:gd name="T67" fmla="*/ 2147483647 h 52"/>
                <a:gd name="T68" fmla="*/ 2147483647 w 182"/>
                <a:gd name="T69" fmla="*/ 2147483647 h 52"/>
                <a:gd name="T70" fmla="*/ 2147483647 w 182"/>
                <a:gd name="T71" fmla="*/ 2147483647 h 52"/>
                <a:gd name="T72" fmla="*/ 2147483647 w 182"/>
                <a:gd name="T73" fmla="*/ 2147483647 h 52"/>
                <a:gd name="T74" fmla="*/ 2147483647 w 182"/>
                <a:gd name="T75" fmla="*/ 2147483647 h 52"/>
                <a:gd name="T76" fmla="*/ 2147483647 w 182"/>
                <a:gd name="T77" fmla="*/ 2147483647 h 52"/>
                <a:gd name="T78" fmla="*/ 2147483647 w 182"/>
                <a:gd name="T79" fmla="*/ 2147483647 h 52"/>
                <a:gd name="T80" fmla="*/ 2147483647 w 182"/>
                <a:gd name="T81" fmla="*/ 2147483647 h 52"/>
                <a:gd name="T82" fmla="*/ 2147483647 w 182"/>
                <a:gd name="T83" fmla="*/ 2147483647 h 52"/>
                <a:gd name="T84" fmla="*/ 2147483647 w 182"/>
                <a:gd name="T85" fmla="*/ 2147483647 h 52"/>
                <a:gd name="T86" fmla="*/ 2147483647 w 182"/>
                <a:gd name="T87" fmla="*/ 2147483647 h 52"/>
                <a:gd name="T88" fmla="*/ 2147483647 w 182"/>
                <a:gd name="T89" fmla="*/ 2147483647 h 52"/>
                <a:gd name="T90" fmla="*/ 2147483647 w 182"/>
                <a:gd name="T91" fmla="*/ 2147483647 h 52"/>
                <a:gd name="T92" fmla="*/ 2147483647 w 182"/>
                <a:gd name="T93" fmla="*/ 2147483647 h 52"/>
                <a:gd name="T94" fmla="*/ 2147483647 w 182"/>
                <a:gd name="T95" fmla="*/ 2147483647 h 52"/>
                <a:gd name="T96" fmla="*/ 2147483647 w 182"/>
                <a:gd name="T97" fmla="*/ 2147483647 h 52"/>
                <a:gd name="T98" fmla="*/ 2147483647 w 182"/>
                <a:gd name="T99" fmla="*/ 2147483647 h 52"/>
                <a:gd name="T100" fmla="*/ 2147483647 w 182"/>
                <a:gd name="T101" fmla="*/ 2147483647 h 52"/>
                <a:gd name="T102" fmla="*/ 0 w 182"/>
                <a:gd name="T103" fmla="*/ 2147483647 h 52"/>
                <a:gd name="T104" fmla="*/ 0 w 182"/>
                <a:gd name="T105" fmla="*/ 2147483647 h 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2"/>
                <a:gd name="T160" fmla="*/ 0 h 52"/>
                <a:gd name="T161" fmla="*/ 182 w 182"/>
                <a:gd name="T162" fmla="*/ 52 h 5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2" h="52">
                  <a:moveTo>
                    <a:pt x="0" y="30"/>
                  </a:moveTo>
                  <a:lnTo>
                    <a:pt x="2" y="28"/>
                  </a:lnTo>
                  <a:lnTo>
                    <a:pt x="8" y="22"/>
                  </a:lnTo>
                  <a:lnTo>
                    <a:pt x="14" y="24"/>
                  </a:lnTo>
                  <a:lnTo>
                    <a:pt x="14" y="30"/>
                  </a:lnTo>
                  <a:lnTo>
                    <a:pt x="16" y="36"/>
                  </a:lnTo>
                  <a:lnTo>
                    <a:pt x="22" y="38"/>
                  </a:lnTo>
                  <a:lnTo>
                    <a:pt x="28" y="36"/>
                  </a:lnTo>
                  <a:lnTo>
                    <a:pt x="34" y="34"/>
                  </a:lnTo>
                  <a:lnTo>
                    <a:pt x="40" y="36"/>
                  </a:lnTo>
                  <a:lnTo>
                    <a:pt x="36" y="32"/>
                  </a:lnTo>
                  <a:lnTo>
                    <a:pt x="40" y="26"/>
                  </a:lnTo>
                  <a:lnTo>
                    <a:pt x="46" y="28"/>
                  </a:lnTo>
                  <a:lnTo>
                    <a:pt x="52" y="26"/>
                  </a:lnTo>
                  <a:lnTo>
                    <a:pt x="58" y="26"/>
                  </a:lnTo>
                  <a:lnTo>
                    <a:pt x="64" y="26"/>
                  </a:lnTo>
                  <a:lnTo>
                    <a:pt x="70" y="24"/>
                  </a:lnTo>
                  <a:lnTo>
                    <a:pt x="72" y="22"/>
                  </a:lnTo>
                  <a:lnTo>
                    <a:pt x="66" y="22"/>
                  </a:lnTo>
                  <a:lnTo>
                    <a:pt x="60" y="24"/>
                  </a:lnTo>
                  <a:lnTo>
                    <a:pt x="54" y="24"/>
                  </a:lnTo>
                  <a:lnTo>
                    <a:pt x="48" y="26"/>
                  </a:lnTo>
                  <a:lnTo>
                    <a:pt x="42" y="26"/>
                  </a:lnTo>
                  <a:lnTo>
                    <a:pt x="36" y="26"/>
                  </a:lnTo>
                  <a:lnTo>
                    <a:pt x="30" y="32"/>
                  </a:lnTo>
                  <a:lnTo>
                    <a:pt x="24" y="32"/>
                  </a:lnTo>
                  <a:lnTo>
                    <a:pt x="18" y="28"/>
                  </a:lnTo>
                  <a:lnTo>
                    <a:pt x="16" y="22"/>
                  </a:lnTo>
                  <a:lnTo>
                    <a:pt x="16" y="14"/>
                  </a:lnTo>
                  <a:lnTo>
                    <a:pt x="22" y="14"/>
                  </a:lnTo>
                  <a:lnTo>
                    <a:pt x="24" y="14"/>
                  </a:lnTo>
                  <a:lnTo>
                    <a:pt x="30" y="14"/>
                  </a:lnTo>
                  <a:lnTo>
                    <a:pt x="36" y="14"/>
                  </a:lnTo>
                  <a:lnTo>
                    <a:pt x="42" y="14"/>
                  </a:lnTo>
                  <a:lnTo>
                    <a:pt x="44" y="14"/>
                  </a:lnTo>
                  <a:lnTo>
                    <a:pt x="50" y="14"/>
                  </a:lnTo>
                  <a:lnTo>
                    <a:pt x="56" y="14"/>
                  </a:lnTo>
                  <a:lnTo>
                    <a:pt x="64" y="14"/>
                  </a:lnTo>
                  <a:lnTo>
                    <a:pt x="70" y="14"/>
                  </a:lnTo>
                  <a:lnTo>
                    <a:pt x="74" y="14"/>
                  </a:lnTo>
                  <a:lnTo>
                    <a:pt x="80" y="14"/>
                  </a:lnTo>
                  <a:lnTo>
                    <a:pt x="82" y="12"/>
                  </a:lnTo>
                  <a:lnTo>
                    <a:pt x="84" y="6"/>
                  </a:lnTo>
                  <a:lnTo>
                    <a:pt x="90" y="2"/>
                  </a:lnTo>
                  <a:lnTo>
                    <a:pt x="96" y="4"/>
                  </a:lnTo>
                  <a:lnTo>
                    <a:pt x="102" y="0"/>
                  </a:lnTo>
                  <a:lnTo>
                    <a:pt x="110" y="0"/>
                  </a:lnTo>
                  <a:lnTo>
                    <a:pt x="116" y="0"/>
                  </a:lnTo>
                  <a:lnTo>
                    <a:pt x="120" y="2"/>
                  </a:lnTo>
                  <a:lnTo>
                    <a:pt x="122" y="8"/>
                  </a:lnTo>
                  <a:lnTo>
                    <a:pt x="128" y="12"/>
                  </a:lnTo>
                  <a:lnTo>
                    <a:pt x="134" y="10"/>
                  </a:lnTo>
                  <a:lnTo>
                    <a:pt x="140" y="12"/>
                  </a:lnTo>
                  <a:lnTo>
                    <a:pt x="142" y="18"/>
                  </a:lnTo>
                  <a:lnTo>
                    <a:pt x="144" y="20"/>
                  </a:lnTo>
                  <a:lnTo>
                    <a:pt x="150" y="24"/>
                  </a:lnTo>
                  <a:lnTo>
                    <a:pt x="156" y="22"/>
                  </a:lnTo>
                  <a:lnTo>
                    <a:pt x="162" y="18"/>
                  </a:lnTo>
                  <a:lnTo>
                    <a:pt x="168" y="18"/>
                  </a:lnTo>
                  <a:lnTo>
                    <a:pt x="174" y="16"/>
                  </a:lnTo>
                  <a:lnTo>
                    <a:pt x="178" y="20"/>
                  </a:lnTo>
                  <a:lnTo>
                    <a:pt x="182" y="26"/>
                  </a:lnTo>
                  <a:lnTo>
                    <a:pt x="180" y="32"/>
                  </a:lnTo>
                  <a:lnTo>
                    <a:pt x="178" y="34"/>
                  </a:lnTo>
                  <a:lnTo>
                    <a:pt x="174" y="34"/>
                  </a:lnTo>
                  <a:lnTo>
                    <a:pt x="166" y="36"/>
                  </a:lnTo>
                  <a:lnTo>
                    <a:pt x="160" y="40"/>
                  </a:lnTo>
                  <a:lnTo>
                    <a:pt x="158" y="40"/>
                  </a:lnTo>
                  <a:lnTo>
                    <a:pt x="152" y="40"/>
                  </a:lnTo>
                  <a:lnTo>
                    <a:pt x="146" y="38"/>
                  </a:lnTo>
                  <a:lnTo>
                    <a:pt x="140" y="34"/>
                  </a:lnTo>
                  <a:lnTo>
                    <a:pt x="136" y="32"/>
                  </a:lnTo>
                  <a:lnTo>
                    <a:pt x="132" y="32"/>
                  </a:lnTo>
                  <a:lnTo>
                    <a:pt x="126" y="30"/>
                  </a:lnTo>
                  <a:lnTo>
                    <a:pt x="120" y="26"/>
                  </a:lnTo>
                  <a:lnTo>
                    <a:pt x="114" y="24"/>
                  </a:lnTo>
                  <a:lnTo>
                    <a:pt x="110" y="22"/>
                  </a:lnTo>
                  <a:lnTo>
                    <a:pt x="104" y="16"/>
                  </a:lnTo>
                  <a:lnTo>
                    <a:pt x="100" y="18"/>
                  </a:lnTo>
                  <a:lnTo>
                    <a:pt x="98" y="24"/>
                  </a:lnTo>
                  <a:lnTo>
                    <a:pt x="94" y="30"/>
                  </a:lnTo>
                  <a:lnTo>
                    <a:pt x="88" y="30"/>
                  </a:lnTo>
                  <a:lnTo>
                    <a:pt x="82" y="30"/>
                  </a:lnTo>
                  <a:lnTo>
                    <a:pt x="78" y="30"/>
                  </a:lnTo>
                  <a:lnTo>
                    <a:pt x="72" y="32"/>
                  </a:lnTo>
                  <a:lnTo>
                    <a:pt x="64" y="32"/>
                  </a:lnTo>
                  <a:lnTo>
                    <a:pt x="60" y="38"/>
                  </a:lnTo>
                  <a:lnTo>
                    <a:pt x="60" y="40"/>
                  </a:lnTo>
                  <a:lnTo>
                    <a:pt x="60" y="44"/>
                  </a:lnTo>
                  <a:lnTo>
                    <a:pt x="56" y="44"/>
                  </a:lnTo>
                  <a:lnTo>
                    <a:pt x="48" y="44"/>
                  </a:lnTo>
                  <a:lnTo>
                    <a:pt x="42" y="44"/>
                  </a:lnTo>
                  <a:lnTo>
                    <a:pt x="36" y="44"/>
                  </a:lnTo>
                  <a:lnTo>
                    <a:pt x="30" y="44"/>
                  </a:lnTo>
                  <a:lnTo>
                    <a:pt x="22" y="44"/>
                  </a:lnTo>
                  <a:lnTo>
                    <a:pt x="16" y="44"/>
                  </a:lnTo>
                  <a:lnTo>
                    <a:pt x="14" y="44"/>
                  </a:lnTo>
                  <a:lnTo>
                    <a:pt x="6" y="44"/>
                  </a:lnTo>
                  <a:lnTo>
                    <a:pt x="4" y="52"/>
                  </a:lnTo>
                  <a:lnTo>
                    <a:pt x="2" y="48"/>
                  </a:lnTo>
                  <a:lnTo>
                    <a:pt x="0" y="42"/>
                  </a:lnTo>
                  <a:lnTo>
                    <a:pt x="0" y="36"/>
                  </a:lnTo>
                  <a:lnTo>
                    <a:pt x="0" y="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0" name="Freeform 258"/>
            <p:cNvSpPr>
              <a:spLocks/>
            </p:cNvSpPr>
            <p:nvPr/>
          </p:nvSpPr>
          <p:spPr bwMode="auto">
            <a:xfrm>
              <a:off x="2209800" y="4246563"/>
              <a:ext cx="331788" cy="522287"/>
            </a:xfrm>
            <a:custGeom>
              <a:avLst/>
              <a:gdLst>
                <a:gd name="T0" fmla="*/ 2147483647 w 814"/>
                <a:gd name="T1" fmla="*/ 2147483647 h 1268"/>
                <a:gd name="T2" fmla="*/ 2147483647 w 814"/>
                <a:gd name="T3" fmla="*/ 2147483647 h 1268"/>
                <a:gd name="T4" fmla="*/ 2147483647 w 814"/>
                <a:gd name="T5" fmla="*/ 2147483647 h 1268"/>
                <a:gd name="T6" fmla="*/ 2147483647 w 814"/>
                <a:gd name="T7" fmla="*/ 2147483647 h 1268"/>
                <a:gd name="T8" fmla="*/ 2147483647 w 814"/>
                <a:gd name="T9" fmla="*/ 2147483647 h 1268"/>
                <a:gd name="T10" fmla="*/ 2147483647 w 814"/>
                <a:gd name="T11" fmla="*/ 2147483647 h 1268"/>
                <a:gd name="T12" fmla="*/ 2147483647 w 814"/>
                <a:gd name="T13" fmla="*/ 2147483647 h 1268"/>
                <a:gd name="T14" fmla="*/ 2147483647 w 814"/>
                <a:gd name="T15" fmla="*/ 2147483647 h 1268"/>
                <a:gd name="T16" fmla="*/ 2147483647 w 814"/>
                <a:gd name="T17" fmla="*/ 2147483647 h 1268"/>
                <a:gd name="T18" fmla="*/ 2147483647 w 814"/>
                <a:gd name="T19" fmla="*/ 2147483647 h 1268"/>
                <a:gd name="T20" fmla="*/ 2147483647 w 814"/>
                <a:gd name="T21" fmla="*/ 2147483647 h 1268"/>
                <a:gd name="T22" fmla="*/ 2147483647 w 814"/>
                <a:gd name="T23" fmla="*/ 2147483647 h 1268"/>
                <a:gd name="T24" fmla="*/ 2147483647 w 814"/>
                <a:gd name="T25" fmla="*/ 2147483647 h 1268"/>
                <a:gd name="T26" fmla="*/ 2147483647 w 814"/>
                <a:gd name="T27" fmla="*/ 2147483647 h 1268"/>
                <a:gd name="T28" fmla="*/ 2147483647 w 814"/>
                <a:gd name="T29" fmla="*/ 2147483647 h 1268"/>
                <a:gd name="T30" fmla="*/ 2147483647 w 814"/>
                <a:gd name="T31" fmla="*/ 2147483647 h 1268"/>
                <a:gd name="T32" fmla="*/ 2147483647 w 814"/>
                <a:gd name="T33" fmla="*/ 2147483647 h 1268"/>
                <a:gd name="T34" fmla="*/ 2147483647 w 814"/>
                <a:gd name="T35" fmla="*/ 2147483647 h 1268"/>
                <a:gd name="T36" fmla="*/ 2147483647 w 814"/>
                <a:gd name="T37" fmla="*/ 2147483647 h 1268"/>
                <a:gd name="T38" fmla="*/ 2147483647 w 814"/>
                <a:gd name="T39" fmla="*/ 2147483647 h 1268"/>
                <a:gd name="T40" fmla="*/ 2147483647 w 814"/>
                <a:gd name="T41" fmla="*/ 2147483647 h 1268"/>
                <a:gd name="T42" fmla="*/ 2147483647 w 814"/>
                <a:gd name="T43" fmla="*/ 2147483647 h 1268"/>
                <a:gd name="T44" fmla="*/ 2147483647 w 814"/>
                <a:gd name="T45" fmla="*/ 2147483647 h 1268"/>
                <a:gd name="T46" fmla="*/ 2147483647 w 814"/>
                <a:gd name="T47" fmla="*/ 2147483647 h 1268"/>
                <a:gd name="T48" fmla="*/ 2147483647 w 814"/>
                <a:gd name="T49" fmla="*/ 2147483647 h 1268"/>
                <a:gd name="T50" fmla="*/ 2147483647 w 814"/>
                <a:gd name="T51" fmla="*/ 2147483647 h 1268"/>
                <a:gd name="T52" fmla="*/ 2147483647 w 814"/>
                <a:gd name="T53" fmla="*/ 2147483647 h 1268"/>
                <a:gd name="T54" fmla="*/ 2147483647 w 814"/>
                <a:gd name="T55" fmla="*/ 2147483647 h 1268"/>
                <a:gd name="T56" fmla="*/ 2147483647 w 814"/>
                <a:gd name="T57" fmla="*/ 2147483647 h 1268"/>
                <a:gd name="T58" fmla="*/ 2147483647 w 814"/>
                <a:gd name="T59" fmla="*/ 2147483647 h 1268"/>
                <a:gd name="T60" fmla="*/ 2147483647 w 814"/>
                <a:gd name="T61" fmla="*/ 2147483647 h 1268"/>
                <a:gd name="T62" fmla="*/ 2147483647 w 814"/>
                <a:gd name="T63" fmla="*/ 2147483647 h 1268"/>
                <a:gd name="T64" fmla="*/ 2147483647 w 814"/>
                <a:gd name="T65" fmla="*/ 2147483647 h 1268"/>
                <a:gd name="T66" fmla="*/ 2147483647 w 814"/>
                <a:gd name="T67" fmla="*/ 2147483647 h 1268"/>
                <a:gd name="T68" fmla="*/ 2147483647 w 814"/>
                <a:gd name="T69" fmla="*/ 2147483647 h 1268"/>
                <a:gd name="T70" fmla="*/ 2147483647 w 814"/>
                <a:gd name="T71" fmla="*/ 2147483647 h 1268"/>
                <a:gd name="T72" fmla="*/ 2147483647 w 814"/>
                <a:gd name="T73" fmla="*/ 2147483647 h 1268"/>
                <a:gd name="T74" fmla="*/ 2147483647 w 814"/>
                <a:gd name="T75" fmla="*/ 2147483647 h 1268"/>
                <a:gd name="T76" fmla="*/ 2147483647 w 814"/>
                <a:gd name="T77" fmla="*/ 2147483647 h 1268"/>
                <a:gd name="T78" fmla="*/ 2147483647 w 814"/>
                <a:gd name="T79" fmla="*/ 2147483647 h 1268"/>
                <a:gd name="T80" fmla="*/ 2147483647 w 814"/>
                <a:gd name="T81" fmla="*/ 2147483647 h 1268"/>
                <a:gd name="T82" fmla="*/ 2147483647 w 814"/>
                <a:gd name="T83" fmla="*/ 2147483647 h 1268"/>
                <a:gd name="T84" fmla="*/ 2147483647 w 814"/>
                <a:gd name="T85" fmla="*/ 2147483647 h 1268"/>
                <a:gd name="T86" fmla="*/ 2147483647 w 814"/>
                <a:gd name="T87" fmla="*/ 2147483647 h 1268"/>
                <a:gd name="T88" fmla="*/ 2147483647 w 814"/>
                <a:gd name="T89" fmla="*/ 2147483647 h 1268"/>
                <a:gd name="T90" fmla="*/ 2147483647 w 814"/>
                <a:gd name="T91" fmla="*/ 2147483647 h 1268"/>
                <a:gd name="T92" fmla="*/ 2147483647 w 814"/>
                <a:gd name="T93" fmla="*/ 2147483647 h 1268"/>
                <a:gd name="T94" fmla="*/ 2147483647 w 814"/>
                <a:gd name="T95" fmla="*/ 2147483647 h 1268"/>
                <a:gd name="T96" fmla="*/ 2147483647 w 814"/>
                <a:gd name="T97" fmla="*/ 2147483647 h 1268"/>
                <a:gd name="T98" fmla="*/ 2147483647 w 814"/>
                <a:gd name="T99" fmla="*/ 2147483647 h 1268"/>
                <a:gd name="T100" fmla="*/ 2147483647 w 814"/>
                <a:gd name="T101" fmla="*/ 2147483647 h 1268"/>
                <a:gd name="T102" fmla="*/ 2147483647 w 814"/>
                <a:gd name="T103" fmla="*/ 2147483647 h 1268"/>
                <a:gd name="T104" fmla="*/ 2147483647 w 814"/>
                <a:gd name="T105" fmla="*/ 2147483647 h 1268"/>
                <a:gd name="T106" fmla="*/ 2147483647 w 814"/>
                <a:gd name="T107" fmla="*/ 2147483647 h 1268"/>
                <a:gd name="T108" fmla="*/ 2147483647 w 814"/>
                <a:gd name="T109" fmla="*/ 2147483647 h 1268"/>
                <a:gd name="T110" fmla="*/ 2147483647 w 814"/>
                <a:gd name="T111" fmla="*/ 2147483647 h 1268"/>
                <a:gd name="T112" fmla="*/ 2147483647 w 814"/>
                <a:gd name="T113" fmla="*/ 2147483647 h 1268"/>
                <a:gd name="T114" fmla="*/ 2147483647 w 814"/>
                <a:gd name="T115" fmla="*/ 2147483647 h 1268"/>
                <a:gd name="T116" fmla="*/ 2147483647 w 814"/>
                <a:gd name="T117" fmla="*/ 2147483647 h 126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14"/>
                <a:gd name="T178" fmla="*/ 0 h 1268"/>
                <a:gd name="T179" fmla="*/ 814 w 814"/>
                <a:gd name="T180" fmla="*/ 1268 h 126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14" h="1268">
                  <a:moveTo>
                    <a:pt x="0" y="308"/>
                  </a:moveTo>
                  <a:lnTo>
                    <a:pt x="2" y="304"/>
                  </a:lnTo>
                  <a:lnTo>
                    <a:pt x="2" y="302"/>
                  </a:lnTo>
                  <a:lnTo>
                    <a:pt x="2" y="294"/>
                  </a:lnTo>
                  <a:lnTo>
                    <a:pt x="4" y="292"/>
                  </a:lnTo>
                  <a:lnTo>
                    <a:pt x="6" y="290"/>
                  </a:lnTo>
                  <a:lnTo>
                    <a:pt x="8" y="288"/>
                  </a:lnTo>
                  <a:lnTo>
                    <a:pt x="12" y="284"/>
                  </a:lnTo>
                  <a:lnTo>
                    <a:pt x="16" y="280"/>
                  </a:lnTo>
                  <a:lnTo>
                    <a:pt x="18" y="272"/>
                  </a:lnTo>
                  <a:lnTo>
                    <a:pt x="26" y="268"/>
                  </a:lnTo>
                  <a:lnTo>
                    <a:pt x="28" y="262"/>
                  </a:lnTo>
                  <a:lnTo>
                    <a:pt x="32" y="256"/>
                  </a:lnTo>
                  <a:lnTo>
                    <a:pt x="38" y="252"/>
                  </a:lnTo>
                  <a:lnTo>
                    <a:pt x="44" y="246"/>
                  </a:lnTo>
                  <a:lnTo>
                    <a:pt x="50" y="240"/>
                  </a:lnTo>
                  <a:lnTo>
                    <a:pt x="56" y="238"/>
                  </a:lnTo>
                  <a:lnTo>
                    <a:pt x="58" y="232"/>
                  </a:lnTo>
                  <a:lnTo>
                    <a:pt x="60" y="234"/>
                  </a:lnTo>
                  <a:lnTo>
                    <a:pt x="62" y="234"/>
                  </a:lnTo>
                  <a:lnTo>
                    <a:pt x="64" y="234"/>
                  </a:lnTo>
                  <a:lnTo>
                    <a:pt x="64" y="240"/>
                  </a:lnTo>
                  <a:lnTo>
                    <a:pt x="64" y="244"/>
                  </a:lnTo>
                  <a:lnTo>
                    <a:pt x="66" y="250"/>
                  </a:lnTo>
                  <a:lnTo>
                    <a:pt x="66" y="254"/>
                  </a:lnTo>
                  <a:lnTo>
                    <a:pt x="68" y="260"/>
                  </a:lnTo>
                  <a:lnTo>
                    <a:pt x="70" y="266"/>
                  </a:lnTo>
                  <a:lnTo>
                    <a:pt x="68" y="270"/>
                  </a:lnTo>
                  <a:lnTo>
                    <a:pt x="62" y="276"/>
                  </a:lnTo>
                  <a:lnTo>
                    <a:pt x="56" y="274"/>
                  </a:lnTo>
                  <a:lnTo>
                    <a:pt x="50" y="278"/>
                  </a:lnTo>
                  <a:lnTo>
                    <a:pt x="52" y="284"/>
                  </a:lnTo>
                  <a:lnTo>
                    <a:pt x="52" y="288"/>
                  </a:lnTo>
                  <a:lnTo>
                    <a:pt x="58" y="292"/>
                  </a:lnTo>
                  <a:lnTo>
                    <a:pt x="54" y="298"/>
                  </a:lnTo>
                  <a:lnTo>
                    <a:pt x="52" y="304"/>
                  </a:lnTo>
                  <a:lnTo>
                    <a:pt x="58" y="308"/>
                  </a:lnTo>
                  <a:lnTo>
                    <a:pt x="62" y="306"/>
                  </a:lnTo>
                  <a:lnTo>
                    <a:pt x="68" y="300"/>
                  </a:lnTo>
                  <a:lnTo>
                    <a:pt x="74" y="294"/>
                  </a:lnTo>
                  <a:lnTo>
                    <a:pt x="76" y="296"/>
                  </a:lnTo>
                  <a:lnTo>
                    <a:pt x="82" y="300"/>
                  </a:lnTo>
                  <a:lnTo>
                    <a:pt x="84" y="302"/>
                  </a:lnTo>
                  <a:lnTo>
                    <a:pt x="88" y="304"/>
                  </a:lnTo>
                  <a:lnTo>
                    <a:pt x="94" y="308"/>
                  </a:lnTo>
                  <a:lnTo>
                    <a:pt x="100" y="306"/>
                  </a:lnTo>
                  <a:lnTo>
                    <a:pt x="106" y="308"/>
                  </a:lnTo>
                  <a:lnTo>
                    <a:pt x="112" y="314"/>
                  </a:lnTo>
                  <a:lnTo>
                    <a:pt x="112" y="316"/>
                  </a:lnTo>
                  <a:lnTo>
                    <a:pt x="114" y="322"/>
                  </a:lnTo>
                  <a:lnTo>
                    <a:pt x="116" y="328"/>
                  </a:lnTo>
                  <a:lnTo>
                    <a:pt x="118" y="332"/>
                  </a:lnTo>
                  <a:lnTo>
                    <a:pt x="124" y="338"/>
                  </a:lnTo>
                  <a:lnTo>
                    <a:pt x="130" y="342"/>
                  </a:lnTo>
                  <a:lnTo>
                    <a:pt x="132" y="342"/>
                  </a:lnTo>
                  <a:lnTo>
                    <a:pt x="138" y="342"/>
                  </a:lnTo>
                  <a:lnTo>
                    <a:pt x="140" y="344"/>
                  </a:lnTo>
                  <a:lnTo>
                    <a:pt x="144" y="342"/>
                  </a:lnTo>
                  <a:lnTo>
                    <a:pt x="146" y="336"/>
                  </a:lnTo>
                  <a:lnTo>
                    <a:pt x="148" y="330"/>
                  </a:lnTo>
                  <a:lnTo>
                    <a:pt x="150" y="324"/>
                  </a:lnTo>
                  <a:lnTo>
                    <a:pt x="154" y="318"/>
                  </a:lnTo>
                  <a:lnTo>
                    <a:pt x="160" y="314"/>
                  </a:lnTo>
                  <a:lnTo>
                    <a:pt x="162" y="314"/>
                  </a:lnTo>
                  <a:lnTo>
                    <a:pt x="162" y="310"/>
                  </a:lnTo>
                  <a:lnTo>
                    <a:pt x="162" y="304"/>
                  </a:lnTo>
                  <a:lnTo>
                    <a:pt x="162" y="302"/>
                  </a:lnTo>
                  <a:lnTo>
                    <a:pt x="162" y="296"/>
                  </a:lnTo>
                  <a:lnTo>
                    <a:pt x="164" y="290"/>
                  </a:lnTo>
                  <a:lnTo>
                    <a:pt x="166" y="284"/>
                  </a:lnTo>
                  <a:lnTo>
                    <a:pt x="168" y="278"/>
                  </a:lnTo>
                  <a:lnTo>
                    <a:pt x="168" y="272"/>
                  </a:lnTo>
                  <a:lnTo>
                    <a:pt x="172" y="266"/>
                  </a:lnTo>
                  <a:lnTo>
                    <a:pt x="176" y="260"/>
                  </a:lnTo>
                  <a:lnTo>
                    <a:pt x="178" y="256"/>
                  </a:lnTo>
                  <a:lnTo>
                    <a:pt x="178" y="250"/>
                  </a:lnTo>
                  <a:lnTo>
                    <a:pt x="178" y="246"/>
                  </a:lnTo>
                  <a:lnTo>
                    <a:pt x="178" y="238"/>
                  </a:lnTo>
                  <a:lnTo>
                    <a:pt x="184" y="234"/>
                  </a:lnTo>
                  <a:lnTo>
                    <a:pt x="188" y="240"/>
                  </a:lnTo>
                  <a:lnTo>
                    <a:pt x="190" y="234"/>
                  </a:lnTo>
                  <a:lnTo>
                    <a:pt x="188" y="228"/>
                  </a:lnTo>
                  <a:lnTo>
                    <a:pt x="194" y="222"/>
                  </a:lnTo>
                  <a:lnTo>
                    <a:pt x="198" y="216"/>
                  </a:lnTo>
                  <a:lnTo>
                    <a:pt x="204" y="212"/>
                  </a:lnTo>
                  <a:lnTo>
                    <a:pt x="208" y="206"/>
                  </a:lnTo>
                  <a:lnTo>
                    <a:pt x="212" y="204"/>
                  </a:lnTo>
                  <a:lnTo>
                    <a:pt x="216" y="202"/>
                  </a:lnTo>
                  <a:lnTo>
                    <a:pt x="220" y="200"/>
                  </a:lnTo>
                  <a:lnTo>
                    <a:pt x="226" y="198"/>
                  </a:lnTo>
                  <a:lnTo>
                    <a:pt x="232" y="196"/>
                  </a:lnTo>
                  <a:lnTo>
                    <a:pt x="238" y="192"/>
                  </a:lnTo>
                  <a:lnTo>
                    <a:pt x="244" y="190"/>
                  </a:lnTo>
                  <a:lnTo>
                    <a:pt x="250" y="188"/>
                  </a:lnTo>
                  <a:lnTo>
                    <a:pt x="252" y="188"/>
                  </a:lnTo>
                  <a:lnTo>
                    <a:pt x="258" y="186"/>
                  </a:lnTo>
                  <a:lnTo>
                    <a:pt x="264" y="182"/>
                  </a:lnTo>
                  <a:lnTo>
                    <a:pt x="270" y="180"/>
                  </a:lnTo>
                  <a:lnTo>
                    <a:pt x="276" y="178"/>
                  </a:lnTo>
                  <a:lnTo>
                    <a:pt x="282" y="176"/>
                  </a:lnTo>
                  <a:lnTo>
                    <a:pt x="284" y="174"/>
                  </a:lnTo>
                  <a:lnTo>
                    <a:pt x="290" y="170"/>
                  </a:lnTo>
                  <a:lnTo>
                    <a:pt x="296" y="164"/>
                  </a:lnTo>
                  <a:lnTo>
                    <a:pt x="300" y="160"/>
                  </a:lnTo>
                  <a:lnTo>
                    <a:pt x="306" y="156"/>
                  </a:lnTo>
                  <a:lnTo>
                    <a:pt x="310" y="150"/>
                  </a:lnTo>
                  <a:lnTo>
                    <a:pt x="316" y="144"/>
                  </a:lnTo>
                  <a:lnTo>
                    <a:pt x="318" y="144"/>
                  </a:lnTo>
                  <a:lnTo>
                    <a:pt x="322" y="138"/>
                  </a:lnTo>
                  <a:lnTo>
                    <a:pt x="326" y="132"/>
                  </a:lnTo>
                  <a:lnTo>
                    <a:pt x="330" y="126"/>
                  </a:lnTo>
                  <a:lnTo>
                    <a:pt x="336" y="120"/>
                  </a:lnTo>
                  <a:lnTo>
                    <a:pt x="340" y="114"/>
                  </a:lnTo>
                  <a:lnTo>
                    <a:pt x="344" y="108"/>
                  </a:lnTo>
                  <a:lnTo>
                    <a:pt x="346" y="106"/>
                  </a:lnTo>
                  <a:lnTo>
                    <a:pt x="346" y="104"/>
                  </a:lnTo>
                  <a:lnTo>
                    <a:pt x="348" y="98"/>
                  </a:lnTo>
                  <a:lnTo>
                    <a:pt x="350" y="92"/>
                  </a:lnTo>
                  <a:lnTo>
                    <a:pt x="352" y="86"/>
                  </a:lnTo>
                  <a:lnTo>
                    <a:pt x="352" y="80"/>
                  </a:lnTo>
                  <a:lnTo>
                    <a:pt x="354" y="74"/>
                  </a:lnTo>
                  <a:lnTo>
                    <a:pt x="356" y="68"/>
                  </a:lnTo>
                  <a:lnTo>
                    <a:pt x="356" y="62"/>
                  </a:lnTo>
                  <a:lnTo>
                    <a:pt x="362" y="66"/>
                  </a:lnTo>
                  <a:lnTo>
                    <a:pt x="368" y="66"/>
                  </a:lnTo>
                  <a:lnTo>
                    <a:pt x="366" y="60"/>
                  </a:lnTo>
                  <a:lnTo>
                    <a:pt x="366" y="54"/>
                  </a:lnTo>
                  <a:lnTo>
                    <a:pt x="364" y="48"/>
                  </a:lnTo>
                  <a:lnTo>
                    <a:pt x="364" y="44"/>
                  </a:lnTo>
                  <a:lnTo>
                    <a:pt x="366" y="42"/>
                  </a:lnTo>
                  <a:lnTo>
                    <a:pt x="366" y="36"/>
                  </a:lnTo>
                  <a:lnTo>
                    <a:pt x="360" y="30"/>
                  </a:lnTo>
                  <a:lnTo>
                    <a:pt x="354" y="24"/>
                  </a:lnTo>
                  <a:lnTo>
                    <a:pt x="352" y="18"/>
                  </a:lnTo>
                  <a:lnTo>
                    <a:pt x="348" y="12"/>
                  </a:lnTo>
                  <a:lnTo>
                    <a:pt x="342" y="10"/>
                  </a:lnTo>
                  <a:lnTo>
                    <a:pt x="342" y="6"/>
                  </a:lnTo>
                  <a:lnTo>
                    <a:pt x="344" y="6"/>
                  </a:lnTo>
                  <a:lnTo>
                    <a:pt x="352" y="8"/>
                  </a:lnTo>
                  <a:lnTo>
                    <a:pt x="356" y="8"/>
                  </a:lnTo>
                  <a:lnTo>
                    <a:pt x="364" y="6"/>
                  </a:lnTo>
                  <a:lnTo>
                    <a:pt x="368" y="0"/>
                  </a:lnTo>
                  <a:lnTo>
                    <a:pt x="374" y="4"/>
                  </a:lnTo>
                  <a:lnTo>
                    <a:pt x="380" y="6"/>
                  </a:lnTo>
                  <a:lnTo>
                    <a:pt x="386" y="12"/>
                  </a:lnTo>
                  <a:lnTo>
                    <a:pt x="394" y="12"/>
                  </a:lnTo>
                  <a:lnTo>
                    <a:pt x="398" y="18"/>
                  </a:lnTo>
                  <a:lnTo>
                    <a:pt x="402" y="24"/>
                  </a:lnTo>
                  <a:lnTo>
                    <a:pt x="408" y="26"/>
                  </a:lnTo>
                  <a:lnTo>
                    <a:pt x="412" y="32"/>
                  </a:lnTo>
                  <a:lnTo>
                    <a:pt x="418" y="34"/>
                  </a:lnTo>
                  <a:lnTo>
                    <a:pt x="420" y="38"/>
                  </a:lnTo>
                  <a:lnTo>
                    <a:pt x="420" y="44"/>
                  </a:lnTo>
                  <a:lnTo>
                    <a:pt x="420" y="50"/>
                  </a:lnTo>
                  <a:lnTo>
                    <a:pt x="424" y="56"/>
                  </a:lnTo>
                  <a:lnTo>
                    <a:pt x="424" y="62"/>
                  </a:lnTo>
                  <a:lnTo>
                    <a:pt x="428" y="68"/>
                  </a:lnTo>
                  <a:lnTo>
                    <a:pt x="434" y="70"/>
                  </a:lnTo>
                  <a:lnTo>
                    <a:pt x="442" y="70"/>
                  </a:lnTo>
                  <a:lnTo>
                    <a:pt x="442" y="76"/>
                  </a:lnTo>
                  <a:lnTo>
                    <a:pt x="448" y="78"/>
                  </a:lnTo>
                  <a:lnTo>
                    <a:pt x="452" y="84"/>
                  </a:lnTo>
                  <a:lnTo>
                    <a:pt x="458" y="86"/>
                  </a:lnTo>
                  <a:lnTo>
                    <a:pt x="464" y="86"/>
                  </a:lnTo>
                  <a:lnTo>
                    <a:pt x="470" y="92"/>
                  </a:lnTo>
                  <a:lnTo>
                    <a:pt x="470" y="98"/>
                  </a:lnTo>
                  <a:lnTo>
                    <a:pt x="474" y="106"/>
                  </a:lnTo>
                  <a:lnTo>
                    <a:pt x="474" y="110"/>
                  </a:lnTo>
                  <a:lnTo>
                    <a:pt x="474" y="116"/>
                  </a:lnTo>
                  <a:lnTo>
                    <a:pt x="478" y="122"/>
                  </a:lnTo>
                  <a:lnTo>
                    <a:pt x="484" y="126"/>
                  </a:lnTo>
                  <a:lnTo>
                    <a:pt x="490" y="126"/>
                  </a:lnTo>
                  <a:lnTo>
                    <a:pt x="496" y="130"/>
                  </a:lnTo>
                  <a:lnTo>
                    <a:pt x="498" y="136"/>
                  </a:lnTo>
                  <a:lnTo>
                    <a:pt x="500" y="142"/>
                  </a:lnTo>
                  <a:lnTo>
                    <a:pt x="500" y="148"/>
                  </a:lnTo>
                  <a:lnTo>
                    <a:pt x="496" y="154"/>
                  </a:lnTo>
                  <a:lnTo>
                    <a:pt x="500" y="162"/>
                  </a:lnTo>
                  <a:lnTo>
                    <a:pt x="506" y="162"/>
                  </a:lnTo>
                  <a:lnTo>
                    <a:pt x="512" y="168"/>
                  </a:lnTo>
                  <a:lnTo>
                    <a:pt x="518" y="170"/>
                  </a:lnTo>
                  <a:lnTo>
                    <a:pt x="522" y="168"/>
                  </a:lnTo>
                  <a:lnTo>
                    <a:pt x="530" y="166"/>
                  </a:lnTo>
                  <a:lnTo>
                    <a:pt x="534" y="166"/>
                  </a:lnTo>
                  <a:lnTo>
                    <a:pt x="542" y="166"/>
                  </a:lnTo>
                  <a:lnTo>
                    <a:pt x="544" y="166"/>
                  </a:lnTo>
                  <a:lnTo>
                    <a:pt x="550" y="170"/>
                  </a:lnTo>
                  <a:lnTo>
                    <a:pt x="556" y="168"/>
                  </a:lnTo>
                  <a:lnTo>
                    <a:pt x="560" y="166"/>
                  </a:lnTo>
                  <a:lnTo>
                    <a:pt x="568" y="162"/>
                  </a:lnTo>
                  <a:lnTo>
                    <a:pt x="570" y="162"/>
                  </a:lnTo>
                  <a:lnTo>
                    <a:pt x="576" y="158"/>
                  </a:lnTo>
                  <a:lnTo>
                    <a:pt x="580" y="152"/>
                  </a:lnTo>
                  <a:lnTo>
                    <a:pt x="582" y="148"/>
                  </a:lnTo>
                  <a:lnTo>
                    <a:pt x="588" y="150"/>
                  </a:lnTo>
                  <a:lnTo>
                    <a:pt x="594" y="152"/>
                  </a:lnTo>
                  <a:lnTo>
                    <a:pt x="598" y="160"/>
                  </a:lnTo>
                  <a:lnTo>
                    <a:pt x="604" y="160"/>
                  </a:lnTo>
                  <a:lnTo>
                    <a:pt x="610" y="162"/>
                  </a:lnTo>
                  <a:lnTo>
                    <a:pt x="616" y="162"/>
                  </a:lnTo>
                  <a:lnTo>
                    <a:pt x="624" y="158"/>
                  </a:lnTo>
                  <a:lnTo>
                    <a:pt x="630" y="152"/>
                  </a:lnTo>
                  <a:lnTo>
                    <a:pt x="636" y="152"/>
                  </a:lnTo>
                  <a:lnTo>
                    <a:pt x="642" y="156"/>
                  </a:lnTo>
                  <a:lnTo>
                    <a:pt x="648" y="160"/>
                  </a:lnTo>
                  <a:lnTo>
                    <a:pt x="652" y="168"/>
                  </a:lnTo>
                  <a:lnTo>
                    <a:pt x="658" y="168"/>
                  </a:lnTo>
                  <a:lnTo>
                    <a:pt x="664" y="172"/>
                  </a:lnTo>
                  <a:lnTo>
                    <a:pt x="670" y="170"/>
                  </a:lnTo>
                  <a:lnTo>
                    <a:pt x="676" y="176"/>
                  </a:lnTo>
                  <a:lnTo>
                    <a:pt x="680" y="182"/>
                  </a:lnTo>
                  <a:lnTo>
                    <a:pt x="686" y="186"/>
                  </a:lnTo>
                  <a:lnTo>
                    <a:pt x="686" y="188"/>
                  </a:lnTo>
                  <a:lnTo>
                    <a:pt x="682" y="192"/>
                  </a:lnTo>
                  <a:lnTo>
                    <a:pt x="678" y="200"/>
                  </a:lnTo>
                  <a:lnTo>
                    <a:pt x="676" y="204"/>
                  </a:lnTo>
                  <a:lnTo>
                    <a:pt x="672" y="212"/>
                  </a:lnTo>
                  <a:lnTo>
                    <a:pt x="670" y="218"/>
                  </a:lnTo>
                  <a:lnTo>
                    <a:pt x="666" y="224"/>
                  </a:lnTo>
                  <a:lnTo>
                    <a:pt x="662" y="230"/>
                  </a:lnTo>
                  <a:lnTo>
                    <a:pt x="658" y="236"/>
                  </a:lnTo>
                  <a:lnTo>
                    <a:pt x="656" y="242"/>
                  </a:lnTo>
                  <a:lnTo>
                    <a:pt x="652" y="250"/>
                  </a:lnTo>
                  <a:lnTo>
                    <a:pt x="648" y="254"/>
                  </a:lnTo>
                  <a:lnTo>
                    <a:pt x="650" y="260"/>
                  </a:lnTo>
                  <a:lnTo>
                    <a:pt x="654" y="262"/>
                  </a:lnTo>
                  <a:lnTo>
                    <a:pt x="658" y="264"/>
                  </a:lnTo>
                  <a:lnTo>
                    <a:pt x="662" y="264"/>
                  </a:lnTo>
                  <a:lnTo>
                    <a:pt x="670" y="260"/>
                  </a:lnTo>
                  <a:lnTo>
                    <a:pt x="674" y="264"/>
                  </a:lnTo>
                  <a:lnTo>
                    <a:pt x="680" y="270"/>
                  </a:lnTo>
                  <a:lnTo>
                    <a:pt x="682" y="276"/>
                  </a:lnTo>
                  <a:lnTo>
                    <a:pt x="688" y="282"/>
                  </a:lnTo>
                  <a:lnTo>
                    <a:pt x="692" y="286"/>
                  </a:lnTo>
                  <a:lnTo>
                    <a:pt x="694" y="292"/>
                  </a:lnTo>
                  <a:lnTo>
                    <a:pt x="694" y="296"/>
                  </a:lnTo>
                  <a:lnTo>
                    <a:pt x="692" y="298"/>
                  </a:lnTo>
                  <a:lnTo>
                    <a:pt x="690" y="298"/>
                  </a:lnTo>
                  <a:lnTo>
                    <a:pt x="684" y="292"/>
                  </a:lnTo>
                  <a:lnTo>
                    <a:pt x="680" y="298"/>
                  </a:lnTo>
                  <a:lnTo>
                    <a:pt x="678" y="296"/>
                  </a:lnTo>
                  <a:lnTo>
                    <a:pt x="672" y="292"/>
                  </a:lnTo>
                  <a:lnTo>
                    <a:pt x="668" y="284"/>
                  </a:lnTo>
                  <a:lnTo>
                    <a:pt x="662" y="286"/>
                  </a:lnTo>
                  <a:lnTo>
                    <a:pt x="656" y="288"/>
                  </a:lnTo>
                  <a:lnTo>
                    <a:pt x="652" y="282"/>
                  </a:lnTo>
                  <a:lnTo>
                    <a:pt x="646" y="286"/>
                  </a:lnTo>
                  <a:lnTo>
                    <a:pt x="640" y="290"/>
                  </a:lnTo>
                  <a:lnTo>
                    <a:pt x="636" y="296"/>
                  </a:lnTo>
                  <a:lnTo>
                    <a:pt x="630" y="302"/>
                  </a:lnTo>
                  <a:lnTo>
                    <a:pt x="624" y="302"/>
                  </a:lnTo>
                  <a:lnTo>
                    <a:pt x="618" y="302"/>
                  </a:lnTo>
                  <a:lnTo>
                    <a:pt x="612" y="304"/>
                  </a:lnTo>
                  <a:lnTo>
                    <a:pt x="606" y="306"/>
                  </a:lnTo>
                  <a:lnTo>
                    <a:pt x="600" y="308"/>
                  </a:lnTo>
                  <a:lnTo>
                    <a:pt x="594" y="308"/>
                  </a:lnTo>
                  <a:lnTo>
                    <a:pt x="588" y="308"/>
                  </a:lnTo>
                  <a:lnTo>
                    <a:pt x="584" y="308"/>
                  </a:lnTo>
                  <a:lnTo>
                    <a:pt x="578" y="310"/>
                  </a:lnTo>
                  <a:lnTo>
                    <a:pt x="572" y="314"/>
                  </a:lnTo>
                  <a:lnTo>
                    <a:pt x="566" y="320"/>
                  </a:lnTo>
                  <a:lnTo>
                    <a:pt x="560" y="324"/>
                  </a:lnTo>
                  <a:lnTo>
                    <a:pt x="554" y="328"/>
                  </a:lnTo>
                  <a:lnTo>
                    <a:pt x="548" y="328"/>
                  </a:lnTo>
                  <a:lnTo>
                    <a:pt x="546" y="336"/>
                  </a:lnTo>
                  <a:lnTo>
                    <a:pt x="540" y="340"/>
                  </a:lnTo>
                  <a:lnTo>
                    <a:pt x="534" y="344"/>
                  </a:lnTo>
                  <a:lnTo>
                    <a:pt x="528" y="348"/>
                  </a:lnTo>
                  <a:lnTo>
                    <a:pt x="522" y="350"/>
                  </a:lnTo>
                  <a:lnTo>
                    <a:pt x="516" y="352"/>
                  </a:lnTo>
                  <a:lnTo>
                    <a:pt x="516" y="354"/>
                  </a:lnTo>
                  <a:lnTo>
                    <a:pt x="518" y="358"/>
                  </a:lnTo>
                  <a:lnTo>
                    <a:pt x="518" y="364"/>
                  </a:lnTo>
                  <a:lnTo>
                    <a:pt x="516" y="370"/>
                  </a:lnTo>
                  <a:lnTo>
                    <a:pt x="514" y="376"/>
                  </a:lnTo>
                  <a:lnTo>
                    <a:pt x="514" y="382"/>
                  </a:lnTo>
                  <a:lnTo>
                    <a:pt x="514" y="390"/>
                  </a:lnTo>
                  <a:lnTo>
                    <a:pt x="512" y="394"/>
                  </a:lnTo>
                  <a:lnTo>
                    <a:pt x="508" y="402"/>
                  </a:lnTo>
                  <a:lnTo>
                    <a:pt x="504" y="408"/>
                  </a:lnTo>
                  <a:lnTo>
                    <a:pt x="502" y="414"/>
                  </a:lnTo>
                  <a:lnTo>
                    <a:pt x="500" y="414"/>
                  </a:lnTo>
                  <a:lnTo>
                    <a:pt x="500" y="420"/>
                  </a:lnTo>
                  <a:lnTo>
                    <a:pt x="502" y="426"/>
                  </a:lnTo>
                  <a:lnTo>
                    <a:pt x="504" y="432"/>
                  </a:lnTo>
                  <a:lnTo>
                    <a:pt x="506" y="440"/>
                  </a:lnTo>
                  <a:lnTo>
                    <a:pt x="506" y="446"/>
                  </a:lnTo>
                  <a:lnTo>
                    <a:pt x="502" y="452"/>
                  </a:lnTo>
                  <a:lnTo>
                    <a:pt x="496" y="452"/>
                  </a:lnTo>
                  <a:lnTo>
                    <a:pt x="490" y="456"/>
                  </a:lnTo>
                  <a:lnTo>
                    <a:pt x="484" y="462"/>
                  </a:lnTo>
                  <a:lnTo>
                    <a:pt x="476" y="466"/>
                  </a:lnTo>
                  <a:lnTo>
                    <a:pt x="472" y="472"/>
                  </a:lnTo>
                  <a:lnTo>
                    <a:pt x="470" y="478"/>
                  </a:lnTo>
                  <a:lnTo>
                    <a:pt x="468" y="484"/>
                  </a:lnTo>
                  <a:lnTo>
                    <a:pt x="468" y="490"/>
                  </a:lnTo>
                  <a:lnTo>
                    <a:pt x="472" y="496"/>
                  </a:lnTo>
                  <a:lnTo>
                    <a:pt x="474" y="502"/>
                  </a:lnTo>
                  <a:lnTo>
                    <a:pt x="468" y="506"/>
                  </a:lnTo>
                  <a:lnTo>
                    <a:pt x="462" y="508"/>
                  </a:lnTo>
                  <a:lnTo>
                    <a:pt x="460" y="514"/>
                  </a:lnTo>
                  <a:lnTo>
                    <a:pt x="458" y="518"/>
                  </a:lnTo>
                  <a:lnTo>
                    <a:pt x="462" y="524"/>
                  </a:lnTo>
                  <a:lnTo>
                    <a:pt x="466" y="530"/>
                  </a:lnTo>
                  <a:lnTo>
                    <a:pt x="472" y="534"/>
                  </a:lnTo>
                  <a:lnTo>
                    <a:pt x="476" y="540"/>
                  </a:lnTo>
                  <a:lnTo>
                    <a:pt x="472" y="546"/>
                  </a:lnTo>
                  <a:lnTo>
                    <a:pt x="478" y="552"/>
                  </a:lnTo>
                  <a:lnTo>
                    <a:pt x="482" y="558"/>
                  </a:lnTo>
                  <a:lnTo>
                    <a:pt x="484" y="564"/>
                  </a:lnTo>
                  <a:lnTo>
                    <a:pt x="486" y="568"/>
                  </a:lnTo>
                  <a:lnTo>
                    <a:pt x="488" y="576"/>
                  </a:lnTo>
                  <a:lnTo>
                    <a:pt x="494" y="580"/>
                  </a:lnTo>
                  <a:lnTo>
                    <a:pt x="500" y="584"/>
                  </a:lnTo>
                  <a:lnTo>
                    <a:pt x="500" y="590"/>
                  </a:lnTo>
                  <a:lnTo>
                    <a:pt x="502" y="596"/>
                  </a:lnTo>
                  <a:lnTo>
                    <a:pt x="510" y="600"/>
                  </a:lnTo>
                  <a:lnTo>
                    <a:pt x="514" y="606"/>
                  </a:lnTo>
                  <a:lnTo>
                    <a:pt x="518" y="610"/>
                  </a:lnTo>
                  <a:lnTo>
                    <a:pt x="522" y="618"/>
                  </a:lnTo>
                  <a:lnTo>
                    <a:pt x="526" y="624"/>
                  </a:lnTo>
                  <a:lnTo>
                    <a:pt x="526" y="628"/>
                  </a:lnTo>
                  <a:lnTo>
                    <a:pt x="522" y="636"/>
                  </a:lnTo>
                  <a:lnTo>
                    <a:pt x="518" y="640"/>
                  </a:lnTo>
                  <a:lnTo>
                    <a:pt x="512" y="646"/>
                  </a:lnTo>
                  <a:lnTo>
                    <a:pt x="518" y="648"/>
                  </a:lnTo>
                  <a:lnTo>
                    <a:pt x="524" y="648"/>
                  </a:lnTo>
                  <a:lnTo>
                    <a:pt x="530" y="648"/>
                  </a:lnTo>
                  <a:lnTo>
                    <a:pt x="536" y="650"/>
                  </a:lnTo>
                  <a:lnTo>
                    <a:pt x="540" y="650"/>
                  </a:lnTo>
                  <a:lnTo>
                    <a:pt x="546" y="652"/>
                  </a:lnTo>
                  <a:lnTo>
                    <a:pt x="552" y="654"/>
                  </a:lnTo>
                  <a:lnTo>
                    <a:pt x="558" y="654"/>
                  </a:lnTo>
                  <a:lnTo>
                    <a:pt x="564" y="658"/>
                  </a:lnTo>
                  <a:lnTo>
                    <a:pt x="568" y="662"/>
                  </a:lnTo>
                  <a:lnTo>
                    <a:pt x="570" y="668"/>
                  </a:lnTo>
                  <a:lnTo>
                    <a:pt x="572" y="674"/>
                  </a:lnTo>
                  <a:lnTo>
                    <a:pt x="578" y="680"/>
                  </a:lnTo>
                  <a:lnTo>
                    <a:pt x="576" y="686"/>
                  </a:lnTo>
                  <a:lnTo>
                    <a:pt x="576" y="690"/>
                  </a:lnTo>
                  <a:lnTo>
                    <a:pt x="582" y="690"/>
                  </a:lnTo>
                  <a:lnTo>
                    <a:pt x="586" y="690"/>
                  </a:lnTo>
                  <a:lnTo>
                    <a:pt x="592" y="690"/>
                  </a:lnTo>
                  <a:lnTo>
                    <a:pt x="598" y="690"/>
                  </a:lnTo>
                  <a:lnTo>
                    <a:pt x="604" y="690"/>
                  </a:lnTo>
                  <a:lnTo>
                    <a:pt x="610" y="690"/>
                  </a:lnTo>
                  <a:lnTo>
                    <a:pt x="616" y="690"/>
                  </a:lnTo>
                  <a:lnTo>
                    <a:pt x="622" y="690"/>
                  </a:lnTo>
                  <a:lnTo>
                    <a:pt x="626" y="690"/>
                  </a:lnTo>
                  <a:lnTo>
                    <a:pt x="632" y="688"/>
                  </a:lnTo>
                  <a:lnTo>
                    <a:pt x="638" y="682"/>
                  </a:lnTo>
                  <a:lnTo>
                    <a:pt x="644" y="678"/>
                  </a:lnTo>
                  <a:lnTo>
                    <a:pt x="650" y="674"/>
                  </a:lnTo>
                  <a:lnTo>
                    <a:pt x="654" y="666"/>
                  </a:lnTo>
                  <a:lnTo>
                    <a:pt x="660" y="662"/>
                  </a:lnTo>
                  <a:lnTo>
                    <a:pt x="666" y="658"/>
                  </a:lnTo>
                  <a:lnTo>
                    <a:pt x="670" y="652"/>
                  </a:lnTo>
                  <a:lnTo>
                    <a:pt x="676" y="650"/>
                  </a:lnTo>
                  <a:lnTo>
                    <a:pt x="674" y="656"/>
                  </a:lnTo>
                  <a:lnTo>
                    <a:pt x="670" y="660"/>
                  </a:lnTo>
                  <a:lnTo>
                    <a:pt x="672" y="666"/>
                  </a:lnTo>
                  <a:lnTo>
                    <a:pt x="676" y="672"/>
                  </a:lnTo>
                  <a:lnTo>
                    <a:pt x="670" y="678"/>
                  </a:lnTo>
                  <a:lnTo>
                    <a:pt x="670" y="684"/>
                  </a:lnTo>
                  <a:lnTo>
                    <a:pt x="670" y="686"/>
                  </a:lnTo>
                  <a:lnTo>
                    <a:pt x="670" y="690"/>
                  </a:lnTo>
                  <a:lnTo>
                    <a:pt x="670" y="696"/>
                  </a:lnTo>
                  <a:lnTo>
                    <a:pt x="672" y="702"/>
                  </a:lnTo>
                  <a:lnTo>
                    <a:pt x="672" y="708"/>
                  </a:lnTo>
                  <a:lnTo>
                    <a:pt x="672" y="714"/>
                  </a:lnTo>
                  <a:lnTo>
                    <a:pt x="672" y="720"/>
                  </a:lnTo>
                  <a:lnTo>
                    <a:pt x="674" y="728"/>
                  </a:lnTo>
                  <a:lnTo>
                    <a:pt x="674" y="734"/>
                  </a:lnTo>
                  <a:lnTo>
                    <a:pt x="674" y="738"/>
                  </a:lnTo>
                  <a:lnTo>
                    <a:pt x="674" y="744"/>
                  </a:lnTo>
                  <a:lnTo>
                    <a:pt x="674" y="750"/>
                  </a:lnTo>
                  <a:lnTo>
                    <a:pt x="674" y="758"/>
                  </a:lnTo>
                  <a:lnTo>
                    <a:pt x="680" y="754"/>
                  </a:lnTo>
                  <a:lnTo>
                    <a:pt x="686" y="760"/>
                  </a:lnTo>
                  <a:lnTo>
                    <a:pt x="692" y="764"/>
                  </a:lnTo>
                  <a:lnTo>
                    <a:pt x="698" y="764"/>
                  </a:lnTo>
                  <a:lnTo>
                    <a:pt x="704" y="762"/>
                  </a:lnTo>
                  <a:lnTo>
                    <a:pt x="710" y="758"/>
                  </a:lnTo>
                  <a:lnTo>
                    <a:pt x="714" y="756"/>
                  </a:lnTo>
                  <a:lnTo>
                    <a:pt x="720" y="754"/>
                  </a:lnTo>
                  <a:lnTo>
                    <a:pt x="726" y="754"/>
                  </a:lnTo>
                  <a:lnTo>
                    <a:pt x="730" y="756"/>
                  </a:lnTo>
                  <a:lnTo>
                    <a:pt x="736" y="756"/>
                  </a:lnTo>
                  <a:lnTo>
                    <a:pt x="738" y="756"/>
                  </a:lnTo>
                  <a:lnTo>
                    <a:pt x="740" y="756"/>
                  </a:lnTo>
                  <a:lnTo>
                    <a:pt x="742" y="762"/>
                  </a:lnTo>
                  <a:lnTo>
                    <a:pt x="746" y="768"/>
                  </a:lnTo>
                  <a:lnTo>
                    <a:pt x="750" y="774"/>
                  </a:lnTo>
                  <a:lnTo>
                    <a:pt x="754" y="780"/>
                  </a:lnTo>
                  <a:lnTo>
                    <a:pt x="758" y="784"/>
                  </a:lnTo>
                  <a:lnTo>
                    <a:pt x="760" y="790"/>
                  </a:lnTo>
                  <a:lnTo>
                    <a:pt x="764" y="796"/>
                  </a:lnTo>
                  <a:lnTo>
                    <a:pt x="768" y="802"/>
                  </a:lnTo>
                  <a:lnTo>
                    <a:pt x="772" y="808"/>
                  </a:lnTo>
                  <a:lnTo>
                    <a:pt x="774" y="814"/>
                  </a:lnTo>
                  <a:lnTo>
                    <a:pt x="778" y="820"/>
                  </a:lnTo>
                  <a:lnTo>
                    <a:pt x="782" y="826"/>
                  </a:lnTo>
                  <a:lnTo>
                    <a:pt x="784" y="830"/>
                  </a:lnTo>
                  <a:lnTo>
                    <a:pt x="788" y="838"/>
                  </a:lnTo>
                  <a:lnTo>
                    <a:pt x="792" y="844"/>
                  </a:lnTo>
                  <a:lnTo>
                    <a:pt x="794" y="850"/>
                  </a:lnTo>
                  <a:lnTo>
                    <a:pt x="798" y="856"/>
                  </a:lnTo>
                  <a:lnTo>
                    <a:pt x="800" y="862"/>
                  </a:lnTo>
                  <a:lnTo>
                    <a:pt x="802" y="864"/>
                  </a:lnTo>
                  <a:lnTo>
                    <a:pt x="800" y="864"/>
                  </a:lnTo>
                  <a:lnTo>
                    <a:pt x="798" y="868"/>
                  </a:lnTo>
                  <a:lnTo>
                    <a:pt x="798" y="874"/>
                  </a:lnTo>
                  <a:lnTo>
                    <a:pt x="794" y="880"/>
                  </a:lnTo>
                  <a:lnTo>
                    <a:pt x="788" y="886"/>
                  </a:lnTo>
                  <a:lnTo>
                    <a:pt x="786" y="890"/>
                  </a:lnTo>
                  <a:lnTo>
                    <a:pt x="786" y="898"/>
                  </a:lnTo>
                  <a:lnTo>
                    <a:pt x="786" y="900"/>
                  </a:lnTo>
                  <a:lnTo>
                    <a:pt x="786" y="906"/>
                  </a:lnTo>
                  <a:lnTo>
                    <a:pt x="788" y="912"/>
                  </a:lnTo>
                  <a:lnTo>
                    <a:pt x="788" y="918"/>
                  </a:lnTo>
                  <a:lnTo>
                    <a:pt x="788" y="924"/>
                  </a:lnTo>
                  <a:lnTo>
                    <a:pt x="788" y="930"/>
                  </a:lnTo>
                  <a:lnTo>
                    <a:pt x="788" y="936"/>
                  </a:lnTo>
                  <a:lnTo>
                    <a:pt x="788" y="940"/>
                  </a:lnTo>
                  <a:lnTo>
                    <a:pt x="784" y="946"/>
                  </a:lnTo>
                  <a:lnTo>
                    <a:pt x="788" y="954"/>
                  </a:lnTo>
                  <a:lnTo>
                    <a:pt x="790" y="958"/>
                  </a:lnTo>
                  <a:lnTo>
                    <a:pt x="792" y="964"/>
                  </a:lnTo>
                  <a:lnTo>
                    <a:pt x="798" y="970"/>
                  </a:lnTo>
                  <a:lnTo>
                    <a:pt x="798" y="976"/>
                  </a:lnTo>
                  <a:lnTo>
                    <a:pt x="794" y="982"/>
                  </a:lnTo>
                  <a:lnTo>
                    <a:pt x="792" y="988"/>
                  </a:lnTo>
                  <a:lnTo>
                    <a:pt x="792" y="994"/>
                  </a:lnTo>
                  <a:lnTo>
                    <a:pt x="786" y="1000"/>
                  </a:lnTo>
                  <a:lnTo>
                    <a:pt x="784" y="1004"/>
                  </a:lnTo>
                  <a:lnTo>
                    <a:pt x="778" y="1010"/>
                  </a:lnTo>
                  <a:lnTo>
                    <a:pt x="780" y="1016"/>
                  </a:lnTo>
                  <a:lnTo>
                    <a:pt x="774" y="1020"/>
                  </a:lnTo>
                  <a:lnTo>
                    <a:pt x="774" y="1026"/>
                  </a:lnTo>
                  <a:lnTo>
                    <a:pt x="772" y="1032"/>
                  </a:lnTo>
                  <a:lnTo>
                    <a:pt x="774" y="1036"/>
                  </a:lnTo>
                  <a:lnTo>
                    <a:pt x="778" y="1042"/>
                  </a:lnTo>
                  <a:lnTo>
                    <a:pt x="784" y="1046"/>
                  </a:lnTo>
                  <a:lnTo>
                    <a:pt x="788" y="1052"/>
                  </a:lnTo>
                  <a:lnTo>
                    <a:pt x="784" y="1058"/>
                  </a:lnTo>
                  <a:lnTo>
                    <a:pt x="782" y="1064"/>
                  </a:lnTo>
                  <a:lnTo>
                    <a:pt x="778" y="1070"/>
                  </a:lnTo>
                  <a:lnTo>
                    <a:pt x="778" y="1072"/>
                  </a:lnTo>
                  <a:lnTo>
                    <a:pt x="774" y="1078"/>
                  </a:lnTo>
                  <a:lnTo>
                    <a:pt x="776" y="1084"/>
                  </a:lnTo>
                  <a:lnTo>
                    <a:pt x="780" y="1090"/>
                  </a:lnTo>
                  <a:lnTo>
                    <a:pt x="782" y="1098"/>
                  </a:lnTo>
                  <a:lnTo>
                    <a:pt x="784" y="1100"/>
                  </a:lnTo>
                  <a:lnTo>
                    <a:pt x="786" y="1106"/>
                  </a:lnTo>
                  <a:lnTo>
                    <a:pt x="788" y="1112"/>
                  </a:lnTo>
                  <a:lnTo>
                    <a:pt x="792" y="1118"/>
                  </a:lnTo>
                  <a:lnTo>
                    <a:pt x="798" y="1120"/>
                  </a:lnTo>
                  <a:lnTo>
                    <a:pt x="800" y="1122"/>
                  </a:lnTo>
                  <a:lnTo>
                    <a:pt x="806" y="1120"/>
                  </a:lnTo>
                  <a:lnTo>
                    <a:pt x="812" y="1124"/>
                  </a:lnTo>
                  <a:lnTo>
                    <a:pt x="814" y="1130"/>
                  </a:lnTo>
                  <a:lnTo>
                    <a:pt x="808" y="1134"/>
                  </a:lnTo>
                  <a:lnTo>
                    <a:pt x="804" y="1140"/>
                  </a:lnTo>
                  <a:lnTo>
                    <a:pt x="804" y="1144"/>
                  </a:lnTo>
                  <a:lnTo>
                    <a:pt x="804" y="1146"/>
                  </a:lnTo>
                  <a:lnTo>
                    <a:pt x="806" y="1150"/>
                  </a:lnTo>
                  <a:lnTo>
                    <a:pt x="802" y="1154"/>
                  </a:lnTo>
                  <a:lnTo>
                    <a:pt x="796" y="1162"/>
                  </a:lnTo>
                  <a:lnTo>
                    <a:pt x="792" y="1166"/>
                  </a:lnTo>
                  <a:lnTo>
                    <a:pt x="788" y="1172"/>
                  </a:lnTo>
                  <a:lnTo>
                    <a:pt x="786" y="1178"/>
                  </a:lnTo>
                  <a:lnTo>
                    <a:pt x="780" y="1182"/>
                  </a:lnTo>
                  <a:lnTo>
                    <a:pt x="774" y="1188"/>
                  </a:lnTo>
                  <a:lnTo>
                    <a:pt x="772" y="1194"/>
                  </a:lnTo>
                  <a:lnTo>
                    <a:pt x="778" y="1196"/>
                  </a:lnTo>
                  <a:lnTo>
                    <a:pt x="782" y="1202"/>
                  </a:lnTo>
                  <a:lnTo>
                    <a:pt x="784" y="1208"/>
                  </a:lnTo>
                  <a:lnTo>
                    <a:pt x="784" y="1210"/>
                  </a:lnTo>
                  <a:lnTo>
                    <a:pt x="780" y="1214"/>
                  </a:lnTo>
                  <a:lnTo>
                    <a:pt x="774" y="1220"/>
                  </a:lnTo>
                  <a:lnTo>
                    <a:pt x="768" y="1220"/>
                  </a:lnTo>
                  <a:lnTo>
                    <a:pt x="764" y="1226"/>
                  </a:lnTo>
                  <a:lnTo>
                    <a:pt x="768" y="1232"/>
                  </a:lnTo>
                  <a:lnTo>
                    <a:pt x="768" y="1238"/>
                  </a:lnTo>
                  <a:lnTo>
                    <a:pt x="770" y="1244"/>
                  </a:lnTo>
                  <a:lnTo>
                    <a:pt x="768" y="1250"/>
                  </a:lnTo>
                  <a:lnTo>
                    <a:pt x="766" y="1256"/>
                  </a:lnTo>
                  <a:lnTo>
                    <a:pt x="762" y="1262"/>
                  </a:lnTo>
                  <a:lnTo>
                    <a:pt x="760" y="1262"/>
                  </a:lnTo>
                  <a:lnTo>
                    <a:pt x="754" y="1264"/>
                  </a:lnTo>
                  <a:lnTo>
                    <a:pt x="748" y="1266"/>
                  </a:lnTo>
                  <a:lnTo>
                    <a:pt x="742" y="1266"/>
                  </a:lnTo>
                  <a:lnTo>
                    <a:pt x="740" y="1266"/>
                  </a:lnTo>
                  <a:lnTo>
                    <a:pt x="736" y="1268"/>
                  </a:lnTo>
                  <a:lnTo>
                    <a:pt x="732" y="1264"/>
                  </a:lnTo>
                  <a:lnTo>
                    <a:pt x="726" y="1260"/>
                  </a:lnTo>
                  <a:lnTo>
                    <a:pt x="720" y="1258"/>
                  </a:lnTo>
                  <a:lnTo>
                    <a:pt x="714" y="1252"/>
                  </a:lnTo>
                  <a:lnTo>
                    <a:pt x="708" y="1246"/>
                  </a:lnTo>
                  <a:lnTo>
                    <a:pt x="702" y="1242"/>
                  </a:lnTo>
                  <a:lnTo>
                    <a:pt x="696" y="1236"/>
                  </a:lnTo>
                  <a:lnTo>
                    <a:pt x="690" y="1234"/>
                  </a:lnTo>
                  <a:lnTo>
                    <a:pt x="684" y="1230"/>
                  </a:lnTo>
                  <a:lnTo>
                    <a:pt x="684" y="1228"/>
                  </a:lnTo>
                  <a:lnTo>
                    <a:pt x="678" y="1224"/>
                  </a:lnTo>
                  <a:lnTo>
                    <a:pt x="672" y="1220"/>
                  </a:lnTo>
                  <a:lnTo>
                    <a:pt x="670" y="1214"/>
                  </a:lnTo>
                  <a:lnTo>
                    <a:pt x="670" y="1208"/>
                  </a:lnTo>
                  <a:lnTo>
                    <a:pt x="668" y="1202"/>
                  </a:lnTo>
                  <a:lnTo>
                    <a:pt x="662" y="1196"/>
                  </a:lnTo>
                  <a:lnTo>
                    <a:pt x="656" y="1194"/>
                  </a:lnTo>
                  <a:lnTo>
                    <a:pt x="650" y="1190"/>
                  </a:lnTo>
                  <a:lnTo>
                    <a:pt x="644" y="1188"/>
                  </a:lnTo>
                  <a:lnTo>
                    <a:pt x="638" y="1186"/>
                  </a:lnTo>
                  <a:lnTo>
                    <a:pt x="634" y="1180"/>
                  </a:lnTo>
                  <a:lnTo>
                    <a:pt x="628" y="1178"/>
                  </a:lnTo>
                  <a:lnTo>
                    <a:pt x="622" y="1176"/>
                  </a:lnTo>
                  <a:lnTo>
                    <a:pt x="620" y="1172"/>
                  </a:lnTo>
                  <a:lnTo>
                    <a:pt x="614" y="1168"/>
                  </a:lnTo>
                  <a:lnTo>
                    <a:pt x="608" y="1162"/>
                  </a:lnTo>
                  <a:lnTo>
                    <a:pt x="602" y="1156"/>
                  </a:lnTo>
                  <a:lnTo>
                    <a:pt x="596" y="1152"/>
                  </a:lnTo>
                  <a:lnTo>
                    <a:pt x="590" y="1152"/>
                  </a:lnTo>
                  <a:lnTo>
                    <a:pt x="584" y="1150"/>
                  </a:lnTo>
                  <a:lnTo>
                    <a:pt x="578" y="1148"/>
                  </a:lnTo>
                  <a:lnTo>
                    <a:pt x="576" y="1148"/>
                  </a:lnTo>
                  <a:lnTo>
                    <a:pt x="574" y="1146"/>
                  </a:lnTo>
                  <a:lnTo>
                    <a:pt x="568" y="1142"/>
                  </a:lnTo>
                  <a:lnTo>
                    <a:pt x="562" y="1140"/>
                  </a:lnTo>
                  <a:lnTo>
                    <a:pt x="556" y="1136"/>
                  </a:lnTo>
                  <a:lnTo>
                    <a:pt x="554" y="1134"/>
                  </a:lnTo>
                  <a:lnTo>
                    <a:pt x="548" y="1132"/>
                  </a:lnTo>
                  <a:lnTo>
                    <a:pt x="542" y="1128"/>
                  </a:lnTo>
                  <a:lnTo>
                    <a:pt x="536" y="1124"/>
                  </a:lnTo>
                  <a:lnTo>
                    <a:pt x="530" y="1124"/>
                  </a:lnTo>
                  <a:lnTo>
                    <a:pt x="524" y="1120"/>
                  </a:lnTo>
                  <a:lnTo>
                    <a:pt x="518" y="1118"/>
                  </a:lnTo>
                  <a:lnTo>
                    <a:pt x="512" y="1116"/>
                  </a:lnTo>
                  <a:lnTo>
                    <a:pt x="506" y="1112"/>
                  </a:lnTo>
                  <a:lnTo>
                    <a:pt x="500" y="1106"/>
                  </a:lnTo>
                  <a:lnTo>
                    <a:pt x="494" y="1102"/>
                  </a:lnTo>
                  <a:lnTo>
                    <a:pt x="488" y="1098"/>
                  </a:lnTo>
                  <a:lnTo>
                    <a:pt x="482" y="1096"/>
                  </a:lnTo>
                  <a:lnTo>
                    <a:pt x="476" y="1094"/>
                  </a:lnTo>
                  <a:lnTo>
                    <a:pt x="472" y="1088"/>
                  </a:lnTo>
                  <a:lnTo>
                    <a:pt x="464" y="1084"/>
                  </a:lnTo>
                  <a:lnTo>
                    <a:pt x="460" y="1082"/>
                  </a:lnTo>
                  <a:lnTo>
                    <a:pt x="454" y="1080"/>
                  </a:lnTo>
                  <a:lnTo>
                    <a:pt x="448" y="1076"/>
                  </a:lnTo>
                  <a:lnTo>
                    <a:pt x="442" y="1072"/>
                  </a:lnTo>
                  <a:lnTo>
                    <a:pt x="438" y="1070"/>
                  </a:lnTo>
                  <a:lnTo>
                    <a:pt x="432" y="1066"/>
                  </a:lnTo>
                  <a:lnTo>
                    <a:pt x="424" y="1062"/>
                  </a:lnTo>
                  <a:lnTo>
                    <a:pt x="426" y="1058"/>
                  </a:lnTo>
                  <a:lnTo>
                    <a:pt x="420" y="1052"/>
                  </a:lnTo>
                  <a:lnTo>
                    <a:pt x="416" y="1046"/>
                  </a:lnTo>
                  <a:lnTo>
                    <a:pt x="410" y="1042"/>
                  </a:lnTo>
                  <a:lnTo>
                    <a:pt x="406" y="1038"/>
                  </a:lnTo>
                  <a:lnTo>
                    <a:pt x="404" y="1036"/>
                  </a:lnTo>
                  <a:lnTo>
                    <a:pt x="400" y="1030"/>
                  </a:lnTo>
                  <a:lnTo>
                    <a:pt x="394" y="1026"/>
                  </a:lnTo>
                  <a:lnTo>
                    <a:pt x="388" y="1022"/>
                  </a:lnTo>
                  <a:lnTo>
                    <a:pt x="382" y="1018"/>
                  </a:lnTo>
                  <a:lnTo>
                    <a:pt x="378" y="1014"/>
                  </a:lnTo>
                  <a:lnTo>
                    <a:pt x="374" y="1008"/>
                  </a:lnTo>
                  <a:lnTo>
                    <a:pt x="370" y="1002"/>
                  </a:lnTo>
                  <a:lnTo>
                    <a:pt x="366" y="996"/>
                  </a:lnTo>
                  <a:lnTo>
                    <a:pt x="360" y="992"/>
                  </a:lnTo>
                  <a:lnTo>
                    <a:pt x="360" y="986"/>
                  </a:lnTo>
                  <a:lnTo>
                    <a:pt x="354" y="980"/>
                  </a:lnTo>
                  <a:lnTo>
                    <a:pt x="348" y="978"/>
                  </a:lnTo>
                  <a:lnTo>
                    <a:pt x="348" y="972"/>
                  </a:lnTo>
                  <a:lnTo>
                    <a:pt x="348" y="966"/>
                  </a:lnTo>
                  <a:lnTo>
                    <a:pt x="348" y="960"/>
                  </a:lnTo>
                  <a:lnTo>
                    <a:pt x="340" y="960"/>
                  </a:lnTo>
                  <a:lnTo>
                    <a:pt x="342" y="954"/>
                  </a:lnTo>
                  <a:lnTo>
                    <a:pt x="348" y="956"/>
                  </a:lnTo>
                  <a:lnTo>
                    <a:pt x="350" y="950"/>
                  </a:lnTo>
                  <a:lnTo>
                    <a:pt x="350" y="946"/>
                  </a:lnTo>
                  <a:lnTo>
                    <a:pt x="350" y="944"/>
                  </a:lnTo>
                  <a:lnTo>
                    <a:pt x="352" y="938"/>
                  </a:lnTo>
                  <a:lnTo>
                    <a:pt x="352" y="932"/>
                  </a:lnTo>
                  <a:lnTo>
                    <a:pt x="350" y="926"/>
                  </a:lnTo>
                  <a:lnTo>
                    <a:pt x="346" y="920"/>
                  </a:lnTo>
                  <a:lnTo>
                    <a:pt x="344" y="918"/>
                  </a:lnTo>
                  <a:lnTo>
                    <a:pt x="340" y="912"/>
                  </a:lnTo>
                  <a:lnTo>
                    <a:pt x="336" y="906"/>
                  </a:lnTo>
                  <a:lnTo>
                    <a:pt x="332" y="902"/>
                  </a:lnTo>
                  <a:lnTo>
                    <a:pt x="328" y="898"/>
                  </a:lnTo>
                  <a:lnTo>
                    <a:pt x="328" y="892"/>
                  </a:lnTo>
                  <a:lnTo>
                    <a:pt x="326" y="886"/>
                  </a:lnTo>
                  <a:lnTo>
                    <a:pt x="318" y="880"/>
                  </a:lnTo>
                  <a:lnTo>
                    <a:pt x="316" y="874"/>
                  </a:lnTo>
                  <a:lnTo>
                    <a:pt x="314" y="868"/>
                  </a:lnTo>
                  <a:lnTo>
                    <a:pt x="308" y="862"/>
                  </a:lnTo>
                  <a:lnTo>
                    <a:pt x="308" y="856"/>
                  </a:lnTo>
                  <a:lnTo>
                    <a:pt x="304" y="850"/>
                  </a:lnTo>
                  <a:lnTo>
                    <a:pt x="298" y="846"/>
                  </a:lnTo>
                  <a:lnTo>
                    <a:pt x="292" y="842"/>
                  </a:lnTo>
                  <a:lnTo>
                    <a:pt x="290" y="836"/>
                  </a:lnTo>
                  <a:lnTo>
                    <a:pt x="284" y="832"/>
                  </a:lnTo>
                  <a:lnTo>
                    <a:pt x="284" y="830"/>
                  </a:lnTo>
                  <a:lnTo>
                    <a:pt x="284" y="824"/>
                  </a:lnTo>
                  <a:lnTo>
                    <a:pt x="282" y="818"/>
                  </a:lnTo>
                  <a:lnTo>
                    <a:pt x="280" y="812"/>
                  </a:lnTo>
                  <a:lnTo>
                    <a:pt x="280" y="806"/>
                  </a:lnTo>
                  <a:lnTo>
                    <a:pt x="274" y="800"/>
                  </a:lnTo>
                  <a:lnTo>
                    <a:pt x="272" y="794"/>
                  </a:lnTo>
                  <a:lnTo>
                    <a:pt x="266" y="790"/>
                  </a:lnTo>
                  <a:lnTo>
                    <a:pt x="260" y="786"/>
                  </a:lnTo>
                  <a:lnTo>
                    <a:pt x="254" y="782"/>
                  </a:lnTo>
                  <a:lnTo>
                    <a:pt x="248" y="776"/>
                  </a:lnTo>
                  <a:lnTo>
                    <a:pt x="252" y="772"/>
                  </a:lnTo>
                  <a:lnTo>
                    <a:pt x="250" y="764"/>
                  </a:lnTo>
                  <a:lnTo>
                    <a:pt x="248" y="762"/>
                  </a:lnTo>
                  <a:lnTo>
                    <a:pt x="246" y="756"/>
                  </a:lnTo>
                  <a:lnTo>
                    <a:pt x="244" y="750"/>
                  </a:lnTo>
                  <a:lnTo>
                    <a:pt x="240" y="744"/>
                  </a:lnTo>
                  <a:lnTo>
                    <a:pt x="236" y="738"/>
                  </a:lnTo>
                  <a:lnTo>
                    <a:pt x="232" y="732"/>
                  </a:lnTo>
                  <a:lnTo>
                    <a:pt x="228" y="726"/>
                  </a:lnTo>
                  <a:lnTo>
                    <a:pt x="224" y="720"/>
                  </a:lnTo>
                  <a:lnTo>
                    <a:pt x="222" y="714"/>
                  </a:lnTo>
                  <a:lnTo>
                    <a:pt x="218" y="708"/>
                  </a:lnTo>
                  <a:lnTo>
                    <a:pt x="214" y="702"/>
                  </a:lnTo>
                  <a:lnTo>
                    <a:pt x="212" y="696"/>
                  </a:lnTo>
                  <a:lnTo>
                    <a:pt x="210" y="690"/>
                  </a:lnTo>
                  <a:lnTo>
                    <a:pt x="208" y="686"/>
                  </a:lnTo>
                  <a:lnTo>
                    <a:pt x="206" y="680"/>
                  </a:lnTo>
                  <a:lnTo>
                    <a:pt x="204" y="674"/>
                  </a:lnTo>
                  <a:lnTo>
                    <a:pt x="200" y="668"/>
                  </a:lnTo>
                  <a:lnTo>
                    <a:pt x="198" y="662"/>
                  </a:lnTo>
                  <a:lnTo>
                    <a:pt x="196" y="656"/>
                  </a:lnTo>
                  <a:lnTo>
                    <a:pt x="194" y="650"/>
                  </a:lnTo>
                  <a:lnTo>
                    <a:pt x="192" y="644"/>
                  </a:lnTo>
                  <a:lnTo>
                    <a:pt x="186" y="638"/>
                  </a:lnTo>
                  <a:lnTo>
                    <a:pt x="186" y="632"/>
                  </a:lnTo>
                  <a:lnTo>
                    <a:pt x="180" y="632"/>
                  </a:lnTo>
                  <a:lnTo>
                    <a:pt x="182" y="626"/>
                  </a:lnTo>
                  <a:lnTo>
                    <a:pt x="178" y="620"/>
                  </a:lnTo>
                  <a:lnTo>
                    <a:pt x="178" y="618"/>
                  </a:lnTo>
                  <a:lnTo>
                    <a:pt x="178" y="616"/>
                  </a:lnTo>
                  <a:lnTo>
                    <a:pt x="174" y="610"/>
                  </a:lnTo>
                  <a:lnTo>
                    <a:pt x="170" y="604"/>
                  </a:lnTo>
                  <a:lnTo>
                    <a:pt x="170" y="598"/>
                  </a:lnTo>
                  <a:lnTo>
                    <a:pt x="170" y="592"/>
                  </a:lnTo>
                  <a:lnTo>
                    <a:pt x="164" y="586"/>
                  </a:lnTo>
                  <a:lnTo>
                    <a:pt x="158" y="582"/>
                  </a:lnTo>
                  <a:lnTo>
                    <a:pt x="158" y="576"/>
                  </a:lnTo>
                  <a:lnTo>
                    <a:pt x="156" y="570"/>
                  </a:lnTo>
                  <a:lnTo>
                    <a:pt x="152" y="564"/>
                  </a:lnTo>
                  <a:lnTo>
                    <a:pt x="146" y="558"/>
                  </a:lnTo>
                  <a:lnTo>
                    <a:pt x="140" y="552"/>
                  </a:lnTo>
                  <a:lnTo>
                    <a:pt x="134" y="548"/>
                  </a:lnTo>
                  <a:lnTo>
                    <a:pt x="130" y="542"/>
                  </a:lnTo>
                  <a:lnTo>
                    <a:pt x="126" y="536"/>
                  </a:lnTo>
                  <a:lnTo>
                    <a:pt x="124" y="530"/>
                  </a:lnTo>
                  <a:lnTo>
                    <a:pt x="122" y="524"/>
                  </a:lnTo>
                  <a:lnTo>
                    <a:pt x="118" y="518"/>
                  </a:lnTo>
                  <a:lnTo>
                    <a:pt x="116" y="512"/>
                  </a:lnTo>
                  <a:lnTo>
                    <a:pt x="114" y="506"/>
                  </a:lnTo>
                  <a:lnTo>
                    <a:pt x="112" y="500"/>
                  </a:lnTo>
                  <a:lnTo>
                    <a:pt x="106" y="496"/>
                  </a:lnTo>
                  <a:lnTo>
                    <a:pt x="106" y="490"/>
                  </a:lnTo>
                  <a:lnTo>
                    <a:pt x="100" y="484"/>
                  </a:lnTo>
                  <a:lnTo>
                    <a:pt x="94" y="478"/>
                  </a:lnTo>
                  <a:lnTo>
                    <a:pt x="90" y="472"/>
                  </a:lnTo>
                  <a:lnTo>
                    <a:pt x="90" y="470"/>
                  </a:lnTo>
                  <a:lnTo>
                    <a:pt x="88" y="466"/>
                  </a:lnTo>
                  <a:lnTo>
                    <a:pt x="86" y="464"/>
                  </a:lnTo>
                  <a:lnTo>
                    <a:pt x="80" y="458"/>
                  </a:lnTo>
                  <a:lnTo>
                    <a:pt x="74" y="454"/>
                  </a:lnTo>
                  <a:lnTo>
                    <a:pt x="68" y="452"/>
                  </a:lnTo>
                  <a:lnTo>
                    <a:pt x="62" y="448"/>
                  </a:lnTo>
                  <a:lnTo>
                    <a:pt x="56" y="444"/>
                  </a:lnTo>
                  <a:lnTo>
                    <a:pt x="50" y="438"/>
                  </a:lnTo>
                  <a:lnTo>
                    <a:pt x="44" y="436"/>
                  </a:lnTo>
                  <a:lnTo>
                    <a:pt x="38" y="432"/>
                  </a:lnTo>
                  <a:lnTo>
                    <a:pt x="32" y="428"/>
                  </a:lnTo>
                  <a:lnTo>
                    <a:pt x="26" y="426"/>
                  </a:lnTo>
                  <a:lnTo>
                    <a:pt x="20" y="424"/>
                  </a:lnTo>
                  <a:lnTo>
                    <a:pt x="14" y="420"/>
                  </a:lnTo>
                  <a:lnTo>
                    <a:pt x="14" y="414"/>
                  </a:lnTo>
                  <a:lnTo>
                    <a:pt x="14" y="408"/>
                  </a:lnTo>
                  <a:lnTo>
                    <a:pt x="16" y="402"/>
                  </a:lnTo>
                  <a:lnTo>
                    <a:pt x="22" y="404"/>
                  </a:lnTo>
                  <a:lnTo>
                    <a:pt x="28" y="402"/>
                  </a:lnTo>
                  <a:lnTo>
                    <a:pt x="30" y="396"/>
                  </a:lnTo>
                  <a:lnTo>
                    <a:pt x="32" y="390"/>
                  </a:lnTo>
                  <a:lnTo>
                    <a:pt x="30" y="384"/>
                  </a:lnTo>
                  <a:lnTo>
                    <a:pt x="28" y="378"/>
                  </a:lnTo>
                  <a:lnTo>
                    <a:pt x="24" y="372"/>
                  </a:lnTo>
                  <a:lnTo>
                    <a:pt x="18" y="366"/>
                  </a:lnTo>
                  <a:lnTo>
                    <a:pt x="12" y="360"/>
                  </a:lnTo>
                  <a:lnTo>
                    <a:pt x="10" y="356"/>
                  </a:lnTo>
                  <a:lnTo>
                    <a:pt x="10" y="348"/>
                  </a:lnTo>
                  <a:lnTo>
                    <a:pt x="16" y="344"/>
                  </a:lnTo>
                  <a:lnTo>
                    <a:pt x="10" y="336"/>
                  </a:lnTo>
                  <a:lnTo>
                    <a:pt x="6" y="332"/>
                  </a:lnTo>
                  <a:lnTo>
                    <a:pt x="2" y="326"/>
                  </a:lnTo>
                  <a:lnTo>
                    <a:pt x="0" y="320"/>
                  </a:lnTo>
                  <a:lnTo>
                    <a:pt x="2" y="314"/>
                  </a:lnTo>
                  <a:lnTo>
                    <a:pt x="0" y="3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1" name="Freeform 259"/>
            <p:cNvSpPr>
              <a:spLocks/>
            </p:cNvSpPr>
            <p:nvPr/>
          </p:nvSpPr>
          <p:spPr bwMode="auto">
            <a:xfrm>
              <a:off x="2873375" y="4083050"/>
              <a:ext cx="74613" cy="103188"/>
            </a:xfrm>
            <a:custGeom>
              <a:avLst/>
              <a:gdLst>
                <a:gd name="T0" fmla="*/ 2147483647 w 182"/>
                <a:gd name="T1" fmla="*/ 2147483647 h 252"/>
                <a:gd name="T2" fmla="*/ 2147483647 w 182"/>
                <a:gd name="T3" fmla="*/ 2147483647 h 252"/>
                <a:gd name="T4" fmla="*/ 2147483647 w 182"/>
                <a:gd name="T5" fmla="*/ 2147483647 h 252"/>
                <a:gd name="T6" fmla="*/ 2147483647 w 182"/>
                <a:gd name="T7" fmla="*/ 2147483647 h 252"/>
                <a:gd name="T8" fmla="*/ 2147483647 w 182"/>
                <a:gd name="T9" fmla="*/ 2147483647 h 252"/>
                <a:gd name="T10" fmla="*/ 2147483647 w 182"/>
                <a:gd name="T11" fmla="*/ 2147483647 h 252"/>
                <a:gd name="T12" fmla="*/ 2147483647 w 182"/>
                <a:gd name="T13" fmla="*/ 2147483647 h 252"/>
                <a:gd name="T14" fmla="*/ 2147483647 w 182"/>
                <a:gd name="T15" fmla="*/ 2147483647 h 252"/>
                <a:gd name="T16" fmla="*/ 2147483647 w 182"/>
                <a:gd name="T17" fmla="*/ 2147483647 h 252"/>
                <a:gd name="T18" fmla="*/ 2147483647 w 182"/>
                <a:gd name="T19" fmla="*/ 2147483647 h 252"/>
                <a:gd name="T20" fmla="*/ 2147483647 w 182"/>
                <a:gd name="T21" fmla="*/ 2147483647 h 252"/>
                <a:gd name="T22" fmla="*/ 2147483647 w 182"/>
                <a:gd name="T23" fmla="*/ 2147483647 h 252"/>
                <a:gd name="T24" fmla="*/ 2147483647 w 182"/>
                <a:gd name="T25" fmla="*/ 2147483647 h 252"/>
                <a:gd name="T26" fmla="*/ 2147483647 w 182"/>
                <a:gd name="T27" fmla="*/ 2147483647 h 252"/>
                <a:gd name="T28" fmla="*/ 2147483647 w 182"/>
                <a:gd name="T29" fmla="*/ 2147483647 h 252"/>
                <a:gd name="T30" fmla="*/ 2147483647 w 182"/>
                <a:gd name="T31" fmla="*/ 0 h 252"/>
                <a:gd name="T32" fmla="*/ 2147483647 w 182"/>
                <a:gd name="T33" fmla="*/ 2147483647 h 252"/>
                <a:gd name="T34" fmla="*/ 2147483647 w 182"/>
                <a:gd name="T35" fmla="*/ 2147483647 h 252"/>
                <a:gd name="T36" fmla="*/ 2147483647 w 182"/>
                <a:gd name="T37" fmla="*/ 2147483647 h 252"/>
                <a:gd name="T38" fmla="*/ 2147483647 w 182"/>
                <a:gd name="T39" fmla="*/ 2147483647 h 252"/>
                <a:gd name="T40" fmla="*/ 2147483647 w 182"/>
                <a:gd name="T41" fmla="*/ 2147483647 h 252"/>
                <a:gd name="T42" fmla="*/ 2147483647 w 182"/>
                <a:gd name="T43" fmla="*/ 2147483647 h 252"/>
                <a:gd name="T44" fmla="*/ 2147483647 w 182"/>
                <a:gd name="T45" fmla="*/ 2147483647 h 252"/>
                <a:gd name="T46" fmla="*/ 2147483647 w 182"/>
                <a:gd name="T47" fmla="*/ 2147483647 h 252"/>
                <a:gd name="T48" fmla="*/ 2147483647 w 182"/>
                <a:gd name="T49" fmla="*/ 2147483647 h 252"/>
                <a:gd name="T50" fmla="*/ 2147483647 w 182"/>
                <a:gd name="T51" fmla="*/ 2147483647 h 252"/>
                <a:gd name="T52" fmla="*/ 2147483647 w 182"/>
                <a:gd name="T53" fmla="*/ 2147483647 h 252"/>
                <a:gd name="T54" fmla="*/ 2147483647 w 182"/>
                <a:gd name="T55" fmla="*/ 2147483647 h 252"/>
                <a:gd name="T56" fmla="*/ 2147483647 w 182"/>
                <a:gd name="T57" fmla="*/ 2147483647 h 252"/>
                <a:gd name="T58" fmla="*/ 2147483647 w 182"/>
                <a:gd name="T59" fmla="*/ 2147483647 h 252"/>
                <a:gd name="T60" fmla="*/ 2147483647 w 182"/>
                <a:gd name="T61" fmla="*/ 2147483647 h 252"/>
                <a:gd name="T62" fmla="*/ 2147483647 w 182"/>
                <a:gd name="T63" fmla="*/ 2147483647 h 252"/>
                <a:gd name="T64" fmla="*/ 2147483647 w 182"/>
                <a:gd name="T65" fmla="*/ 2147483647 h 252"/>
                <a:gd name="T66" fmla="*/ 2147483647 w 182"/>
                <a:gd name="T67" fmla="*/ 2147483647 h 252"/>
                <a:gd name="T68" fmla="*/ 2147483647 w 182"/>
                <a:gd name="T69" fmla="*/ 2147483647 h 252"/>
                <a:gd name="T70" fmla="*/ 2147483647 w 182"/>
                <a:gd name="T71" fmla="*/ 2147483647 h 252"/>
                <a:gd name="T72" fmla="*/ 2147483647 w 182"/>
                <a:gd name="T73" fmla="*/ 2147483647 h 252"/>
                <a:gd name="T74" fmla="*/ 2147483647 w 182"/>
                <a:gd name="T75" fmla="*/ 2147483647 h 252"/>
                <a:gd name="T76" fmla="*/ 2147483647 w 182"/>
                <a:gd name="T77" fmla="*/ 2147483647 h 252"/>
                <a:gd name="T78" fmla="*/ 2147483647 w 182"/>
                <a:gd name="T79" fmla="*/ 2147483647 h 252"/>
                <a:gd name="T80" fmla="*/ 2147483647 w 182"/>
                <a:gd name="T81" fmla="*/ 2147483647 h 252"/>
                <a:gd name="T82" fmla="*/ 2147483647 w 182"/>
                <a:gd name="T83" fmla="*/ 2147483647 h 252"/>
                <a:gd name="T84" fmla="*/ 2147483647 w 182"/>
                <a:gd name="T85" fmla="*/ 2147483647 h 252"/>
                <a:gd name="T86" fmla="*/ 0 w 182"/>
                <a:gd name="T87" fmla="*/ 2147483647 h 2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82"/>
                <a:gd name="T133" fmla="*/ 0 h 252"/>
                <a:gd name="T134" fmla="*/ 182 w 182"/>
                <a:gd name="T135" fmla="*/ 252 h 2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82" h="252">
                  <a:moveTo>
                    <a:pt x="0" y="236"/>
                  </a:moveTo>
                  <a:lnTo>
                    <a:pt x="6" y="236"/>
                  </a:lnTo>
                  <a:lnTo>
                    <a:pt x="6" y="230"/>
                  </a:lnTo>
                  <a:lnTo>
                    <a:pt x="12" y="226"/>
                  </a:lnTo>
                  <a:lnTo>
                    <a:pt x="16" y="220"/>
                  </a:lnTo>
                  <a:lnTo>
                    <a:pt x="18" y="214"/>
                  </a:lnTo>
                  <a:lnTo>
                    <a:pt x="22" y="210"/>
                  </a:lnTo>
                  <a:lnTo>
                    <a:pt x="24" y="202"/>
                  </a:lnTo>
                  <a:lnTo>
                    <a:pt x="26" y="198"/>
                  </a:lnTo>
                  <a:lnTo>
                    <a:pt x="26" y="192"/>
                  </a:lnTo>
                  <a:lnTo>
                    <a:pt x="26" y="186"/>
                  </a:lnTo>
                  <a:lnTo>
                    <a:pt x="24" y="180"/>
                  </a:lnTo>
                  <a:lnTo>
                    <a:pt x="26" y="176"/>
                  </a:lnTo>
                  <a:lnTo>
                    <a:pt x="32" y="170"/>
                  </a:lnTo>
                  <a:lnTo>
                    <a:pt x="34" y="164"/>
                  </a:lnTo>
                  <a:lnTo>
                    <a:pt x="38" y="160"/>
                  </a:lnTo>
                  <a:lnTo>
                    <a:pt x="36" y="154"/>
                  </a:lnTo>
                  <a:lnTo>
                    <a:pt x="38" y="148"/>
                  </a:lnTo>
                  <a:lnTo>
                    <a:pt x="32" y="142"/>
                  </a:lnTo>
                  <a:lnTo>
                    <a:pt x="30" y="136"/>
                  </a:lnTo>
                  <a:lnTo>
                    <a:pt x="24" y="130"/>
                  </a:lnTo>
                  <a:lnTo>
                    <a:pt x="20" y="124"/>
                  </a:lnTo>
                  <a:lnTo>
                    <a:pt x="16" y="118"/>
                  </a:lnTo>
                  <a:lnTo>
                    <a:pt x="18" y="112"/>
                  </a:lnTo>
                  <a:lnTo>
                    <a:pt x="14" y="106"/>
                  </a:lnTo>
                  <a:lnTo>
                    <a:pt x="14" y="100"/>
                  </a:lnTo>
                  <a:lnTo>
                    <a:pt x="12" y="96"/>
                  </a:lnTo>
                  <a:lnTo>
                    <a:pt x="12" y="92"/>
                  </a:lnTo>
                  <a:lnTo>
                    <a:pt x="12" y="86"/>
                  </a:lnTo>
                  <a:lnTo>
                    <a:pt x="14" y="80"/>
                  </a:lnTo>
                  <a:lnTo>
                    <a:pt x="12" y="74"/>
                  </a:lnTo>
                  <a:lnTo>
                    <a:pt x="10" y="68"/>
                  </a:lnTo>
                  <a:lnTo>
                    <a:pt x="10" y="62"/>
                  </a:lnTo>
                  <a:lnTo>
                    <a:pt x="12" y="56"/>
                  </a:lnTo>
                  <a:lnTo>
                    <a:pt x="12" y="50"/>
                  </a:lnTo>
                  <a:lnTo>
                    <a:pt x="18" y="44"/>
                  </a:lnTo>
                  <a:lnTo>
                    <a:pt x="20" y="38"/>
                  </a:lnTo>
                  <a:lnTo>
                    <a:pt x="22" y="38"/>
                  </a:lnTo>
                  <a:lnTo>
                    <a:pt x="26" y="32"/>
                  </a:lnTo>
                  <a:lnTo>
                    <a:pt x="32" y="28"/>
                  </a:lnTo>
                  <a:lnTo>
                    <a:pt x="36" y="24"/>
                  </a:lnTo>
                  <a:lnTo>
                    <a:pt x="38" y="22"/>
                  </a:lnTo>
                  <a:lnTo>
                    <a:pt x="40" y="16"/>
                  </a:lnTo>
                  <a:lnTo>
                    <a:pt x="40" y="10"/>
                  </a:lnTo>
                  <a:lnTo>
                    <a:pt x="42" y="4"/>
                  </a:lnTo>
                  <a:lnTo>
                    <a:pt x="48" y="0"/>
                  </a:lnTo>
                  <a:lnTo>
                    <a:pt x="54" y="0"/>
                  </a:lnTo>
                  <a:lnTo>
                    <a:pt x="60" y="4"/>
                  </a:lnTo>
                  <a:lnTo>
                    <a:pt x="66" y="8"/>
                  </a:lnTo>
                  <a:lnTo>
                    <a:pt x="72" y="12"/>
                  </a:lnTo>
                  <a:lnTo>
                    <a:pt x="76" y="14"/>
                  </a:lnTo>
                  <a:lnTo>
                    <a:pt x="82" y="16"/>
                  </a:lnTo>
                  <a:lnTo>
                    <a:pt x="88" y="18"/>
                  </a:lnTo>
                  <a:lnTo>
                    <a:pt x="94" y="18"/>
                  </a:lnTo>
                  <a:lnTo>
                    <a:pt x="96" y="18"/>
                  </a:lnTo>
                  <a:lnTo>
                    <a:pt x="102" y="20"/>
                  </a:lnTo>
                  <a:lnTo>
                    <a:pt x="104" y="20"/>
                  </a:lnTo>
                  <a:lnTo>
                    <a:pt x="110" y="24"/>
                  </a:lnTo>
                  <a:lnTo>
                    <a:pt x="116" y="30"/>
                  </a:lnTo>
                  <a:lnTo>
                    <a:pt x="120" y="36"/>
                  </a:lnTo>
                  <a:lnTo>
                    <a:pt x="124" y="42"/>
                  </a:lnTo>
                  <a:lnTo>
                    <a:pt x="132" y="48"/>
                  </a:lnTo>
                  <a:lnTo>
                    <a:pt x="138" y="52"/>
                  </a:lnTo>
                  <a:lnTo>
                    <a:pt x="140" y="58"/>
                  </a:lnTo>
                  <a:lnTo>
                    <a:pt x="146" y="58"/>
                  </a:lnTo>
                  <a:lnTo>
                    <a:pt x="142" y="66"/>
                  </a:lnTo>
                  <a:lnTo>
                    <a:pt x="142" y="70"/>
                  </a:lnTo>
                  <a:lnTo>
                    <a:pt x="142" y="68"/>
                  </a:lnTo>
                  <a:lnTo>
                    <a:pt x="144" y="64"/>
                  </a:lnTo>
                  <a:lnTo>
                    <a:pt x="150" y="62"/>
                  </a:lnTo>
                  <a:lnTo>
                    <a:pt x="156" y="68"/>
                  </a:lnTo>
                  <a:lnTo>
                    <a:pt x="160" y="74"/>
                  </a:lnTo>
                  <a:lnTo>
                    <a:pt x="162" y="80"/>
                  </a:lnTo>
                  <a:lnTo>
                    <a:pt x="164" y="86"/>
                  </a:lnTo>
                  <a:lnTo>
                    <a:pt x="164" y="92"/>
                  </a:lnTo>
                  <a:lnTo>
                    <a:pt x="160" y="98"/>
                  </a:lnTo>
                  <a:lnTo>
                    <a:pt x="166" y="92"/>
                  </a:lnTo>
                  <a:lnTo>
                    <a:pt x="166" y="88"/>
                  </a:lnTo>
                  <a:lnTo>
                    <a:pt x="166" y="82"/>
                  </a:lnTo>
                  <a:lnTo>
                    <a:pt x="172" y="76"/>
                  </a:lnTo>
                  <a:lnTo>
                    <a:pt x="176" y="82"/>
                  </a:lnTo>
                  <a:lnTo>
                    <a:pt x="176" y="88"/>
                  </a:lnTo>
                  <a:lnTo>
                    <a:pt x="180" y="94"/>
                  </a:lnTo>
                  <a:lnTo>
                    <a:pt x="180" y="100"/>
                  </a:lnTo>
                  <a:lnTo>
                    <a:pt x="182" y="106"/>
                  </a:lnTo>
                  <a:lnTo>
                    <a:pt x="182" y="112"/>
                  </a:lnTo>
                  <a:lnTo>
                    <a:pt x="180" y="118"/>
                  </a:lnTo>
                  <a:lnTo>
                    <a:pt x="176" y="120"/>
                  </a:lnTo>
                  <a:lnTo>
                    <a:pt x="174" y="126"/>
                  </a:lnTo>
                  <a:lnTo>
                    <a:pt x="170" y="132"/>
                  </a:lnTo>
                  <a:lnTo>
                    <a:pt x="164" y="138"/>
                  </a:lnTo>
                  <a:lnTo>
                    <a:pt x="160" y="144"/>
                  </a:lnTo>
                  <a:lnTo>
                    <a:pt x="158" y="150"/>
                  </a:lnTo>
                  <a:lnTo>
                    <a:pt x="154" y="156"/>
                  </a:lnTo>
                  <a:lnTo>
                    <a:pt x="152" y="162"/>
                  </a:lnTo>
                  <a:lnTo>
                    <a:pt x="148" y="168"/>
                  </a:lnTo>
                  <a:lnTo>
                    <a:pt x="144" y="172"/>
                  </a:lnTo>
                  <a:lnTo>
                    <a:pt x="138" y="180"/>
                  </a:lnTo>
                  <a:lnTo>
                    <a:pt x="138" y="182"/>
                  </a:lnTo>
                  <a:lnTo>
                    <a:pt x="138" y="188"/>
                  </a:lnTo>
                  <a:lnTo>
                    <a:pt x="136" y="194"/>
                  </a:lnTo>
                  <a:lnTo>
                    <a:pt x="132" y="198"/>
                  </a:lnTo>
                  <a:lnTo>
                    <a:pt x="130" y="206"/>
                  </a:lnTo>
                  <a:lnTo>
                    <a:pt x="128" y="210"/>
                  </a:lnTo>
                  <a:lnTo>
                    <a:pt x="124" y="216"/>
                  </a:lnTo>
                  <a:lnTo>
                    <a:pt x="124" y="222"/>
                  </a:lnTo>
                  <a:lnTo>
                    <a:pt x="120" y="228"/>
                  </a:lnTo>
                  <a:lnTo>
                    <a:pt x="116" y="234"/>
                  </a:lnTo>
                  <a:lnTo>
                    <a:pt x="110" y="238"/>
                  </a:lnTo>
                  <a:lnTo>
                    <a:pt x="104" y="242"/>
                  </a:lnTo>
                  <a:lnTo>
                    <a:pt x="100" y="248"/>
                  </a:lnTo>
                  <a:lnTo>
                    <a:pt x="92" y="246"/>
                  </a:lnTo>
                  <a:lnTo>
                    <a:pt x="86" y="244"/>
                  </a:lnTo>
                  <a:lnTo>
                    <a:pt x="82" y="246"/>
                  </a:lnTo>
                  <a:lnTo>
                    <a:pt x="82" y="244"/>
                  </a:lnTo>
                  <a:lnTo>
                    <a:pt x="78" y="238"/>
                  </a:lnTo>
                  <a:lnTo>
                    <a:pt x="74" y="240"/>
                  </a:lnTo>
                  <a:lnTo>
                    <a:pt x="68" y="242"/>
                  </a:lnTo>
                  <a:lnTo>
                    <a:pt x="62" y="240"/>
                  </a:lnTo>
                  <a:lnTo>
                    <a:pt x="56" y="238"/>
                  </a:lnTo>
                  <a:lnTo>
                    <a:pt x="50" y="234"/>
                  </a:lnTo>
                  <a:lnTo>
                    <a:pt x="44" y="240"/>
                  </a:lnTo>
                  <a:lnTo>
                    <a:pt x="38" y="244"/>
                  </a:lnTo>
                  <a:lnTo>
                    <a:pt x="32" y="246"/>
                  </a:lnTo>
                  <a:lnTo>
                    <a:pt x="28" y="252"/>
                  </a:lnTo>
                  <a:lnTo>
                    <a:pt x="22" y="248"/>
                  </a:lnTo>
                  <a:lnTo>
                    <a:pt x="16" y="248"/>
                  </a:lnTo>
                  <a:lnTo>
                    <a:pt x="10" y="246"/>
                  </a:lnTo>
                  <a:lnTo>
                    <a:pt x="6" y="242"/>
                  </a:lnTo>
                  <a:lnTo>
                    <a:pt x="0" y="23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2" name="Freeform 260"/>
            <p:cNvSpPr>
              <a:spLocks/>
            </p:cNvSpPr>
            <p:nvPr/>
          </p:nvSpPr>
          <p:spPr bwMode="auto">
            <a:xfrm>
              <a:off x="1468438" y="3314700"/>
              <a:ext cx="650875" cy="517525"/>
            </a:xfrm>
            <a:custGeom>
              <a:avLst/>
              <a:gdLst>
                <a:gd name="T0" fmla="*/ 2147483647 w 1600"/>
                <a:gd name="T1" fmla="*/ 2147483647 h 1256"/>
                <a:gd name="T2" fmla="*/ 2147483647 w 1600"/>
                <a:gd name="T3" fmla="*/ 2147483647 h 1256"/>
                <a:gd name="T4" fmla="*/ 2147483647 w 1600"/>
                <a:gd name="T5" fmla="*/ 2147483647 h 1256"/>
                <a:gd name="T6" fmla="*/ 2147483647 w 1600"/>
                <a:gd name="T7" fmla="*/ 2147483647 h 1256"/>
                <a:gd name="T8" fmla="*/ 2147483647 w 1600"/>
                <a:gd name="T9" fmla="*/ 2147483647 h 1256"/>
                <a:gd name="T10" fmla="*/ 2147483647 w 1600"/>
                <a:gd name="T11" fmla="*/ 2147483647 h 1256"/>
                <a:gd name="T12" fmla="*/ 2147483647 w 1600"/>
                <a:gd name="T13" fmla="*/ 2147483647 h 1256"/>
                <a:gd name="T14" fmla="*/ 2147483647 w 1600"/>
                <a:gd name="T15" fmla="*/ 2147483647 h 1256"/>
                <a:gd name="T16" fmla="*/ 2147483647 w 1600"/>
                <a:gd name="T17" fmla="*/ 2147483647 h 1256"/>
                <a:gd name="T18" fmla="*/ 2147483647 w 1600"/>
                <a:gd name="T19" fmla="*/ 2147483647 h 1256"/>
                <a:gd name="T20" fmla="*/ 2147483647 w 1600"/>
                <a:gd name="T21" fmla="*/ 2147483647 h 1256"/>
                <a:gd name="T22" fmla="*/ 2147483647 w 1600"/>
                <a:gd name="T23" fmla="*/ 2147483647 h 1256"/>
                <a:gd name="T24" fmla="*/ 2147483647 w 1600"/>
                <a:gd name="T25" fmla="*/ 2147483647 h 1256"/>
                <a:gd name="T26" fmla="*/ 2147483647 w 1600"/>
                <a:gd name="T27" fmla="*/ 2147483647 h 1256"/>
                <a:gd name="T28" fmla="*/ 2147483647 w 1600"/>
                <a:gd name="T29" fmla="*/ 2147483647 h 1256"/>
                <a:gd name="T30" fmla="*/ 2147483647 w 1600"/>
                <a:gd name="T31" fmla="*/ 2147483647 h 1256"/>
                <a:gd name="T32" fmla="*/ 2147483647 w 1600"/>
                <a:gd name="T33" fmla="*/ 2147483647 h 1256"/>
                <a:gd name="T34" fmla="*/ 2147483647 w 1600"/>
                <a:gd name="T35" fmla="*/ 2147483647 h 1256"/>
                <a:gd name="T36" fmla="*/ 2147483647 w 1600"/>
                <a:gd name="T37" fmla="*/ 2147483647 h 1256"/>
                <a:gd name="T38" fmla="*/ 2147483647 w 1600"/>
                <a:gd name="T39" fmla="*/ 2147483647 h 1256"/>
                <a:gd name="T40" fmla="*/ 2147483647 w 1600"/>
                <a:gd name="T41" fmla="*/ 2147483647 h 1256"/>
                <a:gd name="T42" fmla="*/ 2147483647 w 1600"/>
                <a:gd name="T43" fmla="*/ 2147483647 h 1256"/>
                <a:gd name="T44" fmla="*/ 2147483647 w 1600"/>
                <a:gd name="T45" fmla="*/ 2147483647 h 1256"/>
                <a:gd name="T46" fmla="*/ 2147483647 w 1600"/>
                <a:gd name="T47" fmla="*/ 2147483647 h 1256"/>
                <a:gd name="T48" fmla="*/ 2147483647 w 1600"/>
                <a:gd name="T49" fmla="*/ 2147483647 h 1256"/>
                <a:gd name="T50" fmla="*/ 2147483647 w 1600"/>
                <a:gd name="T51" fmla="*/ 2147483647 h 1256"/>
                <a:gd name="T52" fmla="*/ 2147483647 w 1600"/>
                <a:gd name="T53" fmla="*/ 2147483647 h 1256"/>
                <a:gd name="T54" fmla="*/ 2147483647 w 1600"/>
                <a:gd name="T55" fmla="*/ 2147483647 h 1256"/>
                <a:gd name="T56" fmla="*/ 2147483647 w 1600"/>
                <a:gd name="T57" fmla="*/ 2147483647 h 1256"/>
                <a:gd name="T58" fmla="*/ 2147483647 w 1600"/>
                <a:gd name="T59" fmla="*/ 2147483647 h 1256"/>
                <a:gd name="T60" fmla="*/ 2147483647 w 1600"/>
                <a:gd name="T61" fmla="*/ 2147483647 h 1256"/>
                <a:gd name="T62" fmla="*/ 2147483647 w 1600"/>
                <a:gd name="T63" fmla="*/ 2147483647 h 1256"/>
                <a:gd name="T64" fmla="*/ 2147483647 w 1600"/>
                <a:gd name="T65" fmla="*/ 2147483647 h 1256"/>
                <a:gd name="T66" fmla="*/ 2147483647 w 1600"/>
                <a:gd name="T67" fmla="*/ 2147483647 h 1256"/>
                <a:gd name="T68" fmla="*/ 2147483647 w 1600"/>
                <a:gd name="T69" fmla="*/ 2147483647 h 1256"/>
                <a:gd name="T70" fmla="*/ 2147483647 w 1600"/>
                <a:gd name="T71" fmla="*/ 2147483647 h 1256"/>
                <a:gd name="T72" fmla="*/ 2147483647 w 1600"/>
                <a:gd name="T73" fmla="*/ 2147483647 h 1256"/>
                <a:gd name="T74" fmla="*/ 2147483647 w 1600"/>
                <a:gd name="T75" fmla="*/ 2147483647 h 1256"/>
                <a:gd name="T76" fmla="*/ 2147483647 w 1600"/>
                <a:gd name="T77" fmla="*/ 2147483647 h 1256"/>
                <a:gd name="T78" fmla="*/ 2147483647 w 1600"/>
                <a:gd name="T79" fmla="*/ 2147483647 h 1256"/>
                <a:gd name="T80" fmla="*/ 2147483647 w 1600"/>
                <a:gd name="T81" fmla="*/ 2147483647 h 1256"/>
                <a:gd name="T82" fmla="*/ 2147483647 w 1600"/>
                <a:gd name="T83" fmla="*/ 2147483647 h 1256"/>
                <a:gd name="T84" fmla="*/ 2147483647 w 1600"/>
                <a:gd name="T85" fmla="*/ 2147483647 h 1256"/>
                <a:gd name="T86" fmla="*/ 2147483647 w 1600"/>
                <a:gd name="T87" fmla="*/ 2147483647 h 1256"/>
                <a:gd name="T88" fmla="*/ 2147483647 w 1600"/>
                <a:gd name="T89" fmla="*/ 2147483647 h 1256"/>
                <a:gd name="T90" fmla="*/ 2147483647 w 1600"/>
                <a:gd name="T91" fmla="*/ 2147483647 h 1256"/>
                <a:gd name="T92" fmla="*/ 2147483647 w 1600"/>
                <a:gd name="T93" fmla="*/ 2147483647 h 1256"/>
                <a:gd name="T94" fmla="*/ 2147483647 w 1600"/>
                <a:gd name="T95" fmla="*/ 2147483647 h 1256"/>
                <a:gd name="T96" fmla="*/ 2147483647 w 1600"/>
                <a:gd name="T97" fmla="*/ 2147483647 h 1256"/>
                <a:gd name="T98" fmla="*/ 2147483647 w 1600"/>
                <a:gd name="T99" fmla="*/ 2147483647 h 1256"/>
                <a:gd name="T100" fmla="*/ 2147483647 w 1600"/>
                <a:gd name="T101" fmla="*/ 2147483647 h 1256"/>
                <a:gd name="T102" fmla="*/ 2147483647 w 1600"/>
                <a:gd name="T103" fmla="*/ 2147483647 h 1256"/>
                <a:gd name="T104" fmla="*/ 2147483647 w 1600"/>
                <a:gd name="T105" fmla="*/ 2147483647 h 1256"/>
                <a:gd name="T106" fmla="*/ 2147483647 w 1600"/>
                <a:gd name="T107" fmla="*/ 2147483647 h 1256"/>
                <a:gd name="T108" fmla="*/ 2147483647 w 1600"/>
                <a:gd name="T109" fmla="*/ 2147483647 h 1256"/>
                <a:gd name="T110" fmla="*/ 2147483647 w 1600"/>
                <a:gd name="T111" fmla="*/ 2147483647 h 1256"/>
                <a:gd name="T112" fmla="*/ 2147483647 w 1600"/>
                <a:gd name="T113" fmla="*/ 2147483647 h 1256"/>
                <a:gd name="T114" fmla="*/ 2147483647 w 1600"/>
                <a:gd name="T115" fmla="*/ 2147483647 h 1256"/>
                <a:gd name="T116" fmla="*/ 2147483647 w 1600"/>
                <a:gd name="T117" fmla="*/ 2147483647 h 1256"/>
                <a:gd name="T118" fmla="*/ 2147483647 w 1600"/>
                <a:gd name="T119" fmla="*/ 2147483647 h 1256"/>
                <a:gd name="T120" fmla="*/ 2147483647 w 1600"/>
                <a:gd name="T121" fmla="*/ 2147483647 h 1256"/>
                <a:gd name="T122" fmla="*/ 2147483647 w 1600"/>
                <a:gd name="T123" fmla="*/ 2147483647 h 1256"/>
                <a:gd name="T124" fmla="*/ 2147483647 w 1600"/>
                <a:gd name="T125" fmla="*/ 2147483647 h 12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00"/>
                <a:gd name="T190" fmla="*/ 0 h 1256"/>
                <a:gd name="T191" fmla="*/ 1600 w 1600"/>
                <a:gd name="T192" fmla="*/ 1256 h 12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00" h="1256">
                  <a:moveTo>
                    <a:pt x="2" y="12"/>
                  </a:moveTo>
                  <a:lnTo>
                    <a:pt x="8" y="12"/>
                  </a:lnTo>
                  <a:lnTo>
                    <a:pt x="10" y="12"/>
                  </a:lnTo>
                  <a:lnTo>
                    <a:pt x="16" y="10"/>
                  </a:lnTo>
                  <a:lnTo>
                    <a:pt x="22" y="10"/>
                  </a:lnTo>
                  <a:lnTo>
                    <a:pt x="28" y="10"/>
                  </a:lnTo>
                  <a:lnTo>
                    <a:pt x="34" y="10"/>
                  </a:lnTo>
                  <a:lnTo>
                    <a:pt x="40" y="8"/>
                  </a:lnTo>
                  <a:lnTo>
                    <a:pt x="42" y="8"/>
                  </a:lnTo>
                  <a:lnTo>
                    <a:pt x="48" y="8"/>
                  </a:lnTo>
                  <a:lnTo>
                    <a:pt x="50" y="8"/>
                  </a:lnTo>
                  <a:lnTo>
                    <a:pt x="56" y="6"/>
                  </a:lnTo>
                  <a:lnTo>
                    <a:pt x="60" y="6"/>
                  </a:lnTo>
                  <a:lnTo>
                    <a:pt x="62" y="6"/>
                  </a:lnTo>
                  <a:lnTo>
                    <a:pt x="66" y="6"/>
                  </a:lnTo>
                  <a:lnTo>
                    <a:pt x="74" y="6"/>
                  </a:lnTo>
                  <a:lnTo>
                    <a:pt x="78" y="6"/>
                  </a:lnTo>
                  <a:lnTo>
                    <a:pt x="86" y="4"/>
                  </a:lnTo>
                  <a:lnTo>
                    <a:pt x="92" y="4"/>
                  </a:lnTo>
                  <a:lnTo>
                    <a:pt x="96" y="4"/>
                  </a:lnTo>
                  <a:lnTo>
                    <a:pt x="100" y="2"/>
                  </a:lnTo>
                  <a:lnTo>
                    <a:pt x="102" y="2"/>
                  </a:lnTo>
                  <a:lnTo>
                    <a:pt x="106" y="2"/>
                  </a:lnTo>
                  <a:lnTo>
                    <a:pt x="112" y="2"/>
                  </a:lnTo>
                  <a:lnTo>
                    <a:pt x="118" y="2"/>
                  </a:lnTo>
                  <a:lnTo>
                    <a:pt x="124" y="0"/>
                  </a:lnTo>
                  <a:lnTo>
                    <a:pt x="130" y="0"/>
                  </a:lnTo>
                  <a:lnTo>
                    <a:pt x="132" y="0"/>
                  </a:lnTo>
                  <a:lnTo>
                    <a:pt x="138" y="0"/>
                  </a:lnTo>
                  <a:lnTo>
                    <a:pt x="146" y="0"/>
                  </a:lnTo>
                  <a:lnTo>
                    <a:pt x="144" y="2"/>
                  </a:lnTo>
                  <a:lnTo>
                    <a:pt x="138" y="8"/>
                  </a:lnTo>
                  <a:lnTo>
                    <a:pt x="136" y="14"/>
                  </a:lnTo>
                  <a:lnTo>
                    <a:pt x="142" y="16"/>
                  </a:lnTo>
                  <a:lnTo>
                    <a:pt x="146" y="18"/>
                  </a:lnTo>
                  <a:lnTo>
                    <a:pt x="154" y="22"/>
                  </a:lnTo>
                  <a:lnTo>
                    <a:pt x="158" y="24"/>
                  </a:lnTo>
                  <a:lnTo>
                    <a:pt x="166" y="26"/>
                  </a:lnTo>
                  <a:lnTo>
                    <a:pt x="172" y="28"/>
                  </a:lnTo>
                  <a:lnTo>
                    <a:pt x="176" y="30"/>
                  </a:lnTo>
                  <a:lnTo>
                    <a:pt x="184" y="34"/>
                  </a:lnTo>
                  <a:lnTo>
                    <a:pt x="188" y="36"/>
                  </a:lnTo>
                  <a:lnTo>
                    <a:pt x="194" y="38"/>
                  </a:lnTo>
                  <a:lnTo>
                    <a:pt x="200" y="40"/>
                  </a:lnTo>
                  <a:lnTo>
                    <a:pt x="206" y="44"/>
                  </a:lnTo>
                  <a:lnTo>
                    <a:pt x="214" y="46"/>
                  </a:lnTo>
                  <a:lnTo>
                    <a:pt x="218" y="48"/>
                  </a:lnTo>
                  <a:lnTo>
                    <a:pt x="224" y="52"/>
                  </a:lnTo>
                  <a:lnTo>
                    <a:pt x="230" y="54"/>
                  </a:lnTo>
                  <a:lnTo>
                    <a:pt x="236" y="56"/>
                  </a:lnTo>
                  <a:lnTo>
                    <a:pt x="240" y="58"/>
                  </a:lnTo>
                  <a:lnTo>
                    <a:pt x="246" y="60"/>
                  </a:lnTo>
                  <a:lnTo>
                    <a:pt x="252" y="62"/>
                  </a:lnTo>
                  <a:lnTo>
                    <a:pt x="258" y="66"/>
                  </a:lnTo>
                  <a:lnTo>
                    <a:pt x="264" y="68"/>
                  </a:lnTo>
                  <a:lnTo>
                    <a:pt x="270" y="70"/>
                  </a:lnTo>
                  <a:lnTo>
                    <a:pt x="276" y="72"/>
                  </a:lnTo>
                  <a:lnTo>
                    <a:pt x="282" y="76"/>
                  </a:lnTo>
                  <a:lnTo>
                    <a:pt x="288" y="78"/>
                  </a:lnTo>
                  <a:lnTo>
                    <a:pt x="294" y="82"/>
                  </a:lnTo>
                  <a:lnTo>
                    <a:pt x="300" y="84"/>
                  </a:lnTo>
                  <a:lnTo>
                    <a:pt x="304" y="86"/>
                  </a:lnTo>
                  <a:lnTo>
                    <a:pt x="310" y="88"/>
                  </a:lnTo>
                  <a:lnTo>
                    <a:pt x="316" y="90"/>
                  </a:lnTo>
                  <a:lnTo>
                    <a:pt x="320" y="92"/>
                  </a:lnTo>
                  <a:lnTo>
                    <a:pt x="326" y="94"/>
                  </a:lnTo>
                  <a:lnTo>
                    <a:pt x="332" y="94"/>
                  </a:lnTo>
                  <a:lnTo>
                    <a:pt x="334" y="94"/>
                  </a:lnTo>
                  <a:lnTo>
                    <a:pt x="340" y="94"/>
                  </a:lnTo>
                  <a:lnTo>
                    <a:pt x="346" y="94"/>
                  </a:lnTo>
                  <a:lnTo>
                    <a:pt x="352" y="94"/>
                  </a:lnTo>
                  <a:lnTo>
                    <a:pt x="358" y="94"/>
                  </a:lnTo>
                  <a:lnTo>
                    <a:pt x="362" y="94"/>
                  </a:lnTo>
                  <a:lnTo>
                    <a:pt x="368" y="94"/>
                  </a:lnTo>
                  <a:lnTo>
                    <a:pt x="374" y="94"/>
                  </a:lnTo>
                  <a:lnTo>
                    <a:pt x="380" y="94"/>
                  </a:lnTo>
                  <a:lnTo>
                    <a:pt x="388" y="94"/>
                  </a:lnTo>
                  <a:lnTo>
                    <a:pt x="392" y="94"/>
                  </a:lnTo>
                  <a:lnTo>
                    <a:pt x="398" y="94"/>
                  </a:lnTo>
                  <a:lnTo>
                    <a:pt x="404" y="94"/>
                  </a:lnTo>
                  <a:lnTo>
                    <a:pt x="412" y="94"/>
                  </a:lnTo>
                  <a:lnTo>
                    <a:pt x="418" y="94"/>
                  </a:lnTo>
                  <a:lnTo>
                    <a:pt x="424" y="94"/>
                  </a:lnTo>
                  <a:lnTo>
                    <a:pt x="430" y="94"/>
                  </a:lnTo>
                  <a:lnTo>
                    <a:pt x="434" y="94"/>
                  </a:lnTo>
                  <a:lnTo>
                    <a:pt x="442" y="94"/>
                  </a:lnTo>
                  <a:lnTo>
                    <a:pt x="448" y="94"/>
                  </a:lnTo>
                  <a:lnTo>
                    <a:pt x="450" y="94"/>
                  </a:lnTo>
                  <a:lnTo>
                    <a:pt x="456" y="94"/>
                  </a:lnTo>
                  <a:lnTo>
                    <a:pt x="462" y="94"/>
                  </a:lnTo>
                  <a:lnTo>
                    <a:pt x="468" y="94"/>
                  </a:lnTo>
                  <a:lnTo>
                    <a:pt x="474" y="94"/>
                  </a:lnTo>
                  <a:lnTo>
                    <a:pt x="480" y="94"/>
                  </a:lnTo>
                  <a:lnTo>
                    <a:pt x="486" y="94"/>
                  </a:lnTo>
                  <a:lnTo>
                    <a:pt x="494" y="90"/>
                  </a:lnTo>
                  <a:lnTo>
                    <a:pt x="496" y="84"/>
                  </a:lnTo>
                  <a:lnTo>
                    <a:pt x="498" y="76"/>
                  </a:lnTo>
                  <a:lnTo>
                    <a:pt x="500" y="70"/>
                  </a:lnTo>
                  <a:lnTo>
                    <a:pt x="506" y="64"/>
                  </a:lnTo>
                  <a:lnTo>
                    <a:pt x="512" y="64"/>
                  </a:lnTo>
                  <a:lnTo>
                    <a:pt x="518" y="64"/>
                  </a:lnTo>
                  <a:lnTo>
                    <a:pt x="524" y="64"/>
                  </a:lnTo>
                  <a:lnTo>
                    <a:pt x="530" y="64"/>
                  </a:lnTo>
                  <a:lnTo>
                    <a:pt x="536" y="64"/>
                  </a:lnTo>
                  <a:lnTo>
                    <a:pt x="540" y="64"/>
                  </a:lnTo>
                  <a:lnTo>
                    <a:pt x="546" y="64"/>
                  </a:lnTo>
                  <a:lnTo>
                    <a:pt x="552" y="64"/>
                  </a:lnTo>
                  <a:lnTo>
                    <a:pt x="556" y="64"/>
                  </a:lnTo>
                  <a:lnTo>
                    <a:pt x="562" y="64"/>
                  </a:lnTo>
                  <a:lnTo>
                    <a:pt x="568" y="64"/>
                  </a:lnTo>
                  <a:lnTo>
                    <a:pt x="574" y="64"/>
                  </a:lnTo>
                  <a:lnTo>
                    <a:pt x="580" y="64"/>
                  </a:lnTo>
                  <a:lnTo>
                    <a:pt x="586" y="64"/>
                  </a:lnTo>
                  <a:lnTo>
                    <a:pt x="592" y="64"/>
                  </a:lnTo>
                  <a:lnTo>
                    <a:pt x="600" y="64"/>
                  </a:lnTo>
                  <a:lnTo>
                    <a:pt x="604" y="66"/>
                  </a:lnTo>
                  <a:lnTo>
                    <a:pt x="608" y="68"/>
                  </a:lnTo>
                  <a:lnTo>
                    <a:pt x="610" y="74"/>
                  </a:lnTo>
                  <a:lnTo>
                    <a:pt x="610" y="80"/>
                  </a:lnTo>
                  <a:lnTo>
                    <a:pt x="612" y="86"/>
                  </a:lnTo>
                  <a:lnTo>
                    <a:pt x="618" y="90"/>
                  </a:lnTo>
                  <a:lnTo>
                    <a:pt x="624" y="94"/>
                  </a:lnTo>
                  <a:lnTo>
                    <a:pt x="628" y="98"/>
                  </a:lnTo>
                  <a:lnTo>
                    <a:pt x="630" y="104"/>
                  </a:lnTo>
                  <a:lnTo>
                    <a:pt x="636" y="110"/>
                  </a:lnTo>
                  <a:lnTo>
                    <a:pt x="638" y="116"/>
                  </a:lnTo>
                  <a:lnTo>
                    <a:pt x="642" y="122"/>
                  </a:lnTo>
                  <a:lnTo>
                    <a:pt x="646" y="128"/>
                  </a:lnTo>
                  <a:lnTo>
                    <a:pt x="652" y="132"/>
                  </a:lnTo>
                  <a:lnTo>
                    <a:pt x="658" y="136"/>
                  </a:lnTo>
                  <a:lnTo>
                    <a:pt x="664" y="140"/>
                  </a:lnTo>
                  <a:lnTo>
                    <a:pt x="666" y="146"/>
                  </a:lnTo>
                  <a:lnTo>
                    <a:pt x="668" y="152"/>
                  </a:lnTo>
                  <a:lnTo>
                    <a:pt x="668" y="158"/>
                  </a:lnTo>
                  <a:lnTo>
                    <a:pt x="668" y="164"/>
                  </a:lnTo>
                  <a:lnTo>
                    <a:pt x="670" y="170"/>
                  </a:lnTo>
                  <a:lnTo>
                    <a:pt x="672" y="176"/>
                  </a:lnTo>
                  <a:lnTo>
                    <a:pt x="670" y="182"/>
                  </a:lnTo>
                  <a:lnTo>
                    <a:pt x="668" y="188"/>
                  </a:lnTo>
                  <a:lnTo>
                    <a:pt x="668" y="190"/>
                  </a:lnTo>
                  <a:lnTo>
                    <a:pt x="668" y="196"/>
                  </a:lnTo>
                  <a:lnTo>
                    <a:pt x="670" y="202"/>
                  </a:lnTo>
                  <a:lnTo>
                    <a:pt x="672" y="208"/>
                  </a:lnTo>
                  <a:lnTo>
                    <a:pt x="672" y="212"/>
                  </a:lnTo>
                  <a:lnTo>
                    <a:pt x="674" y="216"/>
                  </a:lnTo>
                  <a:lnTo>
                    <a:pt x="676" y="218"/>
                  </a:lnTo>
                  <a:lnTo>
                    <a:pt x="678" y="218"/>
                  </a:lnTo>
                  <a:lnTo>
                    <a:pt x="682" y="220"/>
                  </a:lnTo>
                  <a:lnTo>
                    <a:pt x="686" y="226"/>
                  </a:lnTo>
                  <a:lnTo>
                    <a:pt x="688" y="230"/>
                  </a:lnTo>
                  <a:lnTo>
                    <a:pt x="694" y="234"/>
                  </a:lnTo>
                  <a:lnTo>
                    <a:pt x="700" y="236"/>
                  </a:lnTo>
                  <a:lnTo>
                    <a:pt x="706" y="240"/>
                  </a:lnTo>
                  <a:lnTo>
                    <a:pt x="712" y="246"/>
                  </a:lnTo>
                  <a:lnTo>
                    <a:pt x="718" y="246"/>
                  </a:lnTo>
                  <a:lnTo>
                    <a:pt x="724" y="252"/>
                  </a:lnTo>
                  <a:lnTo>
                    <a:pt x="730" y="254"/>
                  </a:lnTo>
                  <a:lnTo>
                    <a:pt x="734" y="256"/>
                  </a:lnTo>
                  <a:lnTo>
                    <a:pt x="736" y="258"/>
                  </a:lnTo>
                  <a:lnTo>
                    <a:pt x="742" y="254"/>
                  </a:lnTo>
                  <a:lnTo>
                    <a:pt x="748" y="250"/>
                  </a:lnTo>
                  <a:lnTo>
                    <a:pt x="752" y="244"/>
                  </a:lnTo>
                  <a:lnTo>
                    <a:pt x="758" y="238"/>
                  </a:lnTo>
                  <a:lnTo>
                    <a:pt x="760" y="232"/>
                  </a:lnTo>
                  <a:lnTo>
                    <a:pt x="766" y="226"/>
                  </a:lnTo>
                  <a:lnTo>
                    <a:pt x="770" y="220"/>
                  </a:lnTo>
                  <a:lnTo>
                    <a:pt x="774" y="214"/>
                  </a:lnTo>
                  <a:lnTo>
                    <a:pt x="778" y="208"/>
                  </a:lnTo>
                  <a:lnTo>
                    <a:pt x="780" y="206"/>
                  </a:lnTo>
                  <a:lnTo>
                    <a:pt x="786" y="204"/>
                  </a:lnTo>
                  <a:lnTo>
                    <a:pt x="792" y="202"/>
                  </a:lnTo>
                  <a:lnTo>
                    <a:pt x="798" y="204"/>
                  </a:lnTo>
                  <a:lnTo>
                    <a:pt x="802" y="198"/>
                  </a:lnTo>
                  <a:lnTo>
                    <a:pt x="808" y="196"/>
                  </a:lnTo>
                  <a:lnTo>
                    <a:pt x="814" y="200"/>
                  </a:lnTo>
                  <a:lnTo>
                    <a:pt x="820" y="200"/>
                  </a:lnTo>
                  <a:lnTo>
                    <a:pt x="826" y="202"/>
                  </a:lnTo>
                  <a:lnTo>
                    <a:pt x="832" y="200"/>
                  </a:lnTo>
                  <a:lnTo>
                    <a:pt x="838" y="202"/>
                  </a:lnTo>
                  <a:lnTo>
                    <a:pt x="844" y="204"/>
                  </a:lnTo>
                  <a:lnTo>
                    <a:pt x="850" y="204"/>
                  </a:lnTo>
                  <a:lnTo>
                    <a:pt x="856" y="204"/>
                  </a:lnTo>
                  <a:lnTo>
                    <a:pt x="856" y="210"/>
                  </a:lnTo>
                  <a:lnTo>
                    <a:pt x="860" y="212"/>
                  </a:lnTo>
                  <a:lnTo>
                    <a:pt x="864" y="216"/>
                  </a:lnTo>
                  <a:lnTo>
                    <a:pt x="866" y="222"/>
                  </a:lnTo>
                  <a:lnTo>
                    <a:pt x="872" y="226"/>
                  </a:lnTo>
                  <a:lnTo>
                    <a:pt x="872" y="230"/>
                  </a:lnTo>
                  <a:lnTo>
                    <a:pt x="874" y="232"/>
                  </a:lnTo>
                  <a:lnTo>
                    <a:pt x="876" y="234"/>
                  </a:lnTo>
                  <a:lnTo>
                    <a:pt x="882" y="238"/>
                  </a:lnTo>
                  <a:lnTo>
                    <a:pt x="882" y="246"/>
                  </a:lnTo>
                  <a:lnTo>
                    <a:pt x="886" y="250"/>
                  </a:lnTo>
                  <a:lnTo>
                    <a:pt x="888" y="256"/>
                  </a:lnTo>
                  <a:lnTo>
                    <a:pt x="886" y="262"/>
                  </a:lnTo>
                  <a:lnTo>
                    <a:pt x="888" y="264"/>
                  </a:lnTo>
                  <a:lnTo>
                    <a:pt x="890" y="270"/>
                  </a:lnTo>
                  <a:lnTo>
                    <a:pt x="890" y="276"/>
                  </a:lnTo>
                  <a:lnTo>
                    <a:pt x="890" y="278"/>
                  </a:lnTo>
                  <a:lnTo>
                    <a:pt x="890" y="280"/>
                  </a:lnTo>
                  <a:lnTo>
                    <a:pt x="892" y="284"/>
                  </a:lnTo>
                  <a:lnTo>
                    <a:pt x="894" y="292"/>
                  </a:lnTo>
                  <a:lnTo>
                    <a:pt x="894" y="298"/>
                  </a:lnTo>
                  <a:lnTo>
                    <a:pt x="894" y="302"/>
                  </a:lnTo>
                  <a:lnTo>
                    <a:pt x="896" y="310"/>
                  </a:lnTo>
                  <a:lnTo>
                    <a:pt x="904" y="314"/>
                  </a:lnTo>
                  <a:lnTo>
                    <a:pt x="904" y="318"/>
                  </a:lnTo>
                  <a:lnTo>
                    <a:pt x="906" y="326"/>
                  </a:lnTo>
                  <a:lnTo>
                    <a:pt x="908" y="330"/>
                  </a:lnTo>
                  <a:lnTo>
                    <a:pt x="910" y="336"/>
                  </a:lnTo>
                  <a:lnTo>
                    <a:pt x="912" y="342"/>
                  </a:lnTo>
                  <a:lnTo>
                    <a:pt x="916" y="348"/>
                  </a:lnTo>
                  <a:lnTo>
                    <a:pt x="920" y="352"/>
                  </a:lnTo>
                  <a:lnTo>
                    <a:pt x="926" y="354"/>
                  </a:lnTo>
                  <a:lnTo>
                    <a:pt x="926" y="360"/>
                  </a:lnTo>
                  <a:lnTo>
                    <a:pt x="926" y="364"/>
                  </a:lnTo>
                  <a:lnTo>
                    <a:pt x="924" y="370"/>
                  </a:lnTo>
                  <a:lnTo>
                    <a:pt x="924" y="376"/>
                  </a:lnTo>
                  <a:lnTo>
                    <a:pt x="924" y="382"/>
                  </a:lnTo>
                  <a:lnTo>
                    <a:pt x="922" y="388"/>
                  </a:lnTo>
                  <a:lnTo>
                    <a:pt x="922" y="394"/>
                  </a:lnTo>
                  <a:lnTo>
                    <a:pt x="926" y="400"/>
                  </a:lnTo>
                  <a:lnTo>
                    <a:pt x="926" y="402"/>
                  </a:lnTo>
                  <a:lnTo>
                    <a:pt x="930" y="408"/>
                  </a:lnTo>
                  <a:lnTo>
                    <a:pt x="930" y="414"/>
                  </a:lnTo>
                  <a:lnTo>
                    <a:pt x="930" y="420"/>
                  </a:lnTo>
                  <a:lnTo>
                    <a:pt x="930" y="426"/>
                  </a:lnTo>
                  <a:lnTo>
                    <a:pt x="934" y="430"/>
                  </a:lnTo>
                  <a:lnTo>
                    <a:pt x="932" y="436"/>
                  </a:lnTo>
                  <a:lnTo>
                    <a:pt x="934" y="436"/>
                  </a:lnTo>
                  <a:lnTo>
                    <a:pt x="940" y="438"/>
                  </a:lnTo>
                  <a:lnTo>
                    <a:pt x="946" y="440"/>
                  </a:lnTo>
                  <a:lnTo>
                    <a:pt x="950" y="440"/>
                  </a:lnTo>
                  <a:lnTo>
                    <a:pt x="954" y="446"/>
                  </a:lnTo>
                  <a:lnTo>
                    <a:pt x="960" y="446"/>
                  </a:lnTo>
                  <a:lnTo>
                    <a:pt x="966" y="450"/>
                  </a:lnTo>
                  <a:lnTo>
                    <a:pt x="972" y="450"/>
                  </a:lnTo>
                  <a:lnTo>
                    <a:pt x="974" y="458"/>
                  </a:lnTo>
                  <a:lnTo>
                    <a:pt x="978" y="458"/>
                  </a:lnTo>
                  <a:lnTo>
                    <a:pt x="984" y="458"/>
                  </a:lnTo>
                  <a:lnTo>
                    <a:pt x="990" y="460"/>
                  </a:lnTo>
                  <a:lnTo>
                    <a:pt x="996" y="460"/>
                  </a:lnTo>
                  <a:lnTo>
                    <a:pt x="1002" y="460"/>
                  </a:lnTo>
                  <a:lnTo>
                    <a:pt x="1008" y="462"/>
                  </a:lnTo>
                  <a:lnTo>
                    <a:pt x="1014" y="466"/>
                  </a:lnTo>
                  <a:lnTo>
                    <a:pt x="1018" y="472"/>
                  </a:lnTo>
                  <a:lnTo>
                    <a:pt x="1020" y="472"/>
                  </a:lnTo>
                  <a:lnTo>
                    <a:pt x="1026" y="476"/>
                  </a:lnTo>
                  <a:lnTo>
                    <a:pt x="1028" y="470"/>
                  </a:lnTo>
                  <a:lnTo>
                    <a:pt x="1036" y="466"/>
                  </a:lnTo>
                  <a:lnTo>
                    <a:pt x="1040" y="466"/>
                  </a:lnTo>
                  <a:lnTo>
                    <a:pt x="1038" y="472"/>
                  </a:lnTo>
                  <a:lnTo>
                    <a:pt x="1036" y="478"/>
                  </a:lnTo>
                  <a:lnTo>
                    <a:pt x="1034" y="484"/>
                  </a:lnTo>
                  <a:lnTo>
                    <a:pt x="1032" y="490"/>
                  </a:lnTo>
                  <a:lnTo>
                    <a:pt x="1028" y="496"/>
                  </a:lnTo>
                  <a:lnTo>
                    <a:pt x="1024" y="502"/>
                  </a:lnTo>
                  <a:lnTo>
                    <a:pt x="1020" y="508"/>
                  </a:lnTo>
                  <a:lnTo>
                    <a:pt x="1014" y="514"/>
                  </a:lnTo>
                  <a:lnTo>
                    <a:pt x="1010" y="520"/>
                  </a:lnTo>
                  <a:lnTo>
                    <a:pt x="1006" y="526"/>
                  </a:lnTo>
                  <a:lnTo>
                    <a:pt x="1004" y="532"/>
                  </a:lnTo>
                  <a:lnTo>
                    <a:pt x="1004" y="534"/>
                  </a:lnTo>
                  <a:lnTo>
                    <a:pt x="1002" y="538"/>
                  </a:lnTo>
                  <a:lnTo>
                    <a:pt x="998" y="544"/>
                  </a:lnTo>
                  <a:lnTo>
                    <a:pt x="996" y="552"/>
                  </a:lnTo>
                  <a:lnTo>
                    <a:pt x="994" y="556"/>
                  </a:lnTo>
                  <a:lnTo>
                    <a:pt x="992" y="564"/>
                  </a:lnTo>
                  <a:lnTo>
                    <a:pt x="988" y="568"/>
                  </a:lnTo>
                  <a:lnTo>
                    <a:pt x="986" y="574"/>
                  </a:lnTo>
                  <a:lnTo>
                    <a:pt x="984" y="580"/>
                  </a:lnTo>
                  <a:lnTo>
                    <a:pt x="982" y="586"/>
                  </a:lnTo>
                  <a:lnTo>
                    <a:pt x="980" y="592"/>
                  </a:lnTo>
                  <a:lnTo>
                    <a:pt x="980" y="598"/>
                  </a:lnTo>
                  <a:lnTo>
                    <a:pt x="978" y="604"/>
                  </a:lnTo>
                  <a:lnTo>
                    <a:pt x="976" y="610"/>
                  </a:lnTo>
                  <a:lnTo>
                    <a:pt x="976" y="616"/>
                  </a:lnTo>
                  <a:lnTo>
                    <a:pt x="970" y="618"/>
                  </a:lnTo>
                  <a:lnTo>
                    <a:pt x="972" y="624"/>
                  </a:lnTo>
                  <a:lnTo>
                    <a:pt x="972" y="630"/>
                  </a:lnTo>
                  <a:lnTo>
                    <a:pt x="972" y="636"/>
                  </a:lnTo>
                  <a:lnTo>
                    <a:pt x="970" y="640"/>
                  </a:lnTo>
                  <a:lnTo>
                    <a:pt x="970" y="642"/>
                  </a:lnTo>
                  <a:lnTo>
                    <a:pt x="968" y="648"/>
                  </a:lnTo>
                  <a:lnTo>
                    <a:pt x="966" y="654"/>
                  </a:lnTo>
                  <a:lnTo>
                    <a:pt x="966" y="660"/>
                  </a:lnTo>
                  <a:lnTo>
                    <a:pt x="966" y="666"/>
                  </a:lnTo>
                  <a:lnTo>
                    <a:pt x="964" y="672"/>
                  </a:lnTo>
                  <a:lnTo>
                    <a:pt x="962" y="678"/>
                  </a:lnTo>
                  <a:lnTo>
                    <a:pt x="960" y="684"/>
                  </a:lnTo>
                  <a:lnTo>
                    <a:pt x="954" y="690"/>
                  </a:lnTo>
                  <a:lnTo>
                    <a:pt x="954" y="694"/>
                  </a:lnTo>
                  <a:lnTo>
                    <a:pt x="954" y="700"/>
                  </a:lnTo>
                  <a:lnTo>
                    <a:pt x="952" y="704"/>
                  </a:lnTo>
                  <a:lnTo>
                    <a:pt x="954" y="712"/>
                  </a:lnTo>
                  <a:lnTo>
                    <a:pt x="952" y="716"/>
                  </a:lnTo>
                  <a:lnTo>
                    <a:pt x="954" y="722"/>
                  </a:lnTo>
                  <a:lnTo>
                    <a:pt x="952" y="730"/>
                  </a:lnTo>
                  <a:lnTo>
                    <a:pt x="954" y="736"/>
                  </a:lnTo>
                  <a:lnTo>
                    <a:pt x="954" y="742"/>
                  </a:lnTo>
                  <a:lnTo>
                    <a:pt x="956" y="748"/>
                  </a:lnTo>
                  <a:lnTo>
                    <a:pt x="960" y="754"/>
                  </a:lnTo>
                  <a:lnTo>
                    <a:pt x="964" y="760"/>
                  </a:lnTo>
                  <a:lnTo>
                    <a:pt x="968" y="766"/>
                  </a:lnTo>
                  <a:lnTo>
                    <a:pt x="972" y="772"/>
                  </a:lnTo>
                  <a:lnTo>
                    <a:pt x="972" y="776"/>
                  </a:lnTo>
                  <a:lnTo>
                    <a:pt x="970" y="780"/>
                  </a:lnTo>
                  <a:lnTo>
                    <a:pt x="966" y="788"/>
                  </a:lnTo>
                  <a:lnTo>
                    <a:pt x="964" y="792"/>
                  </a:lnTo>
                  <a:lnTo>
                    <a:pt x="964" y="786"/>
                  </a:lnTo>
                  <a:lnTo>
                    <a:pt x="966" y="780"/>
                  </a:lnTo>
                  <a:lnTo>
                    <a:pt x="968" y="774"/>
                  </a:lnTo>
                  <a:lnTo>
                    <a:pt x="970" y="774"/>
                  </a:lnTo>
                  <a:lnTo>
                    <a:pt x="964" y="768"/>
                  </a:lnTo>
                  <a:lnTo>
                    <a:pt x="960" y="762"/>
                  </a:lnTo>
                  <a:lnTo>
                    <a:pt x="958" y="756"/>
                  </a:lnTo>
                  <a:lnTo>
                    <a:pt x="956" y="750"/>
                  </a:lnTo>
                  <a:lnTo>
                    <a:pt x="954" y="744"/>
                  </a:lnTo>
                  <a:lnTo>
                    <a:pt x="952" y="738"/>
                  </a:lnTo>
                  <a:lnTo>
                    <a:pt x="954" y="744"/>
                  </a:lnTo>
                  <a:lnTo>
                    <a:pt x="954" y="750"/>
                  </a:lnTo>
                  <a:lnTo>
                    <a:pt x="954" y="756"/>
                  </a:lnTo>
                  <a:lnTo>
                    <a:pt x="954" y="762"/>
                  </a:lnTo>
                  <a:lnTo>
                    <a:pt x="954" y="768"/>
                  </a:lnTo>
                  <a:lnTo>
                    <a:pt x="956" y="774"/>
                  </a:lnTo>
                  <a:lnTo>
                    <a:pt x="962" y="776"/>
                  </a:lnTo>
                  <a:lnTo>
                    <a:pt x="962" y="778"/>
                  </a:lnTo>
                  <a:lnTo>
                    <a:pt x="960" y="784"/>
                  </a:lnTo>
                  <a:lnTo>
                    <a:pt x="962" y="790"/>
                  </a:lnTo>
                  <a:lnTo>
                    <a:pt x="964" y="796"/>
                  </a:lnTo>
                  <a:lnTo>
                    <a:pt x="964" y="802"/>
                  </a:lnTo>
                  <a:lnTo>
                    <a:pt x="966" y="808"/>
                  </a:lnTo>
                  <a:lnTo>
                    <a:pt x="968" y="814"/>
                  </a:lnTo>
                  <a:lnTo>
                    <a:pt x="970" y="818"/>
                  </a:lnTo>
                  <a:lnTo>
                    <a:pt x="972" y="824"/>
                  </a:lnTo>
                  <a:lnTo>
                    <a:pt x="972" y="828"/>
                  </a:lnTo>
                  <a:lnTo>
                    <a:pt x="972" y="834"/>
                  </a:lnTo>
                  <a:lnTo>
                    <a:pt x="974" y="836"/>
                  </a:lnTo>
                  <a:lnTo>
                    <a:pt x="978" y="842"/>
                  </a:lnTo>
                  <a:lnTo>
                    <a:pt x="980" y="846"/>
                  </a:lnTo>
                  <a:lnTo>
                    <a:pt x="984" y="852"/>
                  </a:lnTo>
                  <a:lnTo>
                    <a:pt x="988" y="858"/>
                  </a:lnTo>
                  <a:lnTo>
                    <a:pt x="990" y="862"/>
                  </a:lnTo>
                  <a:lnTo>
                    <a:pt x="994" y="868"/>
                  </a:lnTo>
                  <a:lnTo>
                    <a:pt x="996" y="874"/>
                  </a:lnTo>
                  <a:lnTo>
                    <a:pt x="1000" y="878"/>
                  </a:lnTo>
                  <a:lnTo>
                    <a:pt x="1000" y="880"/>
                  </a:lnTo>
                  <a:lnTo>
                    <a:pt x="1004" y="886"/>
                  </a:lnTo>
                  <a:lnTo>
                    <a:pt x="1006" y="892"/>
                  </a:lnTo>
                  <a:lnTo>
                    <a:pt x="1006" y="898"/>
                  </a:lnTo>
                  <a:lnTo>
                    <a:pt x="1006" y="902"/>
                  </a:lnTo>
                  <a:lnTo>
                    <a:pt x="1006" y="910"/>
                  </a:lnTo>
                  <a:lnTo>
                    <a:pt x="1010" y="916"/>
                  </a:lnTo>
                  <a:lnTo>
                    <a:pt x="1008" y="920"/>
                  </a:lnTo>
                  <a:lnTo>
                    <a:pt x="1010" y="926"/>
                  </a:lnTo>
                  <a:lnTo>
                    <a:pt x="1014" y="932"/>
                  </a:lnTo>
                  <a:lnTo>
                    <a:pt x="1018" y="938"/>
                  </a:lnTo>
                  <a:lnTo>
                    <a:pt x="1018" y="940"/>
                  </a:lnTo>
                  <a:lnTo>
                    <a:pt x="1022" y="944"/>
                  </a:lnTo>
                  <a:lnTo>
                    <a:pt x="1024" y="950"/>
                  </a:lnTo>
                  <a:lnTo>
                    <a:pt x="1024" y="956"/>
                  </a:lnTo>
                  <a:lnTo>
                    <a:pt x="1030" y="962"/>
                  </a:lnTo>
                  <a:lnTo>
                    <a:pt x="1034" y="964"/>
                  </a:lnTo>
                  <a:lnTo>
                    <a:pt x="1030" y="962"/>
                  </a:lnTo>
                  <a:lnTo>
                    <a:pt x="1024" y="958"/>
                  </a:lnTo>
                  <a:lnTo>
                    <a:pt x="1022" y="960"/>
                  </a:lnTo>
                  <a:lnTo>
                    <a:pt x="1028" y="964"/>
                  </a:lnTo>
                  <a:lnTo>
                    <a:pt x="1026" y="968"/>
                  </a:lnTo>
                  <a:lnTo>
                    <a:pt x="1026" y="970"/>
                  </a:lnTo>
                  <a:lnTo>
                    <a:pt x="1024" y="970"/>
                  </a:lnTo>
                  <a:lnTo>
                    <a:pt x="1024" y="974"/>
                  </a:lnTo>
                  <a:lnTo>
                    <a:pt x="1022" y="974"/>
                  </a:lnTo>
                  <a:lnTo>
                    <a:pt x="1018" y="980"/>
                  </a:lnTo>
                  <a:lnTo>
                    <a:pt x="1024" y="980"/>
                  </a:lnTo>
                  <a:lnTo>
                    <a:pt x="1024" y="976"/>
                  </a:lnTo>
                  <a:lnTo>
                    <a:pt x="1024" y="970"/>
                  </a:lnTo>
                  <a:lnTo>
                    <a:pt x="1026" y="970"/>
                  </a:lnTo>
                  <a:lnTo>
                    <a:pt x="1028" y="970"/>
                  </a:lnTo>
                  <a:lnTo>
                    <a:pt x="1034" y="966"/>
                  </a:lnTo>
                  <a:lnTo>
                    <a:pt x="1034" y="964"/>
                  </a:lnTo>
                  <a:lnTo>
                    <a:pt x="1040" y="966"/>
                  </a:lnTo>
                  <a:lnTo>
                    <a:pt x="1042" y="968"/>
                  </a:lnTo>
                  <a:lnTo>
                    <a:pt x="1048" y="968"/>
                  </a:lnTo>
                  <a:lnTo>
                    <a:pt x="1052" y="968"/>
                  </a:lnTo>
                  <a:lnTo>
                    <a:pt x="1056" y="970"/>
                  </a:lnTo>
                  <a:lnTo>
                    <a:pt x="1062" y="968"/>
                  </a:lnTo>
                  <a:lnTo>
                    <a:pt x="1070" y="970"/>
                  </a:lnTo>
                  <a:lnTo>
                    <a:pt x="1074" y="974"/>
                  </a:lnTo>
                  <a:lnTo>
                    <a:pt x="1078" y="980"/>
                  </a:lnTo>
                  <a:lnTo>
                    <a:pt x="1084" y="980"/>
                  </a:lnTo>
                  <a:lnTo>
                    <a:pt x="1090" y="982"/>
                  </a:lnTo>
                  <a:lnTo>
                    <a:pt x="1092" y="988"/>
                  </a:lnTo>
                  <a:lnTo>
                    <a:pt x="1094" y="994"/>
                  </a:lnTo>
                  <a:lnTo>
                    <a:pt x="1098" y="1000"/>
                  </a:lnTo>
                  <a:lnTo>
                    <a:pt x="1098" y="1002"/>
                  </a:lnTo>
                  <a:lnTo>
                    <a:pt x="1100" y="1006"/>
                  </a:lnTo>
                  <a:lnTo>
                    <a:pt x="1106" y="1008"/>
                  </a:lnTo>
                  <a:lnTo>
                    <a:pt x="1108" y="1008"/>
                  </a:lnTo>
                  <a:lnTo>
                    <a:pt x="1110" y="1008"/>
                  </a:lnTo>
                  <a:lnTo>
                    <a:pt x="1112" y="1008"/>
                  </a:lnTo>
                  <a:lnTo>
                    <a:pt x="1116" y="1006"/>
                  </a:lnTo>
                  <a:lnTo>
                    <a:pt x="1122" y="1004"/>
                  </a:lnTo>
                  <a:lnTo>
                    <a:pt x="1126" y="1004"/>
                  </a:lnTo>
                  <a:lnTo>
                    <a:pt x="1130" y="1002"/>
                  </a:lnTo>
                  <a:lnTo>
                    <a:pt x="1136" y="1000"/>
                  </a:lnTo>
                  <a:lnTo>
                    <a:pt x="1142" y="998"/>
                  </a:lnTo>
                  <a:lnTo>
                    <a:pt x="1146" y="1000"/>
                  </a:lnTo>
                  <a:lnTo>
                    <a:pt x="1152" y="994"/>
                  </a:lnTo>
                  <a:lnTo>
                    <a:pt x="1158" y="994"/>
                  </a:lnTo>
                  <a:lnTo>
                    <a:pt x="1162" y="990"/>
                  </a:lnTo>
                  <a:lnTo>
                    <a:pt x="1158" y="992"/>
                  </a:lnTo>
                  <a:lnTo>
                    <a:pt x="1152" y="994"/>
                  </a:lnTo>
                  <a:lnTo>
                    <a:pt x="1146" y="996"/>
                  </a:lnTo>
                  <a:lnTo>
                    <a:pt x="1150" y="994"/>
                  </a:lnTo>
                  <a:lnTo>
                    <a:pt x="1156" y="992"/>
                  </a:lnTo>
                  <a:lnTo>
                    <a:pt x="1162" y="990"/>
                  </a:lnTo>
                  <a:lnTo>
                    <a:pt x="1166" y="988"/>
                  </a:lnTo>
                  <a:lnTo>
                    <a:pt x="1174" y="988"/>
                  </a:lnTo>
                  <a:lnTo>
                    <a:pt x="1180" y="988"/>
                  </a:lnTo>
                  <a:lnTo>
                    <a:pt x="1184" y="988"/>
                  </a:lnTo>
                  <a:lnTo>
                    <a:pt x="1188" y="988"/>
                  </a:lnTo>
                  <a:lnTo>
                    <a:pt x="1194" y="988"/>
                  </a:lnTo>
                  <a:lnTo>
                    <a:pt x="1200" y="986"/>
                  </a:lnTo>
                  <a:lnTo>
                    <a:pt x="1208" y="984"/>
                  </a:lnTo>
                  <a:lnTo>
                    <a:pt x="1214" y="982"/>
                  </a:lnTo>
                  <a:lnTo>
                    <a:pt x="1218" y="984"/>
                  </a:lnTo>
                  <a:lnTo>
                    <a:pt x="1218" y="986"/>
                  </a:lnTo>
                  <a:lnTo>
                    <a:pt x="1218" y="984"/>
                  </a:lnTo>
                  <a:lnTo>
                    <a:pt x="1218" y="978"/>
                  </a:lnTo>
                  <a:lnTo>
                    <a:pt x="1224" y="976"/>
                  </a:lnTo>
                  <a:lnTo>
                    <a:pt x="1230" y="974"/>
                  </a:lnTo>
                  <a:lnTo>
                    <a:pt x="1230" y="972"/>
                  </a:lnTo>
                  <a:lnTo>
                    <a:pt x="1238" y="972"/>
                  </a:lnTo>
                  <a:lnTo>
                    <a:pt x="1242" y="972"/>
                  </a:lnTo>
                  <a:lnTo>
                    <a:pt x="1250" y="970"/>
                  </a:lnTo>
                  <a:lnTo>
                    <a:pt x="1256" y="970"/>
                  </a:lnTo>
                  <a:lnTo>
                    <a:pt x="1258" y="968"/>
                  </a:lnTo>
                  <a:lnTo>
                    <a:pt x="1264" y="968"/>
                  </a:lnTo>
                  <a:lnTo>
                    <a:pt x="1266" y="974"/>
                  </a:lnTo>
                  <a:lnTo>
                    <a:pt x="1268" y="974"/>
                  </a:lnTo>
                  <a:lnTo>
                    <a:pt x="1264" y="974"/>
                  </a:lnTo>
                  <a:lnTo>
                    <a:pt x="1262" y="974"/>
                  </a:lnTo>
                  <a:lnTo>
                    <a:pt x="1260" y="976"/>
                  </a:lnTo>
                  <a:lnTo>
                    <a:pt x="1266" y="984"/>
                  </a:lnTo>
                  <a:lnTo>
                    <a:pt x="1266" y="988"/>
                  </a:lnTo>
                  <a:lnTo>
                    <a:pt x="1272" y="986"/>
                  </a:lnTo>
                  <a:lnTo>
                    <a:pt x="1278" y="986"/>
                  </a:lnTo>
                  <a:lnTo>
                    <a:pt x="1284" y="988"/>
                  </a:lnTo>
                  <a:lnTo>
                    <a:pt x="1288" y="988"/>
                  </a:lnTo>
                  <a:lnTo>
                    <a:pt x="1290" y="982"/>
                  </a:lnTo>
                  <a:lnTo>
                    <a:pt x="1296" y="980"/>
                  </a:lnTo>
                  <a:lnTo>
                    <a:pt x="1302" y="976"/>
                  </a:lnTo>
                  <a:lnTo>
                    <a:pt x="1304" y="976"/>
                  </a:lnTo>
                  <a:lnTo>
                    <a:pt x="1304" y="970"/>
                  </a:lnTo>
                  <a:lnTo>
                    <a:pt x="1302" y="964"/>
                  </a:lnTo>
                  <a:lnTo>
                    <a:pt x="1296" y="962"/>
                  </a:lnTo>
                  <a:lnTo>
                    <a:pt x="1302" y="958"/>
                  </a:lnTo>
                  <a:lnTo>
                    <a:pt x="1308" y="952"/>
                  </a:lnTo>
                  <a:lnTo>
                    <a:pt x="1302" y="956"/>
                  </a:lnTo>
                  <a:lnTo>
                    <a:pt x="1298" y="960"/>
                  </a:lnTo>
                  <a:lnTo>
                    <a:pt x="1292" y="962"/>
                  </a:lnTo>
                  <a:lnTo>
                    <a:pt x="1296" y="956"/>
                  </a:lnTo>
                  <a:lnTo>
                    <a:pt x="1302" y="954"/>
                  </a:lnTo>
                  <a:lnTo>
                    <a:pt x="1308" y="950"/>
                  </a:lnTo>
                  <a:lnTo>
                    <a:pt x="1314" y="948"/>
                  </a:lnTo>
                  <a:lnTo>
                    <a:pt x="1320" y="944"/>
                  </a:lnTo>
                  <a:lnTo>
                    <a:pt x="1326" y="940"/>
                  </a:lnTo>
                  <a:lnTo>
                    <a:pt x="1332" y="936"/>
                  </a:lnTo>
                  <a:lnTo>
                    <a:pt x="1334" y="932"/>
                  </a:lnTo>
                  <a:lnTo>
                    <a:pt x="1340" y="928"/>
                  </a:lnTo>
                  <a:lnTo>
                    <a:pt x="1344" y="922"/>
                  </a:lnTo>
                  <a:lnTo>
                    <a:pt x="1346" y="916"/>
                  </a:lnTo>
                  <a:lnTo>
                    <a:pt x="1346" y="910"/>
                  </a:lnTo>
                  <a:lnTo>
                    <a:pt x="1348" y="904"/>
                  </a:lnTo>
                  <a:lnTo>
                    <a:pt x="1350" y="898"/>
                  </a:lnTo>
                  <a:lnTo>
                    <a:pt x="1354" y="892"/>
                  </a:lnTo>
                  <a:lnTo>
                    <a:pt x="1360" y="888"/>
                  </a:lnTo>
                  <a:lnTo>
                    <a:pt x="1366" y="882"/>
                  </a:lnTo>
                  <a:lnTo>
                    <a:pt x="1366" y="880"/>
                  </a:lnTo>
                  <a:lnTo>
                    <a:pt x="1366" y="874"/>
                  </a:lnTo>
                  <a:lnTo>
                    <a:pt x="1366" y="868"/>
                  </a:lnTo>
                  <a:lnTo>
                    <a:pt x="1366" y="866"/>
                  </a:lnTo>
                  <a:lnTo>
                    <a:pt x="1368" y="860"/>
                  </a:lnTo>
                  <a:lnTo>
                    <a:pt x="1370" y="854"/>
                  </a:lnTo>
                  <a:lnTo>
                    <a:pt x="1370" y="848"/>
                  </a:lnTo>
                  <a:lnTo>
                    <a:pt x="1370" y="842"/>
                  </a:lnTo>
                  <a:lnTo>
                    <a:pt x="1372" y="840"/>
                  </a:lnTo>
                  <a:lnTo>
                    <a:pt x="1374" y="836"/>
                  </a:lnTo>
                  <a:lnTo>
                    <a:pt x="1374" y="830"/>
                  </a:lnTo>
                  <a:lnTo>
                    <a:pt x="1380" y="822"/>
                  </a:lnTo>
                  <a:lnTo>
                    <a:pt x="1382" y="820"/>
                  </a:lnTo>
                  <a:lnTo>
                    <a:pt x="1384" y="814"/>
                  </a:lnTo>
                  <a:lnTo>
                    <a:pt x="1382" y="818"/>
                  </a:lnTo>
                  <a:lnTo>
                    <a:pt x="1380" y="820"/>
                  </a:lnTo>
                  <a:lnTo>
                    <a:pt x="1380" y="818"/>
                  </a:lnTo>
                  <a:lnTo>
                    <a:pt x="1382" y="814"/>
                  </a:lnTo>
                  <a:lnTo>
                    <a:pt x="1388" y="808"/>
                  </a:lnTo>
                  <a:lnTo>
                    <a:pt x="1394" y="804"/>
                  </a:lnTo>
                  <a:lnTo>
                    <a:pt x="1400" y="800"/>
                  </a:lnTo>
                  <a:lnTo>
                    <a:pt x="1404" y="798"/>
                  </a:lnTo>
                  <a:lnTo>
                    <a:pt x="1408" y="798"/>
                  </a:lnTo>
                  <a:lnTo>
                    <a:pt x="1412" y="794"/>
                  </a:lnTo>
                  <a:lnTo>
                    <a:pt x="1420" y="792"/>
                  </a:lnTo>
                  <a:lnTo>
                    <a:pt x="1424" y="790"/>
                  </a:lnTo>
                  <a:lnTo>
                    <a:pt x="1430" y="790"/>
                  </a:lnTo>
                  <a:lnTo>
                    <a:pt x="1438" y="788"/>
                  </a:lnTo>
                  <a:lnTo>
                    <a:pt x="1442" y="788"/>
                  </a:lnTo>
                  <a:lnTo>
                    <a:pt x="1448" y="788"/>
                  </a:lnTo>
                  <a:lnTo>
                    <a:pt x="1454" y="786"/>
                  </a:lnTo>
                  <a:lnTo>
                    <a:pt x="1460" y="784"/>
                  </a:lnTo>
                  <a:lnTo>
                    <a:pt x="1466" y="784"/>
                  </a:lnTo>
                  <a:lnTo>
                    <a:pt x="1472" y="784"/>
                  </a:lnTo>
                  <a:lnTo>
                    <a:pt x="1478" y="782"/>
                  </a:lnTo>
                  <a:lnTo>
                    <a:pt x="1484" y="780"/>
                  </a:lnTo>
                  <a:lnTo>
                    <a:pt x="1490" y="776"/>
                  </a:lnTo>
                  <a:lnTo>
                    <a:pt x="1496" y="772"/>
                  </a:lnTo>
                  <a:lnTo>
                    <a:pt x="1502" y="772"/>
                  </a:lnTo>
                  <a:lnTo>
                    <a:pt x="1508" y="770"/>
                  </a:lnTo>
                  <a:lnTo>
                    <a:pt x="1512" y="772"/>
                  </a:lnTo>
                  <a:lnTo>
                    <a:pt x="1518" y="770"/>
                  </a:lnTo>
                  <a:lnTo>
                    <a:pt x="1526" y="770"/>
                  </a:lnTo>
                  <a:lnTo>
                    <a:pt x="1530" y="772"/>
                  </a:lnTo>
                  <a:lnTo>
                    <a:pt x="1536" y="772"/>
                  </a:lnTo>
                  <a:lnTo>
                    <a:pt x="1542" y="776"/>
                  </a:lnTo>
                  <a:lnTo>
                    <a:pt x="1548" y="776"/>
                  </a:lnTo>
                  <a:lnTo>
                    <a:pt x="1554" y="776"/>
                  </a:lnTo>
                  <a:lnTo>
                    <a:pt x="1548" y="776"/>
                  </a:lnTo>
                  <a:lnTo>
                    <a:pt x="1542" y="774"/>
                  </a:lnTo>
                  <a:lnTo>
                    <a:pt x="1548" y="774"/>
                  </a:lnTo>
                  <a:lnTo>
                    <a:pt x="1554" y="776"/>
                  </a:lnTo>
                  <a:lnTo>
                    <a:pt x="1558" y="776"/>
                  </a:lnTo>
                  <a:lnTo>
                    <a:pt x="1564" y="778"/>
                  </a:lnTo>
                  <a:lnTo>
                    <a:pt x="1570" y="780"/>
                  </a:lnTo>
                  <a:lnTo>
                    <a:pt x="1564" y="778"/>
                  </a:lnTo>
                  <a:lnTo>
                    <a:pt x="1568" y="772"/>
                  </a:lnTo>
                  <a:lnTo>
                    <a:pt x="1576" y="772"/>
                  </a:lnTo>
                  <a:lnTo>
                    <a:pt x="1582" y="770"/>
                  </a:lnTo>
                  <a:lnTo>
                    <a:pt x="1588" y="770"/>
                  </a:lnTo>
                  <a:lnTo>
                    <a:pt x="1594" y="776"/>
                  </a:lnTo>
                  <a:lnTo>
                    <a:pt x="1598" y="780"/>
                  </a:lnTo>
                  <a:lnTo>
                    <a:pt x="1600" y="788"/>
                  </a:lnTo>
                  <a:lnTo>
                    <a:pt x="1598" y="792"/>
                  </a:lnTo>
                  <a:lnTo>
                    <a:pt x="1598" y="798"/>
                  </a:lnTo>
                  <a:lnTo>
                    <a:pt x="1598" y="806"/>
                  </a:lnTo>
                  <a:lnTo>
                    <a:pt x="1596" y="810"/>
                  </a:lnTo>
                  <a:lnTo>
                    <a:pt x="1594" y="816"/>
                  </a:lnTo>
                  <a:lnTo>
                    <a:pt x="1590" y="820"/>
                  </a:lnTo>
                  <a:lnTo>
                    <a:pt x="1586" y="826"/>
                  </a:lnTo>
                  <a:lnTo>
                    <a:pt x="1580" y="832"/>
                  </a:lnTo>
                  <a:lnTo>
                    <a:pt x="1578" y="836"/>
                  </a:lnTo>
                  <a:lnTo>
                    <a:pt x="1570" y="840"/>
                  </a:lnTo>
                  <a:lnTo>
                    <a:pt x="1564" y="846"/>
                  </a:lnTo>
                  <a:lnTo>
                    <a:pt x="1560" y="852"/>
                  </a:lnTo>
                  <a:lnTo>
                    <a:pt x="1556" y="858"/>
                  </a:lnTo>
                  <a:lnTo>
                    <a:pt x="1552" y="864"/>
                  </a:lnTo>
                  <a:lnTo>
                    <a:pt x="1548" y="870"/>
                  </a:lnTo>
                  <a:lnTo>
                    <a:pt x="1548" y="876"/>
                  </a:lnTo>
                  <a:lnTo>
                    <a:pt x="1546" y="880"/>
                  </a:lnTo>
                  <a:lnTo>
                    <a:pt x="1548" y="886"/>
                  </a:lnTo>
                  <a:lnTo>
                    <a:pt x="1546" y="888"/>
                  </a:lnTo>
                  <a:lnTo>
                    <a:pt x="1546" y="884"/>
                  </a:lnTo>
                  <a:lnTo>
                    <a:pt x="1544" y="884"/>
                  </a:lnTo>
                  <a:lnTo>
                    <a:pt x="1544" y="890"/>
                  </a:lnTo>
                  <a:lnTo>
                    <a:pt x="1538" y="894"/>
                  </a:lnTo>
                  <a:lnTo>
                    <a:pt x="1534" y="898"/>
                  </a:lnTo>
                  <a:lnTo>
                    <a:pt x="1530" y="904"/>
                  </a:lnTo>
                  <a:lnTo>
                    <a:pt x="1530" y="910"/>
                  </a:lnTo>
                  <a:lnTo>
                    <a:pt x="1536" y="910"/>
                  </a:lnTo>
                  <a:lnTo>
                    <a:pt x="1542" y="910"/>
                  </a:lnTo>
                  <a:lnTo>
                    <a:pt x="1542" y="916"/>
                  </a:lnTo>
                  <a:lnTo>
                    <a:pt x="1536" y="920"/>
                  </a:lnTo>
                  <a:lnTo>
                    <a:pt x="1530" y="920"/>
                  </a:lnTo>
                  <a:lnTo>
                    <a:pt x="1526" y="928"/>
                  </a:lnTo>
                  <a:lnTo>
                    <a:pt x="1526" y="932"/>
                  </a:lnTo>
                  <a:lnTo>
                    <a:pt x="1528" y="934"/>
                  </a:lnTo>
                  <a:lnTo>
                    <a:pt x="1532" y="928"/>
                  </a:lnTo>
                  <a:lnTo>
                    <a:pt x="1538" y="926"/>
                  </a:lnTo>
                  <a:lnTo>
                    <a:pt x="1536" y="932"/>
                  </a:lnTo>
                  <a:lnTo>
                    <a:pt x="1532" y="938"/>
                  </a:lnTo>
                  <a:lnTo>
                    <a:pt x="1530" y="944"/>
                  </a:lnTo>
                  <a:lnTo>
                    <a:pt x="1526" y="950"/>
                  </a:lnTo>
                  <a:lnTo>
                    <a:pt x="1526" y="956"/>
                  </a:lnTo>
                  <a:lnTo>
                    <a:pt x="1522" y="962"/>
                  </a:lnTo>
                  <a:lnTo>
                    <a:pt x="1520" y="968"/>
                  </a:lnTo>
                  <a:lnTo>
                    <a:pt x="1516" y="974"/>
                  </a:lnTo>
                  <a:lnTo>
                    <a:pt x="1516" y="980"/>
                  </a:lnTo>
                  <a:lnTo>
                    <a:pt x="1514" y="986"/>
                  </a:lnTo>
                  <a:lnTo>
                    <a:pt x="1510" y="992"/>
                  </a:lnTo>
                  <a:lnTo>
                    <a:pt x="1506" y="998"/>
                  </a:lnTo>
                  <a:lnTo>
                    <a:pt x="1506" y="1004"/>
                  </a:lnTo>
                  <a:lnTo>
                    <a:pt x="1502" y="998"/>
                  </a:lnTo>
                  <a:lnTo>
                    <a:pt x="1502" y="992"/>
                  </a:lnTo>
                  <a:lnTo>
                    <a:pt x="1496" y="986"/>
                  </a:lnTo>
                  <a:lnTo>
                    <a:pt x="1496" y="980"/>
                  </a:lnTo>
                  <a:lnTo>
                    <a:pt x="1498" y="974"/>
                  </a:lnTo>
                  <a:lnTo>
                    <a:pt x="1500" y="968"/>
                  </a:lnTo>
                  <a:lnTo>
                    <a:pt x="1500" y="962"/>
                  </a:lnTo>
                  <a:lnTo>
                    <a:pt x="1492" y="966"/>
                  </a:lnTo>
                  <a:lnTo>
                    <a:pt x="1488" y="968"/>
                  </a:lnTo>
                  <a:lnTo>
                    <a:pt x="1488" y="974"/>
                  </a:lnTo>
                  <a:lnTo>
                    <a:pt x="1484" y="982"/>
                  </a:lnTo>
                  <a:lnTo>
                    <a:pt x="1480" y="984"/>
                  </a:lnTo>
                  <a:lnTo>
                    <a:pt x="1476" y="984"/>
                  </a:lnTo>
                  <a:lnTo>
                    <a:pt x="1472" y="984"/>
                  </a:lnTo>
                  <a:lnTo>
                    <a:pt x="1466" y="990"/>
                  </a:lnTo>
                  <a:lnTo>
                    <a:pt x="1464" y="996"/>
                  </a:lnTo>
                  <a:lnTo>
                    <a:pt x="1460" y="1002"/>
                  </a:lnTo>
                  <a:lnTo>
                    <a:pt x="1458" y="1002"/>
                  </a:lnTo>
                  <a:lnTo>
                    <a:pt x="1454" y="1008"/>
                  </a:lnTo>
                  <a:lnTo>
                    <a:pt x="1452" y="1014"/>
                  </a:lnTo>
                  <a:lnTo>
                    <a:pt x="1450" y="1014"/>
                  </a:lnTo>
                  <a:lnTo>
                    <a:pt x="1448" y="1018"/>
                  </a:lnTo>
                  <a:lnTo>
                    <a:pt x="1442" y="1024"/>
                  </a:lnTo>
                  <a:lnTo>
                    <a:pt x="1442" y="1026"/>
                  </a:lnTo>
                  <a:lnTo>
                    <a:pt x="1436" y="1020"/>
                  </a:lnTo>
                  <a:lnTo>
                    <a:pt x="1430" y="1018"/>
                  </a:lnTo>
                  <a:lnTo>
                    <a:pt x="1424" y="1022"/>
                  </a:lnTo>
                  <a:lnTo>
                    <a:pt x="1424" y="1024"/>
                  </a:lnTo>
                  <a:lnTo>
                    <a:pt x="1424" y="1030"/>
                  </a:lnTo>
                  <a:lnTo>
                    <a:pt x="1422" y="1030"/>
                  </a:lnTo>
                  <a:lnTo>
                    <a:pt x="1416" y="1030"/>
                  </a:lnTo>
                  <a:lnTo>
                    <a:pt x="1412" y="1030"/>
                  </a:lnTo>
                  <a:lnTo>
                    <a:pt x="1406" y="1030"/>
                  </a:lnTo>
                  <a:lnTo>
                    <a:pt x="1402" y="1030"/>
                  </a:lnTo>
                  <a:lnTo>
                    <a:pt x="1396" y="1030"/>
                  </a:lnTo>
                  <a:lnTo>
                    <a:pt x="1390" y="1030"/>
                  </a:lnTo>
                  <a:lnTo>
                    <a:pt x="1384" y="1030"/>
                  </a:lnTo>
                  <a:lnTo>
                    <a:pt x="1378" y="1030"/>
                  </a:lnTo>
                  <a:lnTo>
                    <a:pt x="1372" y="1030"/>
                  </a:lnTo>
                  <a:lnTo>
                    <a:pt x="1364" y="1030"/>
                  </a:lnTo>
                  <a:lnTo>
                    <a:pt x="1356" y="1030"/>
                  </a:lnTo>
                  <a:lnTo>
                    <a:pt x="1350" y="1030"/>
                  </a:lnTo>
                  <a:lnTo>
                    <a:pt x="1344" y="1030"/>
                  </a:lnTo>
                  <a:lnTo>
                    <a:pt x="1338" y="1030"/>
                  </a:lnTo>
                  <a:lnTo>
                    <a:pt x="1332" y="1030"/>
                  </a:lnTo>
                  <a:lnTo>
                    <a:pt x="1328" y="1030"/>
                  </a:lnTo>
                  <a:lnTo>
                    <a:pt x="1324" y="1030"/>
                  </a:lnTo>
                  <a:lnTo>
                    <a:pt x="1318" y="1030"/>
                  </a:lnTo>
                  <a:lnTo>
                    <a:pt x="1312" y="1030"/>
                  </a:lnTo>
                  <a:lnTo>
                    <a:pt x="1312" y="1032"/>
                  </a:lnTo>
                  <a:lnTo>
                    <a:pt x="1312" y="1038"/>
                  </a:lnTo>
                  <a:lnTo>
                    <a:pt x="1310" y="1044"/>
                  </a:lnTo>
                  <a:lnTo>
                    <a:pt x="1310" y="1050"/>
                  </a:lnTo>
                  <a:lnTo>
                    <a:pt x="1310" y="1056"/>
                  </a:lnTo>
                  <a:lnTo>
                    <a:pt x="1308" y="1062"/>
                  </a:lnTo>
                  <a:lnTo>
                    <a:pt x="1308" y="1068"/>
                  </a:lnTo>
                  <a:lnTo>
                    <a:pt x="1304" y="1070"/>
                  </a:lnTo>
                  <a:lnTo>
                    <a:pt x="1298" y="1070"/>
                  </a:lnTo>
                  <a:lnTo>
                    <a:pt x="1292" y="1070"/>
                  </a:lnTo>
                  <a:lnTo>
                    <a:pt x="1286" y="1070"/>
                  </a:lnTo>
                  <a:lnTo>
                    <a:pt x="1280" y="1070"/>
                  </a:lnTo>
                  <a:lnTo>
                    <a:pt x="1282" y="1072"/>
                  </a:lnTo>
                  <a:lnTo>
                    <a:pt x="1290" y="1076"/>
                  </a:lnTo>
                  <a:lnTo>
                    <a:pt x="1292" y="1082"/>
                  </a:lnTo>
                  <a:lnTo>
                    <a:pt x="1298" y="1088"/>
                  </a:lnTo>
                  <a:lnTo>
                    <a:pt x="1300" y="1094"/>
                  </a:lnTo>
                  <a:lnTo>
                    <a:pt x="1306" y="1098"/>
                  </a:lnTo>
                  <a:lnTo>
                    <a:pt x="1312" y="1100"/>
                  </a:lnTo>
                  <a:lnTo>
                    <a:pt x="1318" y="1106"/>
                  </a:lnTo>
                  <a:lnTo>
                    <a:pt x="1320" y="1110"/>
                  </a:lnTo>
                  <a:lnTo>
                    <a:pt x="1320" y="1114"/>
                  </a:lnTo>
                  <a:lnTo>
                    <a:pt x="1322" y="1116"/>
                  </a:lnTo>
                  <a:lnTo>
                    <a:pt x="1326" y="1124"/>
                  </a:lnTo>
                  <a:lnTo>
                    <a:pt x="1328" y="1124"/>
                  </a:lnTo>
                  <a:lnTo>
                    <a:pt x="1334" y="1128"/>
                  </a:lnTo>
                  <a:lnTo>
                    <a:pt x="1334" y="1134"/>
                  </a:lnTo>
                  <a:lnTo>
                    <a:pt x="1330" y="1140"/>
                  </a:lnTo>
                  <a:lnTo>
                    <a:pt x="1330" y="1144"/>
                  </a:lnTo>
                  <a:lnTo>
                    <a:pt x="1328" y="1150"/>
                  </a:lnTo>
                  <a:lnTo>
                    <a:pt x="1328" y="1152"/>
                  </a:lnTo>
                  <a:lnTo>
                    <a:pt x="1322" y="1152"/>
                  </a:lnTo>
                  <a:lnTo>
                    <a:pt x="1316" y="1152"/>
                  </a:lnTo>
                  <a:lnTo>
                    <a:pt x="1310" y="1152"/>
                  </a:lnTo>
                  <a:lnTo>
                    <a:pt x="1304" y="1152"/>
                  </a:lnTo>
                  <a:lnTo>
                    <a:pt x="1298" y="1152"/>
                  </a:lnTo>
                  <a:lnTo>
                    <a:pt x="1296" y="1152"/>
                  </a:lnTo>
                  <a:lnTo>
                    <a:pt x="1292" y="1152"/>
                  </a:lnTo>
                  <a:lnTo>
                    <a:pt x="1290" y="1152"/>
                  </a:lnTo>
                  <a:lnTo>
                    <a:pt x="1288" y="1152"/>
                  </a:lnTo>
                  <a:lnTo>
                    <a:pt x="1286" y="1152"/>
                  </a:lnTo>
                  <a:lnTo>
                    <a:pt x="1280" y="1152"/>
                  </a:lnTo>
                  <a:lnTo>
                    <a:pt x="1274" y="1152"/>
                  </a:lnTo>
                  <a:lnTo>
                    <a:pt x="1272" y="1152"/>
                  </a:lnTo>
                  <a:lnTo>
                    <a:pt x="1268" y="1152"/>
                  </a:lnTo>
                  <a:lnTo>
                    <a:pt x="1262" y="1152"/>
                  </a:lnTo>
                  <a:lnTo>
                    <a:pt x="1256" y="1152"/>
                  </a:lnTo>
                  <a:lnTo>
                    <a:pt x="1250" y="1152"/>
                  </a:lnTo>
                  <a:lnTo>
                    <a:pt x="1246" y="1158"/>
                  </a:lnTo>
                  <a:lnTo>
                    <a:pt x="1242" y="1164"/>
                  </a:lnTo>
                  <a:lnTo>
                    <a:pt x="1238" y="1170"/>
                  </a:lnTo>
                  <a:lnTo>
                    <a:pt x="1238" y="1174"/>
                  </a:lnTo>
                  <a:lnTo>
                    <a:pt x="1236" y="1174"/>
                  </a:lnTo>
                  <a:lnTo>
                    <a:pt x="1232" y="1180"/>
                  </a:lnTo>
                  <a:lnTo>
                    <a:pt x="1230" y="1184"/>
                  </a:lnTo>
                  <a:lnTo>
                    <a:pt x="1226" y="1190"/>
                  </a:lnTo>
                  <a:lnTo>
                    <a:pt x="1222" y="1196"/>
                  </a:lnTo>
                  <a:lnTo>
                    <a:pt x="1220" y="1200"/>
                  </a:lnTo>
                  <a:lnTo>
                    <a:pt x="1216" y="1206"/>
                  </a:lnTo>
                  <a:lnTo>
                    <a:pt x="1218" y="1212"/>
                  </a:lnTo>
                  <a:lnTo>
                    <a:pt x="1220" y="1214"/>
                  </a:lnTo>
                  <a:lnTo>
                    <a:pt x="1222" y="1220"/>
                  </a:lnTo>
                  <a:lnTo>
                    <a:pt x="1222" y="1222"/>
                  </a:lnTo>
                  <a:lnTo>
                    <a:pt x="1216" y="1228"/>
                  </a:lnTo>
                  <a:lnTo>
                    <a:pt x="1216" y="1230"/>
                  </a:lnTo>
                  <a:lnTo>
                    <a:pt x="1214" y="1236"/>
                  </a:lnTo>
                  <a:lnTo>
                    <a:pt x="1214" y="1242"/>
                  </a:lnTo>
                  <a:lnTo>
                    <a:pt x="1214" y="1248"/>
                  </a:lnTo>
                  <a:lnTo>
                    <a:pt x="1212" y="1250"/>
                  </a:lnTo>
                  <a:lnTo>
                    <a:pt x="1208" y="1256"/>
                  </a:lnTo>
                  <a:lnTo>
                    <a:pt x="1202" y="1250"/>
                  </a:lnTo>
                  <a:lnTo>
                    <a:pt x="1198" y="1246"/>
                  </a:lnTo>
                  <a:lnTo>
                    <a:pt x="1194" y="1240"/>
                  </a:lnTo>
                  <a:lnTo>
                    <a:pt x="1190" y="1234"/>
                  </a:lnTo>
                  <a:lnTo>
                    <a:pt x="1184" y="1228"/>
                  </a:lnTo>
                  <a:lnTo>
                    <a:pt x="1180" y="1222"/>
                  </a:lnTo>
                  <a:lnTo>
                    <a:pt x="1180" y="1220"/>
                  </a:lnTo>
                  <a:lnTo>
                    <a:pt x="1178" y="1214"/>
                  </a:lnTo>
                  <a:lnTo>
                    <a:pt x="1182" y="1220"/>
                  </a:lnTo>
                  <a:lnTo>
                    <a:pt x="1180" y="1214"/>
                  </a:lnTo>
                  <a:lnTo>
                    <a:pt x="1174" y="1210"/>
                  </a:lnTo>
                  <a:lnTo>
                    <a:pt x="1168" y="1206"/>
                  </a:lnTo>
                  <a:lnTo>
                    <a:pt x="1162" y="1200"/>
                  </a:lnTo>
                  <a:lnTo>
                    <a:pt x="1158" y="1194"/>
                  </a:lnTo>
                  <a:lnTo>
                    <a:pt x="1152" y="1188"/>
                  </a:lnTo>
                  <a:lnTo>
                    <a:pt x="1146" y="1182"/>
                  </a:lnTo>
                  <a:lnTo>
                    <a:pt x="1142" y="1176"/>
                  </a:lnTo>
                  <a:lnTo>
                    <a:pt x="1136" y="1170"/>
                  </a:lnTo>
                  <a:lnTo>
                    <a:pt x="1132" y="1166"/>
                  </a:lnTo>
                  <a:lnTo>
                    <a:pt x="1126" y="1162"/>
                  </a:lnTo>
                  <a:lnTo>
                    <a:pt x="1120" y="1158"/>
                  </a:lnTo>
                  <a:lnTo>
                    <a:pt x="1122" y="1152"/>
                  </a:lnTo>
                  <a:lnTo>
                    <a:pt x="1116" y="1148"/>
                  </a:lnTo>
                  <a:lnTo>
                    <a:pt x="1110" y="1146"/>
                  </a:lnTo>
                  <a:lnTo>
                    <a:pt x="1108" y="1144"/>
                  </a:lnTo>
                  <a:lnTo>
                    <a:pt x="1102" y="1142"/>
                  </a:lnTo>
                  <a:lnTo>
                    <a:pt x="1096" y="1140"/>
                  </a:lnTo>
                  <a:lnTo>
                    <a:pt x="1090" y="1136"/>
                  </a:lnTo>
                  <a:lnTo>
                    <a:pt x="1090" y="1144"/>
                  </a:lnTo>
                  <a:lnTo>
                    <a:pt x="1096" y="1144"/>
                  </a:lnTo>
                  <a:lnTo>
                    <a:pt x="1102" y="1146"/>
                  </a:lnTo>
                  <a:lnTo>
                    <a:pt x="1108" y="1150"/>
                  </a:lnTo>
                  <a:lnTo>
                    <a:pt x="1110" y="1150"/>
                  </a:lnTo>
                  <a:lnTo>
                    <a:pt x="1116" y="1156"/>
                  </a:lnTo>
                  <a:lnTo>
                    <a:pt x="1110" y="1154"/>
                  </a:lnTo>
                  <a:lnTo>
                    <a:pt x="1106" y="1152"/>
                  </a:lnTo>
                  <a:lnTo>
                    <a:pt x="1100" y="1150"/>
                  </a:lnTo>
                  <a:lnTo>
                    <a:pt x="1094" y="1146"/>
                  </a:lnTo>
                  <a:lnTo>
                    <a:pt x="1090" y="1144"/>
                  </a:lnTo>
                  <a:lnTo>
                    <a:pt x="1082" y="1144"/>
                  </a:lnTo>
                  <a:lnTo>
                    <a:pt x="1078" y="1142"/>
                  </a:lnTo>
                  <a:lnTo>
                    <a:pt x="1072" y="1142"/>
                  </a:lnTo>
                  <a:lnTo>
                    <a:pt x="1078" y="1140"/>
                  </a:lnTo>
                  <a:lnTo>
                    <a:pt x="1080" y="1134"/>
                  </a:lnTo>
                  <a:lnTo>
                    <a:pt x="1074" y="1134"/>
                  </a:lnTo>
                  <a:lnTo>
                    <a:pt x="1070" y="1138"/>
                  </a:lnTo>
                  <a:lnTo>
                    <a:pt x="1068" y="1132"/>
                  </a:lnTo>
                  <a:lnTo>
                    <a:pt x="1066" y="1128"/>
                  </a:lnTo>
                  <a:lnTo>
                    <a:pt x="1064" y="1128"/>
                  </a:lnTo>
                  <a:lnTo>
                    <a:pt x="1060" y="1132"/>
                  </a:lnTo>
                  <a:lnTo>
                    <a:pt x="1056" y="1134"/>
                  </a:lnTo>
                  <a:lnTo>
                    <a:pt x="1056" y="1138"/>
                  </a:lnTo>
                  <a:lnTo>
                    <a:pt x="1060" y="1138"/>
                  </a:lnTo>
                  <a:lnTo>
                    <a:pt x="1068" y="1140"/>
                  </a:lnTo>
                  <a:lnTo>
                    <a:pt x="1062" y="1142"/>
                  </a:lnTo>
                  <a:lnTo>
                    <a:pt x="1056" y="1142"/>
                  </a:lnTo>
                  <a:lnTo>
                    <a:pt x="1054" y="1142"/>
                  </a:lnTo>
                  <a:lnTo>
                    <a:pt x="1048" y="1144"/>
                  </a:lnTo>
                  <a:lnTo>
                    <a:pt x="1046" y="1142"/>
                  </a:lnTo>
                  <a:lnTo>
                    <a:pt x="1044" y="1144"/>
                  </a:lnTo>
                  <a:lnTo>
                    <a:pt x="1038" y="1148"/>
                  </a:lnTo>
                  <a:lnTo>
                    <a:pt x="1032" y="1152"/>
                  </a:lnTo>
                  <a:lnTo>
                    <a:pt x="1026" y="1158"/>
                  </a:lnTo>
                  <a:lnTo>
                    <a:pt x="1022" y="1160"/>
                  </a:lnTo>
                  <a:lnTo>
                    <a:pt x="1020" y="1160"/>
                  </a:lnTo>
                  <a:lnTo>
                    <a:pt x="1014" y="1162"/>
                  </a:lnTo>
                  <a:lnTo>
                    <a:pt x="1008" y="1164"/>
                  </a:lnTo>
                  <a:lnTo>
                    <a:pt x="1002" y="1166"/>
                  </a:lnTo>
                  <a:lnTo>
                    <a:pt x="996" y="1168"/>
                  </a:lnTo>
                  <a:lnTo>
                    <a:pt x="990" y="1172"/>
                  </a:lnTo>
                  <a:lnTo>
                    <a:pt x="988" y="1172"/>
                  </a:lnTo>
                  <a:lnTo>
                    <a:pt x="982" y="1176"/>
                  </a:lnTo>
                  <a:lnTo>
                    <a:pt x="976" y="1178"/>
                  </a:lnTo>
                  <a:lnTo>
                    <a:pt x="970" y="1178"/>
                  </a:lnTo>
                  <a:lnTo>
                    <a:pt x="964" y="1178"/>
                  </a:lnTo>
                  <a:lnTo>
                    <a:pt x="960" y="1182"/>
                  </a:lnTo>
                  <a:lnTo>
                    <a:pt x="954" y="1180"/>
                  </a:lnTo>
                  <a:lnTo>
                    <a:pt x="948" y="1178"/>
                  </a:lnTo>
                  <a:lnTo>
                    <a:pt x="942" y="1176"/>
                  </a:lnTo>
                  <a:lnTo>
                    <a:pt x="938" y="1174"/>
                  </a:lnTo>
                  <a:lnTo>
                    <a:pt x="932" y="1170"/>
                  </a:lnTo>
                  <a:lnTo>
                    <a:pt x="930" y="1170"/>
                  </a:lnTo>
                  <a:lnTo>
                    <a:pt x="924" y="1164"/>
                  </a:lnTo>
                  <a:lnTo>
                    <a:pt x="918" y="1162"/>
                  </a:lnTo>
                  <a:lnTo>
                    <a:pt x="912" y="1162"/>
                  </a:lnTo>
                  <a:lnTo>
                    <a:pt x="906" y="1162"/>
                  </a:lnTo>
                  <a:lnTo>
                    <a:pt x="900" y="1160"/>
                  </a:lnTo>
                  <a:lnTo>
                    <a:pt x="894" y="1160"/>
                  </a:lnTo>
                  <a:lnTo>
                    <a:pt x="888" y="1160"/>
                  </a:lnTo>
                  <a:lnTo>
                    <a:pt x="886" y="1160"/>
                  </a:lnTo>
                  <a:lnTo>
                    <a:pt x="880" y="1156"/>
                  </a:lnTo>
                  <a:lnTo>
                    <a:pt x="874" y="1150"/>
                  </a:lnTo>
                  <a:lnTo>
                    <a:pt x="874" y="1148"/>
                  </a:lnTo>
                  <a:lnTo>
                    <a:pt x="868" y="1144"/>
                  </a:lnTo>
                  <a:lnTo>
                    <a:pt x="862" y="1140"/>
                  </a:lnTo>
                  <a:lnTo>
                    <a:pt x="856" y="1140"/>
                  </a:lnTo>
                  <a:lnTo>
                    <a:pt x="850" y="1138"/>
                  </a:lnTo>
                  <a:lnTo>
                    <a:pt x="844" y="1136"/>
                  </a:lnTo>
                  <a:lnTo>
                    <a:pt x="840" y="1134"/>
                  </a:lnTo>
                  <a:lnTo>
                    <a:pt x="836" y="1128"/>
                  </a:lnTo>
                  <a:lnTo>
                    <a:pt x="834" y="1122"/>
                  </a:lnTo>
                  <a:lnTo>
                    <a:pt x="832" y="1122"/>
                  </a:lnTo>
                  <a:lnTo>
                    <a:pt x="828" y="1118"/>
                  </a:lnTo>
                  <a:lnTo>
                    <a:pt x="822" y="1118"/>
                  </a:lnTo>
                  <a:lnTo>
                    <a:pt x="818" y="1116"/>
                  </a:lnTo>
                  <a:lnTo>
                    <a:pt x="812" y="1114"/>
                  </a:lnTo>
                  <a:lnTo>
                    <a:pt x="806" y="1114"/>
                  </a:lnTo>
                  <a:lnTo>
                    <a:pt x="806" y="1112"/>
                  </a:lnTo>
                  <a:lnTo>
                    <a:pt x="800" y="1112"/>
                  </a:lnTo>
                  <a:lnTo>
                    <a:pt x="794" y="1110"/>
                  </a:lnTo>
                  <a:lnTo>
                    <a:pt x="788" y="1110"/>
                  </a:lnTo>
                  <a:lnTo>
                    <a:pt x="782" y="1108"/>
                  </a:lnTo>
                  <a:lnTo>
                    <a:pt x="776" y="1108"/>
                  </a:lnTo>
                  <a:lnTo>
                    <a:pt x="770" y="1104"/>
                  </a:lnTo>
                  <a:lnTo>
                    <a:pt x="768" y="1098"/>
                  </a:lnTo>
                  <a:lnTo>
                    <a:pt x="762" y="1094"/>
                  </a:lnTo>
                  <a:lnTo>
                    <a:pt x="760" y="1094"/>
                  </a:lnTo>
                  <a:lnTo>
                    <a:pt x="754" y="1090"/>
                  </a:lnTo>
                  <a:lnTo>
                    <a:pt x="748" y="1090"/>
                  </a:lnTo>
                  <a:lnTo>
                    <a:pt x="742" y="1086"/>
                  </a:lnTo>
                  <a:lnTo>
                    <a:pt x="736" y="1084"/>
                  </a:lnTo>
                  <a:lnTo>
                    <a:pt x="730" y="1080"/>
                  </a:lnTo>
                  <a:lnTo>
                    <a:pt x="724" y="1078"/>
                  </a:lnTo>
                  <a:lnTo>
                    <a:pt x="722" y="1078"/>
                  </a:lnTo>
                  <a:lnTo>
                    <a:pt x="716" y="1076"/>
                  </a:lnTo>
                  <a:lnTo>
                    <a:pt x="710" y="1074"/>
                  </a:lnTo>
                  <a:lnTo>
                    <a:pt x="704" y="1070"/>
                  </a:lnTo>
                  <a:lnTo>
                    <a:pt x="700" y="1064"/>
                  </a:lnTo>
                  <a:lnTo>
                    <a:pt x="692" y="1060"/>
                  </a:lnTo>
                  <a:lnTo>
                    <a:pt x="688" y="1054"/>
                  </a:lnTo>
                  <a:lnTo>
                    <a:pt x="686" y="1054"/>
                  </a:lnTo>
                  <a:lnTo>
                    <a:pt x="680" y="1052"/>
                  </a:lnTo>
                  <a:lnTo>
                    <a:pt x="678" y="1046"/>
                  </a:lnTo>
                  <a:lnTo>
                    <a:pt x="672" y="1044"/>
                  </a:lnTo>
                  <a:lnTo>
                    <a:pt x="668" y="1038"/>
                  </a:lnTo>
                  <a:lnTo>
                    <a:pt x="664" y="1032"/>
                  </a:lnTo>
                  <a:lnTo>
                    <a:pt x="662" y="1026"/>
                  </a:lnTo>
                  <a:lnTo>
                    <a:pt x="658" y="1024"/>
                  </a:lnTo>
                  <a:lnTo>
                    <a:pt x="652" y="1020"/>
                  </a:lnTo>
                  <a:lnTo>
                    <a:pt x="646" y="1020"/>
                  </a:lnTo>
                  <a:lnTo>
                    <a:pt x="640" y="1024"/>
                  </a:lnTo>
                  <a:lnTo>
                    <a:pt x="634" y="1022"/>
                  </a:lnTo>
                  <a:lnTo>
                    <a:pt x="628" y="1018"/>
                  </a:lnTo>
                  <a:lnTo>
                    <a:pt x="622" y="1016"/>
                  </a:lnTo>
                  <a:lnTo>
                    <a:pt x="618" y="1016"/>
                  </a:lnTo>
                  <a:lnTo>
                    <a:pt x="612" y="1014"/>
                  </a:lnTo>
                  <a:lnTo>
                    <a:pt x="606" y="1014"/>
                  </a:lnTo>
                  <a:lnTo>
                    <a:pt x="604" y="1012"/>
                  </a:lnTo>
                  <a:lnTo>
                    <a:pt x="598" y="1008"/>
                  </a:lnTo>
                  <a:lnTo>
                    <a:pt x="592" y="1006"/>
                  </a:lnTo>
                  <a:lnTo>
                    <a:pt x="592" y="1004"/>
                  </a:lnTo>
                  <a:lnTo>
                    <a:pt x="586" y="1004"/>
                  </a:lnTo>
                  <a:lnTo>
                    <a:pt x="580" y="1002"/>
                  </a:lnTo>
                  <a:lnTo>
                    <a:pt x="578" y="1000"/>
                  </a:lnTo>
                  <a:lnTo>
                    <a:pt x="574" y="1000"/>
                  </a:lnTo>
                  <a:lnTo>
                    <a:pt x="566" y="996"/>
                  </a:lnTo>
                  <a:lnTo>
                    <a:pt x="564" y="990"/>
                  </a:lnTo>
                  <a:lnTo>
                    <a:pt x="562" y="984"/>
                  </a:lnTo>
                  <a:lnTo>
                    <a:pt x="556" y="978"/>
                  </a:lnTo>
                  <a:lnTo>
                    <a:pt x="556" y="972"/>
                  </a:lnTo>
                  <a:lnTo>
                    <a:pt x="552" y="970"/>
                  </a:lnTo>
                  <a:lnTo>
                    <a:pt x="548" y="964"/>
                  </a:lnTo>
                  <a:lnTo>
                    <a:pt x="544" y="958"/>
                  </a:lnTo>
                  <a:lnTo>
                    <a:pt x="542" y="958"/>
                  </a:lnTo>
                  <a:lnTo>
                    <a:pt x="536" y="954"/>
                  </a:lnTo>
                  <a:lnTo>
                    <a:pt x="530" y="952"/>
                  </a:lnTo>
                  <a:lnTo>
                    <a:pt x="524" y="950"/>
                  </a:lnTo>
                  <a:lnTo>
                    <a:pt x="524" y="944"/>
                  </a:lnTo>
                  <a:lnTo>
                    <a:pt x="518" y="942"/>
                  </a:lnTo>
                  <a:lnTo>
                    <a:pt x="512" y="940"/>
                  </a:lnTo>
                  <a:lnTo>
                    <a:pt x="508" y="938"/>
                  </a:lnTo>
                  <a:lnTo>
                    <a:pt x="502" y="934"/>
                  </a:lnTo>
                  <a:lnTo>
                    <a:pt x="496" y="934"/>
                  </a:lnTo>
                  <a:lnTo>
                    <a:pt x="490" y="928"/>
                  </a:lnTo>
                  <a:lnTo>
                    <a:pt x="484" y="924"/>
                  </a:lnTo>
                  <a:lnTo>
                    <a:pt x="482" y="918"/>
                  </a:lnTo>
                  <a:lnTo>
                    <a:pt x="482" y="912"/>
                  </a:lnTo>
                  <a:lnTo>
                    <a:pt x="476" y="906"/>
                  </a:lnTo>
                  <a:lnTo>
                    <a:pt x="476" y="904"/>
                  </a:lnTo>
                  <a:lnTo>
                    <a:pt x="472" y="898"/>
                  </a:lnTo>
                  <a:lnTo>
                    <a:pt x="470" y="892"/>
                  </a:lnTo>
                  <a:lnTo>
                    <a:pt x="468" y="890"/>
                  </a:lnTo>
                  <a:lnTo>
                    <a:pt x="466" y="886"/>
                  </a:lnTo>
                  <a:lnTo>
                    <a:pt x="464" y="880"/>
                  </a:lnTo>
                  <a:lnTo>
                    <a:pt x="462" y="874"/>
                  </a:lnTo>
                  <a:lnTo>
                    <a:pt x="462" y="868"/>
                  </a:lnTo>
                  <a:lnTo>
                    <a:pt x="460" y="862"/>
                  </a:lnTo>
                  <a:lnTo>
                    <a:pt x="458" y="856"/>
                  </a:lnTo>
                  <a:lnTo>
                    <a:pt x="458" y="850"/>
                  </a:lnTo>
                  <a:lnTo>
                    <a:pt x="464" y="846"/>
                  </a:lnTo>
                  <a:lnTo>
                    <a:pt x="470" y="846"/>
                  </a:lnTo>
                  <a:lnTo>
                    <a:pt x="476" y="844"/>
                  </a:lnTo>
                  <a:lnTo>
                    <a:pt x="482" y="842"/>
                  </a:lnTo>
                  <a:lnTo>
                    <a:pt x="488" y="836"/>
                  </a:lnTo>
                  <a:lnTo>
                    <a:pt x="488" y="834"/>
                  </a:lnTo>
                  <a:lnTo>
                    <a:pt x="486" y="830"/>
                  </a:lnTo>
                  <a:lnTo>
                    <a:pt x="480" y="826"/>
                  </a:lnTo>
                  <a:lnTo>
                    <a:pt x="474" y="826"/>
                  </a:lnTo>
                  <a:lnTo>
                    <a:pt x="476" y="820"/>
                  </a:lnTo>
                  <a:lnTo>
                    <a:pt x="482" y="814"/>
                  </a:lnTo>
                  <a:lnTo>
                    <a:pt x="488" y="808"/>
                  </a:lnTo>
                  <a:lnTo>
                    <a:pt x="494" y="804"/>
                  </a:lnTo>
                  <a:lnTo>
                    <a:pt x="494" y="798"/>
                  </a:lnTo>
                  <a:lnTo>
                    <a:pt x="496" y="792"/>
                  </a:lnTo>
                  <a:lnTo>
                    <a:pt x="496" y="786"/>
                  </a:lnTo>
                  <a:lnTo>
                    <a:pt x="500" y="780"/>
                  </a:lnTo>
                  <a:lnTo>
                    <a:pt x="496" y="774"/>
                  </a:lnTo>
                  <a:lnTo>
                    <a:pt x="492" y="772"/>
                  </a:lnTo>
                  <a:lnTo>
                    <a:pt x="488" y="764"/>
                  </a:lnTo>
                  <a:lnTo>
                    <a:pt x="486" y="758"/>
                  </a:lnTo>
                  <a:lnTo>
                    <a:pt x="484" y="752"/>
                  </a:lnTo>
                  <a:lnTo>
                    <a:pt x="480" y="746"/>
                  </a:lnTo>
                  <a:lnTo>
                    <a:pt x="480" y="740"/>
                  </a:lnTo>
                  <a:lnTo>
                    <a:pt x="480" y="734"/>
                  </a:lnTo>
                  <a:lnTo>
                    <a:pt x="482" y="728"/>
                  </a:lnTo>
                  <a:lnTo>
                    <a:pt x="484" y="720"/>
                  </a:lnTo>
                  <a:lnTo>
                    <a:pt x="484" y="716"/>
                  </a:lnTo>
                  <a:lnTo>
                    <a:pt x="482" y="710"/>
                  </a:lnTo>
                  <a:lnTo>
                    <a:pt x="482" y="706"/>
                  </a:lnTo>
                  <a:lnTo>
                    <a:pt x="480" y="700"/>
                  </a:lnTo>
                  <a:lnTo>
                    <a:pt x="476" y="694"/>
                  </a:lnTo>
                  <a:lnTo>
                    <a:pt x="472" y="688"/>
                  </a:lnTo>
                  <a:lnTo>
                    <a:pt x="470" y="682"/>
                  </a:lnTo>
                  <a:lnTo>
                    <a:pt x="464" y="678"/>
                  </a:lnTo>
                  <a:lnTo>
                    <a:pt x="462" y="672"/>
                  </a:lnTo>
                  <a:lnTo>
                    <a:pt x="456" y="666"/>
                  </a:lnTo>
                  <a:lnTo>
                    <a:pt x="456" y="664"/>
                  </a:lnTo>
                  <a:lnTo>
                    <a:pt x="450" y="658"/>
                  </a:lnTo>
                  <a:lnTo>
                    <a:pt x="448" y="654"/>
                  </a:lnTo>
                  <a:lnTo>
                    <a:pt x="446" y="646"/>
                  </a:lnTo>
                  <a:lnTo>
                    <a:pt x="444" y="642"/>
                  </a:lnTo>
                  <a:lnTo>
                    <a:pt x="440" y="636"/>
                  </a:lnTo>
                  <a:lnTo>
                    <a:pt x="436" y="630"/>
                  </a:lnTo>
                  <a:lnTo>
                    <a:pt x="432" y="624"/>
                  </a:lnTo>
                  <a:lnTo>
                    <a:pt x="430" y="618"/>
                  </a:lnTo>
                  <a:lnTo>
                    <a:pt x="428" y="612"/>
                  </a:lnTo>
                  <a:lnTo>
                    <a:pt x="428" y="610"/>
                  </a:lnTo>
                  <a:lnTo>
                    <a:pt x="424" y="604"/>
                  </a:lnTo>
                  <a:lnTo>
                    <a:pt x="418" y="598"/>
                  </a:lnTo>
                  <a:lnTo>
                    <a:pt x="412" y="594"/>
                  </a:lnTo>
                  <a:lnTo>
                    <a:pt x="406" y="590"/>
                  </a:lnTo>
                  <a:lnTo>
                    <a:pt x="404" y="586"/>
                  </a:lnTo>
                  <a:lnTo>
                    <a:pt x="398" y="580"/>
                  </a:lnTo>
                  <a:lnTo>
                    <a:pt x="392" y="574"/>
                  </a:lnTo>
                  <a:lnTo>
                    <a:pt x="386" y="570"/>
                  </a:lnTo>
                  <a:lnTo>
                    <a:pt x="392" y="572"/>
                  </a:lnTo>
                  <a:lnTo>
                    <a:pt x="398" y="576"/>
                  </a:lnTo>
                  <a:lnTo>
                    <a:pt x="402" y="570"/>
                  </a:lnTo>
                  <a:lnTo>
                    <a:pt x="396" y="570"/>
                  </a:lnTo>
                  <a:lnTo>
                    <a:pt x="390" y="568"/>
                  </a:lnTo>
                  <a:lnTo>
                    <a:pt x="388" y="566"/>
                  </a:lnTo>
                  <a:lnTo>
                    <a:pt x="382" y="560"/>
                  </a:lnTo>
                  <a:lnTo>
                    <a:pt x="376" y="560"/>
                  </a:lnTo>
                  <a:lnTo>
                    <a:pt x="374" y="554"/>
                  </a:lnTo>
                  <a:lnTo>
                    <a:pt x="378" y="548"/>
                  </a:lnTo>
                  <a:lnTo>
                    <a:pt x="378" y="542"/>
                  </a:lnTo>
                  <a:lnTo>
                    <a:pt x="380" y="536"/>
                  </a:lnTo>
                  <a:lnTo>
                    <a:pt x="380" y="534"/>
                  </a:lnTo>
                  <a:lnTo>
                    <a:pt x="378" y="530"/>
                  </a:lnTo>
                  <a:lnTo>
                    <a:pt x="374" y="526"/>
                  </a:lnTo>
                  <a:lnTo>
                    <a:pt x="370" y="522"/>
                  </a:lnTo>
                  <a:lnTo>
                    <a:pt x="366" y="522"/>
                  </a:lnTo>
                  <a:lnTo>
                    <a:pt x="366" y="518"/>
                  </a:lnTo>
                  <a:lnTo>
                    <a:pt x="360" y="520"/>
                  </a:lnTo>
                  <a:lnTo>
                    <a:pt x="354" y="514"/>
                  </a:lnTo>
                  <a:lnTo>
                    <a:pt x="348" y="510"/>
                  </a:lnTo>
                  <a:lnTo>
                    <a:pt x="342" y="508"/>
                  </a:lnTo>
                  <a:lnTo>
                    <a:pt x="348" y="508"/>
                  </a:lnTo>
                  <a:lnTo>
                    <a:pt x="342" y="506"/>
                  </a:lnTo>
                  <a:lnTo>
                    <a:pt x="342" y="500"/>
                  </a:lnTo>
                  <a:lnTo>
                    <a:pt x="338" y="494"/>
                  </a:lnTo>
                  <a:lnTo>
                    <a:pt x="332" y="498"/>
                  </a:lnTo>
                  <a:lnTo>
                    <a:pt x="326" y="500"/>
                  </a:lnTo>
                  <a:lnTo>
                    <a:pt x="326" y="496"/>
                  </a:lnTo>
                  <a:lnTo>
                    <a:pt x="332" y="492"/>
                  </a:lnTo>
                  <a:lnTo>
                    <a:pt x="334" y="486"/>
                  </a:lnTo>
                  <a:lnTo>
                    <a:pt x="328" y="490"/>
                  </a:lnTo>
                  <a:lnTo>
                    <a:pt x="326" y="492"/>
                  </a:lnTo>
                  <a:lnTo>
                    <a:pt x="322" y="488"/>
                  </a:lnTo>
                  <a:lnTo>
                    <a:pt x="316" y="488"/>
                  </a:lnTo>
                  <a:lnTo>
                    <a:pt x="310" y="488"/>
                  </a:lnTo>
                  <a:lnTo>
                    <a:pt x="316" y="484"/>
                  </a:lnTo>
                  <a:lnTo>
                    <a:pt x="310" y="480"/>
                  </a:lnTo>
                  <a:lnTo>
                    <a:pt x="308" y="486"/>
                  </a:lnTo>
                  <a:lnTo>
                    <a:pt x="308" y="480"/>
                  </a:lnTo>
                  <a:lnTo>
                    <a:pt x="310" y="474"/>
                  </a:lnTo>
                  <a:lnTo>
                    <a:pt x="310" y="468"/>
                  </a:lnTo>
                  <a:lnTo>
                    <a:pt x="312" y="462"/>
                  </a:lnTo>
                  <a:lnTo>
                    <a:pt x="316" y="458"/>
                  </a:lnTo>
                  <a:lnTo>
                    <a:pt x="320" y="454"/>
                  </a:lnTo>
                  <a:lnTo>
                    <a:pt x="324" y="448"/>
                  </a:lnTo>
                  <a:lnTo>
                    <a:pt x="324" y="452"/>
                  </a:lnTo>
                  <a:lnTo>
                    <a:pt x="328" y="446"/>
                  </a:lnTo>
                  <a:lnTo>
                    <a:pt x="334" y="442"/>
                  </a:lnTo>
                  <a:lnTo>
                    <a:pt x="336" y="446"/>
                  </a:lnTo>
                  <a:lnTo>
                    <a:pt x="336" y="440"/>
                  </a:lnTo>
                  <a:lnTo>
                    <a:pt x="334" y="438"/>
                  </a:lnTo>
                  <a:lnTo>
                    <a:pt x="328" y="440"/>
                  </a:lnTo>
                  <a:lnTo>
                    <a:pt x="330" y="434"/>
                  </a:lnTo>
                  <a:lnTo>
                    <a:pt x="330" y="428"/>
                  </a:lnTo>
                  <a:lnTo>
                    <a:pt x="326" y="422"/>
                  </a:lnTo>
                  <a:lnTo>
                    <a:pt x="322" y="416"/>
                  </a:lnTo>
                  <a:lnTo>
                    <a:pt x="316" y="416"/>
                  </a:lnTo>
                  <a:lnTo>
                    <a:pt x="310" y="416"/>
                  </a:lnTo>
                  <a:lnTo>
                    <a:pt x="308" y="418"/>
                  </a:lnTo>
                  <a:lnTo>
                    <a:pt x="302" y="414"/>
                  </a:lnTo>
                  <a:lnTo>
                    <a:pt x="300" y="408"/>
                  </a:lnTo>
                  <a:lnTo>
                    <a:pt x="300" y="402"/>
                  </a:lnTo>
                  <a:lnTo>
                    <a:pt x="298" y="396"/>
                  </a:lnTo>
                  <a:lnTo>
                    <a:pt x="300" y="390"/>
                  </a:lnTo>
                  <a:lnTo>
                    <a:pt x="298" y="386"/>
                  </a:lnTo>
                  <a:lnTo>
                    <a:pt x="298" y="388"/>
                  </a:lnTo>
                  <a:lnTo>
                    <a:pt x="292" y="386"/>
                  </a:lnTo>
                  <a:lnTo>
                    <a:pt x="286" y="386"/>
                  </a:lnTo>
                  <a:lnTo>
                    <a:pt x="280" y="384"/>
                  </a:lnTo>
                  <a:lnTo>
                    <a:pt x="278" y="378"/>
                  </a:lnTo>
                  <a:lnTo>
                    <a:pt x="272" y="374"/>
                  </a:lnTo>
                  <a:lnTo>
                    <a:pt x="274" y="368"/>
                  </a:lnTo>
                  <a:lnTo>
                    <a:pt x="270" y="362"/>
                  </a:lnTo>
                  <a:lnTo>
                    <a:pt x="270" y="356"/>
                  </a:lnTo>
                  <a:lnTo>
                    <a:pt x="270" y="350"/>
                  </a:lnTo>
                  <a:lnTo>
                    <a:pt x="278" y="344"/>
                  </a:lnTo>
                  <a:lnTo>
                    <a:pt x="276" y="338"/>
                  </a:lnTo>
                  <a:lnTo>
                    <a:pt x="282" y="336"/>
                  </a:lnTo>
                  <a:lnTo>
                    <a:pt x="276" y="336"/>
                  </a:lnTo>
                  <a:lnTo>
                    <a:pt x="270" y="332"/>
                  </a:lnTo>
                  <a:lnTo>
                    <a:pt x="264" y="332"/>
                  </a:lnTo>
                  <a:lnTo>
                    <a:pt x="264" y="330"/>
                  </a:lnTo>
                  <a:lnTo>
                    <a:pt x="264" y="328"/>
                  </a:lnTo>
                  <a:lnTo>
                    <a:pt x="264" y="330"/>
                  </a:lnTo>
                  <a:lnTo>
                    <a:pt x="262" y="332"/>
                  </a:lnTo>
                  <a:lnTo>
                    <a:pt x="260" y="336"/>
                  </a:lnTo>
                  <a:lnTo>
                    <a:pt x="258" y="332"/>
                  </a:lnTo>
                  <a:lnTo>
                    <a:pt x="252" y="328"/>
                  </a:lnTo>
                  <a:lnTo>
                    <a:pt x="246" y="326"/>
                  </a:lnTo>
                  <a:lnTo>
                    <a:pt x="242" y="320"/>
                  </a:lnTo>
                  <a:lnTo>
                    <a:pt x="240" y="314"/>
                  </a:lnTo>
                  <a:lnTo>
                    <a:pt x="238" y="308"/>
                  </a:lnTo>
                  <a:lnTo>
                    <a:pt x="236" y="302"/>
                  </a:lnTo>
                  <a:lnTo>
                    <a:pt x="230" y="296"/>
                  </a:lnTo>
                  <a:lnTo>
                    <a:pt x="224" y="294"/>
                  </a:lnTo>
                  <a:lnTo>
                    <a:pt x="224" y="288"/>
                  </a:lnTo>
                  <a:lnTo>
                    <a:pt x="220" y="282"/>
                  </a:lnTo>
                  <a:lnTo>
                    <a:pt x="216" y="276"/>
                  </a:lnTo>
                  <a:lnTo>
                    <a:pt x="218" y="270"/>
                  </a:lnTo>
                  <a:lnTo>
                    <a:pt x="212" y="264"/>
                  </a:lnTo>
                  <a:lnTo>
                    <a:pt x="208" y="258"/>
                  </a:lnTo>
                  <a:lnTo>
                    <a:pt x="208" y="252"/>
                  </a:lnTo>
                  <a:lnTo>
                    <a:pt x="210" y="246"/>
                  </a:lnTo>
                  <a:lnTo>
                    <a:pt x="210" y="240"/>
                  </a:lnTo>
                  <a:lnTo>
                    <a:pt x="210" y="234"/>
                  </a:lnTo>
                  <a:lnTo>
                    <a:pt x="204" y="236"/>
                  </a:lnTo>
                  <a:lnTo>
                    <a:pt x="200" y="230"/>
                  </a:lnTo>
                  <a:lnTo>
                    <a:pt x="206" y="224"/>
                  </a:lnTo>
                  <a:lnTo>
                    <a:pt x="204" y="220"/>
                  </a:lnTo>
                  <a:lnTo>
                    <a:pt x="202" y="214"/>
                  </a:lnTo>
                  <a:lnTo>
                    <a:pt x="200" y="208"/>
                  </a:lnTo>
                  <a:lnTo>
                    <a:pt x="198" y="202"/>
                  </a:lnTo>
                  <a:lnTo>
                    <a:pt x="198" y="196"/>
                  </a:lnTo>
                  <a:lnTo>
                    <a:pt x="194" y="190"/>
                  </a:lnTo>
                  <a:lnTo>
                    <a:pt x="196" y="188"/>
                  </a:lnTo>
                  <a:lnTo>
                    <a:pt x="196" y="182"/>
                  </a:lnTo>
                  <a:lnTo>
                    <a:pt x="198" y="174"/>
                  </a:lnTo>
                  <a:lnTo>
                    <a:pt x="198" y="170"/>
                  </a:lnTo>
                  <a:lnTo>
                    <a:pt x="198" y="162"/>
                  </a:lnTo>
                  <a:lnTo>
                    <a:pt x="198" y="158"/>
                  </a:lnTo>
                  <a:lnTo>
                    <a:pt x="196" y="152"/>
                  </a:lnTo>
                  <a:lnTo>
                    <a:pt x="192" y="144"/>
                  </a:lnTo>
                  <a:lnTo>
                    <a:pt x="192" y="140"/>
                  </a:lnTo>
                  <a:lnTo>
                    <a:pt x="192" y="134"/>
                  </a:lnTo>
                  <a:lnTo>
                    <a:pt x="194" y="128"/>
                  </a:lnTo>
                  <a:lnTo>
                    <a:pt x="198" y="122"/>
                  </a:lnTo>
                  <a:lnTo>
                    <a:pt x="198" y="116"/>
                  </a:lnTo>
                  <a:lnTo>
                    <a:pt x="204" y="110"/>
                  </a:lnTo>
                  <a:lnTo>
                    <a:pt x="204" y="106"/>
                  </a:lnTo>
                  <a:lnTo>
                    <a:pt x="198" y="102"/>
                  </a:lnTo>
                  <a:lnTo>
                    <a:pt x="192" y="100"/>
                  </a:lnTo>
                  <a:lnTo>
                    <a:pt x="186" y="98"/>
                  </a:lnTo>
                  <a:lnTo>
                    <a:pt x="180" y="98"/>
                  </a:lnTo>
                  <a:lnTo>
                    <a:pt x="176" y="94"/>
                  </a:lnTo>
                  <a:lnTo>
                    <a:pt x="178" y="88"/>
                  </a:lnTo>
                  <a:lnTo>
                    <a:pt x="176" y="82"/>
                  </a:lnTo>
                  <a:lnTo>
                    <a:pt x="172" y="78"/>
                  </a:lnTo>
                  <a:lnTo>
                    <a:pt x="164" y="76"/>
                  </a:lnTo>
                  <a:lnTo>
                    <a:pt x="158" y="82"/>
                  </a:lnTo>
                  <a:lnTo>
                    <a:pt x="152" y="84"/>
                  </a:lnTo>
                  <a:lnTo>
                    <a:pt x="146" y="82"/>
                  </a:lnTo>
                  <a:lnTo>
                    <a:pt x="142" y="78"/>
                  </a:lnTo>
                  <a:lnTo>
                    <a:pt x="136" y="72"/>
                  </a:lnTo>
                  <a:lnTo>
                    <a:pt x="130" y="66"/>
                  </a:lnTo>
                  <a:lnTo>
                    <a:pt x="124" y="64"/>
                  </a:lnTo>
                  <a:lnTo>
                    <a:pt x="118" y="62"/>
                  </a:lnTo>
                  <a:lnTo>
                    <a:pt x="114" y="56"/>
                  </a:lnTo>
                  <a:lnTo>
                    <a:pt x="110" y="54"/>
                  </a:lnTo>
                  <a:lnTo>
                    <a:pt x="108" y="52"/>
                  </a:lnTo>
                  <a:lnTo>
                    <a:pt x="110" y="56"/>
                  </a:lnTo>
                  <a:lnTo>
                    <a:pt x="114" y="62"/>
                  </a:lnTo>
                  <a:lnTo>
                    <a:pt x="116" y="68"/>
                  </a:lnTo>
                  <a:lnTo>
                    <a:pt x="116" y="72"/>
                  </a:lnTo>
                  <a:lnTo>
                    <a:pt x="110" y="80"/>
                  </a:lnTo>
                  <a:lnTo>
                    <a:pt x="108" y="86"/>
                  </a:lnTo>
                  <a:lnTo>
                    <a:pt x="104" y="90"/>
                  </a:lnTo>
                  <a:lnTo>
                    <a:pt x="102" y="98"/>
                  </a:lnTo>
                  <a:lnTo>
                    <a:pt x="100" y="102"/>
                  </a:lnTo>
                  <a:lnTo>
                    <a:pt x="98" y="108"/>
                  </a:lnTo>
                  <a:lnTo>
                    <a:pt x="98" y="116"/>
                  </a:lnTo>
                  <a:lnTo>
                    <a:pt x="100" y="120"/>
                  </a:lnTo>
                  <a:lnTo>
                    <a:pt x="100" y="126"/>
                  </a:lnTo>
                  <a:lnTo>
                    <a:pt x="100" y="132"/>
                  </a:lnTo>
                  <a:lnTo>
                    <a:pt x="98" y="138"/>
                  </a:lnTo>
                  <a:lnTo>
                    <a:pt x="96" y="144"/>
                  </a:lnTo>
                  <a:lnTo>
                    <a:pt x="96" y="150"/>
                  </a:lnTo>
                  <a:lnTo>
                    <a:pt x="96" y="156"/>
                  </a:lnTo>
                  <a:lnTo>
                    <a:pt x="92" y="162"/>
                  </a:lnTo>
                  <a:lnTo>
                    <a:pt x="90" y="168"/>
                  </a:lnTo>
                  <a:lnTo>
                    <a:pt x="88" y="174"/>
                  </a:lnTo>
                  <a:lnTo>
                    <a:pt x="90" y="180"/>
                  </a:lnTo>
                  <a:lnTo>
                    <a:pt x="90" y="186"/>
                  </a:lnTo>
                  <a:lnTo>
                    <a:pt x="90" y="188"/>
                  </a:lnTo>
                  <a:lnTo>
                    <a:pt x="96" y="192"/>
                  </a:lnTo>
                  <a:lnTo>
                    <a:pt x="94" y="198"/>
                  </a:lnTo>
                  <a:lnTo>
                    <a:pt x="100" y="202"/>
                  </a:lnTo>
                  <a:lnTo>
                    <a:pt x="106" y="208"/>
                  </a:lnTo>
                  <a:lnTo>
                    <a:pt x="108" y="214"/>
                  </a:lnTo>
                  <a:lnTo>
                    <a:pt x="114" y="220"/>
                  </a:lnTo>
                  <a:lnTo>
                    <a:pt x="118" y="224"/>
                  </a:lnTo>
                  <a:lnTo>
                    <a:pt x="124" y="230"/>
                  </a:lnTo>
                  <a:lnTo>
                    <a:pt x="126" y="236"/>
                  </a:lnTo>
                  <a:lnTo>
                    <a:pt x="124" y="242"/>
                  </a:lnTo>
                  <a:lnTo>
                    <a:pt x="128" y="250"/>
                  </a:lnTo>
                  <a:lnTo>
                    <a:pt x="126" y="256"/>
                  </a:lnTo>
                  <a:lnTo>
                    <a:pt x="126" y="262"/>
                  </a:lnTo>
                  <a:lnTo>
                    <a:pt x="132" y="260"/>
                  </a:lnTo>
                  <a:lnTo>
                    <a:pt x="134" y="266"/>
                  </a:lnTo>
                  <a:lnTo>
                    <a:pt x="142" y="268"/>
                  </a:lnTo>
                  <a:lnTo>
                    <a:pt x="142" y="274"/>
                  </a:lnTo>
                  <a:lnTo>
                    <a:pt x="142" y="280"/>
                  </a:lnTo>
                  <a:lnTo>
                    <a:pt x="144" y="286"/>
                  </a:lnTo>
                  <a:lnTo>
                    <a:pt x="144" y="292"/>
                  </a:lnTo>
                  <a:lnTo>
                    <a:pt x="150" y="294"/>
                  </a:lnTo>
                  <a:lnTo>
                    <a:pt x="154" y="298"/>
                  </a:lnTo>
                  <a:lnTo>
                    <a:pt x="152" y="304"/>
                  </a:lnTo>
                  <a:lnTo>
                    <a:pt x="152" y="310"/>
                  </a:lnTo>
                  <a:lnTo>
                    <a:pt x="152" y="316"/>
                  </a:lnTo>
                  <a:lnTo>
                    <a:pt x="150" y="322"/>
                  </a:lnTo>
                  <a:lnTo>
                    <a:pt x="152" y="326"/>
                  </a:lnTo>
                  <a:lnTo>
                    <a:pt x="150" y="332"/>
                  </a:lnTo>
                  <a:lnTo>
                    <a:pt x="150" y="338"/>
                  </a:lnTo>
                  <a:lnTo>
                    <a:pt x="152" y="344"/>
                  </a:lnTo>
                  <a:lnTo>
                    <a:pt x="158" y="350"/>
                  </a:lnTo>
                  <a:lnTo>
                    <a:pt x="164" y="356"/>
                  </a:lnTo>
                  <a:lnTo>
                    <a:pt x="168" y="362"/>
                  </a:lnTo>
                  <a:lnTo>
                    <a:pt x="168" y="368"/>
                  </a:lnTo>
                  <a:lnTo>
                    <a:pt x="168" y="372"/>
                  </a:lnTo>
                  <a:lnTo>
                    <a:pt x="170" y="378"/>
                  </a:lnTo>
                  <a:lnTo>
                    <a:pt x="174" y="384"/>
                  </a:lnTo>
                  <a:lnTo>
                    <a:pt x="180" y="388"/>
                  </a:lnTo>
                  <a:lnTo>
                    <a:pt x="182" y="390"/>
                  </a:lnTo>
                  <a:lnTo>
                    <a:pt x="176" y="396"/>
                  </a:lnTo>
                  <a:lnTo>
                    <a:pt x="178" y="402"/>
                  </a:lnTo>
                  <a:lnTo>
                    <a:pt x="180" y="408"/>
                  </a:lnTo>
                  <a:lnTo>
                    <a:pt x="178" y="414"/>
                  </a:lnTo>
                  <a:lnTo>
                    <a:pt x="180" y="420"/>
                  </a:lnTo>
                  <a:lnTo>
                    <a:pt x="182" y="426"/>
                  </a:lnTo>
                  <a:lnTo>
                    <a:pt x="186" y="420"/>
                  </a:lnTo>
                  <a:lnTo>
                    <a:pt x="182" y="414"/>
                  </a:lnTo>
                  <a:lnTo>
                    <a:pt x="184" y="408"/>
                  </a:lnTo>
                  <a:lnTo>
                    <a:pt x="182" y="402"/>
                  </a:lnTo>
                  <a:lnTo>
                    <a:pt x="188" y="404"/>
                  </a:lnTo>
                  <a:lnTo>
                    <a:pt x="192" y="410"/>
                  </a:lnTo>
                  <a:lnTo>
                    <a:pt x="196" y="416"/>
                  </a:lnTo>
                  <a:lnTo>
                    <a:pt x="196" y="424"/>
                  </a:lnTo>
                  <a:lnTo>
                    <a:pt x="200" y="430"/>
                  </a:lnTo>
                  <a:lnTo>
                    <a:pt x="198" y="436"/>
                  </a:lnTo>
                  <a:lnTo>
                    <a:pt x="200" y="442"/>
                  </a:lnTo>
                  <a:lnTo>
                    <a:pt x="200" y="448"/>
                  </a:lnTo>
                  <a:lnTo>
                    <a:pt x="200" y="454"/>
                  </a:lnTo>
                  <a:lnTo>
                    <a:pt x="200" y="460"/>
                  </a:lnTo>
                  <a:lnTo>
                    <a:pt x="196" y="466"/>
                  </a:lnTo>
                  <a:lnTo>
                    <a:pt x="196" y="472"/>
                  </a:lnTo>
                  <a:lnTo>
                    <a:pt x="198" y="478"/>
                  </a:lnTo>
                  <a:lnTo>
                    <a:pt x="200" y="484"/>
                  </a:lnTo>
                  <a:lnTo>
                    <a:pt x="202" y="490"/>
                  </a:lnTo>
                  <a:lnTo>
                    <a:pt x="204" y="496"/>
                  </a:lnTo>
                  <a:lnTo>
                    <a:pt x="210" y="496"/>
                  </a:lnTo>
                  <a:lnTo>
                    <a:pt x="208" y="502"/>
                  </a:lnTo>
                  <a:lnTo>
                    <a:pt x="210" y="508"/>
                  </a:lnTo>
                  <a:lnTo>
                    <a:pt x="208" y="514"/>
                  </a:lnTo>
                  <a:lnTo>
                    <a:pt x="210" y="520"/>
                  </a:lnTo>
                  <a:lnTo>
                    <a:pt x="210" y="526"/>
                  </a:lnTo>
                  <a:lnTo>
                    <a:pt x="214" y="532"/>
                  </a:lnTo>
                  <a:lnTo>
                    <a:pt x="216" y="538"/>
                  </a:lnTo>
                  <a:lnTo>
                    <a:pt x="218" y="544"/>
                  </a:lnTo>
                  <a:lnTo>
                    <a:pt x="214" y="550"/>
                  </a:lnTo>
                  <a:lnTo>
                    <a:pt x="210" y="556"/>
                  </a:lnTo>
                  <a:lnTo>
                    <a:pt x="210" y="562"/>
                  </a:lnTo>
                  <a:lnTo>
                    <a:pt x="212" y="568"/>
                  </a:lnTo>
                  <a:lnTo>
                    <a:pt x="210" y="572"/>
                  </a:lnTo>
                  <a:lnTo>
                    <a:pt x="210" y="576"/>
                  </a:lnTo>
                  <a:lnTo>
                    <a:pt x="212" y="582"/>
                  </a:lnTo>
                  <a:lnTo>
                    <a:pt x="216" y="588"/>
                  </a:lnTo>
                  <a:lnTo>
                    <a:pt x="222" y="590"/>
                  </a:lnTo>
                  <a:lnTo>
                    <a:pt x="224" y="590"/>
                  </a:lnTo>
                  <a:lnTo>
                    <a:pt x="230" y="590"/>
                  </a:lnTo>
                  <a:lnTo>
                    <a:pt x="224" y="590"/>
                  </a:lnTo>
                  <a:lnTo>
                    <a:pt x="230" y="590"/>
                  </a:lnTo>
                  <a:lnTo>
                    <a:pt x="230" y="584"/>
                  </a:lnTo>
                  <a:lnTo>
                    <a:pt x="234" y="578"/>
                  </a:lnTo>
                  <a:lnTo>
                    <a:pt x="240" y="584"/>
                  </a:lnTo>
                  <a:lnTo>
                    <a:pt x="246" y="588"/>
                  </a:lnTo>
                  <a:lnTo>
                    <a:pt x="248" y="592"/>
                  </a:lnTo>
                  <a:lnTo>
                    <a:pt x="248" y="596"/>
                  </a:lnTo>
                  <a:lnTo>
                    <a:pt x="254" y="600"/>
                  </a:lnTo>
                  <a:lnTo>
                    <a:pt x="258" y="602"/>
                  </a:lnTo>
                  <a:lnTo>
                    <a:pt x="256" y="608"/>
                  </a:lnTo>
                  <a:lnTo>
                    <a:pt x="260" y="614"/>
                  </a:lnTo>
                  <a:lnTo>
                    <a:pt x="260" y="620"/>
                  </a:lnTo>
                  <a:lnTo>
                    <a:pt x="260" y="626"/>
                  </a:lnTo>
                  <a:lnTo>
                    <a:pt x="266" y="630"/>
                  </a:lnTo>
                  <a:lnTo>
                    <a:pt x="270" y="636"/>
                  </a:lnTo>
                  <a:lnTo>
                    <a:pt x="272" y="640"/>
                  </a:lnTo>
                  <a:lnTo>
                    <a:pt x="272" y="642"/>
                  </a:lnTo>
                  <a:lnTo>
                    <a:pt x="272" y="648"/>
                  </a:lnTo>
                  <a:lnTo>
                    <a:pt x="270" y="654"/>
                  </a:lnTo>
                  <a:lnTo>
                    <a:pt x="266" y="662"/>
                  </a:lnTo>
                  <a:lnTo>
                    <a:pt x="260" y="666"/>
                  </a:lnTo>
                  <a:lnTo>
                    <a:pt x="254" y="666"/>
                  </a:lnTo>
                  <a:lnTo>
                    <a:pt x="248" y="672"/>
                  </a:lnTo>
                  <a:lnTo>
                    <a:pt x="242" y="676"/>
                  </a:lnTo>
                  <a:lnTo>
                    <a:pt x="238" y="678"/>
                  </a:lnTo>
                  <a:lnTo>
                    <a:pt x="232" y="678"/>
                  </a:lnTo>
                  <a:lnTo>
                    <a:pt x="230" y="676"/>
                  </a:lnTo>
                  <a:lnTo>
                    <a:pt x="228" y="670"/>
                  </a:lnTo>
                  <a:lnTo>
                    <a:pt x="228" y="666"/>
                  </a:lnTo>
                  <a:lnTo>
                    <a:pt x="228" y="660"/>
                  </a:lnTo>
                  <a:lnTo>
                    <a:pt x="228" y="652"/>
                  </a:lnTo>
                  <a:lnTo>
                    <a:pt x="226" y="646"/>
                  </a:lnTo>
                  <a:lnTo>
                    <a:pt x="224" y="640"/>
                  </a:lnTo>
                  <a:lnTo>
                    <a:pt x="222" y="634"/>
                  </a:lnTo>
                  <a:lnTo>
                    <a:pt x="216" y="628"/>
                  </a:lnTo>
                  <a:lnTo>
                    <a:pt x="210" y="626"/>
                  </a:lnTo>
                  <a:lnTo>
                    <a:pt x="204" y="620"/>
                  </a:lnTo>
                  <a:lnTo>
                    <a:pt x="200" y="614"/>
                  </a:lnTo>
                  <a:lnTo>
                    <a:pt x="196" y="608"/>
                  </a:lnTo>
                  <a:lnTo>
                    <a:pt x="192" y="602"/>
                  </a:lnTo>
                  <a:lnTo>
                    <a:pt x="188" y="598"/>
                  </a:lnTo>
                  <a:lnTo>
                    <a:pt x="188" y="596"/>
                  </a:lnTo>
                  <a:lnTo>
                    <a:pt x="182" y="592"/>
                  </a:lnTo>
                  <a:lnTo>
                    <a:pt x="176" y="588"/>
                  </a:lnTo>
                  <a:lnTo>
                    <a:pt x="170" y="584"/>
                  </a:lnTo>
                  <a:lnTo>
                    <a:pt x="164" y="578"/>
                  </a:lnTo>
                  <a:lnTo>
                    <a:pt x="158" y="572"/>
                  </a:lnTo>
                  <a:lnTo>
                    <a:pt x="156" y="570"/>
                  </a:lnTo>
                  <a:lnTo>
                    <a:pt x="152" y="564"/>
                  </a:lnTo>
                  <a:lnTo>
                    <a:pt x="146" y="562"/>
                  </a:lnTo>
                  <a:lnTo>
                    <a:pt x="144" y="556"/>
                  </a:lnTo>
                  <a:lnTo>
                    <a:pt x="138" y="552"/>
                  </a:lnTo>
                  <a:lnTo>
                    <a:pt x="134" y="546"/>
                  </a:lnTo>
                  <a:lnTo>
                    <a:pt x="134" y="540"/>
                  </a:lnTo>
                  <a:lnTo>
                    <a:pt x="134" y="534"/>
                  </a:lnTo>
                  <a:lnTo>
                    <a:pt x="132" y="540"/>
                  </a:lnTo>
                  <a:lnTo>
                    <a:pt x="130" y="546"/>
                  </a:lnTo>
                  <a:lnTo>
                    <a:pt x="130" y="540"/>
                  </a:lnTo>
                  <a:lnTo>
                    <a:pt x="132" y="534"/>
                  </a:lnTo>
                  <a:lnTo>
                    <a:pt x="136" y="528"/>
                  </a:lnTo>
                  <a:lnTo>
                    <a:pt x="134" y="526"/>
                  </a:lnTo>
                  <a:lnTo>
                    <a:pt x="138" y="520"/>
                  </a:lnTo>
                  <a:lnTo>
                    <a:pt x="138" y="518"/>
                  </a:lnTo>
                  <a:lnTo>
                    <a:pt x="142" y="512"/>
                  </a:lnTo>
                  <a:lnTo>
                    <a:pt x="144" y="506"/>
                  </a:lnTo>
                  <a:lnTo>
                    <a:pt x="146" y="500"/>
                  </a:lnTo>
                  <a:lnTo>
                    <a:pt x="146" y="494"/>
                  </a:lnTo>
                  <a:lnTo>
                    <a:pt x="150" y="488"/>
                  </a:lnTo>
                  <a:lnTo>
                    <a:pt x="150" y="482"/>
                  </a:lnTo>
                  <a:lnTo>
                    <a:pt x="148" y="476"/>
                  </a:lnTo>
                  <a:lnTo>
                    <a:pt x="148" y="470"/>
                  </a:lnTo>
                  <a:lnTo>
                    <a:pt x="146" y="464"/>
                  </a:lnTo>
                  <a:lnTo>
                    <a:pt x="146" y="462"/>
                  </a:lnTo>
                  <a:lnTo>
                    <a:pt x="142" y="456"/>
                  </a:lnTo>
                  <a:lnTo>
                    <a:pt x="140" y="450"/>
                  </a:lnTo>
                  <a:lnTo>
                    <a:pt x="138" y="448"/>
                  </a:lnTo>
                  <a:lnTo>
                    <a:pt x="132" y="446"/>
                  </a:lnTo>
                  <a:lnTo>
                    <a:pt x="126" y="442"/>
                  </a:lnTo>
                  <a:lnTo>
                    <a:pt x="120" y="438"/>
                  </a:lnTo>
                  <a:lnTo>
                    <a:pt x="116" y="432"/>
                  </a:lnTo>
                  <a:lnTo>
                    <a:pt x="110" y="426"/>
                  </a:lnTo>
                  <a:lnTo>
                    <a:pt x="108" y="420"/>
                  </a:lnTo>
                  <a:lnTo>
                    <a:pt x="106" y="414"/>
                  </a:lnTo>
                  <a:lnTo>
                    <a:pt x="104" y="408"/>
                  </a:lnTo>
                  <a:lnTo>
                    <a:pt x="108" y="402"/>
                  </a:lnTo>
                  <a:lnTo>
                    <a:pt x="108" y="396"/>
                  </a:lnTo>
                  <a:lnTo>
                    <a:pt x="104" y="400"/>
                  </a:lnTo>
                  <a:lnTo>
                    <a:pt x="102" y="406"/>
                  </a:lnTo>
                  <a:lnTo>
                    <a:pt x="98" y="412"/>
                  </a:lnTo>
                  <a:lnTo>
                    <a:pt x="92" y="410"/>
                  </a:lnTo>
                  <a:lnTo>
                    <a:pt x="86" y="410"/>
                  </a:lnTo>
                  <a:lnTo>
                    <a:pt x="80" y="414"/>
                  </a:lnTo>
                  <a:lnTo>
                    <a:pt x="74" y="412"/>
                  </a:lnTo>
                  <a:lnTo>
                    <a:pt x="72" y="404"/>
                  </a:lnTo>
                  <a:lnTo>
                    <a:pt x="68" y="398"/>
                  </a:lnTo>
                  <a:lnTo>
                    <a:pt x="62" y="396"/>
                  </a:lnTo>
                  <a:lnTo>
                    <a:pt x="56" y="392"/>
                  </a:lnTo>
                  <a:lnTo>
                    <a:pt x="54" y="386"/>
                  </a:lnTo>
                  <a:lnTo>
                    <a:pt x="48" y="384"/>
                  </a:lnTo>
                  <a:lnTo>
                    <a:pt x="42" y="382"/>
                  </a:lnTo>
                  <a:lnTo>
                    <a:pt x="36" y="378"/>
                  </a:lnTo>
                  <a:lnTo>
                    <a:pt x="36" y="374"/>
                  </a:lnTo>
                  <a:lnTo>
                    <a:pt x="36" y="368"/>
                  </a:lnTo>
                  <a:lnTo>
                    <a:pt x="32" y="362"/>
                  </a:lnTo>
                  <a:lnTo>
                    <a:pt x="26" y="358"/>
                  </a:lnTo>
                  <a:lnTo>
                    <a:pt x="24" y="352"/>
                  </a:lnTo>
                  <a:lnTo>
                    <a:pt x="18" y="350"/>
                  </a:lnTo>
                  <a:lnTo>
                    <a:pt x="14" y="344"/>
                  </a:lnTo>
                  <a:lnTo>
                    <a:pt x="12" y="338"/>
                  </a:lnTo>
                  <a:lnTo>
                    <a:pt x="18" y="338"/>
                  </a:lnTo>
                  <a:lnTo>
                    <a:pt x="24" y="338"/>
                  </a:lnTo>
                  <a:lnTo>
                    <a:pt x="30" y="340"/>
                  </a:lnTo>
                  <a:lnTo>
                    <a:pt x="36" y="342"/>
                  </a:lnTo>
                  <a:lnTo>
                    <a:pt x="42" y="340"/>
                  </a:lnTo>
                  <a:lnTo>
                    <a:pt x="48" y="340"/>
                  </a:lnTo>
                  <a:lnTo>
                    <a:pt x="56" y="336"/>
                  </a:lnTo>
                  <a:lnTo>
                    <a:pt x="56" y="342"/>
                  </a:lnTo>
                  <a:lnTo>
                    <a:pt x="62" y="348"/>
                  </a:lnTo>
                  <a:lnTo>
                    <a:pt x="68" y="350"/>
                  </a:lnTo>
                  <a:lnTo>
                    <a:pt x="74" y="350"/>
                  </a:lnTo>
                  <a:lnTo>
                    <a:pt x="76" y="356"/>
                  </a:lnTo>
                  <a:lnTo>
                    <a:pt x="74" y="362"/>
                  </a:lnTo>
                  <a:lnTo>
                    <a:pt x="78" y="356"/>
                  </a:lnTo>
                  <a:lnTo>
                    <a:pt x="78" y="350"/>
                  </a:lnTo>
                  <a:lnTo>
                    <a:pt x="80" y="344"/>
                  </a:lnTo>
                  <a:lnTo>
                    <a:pt x="82" y="338"/>
                  </a:lnTo>
                  <a:lnTo>
                    <a:pt x="76" y="332"/>
                  </a:lnTo>
                  <a:lnTo>
                    <a:pt x="76" y="338"/>
                  </a:lnTo>
                  <a:lnTo>
                    <a:pt x="74" y="344"/>
                  </a:lnTo>
                  <a:lnTo>
                    <a:pt x="68" y="346"/>
                  </a:lnTo>
                  <a:lnTo>
                    <a:pt x="64" y="340"/>
                  </a:lnTo>
                  <a:lnTo>
                    <a:pt x="68" y="336"/>
                  </a:lnTo>
                  <a:lnTo>
                    <a:pt x="68" y="330"/>
                  </a:lnTo>
                  <a:lnTo>
                    <a:pt x="62" y="334"/>
                  </a:lnTo>
                  <a:lnTo>
                    <a:pt x="66" y="326"/>
                  </a:lnTo>
                  <a:lnTo>
                    <a:pt x="68" y="326"/>
                  </a:lnTo>
                  <a:lnTo>
                    <a:pt x="74" y="320"/>
                  </a:lnTo>
                  <a:lnTo>
                    <a:pt x="78" y="314"/>
                  </a:lnTo>
                  <a:lnTo>
                    <a:pt x="78" y="306"/>
                  </a:lnTo>
                  <a:lnTo>
                    <a:pt x="82" y="300"/>
                  </a:lnTo>
                  <a:lnTo>
                    <a:pt x="86" y="294"/>
                  </a:lnTo>
                  <a:lnTo>
                    <a:pt x="84" y="288"/>
                  </a:lnTo>
                  <a:lnTo>
                    <a:pt x="82" y="286"/>
                  </a:lnTo>
                  <a:lnTo>
                    <a:pt x="80" y="280"/>
                  </a:lnTo>
                  <a:lnTo>
                    <a:pt x="74" y="276"/>
                  </a:lnTo>
                  <a:lnTo>
                    <a:pt x="74" y="270"/>
                  </a:lnTo>
                  <a:lnTo>
                    <a:pt x="72" y="264"/>
                  </a:lnTo>
                  <a:lnTo>
                    <a:pt x="66" y="260"/>
                  </a:lnTo>
                  <a:lnTo>
                    <a:pt x="66" y="252"/>
                  </a:lnTo>
                  <a:lnTo>
                    <a:pt x="60" y="246"/>
                  </a:lnTo>
                  <a:lnTo>
                    <a:pt x="56" y="242"/>
                  </a:lnTo>
                  <a:lnTo>
                    <a:pt x="54" y="234"/>
                  </a:lnTo>
                  <a:lnTo>
                    <a:pt x="52" y="232"/>
                  </a:lnTo>
                  <a:lnTo>
                    <a:pt x="46" y="228"/>
                  </a:lnTo>
                  <a:lnTo>
                    <a:pt x="40" y="228"/>
                  </a:lnTo>
                  <a:lnTo>
                    <a:pt x="40" y="226"/>
                  </a:lnTo>
                  <a:lnTo>
                    <a:pt x="36" y="222"/>
                  </a:lnTo>
                  <a:lnTo>
                    <a:pt x="30" y="218"/>
                  </a:lnTo>
                  <a:lnTo>
                    <a:pt x="24" y="212"/>
                  </a:lnTo>
                  <a:lnTo>
                    <a:pt x="22" y="208"/>
                  </a:lnTo>
                  <a:lnTo>
                    <a:pt x="18" y="206"/>
                  </a:lnTo>
                  <a:lnTo>
                    <a:pt x="18" y="200"/>
                  </a:lnTo>
                  <a:lnTo>
                    <a:pt x="18" y="194"/>
                  </a:lnTo>
                  <a:lnTo>
                    <a:pt x="16" y="188"/>
                  </a:lnTo>
                  <a:lnTo>
                    <a:pt x="18" y="182"/>
                  </a:lnTo>
                  <a:lnTo>
                    <a:pt x="20" y="174"/>
                  </a:lnTo>
                  <a:lnTo>
                    <a:pt x="22" y="170"/>
                  </a:lnTo>
                  <a:lnTo>
                    <a:pt x="22" y="164"/>
                  </a:lnTo>
                  <a:lnTo>
                    <a:pt x="16" y="160"/>
                  </a:lnTo>
                  <a:lnTo>
                    <a:pt x="18" y="156"/>
                  </a:lnTo>
                  <a:lnTo>
                    <a:pt x="14" y="162"/>
                  </a:lnTo>
                  <a:lnTo>
                    <a:pt x="12" y="156"/>
                  </a:lnTo>
                  <a:lnTo>
                    <a:pt x="14" y="150"/>
                  </a:lnTo>
                  <a:lnTo>
                    <a:pt x="18" y="144"/>
                  </a:lnTo>
                  <a:lnTo>
                    <a:pt x="18" y="138"/>
                  </a:lnTo>
                  <a:lnTo>
                    <a:pt x="20" y="132"/>
                  </a:lnTo>
                  <a:lnTo>
                    <a:pt x="14" y="126"/>
                  </a:lnTo>
                  <a:lnTo>
                    <a:pt x="8" y="120"/>
                  </a:lnTo>
                  <a:lnTo>
                    <a:pt x="12" y="114"/>
                  </a:lnTo>
                  <a:lnTo>
                    <a:pt x="14" y="108"/>
                  </a:lnTo>
                  <a:lnTo>
                    <a:pt x="14" y="104"/>
                  </a:lnTo>
                  <a:lnTo>
                    <a:pt x="12" y="98"/>
                  </a:lnTo>
                  <a:lnTo>
                    <a:pt x="10" y="92"/>
                  </a:lnTo>
                  <a:lnTo>
                    <a:pt x="6" y="86"/>
                  </a:lnTo>
                  <a:lnTo>
                    <a:pt x="4" y="82"/>
                  </a:lnTo>
                  <a:lnTo>
                    <a:pt x="6" y="76"/>
                  </a:lnTo>
                  <a:lnTo>
                    <a:pt x="8" y="68"/>
                  </a:lnTo>
                  <a:lnTo>
                    <a:pt x="14" y="64"/>
                  </a:lnTo>
                  <a:lnTo>
                    <a:pt x="10" y="58"/>
                  </a:lnTo>
                  <a:lnTo>
                    <a:pt x="8" y="52"/>
                  </a:lnTo>
                  <a:lnTo>
                    <a:pt x="4" y="46"/>
                  </a:lnTo>
                  <a:lnTo>
                    <a:pt x="6" y="40"/>
                  </a:lnTo>
                  <a:lnTo>
                    <a:pt x="6" y="34"/>
                  </a:lnTo>
                  <a:lnTo>
                    <a:pt x="2" y="28"/>
                  </a:lnTo>
                  <a:lnTo>
                    <a:pt x="0" y="22"/>
                  </a:lnTo>
                  <a:lnTo>
                    <a:pt x="0" y="16"/>
                  </a:lnTo>
                  <a:lnTo>
                    <a:pt x="2" y="1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3" name="Freeform 261"/>
            <p:cNvSpPr>
              <a:spLocks/>
            </p:cNvSpPr>
            <p:nvPr/>
          </p:nvSpPr>
          <p:spPr bwMode="auto">
            <a:xfrm>
              <a:off x="2173288" y="3973513"/>
              <a:ext cx="144462" cy="66675"/>
            </a:xfrm>
            <a:custGeom>
              <a:avLst/>
              <a:gdLst>
                <a:gd name="T0" fmla="*/ 2147483647 w 354"/>
                <a:gd name="T1" fmla="*/ 2147483647 h 164"/>
                <a:gd name="T2" fmla="*/ 2147483647 w 354"/>
                <a:gd name="T3" fmla="*/ 2147483647 h 164"/>
                <a:gd name="T4" fmla="*/ 2147483647 w 354"/>
                <a:gd name="T5" fmla="*/ 2147483647 h 164"/>
                <a:gd name="T6" fmla="*/ 2147483647 w 354"/>
                <a:gd name="T7" fmla="*/ 2147483647 h 164"/>
                <a:gd name="T8" fmla="*/ 2147483647 w 354"/>
                <a:gd name="T9" fmla="*/ 2147483647 h 164"/>
                <a:gd name="T10" fmla="*/ 2147483647 w 354"/>
                <a:gd name="T11" fmla="*/ 2147483647 h 164"/>
                <a:gd name="T12" fmla="*/ 2147483647 w 354"/>
                <a:gd name="T13" fmla="*/ 2147483647 h 164"/>
                <a:gd name="T14" fmla="*/ 2147483647 w 354"/>
                <a:gd name="T15" fmla="*/ 2147483647 h 164"/>
                <a:gd name="T16" fmla="*/ 2147483647 w 354"/>
                <a:gd name="T17" fmla="*/ 2147483647 h 164"/>
                <a:gd name="T18" fmla="*/ 2147483647 w 354"/>
                <a:gd name="T19" fmla="*/ 2147483647 h 164"/>
                <a:gd name="T20" fmla="*/ 2147483647 w 354"/>
                <a:gd name="T21" fmla="*/ 2147483647 h 164"/>
                <a:gd name="T22" fmla="*/ 2147483647 w 354"/>
                <a:gd name="T23" fmla="*/ 2147483647 h 164"/>
                <a:gd name="T24" fmla="*/ 2147483647 w 354"/>
                <a:gd name="T25" fmla="*/ 2147483647 h 164"/>
                <a:gd name="T26" fmla="*/ 2147483647 w 354"/>
                <a:gd name="T27" fmla="*/ 2147483647 h 164"/>
                <a:gd name="T28" fmla="*/ 2147483647 w 354"/>
                <a:gd name="T29" fmla="*/ 2147483647 h 164"/>
                <a:gd name="T30" fmla="*/ 2147483647 w 354"/>
                <a:gd name="T31" fmla="*/ 2147483647 h 164"/>
                <a:gd name="T32" fmla="*/ 2147483647 w 354"/>
                <a:gd name="T33" fmla="*/ 2147483647 h 164"/>
                <a:gd name="T34" fmla="*/ 2147483647 w 354"/>
                <a:gd name="T35" fmla="*/ 2147483647 h 164"/>
                <a:gd name="T36" fmla="*/ 2147483647 w 354"/>
                <a:gd name="T37" fmla="*/ 2147483647 h 164"/>
                <a:gd name="T38" fmla="*/ 2147483647 w 354"/>
                <a:gd name="T39" fmla="*/ 2147483647 h 164"/>
                <a:gd name="T40" fmla="*/ 2147483647 w 354"/>
                <a:gd name="T41" fmla="*/ 2147483647 h 164"/>
                <a:gd name="T42" fmla="*/ 2147483647 w 354"/>
                <a:gd name="T43" fmla="*/ 2147483647 h 164"/>
                <a:gd name="T44" fmla="*/ 2147483647 w 354"/>
                <a:gd name="T45" fmla="*/ 2147483647 h 164"/>
                <a:gd name="T46" fmla="*/ 2147483647 w 354"/>
                <a:gd name="T47" fmla="*/ 2147483647 h 164"/>
                <a:gd name="T48" fmla="*/ 2147483647 w 354"/>
                <a:gd name="T49" fmla="*/ 2147483647 h 164"/>
                <a:gd name="T50" fmla="*/ 2147483647 w 354"/>
                <a:gd name="T51" fmla="*/ 2147483647 h 164"/>
                <a:gd name="T52" fmla="*/ 2147483647 w 354"/>
                <a:gd name="T53" fmla="*/ 2147483647 h 164"/>
                <a:gd name="T54" fmla="*/ 2147483647 w 354"/>
                <a:gd name="T55" fmla="*/ 2147483647 h 164"/>
                <a:gd name="T56" fmla="*/ 2147483647 w 354"/>
                <a:gd name="T57" fmla="*/ 2147483647 h 164"/>
                <a:gd name="T58" fmla="*/ 2147483647 w 354"/>
                <a:gd name="T59" fmla="*/ 2147483647 h 164"/>
                <a:gd name="T60" fmla="*/ 2147483647 w 354"/>
                <a:gd name="T61" fmla="*/ 2147483647 h 164"/>
                <a:gd name="T62" fmla="*/ 2147483647 w 354"/>
                <a:gd name="T63" fmla="*/ 2147483647 h 164"/>
                <a:gd name="T64" fmla="*/ 2147483647 w 354"/>
                <a:gd name="T65" fmla="*/ 2147483647 h 164"/>
                <a:gd name="T66" fmla="*/ 2147483647 w 354"/>
                <a:gd name="T67" fmla="*/ 2147483647 h 164"/>
                <a:gd name="T68" fmla="*/ 2147483647 w 354"/>
                <a:gd name="T69" fmla="*/ 2147483647 h 164"/>
                <a:gd name="T70" fmla="*/ 2147483647 w 354"/>
                <a:gd name="T71" fmla="*/ 2147483647 h 164"/>
                <a:gd name="T72" fmla="*/ 2147483647 w 354"/>
                <a:gd name="T73" fmla="*/ 2147483647 h 164"/>
                <a:gd name="T74" fmla="*/ 2147483647 w 354"/>
                <a:gd name="T75" fmla="*/ 2147483647 h 164"/>
                <a:gd name="T76" fmla="*/ 2147483647 w 354"/>
                <a:gd name="T77" fmla="*/ 2147483647 h 164"/>
                <a:gd name="T78" fmla="*/ 2147483647 w 354"/>
                <a:gd name="T79" fmla="*/ 2147483647 h 164"/>
                <a:gd name="T80" fmla="*/ 2147483647 w 354"/>
                <a:gd name="T81" fmla="*/ 2147483647 h 164"/>
                <a:gd name="T82" fmla="*/ 2147483647 w 354"/>
                <a:gd name="T83" fmla="*/ 2147483647 h 164"/>
                <a:gd name="T84" fmla="*/ 2147483647 w 354"/>
                <a:gd name="T85" fmla="*/ 2147483647 h 164"/>
                <a:gd name="T86" fmla="*/ 2147483647 w 354"/>
                <a:gd name="T87" fmla="*/ 2147483647 h 164"/>
                <a:gd name="T88" fmla="*/ 2147483647 w 354"/>
                <a:gd name="T89" fmla="*/ 2147483647 h 164"/>
                <a:gd name="T90" fmla="*/ 2147483647 w 354"/>
                <a:gd name="T91" fmla="*/ 2147483647 h 164"/>
                <a:gd name="T92" fmla="*/ 2147483647 w 354"/>
                <a:gd name="T93" fmla="*/ 2147483647 h 164"/>
                <a:gd name="T94" fmla="*/ 2147483647 w 354"/>
                <a:gd name="T95" fmla="*/ 2147483647 h 164"/>
                <a:gd name="T96" fmla="*/ 2147483647 w 354"/>
                <a:gd name="T97" fmla="*/ 2147483647 h 164"/>
                <a:gd name="T98" fmla="*/ 2147483647 w 354"/>
                <a:gd name="T99" fmla="*/ 2147483647 h 164"/>
                <a:gd name="T100" fmla="*/ 2147483647 w 354"/>
                <a:gd name="T101" fmla="*/ 2147483647 h 164"/>
                <a:gd name="T102" fmla="*/ 2147483647 w 354"/>
                <a:gd name="T103" fmla="*/ 2147483647 h 164"/>
                <a:gd name="T104" fmla="*/ 2147483647 w 354"/>
                <a:gd name="T105" fmla="*/ 2147483647 h 164"/>
                <a:gd name="T106" fmla="*/ 2147483647 w 354"/>
                <a:gd name="T107" fmla="*/ 2147483647 h 164"/>
                <a:gd name="T108" fmla="*/ 2147483647 w 354"/>
                <a:gd name="T109" fmla="*/ 2147483647 h 1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354"/>
                <a:gd name="T166" fmla="*/ 0 h 164"/>
                <a:gd name="T167" fmla="*/ 354 w 354"/>
                <a:gd name="T168" fmla="*/ 164 h 1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354" h="164">
                  <a:moveTo>
                    <a:pt x="2" y="90"/>
                  </a:moveTo>
                  <a:lnTo>
                    <a:pt x="0" y="90"/>
                  </a:lnTo>
                  <a:lnTo>
                    <a:pt x="2" y="86"/>
                  </a:lnTo>
                  <a:lnTo>
                    <a:pt x="6" y="82"/>
                  </a:lnTo>
                  <a:lnTo>
                    <a:pt x="10" y="78"/>
                  </a:lnTo>
                  <a:lnTo>
                    <a:pt x="12" y="78"/>
                  </a:lnTo>
                  <a:lnTo>
                    <a:pt x="12" y="76"/>
                  </a:lnTo>
                  <a:lnTo>
                    <a:pt x="12" y="72"/>
                  </a:lnTo>
                  <a:lnTo>
                    <a:pt x="12" y="70"/>
                  </a:lnTo>
                  <a:lnTo>
                    <a:pt x="10" y="64"/>
                  </a:lnTo>
                  <a:lnTo>
                    <a:pt x="8" y="56"/>
                  </a:lnTo>
                  <a:lnTo>
                    <a:pt x="14" y="52"/>
                  </a:lnTo>
                  <a:lnTo>
                    <a:pt x="14" y="50"/>
                  </a:lnTo>
                  <a:lnTo>
                    <a:pt x="20" y="48"/>
                  </a:lnTo>
                  <a:lnTo>
                    <a:pt x="20" y="44"/>
                  </a:lnTo>
                  <a:lnTo>
                    <a:pt x="14" y="38"/>
                  </a:lnTo>
                  <a:lnTo>
                    <a:pt x="8" y="36"/>
                  </a:lnTo>
                  <a:lnTo>
                    <a:pt x="8" y="34"/>
                  </a:lnTo>
                  <a:lnTo>
                    <a:pt x="8" y="30"/>
                  </a:lnTo>
                  <a:lnTo>
                    <a:pt x="8" y="24"/>
                  </a:lnTo>
                  <a:lnTo>
                    <a:pt x="8" y="18"/>
                  </a:lnTo>
                  <a:lnTo>
                    <a:pt x="10" y="12"/>
                  </a:lnTo>
                  <a:lnTo>
                    <a:pt x="14" y="6"/>
                  </a:lnTo>
                  <a:lnTo>
                    <a:pt x="16" y="6"/>
                  </a:lnTo>
                  <a:lnTo>
                    <a:pt x="14" y="2"/>
                  </a:lnTo>
                  <a:lnTo>
                    <a:pt x="20" y="0"/>
                  </a:lnTo>
                  <a:lnTo>
                    <a:pt x="24" y="6"/>
                  </a:lnTo>
                  <a:lnTo>
                    <a:pt x="30" y="6"/>
                  </a:lnTo>
                  <a:lnTo>
                    <a:pt x="32" y="2"/>
                  </a:lnTo>
                  <a:lnTo>
                    <a:pt x="38" y="8"/>
                  </a:lnTo>
                  <a:lnTo>
                    <a:pt x="40" y="10"/>
                  </a:lnTo>
                  <a:lnTo>
                    <a:pt x="44" y="14"/>
                  </a:lnTo>
                  <a:lnTo>
                    <a:pt x="44" y="20"/>
                  </a:lnTo>
                  <a:lnTo>
                    <a:pt x="44" y="26"/>
                  </a:lnTo>
                  <a:lnTo>
                    <a:pt x="50" y="28"/>
                  </a:lnTo>
                  <a:lnTo>
                    <a:pt x="48" y="34"/>
                  </a:lnTo>
                  <a:lnTo>
                    <a:pt x="48" y="40"/>
                  </a:lnTo>
                  <a:lnTo>
                    <a:pt x="54" y="42"/>
                  </a:lnTo>
                  <a:lnTo>
                    <a:pt x="60" y="46"/>
                  </a:lnTo>
                  <a:lnTo>
                    <a:pt x="66" y="46"/>
                  </a:lnTo>
                  <a:lnTo>
                    <a:pt x="72" y="44"/>
                  </a:lnTo>
                  <a:lnTo>
                    <a:pt x="78" y="44"/>
                  </a:lnTo>
                  <a:lnTo>
                    <a:pt x="74" y="40"/>
                  </a:lnTo>
                  <a:lnTo>
                    <a:pt x="70" y="34"/>
                  </a:lnTo>
                  <a:lnTo>
                    <a:pt x="76" y="32"/>
                  </a:lnTo>
                  <a:lnTo>
                    <a:pt x="76" y="36"/>
                  </a:lnTo>
                  <a:lnTo>
                    <a:pt x="82" y="42"/>
                  </a:lnTo>
                  <a:lnTo>
                    <a:pt x="86" y="48"/>
                  </a:lnTo>
                  <a:lnTo>
                    <a:pt x="90" y="52"/>
                  </a:lnTo>
                  <a:lnTo>
                    <a:pt x="96" y="54"/>
                  </a:lnTo>
                  <a:lnTo>
                    <a:pt x="102" y="56"/>
                  </a:lnTo>
                  <a:lnTo>
                    <a:pt x="108" y="56"/>
                  </a:lnTo>
                  <a:lnTo>
                    <a:pt x="112" y="56"/>
                  </a:lnTo>
                  <a:lnTo>
                    <a:pt x="116" y="56"/>
                  </a:lnTo>
                  <a:lnTo>
                    <a:pt x="122" y="54"/>
                  </a:lnTo>
                  <a:lnTo>
                    <a:pt x="128" y="50"/>
                  </a:lnTo>
                  <a:lnTo>
                    <a:pt x="132" y="50"/>
                  </a:lnTo>
                  <a:lnTo>
                    <a:pt x="138" y="44"/>
                  </a:lnTo>
                  <a:lnTo>
                    <a:pt x="144" y="40"/>
                  </a:lnTo>
                  <a:lnTo>
                    <a:pt x="150" y="36"/>
                  </a:lnTo>
                  <a:lnTo>
                    <a:pt x="152" y="36"/>
                  </a:lnTo>
                  <a:lnTo>
                    <a:pt x="158" y="34"/>
                  </a:lnTo>
                  <a:lnTo>
                    <a:pt x="164" y="32"/>
                  </a:lnTo>
                  <a:lnTo>
                    <a:pt x="170" y="30"/>
                  </a:lnTo>
                  <a:lnTo>
                    <a:pt x="176" y="28"/>
                  </a:lnTo>
                  <a:lnTo>
                    <a:pt x="182" y="26"/>
                  </a:lnTo>
                  <a:lnTo>
                    <a:pt x="186" y="20"/>
                  </a:lnTo>
                  <a:lnTo>
                    <a:pt x="188" y="20"/>
                  </a:lnTo>
                  <a:lnTo>
                    <a:pt x="192" y="20"/>
                  </a:lnTo>
                  <a:lnTo>
                    <a:pt x="194" y="18"/>
                  </a:lnTo>
                  <a:lnTo>
                    <a:pt x="194" y="16"/>
                  </a:lnTo>
                  <a:lnTo>
                    <a:pt x="194" y="18"/>
                  </a:lnTo>
                  <a:lnTo>
                    <a:pt x="198" y="14"/>
                  </a:lnTo>
                  <a:lnTo>
                    <a:pt x="204" y="10"/>
                  </a:lnTo>
                  <a:lnTo>
                    <a:pt x="208" y="4"/>
                  </a:lnTo>
                  <a:lnTo>
                    <a:pt x="214" y="0"/>
                  </a:lnTo>
                  <a:lnTo>
                    <a:pt x="220" y="2"/>
                  </a:lnTo>
                  <a:lnTo>
                    <a:pt x="226" y="2"/>
                  </a:lnTo>
                  <a:lnTo>
                    <a:pt x="230" y="2"/>
                  </a:lnTo>
                  <a:lnTo>
                    <a:pt x="236" y="4"/>
                  </a:lnTo>
                  <a:lnTo>
                    <a:pt x="242" y="4"/>
                  </a:lnTo>
                  <a:lnTo>
                    <a:pt x="244" y="4"/>
                  </a:lnTo>
                  <a:lnTo>
                    <a:pt x="250" y="2"/>
                  </a:lnTo>
                  <a:lnTo>
                    <a:pt x="248" y="4"/>
                  </a:lnTo>
                  <a:lnTo>
                    <a:pt x="246" y="10"/>
                  </a:lnTo>
                  <a:lnTo>
                    <a:pt x="252" y="10"/>
                  </a:lnTo>
                  <a:lnTo>
                    <a:pt x="256" y="12"/>
                  </a:lnTo>
                  <a:lnTo>
                    <a:pt x="262" y="10"/>
                  </a:lnTo>
                  <a:lnTo>
                    <a:pt x="268" y="12"/>
                  </a:lnTo>
                  <a:lnTo>
                    <a:pt x="274" y="12"/>
                  </a:lnTo>
                  <a:lnTo>
                    <a:pt x="280" y="12"/>
                  </a:lnTo>
                  <a:lnTo>
                    <a:pt x="286" y="16"/>
                  </a:lnTo>
                  <a:lnTo>
                    <a:pt x="292" y="20"/>
                  </a:lnTo>
                  <a:lnTo>
                    <a:pt x="298" y="22"/>
                  </a:lnTo>
                  <a:lnTo>
                    <a:pt x="304" y="24"/>
                  </a:lnTo>
                  <a:lnTo>
                    <a:pt x="308" y="26"/>
                  </a:lnTo>
                  <a:lnTo>
                    <a:pt x="312" y="32"/>
                  </a:lnTo>
                  <a:lnTo>
                    <a:pt x="316" y="38"/>
                  </a:lnTo>
                  <a:lnTo>
                    <a:pt x="322" y="42"/>
                  </a:lnTo>
                  <a:lnTo>
                    <a:pt x="324" y="48"/>
                  </a:lnTo>
                  <a:lnTo>
                    <a:pt x="330" y="54"/>
                  </a:lnTo>
                  <a:lnTo>
                    <a:pt x="336" y="56"/>
                  </a:lnTo>
                  <a:lnTo>
                    <a:pt x="336" y="62"/>
                  </a:lnTo>
                  <a:lnTo>
                    <a:pt x="342" y="64"/>
                  </a:lnTo>
                  <a:lnTo>
                    <a:pt x="346" y="64"/>
                  </a:lnTo>
                  <a:lnTo>
                    <a:pt x="342" y="70"/>
                  </a:lnTo>
                  <a:lnTo>
                    <a:pt x="340" y="70"/>
                  </a:lnTo>
                  <a:lnTo>
                    <a:pt x="338" y="76"/>
                  </a:lnTo>
                  <a:lnTo>
                    <a:pt x="344" y="82"/>
                  </a:lnTo>
                  <a:lnTo>
                    <a:pt x="344" y="88"/>
                  </a:lnTo>
                  <a:lnTo>
                    <a:pt x="348" y="94"/>
                  </a:lnTo>
                  <a:lnTo>
                    <a:pt x="350" y="100"/>
                  </a:lnTo>
                  <a:lnTo>
                    <a:pt x="352" y="106"/>
                  </a:lnTo>
                  <a:lnTo>
                    <a:pt x="354" y="112"/>
                  </a:lnTo>
                  <a:lnTo>
                    <a:pt x="348" y="116"/>
                  </a:lnTo>
                  <a:lnTo>
                    <a:pt x="344" y="122"/>
                  </a:lnTo>
                  <a:lnTo>
                    <a:pt x="342" y="128"/>
                  </a:lnTo>
                  <a:lnTo>
                    <a:pt x="344" y="128"/>
                  </a:lnTo>
                  <a:lnTo>
                    <a:pt x="338" y="134"/>
                  </a:lnTo>
                  <a:lnTo>
                    <a:pt x="332" y="138"/>
                  </a:lnTo>
                  <a:lnTo>
                    <a:pt x="328" y="142"/>
                  </a:lnTo>
                  <a:lnTo>
                    <a:pt x="324" y="136"/>
                  </a:lnTo>
                  <a:lnTo>
                    <a:pt x="320" y="130"/>
                  </a:lnTo>
                  <a:lnTo>
                    <a:pt x="318" y="136"/>
                  </a:lnTo>
                  <a:lnTo>
                    <a:pt x="320" y="142"/>
                  </a:lnTo>
                  <a:lnTo>
                    <a:pt x="318" y="146"/>
                  </a:lnTo>
                  <a:lnTo>
                    <a:pt x="312" y="150"/>
                  </a:lnTo>
                  <a:lnTo>
                    <a:pt x="310" y="156"/>
                  </a:lnTo>
                  <a:lnTo>
                    <a:pt x="310" y="158"/>
                  </a:lnTo>
                  <a:lnTo>
                    <a:pt x="308" y="164"/>
                  </a:lnTo>
                  <a:lnTo>
                    <a:pt x="302" y="158"/>
                  </a:lnTo>
                  <a:lnTo>
                    <a:pt x="300" y="152"/>
                  </a:lnTo>
                  <a:lnTo>
                    <a:pt x="294" y="146"/>
                  </a:lnTo>
                  <a:lnTo>
                    <a:pt x="292" y="140"/>
                  </a:lnTo>
                  <a:lnTo>
                    <a:pt x="288" y="134"/>
                  </a:lnTo>
                  <a:lnTo>
                    <a:pt x="286" y="128"/>
                  </a:lnTo>
                  <a:lnTo>
                    <a:pt x="284" y="122"/>
                  </a:lnTo>
                  <a:lnTo>
                    <a:pt x="280" y="116"/>
                  </a:lnTo>
                  <a:lnTo>
                    <a:pt x="278" y="112"/>
                  </a:lnTo>
                  <a:lnTo>
                    <a:pt x="278" y="106"/>
                  </a:lnTo>
                  <a:lnTo>
                    <a:pt x="284" y="106"/>
                  </a:lnTo>
                  <a:lnTo>
                    <a:pt x="288" y="104"/>
                  </a:lnTo>
                  <a:lnTo>
                    <a:pt x="290" y="98"/>
                  </a:lnTo>
                  <a:lnTo>
                    <a:pt x="290" y="92"/>
                  </a:lnTo>
                  <a:lnTo>
                    <a:pt x="294" y="86"/>
                  </a:lnTo>
                  <a:lnTo>
                    <a:pt x="300" y="86"/>
                  </a:lnTo>
                  <a:lnTo>
                    <a:pt x="304" y="92"/>
                  </a:lnTo>
                  <a:lnTo>
                    <a:pt x="310" y="96"/>
                  </a:lnTo>
                  <a:lnTo>
                    <a:pt x="316" y="100"/>
                  </a:lnTo>
                  <a:lnTo>
                    <a:pt x="320" y="102"/>
                  </a:lnTo>
                  <a:lnTo>
                    <a:pt x="314" y="96"/>
                  </a:lnTo>
                  <a:lnTo>
                    <a:pt x="308" y="92"/>
                  </a:lnTo>
                  <a:lnTo>
                    <a:pt x="302" y="88"/>
                  </a:lnTo>
                  <a:lnTo>
                    <a:pt x="302" y="82"/>
                  </a:lnTo>
                  <a:lnTo>
                    <a:pt x="300" y="76"/>
                  </a:lnTo>
                  <a:lnTo>
                    <a:pt x="298" y="72"/>
                  </a:lnTo>
                  <a:lnTo>
                    <a:pt x="298" y="78"/>
                  </a:lnTo>
                  <a:lnTo>
                    <a:pt x="294" y="82"/>
                  </a:lnTo>
                  <a:lnTo>
                    <a:pt x="294" y="76"/>
                  </a:lnTo>
                  <a:lnTo>
                    <a:pt x="288" y="80"/>
                  </a:lnTo>
                  <a:lnTo>
                    <a:pt x="282" y="74"/>
                  </a:lnTo>
                  <a:lnTo>
                    <a:pt x="282" y="72"/>
                  </a:lnTo>
                  <a:lnTo>
                    <a:pt x="282" y="78"/>
                  </a:lnTo>
                  <a:lnTo>
                    <a:pt x="282" y="84"/>
                  </a:lnTo>
                  <a:lnTo>
                    <a:pt x="282" y="86"/>
                  </a:lnTo>
                  <a:lnTo>
                    <a:pt x="278" y="80"/>
                  </a:lnTo>
                  <a:lnTo>
                    <a:pt x="276" y="74"/>
                  </a:lnTo>
                  <a:lnTo>
                    <a:pt x="276" y="68"/>
                  </a:lnTo>
                  <a:lnTo>
                    <a:pt x="270" y="64"/>
                  </a:lnTo>
                  <a:lnTo>
                    <a:pt x="270" y="58"/>
                  </a:lnTo>
                  <a:lnTo>
                    <a:pt x="264" y="58"/>
                  </a:lnTo>
                  <a:lnTo>
                    <a:pt x="260" y="52"/>
                  </a:lnTo>
                  <a:lnTo>
                    <a:pt x="260" y="50"/>
                  </a:lnTo>
                  <a:lnTo>
                    <a:pt x="254" y="48"/>
                  </a:lnTo>
                  <a:lnTo>
                    <a:pt x="248" y="44"/>
                  </a:lnTo>
                  <a:lnTo>
                    <a:pt x="242" y="42"/>
                  </a:lnTo>
                  <a:lnTo>
                    <a:pt x="242" y="38"/>
                  </a:lnTo>
                  <a:lnTo>
                    <a:pt x="236" y="40"/>
                  </a:lnTo>
                  <a:lnTo>
                    <a:pt x="230" y="40"/>
                  </a:lnTo>
                  <a:lnTo>
                    <a:pt x="224" y="40"/>
                  </a:lnTo>
                  <a:lnTo>
                    <a:pt x="218" y="40"/>
                  </a:lnTo>
                  <a:lnTo>
                    <a:pt x="214" y="46"/>
                  </a:lnTo>
                  <a:lnTo>
                    <a:pt x="212" y="44"/>
                  </a:lnTo>
                  <a:lnTo>
                    <a:pt x="212" y="46"/>
                  </a:lnTo>
                  <a:lnTo>
                    <a:pt x="210" y="48"/>
                  </a:lnTo>
                  <a:lnTo>
                    <a:pt x="204" y="50"/>
                  </a:lnTo>
                  <a:lnTo>
                    <a:pt x="200" y="56"/>
                  </a:lnTo>
                  <a:lnTo>
                    <a:pt x="200" y="62"/>
                  </a:lnTo>
                  <a:lnTo>
                    <a:pt x="198" y="68"/>
                  </a:lnTo>
                  <a:lnTo>
                    <a:pt x="194" y="72"/>
                  </a:lnTo>
                  <a:lnTo>
                    <a:pt x="188" y="76"/>
                  </a:lnTo>
                  <a:lnTo>
                    <a:pt x="184" y="80"/>
                  </a:lnTo>
                  <a:lnTo>
                    <a:pt x="182" y="82"/>
                  </a:lnTo>
                  <a:lnTo>
                    <a:pt x="176" y="86"/>
                  </a:lnTo>
                  <a:lnTo>
                    <a:pt x="170" y="90"/>
                  </a:lnTo>
                  <a:lnTo>
                    <a:pt x="164" y="90"/>
                  </a:lnTo>
                  <a:lnTo>
                    <a:pt x="160" y="90"/>
                  </a:lnTo>
                  <a:lnTo>
                    <a:pt x="160" y="88"/>
                  </a:lnTo>
                  <a:lnTo>
                    <a:pt x="156" y="94"/>
                  </a:lnTo>
                  <a:lnTo>
                    <a:pt x="154" y="100"/>
                  </a:lnTo>
                  <a:lnTo>
                    <a:pt x="154" y="104"/>
                  </a:lnTo>
                  <a:lnTo>
                    <a:pt x="158" y="110"/>
                  </a:lnTo>
                  <a:lnTo>
                    <a:pt x="162" y="116"/>
                  </a:lnTo>
                  <a:lnTo>
                    <a:pt x="168" y="122"/>
                  </a:lnTo>
                  <a:lnTo>
                    <a:pt x="172" y="128"/>
                  </a:lnTo>
                  <a:lnTo>
                    <a:pt x="176" y="134"/>
                  </a:lnTo>
                  <a:lnTo>
                    <a:pt x="180" y="140"/>
                  </a:lnTo>
                  <a:lnTo>
                    <a:pt x="180" y="142"/>
                  </a:lnTo>
                  <a:lnTo>
                    <a:pt x="180" y="146"/>
                  </a:lnTo>
                  <a:lnTo>
                    <a:pt x="174" y="150"/>
                  </a:lnTo>
                  <a:lnTo>
                    <a:pt x="168" y="150"/>
                  </a:lnTo>
                  <a:lnTo>
                    <a:pt x="164" y="150"/>
                  </a:lnTo>
                  <a:lnTo>
                    <a:pt x="158" y="154"/>
                  </a:lnTo>
                  <a:lnTo>
                    <a:pt x="156" y="158"/>
                  </a:lnTo>
                  <a:lnTo>
                    <a:pt x="150" y="162"/>
                  </a:lnTo>
                  <a:lnTo>
                    <a:pt x="146" y="162"/>
                  </a:lnTo>
                  <a:lnTo>
                    <a:pt x="140" y="162"/>
                  </a:lnTo>
                  <a:lnTo>
                    <a:pt x="134" y="164"/>
                  </a:lnTo>
                  <a:lnTo>
                    <a:pt x="130" y="164"/>
                  </a:lnTo>
                  <a:lnTo>
                    <a:pt x="124" y="162"/>
                  </a:lnTo>
                  <a:lnTo>
                    <a:pt x="126" y="156"/>
                  </a:lnTo>
                  <a:lnTo>
                    <a:pt x="126" y="154"/>
                  </a:lnTo>
                  <a:lnTo>
                    <a:pt x="124" y="148"/>
                  </a:lnTo>
                  <a:lnTo>
                    <a:pt x="122" y="142"/>
                  </a:lnTo>
                  <a:lnTo>
                    <a:pt x="120" y="136"/>
                  </a:lnTo>
                  <a:lnTo>
                    <a:pt x="118" y="130"/>
                  </a:lnTo>
                  <a:lnTo>
                    <a:pt x="118" y="128"/>
                  </a:lnTo>
                  <a:lnTo>
                    <a:pt x="120" y="122"/>
                  </a:lnTo>
                  <a:lnTo>
                    <a:pt x="118" y="116"/>
                  </a:lnTo>
                  <a:lnTo>
                    <a:pt x="112" y="120"/>
                  </a:lnTo>
                  <a:lnTo>
                    <a:pt x="108" y="118"/>
                  </a:lnTo>
                  <a:lnTo>
                    <a:pt x="110" y="124"/>
                  </a:lnTo>
                  <a:lnTo>
                    <a:pt x="108" y="128"/>
                  </a:lnTo>
                  <a:lnTo>
                    <a:pt x="108" y="134"/>
                  </a:lnTo>
                  <a:lnTo>
                    <a:pt x="106" y="138"/>
                  </a:lnTo>
                  <a:lnTo>
                    <a:pt x="100" y="134"/>
                  </a:lnTo>
                  <a:lnTo>
                    <a:pt x="94" y="132"/>
                  </a:lnTo>
                  <a:lnTo>
                    <a:pt x="88" y="130"/>
                  </a:lnTo>
                  <a:lnTo>
                    <a:pt x="86" y="124"/>
                  </a:lnTo>
                  <a:lnTo>
                    <a:pt x="84" y="120"/>
                  </a:lnTo>
                  <a:lnTo>
                    <a:pt x="84" y="116"/>
                  </a:lnTo>
                  <a:lnTo>
                    <a:pt x="84" y="112"/>
                  </a:lnTo>
                  <a:lnTo>
                    <a:pt x="80" y="108"/>
                  </a:lnTo>
                  <a:lnTo>
                    <a:pt x="78" y="102"/>
                  </a:lnTo>
                  <a:lnTo>
                    <a:pt x="74" y="100"/>
                  </a:lnTo>
                  <a:lnTo>
                    <a:pt x="68" y="98"/>
                  </a:lnTo>
                  <a:lnTo>
                    <a:pt x="66" y="94"/>
                  </a:lnTo>
                  <a:lnTo>
                    <a:pt x="60" y="96"/>
                  </a:lnTo>
                  <a:lnTo>
                    <a:pt x="54" y="96"/>
                  </a:lnTo>
                  <a:lnTo>
                    <a:pt x="52" y="98"/>
                  </a:lnTo>
                  <a:lnTo>
                    <a:pt x="48" y="92"/>
                  </a:lnTo>
                  <a:lnTo>
                    <a:pt x="44" y="86"/>
                  </a:lnTo>
                  <a:lnTo>
                    <a:pt x="38" y="90"/>
                  </a:lnTo>
                  <a:lnTo>
                    <a:pt x="36" y="88"/>
                  </a:lnTo>
                  <a:lnTo>
                    <a:pt x="36" y="86"/>
                  </a:lnTo>
                  <a:lnTo>
                    <a:pt x="30" y="90"/>
                  </a:lnTo>
                  <a:lnTo>
                    <a:pt x="24" y="88"/>
                  </a:lnTo>
                  <a:lnTo>
                    <a:pt x="20" y="88"/>
                  </a:lnTo>
                  <a:lnTo>
                    <a:pt x="14" y="90"/>
                  </a:lnTo>
                  <a:lnTo>
                    <a:pt x="12" y="90"/>
                  </a:lnTo>
                  <a:lnTo>
                    <a:pt x="8" y="96"/>
                  </a:lnTo>
                  <a:lnTo>
                    <a:pt x="8" y="102"/>
                  </a:lnTo>
                  <a:lnTo>
                    <a:pt x="8" y="108"/>
                  </a:lnTo>
                  <a:lnTo>
                    <a:pt x="6" y="108"/>
                  </a:lnTo>
                  <a:lnTo>
                    <a:pt x="6" y="102"/>
                  </a:lnTo>
                  <a:lnTo>
                    <a:pt x="6" y="96"/>
                  </a:lnTo>
                  <a:lnTo>
                    <a:pt x="2" y="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4" name="Freeform 262"/>
            <p:cNvSpPr>
              <a:spLocks/>
            </p:cNvSpPr>
            <p:nvPr/>
          </p:nvSpPr>
          <p:spPr bwMode="auto">
            <a:xfrm>
              <a:off x="2511425" y="4522788"/>
              <a:ext cx="312738" cy="374650"/>
            </a:xfrm>
            <a:custGeom>
              <a:avLst/>
              <a:gdLst>
                <a:gd name="T0" fmla="*/ 2147483647 w 770"/>
                <a:gd name="T1" fmla="*/ 2147483647 h 914"/>
                <a:gd name="T2" fmla="*/ 2147483647 w 770"/>
                <a:gd name="T3" fmla="*/ 2147483647 h 914"/>
                <a:gd name="T4" fmla="*/ 2147483647 w 770"/>
                <a:gd name="T5" fmla="*/ 2147483647 h 914"/>
                <a:gd name="T6" fmla="*/ 2147483647 w 770"/>
                <a:gd name="T7" fmla="*/ 2147483647 h 914"/>
                <a:gd name="T8" fmla="*/ 2147483647 w 770"/>
                <a:gd name="T9" fmla="*/ 2147483647 h 914"/>
                <a:gd name="T10" fmla="*/ 2147483647 w 770"/>
                <a:gd name="T11" fmla="*/ 2147483647 h 914"/>
                <a:gd name="T12" fmla="*/ 2147483647 w 770"/>
                <a:gd name="T13" fmla="*/ 2147483647 h 914"/>
                <a:gd name="T14" fmla="*/ 2147483647 w 770"/>
                <a:gd name="T15" fmla="*/ 2147483647 h 914"/>
                <a:gd name="T16" fmla="*/ 2147483647 w 770"/>
                <a:gd name="T17" fmla="*/ 2147483647 h 914"/>
                <a:gd name="T18" fmla="*/ 2147483647 w 770"/>
                <a:gd name="T19" fmla="*/ 2147483647 h 914"/>
                <a:gd name="T20" fmla="*/ 2147483647 w 770"/>
                <a:gd name="T21" fmla="*/ 2147483647 h 914"/>
                <a:gd name="T22" fmla="*/ 2147483647 w 770"/>
                <a:gd name="T23" fmla="*/ 2147483647 h 914"/>
                <a:gd name="T24" fmla="*/ 2147483647 w 770"/>
                <a:gd name="T25" fmla="*/ 2147483647 h 914"/>
                <a:gd name="T26" fmla="*/ 2147483647 w 770"/>
                <a:gd name="T27" fmla="*/ 2147483647 h 914"/>
                <a:gd name="T28" fmla="*/ 2147483647 w 770"/>
                <a:gd name="T29" fmla="*/ 2147483647 h 914"/>
                <a:gd name="T30" fmla="*/ 2147483647 w 770"/>
                <a:gd name="T31" fmla="*/ 2147483647 h 914"/>
                <a:gd name="T32" fmla="*/ 2147483647 w 770"/>
                <a:gd name="T33" fmla="*/ 2147483647 h 914"/>
                <a:gd name="T34" fmla="*/ 2147483647 w 770"/>
                <a:gd name="T35" fmla="*/ 2147483647 h 914"/>
                <a:gd name="T36" fmla="*/ 2147483647 w 770"/>
                <a:gd name="T37" fmla="*/ 2147483647 h 914"/>
                <a:gd name="T38" fmla="*/ 2147483647 w 770"/>
                <a:gd name="T39" fmla="*/ 2147483647 h 914"/>
                <a:gd name="T40" fmla="*/ 2147483647 w 770"/>
                <a:gd name="T41" fmla="*/ 2147483647 h 914"/>
                <a:gd name="T42" fmla="*/ 2147483647 w 770"/>
                <a:gd name="T43" fmla="*/ 2147483647 h 914"/>
                <a:gd name="T44" fmla="*/ 2147483647 w 770"/>
                <a:gd name="T45" fmla="*/ 2147483647 h 914"/>
                <a:gd name="T46" fmla="*/ 2147483647 w 770"/>
                <a:gd name="T47" fmla="*/ 2147483647 h 914"/>
                <a:gd name="T48" fmla="*/ 2147483647 w 770"/>
                <a:gd name="T49" fmla="*/ 2147483647 h 914"/>
                <a:gd name="T50" fmla="*/ 2147483647 w 770"/>
                <a:gd name="T51" fmla="*/ 2147483647 h 914"/>
                <a:gd name="T52" fmla="*/ 2147483647 w 770"/>
                <a:gd name="T53" fmla="*/ 2147483647 h 914"/>
                <a:gd name="T54" fmla="*/ 2147483647 w 770"/>
                <a:gd name="T55" fmla="*/ 2147483647 h 914"/>
                <a:gd name="T56" fmla="*/ 2147483647 w 770"/>
                <a:gd name="T57" fmla="*/ 2147483647 h 914"/>
                <a:gd name="T58" fmla="*/ 2147483647 w 770"/>
                <a:gd name="T59" fmla="*/ 2147483647 h 914"/>
                <a:gd name="T60" fmla="*/ 2147483647 w 770"/>
                <a:gd name="T61" fmla="*/ 2147483647 h 914"/>
                <a:gd name="T62" fmla="*/ 2147483647 w 770"/>
                <a:gd name="T63" fmla="*/ 2147483647 h 914"/>
                <a:gd name="T64" fmla="*/ 2147483647 w 770"/>
                <a:gd name="T65" fmla="*/ 2147483647 h 914"/>
                <a:gd name="T66" fmla="*/ 2147483647 w 770"/>
                <a:gd name="T67" fmla="*/ 2147483647 h 914"/>
                <a:gd name="T68" fmla="*/ 2147483647 w 770"/>
                <a:gd name="T69" fmla="*/ 2147483647 h 914"/>
                <a:gd name="T70" fmla="*/ 2147483647 w 770"/>
                <a:gd name="T71" fmla="*/ 2147483647 h 914"/>
                <a:gd name="T72" fmla="*/ 2147483647 w 770"/>
                <a:gd name="T73" fmla="*/ 2147483647 h 914"/>
                <a:gd name="T74" fmla="*/ 2147483647 w 770"/>
                <a:gd name="T75" fmla="*/ 2147483647 h 914"/>
                <a:gd name="T76" fmla="*/ 2147483647 w 770"/>
                <a:gd name="T77" fmla="*/ 2147483647 h 914"/>
                <a:gd name="T78" fmla="*/ 2147483647 w 770"/>
                <a:gd name="T79" fmla="*/ 2147483647 h 914"/>
                <a:gd name="T80" fmla="*/ 2147483647 w 770"/>
                <a:gd name="T81" fmla="*/ 2147483647 h 914"/>
                <a:gd name="T82" fmla="*/ 2147483647 w 770"/>
                <a:gd name="T83" fmla="*/ 2147483647 h 914"/>
                <a:gd name="T84" fmla="*/ 2147483647 w 770"/>
                <a:gd name="T85" fmla="*/ 2147483647 h 914"/>
                <a:gd name="T86" fmla="*/ 2147483647 w 770"/>
                <a:gd name="T87" fmla="*/ 2147483647 h 914"/>
                <a:gd name="T88" fmla="*/ 2147483647 w 770"/>
                <a:gd name="T89" fmla="*/ 2147483647 h 914"/>
                <a:gd name="T90" fmla="*/ 2147483647 w 770"/>
                <a:gd name="T91" fmla="*/ 2147483647 h 914"/>
                <a:gd name="T92" fmla="*/ 2147483647 w 770"/>
                <a:gd name="T93" fmla="*/ 2147483647 h 914"/>
                <a:gd name="T94" fmla="*/ 2147483647 w 770"/>
                <a:gd name="T95" fmla="*/ 2147483647 h 914"/>
                <a:gd name="T96" fmla="*/ 2147483647 w 770"/>
                <a:gd name="T97" fmla="*/ 2147483647 h 914"/>
                <a:gd name="T98" fmla="*/ 2147483647 w 770"/>
                <a:gd name="T99" fmla="*/ 2147483647 h 914"/>
                <a:gd name="T100" fmla="*/ 2147483647 w 770"/>
                <a:gd name="T101" fmla="*/ 2147483647 h 914"/>
                <a:gd name="T102" fmla="*/ 2147483647 w 770"/>
                <a:gd name="T103" fmla="*/ 2147483647 h 914"/>
                <a:gd name="T104" fmla="*/ 2147483647 w 770"/>
                <a:gd name="T105" fmla="*/ 2147483647 h 914"/>
                <a:gd name="T106" fmla="*/ 2147483647 w 770"/>
                <a:gd name="T107" fmla="*/ 2147483647 h 914"/>
                <a:gd name="T108" fmla="*/ 2147483647 w 770"/>
                <a:gd name="T109" fmla="*/ 2147483647 h 914"/>
                <a:gd name="T110" fmla="*/ 2147483647 w 770"/>
                <a:gd name="T111" fmla="*/ 2147483647 h 914"/>
                <a:gd name="T112" fmla="*/ 2147483647 w 770"/>
                <a:gd name="T113" fmla="*/ 2147483647 h 914"/>
                <a:gd name="T114" fmla="*/ 2147483647 w 770"/>
                <a:gd name="T115" fmla="*/ 2147483647 h 914"/>
                <a:gd name="T116" fmla="*/ 2147483647 w 770"/>
                <a:gd name="T117" fmla="*/ 2147483647 h 914"/>
                <a:gd name="T118" fmla="*/ 2147483647 w 770"/>
                <a:gd name="T119" fmla="*/ 2147483647 h 914"/>
                <a:gd name="T120" fmla="*/ 2147483647 w 770"/>
                <a:gd name="T121" fmla="*/ 2147483647 h 9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0"/>
                <a:gd name="T184" fmla="*/ 0 h 914"/>
                <a:gd name="T185" fmla="*/ 770 w 770"/>
                <a:gd name="T186" fmla="*/ 914 h 9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0" h="914">
                  <a:moveTo>
                    <a:pt x="0" y="88"/>
                  </a:moveTo>
                  <a:lnTo>
                    <a:pt x="6" y="88"/>
                  </a:lnTo>
                  <a:lnTo>
                    <a:pt x="12" y="86"/>
                  </a:lnTo>
                  <a:lnTo>
                    <a:pt x="18" y="88"/>
                  </a:lnTo>
                  <a:lnTo>
                    <a:pt x="24" y="88"/>
                  </a:lnTo>
                  <a:lnTo>
                    <a:pt x="30" y="90"/>
                  </a:lnTo>
                  <a:lnTo>
                    <a:pt x="36" y="90"/>
                  </a:lnTo>
                  <a:lnTo>
                    <a:pt x="42" y="92"/>
                  </a:lnTo>
                  <a:lnTo>
                    <a:pt x="48" y="90"/>
                  </a:lnTo>
                  <a:lnTo>
                    <a:pt x="50" y="92"/>
                  </a:lnTo>
                  <a:lnTo>
                    <a:pt x="48" y="98"/>
                  </a:lnTo>
                  <a:lnTo>
                    <a:pt x="54" y="100"/>
                  </a:lnTo>
                  <a:lnTo>
                    <a:pt x="60" y="98"/>
                  </a:lnTo>
                  <a:lnTo>
                    <a:pt x="66" y="94"/>
                  </a:lnTo>
                  <a:lnTo>
                    <a:pt x="72" y="92"/>
                  </a:lnTo>
                  <a:lnTo>
                    <a:pt x="78" y="90"/>
                  </a:lnTo>
                  <a:lnTo>
                    <a:pt x="82" y="84"/>
                  </a:lnTo>
                  <a:lnTo>
                    <a:pt x="84" y="78"/>
                  </a:lnTo>
                  <a:lnTo>
                    <a:pt x="86" y="72"/>
                  </a:lnTo>
                  <a:lnTo>
                    <a:pt x="92" y="68"/>
                  </a:lnTo>
                  <a:lnTo>
                    <a:pt x="98" y="68"/>
                  </a:lnTo>
                  <a:lnTo>
                    <a:pt x="104" y="68"/>
                  </a:lnTo>
                  <a:lnTo>
                    <a:pt x="110" y="70"/>
                  </a:lnTo>
                  <a:lnTo>
                    <a:pt x="112" y="70"/>
                  </a:lnTo>
                  <a:lnTo>
                    <a:pt x="112" y="64"/>
                  </a:lnTo>
                  <a:lnTo>
                    <a:pt x="116" y="58"/>
                  </a:lnTo>
                  <a:lnTo>
                    <a:pt x="122" y="54"/>
                  </a:lnTo>
                  <a:lnTo>
                    <a:pt x="128" y="48"/>
                  </a:lnTo>
                  <a:lnTo>
                    <a:pt x="134" y="48"/>
                  </a:lnTo>
                  <a:lnTo>
                    <a:pt x="140" y="44"/>
                  </a:lnTo>
                  <a:lnTo>
                    <a:pt x="142" y="44"/>
                  </a:lnTo>
                  <a:lnTo>
                    <a:pt x="148" y="40"/>
                  </a:lnTo>
                  <a:lnTo>
                    <a:pt x="154" y="34"/>
                  </a:lnTo>
                  <a:lnTo>
                    <a:pt x="158" y="28"/>
                  </a:lnTo>
                  <a:lnTo>
                    <a:pt x="164" y="24"/>
                  </a:lnTo>
                  <a:lnTo>
                    <a:pt x="166" y="22"/>
                  </a:lnTo>
                  <a:lnTo>
                    <a:pt x="172" y="18"/>
                  </a:lnTo>
                  <a:lnTo>
                    <a:pt x="174" y="16"/>
                  </a:lnTo>
                  <a:lnTo>
                    <a:pt x="180" y="14"/>
                  </a:lnTo>
                  <a:lnTo>
                    <a:pt x="184" y="14"/>
                  </a:lnTo>
                  <a:lnTo>
                    <a:pt x="192" y="10"/>
                  </a:lnTo>
                  <a:lnTo>
                    <a:pt x="198" y="10"/>
                  </a:lnTo>
                  <a:lnTo>
                    <a:pt x="204" y="8"/>
                  </a:lnTo>
                  <a:lnTo>
                    <a:pt x="210" y="8"/>
                  </a:lnTo>
                  <a:lnTo>
                    <a:pt x="214" y="6"/>
                  </a:lnTo>
                  <a:lnTo>
                    <a:pt x="222" y="6"/>
                  </a:lnTo>
                  <a:lnTo>
                    <a:pt x="226" y="6"/>
                  </a:lnTo>
                  <a:lnTo>
                    <a:pt x="232" y="8"/>
                  </a:lnTo>
                  <a:lnTo>
                    <a:pt x="238" y="10"/>
                  </a:lnTo>
                  <a:lnTo>
                    <a:pt x="242" y="4"/>
                  </a:lnTo>
                  <a:lnTo>
                    <a:pt x="246" y="0"/>
                  </a:lnTo>
                  <a:lnTo>
                    <a:pt x="252" y="6"/>
                  </a:lnTo>
                  <a:lnTo>
                    <a:pt x="254" y="10"/>
                  </a:lnTo>
                  <a:lnTo>
                    <a:pt x="252" y="16"/>
                  </a:lnTo>
                  <a:lnTo>
                    <a:pt x="254" y="22"/>
                  </a:lnTo>
                  <a:lnTo>
                    <a:pt x="254" y="28"/>
                  </a:lnTo>
                  <a:lnTo>
                    <a:pt x="256" y="34"/>
                  </a:lnTo>
                  <a:lnTo>
                    <a:pt x="256" y="40"/>
                  </a:lnTo>
                  <a:lnTo>
                    <a:pt x="252" y="46"/>
                  </a:lnTo>
                  <a:lnTo>
                    <a:pt x="252" y="48"/>
                  </a:lnTo>
                  <a:lnTo>
                    <a:pt x="248" y="56"/>
                  </a:lnTo>
                  <a:lnTo>
                    <a:pt x="250" y="60"/>
                  </a:lnTo>
                  <a:lnTo>
                    <a:pt x="250" y="66"/>
                  </a:lnTo>
                  <a:lnTo>
                    <a:pt x="252" y="72"/>
                  </a:lnTo>
                  <a:lnTo>
                    <a:pt x="252" y="78"/>
                  </a:lnTo>
                  <a:lnTo>
                    <a:pt x="258" y="82"/>
                  </a:lnTo>
                  <a:lnTo>
                    <a:pt x="258" y="84"/>
                  </a:lnTo>
                  <a:lnTo>
                    <a:pt x="260" y="90"/>
                  </a:lnTo>
                  <a:lnTo>
                    <a:pt x="256" y="96"/>
                  </a:lnTo>
                  <a:lnTo>
                    <a:pt x="254" y="102"/>
                  </a:lnTo>
                  <a:lnTo>
                    <a:pt x="256" y="108"/>
                  </a:lnTo>
                  <a:lnTo>
                    <a:pt x="258" y="114"/>
                  </a:lnTo>
                  <a:lnTo>
                    <a:pt x="258" y="120"/>
                  </a:lnTo>
                  <a:lnTo>
                    <a:pt x="260" y="126"/>
                  </a:lnTo>
                  <a:lnTo>
                    <a:pt x="266" y="130"/>
                  </a:lnTo>
                  <a:lnTo>
                    <a:pt x="270" y="136"/>
                  </a:lnTo>
                  <a:lnTo>
                    <a:pt x="268" y="142"/>
                  </a:lnTo>
                  <a:lnTo>
                    <a:pt x="274" y="142"/>
                  </a:lnTo>
                  <a:lnTo>
                    <a:pt x="278" y="148"/>
                  </a:lnTo>
                  <a:lnTo>
                    <a:pt x="282" y="154"/>
                  </a:lnTo>
                  <a:lnTo>
                    <a:pt x="282" y="156"/>
                  </a:lnTo>
                  <a:lnTo>
                    <a:pt x="282" y="160"/>
                  </a:lnTo>
                  <a:lnTo>
                    <a:pt x="288" y="162"/>
                  </a:lnTo>
                  <a:lnTo>
                    <a:pt x="294" y="162"/>
                  </a:lnTo>
                  <a:lnTo>
                    <a:pt x="298" y="168"/>
                  </a:lnTo>
                  <a:lnTo>
                    <a:pt x="304" y="174"/>
                  </a:lnTo>
                  <a:lnTo>
                    <a:pt x="308" y="176"/>
                  </a:lnTo>
                  <a:lnTo>
                    <a:pt x="316" y="178"/>
                  </a:lnTo>
                  <a:lnTo>
                    <a:pt x="316" y="184"/>
                  </a:lnTo>
                  <a:lnTo>
                    <a:pt x="318" y="188"/>
                  </a:lnTo>
                  <a:lnTo>
                    <a:pt x="320" y="192"/>
                  </a:lnTo>
                  <a:lnTo>
                    <a:pt x="326" y="192"/>
                  </a:lnTo>
                  <a:lnTo>
                    <a:pt x="328" y="194"/>
                  </a:lnTo>
                  <a:lnTo>
                    <a:pt x="334" y="194"/>
                  </a:lnTo>
                  <a:lnTo>
                    <a:pt x="340" y="196"/>
                  </a:lnTo>
                  <a:lnTo>
                    <a:pt x="346" y="198"/>
                  </a:lnTo>
                  <a:lnTo>
                    <a:pt x="350" y="198"/>
                  </a:lnTo>
                  <a:lnTo>
                    <a:pt x="356" y="192"/>
                  </a:lnTo>
                  <a:lnTo>
                    <a:pt x="362" y="192"/>
                  </a:lnTo>
                  <a:lnTo>
                    <a:pt x="368" y="196"/>
                  </a:lnTo>
                  <a:lnTo>
                    <a:pt x="374" y="198"/>
                  </a:lnTo>
                  <a:lnTo>
                    <a:pt x="380" y="204"/>
                  </a:lnTo>
                  <a:lnTo>
                    <a:pt x="386" y="208"/>
                  </a:lnTo>
                  <a:lnTo>
                    <a:pt x="392" y="210"/>
                  </a:lnTo>
                  <a:lnTo>
                    <a:pt x="398" y="204"/>
                  </a:lnTo>
                  <a:lnTo>
                    <a:pt x="400" y="204"/>
                  </a:lnTo>
                  <a:lnTo>
                    <a:pt x="404" y="210"/>
                  </a:lnTo>
                  <a:lnTo>
                    <a:pt x="406" y="216"/>
                  </a:lnTo>
                  <a:lnTo>
                    <a:pt x="412" y="220"/>
                  </a:lnTo>
                  <a:lnTo>
                    <a:pt x="416" y="226"/>
                  </a:lnTo>
                  <a:lnTo>
                    <a:pt x="422" y="230"/>
                  </a:lnTo>
                  <a:lnTo>
                    <a:pt x="428" y="228"/>
                  </a:lnTo>
                  <a:lnTo>
                    <a:pt x="434" y="234"/>
                  </a:lnTo>
                  <a:lnTo>
                    <a:pt x="440" y="234"/>
                  </a:lnTo>
                  <a:lnTo>
                    <a:pt x="446" y="240"/>
                  </a:lnTo>
                  <a:lnTo>
                    <a:pt x="452" y="240"/>
                  </a:lnTo>
                  <a:lnTo>
                    <a:pt x="458" y="238"/>
                  </a:lnTo>
                  <a:lnTo>
                    <a:pt x="464" y="246"/>
                  </a:lnTo>
                  <a:lnTo>
                    <a:pt x="468" y="252"/>
                  </a:lnTo>
                  <a:lnTo>
                    <a:pt x="474" y="256"/>
                  </a:lnTo>
                  <a:lnTo>
                    <a:pt x="480" y="262"/>
                  </a:lnTo>
                  <a:lnTo>
                    <a:pt x="482" y="268"/>
                  </a:lnTo>
                  <a:lnTo>
                    <a:pt x="488" y="266"/>
                  </a:lnTo>
                  <a:lnTo>
                    <a:pt x="494" y="264"/>
                  </a:lnTo>
                  <a:lnTo>
                    <a:pt x="496" y="264"/>
                  </a:lnTo>
                  <a:lnTo>
                    <a:pt x="502" y="268"/>
                  </a:lnTo>
                  <a:lnTo>
                    <a:pt x="508" y="266"/>
                  </a:lnTo>
                  <a:lnTo>
                    <a:pt x="514" y="264"/>
                  </a:lnTo>
                  <a:lnTo>
                    <a:pt x="520" y="266"/>
                  </a:lnTo>
                  <a:lnTo>
                    <a:pt x="526" y="264"/>
                  </a:lnTo>
                  <a:lnTo>
                    <a:pt x="532" y="268"/>
                  </a:lnTo>
                  <a:lnTo>
                    <a:pt x="538" y="272"/>
                  </a:lnTo>
                  <a:lnTo>
                    <a:pt x="544" y="274"/>
                  </a:lnTo>
                  <a:lnTo>
                    <a:pt x="548" y="278"/>
                  </a:lnTo>
                  <a:lnTo>
                    <a:pt x="554" y="282"/>
                  </a:lnTo>
                  <a:lnTo>
                    <a:pt x="560" y="284"/>
                  </a:lnTo>
                  <a:lnTo>
                    <a:pt x="566" y="288"/>
                  </a:lnTo>
                  <a:lnTo>
                    <a:pt x="570" y="294"/>
                  </a:lnTo>
                  <a:lnTo>
                    <a:pt x="572" y="298"/>
                  </a:lnTo>
                  <a:lnTo>
                    <a:pt x="568" y="304"/>
                  </a:lnTo>
                  <a:lnTo>
                    <a:pt x="568" y="312"/>
                  </a:lnTo>
                  <a:lnTo>
                    <a:pt x="570" y="316"/>
                  </a:lnTo>
                  <a:lnTo>
                    <a:pt x="574" y="324"/>
                  </a:lnTo>
                  <a:lnTo>
                    <a:pt x="574" y="328"/>
                  </a:lnTo>
                  <a:lnTo>
                    <a:pt x="578" y="336"/>
                  </a:lnTo>
                  <a:lnTo>
                    <a:pt x="582" y="344"/>
                  </a:lnTo>
                  <a:lnTo>
                    <a:pt x="582" y="352"/>
                  </a:lnTo>
                  <a:lnTo>
                    <a:pt x="584" y="362"/>
                  </a:lnTo>
                  <a:lnTo>
                    <a:pt x="584" y="368"/>
                  </a:lnTo>
                  <a:lnTo>
                    <a:pt x="586" y="374"/>
                  </a:lnTo>
                  <a:lnTo>
                    <a:pt x="578" y="374"/>
                  </a:lnTo>
                  <a:lnTo>
                    <a:pt x="570" y="374"/>
                  </a:lnTo>
                  <a:lnTo>
                    <a:pt x="572" y="380"/>
                  </a:lnTo>
                  <a:lnTo>
                    <a:pt x="578" y="386"/>
                  </a:lnTo>
                  <a:lnTo>
                    <a:pt x="582" y="392"/>
                  </a:lnTo>
                  <a:lnTo>
                    <a:pt x="588" y="398"/>
                  </a:lnTo>
                  <a:lnTo>
                    <a:pt x="590" y="404"/>
                  </a:lnTo>
                  <a:lnTo>
                    <a:pt x="592" y="412"/>
                  </a:lnTo>
                  <a:lnTo>
                    <a:pt x="592" y="418"/>
                  </a:lnTo>
                  <a:lnTo>
                    <a:pt x="594" y="426"/>
                  </a:lnTo>
                  <a:lnTo>
                    <a:pt x="594" y="432"/>
                  </a:lnTo>
                  <a:lnTo>
                    <a:pt x="596" y="438"/>
                  </a:lnTo>
                  <a:lnTo>
                    <a:pt x="596" y="446"/>
                  </a:lnTo>
                  <a:lnTo>
                    <a:pt x="598" y="452"/>
                  </a:lnTo>
                  <a:lnTo>
                    <a:pt x="604" y="456"/>
                  </a:lnTo>
                  <a:lnTo>
                    <a:pt x="608" y="456"/>
                  </a:lnTo>
                  <a:lnTo>
                    <a:pt x="614" y="456"/>
                  </a:lnTo>
                  <a:lnTo>
                    <a:pt x="620" y="456"/>
                  </a:lnTo>
                  <a:lnTo>
                    <a:pt x="626" y="456"/>
                  </a:lnTo>
                  <a:lnTo>
                    <a:pt x="630" y="456"/>
                  </a:lnTo>
                  <a:lnTo>
                    <a:pt x="636" y="458"/>
                  </a:lnTo>
                  <a:lnTo>
                    <a:pt x="642" y="458"/>
                  </a:lnTo>
                  <a:lnTo>
                    <a:pt x="646" y="458"/>
                  </a:lnTo>
                  <a:lnTo>
                    <a:pt x="652" y="458"/>
                  </a:lnTo>
                  <a:lnTo>
                    <a:pt x="658" y="458"/>
                  </a:lnTo>
                  <a:lnTo>
                    <a:pt x="664" y="458"/>
                  </a:lnTo>
                  <a:lnTo>
                    <a:pt x="670" y="458"/>
                  </a:lnTo>
                  <a:lnTo>
                    <a:pt x="670" y="460"/>
                  </a:lnTo>
                  <a:lnTo>
                    <a:pt x="676" y="460"/>
                  </a:lnTo>
                  <a:lnTo>
                    <a:pt x="682" y="460"/>
                  </a:lnTo>
                  <a:lnTo>
                    <a:pt x="688" y="460"/>
                  </a:lnTo>
                  <a:lnTo>
                    <a:pt x="694" y="460"/>
                  </a:lnTo>
                  <a:lnTo>
                    <a:pt x="698" y="460"/>
                  </a:lnTo>
                  <a:lnTo>
                    <a:pt x="704" y="460"/>
                  </a:lnTo>
                  <a:lnTo>
                    <a:pt x="710" y="458"/>
                  </a:lnTo>
                  <a:lnTo>
                    <a:pt x="710" y="462"/>
                  </a:lnTo>
                  <a:lnTo>
                    <a:pt x="708" y="468"/>
                  </a:lnTo>
                  <a:lnTo>
                    <a:pt x="710" y="474"/>
                  </a:lnTo>
                  <a:lnTo>
                    <a:pt x="704" y="480"/>
                  </a:lnTo>
                  <a:lnTo>
                    <a:pt x="702" y="484"/>
                  </a:lnTo>
                  <a:lnTo>
                    <a:pt x="704" y="490"/>
                  </a:lnTo>
                  <a:lnTo>
                    <a:pt x="706" y="496"/>
                  </a:lnTo>
                  <a:lnTo>
                    <a:pt x="706" y="502"/>
                  </a:lnTo>
                  <a:lnTo>
                    <a:pt x="708" y="508"/>
                  </a:lnTo>
                  <a:lnTo>
                    <a:pt x="710" y="514"/>
                  </a:lnTo>
                  <a:lnTo>
                    <a:pt x="710" y="522"/>
                  </a:lnTo>
                  <a:lnTo>
                    <a:pt x="716" y="528"/>
                  </a:lnTo>
                  <a:lnTo>
                    <a:pt x="722" y="530"/>
                  </a:lnTo>
                  <a:lnTo>
                    <a:pt x="728" y="534"/>
                  </a:lnTo>
                  <a:lnTo>
                    <a:pt x="734" y="540"/>
                  </a:lnTo>
                  <a:lnTo>
                    <a:pt x="738" y="542"/>
                  </a:lnTo>
                  <a:lnTo>
                    <a:pt x="744" y="540"/>
                  </a:lnTo>
                  <a:lnTo>
                    <a:pt x="750" y="546"/>
                  </a:lnTo>
                  <a:lnTo>
                    <a:pt x="752" y="546"/>
                  </a:lnTo>
                  <a:lnTo>
                    <a:pt x="752" y="550"/>
                  </a:lnTo>
                  <a:lnTo>
                    <a:pt x="754" y="556"/>
                  </a:lnTo>
                  <a:lnTo>
                    <a:pt x="756" y="556"/>
                  </a:lnTo>
                  <a:lnTo>
                    <a:pt x="758" y="564"/>
                  </a:lnTo>
                  <a:lnTo>
                    <a:pt x="758" y="570"/>
                  </a:lnTo>
                  <a:lnTo>
                    <a:pt x="762" y="576"/>
                  </a:lnTo>
                  <a:lnTo>
                    <a:pt x="764" y="578"/>
                  </a:lnTo>
                  <a:lnTo>
                    <a:pt x="768" y="586"/>
                  </a:lnTo>
                  <a:lnTo>
                    <a:pt x="770" y="590"/>
                  </a:lnTo>
                  <a:lnTo>
                    <a:pt x="768" y="596"/>
                  </a:lnTo>
                  <a:lnTo>
                    <a:pt x="768" y="602"/>
                  </a:lnTo>
                  <a:lnTo>
                    <a:pt x="766" y="608"/>
                  </a:lnTo>
                  <a:lnTo>
                    <a:pt x="764" y="614"/>
                  </a:lnTo>
                  <a:lnTo>
                    <a:pt x="764" y="620"/>
                  </a:lnTo>
                  <a:lnTo>
                    <a:pt x="762" y="626"/>
                  </a:lnTo>
                  <a:lnTo>
                    <a:pt x="762" y="632"/>
                  </a:lnTo>
                  <a:lnTo>
                    <a:pt x="760" y="638"/>
                  </a:lnTo>
                  <a:lnTo>
                    <a:pt x="764" y="638"/>
                  </a:lnTo>
                  <a:lnTo>
                    <a:pt x="764" y="644"/>
                  </a:lnTo>
                  <a:lnTo>
                    <a:pt x="764" y="646"/>
                  </a:lnTo>
                  <a:lnTo>
                    <a:pt x="760" y="652"/>
                  </a:lnTo>
                  <a:lnTo>
                    <a:pt x="758" y="658"/>
                  </a:lnTo>
                  <a:lnTo>
                    <a:pt x="756" y="664"/>
                  </a:lnTo>
                  <a:lnTo>
                    <a:pt x="754" y="670"/>
                  </a:lnTo>
                  <a:lnTo>
                    <a:pt x="752" y="676"/>
                  </a:lnTo>
                  <a:lnTo>
                    <a:pt x="750" y="682"/>
                  </a:lnTo>
                  <a:lnTo>
                    <a:pt x="748" y="688"/>
                  </a:lnTo>
                  <a:lnTo>
                    <a:pt x="746" y="694"/>
                  </a:lnTo>
                  <a:lnTo>
                    <a:pt x="750" y="700"/>
                  </a:lnTo>
                  <a:lnTo>
                    <a:pt x="756" y="706"/>
                  </a:lnTo>
                  <a:lnTo>
                    <a:pt x="762" y="712"/>
                  </a:lnTo>
                  <a:lnTo>
                    <a:pt x="764" y="712"/>
                  </a:lnTo>
                  <a:lnTo>
                    <a:pt x="762" y="714"/>
                  </a:lnTo>
                  <a:lnTo>
                    <a:pt x="756" y="718"/>
                  </a:lnTo>
                  <a:lnTo>
                    <a:pt x="750" y="722"/>
                  </a:lnTo>
                  <a:lnTo>
                    <a:pt x="746" y="726"/>
                  </a:lnTo>
                  <a:lnTo>
                    <a:pt x="748" y="720"/>
                  </a:lnTo>
                  <a:lnTo>
                    <a:pt x="746" y="714"/>
                  </a:lnTo>
                  <a:lnTo>
                    <a:pt x="744" y="708"/>
                  </a:lnTo>
                  <a:lnTo>
                    <a:pt x="744" y="702"/>
                  </a:lnTo>
                  <a:lnTo>
                    <a:pt x="730" y="692"/>
                  </a:lnTo>
                  <a:lnTo>
                    <a:pt x="720" y="688"/>
                  </a:lnTo>
                  <a:lnTo>
                    <a:pt x="712" y="682"/>
                  </a:lnTo>
                  <a:lnTo>
                    <a:pt x="704" y="678"/>
                  </a:lnTo>
                  <a:lnTo>
                    <a:pt x="702" y="676"/>
                  </a:lnTo>
                  <a:lnTo>
                    <a:pt x="686" y="666"/>
                  </a:lnTo>
                  <a:lnTo>
                    <a:pt x="684" y="664"/>
                  </a:lnTo>
                  <a:lnTo>
                    <a:pt x="678" y="664"/>
                  </a:lnTo>
                  <a:lnTo>
                    <a:pt x="668" y="666"/>
                  </a:lnTo>
                  <a:lnTo>
                    <a:pt x="656" y="666"/>
                  </a:lnTo>
                  <a:lnTo>
                    <a:pt x="648" y="666"/>
                  </a:lnTo>
                  <a:lnTo>
                    <a:pt x="634" y="666"/>
                  </a:lnTo>
                  <a:lnTo>
                    <a:pt x="630" y="666"/>
                  </a:lnTo>
                  <a:lnTo>
                    <a:pt x="626" y="666"/>
                  </a:lnTo>
                  <a:lnTo>
                    <a:pt x="620" y="668"/>
                  </a:lnTo>
                  <a:lnTo>
                    <a:pt x="612" y="670"/>
                  </a:lnTo>
                  <a:lnTo>
                    <a:pt x="606" y="672"/>
                  </a:lnTo>
                  <a:lnTo>
                    <a:pt x="600" y="674"/>
                  </a:lnTo>
                  <a:lnTo>
                    <a:pt x="594" y="676"/>
                  </a:lnTo>
                  <a:lnTo>
                    <a:pt x="590" y="678"/>
                  </a:lnTo>
                  <a:lnTo>
                    <a:pt x="584" y="678"/>
                  </a:lnTo>
                  <a:lnTo>
                    <a:pt x="578" y="680"/>
                  </a:lnTo>
                  <a:lnTo>
                    <a:pt x="572" y="680"/>
                  </a:lnTo>
                  <a:lnTo>
                    <a:pt x="566" y="682"/>
                  </a:lnTo>
                  <a:lnTo>
                    <a:pt x="560" y="684"/>
                  </a:lnTo>
                  <a:lnTo>
                    <a:pt x="552" y="684"/>
                  </a:lnTo>
                  <a:lnTo>
                    <a:pt x="546" y="686"/>
                  </a:lnTo>
                  <a:lnTo>
                    <a:pt x="540" y="688"/>
                  </a:lnTo>
                  <a:lnTo>
                    <a:pt x="534" y="688"/>
                  </a:lnTo>
                  <a:lnTo>
                    <a:pt x="526" y="690"/>
                  </a:lnTo>
                  <a:lnTo>
                    <a:pt x="526" y="696"/>
                  </a:lnTo>
                  <a:lnTo>
                    <a:pt x="524" y="702"/>
                  </a:lnTo>
                  <a:lnTo>
                    <a:pt x="522" y="708"/>
                  </a:lnTo>
                  <a:lnTo>
                    <a:pt x="522" y="714"/>
                  </a:lnTo>
                  <a:lnTo>
                    <a:pt x="520" y="720"/>
                  </a:lnTo>
                  <a:lnTo>
                    <a:pt x="518" y="724"/>
                  </a:lnTo>
                  <a:lnTo>
                    <a:pt x="514" y="730"/>
                  </a:lnTo>
                  <a:lnTo>
                    <a:pt x="512" y="734"/>
                  </a:lnTo>
                  <a:lnTo>
                    <a:pt x="508" y="742"/>
                  </a:lnTo>
                  <a:lnTo>
                    <a:pt x="506" y="748"/>
                  </a:lnTo>
                  <a:lnTo>
                    <a:pt x="502" y="752"/>
                  </a:lnTo>
                  <a:lnTo>
                    <a:pt x="502" y="754"/>
                  </a:lnTo>
                  <a:lnTo>
                    <a:pt x="502" y="760"/>
                  </a:lnTo>
                  <a:lnTo>
                    <a:pt x="504" y="766"/>
                  </a:lnTo>
                  <a:lnTo>
                    <a:pt x="504" y="772"/>
                  </a:lnTo>
                  <a:lnTo>
                    <a:pt x="506" y="778"/>
                  </a:lnTo>
                  <a:lnTo>
                    <a:pt x="506" y="784"/>
                  </a:lnTo>
                  <a:lnTo>
                    <a:pt x="506" y="790"/>
                  </a:lnTo>
                  <a:lnTo>
                    <a:pt x="506" y="796"/>
                  </a:lnTo>
                  <a:lnTo>
                    <a:pt x="504" y="802"/>
                  </a:lnTo>
                  <a:lnTo>
                    <a:pt x="504" y="806"/>
                  </a:lnTo>
                  <a:lnTo>
                    <a:pt x="502" y="812"/>
                  </a:lnTo>
                  <a:lnTo>
                    <a:pt x="502" y="818"/>
                  </a:lnTo>
                  <a:lnTo>
                    <a:pt x="500" y="824"/>
                  </a:lnTo>
                  <a:lnTo>
                    <a:pt x="500" y="830"/>
                  </a:lnTo>
                  <a:lnTo>
                    <a:pt x="500" y="832"/>
                  </a:lnTo>
                  <a:lnTo>
                    <a:pt x="498" y="834"/>
                  </a:lnTo>
                  <a:lnTo>
                    <a:pt x="498" y="840"/>
                  </a:lnTo>
                  <a:lnTo>
                    <a:pt x="498" y="846"/>
                  </a:lnTo>
                  <a:lnTo>
                    <a:pt x="496" y="852"/>
                  </a:lnTo>
                  <a:lnTo>
                    <a:pt x="494" y="858"/>
                  </a:lnTo>
                  <a:lnTo>
                    <a:pt x="494" y="864"/>
                  </a:lnTo>
                  <a:lnTo>
                    <a:pt x="494" y="870"/>
                  </a:lnTo>
                  <a:lnTo>
                    <a:pt x="488" y="864"/>
                  </a:lnTo>
                  <a:lnTo>
                    <a:pt x="482" y="858"/>
                  </a:lnTo>
                  <a:lnTo>
                    <a:pt x="480" y="852"/>
                  </a:lnTo>
                  <a:lnTo>
                    <a:pt x="472" y="852"/>
                  </a:lnTo>
                  <a:lnTo>
                    <a:pt x="466" y="852"/>
                  </a:lnTo>
                  <a:lnTo>
                    <a:pt x="460" y="852"/>
                  </a:lnTo>
                  <a:lnTo>
                    <a:pt x="454" y="852"/>
                  </a:lnTo>
                  <a:lnTo>
                    <a:pt x="446" y="854"/>
                  </a:lnTo>
                  <a:lnTo>
                    <a:pt x="440" y="854"/>
                  </a:lnTo>
                  <a:lnTo>
                    <a:pt x="434" y="854"/>
                  </a:lnTo>
                  <a:lnTo>
                    <a:pt x="430" y="854"/>
                  </a:lnTo>
                  <a:lnTo>
                    <a:pt x="428" y="854"/>
                  </a:lnTo>
                  <a:lnTo>
                    <a:pt x="426" y="856"/>
                  </a:lnTo>
                  <a:lnTo>
                    <a:pt x="418" y="852"/>
                  </a:lnTo>
                  <a:lnTo>
                    <a:pt x="412" y="858"/>
                  </a:lnTo>
                  <a:lnTo>
                    <a:pt x="410" y="864"/>
                  </a:lnTo>
                  <a:lnTo>
                    <a:pt x="408" y="870"/>
                  </a:lnTo>
                  <a:lnTo>
                    <a:pt x="406" y="876"/>
                  </a:lnTo>
                  <a:lnTo>
                    <a:pt x="404" y="882"/>
                  </a:lnTo>
                  <a:lnTo>
                    <a:pt x="400" y="888"/>
                  </a:lnTo>
                  <a:lnTo>
                    <a:pt x="400" y="894"/>
                  </a:lnTo>
                  <a:lnTo>
                    <a:pt x="398" y="900"/>
                  </a:lnTo>
                  <a:lnTo>
                    <a:pt x="398" y="906"/>
                  </a:lnTo>
                  <a:lnTo>
                    <a:pt x="398" y="912"/>
                  </a:lnTo>
                  <a:lnTo>
                    <a:pt x="396" y="908"/>
                  </a:lnTo>
                  <a:lnTo>
                    <a:pt x="392" y="902"/>
                  </a:lnTo>
                  <a:lnTo>
                    <a:pt x="390" y="900"/>
                  </a:lnTo>
                  <a:lnTo>
                    <a:pt x="388" y="898"/>
                  </a:lnTo>
                  <a:lnTo>
                    <a:pt x="388" y="892"/>
                  </a:lnTo>
                  <a:lnTo>
                    <a:pt x="384" y="886"/>
                  </a:lnTo>
                  <a:lnTo>
                    <a:pt x="382" y="880"/>
                  </a:lnTo>
                  <a:lnTo>
                    <a:pt x="380" y="874"/>
                  </a:lnTo>
                  <a:lnTo>
                    <a:pt x="378" y="868"/>
                  </a:lnTo>
                  <a:lnTo>
                    <a:pt x="370" y="864"/>
                  </a:lnTo>
                  <a:lnTo>
                    <a:pt x="368" y="866"/>
                  </a:lnTo>
                  <a:lnTo>
                    <a:pt x="362" y="862"/>
                  </a:lnTo>
                  <a:lnTo>
                    <a:pt x="356" y="862"/>
                  </a:lnTo>
                  <a:lnTo>
                    <a:pt x="350" y="858"/>
                  </a:lnTo>
                  <a:lnTo>
                    <a:pt x="346" y="858"/>
                  </a:lnTo>
                  <a:lnTo>
                    <a:pt x="340" y="860"/>
                  </a:lnTo>
                  <a:lnTo>
                    <a:pt x="336" y="860"/>
                  </a:lnTo>
                  <a:lnTo>
                    <a:pt x="328" y="860"/>
                  </a:lnTo>
                  <a:lnTo>
                    <a:pt x="322" y="860"/>
                  </a:lnTo>
                  <a:lnTo>
                    <a:pt x="316" y="858"/>
                  </a:lnTo>
                  <a:lnTo>
                    <a:pt x="316" y="860"/>
                  </a:lnTo>
                  <a:lnTo>
                    <a:pt x="312" y="860"/>
                  </a:lnTo>
                  <a:lnTo>
                    <a:pt x="306" y="860"/>
                  </a:lnTo>
                  <a:lnTo>
                    <a:pt x="298" y="854"/>
                  </a:lnTo>
                  <a:lnTo>
                    <a:pt x="294" y="848"/>
                  </a:lnTo>
                  <a:lnTo>
                    <a:pt x="286" y="846"/>
                  </a:lnTo>
                  <a:lnTo>
                    <a:pt x="282" y="840"/>
                  </a:lnTo>
                  <a:lnTo>
                    <a:pt x="274" y="838"/>
                  </a:lnTo>
                  <a:lnTo>
                    <a:pt x="274" y="844"/>
                  </a:lnTo>
                  <a:lnTo>
                    <a:pt x="274" y="848"/>
                  </a:lnTo>
                  <a:lnTo>
                    <a:pt x="274" y="854"/>
                  </a:lnTo>
                  <a:lnTo>
                    <a:pt x="270" y="860"/>
                  </a:lnTo>
                  <a:lnTo>
                    <a:pt x="266" y="862"/>
                  </a:lnTo>
                  <a:lnTo>
                    <a:pt x="260" y="864"/>
                  </a:lnTo>
                  <a:lnTo>
                    <a:pt x="254" y="868"/>
                  </a:lnTo>
                  <a:lnTo>
                    <a:pt x="248" y="872"/>
                  </a:lnTo>
                  <a:lnTo>
                    <a:pt x="248" y="878"/>
                  </a:lnTo>
                  <a:lnTo>
                    <a:pt x="246" y="882"/>
                  </a:lnTo>
                  <a:lnTo>
                    <a:pt x="240" y="886"/>
                  </a:lnTo>
                  <a:lnTo>
                    <a:pt x="234" y="892"/>
                  </a:lnTo>
                  <a:lnTo>
                    <a:pt x="234" y="898"/>
                  </a:lnTo>
                  <a:lnTo>
                    <a:pt x="228" y="904"/>
                  </a:lnTo>
                  <a:lnTo>
                    <a:pt x="226" y="910"/>
                  </a:lnTo>
                  <a:lnTo>
                    <a:pt x="220" y="912"/>
                  </a:lnTo>
                  <a:lnTo>
                    <a:pt x="214" y="912"/>
                  </a:lnTo>
                  <a:lnTo>
                    <a:pt x="206" y="914"/>
                  </a:lnTo>
                  <a:lnTo>
                    <a:pt x="200" y="914"/>
                  </a:lnTo>
                  <a:lnTo>
                    <a:pt x="194" y="914"/>
                  </a:lnTo>
                  <a:lnTo>
                    <a:pt x="188" y="912"/>
                  </a:lnTo>
                  <a:lnTo>
                    <a:pt x="184" y="904"/>
                  </a:lnTo>
                  <a:lnTo>
                    <a:pt x="184" y="898"/>
                  </a:lnTo>
                  <a:lnTo>
                    <a:pt x="184" y="892"/>
                  </a:lnTo>
                  <a:lnTo>
                    <a:pt x="182" y="888"/>
                  </a:lnTo>
                  <a:lnTo>
                    <a:pt x="180" y="880"/>
                  </a:lnTo>
                  <a:lnTo>
                    <a:pt x="176" y="874"/>
                  </a:lnTo>
                  <a:lnTo>
                    <a:pt x="178" y="870"/>
                  </a:lnTo>
                  <a:lnTo>
                    <a:pt x="174" y="862"/>
                  </a:lnTo>
                  <a:lnTo>
                    <a:pt x="172" y="858"/>
                  </a:lnTo>
                  <a:lnTo>
                    <a:pt x="166" y="852"/>
                  </a:lnTo>
                  <a:lnTo>
                    <a:pt x="164" y="846"/>
                  </a:lnTo>
                  <a:lnTo>
                    <a:pt x="164" y="840"/>
                  </a:lnTo>
                  <a:lnTo>
                    <a:pt x="162" y="834"/>
                  </a:lnTo>
                  <a:lnTo>
                    <a:pt x="158" y="828"/>
                  </a:lnTo>
                  <a:lnTo>
                    <a:pt x="156" y="822"/>
                  </a:lnTo>
                  <a:lnTo>
                    <a:pt x="154" y="816"/>
                  </a:lnTo>
                  <a:lnTo>
                    <a:pt x="154" y="810"/>
                  </a:lnTo>
                  <a:lnTo>
                    <a:pt x="154" y="804"/>
                  </a:lnTo>
                  <a:lnTo>
                    <a:pt x="150" y="800"/>
                  </a:lnTo>
                  <a:lnTo>
                    <a:pt x="150" y="798"/>
                  </a:lnTo>
                  <a:lnTo>
                    <a:pt x="146" y="794"/>
                  </a:lnTo>
                  <a:lnTo>
                    <a:pt x="142" y="790"/>
                  </a:lnTo>
                  <a:lnTo>
                    <a:pt x="138" y="782"/>
                  </a:lnTo>
                  <a:lnTo>
                    <a:pt x="134" y="780"/>
                  </a:lnTo>
                  <a:lnTo>
                    <a:pt x="130" y="778"/>
                  </a:lnTo>
                  <a:lnTo>
                    <a:pt x="126" y="772"/>
                  </a:lnTo>
                  <a:lnTo>
                    <a:pt x="126" y="766"/>
                  </a:lnTo>
                  <a:lnTo>
                    <a:pt x="130" y="760"/>
                  </a:lnTo>
                  <a:lnTo>
                    <a:pt x="126" y="754"/>
                  </a:lnTo>
                  <a:lnTo>
                    <a:pt x="120" y="752"/>
                  </a:lnTo>
                  <a:lnTo>
                    <a:pt x="114" y="748"/>
                  </a:lnTo>
                  <a:lnTo>
                    <a:pt x="112" y="742"/>
                  </a:lnTo>
                  <a:lnTo>
                    <a:pt x="114" y="734"/>
                  </a:lnTo>
                  <a:lnTo>
                    <a:pt x="112" y="728"/>
                  </a:lnTo>
                  <a:lnTo>
                    <a:pt x="108" y="722"/>
                  </a:lnTo>
                  <a:lnTo>
                    <a:pt x="114" y="718"/>
                  </a:lnTo>
                  <a:lnTo>
                    <a:pt x="120" y="718"/>
                  </a:lnTo>
                  <a:lnTo>
                    <a:pt x="120" y="714"/>
                  </a:lnTo>
                  <a:lnTo>
                    <a:pt x="122" y="708"/>
                  </a:lnTo>
                  <a:lnTo>
                    <a:pt x="118" y="702"/>
                  </a:lnTo>
                  <a:lnTo>
                    <a:pt x="116" y="700"/>
                  </a:lnTo>
                  <a:lnTo>
                    <a:pt x="110" y="696"/>
                  </a:lnTo>
                  <a:lnTo>
                    <a:pt x="112" y="690"/>
                  </a:lnTo>
                  <a:lnTo>
                    <a:pt x="116" y="684"/>
                  </a:lnTo>
                  <a:lnTo>
                    <a:pt x="120" y="678"/>
                  </a:lnTo>
                  <a:lnTo>
                    <a:pt x="120" y="672"/>
                  </a:lnTo>
                  <a:lnTo>
                    <a:pt x="114" y="666"/>
                  </a:lnTo>
                  <a:lnTo>
                    <a:pt x="108" y="664"/>
                  </a:lnTo>
                  <a:lnTo>
                    <a:pt x="104" y="658"/>
                  </a:lnTo>
                  <a:lnTo>
                    <a:pt x="96" y="652"/>
                  </a:lnTo>
                  <a:lnTo>
                    <a:pt x="92" y="648"/>
                  </a:lnTo>
                  <a:lnTo>
                    <a:pt x="90" y="646"/>
                  </a:lnTo>
                  <a:lnTo>
                    <a:pt x="86" y="642"/>
                  </a:lnTo>
                  <a:lnTo>
                    <a:pt x="86" y="634"/>
                  </a:lnTo>
                  <a:lnTo>
                    <a:pt x="84" y="628"/>
                  </a:lnTo>
                  <a:lnTo>
                    <a:pt x="82" y="622"/>
                  </a:lnTo>
                  <a:lnTo>
                    <a:pt x="80" y="616"/>
                  </a:lnTo>
                  <a:lnTo>
                    <a:pt x="80" y="614"/>
                  </a:lnTo>
                  <a:lnTo>
                    <a:pt x="78" y="608"/>
                  </a:lnTo>
                  <a:lnTo>
                    <a:pt x="76" y="602"/>
                  </a:lnTo>
                  <a:lnTo>
                    <a:pt x="74" y="594"/>
                  </a:lnTo>
                  <a:lnTo>
                    <a:pt x="72" y="590"/>
                  </a:lnTo>
                  <a:lnTo>
                    <a:pt x="70" y="584"/>
                  </a:lnTo>
                  <a:lnTo>
                    <a:pt x="74" y="578"/>
                  </a:lnTo>
                  <a:lnTo>
                    <a:pt x="70" y="578"/>
                  </a:lnTo>
                  <a:lnTo>
                    <a:pt x="64" y="576"/>
                  </a:lnTo>
                  <a:lnTo>
                    <a:pt x="58" y="572"/>
                  </a:lnTo>
                  <a:lnTo>
                    <a:pt x="58" y="566"/>
                  </a:lnTo>
                  <a:lnTo>
                    <a:pt x="56" y="560"/>
                  </a:lnTo>
                  <a:lnTo>
                    <a:pt x="50" y="554"/>
                  </a:lnTo>
                  <a:lnTo>
                    <a:pt x="44" y="548"/>
                  </a:lnTo>
                  <a:lnTo>
                    <a:pt x="44" y="544"/>
                  </a:lnTo>
                  <a:lnTo>
                    <a:pt x="44" y="542"/>
                  </a:lnTo>
                  <a:lnTo>
                    <a:pt x="44" y="540"/>
                  </a:lnTo>
                  <a:lnTo>
                    <a:pt x="42" y="534"/>
                  </a:lnTo>
                  <a:lnTo>
                    <a:pt x="38" y="528"/>
                  </a:lnTo>
                  <a:lnTo>
                    <a:pt x="32" y="526"/>
                  </a:lnTo>
                  <a:lnTo>
                    <a:pt x="34" y="520"/>
                  </a:lnTo>
                  <a:lnTo>
                    <a:pt x="40" y="514"/>
                  </a:lnTo>
                  <a:lnTo>
                    <a:pt x="46" y="510"/>
                  </a:lnTo>
                  <a:lnTo>
                    <a:pt x="48" y="504"/>
                  </a:lnTo>
                  <a:lnTo>
                    <a:pt x="52" y="498"/>
                  </a:lnTo>
                  <a:lnTo>
                    <a:pt x="56" y="494"/>
                  </a:lnTo>
                  <a:lnTo>
                    <a:pt x="62" y="486"/>
                  </a:lnTo>
                  <a:lnTo>
                    <a:pt x="66" y="482"/>
                  </a:lnTo>
                  <a:lnTo>
                    <a:pt x="64" y="478"/>
                  </a:lnTo>
                  <a:lnTo>
                    <a:pt x="64" y="476"/>
                  </a:lnTo>
                  <a:lnTo>
                    <a:pt x="64" y="472"/>
                  </a:lnTo>
                  <a:lnTo>
                    <a:pt x="68" y="466"/>
                  </a:lnTo>
                  <a:lnTo>
                    <a:pt x="74" y="462"/>
                  </a:lnTo>
                  <a:lnTo>
                    <a:pt x="72" y="456"/>
                  </a:lnTo>
                  <a:lnTo>
                    <a:pt x="66" y="452"/>
                  </a:lnTo>
                  <a:lnTo>
                    <a:pt x="60" y="454"/>
                  </a:lnTo>
                  <a:lnTo>
                    <a:pt x="58" y="452"/>
                  </a:lnTo>
                  <a:lnTo>
                    <a:pt x="52" y="450"/>
                  </a:lnTo>
                  <a:lnTo>
                    <a:pt x="48" y="444"/>
                  </a:lnTo>
                  <a:lnTo>
                    <a:pt x="46" y="438"/>
                  </a:lnTo>
                  <a:lnTo>
                    <a:pt x="44" y="432"/>
                  </a:lnTo>
                  <a:lnTo>
                    <a:pt x="42" y="430"/>
                  </a:lnTo>
                  <a:lnTo>
                    <a:pt x="40" y="422"/>
                  </a:lnTo>
                  <a:lnTo>
                    <a:pt x="36" y="416"/>
                  </a:lnTo>
                  <a:lnTo>
                    <a:pt x="34" y="410"/>
                  </a:lnTo>
                  <a:lnTo>
                    <a:pt x="38" y="404"/>
                  </a:lnTo>
                  <a:lnTo>
                    <a:pt x="38" y="402"/>
                  </a:lnTo>
                  <a:lnTo>
                    <a:pt x="42" y="396"/>
                  </a:lnTo>
                  <a:lnTo>
                    <a:pt x="44" y="390"/>
                  </a:lnTo>
                  <a:lnTo>
                    <a:pt x="48" y="384"/>
                  </a:lnTo>
                  <a:lnTo>
                    <a:pt x="44" y="378"/>
                  </a:lnTo>
                  <a:lnTo>
                    <a:pt x="38" y="374"/>
                  </a:lnTo>
                  <a:lnTo>
                    <a:pt x="34" y="368"/>
                  </a:lnTo>
                  <a:lnTo>
                    <a:pt x="32" y="364"/>
                  </a:lnTo>
                  <a:lnTo>
                    <a:pt x="34" y="358"/>
                  </a:lnTo>
                  <a:lnTo>
                    <a:pt x="34" y="352"/>
                  </a:lnTo>
                  <a:lnTo>
                    <a:pt x="40" y="348"/>
                  </a:lnTo>
                  <a:lnTo>
                    <a:pt x="38" y="342"/>
                  </a:lnTo>
                  <a:lnTo>
                    <a:pt x="44" y="336"/>
                  </a:lnTo>
                  <a:lnTo>
                    <a:pt x="46" y="332"/>
                  </a:lnTo>
                  <a:lnTo>
                    <a:pt x="52" y="326"/>
                  </a:lnTo>
                  <a:lnTo>
                    <a:pt x="52" y="320"/>
                  </a:lnTo>
                  <a:lnTo>
                    <a:pt x="54" y="314"/>
                  </a:lnTo>
                  <a:lnTo>
                    <a:pt x="58" y="308"/>
                  </a:lnTo>
                  <a:lnTo>
                    <a:pt x="58" y="302"/>
                  </a:lnTo>
                  <a:lnTo>
                    <a:pt x="52" y="296"/>
                  </a:lnTo>
                  <a:lnTo>
                    <a:pt x="50" y="290"/>
                  </a:lnTo>
                  <a:lnTo>
                    <a:pt x="48" y="286"/>
                  </a:lnTo>
                  <a:lnTo>
                    <a:pt x="44" y="278"/>
                  </a:lnTo>
                  <a:lnTo>
                    <a:pt x="48" y="272"/>
                  </a:lnTo>
                  <a:lnTo>
                    <a:pt x="48" y="268"/>
                  </a:lnTo>
                  <a:lnTo>
                    <a:pt x="48" y="262"/>
                  </a:lnTo>
                  <a:lnTo>
                    <a:pt x="48" y="256"/>
                  </a:lnTo>
                  <a:lnTo>
                    <a:pt x="48" y="250"/>
                  </a:lnTo>
                  <a:lnTo>
                    <a:pt x="48" y="244"/>
                  </a:lnTo>
                  <a:lnTo>
                    <a:pt x="46" y="238"/>
                  </a:lnTo>
                  <a:lnTo>
                    <a:pt x="46" y="232"/>
                  </a:lnTo>
                  <a:lnTo>
                    <a:pt x="46" y="230"/>
                  </a:lnTo>
                  <a:lnTo>
                    <a:pt x="46" y="222"/>
                  </a:lnTo>
                  <a:lnTo>
                    <a:pt x="48" y="218"/>
                  </a:lnTo>
                  <a:lnTo>
                    <a:pt x="54" y="212"/>
                  </a:lnTo>
                  <a:lnTo>
                    <a:pt x="58" y="206"/>
                  </a:lnTo>
                  <a:lnTo>
                    <a:pt x="58" y="200"/>
                  </a:lnTo>
                  <a:lnTo>
                    <a:pt x="60" y="196"/>
                  </a:lnTo>
                  <a:lnTo>
                    <a:pt x="62" y="196"/>
                  </a:lnTo>
                  <a:lnTo>
                    <a:pt x="60" y="194"/>
                  </a:lnTo>
                  <a:lnTo>
                    <a:pt x="58" y="188"/>
                  </a:lnTo>
                  <a:lnTo>
                    <a:pt x="54" y="182"/>
                  </a:lnTo>
                  <a:lnTo>
                    <a:pt x="52" y="176"/>
                  </a:lnTo>
                  <a:lnTo>
                    <a:pt x="48" y="170"/>
                  </a:lnTo>
                  <a:lnTo>
                    <a:pt x="44" y="162"/>
                  </a:lnTo>
                  <a:lnTo>
                    <a:pt x="42" y="158"/>
                  </a:lnTo>
                  <a:lnTo>
                    <a:pt x="38" y="152"/>
                  </a:lnTo>
                  <a:lnTo>
                    <a:pt x="34" y="146"/>
                  </a:lnTo>
                  <a:lnTo>
                    <a:pt x="32" y="140"/>
                  </a:lnTo>
                  <a:lnTo>
                    <a:pt x="28" y="134"/>
                  </a:lnTo>
                  <a:lnTo>
                    <a:pt x="24" y="128"/>
                  </a:lnTo>
                  <a:lnTo>
                    <a:pt x="20" y="122"/>
                  </a:lnTo>
                  <a:lnTo>
                    <a:pt x="18" y="116"/>
                  </a:lnTo>
                  <a:lnTo>
                    <a:pt x="14" y="112"/>
                  </a:lnTo>
                  <a:lnTo>
                    <a:pt x="10" y="106"/>
                  </a:lnTo>
                  <a:lnTo>
                    <a:pt x="6" y="100"/>
                  </a:lnTo>
                  <a:lnTo>
                    <a:pt x="2" y="94"/>
                  </a:lnTo>
                  <a:lnTo>
                    <a:pt x="0" y="8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5" name="Freeform 263"/>
            <p:cNvSpPr>
              <a:spLocks/>
            </p:cNvSpPr>
            <p:nvPr/>
          </p:nvSpPr>
          <p:spPr bwMode="auto">
            <a:xfrm>
              <a:off x="2397125" y="4095750"/>
              <a:ext cx="971550" cy="1111250"/>
            </a:xfrm>
            <a:custGeom>
              <a:avLst/>
              <a:gdLst>
                <a:gd name="T0" fmla="*/ 2147483647 w 2388"/>
                <a:gd name="T1" fmla="*/ 2147483647 h 2702"/>
                <a:gd name="T2" fmla="*/ 2147483647 w 2388"/>
                <a:gd name="T3" fmla="*/ 2147483647 h 2702"/>
                <a:gd name="T4" fmla="*/ 2147483647 w 2388"/>
                <a:gd name="T5" fmla="*/ 2147483647 h 2702"/>
                <a:gd name="T6" fmla="*/ 2147483647 w 2388"/>
                <a:gd name="T7" fmla="*/ 2147483647 h 2702"/>
                <a:gd name="T8" fmla="*/ 2147483647 w 2388"/>
                <a:gd name="T9" fmla="*/ 2147483647 h 2702"/>
                <a:gd name="T10" fmla="*/ 2147483647 w 2388"/>
                <a:gd name="T11" fmla="*/ 2147483647 h 2702"/>
                <a:gd name="T12" fmla="*/ 2147483647 w 2388"/>
                <a:gd name="T13" fmla="*/ 2147483647 h 2702"/>
                <a:gd name="T14" fmla="*/ 2147483647 w 2388"/>
                <a:gd name="T15" fmla="*/ 2147483647 h 2702"/>
                <a:gd name="T16" fmla="*/ 2147483647 w 2388"/>
                <a:gd name="T17" fmla="*/ 2147483647 h 2702"/>
                <a:gd name="T18" fmla="*/ 2147483647 w 2388"/>
                <a:gd name="T19" fmla="*/ 2147483647 h 2702"/>
                <a:gd name="T20" fmla="*/ 2147483647 w 2388"/>
                <a:gd name="T21" fmla="*/ 2147483647 h 2702"/>
                <a:gd name="T22" fmla="*/ 2147483647 w 2388"/>
                <a:gd name="T23" fmla="*/ 2147483647 h 2702"/>
                <a:gd name="T24" fmla="*/ 2147483647 w 2388"/>
                <a:gd name="T25" fmla="*/ 2147483647 h 2702"/>
                <a:gd name="T26" fmla="*/ 2147483647 w 2388"/>
                <a:gd name="T27" fmla="*/ 2147483647 h 2702"/>
                <a:gd name="T28" fmla="*/ 2147483647 w 2388"/>
                <a:gd name="T29" fmla="*/ 2147483647 h 2702"/>
                <a:gd name="T30" fmla="*/ 2147483647 w 2388"/>
                <a:gd name="T31" fmla="*/ 2147483647 h 2702"/>
                <a:gd name="T32" fmla="*/ 2147483647 w 2388"/>
                <a:gd name="T33" fmla="*/ 2147483647 h 2702"/>
                <a:gd name="T34" fmla="*/ 2147483647 w 2388"/>
                <a:gd name="T35" fmla="*/ 2147483647 h 2702"/>
                <a:gd name="T36" fmla="*/ 2147483647 w 2388"/>
                <a:gd name="T37" fmla="*/ 2147483647 h 2702"/>
                <a:gd name="T38" fmla="*/ 2147483647 w 2388"/>
                <a:gd name="T39" fmla="*/ 2147483647 h 2702"/>
                <a:gd name="T40" fmla="*/ 2147483647 w 2388"/>
                <a:gd name="T41" fmla="*/ 2147483647 h 2702"/>
                <a:gd name="T42" fmla="*/ 2147483647 w 2388"/>
                <a:gd name="T43" fmla="*/ 2147483647 h 2702"/>
                <a:gd name="T44" fmla="*/ 2147483647 w 2388"/>
                <a:gd name="T45" fmla="*/ 2147483647 h 2702"/>
                <a:gd name="T46" fmla="*/ 2147483647 w 2388"/>
                <a:gd name="T47" fmla="*/ 2147483647 h 2702"/>
                <a:gd name="T48" fmla="*/ 2147483647 w 2388"/>
                <a:gd name="T49" fmla="*/ 2147483647 h 2702"/>
                <a:gd name="T50" fmla="*/ 2147483647 w 2388"/>
                <a:gd name="T51" fmla="*/ 2147483647 h 2702"/>
                <a:gd name="T52" fmla="*/ 2147483647 w 2388"/>
                <a:gd name="T53" fmla="*/ 2147483647 h 2702"/>
                <a:gd name="T54" fmla="*/ 2147483647 w 2388"/>
                <a:gd name="T55" fmla="*/ 2147483647 h 2702"/>
                <a:gd name="T56" fmla="*/ 2147483647 w 2388"/>
                <a:gd name="T57" fmla="*/ 2147483647 h 2702"/>
                <a:gd name="T58" fmla="*/ 2147483647 w 2388"/>
                <a:gd name="T59" fmla="*/ 2147483647 h 2702"/>
                <a:gd name="T60" fmla="*/ 2147483647 w 2388"/>
                <a:gd name="T61" fmla="*/ 2147483647 h 2702"/>
                <a:gd name="T62" fmla="*/ 2147483647 w 2388"/>
                <a:gd name="T63" fmla="*/ 2147483647 h 2702"/>
                <a:gd name="T64" fmla="*/ 2147483647 w 2388"/>
                <a:gd name="T65" fmla="*/ 2147483647 h 2702"/>
                <a:gd name="T66" fmla="*/ 2147483647 w 2388"/>
                <a:gd name="T67" fmla="*/ 2147483647 h 2702"/>
                <a:gd name="T68" fmla="*/ 2147483647 w 2388"/>
                <a:gd name="T69" fmla="*/ 2147483647 h 2702"/>
                <a:gd name="T70" fmla="*/ 2147483647 w 2388"/>
                <a:gd name="T71" fmla="*/ 2147483647 h 2702"/>
                <a:gd name="T72" fmla="*/ 2147483647 w 2388"/>
                <a:gd name="T73" fmla="*/ 2147483647 h 2702"/>
                <a:gd name="T74" fmla="*/ 2147483647 w 2388"/>
                <a:gd name="T75" fmla="*/ 2147483647 h 2702"/>
                <a:gd name="T76" fmla="*/ 2147483647 w 2388"/>
                <a:gd name="T77" fmla="*/ 2147483647 h 2702"/>
                <a:gd name="T78" fmla="*/ 2147483647 w 2388"/>
                <a:gd name="T79" fmla="*/ 2147483647 h 2702"/>
                <a:gd name="T80" fmla="*/ 2147483647 w 2388"/>
                <a:gd name="T81" fmla="*/ 2147483647 h 2702"/>
                <a:gd name="T82" fmla="*/ 2147483647 w 2388"/>
                <a:gd name="T83" fmla="*/ 2147483647 h 2702"/>
                <a:gd name="T84" fmla="*/ 2147483647 w 2388"/>
                <a:gd name="T85" fmla="*/ 2147483647 h 2702"/>
                <a:gd name="T86" fmla="*/ 2147483647 w 2388"/>
                <a:gd name="T87" fmla="*/ 2147483647 h 2702"/>
                <a:gd name="T88" fmla="*/ 2147483647 w 2388"/>
                <a:gd name="T89" fmla="*/ 2147483647 h 2702"/>
                <a:gd name="T90" fmla="*/ 2147483647 w 2388"/>
                <a:gd name="T91" fmla="*/ 2147483647 h 2702"/>
                <a:gd name="T92" fmla="*/ 2147483647 w 2388"/>
                <a:gd name="T93" fmla="*/ 2147483647 h 2702"/>
                <a:gd name="T94" fmla="*/ 2147483647 w 2388"/>
                <a:gd name="T95" fmla="*/ 2147483647 h 2702"/>
                <a:gd name="T96" fmla="*/ 2147483647 w 2388"/>
                <a:gd name="T97" fmla="*/ 2147483647 h 2702"/>
                <a:gd name="T98" fmla="*/ 2147483647 w 2388"/>
                <a:gd name="T99" fmla="*/ 2147483647 h 2702"/>
                <a:gd name="T100" fmla="*/ 2147483647 w 2388"/>
                <a:gd name="T101" fmla="*/ 2147483647 h 2702"/>
                <a:gd name="T102" fmla="*/ 2147483647 w 2388"/>
                <a:gd name="T103" fmla="*/ 2147483647 h 2702"/>
                <a:gd name="T104" fmla="*/ 2147483647 w 2388"/>
                <a:gd name="T105" fmla="*/ 2147483647 h 2702"/>
                <a:gd name="T106" fmla="*/ 2147483647 w 2388"/>
                <a:gd name="T107" fmla="*/ 2147483647 h 2702"/>
                <a:gd name="T108" fmla="*/ 2147483647 w 2388"/>
                <a:gd name="T109" fmla="*/ 2147483647 h 2702"/>
                <a:gd name="T110" fmla="*/ 2147483647 w 2388"/>
                <a:gd name="T111" fmla="*/ 2147483647 h 2702"/>
                <a:gd name="T112" fmla="*/ 2147483647 w 2388"/>
                <a:gd name="T113" fmla="*/ 2147483647 h 2702"/>
                <a:gd name="T114" fmla="*/ 2147483647 w 2388"/>
                <a:gd name="T115" fmla="*/ 2147483647 h 2702"/>
                <a:gd name="T116" fmla="*/ 2147483647 w 2388"/>
                <a:gd name="T117" fmla="*/ 2147483647 h 2702"/>
                <a:gd name="T118" fmla="*/ 2147483647 w 2388"/>
                <a:gd name="T119" fmla="*/ 2147483647 h 2702"/>
                <a:gd name="T120" fmla="*/ 2147483647 w 2388"/>
                <a:gd name="T121" fmla="*/ 2147483647 h 2702"/>
                <a:gd name="T122" fmla="*/ 2147483647 w 2388"/>
                <a:gd name="T123" fmla="*/ 2147483647 h 270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88"/>
                <a:gd name="T187" fmla="*/ 0 h 2702"/>
                <a:gd name="T188" fmla="*/ 2388 w 2388"/>
                <a:gd name="T189" fmla="*/ 2702 h 270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88" h="2702">
                  <a:moveTo>
                    <a:pt x="0" y="886"/>
                  </a:moveTo>
                  <a:lnTo>
                    <a:pt x="2" y="882"/>
                  </a:lnTo>
                  <a:lnTo>
                    <a:pt x="4" y="876"/>
                  </a:lnTo>
                  <a:lnTo>
                    <a:pt x="10" y="874"/>
                  </a:lnTo>
                  <a:lnTo>
                    <a:pt x="16" y="870"/>
                  </a:lnTo>
                  <a:lnTo>
                    <a:pt x="14" y="864"/>
                  </a:lnTo>
                  <a:lnTo>
                    <a:pt x="10" y="858"/>
                  </a:lnTo>
                  <a:lnTo>
                    <a:pt x="10" y="852"/>
                  </a:lnTo>
                  <a:lnTo>
                    <a:pt x="12" y="846"/>
                  </a:lnTo>
                  <a:lnTo>
                    <a:pt x="14" y="840"/>
                  </a:lnTo>
                  <a:lnTo>
                    <a:pt x="18" y="834"/>
                  </a:lnTo>
                  <a:lnTo>
                    <a:pt x="26" y="830"/>
                  </a:lnTo>
                  <a:lnTo>
                    <a:pt x="32" y="824"/>
                  </a:lnTo>
                  <a:lnTo>
                    <a:pt x="38" y="820"/>
                  </a:lnTo>
                  <a:lnTo>
                    <a:pt x="44" y="820"/>
                  </a:lnTo>
                  <a:lnTo>
                    <a:pt x="48" y="814"/>
                  </a:lnTo>
                  <a:lnTo>
                    <a:pt x="48" y="808"/>
                  </a:lnTo>
                  <a:lnTo>
                    <a:pt x="46" y="800"/>
                  </a:lnTo>
                  <a:lnTo>
                    <a:pt x="44" y="794"/>
                  </a:lnTo>
                  <a:lnTo>
                    <a:pt x="42" y="788"/>
                  </a:lnTo>
                  <a:lnTo>
                    <a:pt x="42" y="782"/>
                  </a:lnTo>
                  <a:lnTo>
                    <a:pt x="44" y="782"/>
                  </a:lnTo>
                  <a:lnTo>
                    <a:pt x="46" y="776"/>
                  </a:lnTo>
                  <a:lnTo>
                    <a:pt x="50" y="770"/>
                  </a:lnTo>
                  <a:lnTo>
                    <a:pt x="54" y="762"/>
                  </a:lnTo>
                  <a:lnTo>
                    <a:pt x="56" y="758"/>
                  </a:lnTo>
                  <a:lnTo>
                    <a:pt x="56" y="750"/>
                  </a:lnTo>
                  <a:lnTo>
                    <a:pt x="56" y="744"/>
                  </a:lnTo>
                  <a:lnTo>
                    <a:pt x="58" y="738"/>
                  </a:lnTo>
                  <a:lnTo>
                    <a:pt x="60" y="732"/>
                  </a:lnTo>
                  <a:lnTo>
                    <a:pt x="60" y="726"/>
                  </a:lnTo>
                  <a:lnTo>
                    <a:pt x="58" y="722"/>
                  </a:lnTo>
                  <a:lnTo>
                    <a:pt x="58" y="720"/>
                  </a:lnTo>
                  <a:lnTo>
                    <a:pt x="64" y="718"/>
                  </a:lnTo>
                  <a:lnTo>
                    <a:pt x="70" y="716"/>
                  </a:lnTo>
                  <a:lnTo>
                    <a:pt x="76" y="712"/>
                  </a:lnTo>
                  <a:lnTo>
                    <a:pt x="82" y="708"/>
                  </a:lnTo>
                  <a:lnTo>
                    <a:pt x="88" y="704"/>
                  </a:lnTo>
                  <a:lnTo>
                    <a:pt x="90" y="696"/>
                  </a:lnTo>
                  <a:lnTo>
                    <a:pt x="96" y="696"/>
                  </a:lnTo>
                  <a:lnTo>
                    <a:pt x="102" y="692"/>
                  </a:lnTo>
                  <a:lnTo>
                    <a:pt x="108" y="688"/>
                  </a:lnTo>
                  <a:lnTo>
                    <a:pt x="114" y="682"/>
                  </a:lnTo>
                  <a:lnTo>
                    <a:pt x="120" y="678"/>
                  </a:lnTo>
                  <a:lnTo>
                    <a:pt x="126" y="676"/>
                  </a:lnTo>
                  <a:lnTo>
                    <a:pt x="130" y="676"/>
                  </a:lnTo>
                  <a:lnTo>
                    <a:pt x="136" y="676"/>
                  </a:lnTo>
                  <a:lnTo>
                    <a:pt x="142" y="676"/>
                  </a:lnTo>
                  <a:lnTo>
                    <a:pt x="148" y="674"/>
                  </a:lnTo>
                  <a:lnTo>
                    <a:pt x="154" y="672"/>
                  </a:lnTo>
                  <a:lnTo>
                    <a:pt x="160" y="670"/>
                  </a:lnTo>
                  <a:lnTo>
                    <a:pt x="166" y="670"/>
                  </a:lnTo>
                  <a:lnTo>
                    <a:pt x="172" y="670"/>
                  </a:lnTo>
                  <a:lnTo>
                    <a:pt x="178" y="664"/>
                  </a:lnTo>
                  <a:lnTo>
                    <a:pt x="182" y="658"/>
                  </a:lnTo>
                  <a:lnTo>
                    <a:pt x="188" y="654"/>
                  </a:lnTo>
                  <a:lnTo>
                    <a:pt x="194" y="650"/>
                  </a:lnTo>
                  <a:lnTo>
                    <a:pt x="198" y="656"/>
                  </a:lnTo>
                  <a:lnTo>
                    <a:pt x="204" y="654"/>
                  </a:lnTo>
                  <a:lnTo>
                    <a:pt x="210" y="652"/>
                  </a:lnTo>
                  <a:lnTo>
                    <a:pt x="214" y="660"/>
                  </a:lnTo>
                  <a:lnTo>
                    <a:pt x="220" y="664"/>
                  </a:lnTo>
                  <a:lnTo>
                    <a:pt x="222" y="666"/>
                  </a:lnTo>
                  <a:lnTo>
                    <a:pt x="226" y="660"/>
                  </a:lnTo>
                  <a:lnTo>
                    <a:pt x="232" y="666"/>
                  </a:lnTo>
                  <a:lnTo>
                    <a:pt x="234" y="666"/>
                  </a:lnTo>
                  <a:lnTo>
                    <a:pt x="236" y="664"/>
                  </a:lnTo>
                  <a:lnTo>
                    <a:pt x="236" y="660"/>
                  </a:lnTo>
                  <a:lnTo>
                    <a:pt x="236" y="658"/>
                  </a:lnTo>
                  <a:lnTo>
                    <a:pt x="238" y="652"/>
                  </a:lnTo>
                  <a:lnTo>
                    <a:pt x="238" y="646"/>
                  </a:lnTo>
                  <a:lnTo>
                    <a:pt x="240" y="640"/>
                  </a:lnTo>
                  <a:lnTo>
                    <a:pt x="240" y="634"/>
                  </a:lnTo>
                  <a:lnTo>
                    <a:pt x="242" y="628"/>
                  </a:lnTo>
                  <a:lnTo>
                    <a:pt x="242" y="622"/>
                  </a:lnTo>
                  <a:lnTo>
                    <a:pt x="242" y="614"/>
                  </a:lnTo>
                  <a:lnTo>
                    <a:pt x="244" y="608"/>
                  </a:lnTo>
                  <a:lnTo>
                    <a:pt x="244" y="602"/>
                  </a:lnTo>
                  <a:lnTo>
                    <a:pt x="246" y="596"/>
                  </a:lnTo>
                  <a:lnTo>
                    <a:pt x="246" y="590"/>
                  </a:lnTo>
                  <a:lnTo>
                    <a:pt x="246" y="584"/>
                  </a:lnTo>
                  <a:lnTo>
                    <a:pt x="248" y="578"/>
                  </a:lnTo>
                  <a:lnTo>
                    <a:pt x="248" y="572"/>
                  </a:lnTo>
                  <a:lnTo>
                    <a:pt x="250" y="566"/>
                  </a:lnTo>
                  <a:lnTo>
                    <a:pt x="250" y="564"/>
                  </a:lnTo>
                  <a:lnTo>
                    <a:pt x="250" y="560"/>
                  </a:lnTo>
                  <a:lnTo>
                    <a:pt x="250" y="552"/>
                  </a:lnTo>
                  <a:lnTo>
                    <a:pt x="252" y="546"/>
                  </a:lnTo>
                  <a:lnTo>
                    <a:pt x="252" y="540"/>
                  </a:lnTo>
                  <a:lnTo>
                    <a:pt x="254" y="534"/>
                  </a:lnTo>
                  <a:lnTo>
                    <a:pt x="254" y="528"/>
                  </a:lnTo>
                  <a:lnTo>
                    <a:pt x="256" y="522"/>
                  </a:lnTo>
                  <a:lnTo>
                    <a:pt x="256" y="516"/>
                  </a:lnTo>
                  <a:lnTo>
                    <a:pt x="258" y="510"/>
                  </a:lnTo>
                  <a:lnTo>
                    <a:pt x="258" y="504"/>
                  </a:lnTo>
                  <a:lnTo>
                    <a:pt x="258" y="498"/>
                  </a:lnTo>
                  <a:lnTo>
                    <a:pt x="260" y="492"/>
                  </a:lnTo>
                  <a:lnTo>
                    <a:pt x="260" y="484"/>
                  </a:lnTo>
                  <a:lnTo>
                    <a:pt x="262" y="478"/>
                  </a:lnTo>
                  <a:lnTo>
                    <a:pt x="262" y="472"/>
                  </a:lnTo>
                  <a:lnTo>
                    <a:pt x="264" y="466"/>
                  </a:lnTo>
                  <a:lnTo>
                    <a:pt x="264" y="464"/>
                  </a:lnTo>
                  <a:lnTo>
                    <a:pt x="268" y="458"/>
                  </a:lnTo>
                  <a:lnTo>
                    <a:pt x="266" y="452"/>
                  </a:lnTo>
                  <a:lnTo>
                    <a:pt x="266" y="446"/>
                  </a:lnTo>
                  <a:lnTo>
                    <a:pt x="264" y="440"/>
                  </a:lnTo>
                  <a:lnTo>
                    <a:pt x="264" y="436"/>
                  </a:lnTo>
                  <a:lnTo>
                    <a:pt x="258" y="430"/>
                  </a:lnTo>
                  <a:lnTo>
                    <a:pt x="256" y="424"/>
                  </a:lnTo>
                  <a:lnTo>
                    <a:pt x="252" y="418"/>
                  </a:lnTo>
                  <a:lnTo>
                    <a:pt x="254" y="412"/>
                  </a:lnTo>
                  <a:lnTo>
                    <a:pt x="254" y="406"/>
                  </a:lnTo>
                  <a:lnTo>
                    <a:pt x="252" y="402"/>
                  </a:lnTo>
                  <a:lnTo>
                    <a:pt x="246" y="398"/>
                  </a:lnTo>
                  <a:lnTo>
                    <a:pt x="240" y="392"/>
                  </a:lnTo>
                  <a:lnTo>
                    <a:pt x="234" y="388"/>
                  </a:lnTo>
                  <a:lnTo>
                    <a:pt x="228" y="382"/>
                  </a:lnTo>
                  <a:lnTo>
                    <a:pt x="224" y="376"/>
                  </a:lnTo>
                  <a:lnTo>
                    <a:pt x="224" y="370"/>
                  </a:lnTo>
                  <a:lnTo>
                    <a:pt x="224" y="366"/>
                  </a:lnTo>
                  <a:lnTo>
                    <a:pt x="226" y="360"/>
                  </a:lnTo>
                  <a:lnTo>
                    <a:pt x="226" y="354"/>
                  </a:lnTo>
                  <a:lnTo>
                    <a:pt x="226" y="348"/>
                  </a:lnTo>
                  <a:lnTo>
                    <a:pt x="226" y="342"/>
                  </a:lnTo>
                  <a:lnTo>
                    <a:pt x="226" y="334"/>
                  </a:lnTo>
                  <a:lnTo>
                    <a:pt x="226" y="330"/>
                  </a:lnTo>
                  <a:lnTo>
                    <a:pt x="228" y="324"/>
                  </a:lnTo>
                  <a:lnTo>
                    <a:pt x="234" y="324"/>
                  </a:lnTo>
                  <a:lnTo>
                    <a:pt x="240" y="324"/>
                  </a:lnTo>
                  <a:lnTo>
                    <a:pt x="246" y="320"/>
                  </a:lnTo>
                  <a:lnTo>
                    <a:pt x="252" y="322"/>
                  </a:lnTo>
                  <a:lnTo>
                    <a:pt x="258" y="316"/>
                  </a:lnTo>
                  <a:lnTo>
                    <a:pt x="264" y="316"/>
                  </a:lnTo>
                  <a:lnTo>
                    <a:pt x="270" y="320"/>
                  </a:lnTo>
                  <a:lnTo>
                    <a:pt x="276" y="322"/>
                  </a:lnTo>
                  <a:lnTo>
                    <a:pt x="280" y="318"/>
                  </a:lnTo>
                  <a:lnTo>
                    <a:pt x="280" y="312"/>
                  </a:lnTo>
                  <a:lnTo>
                    <a:pt x="282" y="306"/>
                  </a:lnTo>
                  <a:lnTo>
                    <a:pt x="278" y="300"/>
                  </a:lnTo>
                  <a:lnTo>
                    <a:pt x="274" y="294"/>
                  </a:lnTo>
                  <a:lnTo>
                    <a:pt x="268" y="292"/>
                  </a:lnTo>
                  <a:lnTo>
                    <a:pt x="262" y="292"/>
                  </a:lnTo>
                  <a:lnTo>
                    <a:pt x="256" y="292"/>
                  </a:lnTo>
                  <a:lnTo>
                    <a:pt x="250" y="292"/>
                  </a:lnTo>
                  <a:lnTo>
                    <a:pt x="244" y="290"/>
                  </a:lnTo>
                  <a:lnTo>
                    <a:pt x="238" y="292"/>
                  </a:lnTo>
                  <a:lnTo>
                    <a:pt x="238" y="286"/>
                  </a:lnTo>
                  <a:lnTo>
                    <a:pt x="238" y="280"/>
                  </a:lnTo>
                  <a:lnTo>
                    <a:pt x="238" y="274"/>
                  </a:lnTo>
                  <a:lnTo>
                    <a:pt x="238" y="268"/>
                  </a:lnTo>
                  <a:lnTo>
                    <a:pt x="238" y="262"/>
                  </a:lnTo>
                  <a:lnTo>
                    <a:pt x="238" y="256"/>
                  </a:lnTo>
                  <a:lnTo>
                    <a:pt x="238" y="250"/>
                  </a:lnTo>
                  <a:lnTo>
                    <a:pt x="238" y="248"/>
                  </a:lnTo>
                  <a:lnTo>
                    <a:pt x="244" y="246"/>
                  </a:lnTo>
                  <a:lnTo>
                    <a:pt x="250" y="246"/>
                  </a:lnTo>
                  <a:lnTo>
                    <a:pt x="256" y="242"/>
                  </a:lnTo>
                  <a:lnTo>
                    <a:pt x="262" y="244"/>
                  </a:lnTo>
                  <a:lnTo>
                    <a:pt x="268" y="246"/>
                  </a:lnTo>
                  <a:lnTo>
                    <a:pt x="274" y="246"/>
                  </a:lnTo>
                  <a:lnTo>
                    <a:pt x="280" y="246"/>
                  </a:lnTo>
                  <a:lnTo>
                    <a:pt x="286" y="246"/>
                  </a:lnTo>
                  <a:lnTo>
                    <a:pt x="292" y="246"/>
                  </a:lnTo>
                  <a:lnTo>
                    <a:pt x="298" y="246"/>
                  </a:lnTo>
                  <a:lnTo>
                    <a:pt x="306" y="246"/>
                  </a:lnTo>
                  <a:lnTo>
                    <a:pt x="312" y="246"/>
                  </a:lnTo>
                  <a:lnTo>
                    <a:pt x="318" y="246"/>
                  </a:lnTo>
                  <a:lnTo>
                    <a:pt x="324" y="246"/>
                  </a:lnTo>
                  <a:lnTo>
                    <a:pt x="330" y="246"/>
                  </a:lnTo>
                  <a:lnTo>
                    <a:pt x="336" y="246"/>
                  </a:lnTo>
                  <a:lnTo>
                    <a:pt x="338" y="240"/>
                  </a:lnTo>
                  <a:lnTo>
                    <a:pt x="338" y="234"/>
                  </a:lnTo>
                  <a:lnTo>
                    <a:pt x="340" y="228"/>
                  </a:lnTo>
                  <a:lnTo>
                    <a:pt x="346" y="230"/>
                  </a:lnTo>
                  <a:lnTo>
                    <a:pt x="348" y="238"/>
                  </a:lnTo>
                  <a:lnTo>
                    <a:pt x="350" y="242"/>
                  </a:lnTo>
                  <a:lnTo>
                    <a:pt x="356" y="246"/>
                  </a:lnTo>
                  <a:lnTo>
                    <a:pt x="362" y="242"/>
                  </a:lnTo>
                  <a:lnTo>
                    <a:pt x="368" y="238"/>
                  </a:lnTo>
                  <a:lnTo>
                    <a:pt x="372" y="230"/>
                  </a:lnTo>
                  <a:lnTo>
                    <a:pt x="376" y="224"/>
                  </a:lnTo>
                  <a:lnTo>
                    <a:pt x="382" y="220"/>
                  </a:lnTo>
                  <a:lnTo>
                    <a:pt x="388" y="218"/>
                  </a:lnTo>
                  <a:lnTo>
                    <a:pt x="394" y="224"/>
                  </a:lnTo>
                  <a:lnTo>
                    <a:pt x="396" y="230"/>
                  </a:lnTo>
                  <a:lnTo>
                    <a:pt x="400" y="236"/>
                  </a:lnTo>
                  <a:lnTo>
                    <a:pt x="404" y="242"/>
                  </a:lnTo>
                  <a:lnTo>
                    <a:pt x="406" y="248"/>
                  </a:lnTo>
                  <a:lnTo>
                    <a:pt x="408" y="254"/>
                  </a:lnTo>
                  <a:lnTo>
                    <a:pt x="408" y="258"/>
                  </a:lnTo>
                  <a:lnTo>
                    <a:pt x="408" y="264"/>
                  </a:lnTo>
                  <a:lnTo>
                    <a:pt x="408" y="270"/>
                  </a:lnTo>
                  <a:lnTo>
                    <a:pt x="408" y="276"/>
                  </a:lnTo>
                  <a:lnTo>
                    <a:pt x="408" y="282"/>
                  </a:lnTo>
                  <a:lnTo>
                    <a:pt x="412" y="284"/>
                  </a:lnTo>
                  <a:lnTo>
                    <a:pt x="420" y="282"/>
                  </a:lnTo>
                  <a:lnTo>
                    <a:pt x="426" y="288"/>
                  </a:lnTo>
                  <a:lnTo>
                    <a:pt x="432" y="292"/>
                  </a:lnTo>
                  <a:lnTo>
                    <a:pt x="438" y="300"/>
                  </a:lnTo>
                  <a:lnTo>
                    <a:pt x="444" y="306"/>
                  </a:lnTo>
                  <a:lnTo>
                    <a:pt x="450" y="310"/>
                  </a:lnTo>
                  <a:lnTo>
                    <a:pt x="458" y="314"/>
                  </a:lnTo>
                  <a:lnTo>
                    <a:pt x="462" y="314"/>
                  </a:lnTo>
                  <a:lnTo>
                    <a:pt x="468" y="312"/>
                  </a:lnTo>
                  <a:lnTo>
                    <a:pt x="474" y="310"/>
                  </a:lnTo>
                  <a:lnTo>
                    <a:pt x="480" y="304"/>
                  </a:lnTo>
                  <a:lnTo>
                    <a:pt x="486" y="300"/>
                  </a:lnTo>
                  <a:lnTo>
                    <a:pt x="492" y="298"/>
                  </a:lnTo>
                  <a:lnTo>
                    <a:pt x="498" y="298"/>
                  </a:lnTo>
                  <a:lnTo>
                    <a:pt x="504" y="302"/>
                  </a:lnTo>
                  <a:lnTo>
                    <a:pt x="502" y="308"/>
                  </a:lnTo>
                  <a:lnTo>
                    <a:pt x="500" y="314"/>
                  </a:lnTo>
                  <a:lnTo>
                    <a:pt x="502" y="322"/>
                  </a:lnTo>
                  <a:lnTo>
                    <a:pt x="508" y="318"/>
                  </a:lnTo>
                  <a:lnTo>
                    <a:pt x="510" y="312"/>
                  </a:lnTo>
                  <a:lnTo>
                    <a:pt x="512" y="306"/>
                  </a:lnTo>
                  <a:lnTo>
                    <a:pt x="518" y="302"/>
                  </a:lnTo>
                  <a:lnTo>
                    <a:pt x="524" y="298"/>
                  </a:lnTo>
                  <a:lnTo>
                    <a:pt x="526" y="292"/>
                  </a:lnTo>
                  <a:lnTo>
                    <a:pt x="528" y="286"/>
                  </a:lnTo>
                  <a:lnTo>
                    <a:pt x="534" y="284"/>
                  </a:lnTo>
                  <a:lnTo>
                    <a:pt x="536" y="284"/>
                  </a:lnTo>
                  <a:lnTo>
                    <a:pt x="542" y="280"/>
                  </a:lnTo>
                  <a:lnTo>
                    <a:pt x="548" y="278"/>
                  </a:lnTo>
                  <a:lnTo>
                    <a:pt x="554" y="278"/>
                  </a:lnTo>
                  <a:lnTo>
                    <a:pt x="560" y="274"/>
                  </a:lnTo>
                  <a:lnTo>
                    <a:pt x="562" y="268"/>
                  </a:lnTo>
                  <a:lnTo>
                    <a:pt x="568" y="264"/>
                  </a:lnTo>
                  <a:lnTo>
                    <a:pt x="574" y="264"/>
                  </a:lnTo>
                  <a:lnTo>
                    <a:pt x="576" y="270"/>
                  </a:lnTo>
                  <a:lnTo>
                    <a:pt x="580" y="264"/>
                  </a:lnTo>
                  <a:lnTo>
                    <a:pt x="584" y="258"/>
                  </a:lnTo>
                  <a:lnTo>
                    <a:pt x="590" y="254"/>
                  </a:lnTo>
                  <a:lnTo>
                    <a:pt x="592" y="248"/>
                  </a:lnTo>
                  <a:lnTo>
                    <a:pt x="594" y="242"/>
                  </a:lnTo>
                  <a:lnTo>
                    <a:pt x="594" y="236"/>
                  </a:lnTo>
                  <a:lnTo>
                    <a:pt x="598" y="230"/>
                  </a:lnTo>
                  <a:lnTo>
                    <a:pt x="604" y="228"/>
                  </a:lnTo>
                  <a:lnTo>
                    <a:pt x="610" y="230"/>
                  </a:lnTo>
                  <a:lnTo>
                    <a:pt x="614" y="224"/>
                  </a:lnTo>
                  <a:lnTo>
                    <a:pt x="622" y="220"/>
                  </a:lnTo>
                  <a:lnTo>
                    <a:pt x="628" y="218"/>
                  </a:lnTo>
                  <a:lnTo>
                    <a:pt x="632" y="218"/>
                  </a:lnTo>
                  <a:lnTo>
                    <a:pt x="634" y="212"/>
                  </a:lnTo>
                  <a:lnTo>
                    <a:pt x="636" y="206"/>
                  </a:lnTo>
                  <a:lnTo>
                    <a:pt x="636" y="200"/>
                  </a:lnTo>
                  <a:lnTo>
                    <a:pt x="632" y="198"/>
                  </a:lnTo>
                  <a:lnTo>
                    <a:pt x="624" y="198"/>
                  </a:lnTo>
                  <a:lnTo>
                    <a:pt x="618" y="196"/>
                  </a:lnTo>
                  <a:lnTo>
                    <a:pt x="614" y="198"/>
                  </a:lnTo>
                  <a:lnTo>
                    <a:pt x="606" y="198"/>
                  </a:lnTo>
                  <a:lnTo>
                    <a:pt x="602" y="196"/>
                  </a:lnTo>
                  <a:lnTo>
                    <a:pt x="594" y="190"/>
                  </a:lnTo>
                  <a:lnTo>
                    <a:pt x="598" y="184"/>
                  </a:lnTo>
                  <a:lnTo>
                    <a:pt x="598" y="178"/>
                  </a:lnTo>
                  <a:lnTo>
                    <a:pt x="598" y="172"/>
                  </a:lnTo>
                  <a:lnTo>
                    <a:pt x="594" y="166"/>
                  </a:lnTo>
                  <a:lnTo>
                    <a:pt x="590" y="160"/>
                  </a:lnTo>
                  <a:lnTo>
                    <a:pt x="588" y="154"/>
                  </a:lnTo>
                  <a:lnTo>
                    <a:pt x="584" y="148"/>
                  </a:lnTo>
                  <a:lnTo>
                    <a:pt x="586" y="142"/>
                  </a:lnTo>
                  <a:lnTo>
                    <a:pt x="584" y="136"/>
                  </a:lnTo>
                  <a:lnTo>
                    <a:pt x="584" y="130"/>
                  </a:lnTo>
                  <a:lnTo>
                    <a:pt x="586" y="124"/>
                  </a:lnTo>
                  <a:lnTo>
                    <a:pt x="588" y="118"/>
                  </a:lnTo>
                  <a:lnTo>
                    <a:pt x="584" y="112"/>
                  </a:lnTo>
                  <a:lnTo>
                    <a:pt x="578" y="106"/>
                  </a:lnTo>
                  <a:lnTo>
                    <a:pt x="572" y="104"/>
                  </a:lnTo>
                  <a:lnTo>
                    <a:pt x="566" y="98"/>
                  </a:lnTo>
                  <a:lnTo>
                    <a:pt x="562" y="92"/>
                  </a:lnTo>
                  <a:lnTo>
                    <a:pt x="558" y="86"/>
                  </a:lnTo>
                  <a:lnTo>
                    <a:pt x="556" y="80"/>
                  </a:lnTo>
                  <a:lnTo>
                    <a:pt x="552" y="76"/>
                  </a:lnTo>
                  <a:lnTo>
                    <a:pt x="554" y="68"/>
                  </a:lnTo>
                  <a:lnTo>
                    <a:pt x="560" y="74"/>
                  </a:lnTo>
                  <a:lnTo>
                    <a:pt x="562" y="74"/>
                  </a:lnTo>
                  <a:lnTo>
                    <a:pt x="564" y="80"/>
                  </a:lnTo>
                  <a:lnTo>
                    <a:pt x="570" y="80"/>
                  </a:lnTo>
                  <a:lnTo>
                    <a:pt x="576" y="78"/>
                  </a:lnTo>
                  <a:lnTo>
                    <a:pt x="580" y="78"/>
                  </a:lnTo>
                  <a:lnTo>
                    <a:pt x="588" y="80"/>
                  </a:lnTo>
                  <a:lnTo>
                    <a:pt x="594" y="84"/>
                  </a:lnTo>
                  <a:lnTo>
                    <a:pt x="594" y="90"/>
                  </a:lnTo>
                  <a:lnTo>
                    <a:pt x="598" y="96"/>
                  </a:lnTo>
                  <a:lnTo>
                    <a:pt x="604" y="94"/>
                  </a:lnTo>
                  <a:lnTo>
                    <a:pt x="610" y="92"/>
                  </a:lnTo>
                  <a:lnTo>
                    <a:pt x="614" y="94"/>
                  </a:lnTo>
                  <a:lnTo>
                    <a:pt x="622" y="92"/>
                  </a:lnTo>
                  <a:lnTo>
                    <a:pt x="628" y="98"/>
                  </a:lnTo>
                  <a:lnTo>
                    <a:pt x="632" y="98"/>
                  </a:lnTo>
                  <a:lnTo>
                    <a:pt x="638" y="92"/>
                  </a:lnTo>
                  <a:lnTo>
                    <a:pt x="644" y="94"/>
                  </a:lnTo>
                  <a:lnTo>
                    <a:pt x="648" y="100"/>
                  </a:lnTo>
                  <a:lnTo>
                    <a:pt x="652" y="106"/>
                  </a:lnTo>
                  <a:lnTo>
                    <a:pt x="656" y="112"/>
                  </a:lnTo>
                  <a:lnTo>
                    <a:pt x="662" y="118"/>
                  </a:lnTo>
                  <a:lnTo>
                    <a:pt x="668" y="118"/>
                  </a:lnTo>
                  <a:lnTo>
                    <a:pt x="674" y="116"/>
                  </a:lnTo>
                  <a:lnTo>
                    <a:pt x="676" y="110"/>
                  </a:lnTo>
                  <a:lnTo>
                    <a:pt x="676" y="104"/>
                  </a:lnTo>
                  <a:lnTo>
                    <a:pt x="674" y="98"/>
                  </a:lnTo>
                  <a:lnTo>
                    <a:pt x="674" y="92"/>
                  </a:lnTo>
                  <a:lnTo>
                    <a:pt x="678" y="86"/>
                  </a:lnTo>
                  <a:lnTo>
                    <a:pt x="682" y="86"/>
                  </a:lnTo>
                  <a:lnTo>
                    <a:pt x="690" y="84"/>
                  </a:lnTo>
                  <a:lnTo>
                    <a:pt x="694" y="78"/>
                  </a:lnTo>
                  <a:lnTo>
                    <a:pt x="700" y="76"/>
                  </a:lnTo>
                  <a:lnTo>
                    <a:pt x="704" y="80"/>
                  </a:lnTo>
                  <a:lnTo>
                    <a:pt x="712" y="82"/>
                  </a:lnTo>
                  <a:lnTo>
                    <a:pt x="716" y="80"/>
                  </a:lnTo>
                  <a:lnTo>
                    <a:pt x="722" y="76"/>
                  </a:lnTo>
                  <a:lnTo>
                    <a:pt x="728" y="78"/>
                  </a:lnTo>
                  <a:lnTo>
                    <a:pt x="734" y="74"/>
                  </a:lnTo>
                  <a:lnTo>
                    <a:pt x="740" y="72"/>
                  </a:lnTo>
                  <a:lnTo>
                    <a:pt x="746" y="72"/>
                  </a:lnTo>
                  <a:lnTo>
                    <a:pt x="752" y="68"/>
                  </a:lnTo>
                  <a:lnTo>
                    <a:pt x="754" y="60"/>
                  </a:lnTo>
                  <a:lnTo>
                    <a:pt x="758" y="60"/>
                  </a:lnTo>
                  <a:lnTo>
                    <a:pt x="764" y="58"/>
                  </a:lnTo>
                  <a:lnTo>
                    <a:pt x="768" y="52"/>
                  </a:lnTo>
                  <a:lnTo>
                    <a:pt x="772" y="54"/>
                  </a:lnTo>
                  <a:lnTo>
                    <a:pt x="774" y="56"/>
                  </a:lnTo>
                  <a:lnTo>
                    <a:pt x="780" y="54"/>
                  </a:lnTo>
                  <a:lnTo>
                    <a:pt x="786" y="52"/>
                  </a:lnTo>
                  <a:lnTo>
                    <a:pt x="788" y="46"/>
                  </a:lnTo>
                  <a:lnTo>
                    <a:pt x="794" y="40"/>
                  </a:lnTo>
                  <a:lnTo>
                    <a:pt x="800" y="36"/>
                  </a:lnTo>
                  <a:lnTo>
                    <a:pt x="806" y="32"/>
                  </a:lnTo>
                  <a:lnTo>
                    <a:pt x="810" y="26"/>
                  </a:lnTo>
                  <a:lnTo>
                    <a:pt x="810" y="20"/>
                  </a:lnTo>
                  <a:lnTo>
                    <a:pt x="810" y="18"/>
                  </a:lnTo>
                  <a:lnTo>
                    <a:pt x="808" y="12"/>
                  </a:lnTo>
                  <a:lnTo>
                    <a:pt x="802" y="6"/>
                  </a:lnTo>
                  <a:lnTo>
                    <a:pt x="804" y="4"/>
                  </a:lnTo>
                  <a:lnTo>
                    <a:pt x="810" y="6"/>
                  </a:lnTo>
                  <a:lnTo>
                    <a:pt x="816" y="6"/>
                  </a:lnTo>
                  <a:lnTo>
                    <a:pt x="822" y="4"/>
                  </a:lnTo>
                  <a:lnTo>
                    <a:pt x="828" y="4"/>
                  </a:lnTo>
                  <a:lnTo>
                    <a:pt x="834" y="0"/>
                  </a:lnTo>
                  <a:lnTo>
                    <a:pt x="840" y="4"/>
                  </a:lnTo>
                  <a:lnTo>
                    <a:pt x="842" y="8"/>
                  </a:lnTo>
                  <a:lnTo>
                    <a:pt x="846" y="12"/>
                  </a:lnTo>
                  <a:lnTo>
                    <a:pt x="848" y="18"/>
                  </a:lnTo>
                  <a:lnTo>
                    <a:pt x="846" y="24"/>
                  </a:lnTo>
                  <a:lnTo>
                    <a:pt x="846" y="26"/>
                  </a:lnTo>
                  <a:lnTo>
                    <a:pt x="846" y="30"/>
                  </a:lnTo>
                  <a:lnTo>
                    <a:pt x="844" y="36"/>
                  </a:lnTo>
                  <a:lnTo>
                    <a:pt x="842" y="42"/>
                  </a:lnTo>
                  <a:lnTo>
                    <a:pt x="838" y="48"/>
                  </a:lnTo>
                  <a:lnTo>
                    <a:pt x="842" y="54"/>
                  </a:lnTo>
                  <a:lnTo>
                    <a:pt x="844" y="54"/>
                  </a:lnTo>
                  <a:lnTo>
                    <a:pt x="850" y="56"/>
                  </a:lnTo>
                  <a:lnTo>
                    <a:pt x="856" y="58"/>
                  </a:lnTo>
                  <a:lnTo>
                    <a:pt x="862" y="60"/>
                  </a:lnTo>
                  <a:lnTo>
                    <a:pt x="864" y="64"/>
                  </a:lnTo>
                  <a:lnTo>
                    <a:pt x="860" y="68"/>
                  </a:lnTo>
                  <a:lnTo>
                    <a:pt x="860" y="74"/>
                  </a:lnTo>
                  <a:lnTo>
                    <a:pt x="866" y="80"/>
                  </a:lnTo>
                  <a:lnTo>
                    <a:pt x="868" y="86"/>
                  </a:lnTo>
                  <a:lnTo>
                    <a:pt x="872" y="92"/>
                  </a:lnTo>
                  <a:lnTo>
                    <a:pt x="868" y="98"/>
                  </a:lnTo>
                  <a:lnTo>
                    <a:pt x="864" y="104"/>
                  </a:lnTo>
                  <a:lnTo>
                    <a:pt x="864" y="110"/>
                  </a:lnTo>
                  <a:lnTo>
                    <a:pt x="858" y="114"/>
                  </a:lnTo>
                  <a:lnTo>
                    <a:pt x="852" y="118"/>
                  </a:lnTo>
                  <a:lnTo>
                    <a:pt x="854" y="124"/>
                  </a:lnTo>
                  <a:lnTo>
                    <a:pt x="854" y="130"/>
                  </a:lnTo>
                  <a:lnTo>
                    <a:pt x="852" y="136"/>
                  </a:lnTo>
                  <a:lnTo>
                    <a:pt x="850" y="142"/>
                  </a:lnTo>
                  <a:lnTo>
                    <a:pt x="848" y="148"/>
                  </a:lnTo>
                  <a:lnTo>
                    <a:pt x="846" y="154"/>
                  </a:lnTo>
                  <a:lnTo>
                    <a:pt x="844" y="160"/>
                  </a:lnTo>
                  <a:lnTo>
                    <a:pt x="844" y="166"/>
                  </a:lnTo>
                  <a:lnTo>
                    <a:pt x="844" y="172"/>
                  </a:lnTo>
                  <a:lnTo>
                    <a:pt x="842" y="178"/>
                  </a:lnTo>
                  <a:lnTo>
                    <a:pt x="844" y="184"/>
                  </a:lnTo>
                  <a:lnTo>
                    <a:pt x="846" y="190"/>
                  </a:lnTo>
                  <a:lnTo>
                    <a:pt x="848" y="196"/>
                  </a:lnTo>
                  <a:lnTo>
                    <a:pt x="848" y="202"/>
                  </a:lnTo>
                  <a:lnTo>
                    <a:pt x="854" y="206"/>
                  </a:lnTo>
                  <a:lnTo>
                    <a:pt x="858" y="212"/>
                  </a:lnTo>
                  <a:lnTo>
                    <a:pt x="858" y="218"/>
                  </a:lnTo>
                  <a:lnTo>
                    <a:pt x="858" y="224"/>
                  </a:lnTo>
                  <a:lnTo>
                    <a:pt x="856" y="230"/>
                  </a:lnTo>
                  <a:lnTo>
                    <a:pt x="856" y="236"/>
                  </a:lnTo>
                  <a:lnTo>
                    <a:pt x="862" y="238"/>
                  </a:lnTo>
                  <a:lnTo>
                    <a:pt x="864" y="238"/>
                  </a:lnTo>
                  <a:lnTo>
                    <a:pt x="860" y="244"/>
                  </a:lnTo>
                  <a:lnTo>
                    <a:pt x="866" y="246"/>
                  </a:lnTo>
                  <a:lnTo>
                    <a:pt x="872" y="252"/>
                  </a:lnTo>
                  <a:lnTo>
                    <a:pt x="876" y="258"/>
                  </a:lnTo>
                  <a:lnTo>
                    <a:pt x="882" y="260"/>
                  </a:lnTo>
                  <a:lnTo>
                    <a:pt x="884" y="268"/>
                  </a:lnTo>
                  <a:lnTo>
                    <a:pt x="890" y="272"/>
                  </a:lnTo>
                  <a:lnTo>
                    <a:pt x="896" y="274"/>
                  </a:lnTo>
                  <a:lnTo>
                    <a:pt x="902" y="274"/>
                  </a:lnTo>
                  <a:lnTo>
                    <a:pt x="904" y="274"/>
                  </a:lnTo>
                  <a:lnTo>
                    <a:pt x="908" y="280"/>
                  </a:lnTo>
                  <a:lnTo>
                    <a:pt x="914" y="284"/>
                  </a:lnTo>
                  <a:lnTo>
                    <a:pt x="920" y="280"/>
                  </a:lnTo>
                  <a:lnTo>
                    <a:pt x="924" y="278"/>
                  </a:lnTo>
                  <a:lnTo>
                    <a:pt x="932" y="278"/>
                  </a:lnTo>
                  <a:lnTo>
                    <a:pt x="934" y="272"/>
                  </a:lnTo>
                  <a:lnTo>
                    <a:pt x="932" y="266"/>
                  </a:lnTo>
                  <a:lnTo>
                    <a:pt x="938" y="264"/>
                  </a:lnTo>
                  <a:lnTo>
                    <a:pt x="942" y="258"/>
                  </a:lnTo>
                  <a:lnTo>
                    <a:pt x="948" y="258"/>
                  </a:lnTo>
                  <a:lnTo>
                    <a:pt x="954" y="258"/>
                  </a:lnTo>
                  <a:lnTo>
                    <a:pt x="960" y="260"/>
                  </a:lnTo>
                  <a:lnTo>
                    <a:pt x="964" y="254"/>
                  </a:lnTo>
                  <a:lnTo>
                    <a:pt x="970" y="250"/>
                  </a:lnTo>
                  <a:lnTo>
                    <a:pt x="976" y="248"/>
                  </a:lnTo>
                  <a:lnTo>
                    <a:pt x="982" y="248"/>
                  </a:lnTo>
                  <a:lnTo>
                    <a:pt x="988" y="248"/>
                  </a:lnTo>
                  <a:lnTo>
                    <a:pt x="994" y="244"/>
                  </a:lnTo>
                  <a:lnTo>
                    <a:pt x="998" y="238"/>
                  </a:lnTo>
                  <a:lnTo>
                    <a:pt x="1002" y="232"/>
                  </a:lnTo>
                  <a:lnTo>
                    <a:pt x="1008" y="228"/>
                  </a:lnTo>
                  <a:lnTo>
                    <a:pt x="1014" y="228"/>
                  </a:lnTo>
                  <a:lnTo>
                    <a:pt x="1020" y="226"/>
                  </a:lnTo>
                  <a:lnTo>
                    <a:pt x="1024" y="232"/>
                  </a:lnTo>
                  <a:lnTo>
                    <a:pt x="1030" y="232"/>
                  </a:lnTo>
                  <a:lnTo>
                    <a:pt x="1034" y="236"/>
                  </a:lnTo>
                  <a:lnTo>
                    <a:pt x="1040" y="234"/>
                  </a:lnTo>
                  <a:lnTo>
                    <a:pt x="1046" y="232"/>
                  </a:lnTo>
                  <a:lnTo>
                    <a:pt x="1052" y="234"/>
                  </a:lnTo>
                  <a:lnTo>
                    <a:pt x="1054" y="234"/>
                  </a:lnTo>
                  <a:lnTo>
                    <a:pt x="1056" y="232"/>
                  </a:lnTo>
                  <a:lnTo>
                    <a:pt x="1062" y="232"/>
                  </a:lnTo>
                  <a:lnTo>
                    <a:pt x="1068" y="234"/>
                  </a:lnTo>
                  <a:lnTo>
                    <a:pt x="1074" y="234"/>
                  </a:lnTo>
                  <a:lnTo>
                    <a:pt x="1080" y="238"/>
                  </a:lnTo>
                  <a:lnTo>
                    <a:pt x="1086" y="238"/>
                  </a:lnTo>
                  <a:lnTo>
                    <a:pt x="1092" y="232"/>
                  </a:lnTo>
                  <a:lnTo>
                    <a:pt x="1090" y="226"/>
                  </a:lnTo>
                  <a:lnTo>
                    <a:pt x="1088" y="220"/>
                  </a:lnTo>
                  <a:lnTo>
                    <a:pt x="1084" y="216"/>
                  </a:lnTo>
                  <a:lnTo>
                    <a:pt x="1078" y="210"/>
                  </a:lnTo>
                  <a:lnTo>
                    <a:pt x="1080" y="204"/>
                  </a:lnTo>
                  <a:lnTo>
                    <a:pt x="1086" y="200"/>
                  </a:lnTo>
                  <a:lnTo>
                    <a:pt x="1086" y="194"/>
                  </a:lnTo>
                  <a:lnTo>
                    <a:pt x="1092" y="192"/>
                  </a:lnTo>
                  <a:lnTo>
                    <a:pt x="1098" y="196"/>
                  </a:lnTo>
                  <a:lnTo>
                    <a:pt x="1104" y="200"/>
                  </a:lnTo>
                  <a:lnTo>
                    <a:pt x="1110" y="198"/>
                  </a:lnTo>
                  <a:lnTo>
                    <a:pt x="1116" y="196"/>
                  </a:lnTo>
                  <a:lnTo>
                    <a:pt x="1122" y="198"/>
                  </a:lnTo>
                  <a:lnTo>
                    <a:pt x="1128" y="192"/>
                  </a:lnTo>
                  <a:lnTo>
                    <a:pt x="1134" y="192"/>
                  </a:lnTo>
                  <a:lnTo>
                    <a:pt x="1140" y="188"/>
                  </a:lnTo>
                  <a:lnTo>
                    <a:pt x="1146" y="186"/>
                  </a:lnTo>
                  <a:lnTo>
                    <a:pt x="1148" y="186"/>
                  </a:lnTo>
                  <a:lnTo>
                    <a:pt x="1152" y="192"/>
                  </a:lnTo>
                  <a:lnTo>
                    <a:pt x="1158" y="198"/>
                  </a:lnTo>
                  <a:lnTo>
                    <a:pt x="1160" y="196"/>
                  </a:lnTo>
                  <a:lnTo>
                    <a:pt x="1166" y="202"/>
                  </a:lnTo>
                  <a:lnTo>
                    <a:pt x="1170" y="204"/>
                  </a:lnTo>
                  <a:lnTo>
                    <a:pt x="1172" y="204"/>
                  </a:lnTo>
                  <a:lnTo>
                    <a:pt x="1178" y="210"/>
                  </a:lnTo>
                  <a:lnTo>
                    <a:pt x="1182" y="214"/>
                  </a:lnTo>
                  <a:lnTo>
                    <a:pt x="1188" y="216"/>
                  </a:lnTo>
                  <a:lnTo>
                    <a:pt x="1194" y="216"/>
                  </a:lnTo>
                  <a:lnTo>
                    <a:pt x="1200" y="220"/>
                  </a:lnTo>
                  <a:lnTo>
                    <a:pt x="1204" y="214"/>
                  </a:lnTo>
                  <a:lnTo>
                    <a:pt x="1210" y="212"/>
                  </a:lnTo>
                  <a:lnTo>
                    <a:pt x="1216" y="208"/>
                  </a:lnTo>
                  <a:lnTo>
                    <a:pt x="1222" y="202"/>
                  </a:lnTo>
                  <a:lnTo>
                    <a:pt x="1228" y="206"/>
                  </a:lnTo>
                  <a:lnTo>
                    <a:pt x="1234" y="208"/>
                  </a:lnTo>
                  <a:lnTo>
                    <a:pt x="1240" y="210"/>
                  </a:lnTo>
                  <a:lnTo>
                    <a:pt x="1246" y="208"/>
                  </a:lnTo>
                  <a:lnTo>
                    <a:pt x="1250" y="206"/>
                  </a:lnTo>
                  <a:lnTo>
                    <a:pt x="1254" y="212"/>
                  </a:lnTo>
                  <a:lnTo>
                    <a:pt x="1254" y="214"/>
                  </a:lnTo>
                  <a:lnTo>
                    <a:pt x="1258" y="212"/>
                  </a:lnTo>
                  <a:lnTo>
                    <a:pt x="1264" y="214"/>
                  </a:lnTo>
                  <a:lnTo>
                    <a:pt x="1272" y="216"/>
                  </a:lnTo>
                  <a:lnTo>
                    <a:pt x="1276" y="210"/>
                  </a:lnTo>
                  <a:lnTo>
                    <a:pt x="1282" y="206"/>
                  </a:lnTo>
                  <a:lnTo>
                    <a:pt x="1288" y="202"/>
                  </a:lnTo>
                  <a:lnTo>
                    <a:pt x="1292" y="196"/>
                  </a:lnTo>
                  <a:lnTo>
                    <a:pt x="1296" y="190"/>
                  </a:lnTo>
                  <a:lnTo>
                    <a:pt x="1296" y="184"/>
                  </a:lnTo>
                  <a:lnTo>
                    <a:pt x="1300" y="178"/>
                  </a:lnTo>
                  <a:lnTo>
                    <a:pt x="1302" y="174"/>
                  </a:lnTo>
                  <a:lnTo>
                    <a:pt x="1304" y="166"/>
                  </a:lnTo>
                  <a:lnTo>
                    <a:pt x="1308" y="162"/>
                  </a:lnTo>
                  <a:lnTo>
                    <a:pt x="1310" y="156"/>
                  </a:lnTo>
                  <a:lnTo>
                    <a:pt x="1310" y="150"/>
                  </a:lnTo>
                  <a:lnTo>
                    <a:pt x="1310" y="148"/>
                  </a:lnTo>
                  <a:lnTo>
                    <a:pt x="1316" y="140"/>
                  </a:lnTo>
                  <a:lnTo>
                    <a:pt x="1320" y="136"/>
                  </a:lnTo>
                  <a:lnTo>
                    <a:pt x="1324" y="130"/>
                  </a:lnTo>
                  <a:lnTo>
                    <a:pt x="1326" y="124"/>
                  </a:lnTo>
                  <a:lnTo>
                    <a:pt x="1330" y="118"/>
                  </a:lnTo>
                  <a:lnTo>
                    <a:pt x="1332" y="112"/>
                  </a:lnTo>
                  <a:lnTo>
                    <a:pt x="1336" y="106"/>
                  </a:lnTo>
                  <a:lnTo>
                    <a:pt x="1342" y="100"/>
                  </a:lnTo>
                  <a:lnTo>
                    <a:pt x="1346" y="94"/>
                  </a:lnTo>
                  <a:lnTo>
                    <a:pt x="1348" y="88"/>
                  </a:lnTo>
                  <a:lnTo>
                    <a:pt x="1352" y="86"/>
                  </a:lnTo>
                  <a:lnTo>
                    <a:pt x="1356" y="84"/>
                  </a:lnTo>
                  <a:lnTo>
                    <a:pt x="1360" y="78"/>
                  </a:lnTo>
                  <a:lnTo>
                    <a:pt x="1362" y="84"/>
                  </a:lnTo>
                  <a:lnTo>
                    <a:pt x="1366" y="90"/>
                  </a:lnTo>
                  <a:lnTo>
                    <a:pt x="1364" y="84"/>
                  </a:lnTo>
                  <a:lnTo>
                    <a:pt x="1362" y="78"/>
                  </a:lnTo>
                  <a:lnTo>
                    <a:pt x="1360" y="72"/>
                  </a:lnTo>
                  <a:lnTo>
                    <a:pt x="1364" y="66"/>
                  </a:lnTo>
                  <a:lnTo>
                    <a:pt x="1370" y="70"/>
                  </a:lnTo>
                  <a:lnTo>
                    <a:pt x="1376" y="76"/>
                  </a:lnTo>
                  <a:lnTo>
                    <a:pt x="1380" y="82"/>
                  </a:lnTo>
                  <a:lnTo>
                    <a:pt x="1384" y="88"/>
                  </a:lnTo>
                  <a:lnTo>
                    <a:pt x="1384" y="94"/>
                  </a:lnTo>
                  <a:lnTo>
                    <a:pt x="1384" y="100"/>
                  </a:lnTo>
                  <a:lnTo>
                    <a:pt x="1382" y="106"/>
                  </a:lnTo>
                  <a:lnTo>
                    <a:pt x="1382" y="112"/>
                  </a:lnTo>
                  <a:lnTo>
                    <a:pt x="1384" y="110"/>
                  </a:lnTo>
                  <a:lnTo>
                    <a:pt x="1384" y="102"/>
                  </a:lnTo>
                  <a:lnTo>
                    <a:pt x="1388" y="98"/>
                  </a:lnTo>
                  <a:lnTo>
                    <a:pt x="1388" y="102"/>
                  </a:lnTo>
                  <a:lnTo>
                    <a:pt x="1390" y="110"/>
                  </a:lnTo>
                  <a:lnTo>
                    <a:pt x="1388" y="116"/>
                  </a:lnTo>
                  <a:lnTo>
                    <a:pt x="1388" y="122"/>
                  </a:lnTo>
                  <a:lnTo>
                    <a:pt x="1388" y="128"/>
                  </a:lnTo>
                  <a:lnTo>
                    <a:pt x="1390" y="134"/>
                  </a:lnTo>
                  <a:lnTo>
                    <a:pt x="1390" y="140"/>
                  </a:lnTo>
                  <a:lnTo>
                    <a:pt x="1392" y="146"/>
                  </a:lnTo>
                  <a:lnTo>
                    <a:pt x="1392" y="152"/>
                  </a:lnTo>
                  <a:lnTo>
                    <a:pt x="1394" y="158"/>
                  </a:lnTo>
                  <a:lnTo>
                    <a:pt x="1396" y="166"/>
                  </a:lnTo>
                  <a:lnTo>
                    <a:pt x="1396" y="170"/>
                  </a:lnTo>
                  <a:lnTo>
                    <a:pt x="1402" y="178"/>
                  </a:lnTo>
                  <a:lnTo>
                    <a:pt x="1402" y="184"/>
                  </a:lnTo>
                  <a:lnTo>
                    <a:pt x="1402" y="190"/>
                  </a:lnTo>
                  <a:lnTo>
                    <a:pt x="1406" y="196"/>
                  </a:lnTo>
                  <a:lnTo>
                    <a:pt x="1406" y="202"/>
                  </a:lnTo>
                  <a:lnTo>
                    <a:pt x="1410" y="208"/>
                  </a:lnTo>
                  <a:lnTo>
                    <a:pt x="1410" y="214"/>
                  </a:lnTo>
                  <a:lnTo>
                    <a:pt x="1406" y="220"/>
                  </a:lnTo>
                  <a:lnTo>
                    <a:pt x="1410" y="218"/>
                  </a:lnTo>
                  <a:lnTo>
                    <a:pt x="1416" y="222"/>
                  </a:lnTo>
                  <a:lnTo>
                    <a:pt x="1418" y="228"/>
                  </a:lnTo>
                  <a:lnTo>
                    <a:pt x="1422" y="234"/>
                  </a:lnTo>
                  <a:lnTo>
                    <a:pt x="1428" y="240"/>
                  </a:lnTo>
                  <a:lnTo>
                    <a:pt x="1434" y="240"/>
                  </a:lnTo>
                  <a:lnTo>
                    <a:pt x="1440" y="240"/>
                  </a:lnTo>
                  <a:lnTo>
                    <a:pt x="1446" y="242"/>
                  </a:lnTo>
                  <a:lnTo>
                    <a:pt x="1452" y="244"/>
                  </a:lnTo>
                  <a:lnTo>
                    <a:pt x="1454" y="246"/>
                  </a:lnTo>
                  <a:lnTo>
                    <a:pt x="1458" y="252"/>
                  </a:lnTo>
                  <a:lnTo>
                    <a:pt x="1458" y="258"/>
                  </a:lnTo>
                  <a:lnTo>
                    <a:pt x="1460" y="262"/>
                  </a:lnTo>
                  <a:lnTo>
                    <a:pt x="1458" y="268"/>
                  </a:lnTo>
                  <a:lnTo>
                    <a:pt x="1458" y="276"/>
                  </a:lnTo>
                  <a:lnTo>
                    <a:pt x="1452" y="278"/>
                  </a:lnTo>
                  <a:lnTo>
                    <a:pt x="1450" y="280"/>
                  </a:lnTo>
                  <a:lnTo>
                    <a:pt x="1444" y="282"/>
                  </a:lnTo>
                  <a:lnTo>
                    <a:pt x="1446" y="282"/>
                  </a:lnTo>
                  <a:lnTo>
                    <a:pt x="1452" y="282"/>
                  </a:lnTo>
                  <a:lnTo>
                    <a:pt x="1458" y="284"/>
                  </a:lnTo>
                  <a:lnTo>
                    <a:pt x="1452" y="290"/>
                  </a:lnTo>
                  <a:lnTo>
                    <a:pt x="1446" y="296"/>
                  </a:lnTo>
                  <a:lnTo>
                    <a:pt x="1440" y="302"/>
                  </a:lnTo>
                  <a:lnTo>
                    <a:pt x="1434" y="306"/>
                  </a:lnTo>
                  <a:lnTo>
                    <a:pt x="1432" y="312"/>
                  </a:lnTo>
                  <a:lnTo>
                    <a:pt x="1428" y="318"/>
                  </a:lnTo>
                  <a:lnTo>
                    <a:pt x="1422" y="324"/>
                  </a:lnTo>
                  <a:lnTo>
                    <a:pt x="1420" y="330"/>
                  </a:lnTo>
                  <a:lnTo>
                    <a:pt x="1416" y="336"/>
                  </a:lnTo>
                  <a:lnTo>
                    <a:pt x="1412" y="342"/>
                  </a:lnTo>
                  <a:lnTo>
                    <a:pt x="1408" y="348"/>
                  </a:lnTo>
                  <a:lnTo>
                    <a:pt x="1402" y="354"/>
                  </a:lnTo>
                  <a:lnTo>
                    <a:pt x="1396" y="354"/>
                  </a:lnTo>
                  <a:lnTo>
                    <a:pt x="1390" y="360"/>
                  </a:lnTo>
                  <a:lnTo>
                    <a:pt x="1386" y="366"/>
                  </a:lnTo>
                  <a:lnTo>
                    <a:pt x="1384" y="370"/>
                  </a:lnTo>
                  <a:lnTo>
                    <a:pt x="1382" y="372"/>
                  </a:lnTo>
                  <a:lnTo>
                    <a:pt x="1376" y="374"/>
                  </a:lnTo>
                  <a:lnTo>
                    <a:pt x="1374" y="378"/>
                  </a:lnTo>
                  <a:lnTo>
                    <a:pt x="1370" y="382"/>
                  </a:lnTo>
                  <a:lnTo>
                    <a:pt x="1368" y="388"/>
                  </a:lnTo>
                  <a:lnTo>
                    <a:pt x="1364" y="394"/>
                  </a:lnTo>
                  <a:lnTo>
                    <a:pt x="1362" y="400"/>
                  </a:lnTo>
                  <a:lnTo>
                    <a:pt x="1356" y="406"/>
                  </a:lnTo>
                  <a:lnTo>
                    <a:pt x="1352" y="412"/>
                  </a:lnTo>
                  <a:lnTo>
                    <a:pt x="1348" y="418"/>
                  </a:lnTo>
                  <a:lnTo>
                    <a:pt x="1346" y="424"/>
                  </a:lnTo>
                  <a:lnTo>
                    <a:pt x="1346" y="430"/>
                  </a:lnTo>
                  <a:lnTo>
                    <a:pt x="1348" y="436"/>
                  </a:lnTo>
                  <a:lnTo>
                    <a:pt x="1342" y="442"/>
                  </a:lnTo>
                  <a:lnTo>
                    <a:pt x="1334" y="446"/>
                  </a:lnTo>
                  <a:lnTo>
                    <a:pt x="1334" y="452"/>
                  </a:lnTo>
                  <a:lnTo>
                    <a:pt x="1334" y="458"/>
                  </a:lnTo>
                  <a:lnTo>
                    <a:pt x="1328" y="464"/>
                  </a:lnTo>
                  <a:lnTo>
                    <a:pt x="1322" y="464"/>
                  </a:lnTo>
                  <a:lnTo>
                    <a:pt x="1316" y="458"/>
                  </a:lnTo>
                  <a:lnTo>
                    <a:pt x="1310" y="462"/>
                  </a:lnTo>
                  <a:lnTo>
                    <a:pt x="1304" y="466"/>
                  </a:lnTo>
                  <a:lnTo>
                    <a:pt x="1298" y="470"/>
                  </a:lnTo>
                  <a:lnTo>
                    <a:pt x="1292" y="472"/>
                  </a:lnTo>
                  <a:lnTo>
                    <a:pt x="1286" y="474"/>
                  </a:lnTo>
                  <a:lnTo>
                    <a:pt x="1286" y="476"/>
                  </a:lnTo>
                  <a:lnTo>
                    <a:pt x="1292" y="476"/>
                  </a:lnTo>
                  <a:lnTo>
                    <a:pt x="1298" y="474"/>
                  </a:lnTo>
                  <a:lnTo>
                    <a:pt x="1304" y="474"/>
                  </a:lnTo>
                  <a:lnTo>
                    <a:pt x="1310" y="472"/>
                  </a:lnTo>
                  <a:lnTo>
                    <a:pt x="1316" y="478"/>
                  </a:lnTo>
                  <a:lnTo>
                    <a:pt x="1314" y="484"/>
                  </a:lnTo>
                  <a:lnTo>
                    <a:pt x="1320" y="478"/>
                  </a:lnTo>
                  <a:lnTo>
                    <a:pt x="1326" y="478"/>
                  </a:lnTo>
                  <a:lnTo>
                    <a:pt x="1332" y="476"/>
                  </a:lnTo>
                  <a:lnTo>
                    <a:pt x="1338" y="472"/>
                  </a:lnTo>
                  <a:lnTo>
                    <a:pt x="1344" y="468"/>
                  </a:lnTo>
                  <a:lnTo>
                    <a:pt x="1350" y="462"/>
                  </a:lnTo>
                  <a:lnTo>
                    <a:pt x="1352" y="462"/>
                  </a:lnTo>
                  <a:lnTo>
                    <a:pt x="1358" y="460"/>
                  </a:lnTo>
                  <a:lnTo>
                    <a:pt x="1364" y="458"/>
                  </a:lnTo>
                  <a:lnTo>
                    <a:pt x="1370" y="454"/>
                  </a:lnTo>
                  <a:lnTo>
                    <a:pt x="1376" y="450"/>
                  </a:lnTo>
                  <a:lnTo>
                    <a:pt x="1380" y="444"/>
                  </a:lnTo>
                  <a:lnTo>
                    <a:pt x="1386" y="440"/>
                  </a:lnTo>
                  <a:lnTo>
                    <a:pt x="1390" y="436"/>
                  </a:lnTo>
                  <a:lnTo>
                    <a:pt x="1396" y="428"/>
                  </a:lnTo>
                  <a:lnTo>
                    <a:pt x="1402" y="434"/>
                  </a:lnTo>
                  <a:lnTo>
                    <a:pt x="1402" y="440"/>
                  </a:lnTo>
                  <a:lnTo>
                    <a:pt x="1402" y="446"/>
                  </a:lnTo>
                  <a:lnTo>
                    <a:pt x="1402" y="452"/>
                  </a:lnTo>
                  <a:lnTo>
                    <a:pt x="1400" y="458"/>
                  </a:lnTo>
                  <a:lnTo>
                    <a:pt x="1402" y="464"/>
                  </a:lnTo>
                  <a:lnTo>
                    <a:pt x="1404" y="470"/>
                  </a:lnTo>
                  <a:lnTo>
                    <a:pt x="1410" y="478"/>
                  </a:lnTo>
                  <a:lnTo>
                    <a:pt x="1410" y="484"/>
                  </a:lnTo>
                  <a:lnTo>
                    <a:pt x="1408" y="490"/>
                  </a:lnTo>
                  <a:lnTo>
                    <a:pt x="1410" y="492"/>
                  </a:lnTo>
                  <a:lnTo>
                    <a:pt x="1412" y="492"/>
                  </a:lnTo>
                  <a:lnTo>
                    <a:pt x="1420" y="492"/>
                  </a:lnTo>
                  <a:lnTo>
                    <a:pt x="1424" y="494"/>
                  </a:lnTo>
                  <a:lnTo>
                    <a:pt x="1424" y="500"/>
                  </a:lnTo>
                  <a:lnTo>
                    <a:pt x="1430" y="500"/>
                  </a:lnTo>
                  <a:lnTo>
                    <a:pt x="1436" y="496"/>
                  </a:lnTo>
                  <a:lnTo>
                    <a:pt x="1442" y="500"/>
                  </a:lnTo>
                  <a:lnTo>
                    <a:pt x="1446" y="494"/>
                  </a:lnTo>
                  <a:lnTo>
                    <a:pt x="1452" y="492"/>
                  </a:lnTo>
                  <a:lnTo>
                    <a:pt x="1458" y="494"/>
                  </a:lnTo>
                  <a:lnTo>
                    <a:pt x="1462" y="500"/>
                  </a:lnTo>
                  <a:lnTo>
                    <a:pt x="1462" y="506"/>
                  </a:lnTo>
                  <a:lnTo>
                    <a:pt x="1462" y="500"/>
                  </a:lnTo>
                  <a:lnTo>
                    <a:pt x="1468" y="496"/>
                  </a:lnTo>
                  <a:lnTo>
                    <a:pt x="1474" y="496"/>
                  </a:lnTo>
                  <a:lnTo>
                    <a:pt x="1480" y="494"/>
                  </a:lnTo>
                  <a:lnTo>
                    <a:pt x="1484" y="488"/>
                  </a:lnTo>
                  <a:lnTo>
                    <a:pt x="1490" y="488"/>
                  </a:lnTo>
                  <a:lnTo>
                    <a:pt x="1496" y="486"/>
                  </a:lnTo>
                  <a:lnTo>
                    <a:pt x="1494" y="492"/>
                  </a:lnTo>
                  <a:lnTo>
                    <a:pt x="1492" y="498"/>
                  </a:lnTo>
                  <a:lnTo>
                    <a:pt x="1490" y="504"/>
                  </a:lnTo>
                  <a:lnTo>
                    <a:pt x="1488" y="510"/>
                  </a:lnTo>
                  <a:lnTo>
                    <a:pt x="1486" y="516"/>
                  </a:lnTo>
                  <a:lnTo>
                    <a:pt x="1482" y="522"/>
                  </a:lnTo>
                  <a:lnTo>
                    <a:pt x="1484" y="530"/>
                  </a:lnTo>
                  <a:lnTo>
                    <a:pt x="1486" y="534"/>
                  </a:lnTo>
                  <a:lnTo>
                    <a:pt x="1482" y="542"/>
                  </a:lnTo>
                  <a:lnTo>
                    <a:pt x="1484" y="542"/>
                  </a:lnTo>
                  <a:lnTo>
                    <a:pt x="1484" y="544"/>
                  </a:lnTo>
                  <a:lnTo>
                    <a:pt x="1488" y="538"/>
                  </a:lnTo>
                  <a:lnTo>
                    <a:pt x="1488" y="532"/>
                  </a:lnTo>
                  <a:lnTo>
                    <a:pt x="1490" y="526"/>
                  </a:lnTo>
                  <a:lnTo>
                    <a:pt x="1492" y="520"/>
                  </a:lnTo>
                  <a:lnTo>
                    <a:pt x="1494" y="514"/>
                  </a:lnTo>
                  <a:lnTo>
                    <a:pt x="1496" y="508"/>
                  </a:lnTo>
                  <a:lnTo>
                    <a:pt x="1500" y="502"/>
                  </a:lnTo>
                  <a:lnTo>
                    <a:pt x="1504" y="496"/>
                  </a:lnTo>
                  <a:lnTo>
                    <a:pt x="1506" y="496"/>
                  </a:lnTo>
                  <a:lnTo>
                    <a:pt x="1510" y="494"/>
                  </a:lnTo>
                  <a:lnTo>
                    <a:pt x="1516" y="492"/>
                  </a:lnTo>
                  <a:lnTo>
                    <a:pt x="1520" y="488"/>
                  </a:lnTo>
                  <a:lnTo>
                    <a:pt x="1522" y="480"/>
                  </a:lnTo>
                  <a:lnTo>
                    <a:pt x="1526" y="474"/>
                  </a:lnTo>
                  <a:lnTo>
                    <a:pt x="1530" y="468"/>
                  </a:lnTo>
                  <a:lnTo>
                    <a:pt x="1536" y="468"/>
                  </a:lnTo>
                  <a:lnTo>
                    <a:pt x="1538" y="470"/>
                  </a:lnTo>
                  <a:lnTo>
                    <a:pt x="1542" y="476"/>
                  </a:lnTo>
                  <a:lnTo>
                    <a:pt x="1548" y="480"/>
                  </a:lnTo>
                  <a:lnTo>
                    <a:pt x="1548" y="476"/>
                  </a:lnTo>
                  <a:lnTo>
                    <a:pt x="1546" y="470"/>
                  </a:lnTo>
                  <a:lnTo>
                    <a:pt x="1550" y="470"/>
                  </a:lnTo>
                  <a:lnTo>
                    <a:pt x="1556" y="468"/>
                  </a:lnTo>
                  <a:lnTo>
                    <a:pt x="1564" y="468"/>
                  </a:lnTo>
                  <a:lnTo>
                    <a:pt x="1562" y="466"/>
                  </a:lnTo>
                  <a:lnTo>
                    <a:pt x="1556" y="466"/>
                  </a:lnTo>
                  <a:lnTo>
                    <a:pt x="1550" y="466"/>
                  </a:lnTo>
                  <a:lnTo>
                    <a:pt x="1544" y="468"/>
                  </a:lnTo>
                  <a:lnTo>
                    <a:pt x="1544" y="462"/>
                  </a:lnTo>
                  <a:lnTo>
                    <a:pt x="1548" y="456"/>
                  </a:lnTo>
                  <a:lnTo>
                    <a:pt x="1554" y="456"/>
                  </a:lnTo>
                  <a:lnTo>
                    <a:pt x="1554" y="450"/>
                  </a:lnTo>
                  <a:lnTo>
                    <a:pt x="1556" y="444"/>
                  </a:lnTo>
                  <a:lnTo>
                    <a:pt x="1556" y="438"/>
                  </a:lnTo>
                  <a:lnTo>
                    <a:pt x="1554" y="432"/>
                  </a:lnTo>
                  <a:lnTo>
                    <a:pt x="1558" y="428"/>
                  </a:lnTo>
                  <a:lnTo>
                    <a:pt x="1564" y="422"/>
                  </a:lnTo>
                  <a:lnTo>
                    <a:pt x="1570" y="416"/>
                  </a:lnTo>
                  <a:lnTo>
                    <a:pt x="1576" y="420"/>
                  </a:lnTo>
                  <a:lnTo>
                    <a:pt x="1582" y="414"/>
                  </a:lnTo>
                  <a:lnTo>
                    <a:pt x="1586" y="412"/>
                  </a:lnTo>
                  <a:lnTo>
                    <a:pt x="1592" y="414"/>
                  </a:lnTo>
                  <a:lnTo>
                    <a:pt x="1592" y="418"/>
                  </a:lnTo>
                  <a:lnTo>
                    <a:pt x="1598" y="414"/>
                  </a:lnTo>
                  <a:lnTo>
                    <a:pt x="1604" y="414"/>
                  </a:lnTo>
                  <a:lnTo>
                    <a:pt x="1606" y="420"/>
                  </a:lnTo>
                  <a:lnTo>
                    <a:pt x="1610" y="418"/>
                  </a:lnTo>
                  <a:lnTo>
                    <a:pt x="1606" y="412"/>
                  </a:lnTo>
                  <a:lnTo>
                    <a:pt x="1608" y="406"/>
                  </a:lnTo>
                  <a:lnTo>
                    <a:pt x="1614" y="408"/>
                  </a:lnTo>
                  <a:lnTo>
                    <a:pt x="1618" y="410"/>
                  </a:lnTo>
                  <a:lnTo>
                    <a:pt x="1624" y="414"/>
                  </a:lnTo>
                  <a:lnTo>
                    <a:pt x="1624" y="420"/>
                  </a:lnTo>
                  <a:lnTo>
                    <a:pt x="1630" y="416"/>
                  </a:lnTo>
                  <a:lnTo>
                    <a:pt x="1632" y="422"/>
                  </a:lnTo>
                  <a:lnTo>
                    <a:pt x="1638" y="420"/>
                  </a:lnTo>
                  <a:lnTo>
                    <a:pt x="1638" y="426"/>
                  </a:lnTo>
                  <a:lnTo>
                    <a:pt x="1644" y="422"/>
                  </a:lnTo>
                  <a:lnTo>
                    <a:pt x="1646" y="416"/>
                  </a:lnTo>
                  <a:lnTo>
                    <a:pt x="1646" y="422"/>
                  </a:lnTo>
                  <a:lnTo>
                    <a:pt x="1652" y="426"/>
                  </a:lnTo>
                  <a:lnTo>
                    <a:pt x="1650" y="432"/>
                  </a:lnTo>
                  <a:lnTo>
                    <a:pt x="1654" y="424"/>
                  </a:lnTo>
                  <a:lnTo>
                    <a:pt x="1660" y="426"/>
                  </a:lnTo>
                  <a:lnTo>
                    <a:pt x="1658" y="432"/>
                  </a:lnTo>
                  <a:lnTo>
                    <a:pt x="1652" y="436"/>
                  </a:lnTo>
                  <a:lnTo>
                    <a:pt x="1656" y="434"/>
                  </a:lnTo>
                  <a:lnTo>
                    <a:pt x="1664" y="436"/>
                  </a:lnTo>
                  <a:lnTo>
                    <a:pt x="1670" y="438"/>
                  </a:lnTo>
                  <a:lnTo>
                    <a:pt x="1674" y="434"/>
                  </a:lnTo>
                  <a:lnTo>
                    <a:pt x="1674" y="440"/>
                  </a:lnTo>
                  <a:lnTo>
                    <a:pt x="1680" y="440"/>
                  </a:lnTo>
                  <a:lnTo>
                    <a:pt x="1684" y="434"/>
                  </a:lnTo>
                  <a:lnTo>
                    <a:pt x="1684" y="440"/>
                  </a:lnTo>
                  <a:lnTo>
                    <a:pt x="1686" y="446"/>
                  </a:lnTo>
                  <a:lnTo>
                    <a:pt x="1692" y="444"/>
                  </a:lnTo>
                  <a:lnTo>
                    <a:pt x="1690" y="450"/>
                  </a:lnTo>
                  <a:lnTo>
                    <a:pt x="1694" y="450"/>
                  </a:lnTo>
                  <a:lnTo>
                    <a:pt x="1698" y="444"/>
                  </a:lnTo>
                  <a:lnTo>
                    <a:pt x="1698" y="450"/>
                  </a:lnTo>
                  <a:lnTo>
                    <a:pt x="1704" y="448"/>
                  </a:lnTo>
                  <a:lnTo>
                    <a:pt x="1708" y="454"/>
                  </a:lnTo>
                  <a:lnTo>
                    <a:pt x="1714" y="450"/>
                  </a:lnTo>
                  <a:lnTo>
                    <a:pt x="1714" y="454"/>
                  </a:lnTo>
                  <a:lnTo>
                    <a:pt x="1718" y="460"/>
                  </a:lnTo>
                  <a:lnTo>
                    <a:pt x="1724" y="456"/>
                  </a:lnTo>
                  <a:lnTo>
                    <a:pt x="1726" y="462"/>
                  </a:lnTo>
                  <a:lnTo>
                    <a:pt x="1732" y="458"/>
                  </a:lnTo>
                  <a:lnTo>
                    <a:pt x="1728" y="464"/>
                  </a:lnTo>
                  <a:lnTo>
                    <a:pt x="1730" y="470"/>
                  </a:lnTo>
                  <a:lnTo>
                    <a:pt x="1734" y="464"/>
                  </a:lnTo>
                  <a:lnTo>
                    <a:pt x="1740" y="462"/>
                  </a:lnTo>
                  <a:lnTo>
                    <a:pt x="1736" y="468"/>
                  </a:lnTo>
                  <a:lnTo>
                    <a:pt x="1736" y="474"/>
                  </a:lnTo>
                  <a:lnTo>
                    <a:pt x="1736" y="480"/>
                  </a:lnTo>
                  <a:lnTo>
                    <a:pt x="1742" y="486"/>
                  </a:lnTo>
                  <a:lnTo>
                    <a:pt x="1744" y="482"/>
                  </a:lnTo>
                  <a:lnTo>
                    <a:pt x="1742" y="476"/>
                  </a:lnTo>
                  <a:lnTo>
                    <a:pt x="1746" y="470"/>
                  </a:lnTo>
                  <a:lnTo>
                    <a:pt x="1752" y="468"/>
                  </a:lnTo>
                  <a:lnTo>
                    <a:pt x="1758" y="470"/>
                  </a:lnTo>
                  <a:lnTo>
                    <a:pt x="1758" y="472"/>
                  </a:lnTo>
                  <a:lnTo>
                    <a:pt x="1758" y="474"/>
                  </a:lnTo>
                  <a:lnTo>
                    <a:pt x="1758" y="476"/>
                  </a:lnTo>
                  <a:lnTo>
                    <a:pt x="1760" y="476"/>
                  </a:lnTo>
                  <a:lnTo>
                    <a:pt x="1760" y="470"/>
                  </a:lnTo>
                  <a:lnTo>
                    <a:pt x="1766" y="466"/>
                  </a:lnTo>
                  <a:lnTo>
                    <a:pt x="1764" y="472"/>
                  </a:lnTo>
                  <a:lnTo>
                    <a:pt x="1764" y="478"/>
                  </a:lnTo>
                  <a:lnTo>
                    <a:pt x="1770" y="476"/>
                  </a:lnTo>
                  <a:lnTo>
                    <a:pt x="1770" y="482"/>
                  </a:lnTo>
                  <a:lnTo>
                    <a:pt x="1770" y="488"/>
                  </a:lnTo>
                  <a:lnTo>
                    <a:pt x="1776" y="486"/>
                  </a:lnTo>
                  <a:lnTo>
                    <a:pt x="1770" y="492"/>
                  </a:lnTo>
                  <a:lnTo>
                    <a:pt x="1776" y="492"/>
                  </a:lnTo>
                  <a:lnTo>
                    <a:pt x="1782" y="486"/>
                  </a:lnTo>
                  <a:lnTo>
                    <a:pt x="1780" y="492"/>
                  </a:lnTo>
                  <a:lnTo>
                    <a:pt x="1788" y="494"/>
                  </a:lnTo>
                  <a:lnTo>
                    <a:pt x="1788" y="500"/>
                  </a:lnTo>
                  <a:lnTo>
                    <a:pt x="1784" y="506"/>
                  </a:lnTo>
                  <a:lnTo>
                    <a:pt x="1784" y="512"/>
                  </a:lnTo>
                  <a:lnTo>
                    <a:pt x="1782" y="518"/>
                  </a:lnTo>
                  <a:lnTo>
                    <a:pt x="1776" y="522"/>
                  </a:lnTo>
                  <a:lnTo>
                    <a:pt x="1770" y="524"/>
                  </a:lnTo>
                  <a:lnTo>
                    <a:pt x="1776" y="522"/>
                  </a:lnTo>
                  <a:lnTo>
                    <a:pt x="1780" y="530"/>
                  </a:lnTo>
                  <a:lnTo>
                    <a:pt x="1780" y="524"/>
                  </a:lnTo>
                  <a:lnTo>
                    <a:pt x="1786" y="516"/>
                  </a:lnTo>
                  <a:lnTo>
                    <a:pt x="1792" y="514"/>
                  </a:lnTo>
                  <a:lnTo>
                    <a:pt x="1796" y="520"/>
                  </a:lnTo>
                  <a:lnTo>
                    <a:pt x="1798" y="526"/>
                  </a:lnTo>
                  <a:lnTo>
                    <a:pt x="1794" y="532"/>
                  </a:lnTo>
                  <a:lnTo>
                    <a:pt x="1788" y="534"/>
                  </a:lnTo>
                  <a:lnTo>
                    <a:pt x="1784" y="540"/>
                  </a:lnTo>
                  <a:lnTo>
                    <a:pt x="1784" y="546"/>
                  </a:lnTo>
                  <a:lnTo>
                    <a:pt x="1782" y="552"/>
                  </a:lnTo>
                  <a:lnTo>
                    <a:pt x="1780" y="558"/>
                  </a:lnTo>
                  <a:lnTo>
                    <a:pt x="1780" y="564"/>
                  </a:lnTo>
                  <a:lnTo>
                    <a:pt x="1778" y="570"/>
                  </a:lnTo>
                  <a:lnTo>
                    <a:pt x="1782" y="576"/>
                  </a:lnTo>
                  <a:lnTo>
                    <a:pt x="1778" y="582"/>
                  </a:lnTo>
                  <a:lnTo>
                    <a:pt x="1772" y="588"/>
                  </a:lnTo>
                  <a:lnTo>
                    <a:pt x="1772" y="594"/>
                  </a:lnTo>
                  <a:lnTo>
                    <a:pt x="1774" y="594"/>
                  </a:lnTo>
                  <a:lnTo>
                    <a:pt x="1776" y="588"/>
                  </a:lnTo>
                  <a:lnTo>
                    <a:pt x="1782" y="584"/>
                  </a:lnTo>
                  <a:lnTo>
                    <a:pt x="1786" y="578"/>
                  </a:lnTo>
                  <a:lnTo>
                    <a:pt x="1792" y="572"/>
                  </a:lnTo>
                  <a:lnTo>
                    <a:pt x="1794" y="566"/>
                  </a:lnTo>
                  <a:lnTo>
                    <a:pt x="1796" y="560"/>
                  </a:lnTo>
                  <a:lnTo>
                    <a:pt x="1796" y="554"/>
                  </a:lnTo>
                  <a:lnTo>
                    <a:pt x="1798" y="548"/>
                  </a:lnTo>
                  <a:lnTo>
                    <a:pt x="1798" y="542"/>
                  </a:lnTo>
                  <a:lnTo>
                    <a:pt x="1802" y="540"/>
                  </a:lnTo>
                  <a:lnTo>
                    <a:pt x="1806" y="538"/>
                  </a:lnTo>
                  <a:lnTo>
                    <a:pt x="1812" y="534"/>
                  </a:lnTo>
                  <a:lnTo>
                    <a:pt x="1818" y="534"/>
                  </a:lnTo>
                  <a:lnTo>
                    <a:pt x="1818" y="540"/>
                  </a:lnTo>
                  <a:lnTo>
                    <a:pt x="1814" y="546"/>
                  </a:lnTo>
                  <a:lnTo>
                    <a:pt x="1810" y="552"/>
                  </a:lnTo>
                  <a:lnTo>
                    <a:pt x="1804" y="554"/>
                  </a:lnTo>
                  <a:lnTo>
                    <a:pt x="1802" y="560"/>
                  </a:lnTo>
                  <a:lnTo>
                    <a:pt x="1808" y="558"/>
                  </a:lnTo>
                  <a:lnTo>
                    <a:pt x="1808" y="564"/>
                  </a:lnTo>
                  <a:lnTo>
                    <a:pt x="1810" y="562"/>
                  </a:lnTo>
                  <a:lnTo>
                    <a:pt x="1816" y="560"/>
                  </a:lnTo>
                  <a:lnTo>
                    <a:pt x="1816" y="554"/>
                  </a:lnTo>
                  <a:lnTo>
                    <a:pt x="1820" y="548"/>
                  </a:lnTo>
                  <a:lnTo>
                    <a:pt x="1824" y="542"/>
                  </a:lnTo>
                  <a:lnTo>
                    <a:pt x="1828" y="548"/>
                  </a:lnTo>
                  <a:lnTo>
                    <a:pt x="1830" y="542"/>
                  </a:lnTo>
                  <a:lnTo>
                    <a:pt x="1834" y="540"/>
                  </a:lnTo>
                  <a:lnTo>
                    <a:pt x="1840" y="538"/>
                  </a:lnTo>
                  <a:lnTo>
                    <a:pt x="1848" y="536"/>
                  </a:lnTo>
                  <a:lnTo>
                    <a:pt x="1852" y="538"/>
                  </a:lnTo>
                  <a:lnTo>
                    <a:pt x="1852" y="536"/>
                  </a:lnTo>
                  <a:lnTo>
                    <a:pt x="1854" y="530"/>
                  </a:lnTo>
                  <a:lnTo>
                    <a:pt x="1860" y="530"/>
                  </a:lnTo>
                  <a:lnTo>
                    <a:pt x="1866" y="532"/>
                  </a:lnTo>
                  <a:lnTo>
                    <a:pt x="1872" y="534"/>
                  </a:lnTo>
                  <a:lnTo>
                    <a:pt x="1878" y="536"/>
                  </a:lnTo>
                  <a:lnTo>
                    <a:pt x="1884" y="536"/>
                  </a:lnTo>
                  <a:lnTo>
                    <a:pt x="1890" y="540"/>
                  </a:lnTo>
                  <a:lnTo>
                    <a:pt x="1896" y="542"/>
                  </a:lnTo>
                  <a:lnTo>
                    <a:pt x="1902" y="546"/>
                  </a:lnTo>
                  <a:lnTo>
                    <a:pt x="1908" y="550"/>
                  </a:lnTo>
                  <a:lnTo>
                    <a:pt x="1914" y="556"/>
                  </a:lnTo>
                  <a:lnTo>
                    <a:pt x="1920" y="556"/>
                  </a:lnTo>
                  <a:lnTo>
                    <a:pt x="1926" y="556"/>
                  </a:lnTo>
                  <a:lnTo>
                    <a:pt x="1928" y="562"/>
                  </a:lnTo>
                  <a:lnTo>
                    <a:pt x="1934" y="560"/>
                  </a:lnTo>
                  <a:lnTo>
                    <a:pt x="1940" y="562"/>
                  </a:lnTo>
                  <a:lnTo>
                    <a:pt x="1944" y="564"/>
                  </a:lnTo>
                  <a:lnTo>
                    <a:pt x="1946" y="562"/>
                  </a:lnTo>
                  <a:lnTo>
                    <a:pt x="1946" y="556"/>
                  </a:lnTo>
                  <a:lnTo>
                    <a:pt x="1952" y="558"/>
                  </a:lnTo>
                  <a:lnTo>
                    <a:pt x="1956" y="560"/>
                  </a:lnTo>
                  <a:lnTo>
                    <a:pt x="1962" y="564"/>
                  </a:lnTo>
                  <a:lnTo>
                    <a:pt x="1966" y="566"/>
                  </a:lnTo>
                  <a:lnTo>
                    <a:pt x="1970" y="568"/>
                  </a:lnTo>
                  <a:lnTo>
                    <a:pt x="1976" y="568"/>
                  </a:lnTo>
                  <a:lnTo>
                    <a:pt x="1982" y="570"/>
                  </a:lnTo>
                  <a:lnTo>
                    <a:pt x="1988" y="576"/>
                  </a:lnTo>
                  <a:lnTo>
                    <a:pt x="1988" y="572"/>
                  </a:lnTo>
                  <a:lnTo>
                    <a:pt x="1988" y="566"/>
                  </a:lnTo>
                  <a:lnTo>
                    <a:pt x="1994" y="566"/>
                  </a:lnTo>
                  <a:lnTo>
                    <a:pt x="2000" y="566"/>
                  </a:lnTo>
                  <a:lnTo>
                    <a:pt x="2006" y="564"/>
                  </a:lnTo>
                  <a:lnTo>
                    <a:pt x="2012" y="564"/>
                  </a:lnTo>
                  <a:lnTo>
                    <a:pt x="2014" y="564"/>
                  </a:lnTo>
                  <a:lnTo>
                    <a:pt x="2020" y="562"/>
                  </a:lnTo>
                  <a:lnTo>
                    <a:pt x="2026" y="562"/>
                  </a:lnTo>
                  <a:lnTo>
                    <a:pt x="2032" y="560"/>
                  </a:lnTo>
                  <a:lnTo>
                    <a:pt x="2038" y="560"/>
                  </a:lnTo>
                  <a:lnTo>
                    <a:pt x="2044" y="560"/>
                  </a:lnTo>
                  <a:lnTo>
                    <a:pt x="2050" y="560"/>
                  </a:lnTo>
                  <a:lnTo>
                    <a:pt x="2056" y="564"/>
                  </a:lnTo>
                  <a:lnTo>
                    <a:pt x="2058" y="562"/>
                  </a:lnTo>
                  <a:lnTo>
                    <a:pt x="2064" y="564"/>
                  </a:lnTo>
                  <a:lnTo>
                    <a:pt x="2066" y="564"/>
                  </a:lnTo>
                  <a:lnTo>
                    <a:pt x="2072" y="568"/>
                  </a:lnTo>
                  <a:lnTo>
                    <a:pt x="2078" y="572"/>
                  </a:lnTo>
                  <a:lnTo>
                    <a:pt x="2084" y="574"/>
                  </a:lnTo>
                  <a:lnTo>
                    <a:pt x="2088" y="578"/>
                  </a:lnTo>
                  <a:lnTo>
                    <a:pt x="2096" y="584"/>
                  </a:lnTo>
                  <a:lnTo>
                    <a:pt x="2102" y="586"/>
                  </a:lnTo>
                  <a:lnTo>
                    <a:pt x="2106" y="588"/>
                  </a:lnTo>
                  <a:lnTo>
                    <a:pt x="2112" y="594"/>
                  </a:lnTo>
                  <a:lnTo>
                    <a:pt x="2118" y="596"/>
                  </a:lnTo>
                  <a:lnTo>
                    <a:pt x="2124" y="600"/>
                  </a:lnTo>
                  <a:lnTo>
                    <a:pt x="2130" y="606"/>
                  </a:lnTo>
                  <a:lnTo>
                    <a:pt x="2136" y="612"/>
                  </a:lnTo>
                  <a:lnTo>
                    <a:pt x="2142" y="616"/>
                  </a:lnTo>
                  <a:lnTo>
                    <a:pt x="2148" y="622"/>
                  </a:lnTo>
                  <a:lnTo>
                    <a:pt x="2154" y="622"/>
                  </a:lnTo>
                  <a:lnTo>
                    <a:pt x="2160" y="624"/>
                  </a:lnTo>
                  <a:lnTo>
                    <a:pt x="2164" y="630"/>
                  </a:lnTo>
                  <a:lnTo>
                    <a:pt x="2166" y="636"/>
                  </a:lnTo>
                  <a:lnTo>
                    <a:pt x="2172" y="640"/>
                  </a:lnTo>
                  <a:lnTo>
                    <a:pt x="2178" y="646"/>
                  </a:lnTo>
                  <a:lnTo>
                    <a:pt x="2180" y="652"/>
                  </a:lnTo>
                  <a:lnTo>
                    <a:pt x="2186" y="658"/>
                  </a:lnTo>
                  <a:lnTo>
                    <a:pt x="2192" y="664"/>
                  </a:lnTo>
                  <a:lnTo>
                    <a:pt x="2198" y="670"/>
                  </a:lnTo>
                  <a:lnTo>
                    <a:pt x="2202" y="670"/>
                  </a:lnTo>
                  <a:lnTo>
                    <a:pt x="2206" y="676"/>
                  </a:lnTo>
                  <a:lnTo>
                    <a:pt x="2210" y="682"/>
                  </a:lnTo>
                  <a:lnTo>
                    <a:pt x="2216" y="686"/>
                  </a:lnTo>
                  <a:lnTo>
                    <a:pt x="2222" y="688"/>
                  </a:lnTo>
                  <a:lnTo>
                    <a:pt x="2228" y="690"/>
                  </a:lnTo>
                  <a:lnTo>
                    <a:pt x="2234" y="694"/>
                  </a:lnTo>
                  <a:lnTo>
                    <a:pt x="2236" y="700"/>
                  </a:lnTo>
                  <a:lnTo>
                    <a:pt x="2236" y="702"/>
                  </a:lnTo>
                  <a:lnTo>
                    <a:pt x="2242" y="708"/>
                  </a:lnTo>
                  <a:lnTo>
                    <a:pt x="2248" y="708"/>
                  </a:lnTo>
                  <a:lnTo>
                    <a:pt x="2254" y="708"/>
                  </a:lnTo>
                  <a:lnTo>
                    <a:pt x="2258" y="710"/>
                  </a:lnTo>
                  <a:lnTo>
                    <a:pt x="2264" y="716"/>
                  </a:lnTo>
                  <a:lnTo>
                    <a:pt x="2270" y="718"/>
                  </a:lnTo>
                  <a:lnTo>
                    <a:pt x="2272" y="718"/>
                  </a:lnTo>
                  <a:lnTo>
                    <a:pt x="2278" y="718"/>
                  </a:lnTo>
                  <a:lnTo>
                    <a:pt x="2284" y="718"/>
                  </a:lnTo>
                  <a:lnTo>
                    <a:pt x="2290" y="718"/>
                  </a:lnTo>
                  <a:lnTo>
                    <a:pt x="2296" y="718"/>
                  </a:lnTo>
                  <a:lnTo>
                    <a:pt x="2302" y="718"/>
                  </a:lnTo>
                  <a:lnTo>
                    <a:pt x="2308" y="716"/>
                  </a:lnTo>
                  <a:lnTo>
                    <a:pt x="2314" y="716"/>
                  </a:lnTo>
                  <a:lnTo>
                    <a:pt x="2320" y="716"/>
                  </a:lnTo>
                  <a:lnTo>
                    <a:pt x="2326" y="718"/>
                  </a:lnTo>
                  <a:lnTo>
                    <a:pt x="2332" y="720"/>
                  </a:lnTo>
                  <a:lnTo>
                    <a:pt x="2338" y="720"/>
                  </a:lnTo>
                  <a:lnTo>
                    <a:pt x="2344" y="724"/>
                  </a:lnTo>
                  <a:lnTo>
                    <a:pt x="2348" y="728"/>
                  </a:lnTo>
                  <a:lnTo>
                    <a:pt x="2352" y="734"/>
                  </a:lnTo>
                  <a:lnTo>
                    <a:pt x="2354" y="740"/>
                  </a:lnTo>
                  <a:lnTo>
                    <a:pt x="2358" y="746"/>
                  </a:lnTo>
                  <a:lnTo>
                    <a:pt x="2360" y="754"/>
                  </a:lnTo>
                  <a:lnTo>
                    <a:pt x="2360" y="758"/>
                  </a:lnTo>
                  <a:lnTo>
                    <a:pt x="2362" y="766"/>
                  </a:lnTo>
                  <a:lnTo>
                    <a:pt x="2364" y="766"/>
                  </a:lnTo>
                  <a:lnTo>
                    <a:pt x="2364" y="774"/>
                  </a:lnTo>
                  <a:lnTo>
                    <a:pt x="2368" y="780"/>
                  </a:lnTo>
                  <a:lnTo>
                    <a:pt x="2368" y="784"/>
                  </a:lnTo>
                  <a:lnTo>
                    <a:pt x="2368" y="792"/>
                  </a:lnTo>
                  <a:lnTo>
                    <a:pt x="2366" y="796"/>
                  </a:lnTo>
                  <a:lnTo>
                    <a:pt x="2372" y="798"/>
                  </a:lnTo>
                  <a:lnTo>
                    <a:pt x="2372" y="804"/>
                  </a:lnTo>
                  <a:lnTo>
                    <a:pt x="2376" y="810"/>
                  </a:lnTo>
                  <a:lnTo>
                    <a:pt x="2376" y="816"/>
                  </a:lnTo>
                  <a:lnTo>
                    <a:pt x="2376" y="822"/>
                  </a:lnTo>
                  <a:lnTo>
                    <a:pt x="2378" y="828"/>
                  </a:lnTo>
                  <a:lnTo>
                    <a:pt x="2378" y="834"/>
                  </a:lnTo>
                  <a:lnTo>
                    <a:pt x="2380" y="840"/>
                  </a:lnTo>
                  <a:lnTo>
                    <a:pt x="2384" y="848"/>
                  </a:lnTo>
                  <a:lnTo>
                    <a:pt x="2384" y="852"/>
                  </a:lnTo>
                  <a:lnTo>
                    <a:pt x="2380" y="860"/>
                  </a:lnTo>
                  <a:lnTo>
                    <a:pt x="2384" y="856"/>
                  </a:lnTo>
                  <a:lnTo>
                    <a:pt x="2386" y="850"/>
                  </a:lnTo>
                  <a:lnTo>
                    <a:pt x="2386" y="856"/>
                  </a:lnTo>
                  <a:lnTo>
                    <a:pt x="2388" y="862"/>
                  </a:lnTo>
                  <a:lnTo>
                    <a:pt x="2388" y="868"/>
                  </a:lnTo>
                  <a:lnTo>
                    <a:pt x="2388" y="876"/>
                  </a:lnTo>
                  <a:lnTo>
                    <a:pt x="2388" y="882"/>
                  </a:lnTo>
                  <a:lnTo>
                    <a:pt x="2382" y="888"/>
                  </a:lnTo>
                  <a:lnTo>
                    <a:pt x="2380" y="890"/>
                  </a:lnTo>
                  <a:lnTo>
                    <a:pt x="2388" y="890"/>
                  </a:lnTo>
                  <a:lnTo>
                    <a:pt x="2384" y="896"/>
                  </a:lnTo>
                  <a:lnTo>
                    <a:pt x="2384" y="902"/>
                  </a:lnTo>
                  <a:lnTo>
                    <a:pt x="2384" y="906"/>
                  </a:lnTo>
                  <a:lnTo>
                    <a:pt x="2388" y="912"/>
                  </a:lnTo>
                  <a:lnTo>
                    <a:pt x="2388" y="918"/>
                  </a:lnTo>
                  <a:lnTo>
                    <a:pt x="2384" y="924"/>
                  </a:lnTo>
                  <a:lnTo>
                    <a:pt x="2384" y="926"/>
                  </a:lnTo>
                  <a:lnTo>
                    <a:pt x="2384" y="930"/>
                  </a:lnTo>
                  <a:lnTo>
                    <a:pt x="2382" y="936"/>
                  </a:lnTo>
                  <a:lnTo>
                    <a:pt x="2382" y="942"/>
                  </a:lnTo>
                  <a:lnTo>
                    <a:pt x="2376" y="948"/>
                  </a:lnTo>
                  <a:lnTo>
                    <a:pt x="2380" y="952"/>
                  </a:lnTo>
                  <a:lnTo>
                    <a:pt x="2378" y="958"/>
                  </a:lnTo>
                  <a:lnTo>
                    <a:pt x="2374" y="964"/>
                  </a:lnTo>
                  <a:lnTo>
                    <a:pt x="2374" y="970"/>
                  </a:lnTo>
                  <a:lnTo>
                    <a:pt x="2372" y="976"/>
                  </a:lnTo>
                  <a:lnTo>
                    <a:pt x="2370" y="982"/>
                  </a:lnTo>
                  <a:lnTo>
                    <a:pt x="2368" y="988"/>
                  </a:lnTo>
                  <a:lnTo>
                    <a:pt x="2364" y="994"/>
                  </a:lnTo>
                  <a:lnTo>
                    <a:pt x="2362" y="1000"/>
                  </a:lnTo>
                  <a:lnTo>
                    <a:pt x="2360" y="1006"/>
                  </a:lnTo>
                  <a:lnTo>
                    <a:pt x="2354" y="1012"/>
                  </a:lnTo>
                  <a:lnTo>
                    <a:pt x="2350" y="1018"/>
                  </a:lnTo>
                  <a:lnTo>
                    <a:pt x="2346" y="1024"/>
                  </a:lnTo>
                  <a:lnTo>
                    <a:pt x="2340" y="1030"/>
                  </a:lnTo>
                  <a:lnTo>
                    <a:pt x="2338" y="1036"/>
                  </a:lnTo>
                  <a:lnTo>
                    <a:pt x="2336" y="1034"/>
                  </a:lnTo>
                  <a:lnTo>
                    <a:pt x="2332" y="1030"/>
                  </a:lnTo>
                  <a:lnTo>
                    <a:pt x="2330" y="1038"/>
                  </a:lnTo>
                  <a:lnTo>
                    <a:pt x="2330" y="1040"/>
                  </a:lnTo>
                  <a:lnTo>
                    <a:pt x="2324" y="1034"/>
                  </a:lnTo>
                  <a:lnTo>
                    <a:pt x="2328" y="1040"/>
                  </a:lnTo>
                  <a:lnTo>
                    <a:pt x="2330" y="1040"/>
                  </a:lnTo>
                  <a:lnTo>
                    <a:pt x="2332" y="1040"/>
                  </a:lnTo>
                  <a:lnTo>
                    <a:pt x="2328" y="1046"/>
                  </a:lnTo>
                  <a:lnTo>
                    <a:pt x="2324" y="1052"/>
                  </a:lnTo>
                  <a:lnTo>
                    <a:pt x="2320" y="1058"/>
                  </a:lnTo>
                  <a:lnTo>
                    <a:pt x="2318" y="1062"/>
                  </a:lnTo>
                  <a:lnTo>
                    <a:pt x="2312" y="1068"/>
                  </a:lnTo>
                  <a:lnTo>
                    <a:pt x="2306" y="1074"/>
                  </a:lnTo>
                  <a:lnTo>
                    <a:pt x="2304" y="1080"/>
                  </a:lnTo>
                  <a:lnTo>
                    <a:pt x="2300" y="1086"/>
                  </a:lnTo>
                  <a:lnTo>
                    <a:pt x="2296" y="1092"/>
                  </a:lnTo>
                  <a:lnTo>
                    <a:pt x="2294" y="1094"/>
                  </a:lnTo>
                  <a:lnTo>
                    <a:pt x="2288" y="1096"/>
                  </a:lnTo>
                  <a:lnTo>
                    <a:pt x="2282" y="1100"/>
                  </a:lnTo>
                  <a:lnTo>
                    <a:pt x="2276" y="1104"/>
                  </a:lnTo>
                  <a:lnTo>
                    <a:pt x="2270" y="1108"/>
                  </a:lnTo>
                  <a:lnTo>
                    <a:pt x="2266" y="1114"/>
                  </a:lnTo>
                  <a:lnTo>
                    <a:pt x="2260" y="1120"/>
                  </a:lnTo>
                  <a:lnTo>
                    <a:pt x="2260" y="1114"/>
                  </a:lnTo>
                  <a:lnTo>
                    <a:pt x="2254" y="1110"/>
                  </a:lnTo>
                  <a:lnTo>
                    <a:pt x="2254" y="1112"/>
                  </a:lnTo>
                  <a:lnTo>
                    <a:pt x="2254" y="1114"/>
                  </a:lnTo>
                  <a:lnTo>
                    <a:pt x="2254" y="1116"/>
                  </a:lnTo>
                  <a:lnTo>
                    <a:pt x="2258" y="1118"/>
                  </a:lnTo>
                  <a:lnTo>
                    <a:pt x="2258" y="1124"/>
                  </a:lnTo>
                  <a:lnTo>
                    <a:pt x="2256" y="1126"/>
                  </a:lnTo>
                  <a:lnTo>
                    <a:pt x="2252" y="1134"/>
                  </a:lnTo>
                  <a:lnTo>
                    <a:pt x="2246" y="1128"/>
                  </a:lnTo>
                  <a:lnTo>
                    <a:pt x="2246" y="1132"/>
                  </a:lnTo>
                  <a:lnTo>
                    <a:pt x="2252" y="1136"/>
                  </a:lnTo>
                  <a:lnTo>
                    <a:pt x="2252" y="1142"/>
                  </a:lnTo>
                  <a:lnTo>
                    <a:pt x="2246" y="1148"/>
                  </a:lnTo>
                  <a:lnTo>
                    <a:pt x="2240" y="1152"/>
                  </a:lnTo>
                  <a:lnTo>
                    <a:pt x="2242" y="1146"/>
                  </a:lnTo>
                  <a:lnTo>
                    <a:pt x="2240" y="1152"/>
                  </a:lnTo>
                  <a:lnTo>
                    <a:pt x="2238" y="1156"/>
                  </a:lnTo>
                  <a:lnTo>
                    <a:pt x="2234" y="1164"/>
                  </a:lnTo>
                  <a:lnTo>
                    <a:pt x="2236" y="1164"/>
                  </a:lnTo>
                  <a:lnTo>
                    <a:pt x="2240" y="1160"/>
                  </a:lnTo>
                  <a:lnTo>
                    <a:pt x="2238" y="1166"/>
                  </a:lnTo>
                  <a:lnTo>
                    <a:pt x="2236" y="1174"/>
                  </a:lnTo>
                  <a:lnTo>
                    <a:pt x="2232" y="1178"/>
                  </a:lnTo>
                  <a:lnTo>
                    <a:pt x="2232" y="1182"/>
                  </a:lnTo>
                  <a:lnTo>
                    <a:pt x="2230" y="1186"/>
                  </a:lnTo>
                  <a:lnTo>
                    <a:pt x="2228" y="1190"/>
                  </a:lnTo>
                  <a:lnTo>
                    <a:pt x="2226" y="1196"/>
                  </a:lnTo>
                  <a:lnTo>
                    <a:pt x="2224" y="1202"/>
                  </a:lnTo>
                  <a:lnTo>
                    <a:pt x="2220" y="1208"/>
                  </a:lnTo>
                  <a:lnTo>
                    <a:pt x="2218" y="1214"/>
                  </a:lnTo>
                  <a:lnTo>
                    <a:pt x="2214" y="1220"/>
                  </a:lnTo>
                  <a:lnTo>
                    <a:pt x="2210" y="1226"/>
                  </a:lnTo>
                  <a:lnTo>
                    <a:pt x="2208" y="1232"/>
                  </a:lnTo>
                  <a:lnTo>
                    <a:pt x="2204" y="1238"/>
                  </a:lnTo>
                  <a:lnTo>
                    <a:pt x="2200" y="1244"/>
                  </a:lnTo>
                  <a:lnTo>
                    <a:pt x="2196" y="1250"/>
                  </a:lnTo>
                  <a:lnTo>
                    <a:pt x="2192" y="1256"/>
                  </a:lnTo>
                  <a:lnTo>
                    <a:pt x="2188" y="1262"/>
                  </a:lnTo>
                  <a:lnTo>
                    <a:pt x="2182" y="1264"/>
                  </a:lnTo>
                  <a:lnTo>
                    <a:pt x="2176" y="1264"/>
                  </a:lnTo>
                  <a:lnTo>
                    <a:pt x="2178" y="1258"/>
                  </a:lnTo>
                  <a:lnTo>
                    <a:pt x="2176" y="1252"/>
                  </a:lnTo>
                  <a:lnTo>
                    <a:pt x="2174" y="1246"/>
                  </a:lnTo>
                  <a:lnTo>
                    <a:pt x="2168" y="1244"/>
                  </a:lnTo>
                  <a:lnTo>
                    <a:pt x="2164" y="1238"/>
                  </a:lnTo>
                  <a:lnTo>
                    <a:pt x="2162" y="1244"/>
                  </a:lnTo>
                  <a:lnTo>
                    <a:pt x="2160" y="1250"/>
                  </a:lnTo>
                  <a:lnTo>
                    <a:pt x="2156" y="1254"/>
                  </a:lnTo>
                  <a:lnTo>
                    <a:pt x="2150" y="1248"/>
                  </a:lnTo>
                  <a:lnTo>
                    <a:pt x="2152" y="1250"/>
                  </a:lnTo>
                  <a:lnTo>
                    <a:pt x="2156" y="1256"/>
                  </a:lnTo>
                  <a:lnTo>
                    <a:pt x="2158" y="1256"/>
                  </a:lnTo>
                  <a:lnTo>
                    <a:pt x="2162" y="1262"/>
                  </a:lnTo>
                  <a:lnTo>
                    <a:pt x="2158" y="1268"/>
                  </a:lnTo>
                  <a:lnTo>
                    <a:pt x="2154" y="1274"/>
                  </a:lnTo>
                  <a:lnTo>
                    <a:pt x="2154" y="1280"/>
                  </a:lnTo>
                  <a:lnTo>
                    <a:pt x="2150" y="1286"/>
                  </a:lnTo>
                  <a:lnTo>
                    <a:pt x="2150" y="1292"/>
                  </a:lnTo>
                  <a:lnTo>
                    <a:pt x="2144" y="1290"/>
                  </a:lnTo>
                  <a:lnTo>
                    <a:pt x="2144" y="1296"/>
                  </a:lnTo>
                  <a:lnTo>
                    <a:pt x="2144" y="1300"/>
                  </a:lnTo>
                  <a:lnTo>
                    <a:pt x="2144" y="1306"/>
                  </a:lnTo>
                  <a:lnTo>
                    <a:pt x="2144" y="1308"/>
                  </a:lnTo>
                  <a:lnTo>
                    <a:pt x="2144" y="1302"/>
                  </a:lnTo>
                  <a:lnTo>
                    <a:pt x="2146" y="1300"/>
                  </a:lnTo>
                  <a:lnTo>
                    <a:pt x="2148" y="1304"/>
                  </a:lnTo>
                  <a:lnTo>
                    <a:pt x="2152" y="1312"/>
                  </a:lnTo>
                  <a:lnTo>
                    <a:pt x="2150" y="1318"/>
                  </a:lnTo>
                  <a:lnTo>
                    <a:pt x="2148" y="1322"/>
                  </a:lnTo>
                  <a:lnTo>
                    <a:pt x="2142" y="1318"/>
                  </a:lnTo>
                  <a:lnTo>
                    <a:pt x="2148" y="1324"/>
                  </a:lnTo>
                  <a:lnTo>
                    <a:pt x="2146" y="1330"/>
                  </a:lnTo>
                  <a:lnTo>
                    <a:pt x="2150" y="1336"/>
                  </a:lnTo>
                  <a:lnTo>
                    <a:pt x="2150" y="1342"/>
                  </a:lnTo>
                  <a:lnTo>
                    <a:pt x="2152" y="1336"/>
                  </a:lnTo>
                  <a:lnTo>
                    <a:pt x="2154" y="1330"/>
                  </a:lnTo>
                  <a:lnTo>
                    <a:pt x="2154" y="1336"/>
                  </a:lnTo>
                  <a:lnTo>
                    <a:pt x="2154" y="1342"/>
                  </a:lnTo>
                  <a:lnTo>
                    <a:pt x="2152" y="1348"/>
                  </a:lnTo>
                  <a:lnTo>
                    <a:pt x="2152" y="1354"/>
                  </a:lnTo>
                  <a:lnTo>
                    <a:pt x="2152" y="1356"/>
                  </a:lnTo>
                  <a:lnTo>
                    <a:pt x="2152" y="1360"/>
                  </a:lnTo>
                  <a:lnTo>
                    <a:pt x="2150" y="1366"/>
                  </a:lnTo>
                  <a:lnTo>
                    <a:pt x="2150" y="1372"/>
                  </a:lnTo>
                  <a:lnTo>
                    <a:pt x="2148" y="1380"/>
                  </a:lnTo>
                  <a:lnTo>
                    <a:pt x="2150" y="1386"/>
                  </a:lnTo>
                  <a:lnTo>
                    <a:pt x="2150" y="1390"/>
                  </a:lnTo>
                  <a:lnTo>
                    <a:pt x="2152" y="1398"/>
                  </a:lnTo>
                  <a:lnTo>
                    <a:pt x="2154" y="1404"/>
                  </a:lnTo>
                  <a:lnTo>
                    <a:pt x="2154" y="1410"/>
                  </a:lnTo>
                  <a:lnTo>
                    <a:pt x="2154" y="1414"/>
                  </a:lnTo>
                  <a:lnTo>
                    <a:pt x="2156" y="1422"/>
                  </a:lnTo>
                  <a:lnTo>
                    <a:pt x="2156" y="1428"/>
                  </a:lnTo>
                  <a:lnTo>
                    <a:pt x="2158" y="1434"/>
                  </a:lnTo>
                  <a:lnTo>
                    <a:pt x="2158" y="1440"/>
                  </a:lnTo>
                  <a:lnTo>
                    <a:pt x="2160" y="1444"/>
                  </a:lnTo>
                  <a:lnTo>
                    <a:pt x="2160" y="1452"/>
                  </a:lnTo>
                  <a:lnTo>
                    <a:pt x="2164" y="1458"/>
                  </a:lnTo>
                  <a:lnTo>
                    <a:pt x="2166" y="1464"/>
                  </a:lnTo>
                  <a:lnTo>
                    <a:pt x="2164" y="1468"/>
                  </a:lnTo>
                  <a:lnTo>
                    <a:pt x="2164" y="1474"/>
                  </a:lnTo>
                  <a:lnTo>
                    <a:pt x="2162" y="1480"/>
                  </a:lnTo>
                  <a:lnTo>
                    <a:pt x="2162" y="1486"/>
                  </a:lnTo>
                  <a:lnTo>
                    <a:pt x="2160" y="1492"/>
                  </a:lnTo>
                  <a:lnTo>
                    <a:pt x="2160" y="1498"/>
                  </a:lnTo>
                  <a:lnTo>
                    <a:pt x="2156" y="1504"/>
                  </a:lnTo>
                  <a:lnTo>
                    <a:pt x="2156" y="1510"/>
                  </a:lnTo>
                  <a:lnTo>
                    <a:pt x="2156" y="1516"/>
                  </a:lnTo>
                  <a:lnTo>
                    <a:pt x="2156" y="1522"/>
                  </a:lnTo>
                  <a:lnTo>
                    <a:pt x="2154" y="1528"/>
                  </a:lnTo>
                  <a:lnTo>
                    <a:pt x="2154" y="1534"/>
                  </a:lnTo>
                  <a:lnTo>
                    <a:pt x="2154" y="1540"/>
                  </a:lnTo>
                  <a:lnTo>
                    <a:pt x="2152" y="1546"/>
                  </a:lnTo>
                  <a:lnTo>
                    <a:pt x="2152" y="1550"/>
                  </a:lnTo>
                  <a:lnTo>
                    <a:pt x="2150" y="1556"/>
                  </a:lnTo>
                  <a:lnTo>
                    <a:pt x="2150" y="1562"/>
                  </a:lnTo>
                  <a:lnTo>
                    <a:pt x="2152" y="1568"/>
                  </a:lnTo>
                  <a:lnTo>
                    <a:pt x="2154" y="1574"/>
                  </a:lnTo>
                  <a:lnTo>
                    <a:pt x="2154" y="1580"/>
                  </a:lnTo>
                  <a:lnTo>
                    <a:pt x="2156" y="1586"/>
                  </a:lnTo>
                  <a:lnTo>
                    <a:pt x="2156" y="1592"/>
                  </a:lnTo>
                  <a:lnTo>
                    <a:pt x="2152" y="1598"/>
                  </a:lnTo>
                  <a:lnTo>
                    <a:pt x="2148" y="1604"/>
                  </a:lnTo>
                  <a:lnTo>
                    <a:pt x="2142" y="1606"/>
                  </a:lnTo>
                  <a:lnTo>
                    <a:pt x="2138" y="1612"/>
                  </a:lnTo>
                  <a:lnTo>
                    <a:pt x="2134" y="1618"/>
                  </a:lnTo>
                  <a:lnTo>
                    <a:pt x="2132" y="1622"/>
                  </a:lnTo>
                  <a:lnTo>
                    <a:pt x="2130" y="1628"/>
                  </a:lnTo>
                  <a:lnTo>
                    <a:pt x="2128" y="1634"/>
                  </a:lnTo>
                  <a:lnTo>
                    <a:pt x="2128" y="1636"/>
                  </a:lnTo>
                  <a:lnTo>
                    <a:pt x="2126" y="1642"/>
                  </a:lnTo>
                  <a:lnTo>
                    <a:pt x="2126" y="1648"/>
                  </a:lnTo>
                  <a:lnTo>
                    <a:pt x="2126" y="1654"/>
                  </a:lnTo>
                  <a:lnTo>
                    <a:pt x="2126" y="1660"/>
                  </a:lnTo>
                  <a:lnTo>
                    <a:pt x="2126" y="1666"/>
                  </a:lnTo>
                  <a:lnTo>
                    <a:pt x="2126" y="1672"/>
                  </a:lnTo>
                  <a:lnTo>
                    <a:pt x="2128" y="1678"/>
                  </a:lnTo>
                  <a:lnTo>
                    <a:pt x="2128" y="1684"/>
                  </a:lnTo>
                  <a:lnTo>
                    <a:pt x="2130" y="1690"/>
                  </a:lnTo>
                  <a:lnTo>
                    <a:pt x="2130" y="1696"/>
                  </a:lnTo>
                  <a:lnTo>
                    <a:pt x="2132" y="1702"/>
                  </a:lnTo>
                  <a:lnTo>
                    <a:pt x="2132" y="1708"/>
                  </a:lnTo>
                  <a:lnTo>
                    <a:pt x="2130" y="1714"/>
                  </a:lnTo>
                  <a:lnTo>
                    <a:pt x="2128" y="1720"/>
                  </a:lnTo>
                  <a:lnTo>
                    <a:pt x="2126" y="1726"/>
                  </a:lnTo>
                  <a:lnTo>
                    <a:pt x="2122" y="1728"/>
                  </a:lnTo>
                  <a:lnTo>
                    <a:pt x="2116" y="1732"/>
                  </a:lnTo>
                  <a:lnTo>
                    <a:pt x="2114" y="1738"/>
                  </a:lnTo>
                  <a:lnTo>
                    <a:pt x="2112" y="1744"/>
                  </a:lnTo>
                  <a:lnTo>
                    <a:pt x="2110" y="1750"/>
                  </a:lnTo>
                  <a:lnTo>
                    <a:pt x="2110" y="1752"/>
                  </a:lnTo>
                  <a:lnTo>
                    <a:pt x="2108" y="1758"/>
                  </a:lnTo>
                  <a:lnTo>
                    <a:pt x="2106" y="1764"/>
                  </a:lnTo>
                  <a:lnTo>
                    <a:pt x="2104" y="1770"/>
                  </a:lnTo>
                  <a:lnTo>
                    <a:pt x="2102" y="1768"/>
                  </a:lnTo>
                  <a:lnTo>
                    <a:pt x="2096" y="1772"/>
                  </a:lnTo>
                  <a:lnTo>
                    <a:pt x="2102" y="1778"/>
                  </a:lnTo>
                  <a:lnTo>
                    <a:pt x="2100" y="1784"/>
                  </a:lnTo>
                  <a:lnTo>
                    <a:pt x="2096" y="1790"/>
                  </a:lnTo>
                  <a:lnTo>
                    <a:pt x="2092" y="1796"/>
                  </a:lnTo>
                  <a:lnTo>
                    <a:pt x="2088" y="1802"/>
                  </a:lnTo>
                  <a:lnTo>
                    <a:pt x="2084" y="1806"/>
                  </a:lnTo>
                  <a:lnTo>
                    <a:pt x="2076" y="1808"/>
                  </a:lnTo>
                  <a:lnTo>
                    <a:pt x="2074" y="1814"/>
                  </a:lnTo>
                  <a:lnTo>
                    <a:pt x="2074" y="1820"/>
                  </a:lnTo>
                  <a:lnTo>
                    <a:pt x="2072" y="1826"/>
                  </a:lnTo>
                  <a:lnTo>
                    <a:pt x="2068" y="1832"/>
                  </a:lnTo>
                  <a:lnTo>
                    <a:pt x="2066" y="1838"/>
                  </a:lnTo>
                  <a:lnTo>
                    <a:pt x="2066" y="1844"/>
                  </a:lnTo>
                  <a:lnTo>
                    <a:pt x="2064" y="1850"/>
                  </a:lnTo>
                  <a:lnTo>
                    <a:pt x="2062" y="1856"/>
                  </a:lnTo>
                  <a:lnTo>
                    <a:pt x="2066" y="1862"/>
                  </a:lnTo>
                  <a:lnTo>
                    <a:pt x="2066" y="1866"/>
                  </a:lnTo>
                  <a:lnTo>
                    <a:pt x="2066" y="1872"/>
                  </a:lnTo>
                  <a:lnTo>
                    <a:pt x="2068" y="1878"/>
                  </a:lnTo>
                  <a:lnTo>
                    <a:pt x="2070" y="1884"/>
                  </a:lnTo>
                  <a:lnTo>
                    <a:pt x="2068" y="1890"/>
                  </a:lnTo>
                  <a:lnTo>
                    <a:pt x="2064" y="1894"/>
                  </a:lnTo>
                  <a:lnTo>
                    <a:pt x="2056" y="1898"/>
                  </a:lnTo>
                  <a:lnTo>
                    <a:pt x="2050" y="1900"/>
                  </a:lnTo>
                  <a:lnTo>
                    <a:pt x="2046" y="1902"/>
                  </a:lnTo>
                  <a:lnTo>
                    <a:pt x="2040" y="1904"/>
                  </a:lnTo>
                  <a:lnTo>
                    <a:pt x="2034" y="1906"/>
                  </a:lnTo>
                  <a:lnTo>
                    <a:pt x="2028" y="1910"/>
                  </a:lnTo>
                  <a:lnTo>
                    <a:pt x="2024" y="1916"/>
                  </a:lnTo>
                  <a:lnTo>
                    <a:pt x="2018" y="1922"/>
                  </a:lnTo>
                  <a:lnTo>
                    <a:pt x="2012" y="1928"/>
                  </a:lnTo>
                  <a:lnTo>
                    <a:pt x="2012" y="1934"/>
                  </a:lnTo>
                  <a:lnTo>
                    <a:pt x="2014" y="1940"/>
                  </a:lnTo>
                  <a:lnTo>
                    <a:pt x="2016" y="1944"/>
                  </a:lnTo>
                  <a:lnTo>
                    <a:pt x="2012" y="1950"/>
                  </a:lnTo>
                  <a:lnTo>
                    <a:pt x="2012" y="1956"/>
                  </a:lnTo>
                  <a:lnTo>
                    <a:pt x="2012" y="1954"/>
                  </a:lnTo>
                  <a:lnTo>
                    <a:pt x="2004" y="1954"/>
                  </a:lnTo>
                  <a:lnTo>
                    <a:pt x="2000" y="1954"/>
                  </a:lnTo>
                  <a:lnTo>
                    <a:pt x="1994" y="1954"/>
                  </a:lnTo>
                  <a:lnTo>
                    <a:pt x="1988" y="1954"/>
                  </a:lnTo>
                  <a:lnTo>
                    <a:pt x="1982" y="1954"/>
                  </a:lnTo>
                  <a:lnTo>
                    <a:pt x="1976" y="1954"/>
                  </a:lnTo>
                  <a:lnTo>
                    <a:pt x="1970" y="1956"/>
                  </a:lnTo>
                  <a:lnTo>
                    <a:pt x="1964" y="1956"/>
                  </a:lnTo>
                  <a:lnTo>
                    <a:pt x="1958" y="1956"/>
                  </a:lnTo>
                  <a:lnTo>
                    <a:pt x="1952" y="1956"/>
                  </a:lnTo>
                  <a:lnTo>
                    <a:pt x="1946" y="1950"/>
                  </a:lnTo>
                  <a:lnTo>
                    <a:pt x="1948" y="1948"/>
                  </a:lnTo>
                  <a:lnTo>
                    <a:pt x="1948" y="1942"/>
                  </a:lnTo>
                  <a:lnTo>
                    <a:pt x="1948" y="1936"/>
                  </a:lnTo>
                  <a:lnTo>
                    <a:pt x="1942" y="1938"/>
                  </a:lnTo>
                  <a:lnTo>
                    <a:pt x="1936" y="1942"/>
                  </a:lnTo>
                  <a:lnTo>
                    <a:pt x="1940" y="1948"/>
                  </a:lnTo>
                  <a:lnTo>
                    <a:pt x="1944" y="1950"/>
                  </a:lnTo>
                  <a:lnTo>
                    <a:pt x="1944" y="1956"/>
                  </a:lnTo>
                  <a:lnTo>
                    <a:pt x="1938" y="1958"/>
                  </a:lnTo>
                  <a:lnTo>
                    <a:pt x="1932" y="1958"/>
                  </a:lnTo>
                  <a:lnTo>
                    <a:pt x="1926" y="1960"/>
                  </a:lnTo>
                  <a:lnTo>
                    <a:pt x="1920" y="1962"/>
                  </a:lnTo>
                  <a:lnTo>
                    <a:pt x="1914" y="1962"/>
                  </a:lnTo>
                  <a:lnTo>
                    <a:pt x="1908" y="1962"/>
                  </a:lnTo>
                  <a:lnTo>
                    <a:pt x="1902" y="1962"/>
                  </a:lnTo>
                  <a:lnTo>
                    <a:pt x="1896" y="1966"/>
                  </a:lnTo>
                  <a:lnTo>
                    <a:pt x="1900" y="1962"/>
                  </a:lnTo>
                  <a:lnTo>
                    <a:pt x="1906" y="1962"/>
                  </a:lnTo>
                  <a:lnTo>
                    <a:pt x="1912" y="1962"/>
                  </a:lnTo>
                  <a:lnTo>
                    <a:pt x="1918" y="1960"/>
                  </a:lnTo>
                  <a:lnTo>
                    <a:pt x="1914" y="1956"/>
                  </a:lnTo>
                  <a:lnTo>
                    <a:pt x="1908" y="1952"/>
                  </a:lnTo>
                  <a:lnTo>
                    <a:pt x="1902" y="1950"/>
                  </a:lnTo>
                  <a:lnTo>
                    <a:pt x="1896" y="1952"/>
                  </a:lnTo>
                  <a:lnTo>
                    <a:pt x="1890" y="1954"/>
                  </a:lnTo>
                  <a:lnTo>
                    <a:pt x="1886" y="1960"/>
                  </a:lnTo>
                  <a:lnTo>
                    <a:pt x="1880" y="1958"/>
                  </a:lnTo>
                  <a:lnTo>
                    <a:pt x="1874" y="1954"/>
                  </a:lnTo>
                  <a:lnTo>
                    <a:pt x="1868" y="1958"/>
                  </a:lnTo>
                  <a:lnTo>
                    <a:pt x="1862" y="1960"/>
                  </a:lnTo>
                  <a:lnTo>
                    <a:pt x="1856" y="1962"/>
                  </a:lnTo>
                  <a:lnTo>
                    <a:pt x="1854" y="1966"/>
                  </a:lnTo>
                  <a:lnTo>
                    <a:pt x="1854" y="1974"/>
                  </a:lnTo>
                  <a:lnTo>
                    <a:pt x="1860" y="1974"/>
                  </a:lnTo>
                  <a:lnTo>
                    <a:pt x="1866" y="1978"/>
                  </a:lnTo>
                  <a:lnTo>
                    <a:pt x="1860" y="1982"/>
                  </a:lnTo>
                  <a:lnTo>
                    <a:pt x="1854" y="1982"/>
                  </a:lnTo>
                  <a:lnTo>
                    <a:pt x="1850" y="1984"/>
                  </a:lnTo>
                  <a:lnTo>
                    <a:pt x="1844" y="1982"/>
                  </a:lnTo>
                  <a:lnTo>
                    <a:pt x="1838" y="1986"/>
                  </a:lnTo>
                  <a:lnTo>
                    <a:pt x="1834" y="1990"/>
                  </a:lnTo>
                  <a:lnTo>
                    <a:pt x="1830" y="1992"/>
                  </a:lnTo>
                  <a:lnTo>
                    <a:pt x="1826" y="1998"/>
                  </a:lnTo>
                  <a:lnTo>
                    <a:pt x="1820" y="2000"/>
                  </a:lnTo>
                  <a:lnTo>
                    <a:pt x="1814" y="2004"/>
                  </a:lnTo>
                  <a:lnTo>
                    <a:pt x="1816" y="2010"/>
                  </a:lnTo>
                  <a:lnTo>
                    <a:pt x="1814" y="2016"/>
                  </a:lnTo>
                  <a:lnTo>
                    <a:pt x="1808" y="2014"/>
                  </a:lnTo>
                  <a:lnTo>
                    <a:pt x="1802" y="2012"/>
                  </a:lnTo>
                  <a:lnTo>
                    <a:pt x="1796" y="2012"/>
                  </a:lnTo>
                  <a:lnTo>
                    <a:pt x="1790" y="2010"/>
                  </a:lnTo>
                  <a:lnTo>
                    <a:pt x="1784" y="2012"/>
                  </a:lnTo>
                  <a:lnTo>
                    <a:pt x="1778" y="2016"/>
                  </a:lnTo>
                  <a:lnTo>
                    <a:pt x="1772" y="2020"/>
                  </a:lnTo>
                  <a:lnTo>
                    <a:pt x="1770" y="2026"/>
                  </a:lnTo>
                  <a:lnTo>
                    <a:pt x="1764" y="2028"/>
                  </a:lnTo>
                  <a:lnTo>
                    <a:pt x="1764" y="2022"/>
                  </a:lnTo>
                  <a:lnTo>
                    <a:pt x="1758" y="2020"/>
                  </a:lnTo>
                  <a:lnTo>
                    <a:pt x="1758" y="2022"/>
                  </a:lnTo>
                  <a:lnTo>
                    <a:pt x="1756" y="2024"/>
                  </a:lnTo>
                  <a:lnTo>
                    <a:pt x="1758" y="2026"/>
                  </a:lnTo>
                  <a:lnTo>
                    <a:pt x="1758" y="2028"/>
                  </a:lnTo>
                  <a:lnTo>
                    <a:pt x="1752" y="2030"/>
                  </a:lnTo>
                  <a:lnTo>
                    <a:pt x="1746" y="2034"/>
                  </a:lnTo>
                  <a:lnTo>
                    <a:pt x="1740" y="2038"/>
                  </a:lnTo>
                  <a:lnTo>
                    <a:pt x="1734" y="2042"/>
                  </a:lnTo>
                  <a:lnTo>
                    <a:pt x="1728" y="2046"/>
                  </a:lnTo>
                  <a:lnTo>
                    <a:pt x="1724" y="2052"/>
                  </a:lnTo>
                  <a:lnTo>
                    <a:pt x="1722" y="2058"/>
                  </a:lnTo>
                  <a:lnTo>
                    <a:pt x="1716" y="2064"/>
                  </a:lnTo>
                  <a:lnTo>
                    <a:pt x="1710" y="2068"/>
                  </a:lnTo>
                  <a:lnTo>
                    <a:pt x="1704" y="2072"/>
                  </a:lnTo>
                  <a:lnTo>
                    <a:pt x="1700" y="2074"/>
                  </a:lnTo>
                  <a:lnTo>
                    <a:pt x="1694" y="2076"/>
                  </a:lnTo>
                  <a:lnTo>
                    <a:pt x="1690" y="2078"/>
                  </a:lnTo>
                  <a:lnTo>
                    <a:pt x="1686" y="2084"/>
                  </a:lnTo>
                  <a:lnTo>
                    <a:pt x="1680" y="2088"/>
                  </a:lnTo>
                  <a:lnTo>
                    <a:pt x="1676" y="2094"/>
                  </a:lnTo>
                  <a:lnTo>
                    <a:pt x="1672" y="2100"/>
                  </a:lnTo>
                  <a:lnTo>
                    <a:pt x="1670" y="2102"/>
                  </a:lnTo>
                  <a:lnTo>
                    <a:pt x="1676" y="2106"/>
                  </a:lnTo>
                  <a:lnTo>
                    <a:pt x="1670" y="2112"/>
                  </a:lnTo>
                  <a:lnTo>
                    <a:pt x="1668" y="2118"/>
                  </a:lnTo>
                  <a:lnTo>
                    <a:pt x="1662" y="2122"/>
                  </a:lnTo>
                  <a:lnTo>
                    <a:pt x="1660" y="2128"/>
                  </a:lnTo>
                  <a:lnTo>
                    <a:pt x="1660" y="2122"/>
                  </a:lnTo>
                  <a:lnTo>
                    <a:pt x="1662" y="2116"/>
                  </a:lnTo>
                  <a:lnTo>
                    <a:pt x="1656" y="2118"/>
                  </a:lnTo>
                  <a:lnTo>
                    <a:pt x="1650" y="2118"/>
                  </a:lnTo>
                  <a:lnTo>
                    <a:pt x="1644" y="2114"/>
                  </a:lnTo>
                  <a:lnTo>
                    <a:pt x="1646" y="2120"/>
                  </a:lnTo>
                  <a:lnTo>
                    <a:pt x="1648" y="2126"/>
                  </a:lnTo>
                  <a:lnTo>
                    <a:pt x="1642" y="2128"/>
                  </a:lnTo>
                  <a:lnTo>
                    <a:pt x="1636" y="2128"/>
                  </a:lnTo>
                  <a:lnTo>
                    <a:pt x="1630" y="2124"/>
                  </a:lnTo>
                  <a:lnTo>
                    <a:pt x="1630" y="2130"/>
                  </a:lnTo>
                  <a:lnTo>
                    <a:pt x="1636" y="2132"/>
                  </a:lnTo>
                  <a:lnTo>
                    <a:pt x="1642" y="2132"/>
                  </a:lnTo>
                  <a:lnTo>
                    <a:pt x="1646" y="2136"/>
                  </a:lnTo>
                  <a:lnTo>
                    <a:pt x="1652" y="2138"/>
                  </a:lnTo>
                  <a:lnTo>
                    <a:pt x="1648" y="2144"/>
                  </a:lnTo>
                  <a:lnTo>
                    <a:pt x="1646" y="2150"/>
                  </a:lnTo>
                  <a:lnTo>
                    <a:pt x="1644" y="2156"/>
                  </a:lnTo>
                  <a:lnTo>
                    <a:pt x="1638" y="2154"/>
                  </a:lnTo>
                  <a:lnTo>
                    <a:pt x="1632" y="2158"/>
                  </a:lnTo>
                  <a:lnTo>
                    <a:pt x="1638" y="2158"/>
                  </a:lnTo>
                  <a:lnTo>
                    <a:pt x="1644" y="2158"/>
                  </a:lnTo>
                  <a:lnTo>
                    <a:pt x="1642" y="2164"/>
                  </a:lnTo>
                  <a:lnTo>
                    <a:pt x="1642" y="2168"/>
                  </a:lnTo>
                  <a:lnTo>
                    <a:pt x="1644" y="2172"/>
                  </a:lnTo>
                  <a:lnTo>
                    <a:pt x="1642" y="2178"/>
                  </a:lnTo>
                  <a:lnTo>
                    <a:pt x="1636" y="2180"/>
                  </a:lnTo>
                  <a:lnTo>
                    <a:pt x="1632" y="2174"/>
                  </a:lnTo>
                  <a:lnTo>
                    <a:pt x="1634" y="2182"/>
                  </a:lnTo>
                  <a:lnTo>
                    <a:pt x="1636" y="2186"/>
                  </a:lnTo>
                  <a:lnTo>
                    <a:pt x="1640" y="2190"/>
                  </a:lnTo>
                  <a:lnTo>
                    <a:pt x="1642" y="2192"/>
                  </a:lnTo>
                  <a:lnTo>
                    <a:pt x="1644" y="2196"/>
                  </a:lnTo>
                  <a:lnTo>
                    <a:pt x="1644" y="2202"/>
                  </a:lnTo>
                  <a:lnTo>
                    <a:pt x="1642" y="2206"/>
                  </a:lnTo>
                  <a:lnTo>
                    <a:pt x="1644" y="2212"/>
                  </a:lnTo>
                  <a:lnTo>
                    <a:pt x="1644" y="2216"/>
                  </a:lnTo>
                  <a:lnTo>
                    <a:pt x="1650" y="2220"/>
                  </a:lnTo>
                  <a:lnTo>
                    <a:pt x="1648" y="2226"/>
                  </a:lnTo>
                  <a:lnTo>
                    <a:pt x="1650" y="2232"/>
                  </a:lnTo>
                  <a:lnTo>
                    <a:pt x="1652" y="2238"/>
                  </a:lnTo>
                  <a:lnTo>
                    <a:pt x="1652" y="2244"/>
                  </a:lnTo>
                  <a:lnTo>
                    <a:pt x="1658" y="2244"/>
                  </a:lnTo>
                  <a:lnTo>
                    <a:pt x="1658" y="2250"/>
                  </a:lnTo>
                  <a:lnTo>
                    <a:pt x="1652" y="2254"/>
                  </a:lnTo>
                  <a:lnTo>
                    <a:pt x="1656" y="2260"/>
                  </a:lnTo>
                  <a:lnTo>
                    <a:pt x="1652" y="2266"/>
                  </a:lnTo>
                  <a:lnTo>
                    <a:pt x="1654" y="2270"/>
                  </a:lnTo>
                  <a:lnTo>
                    <a:pt x="1656" y="2278"/>
                  </a:lnTo>
                  <a:lnTo>
                    <a:pt x="1656" y="2284"/>
                  </a:lnTo>
                  <a:lnTo>
                    <a:pt x="1658" y="2290"/>
                  </a:lnTo>
                  <a:lnTo>
                    <a:pt x="1660" y="2296"/>
                  </a:lnTo>
                  <a:lnTo>
                    <a:pt x="1658" y="2300"/>
                  </a:lnTo>
                  <a:lnTo>
                    <a:pt x="1660" y="2308"/>
                  </a:lnTo>
                  <a:lnTo>
                    <a:pt x="1660" y="2312"/>
                  </a:lnTo>
                  <a:lnTo>
                    <a:pt x="1658" y="2318"/>
                  </a:lnTo>
                  <a:lnTo>
                    <a:pt x="1658" y="2324"/>
                  </a:lnTo>
                  <a:lnTo>
                    <a:pt x="1656" y="2330"/>
                  </a:lnTo>
                  <a:lnTo>
                    <a:pt x="1656" y="2336"/>
                  </a:lnTo>
                  <a:lnTo>
                    <a:pt x="1652" y="2334"/>
                  </a:lnTo>
                  <a:lnTo>
                    <a:pt x="1648" y="2328"/>
                  </a:lnTo>
                  <a:lnTo>
                    <a:pt x="1650" y="2334"/>
                  </a:lnTo>
                  <a:lnTo>
                    <a:pt x="1650" y="2338"/>
                  </a:lnTo>
                  <a:lnTo>
                    <a:pt x="1656" y="2342"/>
                  </a:lnTo>
                  <a:lnTo>
                    <a:pt x="1650" y="2346"/>
                  </a:lnTo>
                  <a:lnTo>
                    <a:pt x="1644" y="2350"/>
                  </a:lnTo>
                  <a:lnTo>
                    <a:pt x="1640" y="2356"/>
                  </a:lnTo>
                  <a:lnTo>
                    <a:pt x="1634" y="2360"/>
                  </a:lnTo>
                  <a:lnTo>
                    <a:pt x="1628" y="2366"/>
                  </a:lnTo>
                  <a:lnTo>
                    <a:pt x="1622" y="2372"/>
                  </a:lnTo>
                  <a:lnTo>
                    <a:pt x="1618" y="2378"/>
                  </a:lnTo>
                  <a:lnTo>
                    <a:pt x="1614" y="2384"/>
                  </a:lnTo>
                  <a:lnTo>
                    <a:pt x="1610" y="2390"/>
                  </a:lnTo>
                  <a:lnTo>
                    <a:pt x="1608" y="2396"/>
                  </a:lnTo>
                  <a:lnTo>
                    <a:pt x="1608" y="2398"/>
                  </a:lnTo>
                  <a:lnTo>
                    <a:pt x="1604" y="2402"/>
                  </a:lnTo>
                  <a:lnTo>
                    <a:pt x="1602" y="2410"/>
                  </a:lnTo>
                  <a:lnTo>
                    <a:pt x="1600" y="2414"/>
                  </a:lnTo>
                  <a:lnTo>
                    <a:pt x="1598" y="2420"/>
                  </a:lnTo>
                  <a:lnTo>
                    <a:pt x="1596" y="2426"/>
                  </a:lnTo>
                  <a:lnTo>
                    <a:pt x="1594" y="2430"/>
                  </a:lnTo>
                  <a:lnTo>
                    <a:pt x="1592" y="2436"/>
                  </a:lnTo>
                  <a:lnTo>
                    <a:pt x="1592" y="2442"/>
                  </a:lnTo>
                  <a:lnTo>
                    <a:pt x="1590" y="2446"/>
                  </a:lnTo>
                  <a:lnTo>
                    <a:pt x="1588" y="2452"/>
                  </a:lnTo>
                  <a:lnTo>
                    <a:pt x="1588" y="2458"/>
                  </a:lnTo>
                  <a:lnTo>
                    <a:pt x="1588" y="2464"/>
                  </a:lnTo>
                  <a:lnTo>
                    <a:pt x="1586" y="2470"/>
                  </a:lnTo>
                  <a:lnTo>
                    <a:pt x="1584" y="2476"/>
                  </a:lnTo>
                  <a:lnTo>
                    <a:pt x="1582" y="2482"/>
                  </a:lnTo>
                  <a:lnTo>
                    <a:pt x="1580" y="2488"/>
                  </a:lnTo>
                  <a:lnTo>
                    <a:pt x="1578" y="2494"/>
                  </a:lnTo>
                  <a:lnTo>
                    <a:pt x="1574" y="2500"/>
                  </a:lnTo>
                  <a:lnTo>
                    <a:pt x="1572" y="2506"/>
                  </a:lnTo>
                  <a:lnTo>
                    <a:pt x="1570" y="2508"/>
                  </a:lnTo>
                  <a:lnTo>
                    <a:pt x="1568" y="2514"/>
                  </a:lnTo>
                  <a:lnTo>
                    <a:pt x="1564" y="2520"/>
                  </a:lnTo>
                  <a:lnTo>
                    <a:pt x="1562" y="2526"/>
                  </a:lnTo>
                  <a:lnTo>
                    <a:pt x="1556" y="2532"/>
                  </a:lnTo>
                  <a:lnTo>
                    <a:pt x="1554" y="2538"/>
                  </a:lnTo>
                  <a:lnTo>
                    <a:pt x="1548" y="2544"/>
                  </a:lnTo>
                  <a:lnTo>
                    <a:pt x="1544" y="2550"/>
                  </a:lnTo>
                  <a:lnTo>
                    <a:pt x="1538" y="2556"/>
                  </a:lnTo>
                  <a:lnTo>
                    <a:pt x="1532" y="2562"/>
                  </a:lnTo>
                  <a:lnTo>
                    <a:pt x="1526" y="2566"/>
                  </a:lnTo>
                  <a:lnTo>
                    <a:pt x="1520" y="2570"/>
                  </a:lnTo>
                  <a:lnTo>
                    <a:pt x="1516" y="2574"/>
                  </a:lnTo>
                  <a:lnTo>
                    <a:pt x="1510" y="2580"/>
                  </a:lnTo>
                  <a:lnTo>
                    <a:pt x="1508" y="2586"/>
                  </a:lnTo>
                  <a:lnTo>
                    <a:pt x="1502" y="2592"/>
                  </a:lnTo>
                  <a:lnTo>
                    <a:pt x="1504" y="2586"/>
                  </a:lnTo>
                  <a:lnTo>
                    <a:pt x="1502" y="2580"/>
                  </a:lnTo>
                  <a:lnTo>
                    <a:pt x="1500" y="2574"/>
                  </a:lnTo>
                  <a:lnTo>
                    <a:pt x="1500" y="2568"/>
                  </a:lnTo>
                  <a:lnTo>
                    <a:pt x="1506" y="2570"/>
                  </a:lnTo>
                  <a:lnTo>
                    <a:pt x="1512" y="2572"/>
                  </a:lnTo>
                  <a:lnTo>
                    <a:pt x="1518" y="2566"/>
                  </a:lnTo>
                  <a:lnTo>
                    <a:pt x="1524" y="2562"/>
                  </a:lnTo>
                  <a:lnTo>
                    <a:pt x="1526" y="2558"/>
                  </a:lnTo>
                  <a:lnTo>
                    <a:pt x="1532" y="2554"/>
                  </a:lnTo>
                  <a:lnTo>
                    <a:pt x="1534" y="2548"/>
                  </a:lnTo>
                  <a:lnTo>
                    <a:pt x="1540" y="2546"/>
                  </a:lnTo>
                  <a:lnTo>
                    <a:pt x="1544" y="2542"/>
                  </a:lnTo>
                  <a:lnTo>
                    <a:pt x="1546" y="2534"/>
                  </a:lnTo>
                  <a:lnTo>
                    <a:pt x="1546" y="2528"/>
                  </a:lnTo>
                  <a:lnTo>
                    <a:pt x="1544" y="2524"/>
                  </a:lnTo>
                  <a:lnTo>
                    <a:pt x="1548" y="2516"/>
                  </a:lnTo>
                  <a:lnTo>
                    <a:pt x="1554" y="2520"/>
                  </a:lnTo>
                  <a:lnTo>
                    <a:pt x="1552" y="2516"/>
                  </a:lnTo>
                  <a:lnTo>
                    <a:pt x="1554" y="2510"/>
                  </a:lnTo>
                  <a:lnTo>
                    <a:pt x="1556" y="2504"/>
                  </a:lnTo>
                  <a:lnTo>
                    <a:pt x="1562" y="2500"/>
                  </a:lnTo>
                  <a:lnTo>
                    <a:pt x="1566" y="2494"/>
                  </a:lnTo>
                  <a:lnTo>
                    <a:pt x="1566" y="2488"/>
                  </a:lnTo>
                  <a:lnTo>
                    <a:pt x="1564" y="2482"/>
                  </a:lnTo>
                  <a:lnTo>
                    <a:pt x="1564" y="2476"/>
                  </a:lnTo>
                  <a:lnTo>
                    <a:pt x="1564" y="2470"/>
                  </a:lnTo>
                  <a:lnTo>
                    <a:pt x="1570" y="2474"/>
                  </a:lnTo>
                  <a:lnTo>
                    <a:pt x="1570" y="2472"/>
                  </a:lnTo>
                  <a:lnTo>
                    <a:pt x="1570" y="2466"/>
                  </a:lnTo>
                  <a:lnTo>
                    <a:pt x="1568" y="2460"/>
                  </a:lnTo>
                  <a:lnTo>
                    <a:pt x="1562" y="2456"/>
                  </a:lnTo>
                  <a:lnTo>
                    <a:pt x="1560" y="2462"/>
                  </a:lnTo>
                  <a:lnTo>
                    <a:pt x="1554" y="2466"/>
                  </a:lnTo>
                  <a:lnTo>
                    <a:pt x="1548" y="2466"/>
                  </a:lnTo>
                  <a:lnTo>
                    <a:pt x="1546" y="2470"/>
                  </a:lnTo>
                  <a:lnTo>
                    <a:pt x="1542" y="2466"/>
                  </a:lnTo>
                  <a:lnTo>
                    <a:pt x="1538" y="2458"/>
                  </a:lnTo>
                  <a:lnTo>
                    <a:pt x="1532" y="2458"/>
                  </a:lnTo>
                  <a:lnTo>
                    <a:pt x="1528" y="2452"/>
                  </a:lnTo>
                  <a:lnTo>
                    <a:pt x="1526" y="2446"/>
                  </a:lnTo>
                  <a:lnTo>
                    <a:pt x="1524" y="2444"/>
                  </a:lnTo>
                  <a:lnTo>
                    <a:pt x="1524" y="2450"/>
                  </a:lnTo>
                  <a:lnTo>
                    <a:pt x="1524" y="2456"/>
                  </a:lnTo>
                  <a:lnTo>
                    <a:pt x="1526" y="2462"/>
                  </a:lnTo>
                  <a:lnTo>
                    <a:pt x="1532" y="2466"/>
                  </a:lnTo>
                  <a:lnTo>
                    <a:pt x="1536" y="2470"/>
                  </a:lnTo>
                  <a:lnTo>
                    <a:pt x="1530" y="2474"/>
                  </a:lnTo>
                  <a:lnTo>
                    <a:pt x="1530" y="2480"/>
                  </a:lnTo>
                  <a:lnTo>
                    <a:pt x="1530" y="2486"/>
                  </a:lnTo>
                  <a:lnTo>
                    <a:pt x="1532" y="2492"/>
                  </a:lnTo>
                  <a:lnTo>
                    <a:pt x="1532" y="2498"/>
                  </a:lnTo>
                  <a:lnTo>
                    <a:pt x="1530" y="2492"/>
                  </a:lnTo>
                  <a:lnTo>
                    <a:pt x="1526" y="2486"/>
                  </a:lnTo>
                  <a:lnTo>
                    <a:pt x="1526" y="2492"/>
                  </a:lnTo>
                  <a:lnTo>
                    <a:pt x="1528" y="2498"/>
                  </a:lnTo>
                  <a:lnTo>
                    <a:pt x="1528" y="2504"/>
                  </a:lnTo>
                  <a:lnTo>
                    <a:pt x="1522" y="2506"/>
                  </a:lnTo>
                  <a:lnTo>
                    <a:pt x="1524" y="2512"/>
                  </a:lnTo>
                  <a:lnTo>
                    <a:pt x="1522" y="2518"/>
                  </a:lnTo>
                  <a:lnTo>
                    <a:pt x="1516" y="2524"/>
                  </a:lnTo>
                  <a:lnTo>
                    <a:pt x="1512" y="2530"/>
                  </a:lnTo>
                  <a:lnTo>
                    <a:pt x="1504" y="2532"/>
                  </a:lnTo>
                  <a:lnTo>
                    <a:pt x="1500" y="2536"/>
                  </a:lnTo>
                  <a:lnTo>
                    <a:pt x="1498" y="2542"/>
                  </a:lnTo>
                  <a:lnTo>
                    <a:pt x="1500" y="2548"/>
                  </a:lnTo>
                  <a:lnTo>
                    <a:pt x="1498" y="2554"/>
                  </a:lnTo>
                  <a:lnTo>
                    <a:pt x="1494" y="2560"/>
                  </a:lnTo>
                  <a:lnTo>
                    <a:pt x="1490" y="2566"/>
                  </a:lnTo>
                  <a:lnTo>
                    <a:pt x="1490" y="2572"/>
                  </a:lnTo>
                  <a:lnTo>
                    <a:pt x="1496" y="2576"/>
                  </a:lnTo>
                  <a:lnTo>
                    <a:pt x="1490" y="2580"/>
                  </a:lnTo>
                  <a:lnTo>
                    <a:pt x="1496" y="2586"/>
                  </a:lnTo>
                  <a:lnTo>
                    <a:pt x="1500" y="2584"/>
                  </a:lnTo>
                  <a:lnTo>
                    <a:pt x="1500" y="2590"/>
                  </a:lnTo>
                  <a:lnTo>
                    <a:pt x="1498" y="2596"/>
                  </a:lnTo>
                  <a:lnTo>
                    <a:pt x="1494" y="2602"/>
                  </a:lnTo>
                  <a:lnTo>
                    <a:pt x="1492" y="2608"/>
                  </a:lnTo>
                  <a:lnTo>
                    <a:pt x="1490" y="2614"/>
                  </a:lnTo>
                  <a:lnTo>
                    <a:pt x="1490" y="2620"/>
                  </a:lnTo>
                  <a:lnTo>
                    <a:pt x="1488" y="2626"/>
                  </a:lnTo>
                  <a:lnTo>
                    <a:pt x="1488" y="2632"/>
                  </a:lnTo>
                  <a:lnTo>
                    <a:pt x="1488" y="2638"/>
                  </a:lnTo>
                  <a:lnTo>
                    <a:pt x="1488" y="2644"/>
                  </a:lnTo>
                  <a:lnTo>
                    <a:pt x="1486" y="2650"/>
                  </a:lnTo>
                  <a:lnTo>
                    <a:pt x="1484" y="2656"/>
                  </a:lnTo>
                  <a:lnTo>
                    <a:pt x="1482" y="2662"/>
                  </a:lnTo>
                  <a:lnTo>
                    <a:pt x="1478" y="2668"/>
                  </a:lnTo>
                  <a:lnTo>
                    <a:pt x="1474" y="2672"/>
                  </a:lnTo>
                  <a:lnTo>
                    <a:pt x="1470" y="2678"/>
                  </a:lnTo>
                  <a:lnTo>
                    <a:pt x="1464" y="2684"/>
                  </a:lnTo>
                  <a:lnTo>
                    <a:pt x="1460" y="2690"/>
                  </a:lnTo>
                  <a:lnTo>
                    <a:pt x="1454" y="2696"/>
                  </a:lnTo>
                  <a:lnTo>
                    <a:pt x="1448" y="2702"/>
                  </a:lnTo>
                  <a:lnTo>
                    <a:pt x="1444" y="2698"/>
                  </a:lnTo>
                  <a:lnTo>
                    <a:pt x="1438" y="2696"/>
                  </a:lnTo>
                  <a:lnTo>
                    <a:pt x="1438" y="2692"/>
                  </a:lnTo>
                  <a:lnTo>
                    <a:pt x="1438" y="2686"/>
                  </a:lnTo>
                  <a:lnTo>
                    <a:pt x="1436" y="2678"/>
                  </a:lnTo>
                  <a:lnTo>
                    <a:pt x="1436" y="2672"/>
                  </a:lnTo>
                  <a:lnTo>
                    <a:pt x="1432" y="2666"/>
                  </a:lnTo>
                  <a:lnTo>
                    <a:pt x="1432" y="2660"/>
                  </a:lnTo>
                  <a:lnTo>
                    <a:pt x="1434" y="2654"/>
                  </a:lnTo>
                  <a:lnTo>
                    <a:pt x="1440" y="2650"/>
                  </a:lnTo>
                  <a:lnTo>
                    <a:pt x="1442" y="2644"/>
                  </a:lnTo>
                  <a:lnTo>
                    <a:pt x="1446" y="2638"/>
                  </a:lnTo>
                  <a:lnTo>
                    <a:pt x="1450" y="2632"/>
                  </a:lnTo>
                  <a:lnTo>
                    <a:pt x="1446" y="2626"/>
                  </a:lnTo>
                  <a:lnTo>
                    <a:pt x="1440" y="2622"/>
                  </a:lnTo>
                  <a:lnTo>
                    <a:pt x="1434" y="2620"/>
                  </a:lnTo>
                  <a:lnTo>
                    <a:pt x="1432" y="2620"/>
                  </a:lnTo>
                  <a:lnTo>
                    <a:pt x="1426" y="2616"/>
                  </a:lnTo>
                  <a:lnTo>
                    <a:pt x="1420" y="2612"/>
                  </a:lnTo>
                  <a:lnTo>
                    <a:pt x="1414" y="2604"/>
                  </a:lnTo>
                  <a:lnTo>
                    <a:pt x="1414" y="2600"/>
                  </a:lnTo>
                  <a:lnTo>
                    <a:pt x="1408" y="2592"/>
                  </a:lnTo>
                  <a:lnTo>
                    <a:pt x="1404" y="2586"/>
                  </a:lnTo>
                  <a:lnTo>
                    <a:pt x="1398" y="2582"/>
                  </a:lnTo>
                  <a:lnTo>
                    <a:pt x="1392" y="2576"/>
                  </a:lnTo>
                  <a:lnTo>
                    <a:pt x="1386" y="2574"/>
                  </a:lnTo>
                  <a:lnTo>
                    <a:pt x="1380" y="2576"/>
                  </a:lnTo>
                  <a:lnTo>
                    <a:pt x="1374" y="2570"/>
                  </a:lnTo>
                  <a:lnTo>
                    <a:pt x="1368" y="2566"/>
                  </a:lnTo>
                  <a:lnTo>
                    <a:pt x="1362" y="2560"/>
                  </a:lnTo>
                  <a:lnTo>
                    <a:pt x="1358" y="2558"/>
                  </a:lnTo>
                  <a:lnTo>
                    <a:pt x="1356" y="2552"/>
                  </a:lnTo>
                  <a:lnTo>
                    <a:pt x="1350" y="2548"/>
                  </a:lnTo>
                  <a:lnTo>
                    <a:pt x="1344" y="2544"/>
                  </a:lnTo>
                  <a:lnTo>
                    <a:pt x="1338" y="2542"/>
                  </a:lnTo>
                  <a:lnTo>
                    <a:pt x="1332" y="2542"/>
                  </a:lnTo>
                  <a:lnTo>
                    <a:pt x="1326" y="2538"/>
                  </a:lnTo>
                  <a:lnTo>
                    <a:pt x="1320" y="2532"/>
                  </a:lnTo>
                  <a:lnTo>
                    <a:pt x="1314" y="2534"/>
                  </a:lnTo>
                  <a:lnTo>
                    <a:pt x="1310" y="2530"/>
                  </a:lnTo>
                  <a:lnTo>
                    <a:pt x="1304" y="2524"/>
                  </a:lnTo>
                  <a:lnTo>
                    <a:pt x="1300" y="2518"/>
                  </a:lnTo>
                  <a:lnTo>
                    <a:pt x="1294" y="2512"/>
                  </a:lnTo>
                  <a:lnTo>
                    <a:pt x="1288" y="2506"/>
                  </a:lnTo>
                  <a:lnTo>
                    <a:pt x="1284" y="2504"/>
                  </a:lnTo>
                  <a:lnTo>
                    <a:pt x="1278" y="2502"/>
                  </a:lnTo>
                  <a:lnTo>
                    <a:pt x="1280" y="2508"/>
                  </a:lnTo>
                  <a:lnTo>
                    <a:pt x="1272" y="2512"/>
                  </a:lnTo>
                  <a:lnTo>
                    <a:pt x="1266" y="2516"/>
                  </a:lnTo>
                  <a:lnTo>
                    <a:pt x="1262" y="2516"/>
                  </a:lnTo>
                  <a:lnTo>
                    <a:pt x="1258" y="2516"/>
                  </a:lnTo>
                  <a:lnTo>
                    <a:pt x="1258" y="2510"/>
                  </a:lnTo>
                  <a:lnTo>
                    <a:pt x="1258" y="2504"/>
                  </a:lnTo>
                  <a:lnTo>
                    <a:pt x="1256" y="2498"/>
                  </a:lnTo>
                  <a:lnTo>
                    <a:pt x="1250" y="2494"/>
                  </a:lnTo>
                  <a:lnTo>
                    <a:pt x="1246" y="2488"/>
                  </a:lnTo>
                  <a:lnTo>
                    <a:pt x="1240" y="2482"/>
                  </a:lnTo>
                  <a:lnTo>
                    <a:pt x="1234" y="2478"/>
                  </a:lnTo>
                  <a:lnTo>
                    <a:pt x="1228" y="2472"/>
                  </a:lnTo>
                  <a:lnTo>
                    <a:pt x="1224" y="2470"/>
                  </a:lnTo>
                  <a:lnTo>
                    <a:pt x="1216" y="2464"/>
                  </a:lnTo>
                  <a:lnTo>
                    <a:pt x="1212" y="2458"/>
                  </a:lnTo>
                  <a:lnTo>
                    <a:pt x="1206" y="2454"/>
                  </a:lnTo>
                  <a:lnTo>
                    <a:pt x="1198" y="2450"/>
                  </a:lnTo>
                  <a:lnTo>
                    <a:pt x="1192" y="2450"/>
                  </a:lnTo>
                  <a:lnTo>
                    <a:pt x="1186" y="2450"/>
                  </a:lnTo>
                  <a:lnTo>
                    <a:pt x="1182" y="2456"/>
                  </a:lnTo>
                  <a:lnTo>
                    <a:pt x="1180" y="2462"/>
                  </a:lnTo>
                  <a:lnTo>
                    <a:pt x="1174" y="2462"/>
                  </a:lnTo>
                  <a:lnTo>
                    <a:pt x="1168" y="2462"/>
                  </a:lnTo>
                  <a:lnTo>
                    <a:pt x="1160" y="2462"/>
                  </a:lnTo>
                  <a:lnTo>
                    <a:pt x="1156" y="2458"/>
                  </a:lnTo>
                  <a:lnTo>
                    <a:pt x="1154" y="2456"/>
                  </a:lnTo>
                  <a:lnTo>
                    <a:pt x="1156" y="2454"/>
                  </a:lnTo>
                  <a:lnTo>
                    <a:pt x="1162" y="2448"/>
                  </a:lnTo>
                  <a:lnTo>
                    <a:pt x="1168" y="2442"/>
                  </a:lnTo>
                  <a:lnTo>
                    <a:pt x="1168" y="2436"/>
                  </a:lnTo>
                  <a:lnTo>
                    <a:pt x="1168" y="2430"/>
                  </a:lnTo>
                  <a:lnTo>
                    <a:pt x="1174" y="2428"/>
                  </a:lnTo>
                  <a:lnTo>
                    <a:pt x="1180" y="2424"/>
                  </a:lnTo>
                  <a:lnTo>
                    <a:pt x="1182" y="2422"/>
                  </a:lnTo>
                  <a:lnTo>
                    <a:pt x="1184" y="2416"/>
                  </a:lnTo>
                  <a:lnTo>
                    <a:pt x="1188" y="2410"/>
                  </a:lnTo>
                  <a:lnTo>
                    <a:pt x="1192" y="2404"/>
                  </a:lnTo>
                  <a:lnTo>
                    <a:pt x="1194" y="2402"/>
                  </a:lnTo>
                  <a:lnTo>
                    <a:pt x="1198" y="2396"/>
                  </a:lnTo>
                  <a:lnTo>
                    <a:pt x="1198" y="2390"/>
                  </a:lnTo>
                  <a:lnTo>
                    <a:pt x="1200" y="2384"/>
                  </a:lnTo>
                  <a:lnTo>
                    <a:pt x="1206" y="2380"/>
                  </a:lnTo>
                  <a:lnTo>
                    <a:pt x="1210" y="2374"/>
                  </a:lnTo>
                  <a:lnTo>
                    <a:pt x="1214" y="2368"/>
                  </a:lnTo>
                  <a:lnTo>
                    <a:pt x="1214" y="2362"/>
                  </a:lnTo>
                  <a:lnTo>
                    <a:pt x="1220" y="2356"/>
                  </a:lnTo>
                  <a:lnTo>
                    <a:pt x="1224" y="2350"/>
                  </a:lnTo>
                  <a:lnTo>
                    <a:pt x="1228" y="2344"/>
                  </a:lnTo>
                  <a:lnTo>
                    <a:pt x="1228" y="2338"/>
                  </a:lnTo>
                  <a:lnTo>
                    <a:pt x="1234" y="2336"/>
                  </a:lnTo>
                  <a:lnTo>
                    <a:pt x="1232" y="2330"/>
                  </a:lnTo>
                  <a:lnTo>
                    <a:pt x="1240" y="2330"/>
                  </a:lnTo>
                  <a:lnTo>
                    <a:pt x="1246" y="2332"/>
                  </a:lnTo>
                  <a:lnTo>
                    <a:pt x="1246" y="2326"/>
                  </a:lnTo>
                  <a:lnTo>
                    <a:pt x="1240" y="2322"/>
                  </a:lnTo>
                  <a:lnTo>
                    <a:pt x="1246" y="2316"/>
                  </a:lnTo>
                  <a:lnTo>
                    <a:pt x="1246" y="2314"/>
                  </a:lnTo>
                  <a:lnTo>
                    <a:pt x="1248" y="2312"/>
                  </a:lnTo>
                  <a:lnTo>
                    <a:pt x="1254" y="2308"/>
                  </a:lnTo>
                  <a:lnTo>
                    <a:pt x="1258" y="2308"/>
                  </a:lnTo>
                  <a:lnTo>
                    <a:pt x="1262" y="2302"/>
                  </a:lnTo>
                  <a:lnTo>
                    <a:pt x="1262" y="2298"/>
                  </a:lnTo>
                  <a:lnTo>
                    <a:pt x="1268" y="2296"/>
                  </a:lnTo>
                  <a:lnTo>
                    <a:pt x="1274" y="2294"/>
                  </a:lnTo>
                  <a:lnTo>
                    <a:pt x="1280" y="2290"/>
                  </a:lnTo>
                  <a:lnTo>
                    <a:pt x="1284" y="2284"/>
                  </a:lnTo>
                  <a:lnTo>
                    <a:pt x="1286" y="2278"/>
                  </a:lnTo>
                  <a:lnTo>
                    <a:pt x="1292" y="2274"/>
                  </a:lnTo>
                  <a:lnTo>
                    <a:pt x="1298" y="2270"/>
                  </a:lnTo>
                  <a:lnTo>
                    <a:pt x="1304" y="2268"/>
                  </a:lnTo>
                  <a:lnTo>
                    <a:pt x="1310" y="2264"/>
                  </a:lnTo>
                  <a:lnTo>
                    <a:pt x="1316" y="2262"/>
                  </a:lnTo>
                  <a:lnTo>
                    <a:pt x="1322" y="2260"/>
                  </a:lnTo>
                  <a:lnTo>
                    <a:pt x="1326" y="2254"/>
                  </a:lnTo>
                  <a:lnTo>
                    <a:pt x="1330" y="2252"/>
                  </a:lnTo>
                  <a:lnTo>
                    <a:pt x="1336" y="2246"/>
                  </a:lnTo>
                  <a:lnTo>
                    <a:pt x="1342" y="2246"/>
                  </a:lnTo>
                  <a:lnTo>
                    <a:pt x="1344" y="2242"/>
                  </a:lnTo>
                  <a:lnTo>
                    <a:pt x="1346" y="2236"/>
                  </a:lnTo>
                  <a:lnTo>
                    <a:pt x="1348" y="2232"/>
                  </a:lnTo>
                  <a:lnTo>
                    <a:pt x="1348" y="2224"/>
                  </a:lnTo>
                  <a:lnTo>
                    <a:pt x="1344" y="2220"/>
                  </a:lnTo>
                  <a:lnTo>
                    <a:pt x="1344" y="2214"/>
                  </a:lnTo>
                  <a:lnTo>
                    <a:pt x="1344" y="2206"/>
                  </a:lnTo>
                  <a:lnTo>
                    <a:pt x="1344" y="2202"/>
                  </a:lnTo>
                  <a:lnTo>
                    <a:pt x="1344" y="2196"/>
                  </a:lnTo>
                  <a:lnTo>
                    <a:pt x="1342" y="2190"/>
                  </a:lnTo>
                  <a:lnTo>
                    <a:pt x="1344" y="2184"/>
                  </a:lnTo>
                  <a:lnTo>
                    <a:pt x="1344" y="2182"/>
                  </a:lnTo>
                  <a:lnTo>
                    <a:pt x="1342" y="2178"/>
                  </a:lnTo>
                  <a:lnTo>
                    <a:pt x="1338" y="2172"/>
                  </a:lnTo>
                  <a:lnTo>
                    <a:pt x="1334" y="2166"/>
                  </a:lnTo>
                  <a:lnTo>
                    <a:pt x="1332" y="2160"/>
                  </a:lnTo>
                  <a:lnTo>
                    <a:pt x="1330" y="2154"/>
                  </a:lnTo>
                  <a:lnTo>
                    <a:pt x="1328" y="2148"/>
                  </a:lnTo>
                  <a:lnTo>
                    <a:pt x="1326" y="2142"/>
                  </a:lnTo>
                  <a:lnTo>
                    <a:pt x="1320" y="2136"/>
                  </a:lnTo>
                  <a:lnTo>
                    <a:pt x="1314" y="2134"/>
                  </a:lnTo>
                  <a:lnTo>
                    <a:pt x="1308" y="2134"/>
                  </a:lnTo>
                  <a:lnTo>
                    <a:pt x="1302" y="2136"/>
                  </a:lnTo>
                  <a:lnTo>
                    <a:pt x="1296" y="2136"/>
                  </a:lnTo>
                  <a:lnTo>
                    <a:pt x="1294" y="2142"/>
                  </a:lnTo>
                  <a:lnTo>
                    <a:pt x="1288" y="2138"/>
                  </a:lnTo>
                  <a:lnTo>
                    <a:pt x="1284" y="2136"/>
                  </a:lnTo>
                  <a:lnTo>
                    <a:pt x="1282" y="2136"/>
                  </a:lnTo>
                  <a:lnTo>
                    <a:pt x="1282" y="2132"/>
                  </a:lnTo>
                  <a:lnTo>
                    <a:pt x="1280" y="2130"/>
                  </a:lnTo>
                  <a:lnTo>
                    <a:pt x="1280" y="2126"/>
                  </a:lnTo>
                  <a:lnTo>
                    <a:pt x="1282" y="2120"/>
                  </a:lnTo>
                  <a:lnTo>
                    <a:pt x="1286" y="2114"/>
                  </a:lnTo>
                  <a:lnTo>
                    <a:pt x="1288" y="2108"/>
                  </a:lnTo>
                  <a:lnTo>
                    <a:pt x="1286" y="2102"/>
                  </a:lnTo>
                  <a:lnTo>
                    <a:pt x="1286" y="2096"/>
                  </a:lnTo>
                  <a:lnTo>
                    <a:pt x="1288" y="2090"/>
                  </a:lnTo>
                  <a:lnTo>
                    <a:pt x="1288" y="2084"/>
                  </a:lnTo>
                  <a:lnTo>
                    <a:pt x="1290" y="2078"/>
                  </a:lnTo>
                  <a:lnTo>
                    <a:pt x="1290" y="2072"/>
                  </a:lnTo>
                  <a:lnTo>
                    <a:pt x="1290" y="2068"/>
                  </a:lnTo>
                  <a:lnTo>
                    <a:pt x="1288" y="2060"/>
                  </a:lnTo>
                  <a:lnTo>
                    <a:pt x="1292" y="2054"/>
                  </a:lnTo>
                  <a:lnTo>
                    <a:pt x="1292" y="2048"/>
                  </a:lnTo>
                  <a:lnTo>
                    <a:pt x="1288" y="2042"/>
                  </a:lnTo>
                  <a:lnTo>
                    <a:pt x="1286" y="2036"/>
                  </a:lnTo>
                  <a:lnTo>
                    <a:pt x="1290" y="2030"/>
                  </a:lnTo>
                  <a:lnTo>
                    <a:pt x="1286" y="2028"/>
                  </a:lnTo>
                  <a:lnTo>
                    <a:pt x="1280" y="2022"/>
                  </a:lnTo>
                  <a:lnTo>
                    <a:pt x="1274" y="2018"/>
                  </a:lnTo>
                  <a:lnTo>
                    <a:pt x="1268" y="2016"/>
                  </a:lnTo>
                  <a:lnTo>
                    <a:pt x="1262" y="2016"/>
                  </a:lnTo>
                  <a:lnTo>
                    <a:pt x="1256" y="2018"/>
                  </a:lnTo>
                  <a:lnTo>
                    <a:pt x="1250" y="2024"/>
                  </a:lnTo>
                  <a:lnTo>
                    <a:pt x="1246" y="2026"/>
                  </a:lnTo>
                  <a:lnTo>
                    <a:pt x="1244" y="2026"/>
                  </a:lnTo>
                  <a:lnTo>
                    <a:pt x="1238" y="2028"/>
                  </a:lnTo>
                  <a:lnTo>
                    <a:pt x="1232" y="2028"/>
                  </a:lnTo>
                  <a:lnTo>
                    <a:pt x="1226" y="2026"/>
                  </a:lnTo>
                  <a:lnTo>
                    <a:pt x="1220" y="2024"/>
                  </a:lnTo>
                  <a:lnTo>
                    <a:pt x="1220" y="2018"/>
                  </a:lnTo>
                  <a:lnTo>
                    <a:pt x="1218" y="2012"/>
                  </a:lnTo>
                  <a:lnTo>
                    <a:pt x="1216" y="2006"/>
                  </a:lnTo>
                  <a:lnTo>
                    <a:pt x="1212" y="2000"/>
                  </a:lnTo>
                  <a:lnTo>
                    <a:pt x="1210" y="1994"/>
                  </a:lnTo>
                  <a:lnTo>
                    <a:pt x="1210" y="1992"/>
                  </a:lnTo>
                  <a:lnTo>
                    <a:pt x="1210" y="1986"/>
                  </a:lnTo>
                  <a:lnTo>
                    <a:pt x="1208" y="1980"/>
                  </a:lnTo>
                  <a:lnTo>
                    <a:pt x="1208" y="1974"/>
                  </a:lnTo>
                  <a:lnTo>
                    <a:pt x="1208" y="1972"/>
                  </a:lnTo>
                  <a:lnTo>
                    <a:pt x="1204" y="1966"/>
                  </a:lnTo>
                  <a:lnTo>
                    <a:pt x="1204" y="1962"/>
                  </a:lnTo>
                  <a:lnTo>
                    <a:pt x="1200" y="1956"/>
                  </a:lnTo>
                  <a:lnTo>
                    <a:pt x="1198" y="1948"/>
                  </a:lnTo>
                  <a:lnTo>
                    <a:pt x="1198" y="1944"/>
                  </a:lnTo>
                  <a:lnTo>
                    <a:pt x="1200" y="1938"/>
                  </a:lnTo>
                  <a:lnTo>
                    <a:pt x="1196" y="1932"/>
                  </a:lnTo>
                  <a:lnTo>
                    <a:pt x="1190" y="1926"/>
                  </a:lnTo>
                  <a:lnTo>
                    <a:pt x="1190" y="1920"/>
                  </a:lnTo>
                  <a:lnTo>
                    <a:pt x="1186" y="1914"/>
                  </a:lnTo>
                  <a:lnTo>
                    <a:pt x="1182" y="1910"/>
                  </a:lnTo>
                  <a:lnTo>
                    <a:pt x="1176" y="1910"/>
                  </a:lnTo>
                  <a:lnTo>
                    <a:pt x="1170" y="1908"/>
                  </a:lnTo>
                  <a:lnTo>
                    <a:pt x="1164" y="1908"/>
                  </a:lnTo>
                  <a:lnTo>
                    <a:pt x="1158" y="1904"/>
                  </a:lnTo>
                  <a:lnTo>
                    <a:pt x="1152" y="1900"/>
                  </a:lnTo>
                  <a:lnTo>
                    <a:pt x="1148" y="1894"/>
                  </a:lnTo>
                  <a:lnTo>
                    <a:pt x="1142" y="1894"/>
                  </a:lnTo>
                  <a:lnTo>
                    <a:pt x="1140" y="1896"/>
                  </a:lnTo>
                  <a:lnTo>
                    <a:pt x="1140" y="1898"/>
                  </a:lnTo>
                  <a:lnTo>
                    <a:pt x="1134" y="1904"/>
                  </a:lnTo>
                  <a:lnTo>
                    <a:pt x="1128" y="1906"/>
                  </a:lnTo>
                  <a:lnTo>
                    <a:pt x="1122" y="1910"/>
                  </a:lnTo>
                  <a:lnTo>
                    <a:pt x="1118" y="1906"/>
                  </a:lnTo>
                  <a:lnTo>
                    <a:pt x="1112" y="1904"/>
                  </a:lnTo>
                  <a:lnTo>
                    <a:pt x="1106" y="1906"/>
                  </a:lnTo>
                  <a:lnTo>
                    <a:pt x="1100" y="1902"/>
                  </a:lnTo>
                  <a:lnTo>
                    <a:pt x="1094" y="1902"/>
                  </a:lnTo>
                  <a:lnTo>
                    <a:pt x="1088" y="1902"/>
                  </a:lnTo>
                  <a:lnTo>
                    <a:pt x="1084" y="1902"/>
                  </a:lnTo>
                  <a:lnTo>
                    <a:pt x="1080" y="1900"/>
                  </a:lnTo>
                  <a:lnTo>
                    <a:pt x="1072" y="1896"/>
                  </a:lnTo>
                  <a:lnTo>
                    <a:pt x="1068" y="1896"/>
                  </a:lnTo>
                  <a:lnTo>
                    <a:pt x="1062" y="1898"/>
                  </a:lnTo>
                  <a:lnTo>
                    <a:pt x="1056" y="1896"/>
                  </a:lnTo>
                  <a:lnTo>
                    <a:pt x="1052" y="1894"/>
                  </a:lnTo>
                  <a:lnTo>
                    <a:pt x="1052" y="1888"/>
                  </a:lnTo>
                  <a:lnTo>
                    <a:pt x="1054" y="1882"/>
                  </a:lnTo>
                  <a:lnTo>
                    <a:pt x="1054" y="1876"/>
                  </a:lnTo>
                  <a:lnTo>
                    <a:pt x="1054" y="1872"/>
                  </a:lnTo>
                  <a:lnTo>
                    <a:pt x="1056" y="1868"/>
                  </a:lnTo>
                  <a:lnTo>
                    <a:pt x="1054" y="1866"/>
                  </a:lnTo>
                  <a:lnTo>
                    <a:pt x="1052" y="1860"/>
                  </a:lnTo>
                  <a:lnTo>
                    <a:pt x="1052" y="1858"/>
                  </a:lnTo>
                  <a:lnTo>
                    <a:pt x="1050" y="1852"/>
                  </a:lnTo>
                  <a:lnTo>
                    <a:pt x="1052" y="1846"/>
                  </a:lnTo>
                  <a:lnTo>
                    <a:pt x="1052" y="1840"/>
                  </a:lnTo>
                  <a:lnTo>
                    <a:pt x="1054" y="1834"/>
                  </a:lnTo>
                  <a:lnTo>
                    <a:pt x="1054" y="1830"/>
                  </a:lnTo>
                  <a:lnTo>
                    <a:pt x="1052" y="1822"/>
                  </a:lnTo>
                  <a:lnTo>
                    <a:pt x="1054" y="1818"/>
                  </a:lnTo>
                  <a:lnTo>
                    <a:pt x="1048" y="1812"/>
                  </a:lnTo>
                  <a:lnTo>
                    <a:pt x="1046" y="1806"/>
                  </a:lnTo>
                  <a:lnTo>
                    <a:pt x="1048" y="1800"/>
                  </a:lnTo>
                  <a:lnTo>
                    <a:pt x="1042" y="1798"/>
                  </a:lnTo>
                  <a:lnTo>
                    <a:pt x="1040" y="1792"/>
                  </a:lnTo>
                  <a:lnTo>
                    <a:pt x="1040" y="1786"/>
                  </a:lnTo>
                  <a:lnTo>
                    <a:pt x="1038" y="1780"/>
                  </a:lnTo>
                  <a:lnTo>
                    <a:pt x="1034" y="1774"/>
                  </a:lnTo>
                  <a:lnTo>
                    <a:pt x="1028" y="1768"/>
                  </a:lnTo>
                  <a:lnTo>
                    <a:pt x="1028" y="1762"/>
                  </a:lnTo>
                  <a:lnTo>
                    <a:pt x="1032" y="1758"/>
                  </a:lnTo>
                  <a:lnTo>
                    <a:pt x="1038" y="1754"/>
                  </a:lnTo>
                  <a:lnTo>
                    <a:pt x="1044" y="1750"/>
                  </a:lnTo>
                  <a:lnTo>
                    <a:pt x="1046" y="1748"/>
                  </a:lnTo>
                  <a:lnTo>
                    <a:pt x="1044" y="1748"/>
                  </a:lnTo>
                  <a:lnTo>
                    <a:pt x="1038" y="1742"/>
                  </a:lnTo>
                  <a:lnTo>
                    <a:pt x="1032" y="1736"/>
                  </a:lnTo>
                  <a:lnTo>
                    <a:pt x="1028" y="1730"/>
                  </a:lnTo>
                  <a:lnTo>
                    <a:pt x="1030" y="1724"/>
                  </a:lnTo>
                  <a:lnTo>
                    <a:pt x="1032" y="1718"/>
                  </a:lnTo>
                  <a:lnTo>
                    <a:pt x="1034" y="1712"/>
                  </a:lnTo>
                  <a:lnTo>
                    <a:pt x="1036" y="1706"/>
                  </a:lnTo>
                  <a:lnTo>
                    <a:pt x="1038" y="1700"/>
                  </a:lnTo>
                  <a:lnTo>
                    <a:pt x="1040" y="1694"/>
                  </a:lnTo>
                  <a:lnTo>
                    <a:pt x="1042" y="1688"/>
                  </a:lnTo>
                  <a:lnTo>
                    <a:pt x="1046" y="1682"/>
                  </a:lnTo>
                  <a:lnTo>
                    <a:pt x="1046" y="1680"/>
                  </a:lnTo>
                  <a:lnTo>
                    <a:pt x="1046" y="1674"/>
                  </a:lnTo>
                  <a:lnTo>
                    <a:pt x="1042" y="1674"/>
                  </a:lnTo>
                  <a:lnTo>
                    <a:pt x="1044" y="1668"/>
                  </a:lnTo>
                  <a:lnTo>
                    <a:pt x="1044" y="1662"/>
                  </a:lnTo>
                  <a:lnTo>
                    <a:pt x="1046" y="1656"/>
                  </a:lnTo>
                  <a:lnTo>
                    <a:pt x="1046" y="1650"/>
                  </a:lnTo>
                  <a:lnTo>
                    <a:pt x="1048" y="1644"/>
                  </a:lnTo>
                  <a:lnTo>
                    <a:pt x="1050" y="1638"/>
                  </a:lnTo>
                  <a:lnTo>
                    <a:pt x="1050" y="1632"/>
                  </a:lnTo>
                  <a:lnTo>
                    <a:pt x="1052" y="1626"/>
                  </a:lnTo>
                  <a:lnTo>
                    <a:pt x="1050" y="1622"/>
                  </a:lnTo>
                  <a:lnTo>
                    <a:pt x="1046" y="1614"/>
                  </a:lnTo>
                  <a:lnTo>
                    <a:pt x="1044" y="1612"/>
                  </a:lnTo>
                  <a:lnTo>
                    <a:pt x="1040" y="1606"/>
                  </a:lnTo>
                  <a:lnTo>
                    <a:pt x="1040" y="1600"/>
                  </a:lnTo>
                  <a:lnTo>
                    <a:pt x="1038" y="1592"/>
                  </a:lnTo>
                  <a:lnTo>
                    <a:pt x="1036" y="1592"/>
                  </a:lnTo>
                  <a:lnTo>
                    <a:pt x="1034" y="1586"/>
                  </a:lnTo>
                  <a:lnTo>
                    <a:pt x="1034" y="1582"/>
                  </a:lnTo>
                  <a:lnTo>
                    <a:pt x="1032" y="1582"/>
                  </a:lnTo>
                  <a:lnTo>
                    <a:pt x="1026" y="1576"/>
                  </a:lnTo>
                  <a:lnTo>
                    <a:pt x="1020" y="1578"/>
                  </a:lnTo>
                  <a:lnTo>
                    <a:pt x="1016" y="1576"/>
                  </a:lnTo>
                  <a:lnTo>
                    <a:pt x="1010" y="1570"/>
                  </a:lnTo>
                  <a:lnTo>
                    <a:pt x="1004" y="1566"/>
                  </a:lnTo>
                  <a:lnTo>
                    <a:pt x="998" y="1564"/>
                  </a:lnTo>
                  <a:lnTo>
                    <a:pt x="992" y="1558"/>
                  </a:lnTo>
                  <a:lnTo>
                    <a:pt x="992" y="1550"/>
                  </a:lnTo>
                  <a:lnTo>
                    <a:pt x="990" y="1544"/>
                  </a:lnTo>
                  <a:lnTo>
                    <a:pt x="988" y="1538"/>
                  </a:lnTo>
                  <a:lnTo>
                    <a:pt x="988" y="1532"/>
                  </a:lnTo>
                  <a:lnTo>
                    <a:pt x="986" y="1526"/>
                  </a:lnTo>
                  <a:lnTo>
                    <a:pt x="984" y="1520"/>
                  </a:lnTo>
                  <a:lnTo>
                    <a:pt x="986" y="1516"/>
                  </a:lnTo>
                  <a:lnTo>
                    <a:pt x="992" y="1510"/>
                  </a:lnTo>
                  <a:lnTo>
                    <a:pt x="990" y="1504"/>
                  </a:lnTo>
                  <a:lnTo>
                    <a:pt x="992" y="1498"/>
                  </a:lnTo>
                  <a:lnTo>
                    <a:pt x="992" y="1494"/>
                  </a:lnTo>
                  <a:lnTo>
                    <a:pt x="986" y="1496"/>
                  </a:lnTo>
                  <a:lnTo>
                    <a:pt x="980" y="1496"/>
                  </a:lnTo>
                  <a:lnTo>
                    <a:pt x="976" y="1496"/>
                  </a:lnTo>
                  <a:lnTo>
                    <a:pt x="970" y="1496"/>
                  </a:lnTo>
                  <a:lnTo>
                    <a:pt x="964" y="1496"/>
                  </a:lnTo>
                  <a:lnTo>
                    <a:pt x="958" y="1496"/>
                  </a:lnTo>
                  <a:lnTo>
                    <a:pt x="952" y="1496"/>
                  </a:lnTo>
                  <a:lnTo>
                    <a:pt x="952" y="1494"/>
                  </a:lnTo>
                  <a:lnTo>
                    <a:pt x="946" y="1494"/>
                  </a:lnTo>
                  <a:lnTo>
                    <a:pt x="940" y="1494"/>
                  </a:lnTo>
                  <a:lnTo>
                    <a:pt x="934" y="1494"/>
                  </a:lnTo>
                  <a:lnTo>
                    <a:pt x="928" y="1494"/>
                  </a:lnTo>
                  <a:lnTo>
                    <a:pt x="924" y="1494"/>
                  </a:lnTo>
                  <a:lnTo>
                    <a:pt x="918" y="1494"/>
                  </a:lnTo>
                  <a:lnTo>
                    <a:pt x="912" y="1492"/>
                  </a:lnTo>
                  <a:lnTo>
                    <a:pt x="908" y="1492"/>
                  </a:lnTo>
                  <a:lnTo>
                    <a:pt x="902" y="1492"/>
                  </a:lnTo>
                  <a:lnTo>
                    <a:pt x="896" y="1492"/>
                  </a:lnTo>
                  <a:lnTo>
                    <a:pt x="890" y="1492"/>
                  </a:lnTo>
                  <a:lnTo>
                    <a:pt x="886" y="1492"/>
                  </a:lnTo>
                  <a:lnTo>
                    <a:pt x="880" y="1488"/>
                  </a:lnTo>
                  <a:lnTo>
                    <a:pt x="878" y="1482"/>
                  </a:lnTo>
                  <a:lnTo>
                    <a:pt x="878" y="1474"/>
                  </a:lnTo>
                  <a:lnTo>
                    <a:pt x="876" y="1468"/>
                  </a:lnTo>
                  <a:lnTo>
                    <a:pt x="876" y="1462"/>
                  </a:lnTo>
                  <a:lnTo>
                    <a:pt x="874" y="1454"/>
                  </a:lnTo>
                  <a:lnTo>
                    <a:pt x="874" y="1448"/>
                  </a:lnTo>
                  <a:lnTo>
                    <a:pt x="872" y="1440"/>
                  </a:lnTo>
                  <a:lnTo>
                    <a:pt x="870" y="1434"/>
                  </a:lnTo>
                  <a:lnTo>
                    <a:pt x="864" y="1428"/>
                  </a:lnTo>
                  <a:lnTo>
                    <a:pt x="860" y="1422"/>
                  </a:lnTo>
                  <a:lnTo>
                    <a:pt x="854" y="1416"/>
                  </a:lnTo>
                  <a:lnTo>
                    <a:pt x="852" y="1410"/>
                  </a:lnTo>
                  <a:lnTo>
                    <a:pt x="860" y="1410"/>
                  </a:lnTo>
                  <a:lnTo>
                    <a:pt x="868" y="1410"/>
                  </a:lnTo>
                  <a:lnTo>
                    <a:pt x="866" y="1404"/>
                  </a:lnTo>
                  <a:lnTo>
                    <a:pt x="866" y="1398"/>
                  </a:lnTo>
                  <a:lnTo>
                    <a:pt x="864" y="1388"/>
                  </a:lnTo>
                  <a:lnTo>
                    <a:pt x="864" y="1380"/>
                  </a:lnTo>
                  <a:lnTo>
                    <a:pt x="860" y="1372"/>
                  </a:lnTo>
                  <a:lnTo>
                    <a:pt x="856" y="1364"/>
                  </a:lnTo>
                  <a:lnTo>
                    <a:pt x="856" y="1360"/>
                  </a:lnTo>
                  <a:lnTo>
                    <a:pt x="852" y="1352"/>
                  </a:lnTo>
                  <a:lnTo>
                    <a:pt x="850" y="1348"/>
                  </a:lnTo>
                  <a:lnTo>
                    <a:pt x="850" y="1340"/>
                  </a:lnTo>
                  <a:lnTo>
                    <a:pt x="854" y="1334"/>
                  </a:lnTo>
                  <a:lnTo>
                    <a:pt x="852" y="1330"/>
                  </a:lnTo>
                  <a:lnTo>
                    <a:pt x="848" y="1324"/>
                  </a:lnTo>
                  <a:lnTo>
                    <a:pt x="842" y="1320"/>
                  </a:lnTo>
                  <a:lnTo>
                    <a:pt x="836" y="1318"/>
                  </a:lnTo>
                  <a:lnTo>
                    <a:pt x="830" y="1314"/>
                  </a:lnTo>
                  <a:lnTo>
                    <a:pt x="826" y="1310"/>
                  </a:lnTo>
                  <a:lnTo>
                    <a:pt x="820" y="1308"/>
                  </a:lnTo>
                  <a:lnTo>
                    <a:pt x="814" y="1304"/>
                  </a:lnTo>
                  <a:lnTo>
                    <a:pt x="808" y="1300"/>
                  </a:lnTo>
                  <a:lnTo>
                    <a:pt x="802" y="1302"/>
                  </a:lnTo>
                  <a:lnTo>
                    <a:pt x="796" y="1300"/>
                  </a:lnTo>
                  <a:lnTo>
                    <a:pt x="790" y="1302"/>
                  </a:lnTo>
                  <a:lnTo>
                    <a:pt x="784" y="1304"/>
                  </a:lnTo>
                  <a:lnTo>
                    <a:pt x="778" y="1300"/>
                  </a:lnTo>
                  <a:lnTo>
                    <a:pt x="776" y="1300"/>
                  </a:lnTo>
                  <a:lnTo>
                    <a:pt x="770" y="1302"/>
                  </a:lnTo>
                  <a:lnTo>
                    <a:pt x="764" y="1304"/>
                  </a:lnTo>
                  <a:lnTo>
                    <a:pt x="762" y="1298"/>
                  </a:lnTo>
                  <a:lnTo>
                    <a:pt x="756" y="1292"/>
                  </a:lnTo>
                  <a:lnTo>
                    <a:pt x="750" y="1288"/>
                  </a:lnTo>
                  <a:lnTo>
                    <a:pt x="746" y="1282"/>
                  </a:lnTo>
                  <a:lnTo>
                    <a:pt x="740" y="1274"/>
                  </a:lnTo>
                  <a:lnTo>
                    <a:pt x="734" y="1276"/>
                  </a:lnTo>
                  <a:lnTo>
                    <a:pt x="728" y="1276"/>
                  </a:lnTo>
                  <a:lnTo>
                    <a:pt x="722" y="1270"/>
                  </a:lnTo>
                  <a:lnTo>
                    <a:pt x="716" y="1270"/>
                  </a:lnTo>
                  <a:lnTo>
                    <a:pt x="710" y="1264"/>
                  </a:lnTo>
                  <a:lnTo>
                    <a:pt x="704" y="1266"/>
                  </a:lnTo>
                  <a:lnTo>
                    <a:pt x="698" y="1262"/>
                  </a:lnTo>
                  <a:lnTo>
                    <a:pt x="694" y="1256"/>
                  </a:lnTo>
                  <a:lnTo>
                    <a:pt x="688" y="1252"/>
                  </a:lnTo>
                  <a:lnTo>
                    <a:pt x="686" y="1246"/>
                  </a:lnTo>
                  <a:lnTo>
                    <a:pt x="682" y="1240"/>
                  </a:lnTo>
                  <a:lnTo>
                    <a:pt x="680" y="1240"/>
                  </a:lnTo>
                  <a:lnTo>
                    <a:pt x="674" y="1246"/>
                  </a:lnTo>
                  <a:lnTo>
                    <a:pt x="668" y="1244"/>
                  </a:lnTo>
                  <a:lnTo>
                    <a:pt x="662" y="1240"/>
                  </a:lnTo>
                  <a:lnTo>
                    <a:pt x="656" y="1234"/>
                  </a:lnTo>
                  <a:lnTo>
                    <a:pt x="650" y="1232"/>
                  </a:lnTo>
                  <a:lnTo>
                    <a:pt x="644" y="1228"/>
                  </a:lnTo>
                  <a:lnTo>
                    <a:pt x="638" y="1228"/>
                  </a:lnTo>
                  <a:lnTo>
                    <a:pt x="632" y="1234"/>
                  </a:lnTo>
                  <a:lnTo>
                    <a:pt x="628" y="1234"/>
                  </a:lnTo>
                  <a:lnTo>
                    <a:pt x="622" y="1232"/>
                  </a:lnTo>
                  <a:lnTo>
                    <a:pt x="616" y="1230"/>
                  </a:lnTo>
                  <a:lnTo>
                    <a:pt x="610" y="1230"/>
                  </a:lnTo>
                  <a:lnTo>
                    <a:pt x="608" y="1228"/>
                  </a:lnTo>
                  <a:lnTo>
                    <a:pt x="602" y="1228"/>
                  </a:lnTo>
                  <a:lnTo>
                    <a:pt x="600" y="1224"/>
                  </a:lnTo>
                  <a:lnTo>
                    <a:pt x="598" y="1220"/>
                  </a:lnTo>
                  <a:lnTo>
                    <a:pt x="598" y="1214"/>
                  </a:lnTo>
                  <a:lnTo>
                    <a:pt x="590" y="1212"/>
                  </a:lnTo>
                  <a:lnTo>
                    <a:pt x="586" y="1210"/>
                  </a:lnTo>
                  <a:lnTo>
                    <a:pt x="580" y="1204"/>
                  </a:lnTo>
                  <a:lnTo>
                    <a:pt x="576" y="1198"/>
                  </a:lnTo>
                  <a:lnTo>
                    <a:pt x="570" y="1198"/>
                  </a:lnTo>
                  <a:lnTo>
                    <a:pt x="564" y="1196"/>
                  </a:lnTo>
                  <a:lnTo>
                    <a:pt x="564" y="1192"/>
                  </a:lnTo>
                  <a:lnTo>
                    <a:pt x="564" y="1190"/>
                  </a:lnTo>
                  <a:lnTo>
                    <a:pt x="560" y="1184"/>
                  </a:lnTo>
                  <a:lnTo>
                    <a:pt x="556" y="1178"/>
                  </a:lnTo>
                  <a:lnTo>
                    <a:pt x="550" y="1178"/>
                  </a:lnTo>
                  <a:lnTo>
                    <a:pt x="552" y="1172"/>
                  </a:lnTo>
                  <a:lnTo>
                    <a:pt x="548" y="1166"/>
                  </a:lnTo>
                  <a:lnTo>
                    <a:pt x="542" y="1162"/>
                  </a:lnTo>
                  <a:lnTo>
                    <a:pt x="540" y="1156"/>
                  </a:lnTo>
                  <a:lnTo>
                    <a:pt x="540" y="1150"/>
                  </a:lnTo>
                  <a:lnTo>
                    <a:pt x="538" y="1144"/>
                  </a:lnTo>
                  <a:lnTo>
                    <a:pt x="536" y="1138"/>
                  </a:lnTo>
                  <a:lnTo>
                    <a:pt x="538" y="1132"/>
                  </a:lnTo>
                  <a:lnTo>
                    <a:pt x="542" y="1126"/>
                  </a:lnTo>
                  <a:lnTo>
                    <a:pt x="540" y="1120"/>
                  </a:lnTo>
                  <a:lnTo>
                    <a:pt x="540" y="1118"/>
                  </a:lnTo>
                  <a:lnTo>
                    <a:pt x="534" y="1114"/>
                  </a:lnTo>
                  <a:lnTo>
                    <a:pt x="534" y="1108"/>
                  </a:lnTo>
                  <a:lnTo>
                    <a:pt x="532" y="1102"/>
                  </a:lnTo>
                  <a:lnTo>
                    <a:pt x="532" y="1096"/>
                  </a:lnTo>
                  <a:lnTo>
                    <a:pt x="530" y="1092"/>
                  </a:lnTo>
                  <a:lnTo>
                    <a:pt x="534" y="1084"/>
                  </a:lnTo>
                  <a:lnTo>
                    <a:pt x="534" y="1082"/>
                  </a:lnTo>
                  <a:lnTo>
                    <a:pt x="538" y="1076"/>
                  </a:lnTo>
                  <a:lnTo>
                    <a:pt x="538" y="1070"/>
                  </a:lnTo>
                  <a:lnTo>
                    <a:pt x="536" y="1064"/>
                  </a:lnTo>
                  <a:lnTo>
                    <a:pt x="536" y="1058"/>
                  </a:lnTo>
                  <a:lnTo>
                    <a:pt x="534" y="1052"/>
                  </a:lnTo>
                  <a:lnTo>
                    <a:pt x="536" y="1046"/>
                  </a:lnTo>
                  <a:lnTo>
                    <a:pt x="534" y="1042"/>
                  </a:lnTo>
                  <a:lnTo>
                    <a:pt x="528" y="1036"/>
                  </a:lnTo>
                  <a:lnTo>
                    <a:pt x="524" y="1040"/>
                  </a:lnTo>
                  <a:lnTo>
                    <a:pt x="520" y="1046"/>
                  </a:lnTo>
                  <a:lnTo>
                    <a:pt x="514" y="1044"/>
                  </a:lnTo>
                  <a:lnTo>
                    <a:pt x="508" y="1042"/>
                  </a:lnTo>
                  <a:lnTo>
                    <a:pt x="504" y="1042"/>
                  </a:lnTo>
                  <a:lnTo>
                    <a:pt x="496" y="1042"/>
                  </a:lnTo>
                  <a:lnTo>
                    <a:pt x="492" y="1044"/>
                  </a:lnTo>
                  <a:lnTo>
                    <a:pt x="486" y="1044"/>
                  </a:lnTo>
                  <a:lnTo>
                    <a:pt x="480" y="1046"/>
                  </a:lnTo>
                  <a:lnTo>
                    <a:pt x="474" y="1046"/>
                  </a:lnTo>
                  <a:lnTo>
                    <a:pt x="466" y="1050"/>
                  </a:lnTo>
                  <a:lnTo>
                    <a:pt x="462" y="1050"/>
                  </a:lnTo>
                  <a:lnTo>
                    <a:pt x="456" y="1052"/>
                  </a:lnTo>
                  <a:lnTo>
                    <a:pt x="454" y="1054"/>
                  </a:lnTo>
                  <a:lnTo>
                    <a:pt x="448" y="1058"/>
                  </a:lnTo>
                  <a:lnTo>
                    <a:pt x="446" y="1060"/>
                  </a:lnTo>
                  <a:lnTo>
                    <a:pt x="440" y="1064"/>
                  </a:lnTo>
                  <a:lnTo>
                    <a:pt x="436" y="1070"/>
                  </a:lnTo>
                  <a:lnTo>
                    <a:pt x="430" y="1076"/>
                  </a:lnTo>
                  <a:lnTo>
                    <a:pt x="424" y="1080"/>
                  </a:lnTo>
                  <a:lnTo>
                    <a:pt x="422" y="1080"/>
                  </a:lnTo>
                  <a:lnTo>
                    <a:pt x="416" y="1084"/>
                  </a:lnTo>
                  <a:lnTo>
                    <a:pt x="410" y="1084"/>
                  </a:lnTo>
                  <a:lnTo>
                    <a:pt x="404" y="1090"/>
                  </a:lnTo>
                  <a:lnTo>
                    <a:pt x="398" y="1094"/>
                  </a:lnTo>
                  <a:lnTo>
                    <a:pt x="394" y="1100"/>
                  </a:lnTo>
                  <a:lnTo>
                    <a:pt x="394" y="1106"/>
                  </a:lnTo>
                  <a:lnTo>
                    <a:pt x="392" y="1106"/>
                  </a:lnTo>
                  <a:lnTo>
                    <a:pt x="386" y="1104"/>
                  </a:lnTo>
                  <a:lnTo>
                    <a:pt x="380" y="1104"/>
                  </a:lnTo>
                  <a:lnTo>
                    <a:pt x="374" y="1104"/>
                  </a:lnTo>
                  <a:lnTo>
                    <a:pt x="368" y="1108"/>
                  </a:lnTo>
                  <a:lnTo>
                    <a:pt x="366" y="1114"/>
                  </a:lnTo>
                  <a:lnTo>
                    <a:pt x="364" y="1120"/>
                  </a:lnTo>
                  <a:lnTo>
                    <a:pt x="360" y="1126"/>
                  </a:lnTo>
                  <a:lnTo>
                    <a:pt x="354" y="1128"/>
                  </a:lnTo>
                  <a:lnTo>
                    <a:pt x="348" y="1130"/>
                  </a:lnTo>
                  <a:lnTo>
                    <a:pt x="342" y="1134"/>
                  </a:lnTo>
                  <a:lnTo>
                    <a:pt x="336" y="1136"/>
                  </a:lnTo>
                  <a:lnTo>
                    <a:pt x="330" y="1134"/>
                  </a:lnTo>
                  <a:lnTo>
                    <a:pt x="332" y="1128"/>
                  </a:lnTo>
                  <a:lnTo>
                    <a:pt x="330" y="1126"/>
                  </a:lnTo>
                  <a:lnTo>
                    <a:pt x="324" y="1128"/>
                  </a:lnTo>
                  <a:lnTo>
                    <a:pt x="318" y="1126"/>
                  </a:lnTo>
                  <a:lnTo>
                    <a:pt x="312" y="1126"/>
                  </a:lnTo>
                  <a:lnTo>
                    <a:pt x="306" y="1124"/>
                  </a:lnTo>
                  <a:lnTo>
                    <a:pt x="300" y="1124"/>
                  </a:lnTo>
                  <a:lnTo>
                    <a:pt x="294" y="1122"/>
                  </a:lnTo>
                  <a:lnTo>
                    <a:pt x="288" y="1124"/>
                  </a:lnTo>
                  <a:lnTo>
                    <a:pt x="282" y="1124"/>
                  </a:lnTo>
                  <a:lnTo>
                    <a:pt x="280" y="1124"/>
                  </a:lnTo>
                  <a:lnTo>
                    <a:pt x="278" y="1124"/>
                  </a:lnTo>
                  <a:lnTo>
                    <a:pt x="272" y="1124"/>
                  </a:lnTo>
                  <a:lnTo>
                    <a:pt x="268" y="1122"/>
                  </a:lnTo>
                  <a:lnTo>
                    <a:pt x="262" y="1122"/>
                  </a:lnTo>
                  <a:lnTo>
                    <a:pt x="256" y="1124"/>
                  </a:lnTo>
                  <a:lnTo>
                    <a:pt x="252" y="1126"/>
                  </a:lnTo>
                  <a:lnTo>
                    <a:pt x="246" y="1130"/>
                  </a:lnTo>
                  <a:lnTo>
                    <a:pt x="240" y="1132"/>
                  </a:lnTo>
                  <a:lnTo>
                    <a:pt x="234" y="1132"/>
                  </a:lnTo>
                  <a:lnTo>
                    <a:pt x="228" y="1128"/>
                  </a:lnTo>
                  <a:lnTo>
                    <a:pt x="222" y="1122"/>
                  </a:lnTo>
                  <a:lnTo>
                    <a:pt x="216" y="1126"/>
                  </a:lnTo>
                  <a:lnTo>
                    <a:pt x="216" y="1118"/>
                  </a:lnTo>
                  <a:lnTo>
                    <a:pt x="216" y="1112"/>
                  </a:lnTo>
                  <a:lnTo>
                    <a:pt x="216" y="1106"/>
                  </a:lnTo>
                  <a:lnTo>
                    <a:pt x="216" y="1102"/>
                  </a:lnTo>
                  <a:lnTo>
                    <a:pt x="216" y="1096"/>
                  </a:lnTo>
                  <a:lnTo>
                    <a:pt x="214" y="1088"/>
                  </a:lnTo>
                  <a:lnTo>
                    <a:pt x="214" y="1082"/>
                  </a:lnTo>
                  <a:lnTo>
                    <a:pt x="214" y="1076"/>
                  </a:lnTo>
                  <a:lnTo>
                    <a:pt x="214" y="1070"/>
                  </a:lnTo>
                  <a:lnTo>
                    <a:pt x="212" y="1064"/>
                  </a:lnTo>
                  <a:lnTo>
                    <a:pt x="212" y="1058"/>
                  </a:lnTo>
                  <a:lnTo>
                    <a:pt x="212" y="1054"/>
                  </a:lnTo>
                  <a:lnTo>
                    <a:pt x="212" y="1052"/>
                  </a:lnTo>
                  <a:lnTo>
                    <a:pt x="212" y="1046"/>
                  </a:lnTo>
                  <a:lnTo>
                    <a:pt x="218" y="1040"/>
                  </a:lnTo>
                  <a:lnTo>
                    <a:pt x="214" y="1034"/>
                  </a:lnTo>
                  <a:lnTo>
                    <a:pt x="212" y="1028"/>
                  </a:lnTo>
                  <a:lnTo>
                    <a:pt x="216" y="1024"/>
                  </a:lnTo>
                  <a:lnTo>
                    <a:pt x="218" y="1018"/>
                  </a:lnTo>
                  <a:lnTo>
                    <a:pt x="212" y="1020"/>
                  </a:lnTo>
                  <a:lnTo>
                    <a:pt x="208" y="1026"/>
                  </a:lnTo>
                  <a:lnTo>
                    <a:pt x="202" y="1030"/>
                  </a:lnTo>
                  <a:lnTo>
                    <a:pt x="196" y="1034"/>
                  </a:lnTo>
                  <a:lnTo>
                    <a:pt x="192" y="1042"/>
                  </a:lnTo>
                  <a:lnTo>
                    <a:pt x="186" y="1046"/>
                  </a:lnTo>
                  <a:lnTo>
                    <a:pt x="180" y="1050"/>
                  </a:lnTo>
                  <a:lnTo>
                    <a:pt x="174" y="1056"/>
                  </a:lnTo>
                  <a:lnTo>
                    <a:pt x="168" y="1058"/>
                  </a:lnTo>
                  <a:lnTo>
                    <a:pt x="164" y="1058"/>
                  </a:lnTo>
                  <a:lnTo>
                    <a:pt x="158" y="1058"/>
                  </a:lnTo>
                  <a:lnTo>
                    <a:pt x="152" y="1058"/>
                  </a:lnTo>
                  <a:lnTo>
                    <a:pt x="146" y="1058"/>
                  </a:lnTo>
                  <a:lnTo>
                    <a:pt x="140" y="1058"/>
                  </a:lnTo>
                  <a:lnTo>
                    <a:pt x="134" y="1058"/>
                  </a:lnTo>
                  <a:lnTo>
                    <a:pt x="128" y="1058"/>
                  </a:lnTo>
                  <a:lnTo>
                    <a:pt x="124" y="1058"/>
                  </a:lnTo>
                  <a:lnTo>
                    <a:pt x="118" y="1058"/>
                  </a:lnTo>
                  <a:lnTo>
                    <a:pt x="118" y="1054"/>
                  </a:lnTo>
                  <a:lnTo>
                    <a:pt x="120" y="1048"/>
                  </a:lnTo>
                  <a:lnTo>
                    <a:pt x="114" y="1042"/>
                  </a:lnTo>
                  <a:lnTo>
                    <a:pt x="112" y="1036"/>
                  </a:lnTo>
                  <a:lnTo>
                    <a:pt x="110" y="1030"/>
                  </a:lnTo>
                  <a:lnTo>
                    <a:pt x="106" y="1026"/>
                  </a:lnTo>
                  <a:lnTo>
                    <a:pt x="100" y="1022"/>
                  </a:lnTo>
                  <a:lnTo>
                    <a:pt x="94" y="1022"/>
                  </a:lnTo>
                  <a:lnTo>
                    <a:pt x="88" y="1020"/>
                  </a:lnTo>
                  <a:lnTo>
                    <a:pt x="82" y="1018"/>
                  </a:lnTo>
                  <a:lnTo>
                    <a:pt x="78" y="1018"/>
                  </a:lnTo>
                  <a:lnTo>
                    <a:pt x="72" y="1016"/>
                  </a:lnTo>
                  <a:lnTo>
                    <a:pt x="66" y="1016"/>
                  </a:lnTo>
                  <a:lnTo>
                    <a:pt x="60" y="1016"/>
                  </a:lnTo>
                  <a:lnTo>
                    <a:pt x="54" y="1014"/>
                  </a:lnTo>
                  <a:lnTo>
                    <a:pt x="60" y="1008"/>
                  </a:lnTo>
                  <a:lnTo>
                    <a:pt x="64" y="1004"/>
                  </a:lnTo>
                  <a:lnTo>
                    <a:pt x="68" y="996"/>
                  </a:lnTo>
                  <a:lnTo>
                    <a:pt x="68" y="992"/>
                  </a:lnTo>
                  <a:lnTo>
                    <a:pt x="64" y="986"/>
                  </a:lnTo>
                  <a:lnTo>
                    <a:pt x="60" y="978"/>
                  </a:lnTo>
                  <a:lnTo>
                    <a:pt x="56" y="974"/>
                  </a:lnTo>
                  <a:lnTo>
                    <a:pt x="52" y="968"/>
                  </a:lnTo>
                  <a:lnTo>
                    <a:pt x="44" y="964"/>
                  </a:lnTo>
                  <a:lnTo>
                    <a:pt x="42" y="958"/>
                  </a:lnTo>
                  <a:lnTo>
                    <a:pt x="42" y="952"/>
                  </a:lnTo>
                  <a:lnTo>
                    <a:pt x="36" y="948"/>
                  </a:lnTo>
                  <a:lnTo>
                    <a:pt x="30" y="944"/>
                  </a:lnTo>
                  <a:lnTo>
                    <a:pt x="28" y="936"/>
                  </a:lnTo>
                  <a:lnTo>
                    <a:pt x="26" y="932"/>
                  </a:lnTo>
                  <a:lnTo>
                    <a:pt x="24" y="926"/>
                  </a:lnTo>
                  <a:lnTo>
                    <a:pt x="20" y="920"/>
                  </a:lnTo>
                  <a:lnTo>
                    <a:pt x="14" y="914"/>
                  </a:lnTo>
                  <a:lnTo>
                    <a:pt x="18" y="908"/>
                  </a:lnTo>
                  <a:lnTo>
                    <a:pt x="14" y="902"/>
                  </a:lnTo>
                  <a:lnTo>
                    <a:pt x="8" y="898"/>
                  </a:lnTo>
                  <a:lnTo>
                    <a:pt x="4" y="892"/>
                  </a:lnTo>
                  <a:lnTo>
                    <a:pt x="0" y="88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6" name="Freeform 264"/>
            <p:cNvSpPr>
              <a:spLocks/>
            </p:cNvSpPr>
            <p:nvPr/>
          </p:nvSpPr>
          <p:spPr bwMode="auto">
            <a:xfrm>
              <a:off x="2471738" y="3678238"/>
              <a:ext cx="88900" cy="66675"/>
            </a:xfrm>
            <a:custGeom>
              <a:avLst/>
              <a:gdLst>
                <a:gd name="T0" fmla="*/ 2147483647 w 220"/>
                <a:gd name="T1" fmla="*/ 2147483647 h 162"/>
                <a:gd name="T2" fmla="*/ 2147483647 w 220"/>
                <a:gd name="T3" fmla="*/ 2147483647 h 162"/>
                <a:gd name="T4" fmla="*/ 2147483647 w 220"/>
                <a:gd name="T5" fmla="*/ 2147483647 h 162"/>
                <a:gd name="T6" fmla="*/ 2147483647 w 220"/>
                <a:gd name="T7" fmla="*/ 2147483647 h 162"/>
                <a:gd name="T8" fmla="*/ 2147483647 w 220"/>
                <a:gd name="T9" fmla="*/ 2147483647 h 162"/>
                <a:gd name="T10" fmla="*/ 2147483647 w 220"/>
                <a:gd name="T11" fmla="*/ 2147483647 h 162"/>
                <a:gd name="T12" fmla="*/ 2147483647 w 220"/>
                <a:gd name="T13" fmla="*/ 2147483647 h 162"/>
                <a:gd name="T14" fmla="*/ 2147483647 w 220"/>
                <a:gd name="T15" fmla="*/ 2147483647 h 162"/>
                <a:gd name="T16" fmla="*/ 2147483647 w 220"/>
                <a:gd name="T17" fmla="*/ 2147483647 h 162"/>
                <a:gd name="T18" fmla="*/ 2147483647 w 220"/>
                <a:gd name="T19" fmla="*/ 2147483647 h 162"/>
                <a:gd name="T20" fmla="*/ 2147483647 w 220"/>
                <a:gd name="T21" fmla="*/ 2147483647 h 162"/>
                <a:gd name="T22" fmla="*/ 2147483647 w 220"/>
                <a:gd name="T23" fmla="*/ 2147483647 h 162"/>
                <a:gd name="T24" fmla="*/ 2147483647 w 220"/>
                <a:gd name="T25" fmla="*/ 2147483647 h 162"/>
                <a:gd name="T26" fmla="*/ 2147483647 w 220"/>
                <a:gd name="T27" fmla="*/ 2147483647 h 162"/>
                <a:gd name="T28" fmla="*/ 2147483647 w 220"/>
                <a:gd name="T29" fmla="*/ 2147483647 h 162"/>
                <a:gd name="T30" fmla="*/ 2147483647 w 220"/>
                <a:gd name="T31" fmla="*/ 2147483647 h 162"/>
                <a:gd name="T32" fmla="*/ 2147483647 w 220"/>
                <a:gd name="T33" fmla="*/ 2147483647 h 162"/>
                <a:gd name="T34" fmla="*/ 2147483647 w 220"/>
                <a:gd name="T35" fmla="*/ 2147483647 h 162"/>
                <a:gd name="T36" fmla="*/ 2147483647 w 220"/>
                <a:gd name="T37" fmla="*/ 2147483647 h 162"/>
                <a:gd name="T38" fmla="*/ 2147483647 w 220"/>
                <a:gd name="T39" fmla="*/ 2147483647 h 162"/>
                <a:gd name="T40" fmla="*/ 2147483647 w 220"/>
                <a:gd name="T41" fmla="*/ 2147483647 h 162"/>
                <a:gd name="T42" fmla="*/ 2147483647 w 220"/>
                <a:gd name="T43" fmla="*/ 2147483647 h 162"/>
                <a:gd name="T44" fmla="*/ 2147483647 w 220"/>
                <a:gd name="T45" fmla="*/ 2147483647 h 162"/>
                <a:gd name="T46" fmla="*/ 2147483647 w 220"/>
                <a:gd name="T47" fmla="*/ 2147483647 h 162"/>
                <a:gd name="T48" fmla="*/ 2147483647 w 220"/>
                <a:gd name="T49" fmla="*/ 2147483647 h 162"/>
                <a:gd name="T50" fmla="*/ 2147483647 w 220"/>
                <a:gd name="T51" fmla="*/ 2147483647 h 162"/>
                <a:gd name="T52" fmla="*/ 2147483647 w 220"/>
                <a:gd name="T53" fmla="*/ 2147483647 h 162"/>
                <a:gd name="T54" fmla="*/ 2147483647 w 220"/>
                <a:gd name="T55" fmla="*/ 2147483647 h 162"/>
                <a:gd name="T56" fmla="*/ 2147483647 w 220"/>
                <a:gd name="T57" fmla="*/ 2147483647 h 162"/>
                <a:gd name="T58" fmla="*/ 2147483647 w 220"/>
                <a:gd name="T59" fmla="*/ 2147483647 h 162"/>
                <a:gd name="T60" fmla="*/ 2147483647 w 220"/>
                <a:gd name="T61" fmla="*/ 2147483647 h 162"/>
                <a:gd name="T62" fmla="*/ 2147483647 w 220"/>
                <a:gd name="T63" fmla="*/ 2147483647 h 162"/>
                <a:gd name="T64" fmla="*/ 2147483647 w 220"/>
                <a:gd name="T65" fmla="*/ 2147483647 h 162"/>
                <a:gd name="T66" fmla="*/ 2147483647 w 220"/>
                <a:gd name="T67" fmla="*/ 2147483647 h 162"/>
                <a:gd name="T68" fmla="*/ 2147483647 w 220"/>
                <a:gd name="T69" fmla="*/ 2147483647 h 162"/>
                <a:gd name="T70" fmla="*/ 2147483647 w 220"/>
                <a:gd name="T71" fmla="*/ 2147483647 h 162"/>
                <a:gd name="T72" fmla="*/ 2147483647 w 220"/>
                <a:gd name="T73" fmla="*/ 2147483647 h 162"/>
                <a:gd name="T74" fmla="*/ 2147483647 w 220"/>
                <a:gd name="T75" fmla="*/ 2147483647 h 162"/>
                <a:gd name="T76" fmla="*/ 2147483647 w 220"/>
                <a:gd name="T77" fmla="*/ 2147483647 h 162"/>
                <a:gd name="T78" fmla="*/ 2147483647 w 220"/>
                <a:gd name="T79" fmla="*/ 2147483647 h 162"/>
                <a:gd name="T80" fmla="*/ 2147483647 w 220"/>
                <a:gd name="T81" fmla="*/ 2147483647 h 162"/>
                <a:gd name="T82" fmla="*/ 2147483647 w 220"/>
                <a:gd name="T83" fmla="*/ 2147483647 h 162"/>
                <a:gd name="T84" fmla="*/ 2147483647 w 220"/>
                <a:gd name="T85" fmla="*/ 2147483647 h 16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0"/>
                <a:gd name="T130" fmla="*/ 0 h 162"/>
                <a:gd name="T131" fmla="*/ 220 w 220"/>
                <a:gd name="T132" fmla="*/ 162 h 16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0" h="162">
                  <a:moveTo>
                    <a:pt x="8" y="132"/>
                  </a:moveTo>
                  <a:lnTo>
                    <a:pt x="10" y="126"/>
                  </a:lnTo>
                  <a:lnTo>
                    <a:pt x="10" y="120"/>
                  </a:lnTo>
                  <a:lnTo>
                    <a:pt x="14" y="114"/>
                  </a:lnTo>
                  <a:lnTo>
                    <a:pt x="10" y="108"/>
                  </a:lnTo>
                  <a:lnTo>
                    <a:pt x="4" y="104"/>
                  </a:lnTo>
                  <a:lnTo>
                    <a:pt x="4" y="98"/>
                  </a:lnTo>
                  <a:lnTo>
                    <a:pt x="0" y="92"/>
                  </a:lnTo>
                  <a:lnTo>
                    <a:pt x="6" y="92"/>
                  </a:lnTo>
                  <a:lnTo>
                    <a:pt x="12" y="88"/>
                  </a:lnTo>
                  <a:lnTo>
                    <a:pt x="18" y="82"/>
                  </a:lnTo>
                  <a:lnTo>
                    <a:pt x="18" y="78"/>
                  </a:lnTo>
                  <a:lnTo>
                    <a:pt x="16" y="70"/>
                  </a:lnTo>
                  <a:lnTo>
                    <a:pt x="12" y="68"/>
                  </a:lnTo>
                  <a:lnTo>
                    <a:pt x="12" y="66"/>
                  </a:lnTo>
                  <a:lnTo>
                    <a:pt x="18" y="64"/>
                  </a:lnTo>
                  <a:lnTo>
                    <a:pt x="24" y="58"/>
                  </a:lnTo>
                  <a:lnTo>
                    <a:pt x="26" y="52"/>
                  </a:lnTo>
                  <a:lnTo>
                    <a:pt x="22" y="46"/>
                  </a:lnTo>
                  <a:lnTo>
                    <a:pt x="22" y="40"/>
                  </a:lnTo>
                  <a:lnTo>
                    <a:pt x="24" y="34"/>
                  </a:lnTo>
                  <a:lnTo>
                    <a:pt x="26" y="28"/>
                  </a:lnTo>
                  <a:lnTo>
                    <a:pt x="24" y="22"/>
                  </a:lnTo>
                  <a:lnTo>
                    <a:pt x="24" y="16"/>
                  </a:lnTo>
                  <a:lnTo>
                    <a:pt x="24" y="10"/>
                  </a:lnTo>
                  <a:lnTo>
                    <a:pt x="30" y="6"/>
                  </a:lnTo>
                  <a:lnTo>
                    <a:pt x="36" y="2"/>
                  </a:lnTo>
                  <a:lnTo>
                    <a:pt x="40" y="2"/>
                  </a:lnTo>
                  <a:lnTo>
                    <a:pt x="48" y="6"/>
                  </a:lnTo>
                  <a:lnTo>
                    <a:pt x="54" y="6"/>
                  </a:lnTo>
                  <a:lnTo>
                    <a:pt x="58" y="4"/>
                  </a:lnTo>
                  <a:lnTo>
                    <a:pt x="66" y="4"/>
                  </a:lnTo>
                  <a:lnTo>
                    <a:pt x="70" y="0"/>
                  </a:lnTo>
                  <a:lnTo>
                    <a:pt x="76" y="2"/>
                  </a:lnTo>
                  <a:lnTo>
                    <a:pt x="84" y="6"/>
                  </a:lnTo>
                  <a:lnTo>
                    <a:pt x="88" y="10"/>
                  </a:lnTo>
                  <a:lnTo>
                    <a:pt x="94" y="12"/>
                  </a:lnTo>
                  <a:lnTo>
                    <a:pt x="100" y="10"/>
                  </a:lnTo>
                  <a:lnTo>
                    <a:pt x="106" y="14"/>
                  </a:lnTo>
                  <a:lnTo>
                    <a:pt x="112" y="20"/>
                  </a:lnTo>
                  <a:lnTo>
                    <a:pt x="118" y="22"/>
                  </a:lnTo>
                  <a:lnTo>
                    <a:pt x="124" y="20"/>
                  </a:lnTo>
                  <a:lnTo>
                    <a:pt x="128" y="18"/>
                  </a:lnTo>
                  <a:lnTo>
                    <a:pt x="134" y="20"/>
                  </a:lnTo>
                  <a:lnTo>
                    <a:pt x="134" y="26"/>
                  </a:lnTo>
                  <a:lnTo>
                    <a:pt x="134" y="32"/>
                  </a:lnTo>
                  <a:lnTo>
                    <a:pt x="136" y="38"/>
                  </a:lnTo>
                  <a:lnTo>
                    <a:pt x="140" y="44"/>
                  </a:lnTo>
                  <a:lnTo>
                    <a:pt x="146" y="44"/>
                  </a:lnTo>
                  <a:lnTo>
                    <a:pt x="152" y="42"/>
                  </a:lnTo>
                  <a:lnTo>
                    <a:pt x="158" y="42"/>
                  </a:lnTo>
                  <a:lnTo>
                    <a:pt x="164" y="44"/>
                  </a:lnTo>
                  <a:lnTo>
                    <a:pt x="170" y="40"/>
                  </a:lnTo>
                  <a:lnTo>
                    <a:pt x="176" y="44"/>
                  </a:lnTo>
                  <a:lnTo>
                    <a:pt x="172" y="50"/>
                  </a:lnTo>
                  <a:lnTo>
                    <a:pt x="166" y="52"/>
                  </a:lnTo>
                  <a:lnTo>
                    <a:pt x="160" y="52"/>
                  </a:lnTo>
                  <a:lnTo>
                    <a:pt x="154" y="50"/>
                  </a:lnTo>
                  <a:lnTo>
                    <a:pt x="148" y="48"/>
                  </a:lnTo>
                  <a:lnTo>
                    <a:pt x="146" y="50"/>
                  </a:lnTo>
                  <a:lnTo>
                    <a:pt x="146" y="56"/>
                  </a:lnTo>
                  <a:lnTo>
                    <a:pt x="152" y="58"/>
                  </a:lnTo>
                  <a:lnTo>
                    <a:pt x="158" y="58"/>
                  </a:lnTo>
                  <a:lnTo>
                    <a:pt x="164" y="62"/>
                  </a:lnTo>
                  <a:lnTo>
                    <a:pt x="170" y="62"/>
                  </a:lnTo>
                  <a:lnTo>
                    <a:pt x="176" y="62"/>
                  </a:lnTo>
                  <a:lnTo>
                    <a:pt x="182" y="66"/>
                  </a:lnTo>
                  <a:lnTo>
                    <a:pt x="188" y="62"/>
                  </a:lnTo>
                  <a:lnTo>
                    <a:pt x="194" y="66"/>
                  </a:lnTo>
                  <a:lnTo>
                    <a:pt x="200" y="68"/>
                  </a:lnTo>
                  <a:lnTo>
                    <a:pt x="204" y="74"/>
                  </a:lnTo>
                  <a:lnTo>
                    <a:pt x="210" y="80"/>
                  </a:lnTo>
                  <a:lnTo>
                    <a:pt x="214" y="86"/>
                  </a:lnTo>
                  <a:lnTo>
                    <a:pt x="220" y="90"/>
                  </a:lnTo>
                  <a:lnTo>
                    <a:pt x="218" y="98"/>
                  </a:lnTo>
                  <a:lnTo>
                    <a:pt x="214" y="104"/>
                  </a:lnTo>
                  <a:lnTo>
                    <a:pt x="212" y="108"/>
                  </a:lnTo>
                  <a:lnTo>
                    <a:pt x="206" y="110"/>
                  </a:lnTo>
                  <a:lnTo>
                    <a:pt x="202" y="108"/>
                  </a:lnTo>
                  <a:lnTo>
                    <a:pt x="200" y="114"/>
                  </a:lnTo>
                  <a:lnTo>
                    <a:pt x="198" y="120"/>
                  </a:lnTo>
                  <a:lnTo>
                    <a:pt x="192" y="120"/>
                  </a:lnTo>
                  <a:lnTo>
                    <a:pt x="190" y="114"/>
                  </a:lnTo>
                  <a:lnTo>
                    <a:pt x="188" y="108"/>
                  </a:lnTo>
                  <a:lnTo>
                    <a:pt x="182" y="106"/>
                  </a:lnTo>
                  <a:lnTo>
                    <a:pt x="176" y="106"/>
                  </a:lnTo>
                  <a:lnTo>
                    <a:pt x="170" y="106"/>
                  </a:lnTo>
                  <a:lnTo>
                    <a:pt x="164" y="104"/>
                  </a:lnTo>
                  <a:lnTo>
                    <a:pt x="160" y="104"/>
                  </a:lnTo>
                  <a:lnTo>
                    <a:pt x="154" y="104"/>
                  </a:lnTo>
                  <a:lnTo>
                    <a:pt x="148" y="106"/>
                  </a:lnTo>
                  <a:lnTo>
                    <a:pt x="142" y="102"/>
                  </a:lnTo>
                  <a:lnTo>
                    <a:pt x="136" y="102"/>
                  </a:lnTo>
                  <a:lnTo>
                    <a:pt x="130" y="102"/>
                  </a:lnTo>
                  <a:lnTo>
                    <a:pt x="126" y="102"/>
                  </a:lnTo>
                  <a:lnTo>
                    <a:pt x="120" y="104"/>
                  </a:lnTo>
                  <a:lnTo>
                    <a:pt x="118" y="104"/>
                  </a:lnTo>
                  <a:lnTo>
                    <a:pt x="114" y="110"/>
                  </a:lnTo>
                  <a:lnTo>
                    <a:pt x="108" y="116"/>
                  </a:lnTo>
                  <a:lnTo>
                    <a:pt x="102" y="118"/>
                  </a:lnTo>
                  <a:lnTo>
                    <a:pt x="96" y="118"/>
                  </a:lnTo>
                  <a:lnTo>
                    <a:pt x="90" y="120"/>
                  </a:lnTo>
                  <a:lnTo>
                    <a:pt x="84" y="120"/>
                  </a:lnTo>
                  <a:lnTo>
                    <a:pt x="82" y="116"/>
                  </a:lnTo>
                  <a:lnTo>
                    <a:pt x="84" y="108"/>
                  </a:lnTo>
                  <a:lnTo>
                    <a:pt x="78" y="104"/>
                  </a:lnTo>
                  <a:lnTo>
                    <a:pt x="74" y="110"/>
                  </a:lnTo>
                  <a:lnTo>
                    <a:pt x="66" y="110"/>
                  </a:lnTo>
                  <a:lnTo>
                    <a:pt x="62" y="116"/>
                  </a:lnTo>
                  <a:lnTo>
                    <a:pt x="56" y="112"/>
                  </a:lnTo>
                  <a:lnTo>
                    <a:pt x="52" y="114"/>
                  </a:lnTo>
                  <a:lnTo>
                    <a:pt x="52" y="120"/>
                  </a:lnTo>
                  <a:lnTo>
                    <a:pt x="50" y="126"/>
                  </a:lnTo>
                  <a:lnTo>
                    <a:pt x="48" y="132"/>
                  </a:lnTo>
                  <a:lnTo>
                    <a:pt x="44" y="138"/>
                  </a:lnTo>
                  <a:lnTo>
                    <a:pt x="38" y="144"/>
                  </a:lnTo>
                  <a:lnTo>
                    <a:pt x="32" y="150"/>
                  </a:lnTo>
                  <a:lnTo>
                    <a:pt x="30" y="156"/>
                  </a:lnTo>
                  <a:lnTo>
                    <a:pt x="26" y="162"/>
                  </a:lnTo>
                  <a:lnTo>
                    <a:pt x="24" y="156"/>
                  </a:lnTo>
                  <a:lnTo>
                    <a:pt x="16" y="150"/>
                  </a:lnTo>
                  <a:lnTo>
                    <a:pt x="16" y="144"/>
                  </a:lnTo>
                  <a:lnTo>
                    <a:pt x="14" y="138"/>
                  </a:lnTo>
                  <a:lnTo>
                    <a:pt x="12" y="134"/>
                  </a:lnTo>
                  <a:lnTo>
                    <a:pt x="8" y="13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7" name="Freeform 265"/>
            <p:cNvSpPr>
              <a:spLocks/>
            </p:cNvSpPr>
            <p:nvPr/>
          </p:nvSpPr>
          <p:spPr bwMode="auto">
            <a:xfrm>
              <a:off x="2413000" y="3898900"/>
              <a:ext cx="336550" cy="328613"/>
            </a:xfrm>
            <a:custGeom>
              <a:avLst/>
              <a:gdLst>
                <a:gd name="T0" fmla="*/ 2147483647 w 824"/>
                <a:gd name="T1" fmla="*/ 2147483647 h 800"/>
                <a:gd name="T2" fmla="*/ 2147483647 w 824"/>
                <a:gd name="T3" fmla="*/ 2147483647 h 800"/>
                <a:gd name="T4" fmla="*/ 2147483647 w 824"/>
                <a:gd name="T5" fmla="*/ 2147483647 h 800"/>
                <a:gd name="T6" fmla="*/ 2147483647 w 824"/>
                <a:gd name="T7" fmla="*/ 2147483647 h 800"/>
                <a:gd name="T8" fmla="*/ 2147483647 w 824"/>
                <a:gd name="T9" fmla="*/ 2147483647 h 800"/>
                <a:gd name="T10" fmla="*/ 2147483647 w 824"/>
                <a:gd name="T11" fmla="*/ 2147483647 h 800"/>
                <a:gd name="T12" fmla="*/ 2147483647 w 824"/>
                <a:gd name="T13" fmla="*/ 2147483647 h 800"/>
                <a:gd name="T14" fmla="*/ 2147483647 w 824"/>
                <a:gd name="T15" fmla="*/ 2147483647 h 800"/>
                <a:gd name="T16" fmla="*/ 2147483647 w 824"/>
                <a:gd name="T17" fmla="*/ 2147483647 h 800"/>
                <a:gd name="T18" fmla="*/ 2147483647 w 824"/>
                <a:gd name="T19" fmla="*/ 2147483647 h 800"/>
                <a:gd name="T20" fmla="*/ 2147483647 w 824"/>
                <a:gd name="T21" fmla="*/ 2147483647 h 800"/>
                <a:gd name="T22" fmla="*/ 2147483647 w 824"/>
                <a:gd name="T23" fmla="*/ 2147483647 h 800"/>
                <a:gd name="T24" fmla="*/ 2147483647 w 824"/>
                <a:gd name="T25" fmla="*/ 2147483647 h 800"/>
                <a:gd name="T26" fmla="*/ 2147483647 w 824"/>
                <a:gd name="T27" fmla="*/ 2147483647 h 800"/>
                <a:gd name="T28" fmla="*/ 2147483647 w 824"/>
                <a:gd name="T29" fmla="*/ 2147483647 h 800"/>
                <a:gd name="T30" fmla="*/ 2147483647 w 824"/>
                <a:gd name="T31" fmla="*/ 2147483647 h 800"/>
                <a:gd name="T32" fmla="*/ 2147483647 w 824"/>
                <a:gd name="T33" fmla="*/ 2147483647 h 800"/>
                <a:gd name="T34" fmla="*/ 2147483647 w 824"/>
                <a:gd name="T35" fmla="*/ 2147483647 h 800"/>
                <a:gd name="T36" fmla="*/ 2147483647 w 824"/>
                <a:gd name="T37" fmla="*/ 2147483647 h 800"/>
                <a:gd name="T38" fmla="*/ 2147483647 w 824"/>
                <a:gd name="T39" fmla="*/ 2147483647 h 800"/>
                <a:gd name="T40" fmla="*/ 2147483647 w 824"/>
                <a:gd name="T41" fmla="*/ 2147483647 h 800"/>
                <a:gd name="T42" fmla="*/ 2147483647 w 824"/>
                <a:gd name="T43" fmla="*/ 2147483647 h 800"/>
                <a:gd name="T44" fmla="*/ 2147483647 w 824"/>
                <a:gd name="T45" fmla="*/ 2147483647 h 800"/>
                <a:gd name="T46" fmla="*/ 2147483647 w 824"/>
                <a:gd name="T47" fmla="*/ 2147483647 h 800"/>
                <a:gd name="T48" fmla="*/ 2147483647 w 824"/>
                <a:gd name="T49" fmla="*/ 2147483647 h 800"/>
                <a:gd name="T50" fmla="*/ 2147483647 w 824"/>
                <a:gd name="T51" fmla="*/ 2147483647 h 800"/>
                <a:gd name="T52" fmla="*/ 2147483647 w 824"/>
                <a:gd name="T53" fmla="*/ 2147483647 h 800"/>
                <a:gd name="T54" fmla="*/ 2147483647 w 824"/>
                <a:gd name="T55" fmla="*/ 2147483647 h 800"/>
                <a:gd name="T56" fmla="*/ 2147483647 w 824"/>
                <a:gd name="T57" fmla="*/ 2147483647 h 800"/>
                <a:gd name="T58" fmla="*/ 2147483647 w 824"/>
                <a:gd name="T59" fmla="*/ 2147483647 h 800"/>
                <a:gd name="T60" fmla="*/ 2147483647 w 824"/>
                <a:gd name="T61" fmla="*/ 2147483647 h 800"/>
                <a:gd name="T62" fmla="*/ 2147483647 w 824"/>
                <a:gd name="T63" fmla="*/ 2147483647 h 800"/>
                <a:gd name="T64" fmla="*/ 2147483647 w 824"/>
                <a:gd name="T65" fmla="*/ 2147483647 h 800"/>
                <a:gd name="T66" fmla="*/ 2147483647 w 824"/>
                <a:gd name="T67" fmla="*/ 2147483647 h 800"/>
                <a:gd name="T68" fmla="*/ 2147483647 w 824"/>
                <a:gd name="T69" fmla="*/ 2147483647 h 800"/>
                <a:gd name="T70" fmla="*/ 2147483647 w 824"/>
                <a:gd name="T71" fmla="*/ 2147483647 h 800"/>
                <a:gd name="T72" fmla="*/ 2147483647 w 824"/>
                <a:gd name="T73" fmla="*/ 2147483647 h 800"/>
                <a:gd name="T74" fmla="*/ 2147483647 w 824"/>
                <a:gd name="T75" fmla="*/ 2147483647 h 800"/>
                <a:gd name="T76" fmla="*/ 2147483647 w 824"/>
                <a:gd name="T77" fmla="*/ 2147483647 h 800"/>
                <a:gd name="T78" fmla="*/ 2147483647 w 824"/>
                <a:gd name="T79" fmla="*/ 2147483647 h 800"/>
                <a:gd name="T80" fmla="*/ 2147483647 w 824"/>
                <a:gd name="T81" fmla="*/ 2147483647 h 800"/>
                <a:gd name="T82" fmla="*/ 2147483647 w 824"/>
                <a:gd name="T83" fmla="*/ 2147483647 h 800"/>
                <a:gd name="T84" fmla="*/ 2147483647 w 824"/>
                <a:gd name="T85" fmla="*/ 2147483647 h 800"/>
                <a:gd name="T86" fmla="*/ 2147483647 w 824"/>
                <a:gd name="T87" fmla="*/ 2147483647 h 800"/>
                <a:gd name="T88" fmla="*/ 2147483647 w 824"/>
                <a:gd name="T89" fmla="*/ 2147483647 h 800"/>
                <a:gd name="T90" fmla="*/ 2147483647 w 824"/>
                <a:gd name="T91" fmla="*/ 2147483647 h 800"/>
                <a:gd name="T92" fmla="*/ 2147483647 w 824"/>
                <a:gd name="T93" fmla="*/ 2147483647 h 800"/>
                <a:gd name="T94" fmla="*/ 2147483647 w 824"/>
                <a:gd name="T95" fmla="*/ 2147483647 h 800"/>
                <a:gd name="T96" fmla="*/ 2147483647 w 824"/>
                <a:gd name="T97" fmla="*/ 2147483647 h 800"/>
                <a:gd name="T98" fmla="*/ 2147483647 w 824"/>
                <a:gd name="T99" fmla="*/ 2147483647 h 800"/>
                <a:gd name="T100" fmla="*/ 2147483647 w 824"/>
                <a:gd name="T101" fmla="*/ 2147483647 h 800"/>
                <a:gd name="T102" fmla="*/ 2147483647 w 824"/>
                <a:gd name="T103" fmla="*/ 2147483647 h 800"/>
                <a:gd name="T104" fmla="*/ 2147483647 w 824"/>
                <a:gd name="T105" fmla="*/ 2147483647 h 800"/>
                <a:gd name="T106" fmla="*/ 2147483647 w 824"/>
                <a:gd name="T107" fmla="*/ 2147483647 h 800"/>
                <a:gd name="T108" fmla="*/ 2147483647 w 824"/>
                <a:gd name="T109" fmla="*/ 2147483647 h 800"/>
                <a:gd name="T110" fmla="*/ 2147483647 w 824"/>
                <a:gd name="T111" fmla="*/ 2147483647 h 800"/>
                <a:gd name="T112" fmla="*/ 2147483647 w 824"/>
                <a:gd name="T113" fmla="*/ 2147483647 h 800"/>
                <a:gd name="T114" fmla="*/ 2147483647 w 824"/>
                <a:gd name="T115" fmla="*/ 2147483647 h 800"/>
                <a:gd name="T116" fmla="*/ 2147483647 w 824"/>
                <a:gd name="T117" fmla="*/ 2147483647 h 800"/>
                <a:gd name="T118" fmla="*/ 2147483647 w 824"/>
                <a:gd name="T119" fmla="*/ 2147483647 h 800"/>
                <a:gd name="T120" fmla="*/ 2147483647 w 824"/>
                <a:gd name="T121" fmla="*/ 2147483647 h 800"/>
                <a:gd name="T122" fmla="*/ 2147483647 w 824"/>
                <a:gd name="T123" fmla="*/ 2147483647 h 800"/>
                <a:gd name="T124" fmla="*/ 2147483647 w 824"/>
                <a:gd name="T125" fmla="*/ 2147483647 h 8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4"/>
                <a:gd name="T190" fmla="*/ 0 h 800"/>
                <a:gd name="T191" fmla="*/ 824 w 824"/>
                <a:gd name="T192" fmla="*/ 800 h 80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4" h="800">
                  <a:moveTo>
                    <a:pt x="0" y="208"/>
                  </a:moveTo>
                  <a:lnTo>
                    <a:pt x="4" y="202"/>
                  </a:lnTo>
                  <a:lnTo>
                    <a:pt x="6" y="198"/>
                  </a:lnTo>
                  <a:lnTo>
                    <a:pt x="10" y="192"/>
                  </a:lnTo>
                  <a:lnTo>
                    <a:pt x="14" y="186"/>
                  </a:lnTo>
                  <a:lnTo>
                    <a:pt x="20" y="180"/>
                  </a:lnTo>
                  <a:lnTo>
                    <a:pt x="22" y="174"/>
                  </a:lnTo>
                  <a:lnTo>
                    <a:pt x="26" y="168"/>
                  </a:lnTo>
                  <a:lnTo>
                    <a:pt x="28" y="162"/>
                  </a:lnTo>
                  <a:lnTo>
                    <a:pt x="28" y="156"/>
                  </a:lnTo>
                  <a:lnTo>
                    <a:pt x="28" y="152"/>
                  </a:lnTo>
                  <a:lnTo>
                    <a:pt x="30" y="146"/>
                  </a:lnTo>
                  <a:lnTo>
                    <a:pt x="32" y="140"/>
                  </a:lnTo>
                  <a:lnTo>
                    <a:pt x="32" y="134"/>
                  </a:lnTo>
                  <a:lnTo>
                    <a:pt x="34" y="128"/>
                  </a:lnTo>
                  <a:lnTo>
                    <a:pt x="34" y="122"/>
                  </a:lnTo>
                  <a:lnTo>
                    <a:pt x="38" y="116"/>
                  </a:lnTo>
                  <a:lnTo>
                    <a:pt x="40" y="110"/>
                  </a:lnTo>
                  <a:lnTo>
                    <a:pt x="44" y="104"/>
                  </a:lnTo>
                  <a:lnTo>
                    <a:pt x="48" y="98"/>
                  </a:lnTo>
                  <a:lnTo>
                    <a:pt x="50" y="92"/>
                  </a:lnTo>
                  <a:lnTo>
                    <a:pt x="56" y="86"/>
                  </a:lnTo>
                  <a:lnTo>
                    <a:pt x="60" y="80"/>
                  </a:lnTo>
                  <a:lnTo>
                    <a:pt x="62" y="74"/>
                  </a:lnTo>
                  <a:lnTo>
                    <a:pt x="68" y="72"/>
                  </a:lnTo>
                  <a:lnTo>
                    <a:pt x="74" y="72"/>
                  </a:lnTo>
                  <a:lnTo>
                    <a:pt x="80" y="64"/>
                  </a:lnTo>
                  <a:lnTo>
                    <a:pt x="84" y="58"/>
                  </a:lnTo>
                  <a:lnTo>
                    <a:pt x="86" y="56"/>
                  </a:lnTo>
                  <a:lnTo>
                    <a:pt x="90" y="50"/>
                  </a:lnTo>
                  <a:lnTo>
                    <a:pt x="92" y="44"/>
                  </a:lnTo>
                  <a:lnTo>
                    <a:pt x="96" y="38"/>
                  </a:lnTo>
                  <a:lnTo>
                    <a:pt x="102" y="36"/>
                  </a:lnTo>
                  <a:lnTo>
                    <a:pt x="108" y="34"/>
                  </a:lnTo>
                  <a:lnTo>
                    <a:pt x="114" y="32"/>
                  </a:lnTo>
                  <a:lnTo>
                    <a:pt x="120" y="30"/>
                  </a:lnTo>
                  <a:lnTo>
                    <a:pt x="128" y="28"/>
                  </a:lnTo>
                  <a:lnTo>
                    <a:pt x="132" y="26"/>
                  </a:lnTo>
                  <a:lnTo>
                    <a:pt x="136" y="24"/>
                  </a:lnTo>
                  <a:lnTo>
                    <a:pt x="134" y="30"/>
                  </a:lnTo>
                  <a:lnTo>
                    <a:pt x="128" y="34"/>
                  </a:lnTo>
                  <a:lnTo>
                    <a:pt x="122" y="34"/>
                  </a:lnTo>
                  <a:lnTo>
                    <a:pt x="116" y="34"/>
                  </a:lnTo>
                  <a:lnTo>
                    <a:pt x="110" y="36"/>
                  </a:lnTo>
                  <a:lnTo>
                    <a:pt x="104" y="38"/>
                  </a:lnTo>
                  <a:lnTo>
                    <a:pt x="98" y="40"/>
                  </a:lnTo>
                  <a:lnTo>
                    <a:pt x="96" y="46"/>
                  </a:lnTo>
                  <a:lnTo>
                    <a:pt x="96" y="52"/>
                  </a:lnTo>
                  <a:lnTo>
                    <a:pt x="98" y="58"/>
                  </a:lnTo>
                  <a:lnTo>
                    <a:pt x="100" y="64"/>
                  </a:lnTo>
                  <a:lnTo>
                    <a:pt x="102" y="70"/>
                  </a:lnTo>
                  <a:lnTo>
                    <a:pt x="106" y="76"/>
                  </a:lnTo>
                  <a:lnTo>
                    <a:pt x="112" y="80"/>
                  </a:lnTo>
                  <a:lnTo>
                    <a:pt x="106" y="80"/>
                  </a:lnTo>
                  <a:lnTo>
                    <a:pt x="106" y="82"/>
                  </a:lnTo>
                  <a:lnTo>
                    <a:pt x="108" y="88"/>
                  </a:lnTo>
                  <a:lnTo>
                    <a:pt x="110" y="94"/>
                  </a:lnTo>
                  <a:lnTo>
                    <a:pt x="112" y="98"/>
                  </a:lnTo>
                  <a:lnTo>
                    <a:pt x="112" y="100"/>
                  </a:lnTo>
                  <a:lnTo>
                    <a:pt x="114" y="100"/>
                  </a:lnTo>
                  <a:lnTo>
                    <a:pt x="116" y="106"/>
                  </a:lnTo>
                  <a:lnTo>
                    <a:pt x="114" y="112"/>
                  </a:lnTo>
                  <a:lnTo>
                    <a:pt x="112" y="118"/>
                  </a:lnTo>
                  <a:lnTo>
                    <a:pt x="110" y="122"/>
                  </a:lnTo>
                  <a:lnTo>
                    <a:pt x="104" y="126"/>
                  </a:lnTo>
                  <a:lnTo>
                    <a:pt x="100" y="130"/>
                  </a:lnTo>
                  <a:lnTo>
                    <a:pt x="98" y="136"/>
                  </a:lnTo>
                  <a:lnTo>
                    <a:pt x="96" y="138"/>
                  </a:lnTo>
                  <a:lnTo>
                    <a:pt x="96" y="140"/>
                  </a:lnTo>
                  <a:lnTo>
                    <a:pt x="90" y="144"/>
                  </a:lnTo>
                  <a:lnTo>
                    <a:pt x="88" y="150"/>
                  </a:lnTo>
                  <a:lnTo>
                    <a:pt x="86" y="152"/>
                  </a:lnTo>
                  <a:lnTo>
                    <a:pt x="84" y="158"/>
                  </a:lnTo>
                  <a:lnTo>
                    <a:pt x="80" y="164"/>
                  </a:lnTo>
                  <a:lnTo>
                    <a:pt x="82" y="170"/>
                  </a:lnTo>
                  <a:lnTo>
                    <a:pt x="86" y="174"/>
                  </a:lnTo>
                  <a:lnTo>
                    <a:pt x="88" y="180"/>
                  </a:lnTo>
                  <a:lnTo>
                    <a:pt x="88" y="186"/>
                  </a:lnTo>
                  <a:lnTo>
                    <a:pt x="94" y="190"/>
                  </a:lnTo>
                  <a:lnTo>
                    <a:pt x="98" y="194"/>
                  </a:lnTo>
                  <a:lnTo>
                    <a:pt x="102" y="194"/>
                  </a:lnTo>
                  <a:lnTo>
                    <a:pt x="100" y="200"/>
                  </a:lnTo>
                  <a:lnTo>
                    <a:pt x="98" y="206"/>
                  </a:lnTo>
                  <a:lnTo>
                    <a:pt x="98" y="212"/>
                  </a:lnTo>
                  <a:lnTo>
                    <a:pt x="104" y="216"/>
                  </a:lnTo>
                  <a:lnTo>
                    <a:pt x="108" y="218"/>
                  </a:lnTo>
                  <a:lnTo>
                    <a:pt x="116" y="218"/>
                  </a:lnTo>
                  <a:lnTo>
                    <a:pt x="120" y="214"/>
                  </a:lnTo>
                  <a:lnTo>
                    <a:pt x="126" y="212"/>
                  </a:lnTo>
                  <a:lnTo>
                    <a:pt x="128" y="212"/>
                  </a:lnTo>
                  <a:lnTo>
                    <a:pt x="132" y="208"/>
                  </a:lnTo>
                  <a:lnTo>
                    <a:pt x="132" y="206"/>
                  </a:lnTo>
                  <a:lnTo>
                    <a:pt x="138" y="200"/>
                  </a:lnTo>
                  <a:lnTo>
                    <a:pt x="142" y="196"/>
                  </a:lnTo>
                  <a:lnTo>
                    <a:pt x="142" y="190"/>
                  </a:lnTo>
                  <a:lnTo>
                    <a:pt x="142" y="188"/>
                  </a:lnTo>
                  <a:lnTo>
                    <a:pt x="140" y="182"/>
                  </a:lnTo>
                  <a:lnTo>
                    <a:pt x="142" y="178"/>
                  </a:lnTo>
                  <a:lnTo>
                    <a:pt x="144" y="172"/>
                  </a:lnTo>
                  <a:lnTo>
                    <a:pt x="142" y="166"/>
                  </a:lnTo>
                  <a:lnTo>
                    <a:pt x="142" y="160"/>
                  </a:lnTo>
                  <a:lnTo>
                    <a:pt x="138" y="154"/>
                  </a:lnTo>
                  <a:lnTo>
                    <a:pt x="136" y="152"/>
                  </a:lnTo>
                  <a:lnTo>
                    <a:pt x="134" y="146"/>
                  </a:lnTo>
                  <a:lnTo>
                    <a:pt x="132" y="140"/>
                  </a:lnTo>
                  <a:lnTo>
                    <a:pt x="130" y="138"/>
                  </a:lnTo>
                  <a:lnTo>
                    <a:pt x="128" y="138"/>
                  </a:lnTo>
                  <a:lnTo>
                    <a:pt x="126" y="132"/>
                  </a:lnTo>
                  <a:lnTo>
                    <a:pt x="124" y="130"/>
                  </a:lnTo>
                  <a:lnTo>
                    <a:pt x="122" y="124"/>
                  </a:lnTo>
                  <a:lnTo>
                    <a:pt x="122" y="122"/>
                  </a:lnTo>
                  <a:lnTo>
                    <a:pt x="120" y="116"/>
                  </a:lnTo>
                  <a:lnTo>
                    <a:pt x="118" y="112"/>
                  </a:lnTo>
                  <a:lnTo>
                    <a:pt x="120" y="106"/>
                  </a:lnTo>
                  <a:lnTo>
                    <a:pt x="120" y="100"/>
                  </a:lnTo>
                  <a:lnTo>
                    <a:pt x="118" y="98"/>
                  </a:lnTo>
                  <a:lnTo>
                    <a:pt x="116" y="96"/>
                  </a:lnTo>
                  <a:lnTo>
                    <a:pt x="122" y="96"/>
                  </a:lnTo>
                  <a:lnTo>
                    <a:pt x="126" y="90"/>
                  </a:lnTo>
                  <a:lnTo>
                    <a:pt x="128" y="88"/>
                  </a:lnTo>
                  <a:lnTo>
                    <a:pt x="132" y="84"/>
                  </a:lnTo>
                  <a:lnTo>
                    <a:pt x="136" y="84"/>
                  </a:lnTo>
                  <a:lnTo>
                    <a:pt x="142" y="80"/>
                  </a:lnTo>
                  <a:lnTo>
                    <a:pt x="148" y="78"/>
                  </a:lnTo>
                  <a:lnTo>
                    <a:pt x="154" y="74"/>
                  </a:lnTo>
                  <a:lnTo>
                    <a:pt x="158" y="70"/>
                  </a:lnTo>
                  <a:lnTo>
                    <a:pt x="166" y="68"/>
                  </a:lnTo>
                  <a:lnTo>
                    <a:pt x="170" y="66"/>
                  </a:lnTo>
                  <a:lnTo>
                    <a:pt x="178" y="66"/>
                  </a:lnTo>
                  <a:lnTo>
                    <a:pt x="182" y="66"/>
                  </a:lnTo>
                  <a:lnTo>
                    <a:pt x="188" y="62"/>
                  </a:lnTo>
                  <a:lnTo>
                    <a:pt x="194" y="60"/>
                  </a:lnTo>
                  <a:lnTo>
                    <a:pt x="200" y="58"/>
                  </a:lnTo>
                  <a:lnTo>
                    <a:pt x="204" y="56"/>
                  </a:lnTo>
                  <a:lnTo>
                    <a:pt x="206" y="50"/>
                  </a:lnTo>
                  <a:lnTo>
                    <a:pt x="212" y="50"/>
                  </a:lnTo>
                  <a:lnTo>
                    <a:pt x="210" y="46"/>
                  </a:lnTo>
                  <a:lnTo>
                    <a:pt x="208" y="42"/>
                  </a:lnTo>
                  <a:lnTo>
                    <a:pt x="214" y="46"/>
                  </a:lnTo>
                  <a:lnTo>
                    <a:pt x="216" y="46"/>
                  </a:lnTo>
                  <a:lnTo>
                    <a:pt x="218" y="50"/>
                  </a:lnTo>
                  <a:lnTo>
                    <a:pt x="220" y="50"/>
                  </a:lnTo>
                  <a:lnTo>
                    <a:pt x="226" y="52"/>
                  </a:lnTo>
                  <a:lnTo>
                    <a:pt x="232" y="46"/>
                  </a:lnTo>
                  <a:lnTo>
                    <a:pt x="230" y="42"/>
                  </a:lnTo>
                  <a:lnTo>
                    <a:pt x="228" y="36"/>
                  </a:lnTo>
                  <a:lnTo>
                    <a:pt x="222" y="36"/>
                  </a:lnTo>
                  <a:lnTo>
                    <a:pt x="216" y="38"/>
                  </a:lnTo>
                  <a:lnTo>
                    <a:pt x="212" y="38"/>
                  </a:lnTo>
                  <a:lnTo>
                    <a:pt x="208" y="40"/>
                  </a:lnTo>
                  <a:lnTo>
                    <a:pt x="206" y="40"/>
                  </a:lnTo>
                  <a:lnTo>
                    <a:pt x="204" y="40"/>
                  </a:lnTo>
                  <a:lnTo>
                    <a:pt x="204" y="34"/>
                  </a:lnTo>
                  <a:lnTo>
                    <a:pt x="204" y="30"/>
                  </a:lnTo>
                  <a:lnTo>
                    <a:pt x="200" y="24"/>
                  </a:lnTo>
                  <a:lnTo>
                    <a:pt x="202" y="18"/>
                  </a:lnTo>
                  <a:lnTo>
                    <a:pt x="204" y="12"/>
                  </a:lnTo>
                  <a:lnTo>
                    <a:pt x="206" y="6"/>
                  </a:lnTo>
                  <a:lnTo>
                    <a:pt x="212" y="4"/>
                  </a:lnTo>
                  <a:lnTo>
                    <a:pt x="218" y="0"/>
                  </a:lnTo>
                  <a:lnTo>
                    <a:pt x="220" y="0"/>
                  </a:lnTo>
                  <a:lnTo>
                    <a:pt x="226" y="4"/>
                  </a:lnTo>
                  <a:lnTo>
                    <a:pt x="228" y="10"/>
                  </a:lnTo>
                  <a:lnTo>
                    <a:pt x="230" y="16"/>
                  </a:lnTo>
                  <a:lnTo>
                    <a:pt x="228" y="22"/>
                  </a:lnTo>
                  <a:lnTo>
                    <a:pt x="230" y="28"/>
                  </a:lnTo>
                  <a:lnTo>
                    <a:pt x="230" y="34"/>
                  </a:lnTo>
                  <a:lnTo>
                    <a:pt x="232" y="40"/>
                  </a:lnTo>
                  <a:lnTo>
                    <a:pt x="234" y="46"/>
                  </a:lnTo>
                  <a:lnTo>
                    <a:pt x="240" y="50"/>
                  </a:lnTo>
                  <a:lnTo>
                    <a:pt x="246" y="48"/>
                  </a:lnTo>
                  <a:lnTo>
                    <a:pt x="252" y="48"/>
                  </a:lnTo>
                  <a:lnTo>
                    <a:pt x="258" y="46"/>
                  </a:lnTo>
                  <a:lnTo>
                    <a:pt x="264" y="46"/>
                  </a:lnTo>
                  <a:lnTo>
                    <a:pt x="270" y="48"/>
                  </a:lnTo>
                  <a:lnTo>
                    <a:pt x="276" y="52"/>
                  </a:lnTo>
                  <a:lnTo>
                    <a:pt x="278" y="52"/>
                  </a:lnTo>
                  <a:lnTo>
                    <a:pt x="284" y="52"/>
                  </a:lnTo>
                  <a:lnTo>
                    <a:pt x="286" y="52"/>
                  </a:lnTo>
                  <a:lnTo>
                    <a:pt x="292" y="58"/>
                  </a:lnTo>
                  <a:lnTo>
                    <a:pt x="298" y="60"/>
                  </a:lnTo>
                  <a:lnTo>
                    <a:pt x="304" y="64"/>
                  </a:lnTo>
                  <a:lnTo>
                    <a:pt x="310" y="70"/>
                  </a:lnTo>
                  <a:lnTo>
                    <a:pt x="314" y="76"/>
                  </a:lnTo>
                  <a:lnTo>
                    <a:pt x="314" y="78"/>
                  </a:lnTo>
                  <a:lnTo>
                    <a:pt x="316" y="84"/>
                  </a:lnTo>
                  <a:lnTo>
                    <a:pt x="316" y="88"/>
                  </a:lnTo>
                  <a:lnTo>
                    <a:pt x="314" y="96"/>
                  </a:lnTo>
                  <a:lnTo>
                    <a:pt x="314" y="102"/>
                  </a:lnTo>
                  <a:lnTo>
                    <a:pt x="316" y="104"/>
                  </a:lnTo>
                  <a:lnTo>
                    <a:pt x="318" y="110"/>
                  </a:lnTo>
                  <a:lnTo>
                    <a:pt x="322" y="116"/>
                  </a:lnTo>
                  <a:lnTo>
                    <a:pt x="328" y="118"/>
                  </a:lnTo>
                  <a:lnTo>
                    <a:pt x="334" y="118"/>
                  </a:lnTo>
                  <a:lnTo>
                    <a:pt x="340" y="118"/>
                  </a:lnTo>
                  <a:lnTo>
                    <a:pt x="340" y="120"/>
                  </a:lnTo>
                  <a:lnTo>
                    <a:pt x="346" y="118"/>
                  </a:lnTo>
                  <a:lnTo>
                    <a:pt x="352" y="118"/>
                  </a:lnTo>
                  <a:lnTo>
                    <a:pt x="356" y="116"/>
                  </a:lnTo>
                  <a:lnTo>
                    <a:pt x="364" y="114"/>
                  </a:lnTo>
                  <a:lnTo>
                    <a:pt x="370" y="114"/>
                  </a:lnTo>
                  <a:lnTo>
                    <a:pt x="376" y="114"/>
                  </a:lnTo>
                  <a:lnTo>
                    <a:pt x="382" y="114"/>
                  </a:lnTo>
                  <a:lnTo>
                    <a:pt x="388" y="112"/>
                  </a:lnTo>
                  <a:lnTo>
                    <a:pt x="394" y="110"/>
                  </a:lnTo>
                  <a:lnTo>
                    <a:pt x="400" y="110"/>
                  </a:lnTo>
                  <a:lnTo>
                    <a:pt x="406" y="110"/>
                  </a:lnTo>
                  <a:lnTo>
                    <a:pt x="412" y="108"/>
                  </a:lnTo>
                  <a:lnTo>
                    <a:pt x="418" y="108"/>
                  </a:lnTo>
                  <a:lnTo>
                    <a:pt x="424" y="108"/>
                  </a:lnTo>
                  <a:lnTo>
                    <a:pt x="430" y="108"/>
                  </a:lnTo>
                  <a:lnTo>
                    <a:pt x="436" y="110"/>
                  </a:lnTo>
                  <a:lnTo>
                    <a:pt x="436" y="108"/>
                  </a:lnTo>
                  <a:lnTo>
                    <a:pt x="442" y="108"/>
                  </a:lnTo>
                  <a:lnTo>
                    <a:pt x="448" y="110"/>
                  </a:lnTo>
                  <a:lnTo>
                    <a:pt x="448" y="116"/>
                  </a:lnTo>
                  <a:lnTo>
                    <a:pt x="450" y="120"/>
                  </a:lnTo>
                  <a:lnTo>
                    <a:pt x="454" y="124"/>
                  </a:lnTo>
                  <a:lnTo>
                    <a:pt x="460" y="130"/>
                  </a:lnTo>
                  <a:lnTo>
                    <a:pt x="464" y="136"/>
                  </a:lnTo>
                  <a:lnTo>
                    <a:pt x="470" y="136"/>
                  </a:lnTo>
                  <a:lnTo>
                    <a:pt x="476" y="138"/>
                  </a:lnTo>
                  <a:lnTo>
                    <a:pt x="482" y="140"/>
                  </a:lnTo>
                  <a:lnTo>
                    <a:pt x="488" y="142"/>
                  </a:lnTo>
                  <a:lnTo>
                    <a:pt x="494" y="144"/>
                  </a:lnTo>
                  <a:lnTo>
                    <a:pt x="500" y="144"/>
                  </a:lnTo>
                  <a:lnTo>
                    <a:pt x="506" y="146"/>
                  </a:lnTo>
                  <a:lnTo>
                    <a:pt x="504" y="146"/>
                  </a:lnTo>
                  <a:lnTo>
                    <a:pt x="510" y="148"/>
                  </a:lnTo>
                  <a:lnTo>
                    <a:pt x="516" y="146"/>
                  </a:lnTo>
                  <a:lnTo>
                    <a:pt x="522" y="146"/>
                  </a:lnTo>
                  <a:lnTo>
                    <a:pt x="526" y="146"/>
                  </a:lnTo>
                  <a:lnTo>
                    <a:pt x="532" y="140"/>
                  </a:lnTo>
                  <a:lnTo>
                    <a:pt x="538" y="134"/>
                  </a:lnTo>
                  <a:lnTo>
                    <a:pt x="542" y="134"/>
                  </a:lnTo>
                  <a:lnTo>
                    <a:pt x="548" y="132"/>
                  </a:lnTo>
                  <a:lnTo>
                    <a:pt x="552" y="126"/>
                  </a:lnTo>
                  <a:lnTo>
                    <a:pt x="558" y="124"/>
                  </a:lnTo>
                  <a:lnTo>
                    <a:pt x="564" y="120"/>
                  </a:lnTo>
                  <a:lnTo>
                    <a:pt x="570" y="120"/>
                  </a:lnTo>
                  <a:lnTo>
                    <a:pt x="576" y="122"/>
                  </a:lnTo>
                  <a:lnTo>
                    <a:pt x="582" y="120"/>
                  </a:lnTo>
                  <a:lnTo>
                    <a:pt x="588" y="122"/>
                  </a:lnTo>
                  <a:lnTo>
                    <a:pt x="594" y="118"/>
                  </a:lnTo>
                  <a:lnTo>
                    <a:pt x="588" y="114"/>
                  </a:lnTo>
                  <a:lnTo>
                    <a:pt x="582" y="114"/>
                  </a:lnTo>
                  <a:lnTo>
                    <a:pt x="576" y="112"/>
                  </a:lnTo>
                  <a:lnTo>
                    <a:pt x="570" y="112"/>
                  </a:lnTo>
                  <a:lnTo>
                    <a:pt x="564" y="114"/>
                  </a:lnTo>
                  <a:lnTo>
                    <a:pt x="558" y="108"/>
                  </a:lnTo>
                  <a:lnTo>
                    <a:pt x="564" y="108"/>
                  </a:lnTo>
                  <a:lnTo>
                    <a:pt x="570" y="108"/>
                  </a:lnTo>
                  <a:lnTo>
                    <a:pt x="576" y="108"/>
                  </a:lnTo>
                  <a:lnTo>
                    <a:pt x="582" y="108"/>
                  </a:lnTo>
                  <a:lnTo>
                    <a:pt x="588" y="104"/>
                  </a:lnTo>
                  <a:lnTo>
                    <a:pt x="594" y="106"/>
                  </a:lnTo>
                  <a:lnTo>
                    <a:pt x="600" y="108"/>
                  </a:lnTo>
                  <a:lnTo>
                    <a:pt x="606" y="108"/>
                  </a:lnTo>
                  <a:lnTo>
                    <a:pt x="612" y="106"/>
                  </a:lnTo>
                  <a:lnTo>
                    <a:pt x="618" y="104"/>
                  </a:lnTo>
                  <a:lnTo>
                    <a:pt x="624" y="104"/>
                  </a:lnTo>
                  <a:lnTo>
                    <a:pt x="630" y="104"/>
                  </a:lnTo>
                  <a:lnTo>
                    <a:pt x="636" y="102"/>
                  </a:lnTo>
                  <a:lnTo>
                    <a:pt x="642" y="104"/>
                  </a:lnTo>
                  <a:lnTo>
                    <a:pt x="648" y="102"/>
                  </a:lnTo>
                  <a:lnTo>
                    <a:pt x="654" y="100"/>
                  </a:lnTo>
                  <a:lnTo>
                    <a:pt x="660" y="100"/>
                  </a:lnTo>
                  <a:lnTo>
                    <a:pt x="666" y="100"/>
                  </a:lnTo>
                  <a:lnTo>
                    <a:pt x="670" y="102"/>
                  </a:lnTo>
                  <a:lnTo>
                    <a:pt x="678" y="102"/>
                  </a:lnTo>
                  <a:lnTo>
                    <a:pt x="682" y="104"/>
                  </a:lnTo>
                  <a:lnTo>
                    <a:pt x="688" y="104"/>
                  </a:lnTo>
                  <a:lnTo>
                    <a:pt x="696" y="102"/>
                  </a:lnTo>
                  <a:lnTo>
                    <a:pt x="700" y="102"/>
                  </a:lnTo>
                  <a:lnTo>
                    <a:pt x="706" y="100"/>
                  </a:lnTo>
                  <a:lnTo>
                    <a:pt x="702" y="106"/>
                  </a:lnTo>
                  <a:lnTo>
                    <a:pt x="696" y="108"/>
                  </a:lnTo>
                  <a:lnTo>
                    <a:pt x="690" y="108"/>
                  </a:lnTo>
                  <a:lnTo>
                    <a:pt x="684" y="108"/>
                  </a:lnTo>
                  <a:lnTo>
                    <a:pt x="680" y="114"/>
                  </a:lnTo>
                  <a:lnTo>
                    <a:pt x="674" y="114"/>
                  </a:lnTo>
                  <a:lnTo>
                    <a:pt x="668" y="114"/>
                  </a:lnTo>
                  <a:lnTo>
                    <a:pt x="662" y="114"/>
                  </a:lnTo>
                  <a:lnTo>
                    <a:pt x="656" y="114"/>
                  </a:lnTo>
                  <a:lnTo>
                    <a:pt x="650" y="114"/>
                  </a:lnTo>
                  <a:lnTo>
                    <a:pt x="644" y="114"/>
                  </a:lnTo>
                  <a:lnTo>
                    <a:pt x="638" y="118"/>
                  </a:lnTo>
                  <a:lnTo>
                    <a:pt x="644" y="116"/>
                  </a:lnTo>
                  <a:lnTo>
                    <a:pt x="648" y="122"/>
                  </a:lnTo>
                  <a:lnTo>
                    <a:pt x="640" y="122"/>
                  </a:lnTo>
                  <a:lnTo>
                    <a:pt x="638" y="128"/>
                  </a:lnTo>
                  <a:lnTo>
                    <a:pt x="644" y="126"/>
                  </a:lnTo>
                  <a:lnTo>
                    <a:pt x="650" y="124"/>
                  </a:lnTo>
                  <a:lnTo>
                    <a:pt x="654" y="130"/>
                  </a:lnTo>
                  <a:lnTo>
                    <a:pt x="656" y="136"/>
                  </a:lnTo>
                  <a:lnTo>
                    <a:pt x="658" y="142"/>
                  </a:lnTo>
                  <a:lnTo>
                    <a:pt x="652" y="148"/>
                  </a:lnTo>
                  <a:lnTo>
                    <a:pt x="646" y="148"/>
                  </a:lnTo>
                  <a:lnTo>
                    <a:pt x="640" y="146"/>
                  </a:lnTo>
                  <a:lnTo>
                    <a:pt x="634" y="144"/>
                  </a:lnTo>
                  <a:lnTo>
                    <a:pt x="638" y="152"/>
                  </a:lnTo>
                  <a:lnTo>
                    <a:pt x="640" y="152"/>
                  </a:lnTo>
                  <a:lnTo>
                    <a:pt x="646" y="150"/>
                  </a:lnTo>
                  <a:lnTo>
                    <a:pt x="646" y="152"/>
                  </a:lnTo>
                  <a:lnTo>
                    <a:pt x="648" y="152"/>
                  </a:lnTo>
                  <a:lnTo>
                    <a:pt x="654" y="148"/>
                  </a:lnTo>
                  <a:lnTo>
                    <a:pt x="660" y="142"/>
                  </a:lnTo>
                  <a:lnTo>
                    <a:pt x="660" y="136"/>
                  </a:lnTo>
                  <a:lnTo>
                    <a:pt x="666" y="138"/>
                  </a:lnTo>
                  <a:lnTo>
                    <a:pt x="668" y="144"/>
                  </a:lnTo>
                  <a:lnTo>
                    <a:pt x="670" y="150"/>
                  </a:lnTo>
                  <a:lnTo>
                    <a:pt x="670" y="152"/>
                  </a:lnTo>
                  <a:lnTo>
                    <a:pt x="668" y="156"/>
                  </a:lnTo>
                  <a:lnTo>
                    <a:pt x="674" y="162"/>
                  </a:lnTo>
                  <a:lnTo>
                    <a:pt x="676" y="168"/>
                  </a:lnTo>
                  <a:lnTo>
                    <a:pt x="674" y="170"/>
                  </a:lnTo>
                  <a:lnTo>
                    <a:pt x="674" y="172"/>
                  </a:lnTo>
                  <a:lnTo>
                    <a:pt x="676" y="172"/>
                  </a:lnTo>
                  <a:lnTo>
                    <a:pt x="680" y="166"/>
                  </a:lnTo>
                  <a:lnTo>
                    <a:pt x="682" y="160"/>
                  </a:lnTo>
                  <a:lnTo>
                    <a:pt x="680" y="154"/>
                  </a:lnTo>
                  <a:lnTo>
                    <a:pt x="684" y="160"/>
                  </a:lnTo>
                  <a:lnTo>
                    <a:pt x="684" y="166"/>
                  </a:lnTo>
                  <a:lnTo>
                    <a:pt x="684" y="172"/>
                  </a:lnTo>
                  <a:lnTo>
                    <a:pt x="682" y="178"/>
                  </a:lnTo>
                  <a:lnTo>
                    <a:pt x="684" y="176"/>
                  </a:lnTo>
                  <a:lnTo>
                    <a:pt x="686" y="170"/>
                  </a:lnTo>
                  <a:lnTo>
                    <a:pt x="686" y="164"/>
                  </a:lnTo>
                  <a:lnTo>
                    <a:pt x="684" y="158"/>
                  </a:lnTo>
                  <a:lnTo>
                    <a:pt x="690" y="160"/>
                  </a:lnTo>
                  <a:lnTo>
                    <a:pt x="694" y="160"/>
                  </a:lnTo>
                  <a:lnTo>
                    <a:pt x="688" y="156"/>
                  </a:lnTo>
                  <a:lnTo>
                    <a:pt x="682" y="154"/>
                  </a:lnTo>
                  <a:lnTo>
                    <a:pt x="682" y="152"/>
                  </a:lnTo>
                  <a:lnTo>
                    <a:pt x="688" y="152"/>
                  </a:lnTo>
                  <a:lnTo>
                    <a:pt x="694" y="154"/>
                  </a:lnTo>
                  <a:lnTo>
                    <a:pt x="700" y="160"/>
                  </a:lnTo>
                  <a:lnTo>
                    <a:pt x="704" y="164"/>
                  </a:lnTo>
                  <a:lnTo>
                    <a:pt x="706" y="168"/>
                  </a:lnTo>
                  <a:lnTo>
                    <a:pt x="704" y="174"/>
                  </a:lnTo>
                  <a:lnTo>
                    <a:pt x="704" y="176"/>
                  </a:lnTo>
                  <a:lnTo>
                    <a:pt x="708" y="170"/>
                  </a:lnTo>
                  <a:lnTo>
                    <a:pt x="710" y="170"/>
                  </a:lnTo>
                  <a:lnTo>
                    <a:pt x="708" y="168"/>
                  </a:lnTo>
                  <a:lnTo>
                    <a:pt x="714" y="164"/>
                  </a:lnTo>
                  <a:lnTo>
                    <a:pt x="720" y="166"/>
                  </a:lnTo>
                  <a:lnTo>
                    <a:pt x="718" y="160"/>
                  </a:lnTo>
                  <a:lnTo>
                    <a:pt x="724" y="160"/>
                  </a:lnTo>
                  <a:lnTo>
                    <a:pt x="730" y="166"/>
                  </a:lnTo>
                  <a:lnTo>
                    <a:pt x="732" y="174"/>
                  </a:lnTo>
                  <a:lnTo>
                    <a:pt x="738" y="178"/>
                  </a:lnTo>
                  <a:lnTo>
                    <a:pt x="742" y="182"/>
                  </a:lnTo>
                  <a:lnTo>
                    <a:pt x="748" y="182"/>
                  </a:lnTo>
                  <a:lnTo>
                    <a:pt x="754" y="182"/>
                  </a:lnTo>
                  <a:lnTo>
                    <a:pt x="760" y="188"/>
                  </a:lnTo>
                  <a:lnTo>
                    <a:pt x="766" y="194"/>
                  </a:lnTo>
                  <a:lnTo>
                    <a:pt x="768" y="200"/>
                  </a:lnTo>
                  <a:lnTo>
                    <a:pt x="762" y="204"/>
                  </a:lnTo>
                  <a:lnTo>
                    <a:pt x="756" y="208"/>
                  </a:lnTo>
                  <a:lnTo>
                    <a:pt x="750" y="212"/>
                  </a:lnTo>
                  <a:lnTo>
                    <a:pt x="748" y="218"/>
                  </a:lnTo>
                  <a:lnTo>
                    <a:pt x="754" y="212"/>
                  </a:lnTo>
                  <a:lnTo>
                    <a:pt x="754" y="218"/>
                  </a:lnTo>
                  <a:lnTo>
                    <a:pt x="748" y="224"/>
                  </a:lnTo>
                  <a:lnTo>
                    <a:pt x="746" y="224"/>
                  </a:lnTo>
                  <a:lnTo>
                    <a:pt x="746" y="228"/>
                  </a:lnTo>
                  <a:lnTo>
                    <a:pt x="746" y="232"/>
                  </a:lnTo>
                  <a:lnTo>
                    <a:pt x="742" y="238"/>
                  </a:lnTo>
                  <a:lnTo>
                    <a:pt x="740" y="244"/>
                  </a:lnTo>
                  <a:lnTo>
                    <a:pt x="740" y="250"/>
                  </a:lnTo>
                  <a:lnTo>
                    <a:pt x="734" y="250"/>
                  </a:lnTo>
                  <a:lnTo>
                    <a:pt x="728" y="248"/>
                  </a:lnTo>
                  <a:lnTo>
                    <a:pt x="722" y="250"/>
                  </a:lnTo>
                  <a:lnTo>
                    <a:pt x="716" y="246"/>
                  </a:lnTo>
                  <a:lnTo>
                    <a:pt x="712" y="246"/>
                  </a:lnTo>
                  <a:lnTo>
                    <a:pt x="712" y="250"/>
                  </a:lnTo>
                  <a:lnTo>
                    <a:pt x="718" y="252"/>
                  </a:lnTo>
                  <a:lnTo>
                    <a:pt x="724" y="256"/>
                  </a:lnTo>
                  <a:lnTo>
                    <a:pt x="730" y="256"/>
                  </a:lnTo>
                  <a:lnTo>
                    <a:pt x="734" y="262"/>
                  </a:lnTo>
                  <a:lnTo>
                    <a:pt x="740" y="258"/>
                  </a:lnTo>
                  <a:lnTo>
                    <a:pt x="746" y="256"/>
                  </a:lnTo>
                  <a:lnTo>
                    <a:pt x="746" y="262"/>
                  </a:lnTo>
                  <a:lnTo>
                    <a:pt x="752" y="256"/>
                  </a:lnTo>
                  <a:lnTo>
                    <a:pt x="756" y="250"/>
                  </a:lnTo>
                  <a:lnTo>
                    <a:pt x="758" y="250"/>
                  </a:lnTo>
                  <a:lnTo>
                    <a:pt x="764" y="250"/>
                  </a:lnTo>
                  <a:lnTo>
                    <a:pt x="770" y="248"/>
                  </a:lnTo>
                  <a:lnTo>
                    <a:pt x="776" y="252"/>
                  </a:lnTo>
                  <a:lnTo>
                    <a:pt x="782" y="254"/>
                  </a:lnTo>
                  <a:lnTo>
                    <a:pt x="784" y="254"/>
                  </a:lnTo>
                  <a:lnTo>
                    <a:pt x="788" y="250"/>
                  </a:lnTo>
                  <a:lnTo>
                    <a:pt x="792" y="246"/>
                  </a:lnTo>
                  <a:lnTo>
                    <a:pt x="798" y="246"/>
                  </a:lnTo>
                  <a:lnTo>
                    <a:pt x="804" y="248"/>
                  </a:lnTo>
                  <a:lnTo>
                    <a:pt x="810" y="252"/>
                  </a:lnTo>
                  <a:lnTo>
                    <a:pt x="814" y="252"/>
                  </a:lnTo>
                  <a:lnTo>
                    <a:pt x="814" y="254"/>
                  </a:lnTo>
                  <a:lnTo>
                    <a:pt x="816" y="258"/>
                  </a:lnTo>
                  <a:lnTo>
                    <a:pt x="820" y="264"/>
                  </a:lnTo>
                  <a:lnTo>
                    <a:pt x="824" y="270"/>
                  </a:lnTo>
                  <a:lnTo>
                    <a:pt x="822" y="274"/>
                  </a:lnTo>
                  <a:lnTo>
                    <a:pt x="816" y="276"/>
                  </a:lnTo>
                  <a:lnTo>
                    <a:pt x="814" y="278"/>
                  </a:lnTo>
                  <a:lnTo>
                    <a:pt x="812" y="284"/>
                  </a:lnTo>
                  <a:lnTo>
                    <a:pt x="806" y="288"/>
                  </a:lnTo>
                  <a:lnTo>
                    <a:pt x="802" y="292"/>
                  </a:lnTo>
                  <a:lnTo>
                    <a:pt x="796" y="296"/>
                  </a:lnTo>
                  <a:lnTo>
                    <a:pt x="790" y="300"/>
                  </a:lnTo>
                  <a:lnTo>
                    <a:pt x="790" y="302"/>
                  </a:lnTo>
                  <a:lnTo>
                    <a:pt x="784" y="302"/>
                  </a:lnTo>
                  <a:lnTo>
                    <a:pt x="778" y="304"/>
                  </a:lnTo>
                  <a:lnTo>
                    <a:pt x="776" y="310"/>
                  </a:lnTo>
                  <a:lnTo>
                    <a:pt x="774" y="316"/>
                  </a:lnTo>
                  <a:lnTo>
                    <a:pt x="768" y="320"/>
                  </a:lnTo>
                  <a:lnTo>
                    <a:pt x="768" y="326"/>
                  </a:lnTo>
                  <a:lnTo>
                    <a:pt x="772" y="332"/>
                  </a:lnTo>
                  <a:lnTo>
                    <a:pt x="772" y="338"/>
                  </a:lnTo>
                  <a:lnTo>
                    <a:pt x="772" y="344"/>
                  </a:lnTo>
                  <a:lnTo>
                    <a:pt x="776" y="350"/>
                  </a:lnTo>
                  <a:lnTo>
                    <a:pt x="782" y="346"/>
                  </a:lnTo>
                  <a:lnTo>
                    <a:pt x="788" y="348"/>
                  </a:lnTo>
                  <a:lnTo>
                    <a:pt x="792" y="352"/>
                  </a:lnTo>
                  <a:lnTo>
                    <a:pt x="788" y="358"/>
                  </a:lnTo>
                  <a:lnTo>
                    <a:pt x="786" y="364"/>
                  </a:lnTo>
                  <a:lnTo>
                    <a:pt x="782" y="364"/>
                  </a:lnTo>
                  <a:lnTo>
                    <a:pt x="776" y="368"/>
                  </a:lnTo>
                  <a:lnTo>
                    <a:pt x="770" y="370"/>
                  </a:lnTo>
                  <a:lnTo>
                    <a:pt x="764" y="376"/>
                  </a:lnTo>
                  <a:lnTo>
                    <a:pt x="758" y="374"/>
                  </a:lnTo>
                  <a:lnTo>
                    <a:pt x="752" y="372"/>
                  </a:lnTo>
                  <a:lnTo>
                    <a:pt x="750" y="378"/>
                  </a:lnTo>
                  <a:lnTo>
                    <a:pt x="744" y="378"/>
                  </a:lnTo>
                  <a:lnTo>
                    <a:pt x="738" y="380"/>
                  </a:lnTo>
                  <a:lnTo>
                    <a:pt x="736" y="384"/>
                  </a:lnTo>
                  <a:lnTo>
                    <a:pt x="734" y="390"/>
                  </a:lnTo>
                  <a:lnTo>
                    <a:pt x="738" y="396"/>
                  </a:lnTo>
                  <a:lnTo>
                    <a:pt x="738" y="402"/>
                  </a:lnTo>
                  <a:lnTo>
                    <a:pt x="738" y="408"/>
                  </a:lnTo>
                  <a:lnTo>
                    <a:pt x="738" y="414"/>
                  </a:lnTo>
                  <a:lnTo>
                    <a:pt x="734" y="418"/>
                  </a:lnTo>
                  <a:lnTo>
                    <a:pt x="728" y="424"/>
                  </a:lnTo>
                  <a:lnTo>
                    <a:pt x="726" y="426"/>
                  </a:lnTo>
                  <a:lnTo>
                    <a:pt x="722" y="432"/>
                  </a:lnTo>
                  <a:lnTo>
                    <a:pt x="722" y="434"/>
                  </a:lnTo>
                  <a:lnTo>
                    <a:pt x="726" y="440"/>
                  </a:lnTo>
                  <a:lnTo>
                    <a:pt x="732" y="446"/>
                  </a:lnTo>
                  <a:lnTo>
                    <a:pt x="736" y="452"/>
                  </a:lnTo>
                  <a:lnTo>
                    <a:pt x="742" y="458"/>
                  </a:lnTo>
                  <a:lnTo>
                    <a:pt x="746" y="466"/>
                  </a:lnTo>
                  <a:lnTo>
                    <a:pt x="750" y="472"/>
                  </a:lnTo>
                  <a:lnTo>
                    <a:pt x="754" y="478"/>
                  </a:lnTo>
                  <a:lnTo>
                    <a:pt x="760" y="484"/>
                  </a:lnTo>
                  <a:lnTo>
                    <a:pt x="766" y="490"/>
                  </a:lnTo>
                  <a:lnTo>
                    <a:pt x="768" y="496"/>
                  </a:lnTo>
                  <a:lnTo>
                    <a:pt x="768" y="498"/>
                  </a:lnTo>
                  <a:lnTo>
                    <a:pt x="768" y="504"/>
                  </a:lnTo>
                  <a:lnTo>
                    <a:pt x="764" y="510"/>
                  </a:lnTo>
                  <a:lnTo>
                    <a:pt x="758" y="514"/>
                  </a:lnTo>
                  <a:lnTo>
                    <a:pt x="752" y="518"/>
                  </a:lnTo>
                  <a:lnTo>
                    <a:pt x="746" y="524"/>
                  </a:lnTo>
                  <a:lnTo>
                    <a:pt x="744" y="530"/>
                  </a:lnTo>
                  <a:lnTo>
                    <a:pt x="738" y="532"/>
                  </a:lnTo>
                  <a:lnTo>
                    <a:pt x="732" y="534"/>
                  </a:lnTo>
                  <a:lnTo>
                    <a:pt x="730" y="532"/>
                  </a:lnTo>
                  <a:lnTo>
                    <a:pt x="726" y="530"/>
                  </a:lnTo>
                  <a:lnTo>
                    <a:pt x="722" y="536"/>
                  </a:lnTo>
                  <a:lnTo>
                    <a:pt x="716" y="538"/>
                  </a:lnTo>
                  <a:lnTo>
                    <a:pt x="712" y="538"/>
                  </a:lnTo>
                  <a:lnTo>
                    <a:pt x="710" y="546"/>
                  </a:lnTo>
                  <a:lnTo>
                    <a:pt x="704" y="550"/>
                  </a:lnTo>
                  <a:lnTo>
                    <a:pt x="698" y="550"/>
                  </a:lnTo>
                  <a:lnTo>
                    <a:pt x="692" y="552"/>
                  </a:lnTo>
                  <a:lnTo>
                    <a:pt x="686" y="556"/>
                  </a:lnTo>
                  <a:lnTo>
                    <a:pt x="680" y="554"/>
                  </a:lnTo>
                  <a:lnTo>
                    <a:pt x="674" y="558"/>
                  </a:lnTo>
                  <a:lnTo>
                    <a:pt x="670" y="560"/>
                  </a:lnTo>
                  <a:lnTo>
                    <a:pt x="662" y="558"/>
                  </a:lnTo>
                  <a:lnTo>
                    <a:pt x="658" y="554"/>
                  </a:lnTo>
                  <a:lnTo>
                    <a:pt x="652" y="556"/>
                  </a:lnTo>
                  <a:lnTo>
                    <a:pt x="648" y="562"/>
                  </a:lnTo>
                  <a:lnTo>
                    <a:pt x="640" y="564"/>
                  </a:lnTo>
                  <a:lnTo>
                    <a:pt x="636" y="564"/>
                  </a:lnTo>
                  <a:lnTo>
                    <a:pt x="632" y="570"/>
                  </a:lnTo>
                  <a:lnTo>
                    <a:pt x="632" y="576"/>
                  </a:lnTo>
                  <a:lnTo>
                    <a:pt x="634" y="582"/>
                  </a:lnTo>
                  <a:lnTo>
                    <a:pt x="634" y="588"/>
                  </a:lnTo>
                  <a:lnTo>
                    <a:pt x="632" y="594"/>
                  </a:lnTo>
                  <a:lnTo>
                    <a:pt x="626" y="596"/>
                  </a:lnTo>
                  <a:lnTo>
                    <a:pt x="620" y="596"/>
                  </a:lnTo>
                  <a:lnTo>
                    <a:pt x="614" y="590"/>
                  </a:lnTo>
                  <a:lnTo>
                    <a:pt x="610" y="584"/>
                  </a:lnTo>
                  <a:lnTo>
                    <a:pt x="606" y="578"/>
                  </a:lnTo>
                  <a:lnTo>
                    <a:pt x="602" y="572"/>
                  </a:lnTo>
                  <a:lnTo>
                    <a:pt x="596" y="570"/>
                  </a:lnTo>
                  <a:lnTo>
                    <a:pt x="590" y="576"/>
                  </a:lnTo>
                  <a:lnTo>
                    <a:pt x="586" y="576"/>
                  </a:lnTo>
                  <a:lnTo>
                    <a:pt x="580" y="570"/>
                  </a:lnTo>
                  <a:lnTo>
                    <a:pt x="572" y="572"/>
                  </a:lnTo>
                  <a:lnTo>
                    <a:pt x="568" y="570"/>
                  </a:lnTo>
                  <a:lnTo>
                    <a:pt x="562" y="572"/>
                  </a:lnTo>
                  <a:lnTo>
                    <a:pt x="556" y="574"/>
                  </a:lnTo>
                  <a:lnTo>
                    <a:pt x="552" y="568"/>
                  </a:lnTo>
                  <a:lnTo>
                    <a:pt x="552" y="562"/>
                  </a:lnTo>
                  <a:lnTo>
                    <a:pt x="546" y="558"/>
                  </a:lnTo>
                  <a:lnTo>
                    <a:pt x="538" y="556"/>
                  </a:lnTo>
                  <a:lnTo>
                    <a:pt x="534" y="556"/>
                  </a:lnTo>
                  <a:lnTo>
                    <a:pt x="528" y="558"/>
                  </a:lnTo>
                  <a:lnTo>
                    <a:pt x="522" y="558"/>
                  </a:lnTo>
                  <a:lnTo>
                    <a:pt x="520" y="552"/>
                  </a:lnTo>
                  <a:lnTo>
                    <a:pt x="518" y="552"/>
                  </a:lnTo>
                  <a:lnTo>
                    <a:pt x="512" y="546"/>
                  </a:lnTo>
                  <a:lnTo>
                    <a:pt x="510" y="554"/>
                  </a:lnTo>
                  <a:lnTo>
                    <a:pt x="514" y="558"/>
                  </a:lnTo>
                  <a:lnTo>
                    <a:pt x="516" y="564"/>
                  </a:lnTo>
                  <a:lnTo>
                    <a:pt x="520" y="570"/>
                  </a:lnTo>
                  <a:lnTo>
                    <a:pt x="524" y="576"/>
                  </a:lnTo>
                  <a:lnTo>
                    <a:pt x="530" y="582"/>
                  </a:lnTo>
                  <a:lnTo>
                    <a:pt x="536" y="584"/>
                  </a:lnTo>
                  <a:lnTo>
                    <a:pt x="542" y="590"/>
                  </a:lnTo>
                  <a:lnTo>
                    <a:pt x="546" y="596"/>
                  </a:lnTo>
                  <a:lnTo>
                    <a:pt x="544" y="602"/>
                  </a:lnTo>
                  <a:lnTo>
                    <a:pt x="542" y="608"/>
                  </a:lnTo>
                  <a:lnTo>
                    <a:pt x="542" y="614"/>
                  </a:lnTo>
                  <a:lnTo>
                    <a:pt x="544" y="620"/>
                  </a:lnTo>
                  <a:lnTo>
                    <a:pt x="542" y="626"/>
                  </a:lnTo>
                  <a:lnTo>
                    <a:pt x="546" y="632"/>
                  </a:lnTo>
                  <a:lnTo>
                    <a:pt x="548" y="638"/>
                  </a:lnTo>
                  <a:lnTo>
                    <a:pt x="552" y="644"/>
                  </a:lnTo>
                  <a:lnTo>
                    <a:pt x="556" y="650"/>
                  </a:lnTo>
                  <a:lnTo>
                    <a:pt x="556" y="656"/>
                  </a:lnTo>
                  <a:lnTo>
                    <a:pt x="556" y="662"/>
                  </a:lnTo>
                  <a:lnTo>
                    <a:pt x="552" y="668"/>
                  </a:lnTo>
                  <a:lnTo>
                    <a:pt x="560" y="674"/>
                  </a:lnTo>
                  <a:lnTo>
                    <a:pt x="564" y="676"/>
                  </a:lnTo>
                  <a:lnTo>
                    <a:pt x="572" y="676"/>
                  </a:lnTo>
                  <a:lnTo>
                    <a:pt x="576" y="674"/>
                  </a:lnTo>
                  <a:lnTo>
                    <a:pt x="582" y="676"/>
                  </a:lnTo>
                  <a:lnTo>
                    <a:pt x="590" y="676"/>
                  </a:lnTo>
                  <a:lnTo>
                    <a:pt x="594" y="678"/>
                  </a:lnTo>
                  <a:lnTo>
                    <a:pt x="594" y="684"/>
                  </a:lnTo>
                  <a:lnTo>
                    <a:pt x="592" y="690"/>
                  </a:lnTo>
                  <a:lnTo>
                    <a:pt x="590" y="696"/>
                  </a:lnTo>
                  <a:lnTo>
                    <a:pt x="586" y="696"/>
                  </a:lnTo>
                  <a:lnTo>
                    <a:pt x="580" y="698"/>
                  </a:lnTo>
                  <a:lnTo>
                    <a:pt x="572" y="702"/>
                  </a:lnTo>
                  <a:lnTo>
                    <a:pt x="568" y="708"/>
                  </a:lnTo>
                  <a:lnTo>
                    <a:pt x="562" y="706"/>
                  </a:lnTo>
                  <a:lnTo>
                    <a:pt x="556" y="708"/>
                  </a:lnTo>
                  <a:lnTo>
                    <a:pt x="552" y="714"/>
                  </a:lnTo>
                  <a:lnTo>
                    <a:pt x="552" y="720"/>
                  </a:lnTo>
                  <a:lnTo>
                    <a:pt x="550" y="726"/>
                  </a:lnTo>
                  <a:lnTo>
                    <a:pt x="548" y="732"/>
                  </a:lnTo>
                  <a:lnTo>
                    <a:pt x="542" y="736"/>
                  </a:lnTo>
                  <a:lnTo>
                    <a:pt x="538" y="742"/>
                  </a:lnTo>
                  <a:lnTo>
                    <a:pt x="534" y="748"/>
                  </a:lnTo>
                  <a:lnTo>
                    <a:pt x="532" y="742"/>
                  </a:lnTo>
                  <a:lnTo>
                    <a:pt x="526" y="742"/>
                  </a:lnTo>
                  <a:lnTo>
                    <a:pt x="520" y="746"/>
                  </a:lnTo>
                  <a:lnTo>
                    <a:pt x="518" y="752"/>
                  </a:lnTo>
                  <a:lnTo>
                    <a:pt x="512" y="756"/>
                  </a:lnTo>
                  <a:lnTo>
                    <a:pt x="506" y="756"/>
                  </a:lnTo>
                  <a:lnTo>
                    <a:pt x="500" y="758"/>
                  </a:lnTo>
                  <a:lnTo>
                    <a:pt x="494" y="762"/>
                  </a:lnTo>
                  <a:lnTo>
                    <a:pt x="492" y="762"/>
                  </a:lnTo>
                  <a:lnTo>
                    <a:pt x="486" y="764"/>
                  </a:lnTo>
                  <a:lnTo>
                    <a:pt x="484" y="770"/>
                  </a:lnTo>
                  <a:lnTo>
                    <a:pt x="482" y="776"/>
                  </a:lnTo>
                  <a:lnTo>
                    <a:pt x="476" y="780"/>
                  </a:lnTo>
                  <a:lnTo>
                    <a:pt x="470" y="784"/>
                  </a:lnTo>
                  <a:lnTo>
                    <a:pt x="468" y="790"/>
                  </a:lnTo>
                  <a:lnTo>
                    <a:pt x="466" y="796"/>
                  </a:lnTo>
                  <a:lnTo>
                    <a:pt x="460" y="800"/>
                  </a:lnTo>
                  <a:lnTo>
                    <a:pt x="458" y="792"/>
                  </a:lnTo>
                  <a:lnTo>
                    <a:pt x="460" y="786"/>
                  </a:lnTo>
                  <a:lnTo>
                    <a:pt x="462" y="780"/>
                  </a:lnTo>
                  <a:lnTo>
                    <a:pt x="456" y="776"/>
                  </a:lnTo>
                  <a:lnTo>
                    <a:pt x="450" y="776"/>
                  </a:lnTo>
                  <a:lnTo>
                    <a:pt x="444" y="778"/>
                  </a:lnTo>
                  <a:lnTo>
                    <a:pt x="438" y="782"/>
                  </a:lnTo>
                  <a:lnTo>
                    <a:pt x="432" y="788"/>
                  </a:lnTo>
                  <a:lnTo>
                    <a:pt x="426" y="790"/>
                  </a:lnTo>
                  <a:lnTo>
                    <a:pt x="420" y="792"/>
                  </a:lnTo>
                  <a:lnTo>
                    <a:pt x="416" y="792"/>
                  </a:lnTo>
                  <a:lnTo>
                    <a:pt x="408" y="788"/>
                  </a:lnTo>
                  <a:lnTo>
                    <a:pt x="402" y="784"/>
                  </a:lnTo>
                  <a:lnTo>
                    <a:pt x="396" y="778"/>
                  </a:lnTo>
                  <a:lnTo>
                    <a:pt x="390" y="770"/>
                  </a:lnTo>
                  <a:lnTo>
                    <a:pt x="384" y="766"/>
                  </a:lnTo>
                  <a:lnTo>
                    <a:pt x="378" y="760"/>
                  </a:lnTo>
                  <a:lnTo>
                    <a:pt x="378" y="754"/>
                  </a:lnTo>
                  <a:lnTo>
                    <a:pt x="376" y="748"/>
                  </a:lnTo>
                  <a:lnTo>
                    <a:pt x="374" y="742"/>
                  </a:lnTo>
                  <a:lnTo>
                    <a:pt x="372" y="736"/>
                  </a:lnTo>
                  <a:lnTo>
                    <a:pt x="372" y="730"/>
                  </a:lnTo>
                  <a:lnTo>
                    <a:pt x="370" y="724"/>
                  </a:lnTo>
                  <a:lnTo>
                    <a:pt x="368" y="718"/>
                  </a:lnTo>
                  <a:lnTo>
                    <a:pt x="366" y="712"/>
                  </a:lnTo>
                  <a:lnTo>
                    <a:pt x="362" y="706"/>
                  </a:lnTo>
                  <a:lnTo>
                    <a:pt x="364" y="704"/>
                  </a:lnTo>
                  <a:lnTo>
                    <a:pt x="364" y="698"/>
                  </a:lnTo>
                  <a:lnTo>
                    <a:pt x="360" y="692"/>
                  </a:lnTo>
                  <a:lnTo>
                    <a:pt x="358" y="686"/>
                  </a:lnTo>
                  <a:lnTo>
                    <a:pt x="360" y="680"/>
                  </a:lnTo>
                  <a:lnTo>
                    <a:pt x="354" y="674"/>
                  </a:lnTo>
                  <a:lnTo>
                    <a:pt x="350" y="668"/>
                  </a:lnTo>
                  <a:lnTo>
                    <a:pt x="344" y="664"/>
                  </a:lnTo>
                  <a:lnTo>
                    <a:pt x="340" y="658"/>
                  </a:lnTo>
                  <a:lnTo>
                    <a:pt x="336" y="652"/>
                  </a:lnTo>
                  <a:lnTo>
                    <a:pt x="330" y="650"/>
                  </a:lnTo>
                  <a:lnTo>
                    <a:pt x="324" y="648"/>
                  </a:lnTo>
                  <a:lnTo>
                    <a:pt x="320" y="650"/>
                  </a:lnTo>
                  <a:lnTo>
                    <a:pt x="322" y="644"/>
                  </a:lnTo>
                  <a:lnTo>
                    <a:pt x="328" y="638"/>
                  </a:lnTo>
                  <a:lnTo>
                    <a:pt x="334" y="630"/>
                  </a:lnTo>
                  <a:lnTo>
                    <a:pt x="342" y="624"/>
                  </a:lnTo>
                  <a:lnTo>
                    <a:pt x="346" y="618"/>
                  </a:lnTo>
                  <a:lnTo>
                    <a:pt x="350" y="618"/>
                  </a:lnTo>
                  <a:lnTo>
                    <a:pt x="354" y="612"/>
                  </a:lnTo>
                  <a:lnTo>
                    <a:pt x="356" y="606"/>
                  </a:lnTo>
                  <a:lnTo>
                    <a:pt x="350" y="602"/>
                  </a:lnTo>
                  <a:lnTo>
                    <a:pt x="348" y="596"/>
                  </a:lnTo>
                  <a:lnTo>
                    <a:pt x="344" y="590"/>
                  </a:lnTo>
                  <a:lnTo>
                    <a:pt x="340" y="586"/>
                  </a:lnTo>
                  <a:lnTo>
                    <a:pt x="336" y="580"/>
                  </a:lnTo>
                  <a:lnTo>
                    <a:pt x="332" y="574"/>
                  </a:lnTo>
                  <a:lnTo>
                    <a:pt x="332" y="568"/>
                  </a:lnTo>
                  <a:lnTo>
                    <a:pt x="332" y="564"/>
                  </a:lnTo>
                  <a:lnTo>
                    <a:pt x="330" y="562"/>
                  </a:lnTo>
                  <a:lnTo>
                    <a:pt x="326" y="556"/>
                  </a:lnTo>
                  <a:lnTo>
                    <a:pt x="326" y="550"/>
                  </a:lnTo>
                  <a:lnTo>
                    <a:pt x="326" y="544"/>
                  </a:lnTo>
                  <a:lnTo>
                    <a:pt x="326" y="538"/>
                  </a:lnTo>
                  <a:lnTo>
                    <a:pt x="322" y="532"/>
                  </a:lnTo>
                  <a:lnTo>
                    <a:pt x="324" y="526"/>
                  </a:lnTo>
                  <a:lnTo>
                    <a:pt x="324" y="520"/>
                  </a:lnTo>
                  <a:lnTo>
                    <a:pt x="326" y="514"/>
                  </a:lnTo>
                  <a:lnTo>
                    <a:pt x="326" y="508"/>
                  </a:lnTo>
                  <a:lnTo>
                    <a:pt x="326" y="502"/>
                  </a:lnTo>
                  <a:lnTo>
                    <a:pt x="328" y="498"/>
                  </a:lnTo>
                  <a:lnTo>
                    <a:pt x="328" y="494"/>
                  </a:lnTo>
                  <a:lnTo>
                    <a:pt x="326" y="488"/>
                  </a:lnTo>
                  <a:lnTo>
                    <a:pt x="328" y="484"/>
                  </a:lnTo>
                  <a:lnTo>
                    <a:pt x="326" y="478"/>
                  </a:lnTo>
                  <a:lnTo>
                    <a:pt x="326" y="474"/>
                  </a:lnTo>
                  <a:lnTo>
                    <a:pt x="328" y="472"/>
                  </a:lnTo>
                  <a:lnTo>
                    <a:pt x="334" y="468"/>
                  </a:lnTo>
                  <a:lnTo>
                    <a:pt x="340" y="462"/>
                  </a:lnTo>
                  <a:lnTo>
                    <a:pt x="340" y="456"/>
                  </a:lnTo>
                  <a:lnTo>
                    <a:pt x="338" y="450"/>
                  </a:lnTo>
                  <a:lnTo>
                    <a:pt x="340" y="444"/>
                  </a:lnTo>
                  <a:lnTo>
                    <a:pt x="344" y="438"/>
                  </a:lnTo>
                  <a:lnTo>
                    <a:pt x="350" y="432"/>
                  </a:lnTo>
                  <a:lnTo>
                    <a:pt x="352" y="426"/>
                  </a:lnTo>
                  <a:lnTo>
                    <a:pt x="350" y="420"/>
                  </a:lnTo>
                  <a:lnTo>
                    <a:pt x="352" y="414"/>
                  </a:lnTo>
                  <a:lnTo>
                    <a:pt x="350" y="414"/>
                  </a:lnTo>
                  <a:lnTo>
                    <a:pt x="344" y="410"/>
                  </a:lnTo>
                  <a:lnTo>
                    <a:pt x="338" y="408"/>
                  </a:lnTo>
                  <a:lnTo>
                    <a:pt x="332" y="408"/>
                  </a:lnTo>
                  <a:lnTo>
                    <a:pt x="326" y="410"/>
                  </a:lnTo>
                  <a:lnTo>
                    <a:pt x="320" y="414"/>
                  </a:lnTo>
                  <a:lnTo>
                    <a:pt x="314" y="414"/>
                  </a:lnTo>
                  <a:lnTo>
                    <a:pt x="308" y="414"/>
                  </a:lnTo>
                  <a:lnTo>
                    <a:pt x="302" y="416"/>
                  </a:lnTo>
                  <a:lnTo>
                    <a:pt x="296" y="416"/>
                  </a:lnTo>
                  <a:lnTo>
                    <a:pt x="290" y="416"/>
                  </a:lnTo>
                  <a:lnTo>
                    <a:pt x="284" y="418"/>
                  </a:lnTo>
                  <a:lnTo>
                    <a:pt x="278" y="418"/>
                  </a:lnTo>
                  <a:lnTo>
                    <a:pt x="272" y="416"/>
                  </a:lnTo>
                  <a:lnTo>
                    <a:pt x="266" y="416"/>
                  </a:lnTo>
                  <a:lnTo>
                    <a:pt x="260" y="414"/>
                  </a:lnTo>
                  <a:lnTo>
                    <a:pt x="254" y="414"/>
                  </a:lnTo>
                  <a:lnTo>
                    <a:pt x="250" y="418"/>
                  </a:lnTo>
                  <a:lnTo>
                    <a:pt x="242" y="422"/>
                  </a:lnTo>
                  <a:lnTo>
                    <a:pt x="238" y="418"/>
                  </a:lnTo>
                  <a:lnTo>
                    <a:pt x="230" y="420"/>
                  </a:lnTo>
                  <a:lnTo>
                    <a:pt x="226" y="414"/>
                  </a:lnTo>
                  <a:lnTo>
                    <a:pt x="226" y="412"/>
                  </a:lnTo>
                  <a:lnTo>
                    <a:pt x="222" y="406"/>
                  </a:lnTo>
                  <a:lnTo>
                    <a:pt x="216" y="400"/>
                  </a:lnTo>
                  <a:lnTo>
                    <a:pt x="214" y="394"/>
                  </a:lnTo>
                  <a:lnTo>
                    <a:pt x="208" y="388"/>
                  </a:lnTo>
                  <a:lnTo>
                    <a:pt x="204" y="382"/>
                  </a:lnTo>
                  <a:lnTo>
                    <a:pt x="200" y="376"/>
                  </a:lnTo>
                  <a:lnTo>
                    <a:pt x="198" y="372"/>
                  </a:lnTo>
                  <a:lnTo>
                    <a:pt x="194" y="364"/>
                  </a:lnTo>
                  <a:lnTo>
                    <a:pt x="192" y="360"/>
                  </a:lnTo>
                  <a:lnTo>
                    <a:pt x="190" y="360"/>
                  </a:lnTo>
                  <a:lnTo>
                    <a:pt x="184" y="362"/>
                  </a:lnTo>
                  <a:lnTo>
                    <a:pt x="178" y="364"/>
                  </a:lnTo>
                  <a:lnTo>
                    <a:pt x="172" y="360"/>
                  </a:lnTo>
                  <a:lnTo>
                    <a:pt x="166" y="358"/>
                  </a:lnTo>
                  <a:lnTo>
                    <a:pt x="162" y="354"/>
                  </a:lnTo>
                  <a:lnTo>
                    <a:pt x="154" y="352"/>
                  </a:lnTo>
                  <a:lnTo>
                    <a:pt x="150" y="354"/>
                  </a:lnTo>
                  <a:lnTo>
                    <a:pt x="142" y="356"/>
                  </a:lnTo>
                  <a:lnTo>
                    <a:pt x="136" y="360"/>
                  </a:lnTo>
                  <a:lnTo>
                    <a:pt x="130" y="360"/>
                  </a:lnTo>
                  <a:lnTo>
                    <a:pt x="124" y="360"/>
                  </a:lnTo>
                  <a:lnTo>
                    <a:pt x="118" y="358"/>
                  </a:lnTo>
                  <a:lnTo>
                    <a:pt x="112" y="356"/>
                  </a:lnTo>
                  <a:lnTo>
                    <a:pt x="106" y="358"/>
                  </a:lnTo>
                  <a:lnTo>
                    <a:pt x="100" y="356"/>
                  </a:lnTo>
                  <a:lnTo>
                    <a:pt x="94" y="356"/>
                  </a:lnTo>
                  <a:lnTo>
                    <a:pt x="88" y="360"/>
                  </a:lnTo>
                  <a:lnTo>
                    <a:pt x="82" y="358"/>
                  </a:lnTo>
                  <a:lnTo>
                    <a:pt x="80" y="358"/>
                  </a:lnTo>
                  <a:lnTo>
                    <a:pt x="74" y="356"/>
                  </a:lnTo>
                  <a:lnTo>
                    <a:pt x="72" y="356"/>
                  </a:lnTo>
                  <a:lnTo>
                    <a:pt x="70" y="350"/>
                  </a:lnTo>
                  <a:lnTo>
                    <a:pt x="68" y="342"/>
                  </a:lnTo>
                  <a:lnTo>
                    <a:pt x="68" y="336"/>
                  </a:lnTo>
                  <a:lnTo>
                    <a:pt x="62" y="332"/>
                  </a:lnTo>
                  <a:lnTo>
                    <a:pt x="56" y="332"/>
                  </a:lnTo>
                  <a:lnTo>
                    <a:pt x="54" y="330"/>
                  </a:lnTo>
                  <a:lnTo>
                    <a:pt x="50" y="326"/>
                  </a:lnTo>
                  <a:lnTo>
                    <a:pt x="50" y="320"/>
                  </a:lnTo>
                  <a:lnTo>
                    <a:pt x="50" y="314"/>
                  </a:lnTo>
                  <a:lnTo>
                    <a:pt x="50" y="308"/>
                  </a:lnTo>
                  <a:lnTo>
                    <a:pt x="52" y="304"/>
                  </a:lnTo>
                  <a:lnTo>
                    <a:pt x="52" y="298"/>
                  </a:lnTo>
                  <a:lnTo>
                    <a:pt x="54" y="292"/>
                  </a:lnTo>
                  <a:lnTo>
                    <a:pt x="60" y="286"/>
                  </a:lnTo>
                  <a:lnTo>
                    <a:pt x="60" y="280"/>
                  </a:lnTo>
                  <a:lnTo>
                    <a:pt x="58" y="274"/>
                  </a:lnTo>
                  <a:lnTo>
                    <a:pt x="58" y="268"/>
                  </a:lnTo>
                  <a:lnTo>
                    <a:pt x="56" y="262"/>
                  </a:lnTo>
                  <a:lnTo>
                    <a:pt x="50" y="256"/>
                  </a:lnTo>
                  <a:lnTo>
                    <a:pt x="46" y="250"/>
                  </a:lnTo>
                  <a:lnTo>
                    <a:pt x="42" y="246"/>
                  </a:lnTo>
                  <a:lnTo>
                    <a:pt x="40" y="240"/>
                  </a:lnTo>
                  <a:lnTo>
                    <a:pt x="40" y="234"/>
                  </a:lnTo>
                  <a:lnTo>
                    <a:pt x="38" y="228"/>
                  </a:lnTo>
                  <a:lnTo>
                    <a:pt x="38" y="222"/>
                  </a:lnTo>
                  <a:lnTo>
                    <a:pt x="36" y="216"/>
                  </a:lnTo>
                  <a:lnTo>
                    <a:pt x="38" y="214"/>
                  </a:lnTo>
                  <a:lnTo>
                    <a:pt x="30" y="212"/>
                  </a:lnTo>
                  <a:lnTo>
                    <a:pt x="26" y="212"/>
                  </a:lnTo>
                  <a:lnTo>
                    <a:pt x="26" y="206"/>
                  </a:lnTo>
                  <a:lnTo>
                    <a:pt x="24" y="200"/>
                  </a:lnTo>
                  <a:lnTo>
                    <a:pt x="18" y="204"/>
                  </a:lnTo>
                  <a:lnTo>
                    <a:pt x="12" y="208"/>
                  </a:lnTo>
                  <a:lnTo>
                    <a:pt x="6" y="208"/>
                  </a:lnTo>
                  <a:lnTo>
                    <a:pt x="0" y="2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8" name="Freeform 266"/>
            <p:cNvSpPr>
              <a:spLocks/>
            </p:cNvSpPr>
            <p:nvPr/>
          </p:nvSpPr>
          <p:spPr bwMode="auto">
            <a:xfrm>
              <a:off x="2166938" y="3586163"/>
              <a:ext cx="257175" cy="95250"/>
            </a:xfrm>
            <a:custGeom>
              <a:avLst/>
              <a:gdLst>
                <a:gd name="T0" fmla="*/ 2147483647 w 630"/>
                <a:gd name="T1" fmla="*/ 2147483647 h 232"/>
                <a:gd name="T2" fmla="*/ 2147483647 w 630"/>
                <a:gd name="T3" fmla="*/ 2147483647 h 232"/>
                <a:gd name="T4" fmla="*/ 2147483647 w 630"/>
                <a:gd name="T5" fmla="*/ 2147483647 h 232"/>
                <a:gd name="T6" fmla="*/ 2147483647 w 630"/>
                <a:gd name="T7" fmla="*/ 2147483647 h 232"/>
                <a:gd name="T8" fmla="*/ 2147483647 w 630"/>
                <a:gd name="T9" fmla="*/ 2147483647 h 232"/>
                <a:gd name="T10" fmla="*/ 2147483647 w 630"/>
                <a:gd name="T11" fmla="*/ 0 h 232"/>
                <a:gd name="T12" fmla="*/ 2147483647 w 630"/>
                <a:gd name="T13" fmla="*/ 2147483647 h 232"/>
                <a:gd name="T14" fmla="*/ 2147483647 w 630"/>
                <a:gd name="T15" fmla="*/ 2147483647 h 232"/>
                <a:gd name="T16" fmla="*/ 2147483647 w 630"/>
                <a:gd name="T17" fmla="*/ 2147483647 h 232"/>
                <a:gd name="T18" fmla="*/ 2147483647 w 630"/>
                <a:gd name="T19" fmla="*/ 2147483647 h 232"/>
                <a:gd name="T20" fmla="*/ 2147483647 w 630"/>
                <a:gd name="T21" fmla="*/ 2147483647 h 232"/>
                <a:gd name="T22" fmla="*/ 2147483647 w 630"/>
                <a:gd name="T23" fmla="*/ 2147483647 h 232"/>
                <a:gd name="T24" fmla="*/ 2147483647 w 630"/>
                <a:gd name="T25" fmla="*/ 2147483647 h 232"/>
                <a:gd name="T26" fmla="*/ 2147483647 w 630"/>
                <a:gd name="T27" fmla="*/ 2147483647 h 232"/>
                <a:gd name="T28" fmla="*/ 2147483647 w 630"/>
                <a:gd name="T29" fmla="*/ 2147483647 h 232"/>
                <a:gd name="T30" fmla="*/ 2147483647 w 630"/>
                <a:gd name="T31" fmla="*/ 2147483647 h 232"/>
                <a:gd name="T32" fmla="*/ 2147483647 w 630"/>
                <a:gd name="T33" fmla="*/ 2147483647 h 232"/>
                <a:gd name="T34" fmla="*/ 2147483647 w 630"/>
                <a:gd name="T35" fmla="*/ 2147483647 h 232"/>
                <a:gd name="T36" fmla="*/ 2147483647 w 630"/>
                <a:gd name="T37" fmla="*/ 2147483647 h 232"/>
                <a:gd name="T38" fmla="*/ 2147483647 w 630"/>
                <a:gd name="T39" fmla="*/ 2147483647 h 232"/>
                <a:gd name="T40" fmla="*/ 2147483647 w 630"/>
                <a:gd name="T41" fmla="*/ 2147483647 h 232"/>
                <a:gd name="T42" fmla="*/ 2147483647 w 630"/>
                <a:gd name="T43" fmla="*/ 2147483647 h 232"/>
                <a:gd name="T44" fmla="*/ 2147483647 w 630"/>
                <a:gd name="T45" fmla="*/ 2147483647 h 232"/>
                <a:gd name="T46" fmla="*/ 2147483647 w 630"/>
                <a:gd name="T47" fmla="*/ 2147483647 h 232"/>
                <a:gd name="T48" fmla="*/ 2147483647 w 630"/>
                <a:gd name="T49" fmla="*/ 2147483647 h 232"/>
                <a:gd name="T50" fmla="*/ 2147483647 w 630"/>
                <a:gd name="T51" fmla="*/ 2147483647 h 232"/>
                <a:gd name="T52" fmla="*/ 2147483647 w 630"/>
                <a:gd name="T53" fmla="*/ 2147483647 h 232"/>
                <a:gd name="T54" fmla="*/ 2147483647 w 630"/>
                <a:gd name="T55" fmla="*/ 2147483647 h 232"/>
                <a:gd name="T56" fmla="*/ 2147483647 w 630"/>
                <a:gd name="T57" fmla="*/ 2147483647 h 232"/>
                <a:gd name="T58" fmla="*/ 2147483647 w 630"/>
                <a:gd name="T59" fmla="*/ 2147483647 h 232"/>
                <a:gd name="T60" fmla="*/ 2147483647 w 630"/>
                <a:gd name="T61" fmla="*/ 2147483647 h 232"/>
                <a:gd name="T62" fmla="*/ 2147483647 w 630"/>
                <a:gd name="T63" fmla="*/ 2147483647 h 232"/>
                <a:gd name="T64" fmla="*/ 2147483647 w 630"/>
                <a:gd name="T65" fmla="*/ 2147483647 h 232"/>
                <a:gd name="T66" fmla="*/ 2147483647 w 630"/>
                <a:gd name="T67" fmla="*/ 2147483647 h 232"/>
                <a:gd name="T68" fmla="*/ 2147483647 w 630"/>
                <a:gd name="T69" fmla="*/ 2147483647 h 232"/>
                <a:gd name="T70" fmla="*/ 2147483647 w 630"/>
                <a:gd name="T71" fmla="*/ 2147483647 h 232"/>
                <a:gd name="T72" fmla="*/ 2147483647 w 630"/>
                <a:gd name="T73" fmla="*/ 2147483647 h 232"/>
                <a:gd name="T74" fmla="*/ 2147483647 w 630"/>
                <a:gd name="T75" fmla="*/ 2147483647 h 232"/>
                <a:gd name="T76" fmla="*/ 2147483647 w 630"/>
                <a:gd name="T77" fmla="*/ 2147483647 h 232"/>
                <a:gd name="T78" fmla="*/ 2147483647 w 630"/>
                <a:gd name="T79" fmla="*/ 2147483647 h 232"/>
                <a:gd name="T80" fmla="*/ 2147483647 w 630"/>
                <a:gd name="T81" fmla="*/ 2147483647 h 232"/>
                <a:gd name="T82" fmla="*/ 2147483647 w 630"/>
                <a:gd name="T83" fmla="*/ 2147483647 h 232"/>
                <a:gd name="T84" fmla="*/ 2147483647 w 630"/>
                <a:gd name="T85" fmla="*/ 2147483647 h 232"/>
                <a:gd name="T86" fmla="*/ 2147483647 w 630"/>
                <a:gd name="T87" fmla="*/ 2147483647 h 232"/>
                <a:gd name="T88" fmla="*/ 2147483647 w 630"/>
                <a:gd name="T89" fmla="*/ 2147483647 h 232"/>
                <a:gd name="T90" fmla="*/ 2147483647 w 630"/>
                <a:gd name="T91" fmla="*/ 2147483647 h 232"/>
                <a:gd name="T92" fmla="*/ 2147483647 w 630"/>
                <a:gd name="T93" fmla="*/ 2147483647 h 232"/>
                <a:gd name="T94" fmla="*/ 2147483647 w 630"/>
                <a:gd name="T95" fmla="*/ 2147483647 h 232"/>
                <a:gd name="T96" fmla="*/ 2147483647 w 630"/>
                <a:gd name="T97" fmla="*/ 2147483647 h 232"/>
                <a:gd name="T98" fmla="*/ 2147483647 w 630"/>
                <a:gd name="T99" fmla="*/ 2147483647 h 232"/>
                <a:gd name="T100" fmla="*/ 2147483647 w 630"/>
                <a:gd name="T101" fmla="*/ 2147483647 h 232"/>
                <a:gd name="T102" fmla="*/ 2147483647 w 630"/>
                <a:gd name="T103" fmla="*/ 2147483647 h 232"/>
                <a:gd name="T104" fmla="*/ 2147483647 w 630"/>
                <a:gd name="T105" fmla="*/ 2147483647 h 232"/>
                <a:gd name="T106" fmla="*/ 2147483647 w 630"/>
                <a:gd name="T107" fmla="*/ 2147483647 h 232"/>
                <a:gd name="T108" fmla="*/ 0 w 630"/>
                <a:gd name="T109" fmla="*/ 2147483647 h 23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0"/>
                <a:gd name="T166" fmla="*/ 0 h 232"/>
                <a:gd name="T167" fmla="*/ 630 w 630"/>
                <a:gd name="T168" fmla="*/ 232 h 23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0" h="232">
                  <a:moveTo>
                    <a:pt x="2" y="92"/>
                  </a:moveTo>
                  <a:lnTo>
                    <a:pt x="8" y="88"/>
                  </a:lnTo>
                  <a:lnTo>
                    <a:pt x="14" y="86"/>
                  </a:lnTo>
                  <a:lnTo>
                    <a:pt x="20" y="84"/>
                  </a:lnTo>
                  <a:lnTo>
                    <a:pt x="26" y="80"/>
                  </a:lnTo>
                  <a:lnTo>
                    <a:pt x="32" y="80"/>
                  </a:lnTo>
                  <a:lnTo>
                    <a:pt x="38" y="84"/>
                  </a:lnTo>
                  <a:lnTo>
                    <a:pt x="38" y="78"/>
                  </a:lnTo>
                  <a:lnTo>
                    <a:pt x="34" y="72"/>
                  </a:lnTo>
                  <a:lnTo>
                    <a:pt x="36" y="64"/>
                  </a:lnTo>
                  <a:lnTo>
                    <a:pt x="38" y="58"/>
                  </a:lnTo>
                  <a:lnTo>
                    <a:pt x="42" y="54"/>
                  </a:lnTo>
                  <a:lnTo>
                    <a:pt x="48" y="48"/>
                  </a:lnTo>
                  <a:lnTo>
                    <a:pt x="52" y="42"/>
                  </a:lnTo>
                  <a:lnTo>
                    <a:pt x="58" y="40"/>
                  </a:lnTo>
                  <a:lnTo>
                    <a:pt x="62" y="34"/>
                  </a:lnTo>
                  <a:lnTo>
                    <a:pt x="66" y="34"/>
                  </a:lnTo>
                  <a:lnTo>
                    <a:pt x="72" y="30"/>
                  </a:lnTo>
                  <a:lnTo>
                    <a:pt x="80" y="30"/>
                  </a:lnTo>
                  <a:lnTo>
                    <a:pt x="84" y="28"/>
                  </a:lnTo>
                  <a:lnTo>
                    <a:pt x="90" y="26"/>
                  </a:lnTo>
                  <a:lnTo>
                    <a:pt x="96" y="22"/>
                  </a:lnTo>
                  <a:lnTo>
                    <a:pt x="100" y="22"/>
                  </a:lnTo>
                  <a:lnTo>
                    <a:pt x="108" y="18"/>
                  </a:lnTo>
                  <a:lnTo>
                    <a:pt x="114" y="14"/>
                  </a:lnTo>
                  <a:lnTo>
                    <a:pt x="118" y="14"/>
                  </a:lnTo>
                  <a:lnTo>
                    <a:pt x="124" y="12"/>
                  </a:lnTo>
                  <a:lnTo>
                    <a:pt x="130" y="16"/>
                  </a:lnTo>
                  <a:lnTo>
                    <a:pt x="136" y="12"/>
                  </a:lnTo>
                  <a:lnTo>
                    <a:pt x="142" y="12"/>
                  </a:lnTo>
                  <a:lnTo>
                    <a:pt x="148" y="10"/>
                  </a:lnTo>
                  <a:lnTo>
                    <a:pt x="154" y="10"/>
                  </a:lnTo>
                  <a:lnTo>
                    <a:pt x="156" y="8"/>
                  </a:lnTo>
                  <a:lnTo>
                    <a:pt x="162" y="6"/>
                  </a:lnTo>
                  <a:lnTo>
                    <a:pt x="168" y="2"/>
                  </a:lnTo>
                  <a:lnTo>
                    <a:pt x="174" y="0"/>
                  </a:lnTo>
                  <a:lnTo>
                    <a:pt x="180" y="2"/>
                  </a:lnTo>
                  <a:lnTo>
                    <a:pt x="184" y="0"/>
                  </a:lnTo>
                  <a:lnTo>
                    <a:pt x="190" y="2"/>
                  </a:lnTo>
                  <a:lnTo>
                    <a:pt x="196" y="4"/>
                  </a:lnTo>
                  <a:lnTo>
                    <a:pt x="202" y="4"/>
                  </a:lnTo>
                  <a:lnTo>
                    <a:pt x="206" y="4"/>
                  </a:lnTo>
                  <a:lnTo>
                    <a:pt x="208" y="4"/>
                  </a:lnTo>
                  <a:lnTo>
                    <a:pt x="214" y="4"/>
                  </a:lnTo>
                  <a:lnTo>
                    <a:pt x="216" y="8"/>
                  </a:lnTo>
                  <a:lnTo>
                    <a:pt x="222" y="6"/>
                  </a:lnTo>
                  <a:lnTo>
                    <a:pt x="228" y="6"/>
                  </a:lnTo>
                  <a:lnTo>
                    <a:pt x="232" y="4"/>
                  </a:lnTo>
                  <a:lnTo>
                    <a:pt x="238" y="0"/>
                  </a:lnTo>
                  <a:lnTo>
                    <a:pt x="232" y="4"/>
                  </a:lnTo>
                  <a:lnTo>
                    <a:pt x="236" y="10"/>
                  </a:lnTo>
                  <a:lnTo>
                    <a:pt x="242" y="10"/>
                  </a:lnTo>
                  <a:lnTo>
                    <a:pt x="248" y="8"/>
                  </a:lnTo>
                  <a:lnTo>
                    <a:pt x="254" y="10"/>
                  </a:lnTo>
                  <a:lnTo>
                    <a:pt x="260" y="8"/>
                  </a:lnTo>
                  <a:lnTo>
                    <a:pt x="266" y="8"/>
                  </a:lnTo>
                  <a:lnTo>
                    <a:pt x="270" y="6"/>
                  </a:lnTo>
                  <a:lnTo>
                    <a:pt x="272" y="8"/>
                  </a:lnTo>
                  <a:lnTo>
                    <a:pt x="278" y="14"/>
                  </a:lnTo>
                  <a:lnTo>
                    <a:pt x="284" y="18"/>
                  </a:lnTo>
                  <a:lnTo>
                    <a:pt x="290" y="20"/>
                  </a:lnTo>
                  <a:lnTo>
                    <a:pt x="296" y="18"/>
                  </a:lnTo>
                  <a:lnTo>
                    <a:pt x="302" y="18"/>
                  </a:lnTo>
                  <a:lnTo>
                    <a:pt x="306" y="20"/>
                  </a:lnTo>
                  <a:lnTo>
                    <a:pt x="312" y="24"/>
                  </a:lnTo>
                  <a:lnTo>
                    <a:pt x="318" y="20"/>
                  </a:lnTo>
                  <a:lnTo>
                    <a:pt x="312" y="28"/>
                  </a:lnTo>
                  <a:lnTo>
                    <a:pt x="320" y="28"/>
                  </a:lnTo>
                  <a:lnTo>
                    <a:pt x="326" y="30"/>
                  </a:lnTo>
                  <a:lnTo>
                    <a:pt x="326" y="36"/>
                  </a:lnTo>
                  <a:lnTo>
                    <a:pt x="330" y="42"/>
                  </a:lnTo>
                  <a:lnTo>
                    <a:pt x="334" y="48"/>
                  </a:lnTo>
                  <a:lnTo>
                    <a:pt x="338" y="52"/>
                  </a:lnTo>
                  <a:lnTo>
                    <a:pt x="344" y="56"/>
                  </a:lnTo>
                  <a:lnTo>
                    <a:pt x="350" y="58"/>
                  </a:lnTo>
                  <a:lnTo>
                    <a:pt x="354" y="56"/>
                  </a:lnTo>
                  <a:lnTo>
                    <a:pt x="360" y="54"/>
                  </a:lnTo>
                  <a:lnTo>
                    <a:pt x="364" y="56"/>
                  </a:lnTo>
                  <a:lnTo>
                    <a:pt x="370" y="56"/>
                  </a:lnTo>
                  <a:lnTo>
                    <a:pt x="376" y="60"/>
                  </a:lnTo>
                  <a:lnTo>
                    <a:pt x="382" y="60"/>
                  </a:lnTo>
                  <a:lnTo>
                    <a:pt x="388" y="64"/>
                  </a:lnTo>
                  <a:lnTo>
                    <a:pt x="394" y="66"/>
                  </a:lnTo>
                  <a:lnTo>
                    <a:pt x="398" y="72"/>
                  </a:lnTo>
                  <a:lnTo>
                    <a:pt x="406" y="74"/>
                  </a:lnTo>
                  <a:lnTo>
                    <a:pt x="410" y="76"/>
                  </a:lnTo>
                  <a:lnTo>
                    <a:pt x="412" y="78"/>
                  </a:lnTo>
                  <a:lnTo>
                    <a:pt x="416" y="84"/>
                  </a:lnTo>
                  <a:lnTo>
                    <a:pt x="420" y="88"/>
                  </a:lnTo>
                  <a:lnTo>
                    <a:pt x="426" y="86"/>
                  </a:lnTo>
                  <a:lnTo>
                    <a:pt x="426" y="92"/>
                  </a:lnTo>
                  <a:lnTo>
                    <a:pt x="432" y="98"/>
                  </a:lnTo>
                  <a:lnTo>
                    <a:pt x="438" y="98"/>
                  </a:lnTo>
                  <a:lnTo>
                    <a:pt x="444" y="98"/>
                  </a:lnTo>
                  <a:lnTo>
                    <a:pt x="446" y="104"/>
                  </a:lnTo>
                  <a:lnTo>
                    <a:pt x="452" y="108"/>
                  </a:lnTo>
                  <a:lnTo>
                    <a:pt x="450" y="102"/>
                  </a:lnTo>
                  <a:lnTo>
                    <a:pt x="446" y="96"/>
                  </a:lnTo>
                  <a:lnTo>
                    <a:pt x="440" y="94"/>
                  </a:lnTo>
                  <a:lnTo>
                    <a:pt x="446" y="96"/>
                  </a:lnTo>
                  <a:lnTo>
                    <a:pt x="452" y="98"/>
                  </a:lnTo>
                  <a:lnTo>
                    <a:pt x="458" y="104"/>
                  </a:lnTo>
                  <a:lnTo>
                    <a:pt x="464" y="106"/>
                  </a:lnTo>
                  <a:lnTo>
                    <a:pt x="464" y="112"/>
                  </a:lnTo>
                  <a:lnTo>
                    <a:pt x="458" y="110"/>
                  </a:lnTo>
                  <a:lnTo>
                    <a:pt x="452" y="110"/>
                  </a:lnTo>
                  <a:lnTo>
                    <a:pt x="456" y="116"/>
                  </a:lnTo>
                  <a:lnTo>
                    <a:pt x="454" y="118"/>
                  </a:lnTo>
                  <a:lnTo>
                    <a:pt x="458" y="120"/>
                  </a:lnTo>
                  <a:lnTo>
                    <a:pt x="464" y="114"/>
                  </a:lnTo>
                  <a:lnTo>
                    <a:pt x="470" y="114"/>
                  </a:lnTo>
                  <a:lnTo>
                    <a:pt x="474" y="118"/>
                  </a:lnTo>
                  <a:lnTo>
                    <a:pt x="474" y="122"/>
                  </a:lnTo>
                  <a:lnTo>
                    <a:pt x="480" y="122"/>
                  </a:lnTo>
                  <a:lnTo>
                    <a:pt x="476" y="128"/>
                  </a:lnTo>
                  <a:lnTo>
                    <a:pt x="482" y="126"/>
                  </a:lnTo>
                  <a:lnTo>
                    <a:pt x="488" y="126"/>
                  </a:lnTo>
                  <a:lnTo>
                    <a:pt x="486" y="134"/>
                  </a:lnTo>
                  <a:lnTo>
                    <a:pt x="490" y="134"/>
                  </a:lnTo>
                  <a:lnTo>
                    <a:pt x="496" y="140"/>
                  </a:lnTo>
                  <a:lnTo>
                    <a:pt x="498" y="134"/>
                  </a:lnTo>
                  <a:lnTo>
                    <a:pt x="504" y="134"/>
                  </a:lnTo>
                  <a:lnTo>
                    <a:pt x="510" y="134"/>
                  </a:lnTo>
                  <a:lnTo>
                    <a:pt x="516" y="138"/>
                  </a:lnTo>
                  <a:lnTo>
                    <a:pt x="520" y="144"/>
                  </a:lnTo>
                  <a:lnTo>
                    <a:pt x="526" y="146"/>
                  </a:lnTo>
                  <a:lnTo>
                    <a:pt x="532" y="144"/>
                  </a:lnTo>
                  <a:lnTo>
                    <a:pt x="534" y="144"/>
                  </a:lnTo>
                  <a:lnTo>
                    <a:pt x="540" y="144"/>
                  </a:lnTo>
                  <a:lnTo>
                    <a:pt x="546" y="144"/>
                  </a:lnTo>
                  <a:lnTo>
                    <a:pt x="550" y="150"/>
                  </a:lnTo>
                  <a:lnTo>
                    <a:pt x="548" y="156"/>
                  </a:lnTo>
                  <a:lnTo>
                    <a:pt x="542" y="158"/>
                  </a:lnTo>
                  <a:lnTo>
                    <a:pt x="550" y="162"/>
                  </a:lnTo>
                  <a:lnTo>
                    <a:pt x="542" y="164"/>
                  </a:lnTo>
                  <a:lnTo>
                    <a:pt x="538" y="170"/>
                  </a:lnTo>
                  <a:lnTo>
                    <a:pt x="544" y="172"/>
                  </a:lnTo>
                  <a:lnTo>
                    <a:pt x="550" y="172"/>
                  </a:lnTo>
                  <a:lnTo>
                    <a:pt x="554" y="172"/>
                  </a:lnTo>
                  <a:lnTo>
                    <a:pt x="560" y="170"/>
                  </a:lnTo>
                  <a:lnTo>
                    <a:pt x="566" y="176"/>
                  </a:lnTo>
                  <a:lnTo>
                    <a:pt x="572" y="172"/>
                  </a:lnTo>
                  <a:lnTo>
                    <a:pt x="576" y="174"/>
                  </a:lnTo>
                  <a:lnTo>
                    <a:pt x="582" y="174"/>
                  </a:lnTo>
                  <a:lnTo>
                    <a:pt x="588" y="176"/>
                  </a:lnTo>
                  <a:lnTo>
                    <a:pt x="594" y="178"/>
                  </a:lnTo>
                  <a:lnTo>
                    <a:pt x="600" y="184"/>
                  </a:lnTo>
                  <a:lnTo>
                    <a:pt x="604" y="188"/>
                  </a:lnTo>
                  <a:lnTo>
                    <a:pt x="608" y="194"/>
                  </a:lnTo>
                  <a:lnTo>
                    <a:pt x="610" y="194"/>
                  </a:lnTo>
                  <a:lnTo>
                    <a:pt x="614" y="200"/>
                  </a:lnTo>
                  <a:lnTo>
                    <a:pt x="620" y="202"/>
                  </a:lnTo>
                  <a:lnTo>
                    <a:pt x="626" y="200"/>
                  </a:lnTo>
                  <a:lnTo>
                    <a:pt x="630" y="206"/>
                  </a:lnTo>
                  <a:lnTo>
                    <a:pt x="626" y="212"/>
                  </a:lnTo>
                  <a:lnTo>
                    <a:pt x="622" y="218"/>
                  </a:lnTo>
                  <a:lnTo>
                    <a:pt x="616" y="216"/>
                  </a:lnTo>
                  <a:lnTo>
                    <a:pt x="610" y="216"/>
                  </a:lnTo>
                  <a:lnTo>
                    <a:pt x="604" y="218"/>
                  </a:lnTo>
                  <a:lnTo>
                    <a:pt x="598" y="218"/>
                  </a:lnTo>
                  <a:lnTo>
                    <a:pt x="592" y="218"/>
                  </a:lnTo>
                  <a:lnTo>
                    <a:pt x="586" y="220"/>
                  </a:lnTo>
                  <a:lnTo>
                    <a:pt x="586" y="222"/>
                  </a:lnTo>
                  <a:lnTo>
                    <a:pt x="580" y="224"/>
                  </a:lnTo>
                  <a:lnTo>
                    <a:pt x="574" y="228"/>
                  </a:lnTo>
                  <a:lnTo>
                    <a:pt x="570" y="228"/>
                  </a:lnTo>
                  <a:lnTo>
                    <a:pt x="568" y="224"/>
                  </a:lnTo>
                  <a:lnTo>
                    <a:pt x="572" y="222"/>
                  </a:lnTo>
                  <a:lnTo>
                    <a:pt x="570" y="222"/>
                  </a:lnTo>
                  <a:lnTo>
                    <a:pt x="566" y="222"/>
                  </a:lnTo>
                  <a:lnTo>
                    <a:pt x="568" y="224"/>
                  </a:lnTo>
                  <a:lnTo>
                    <a:pt x="562" y="228"/>
                  </a:lnTo>
                  <a:lnTo>
                    <a:pt x="558" y="230"/>
                  </a:lnTo>
                  <a:lnTo>
                    <a:pt x="554" y="230"/>
                  </a:lnTo>
                  <a:lnTo>
                    <a:pt x="548" y="230"/>
                  </a:lnTo>
                  <a:lnTo>
                    <a:pt x="542" y="228"/>
                  </a:lnTo>
                  <a:lnTo>
                    <a:pt x="536" y="226"/>
                  </a:lnTo>
                  <a:lnTo>
                    <a:pt x="530" y="224"/>
                  </a:lnTo>
                  <a:lnTo>
                    <a:pt x="524" y="224"/>
                  </a:lnTo>
                  <a:lnTo>
                    <a:pt x="518" y="224"/>
                  </a:lnTo>
                  <a:lnTo>
                    <a:pt x="512" y="224"/>
                  </a:lnTo>
                  <a:lnTo>
                    <a:pt x="506" y="222"/>
                  </a:lnTo>
                  <a:lnTo>
                    <a:pt x="500" y="222"/>
                  </a:lnTo>
                  <a:lnTo>
                    <a:pt x="494" y="224"/>
                  </a:lnTo>
                  <a:lnTo>
                    <a:pt x="488" y="224"/>
                  </a:lnTo>
                  <a:lnTo>
                    <a:pt x="482" y="226"/>
                  </a:lnTo>
                  <a:lnTo>
                    <a:pt x="476" y="224"/>
                  </a:lnTo>
                  <a:lnTo>
                    <a:pt x="470" y="226"/>
                  </a:lnTo>
                  <a:lnTo>
                    <a:pt x="464" y="226"/>
                  </a:lnTo>
                  <a:lnTo>
                    <a:pt x="458" y="228"/>
                  </a:lnTo>
                  <a:lnTo>
                    <a:pt x="454" y="228"/>
                  </a:lnTo>
                  <a:lnTo>
                    <a:pt x="448" y="228"/>
                  </a:lnTo>
                  <a:lnTo>
                    <a:pt x="442" y="228"/>
                  </a:lnTo>
                  <a:lnTo>
                    <a:pt x="436" y="228"/>
                  </a:lnTo>
                  <a:lnTo>
                    <a:pt x="430" y="232"/>
                  </a:lnTo>
                  <a:lnTo>
                    <a:pt x="424" y="232"/>
                  </a:lnTo>
                  <a:lnTo>
                    <a:pt x="418" y="232"/>
                  </a:lnTo>
                  <a:lnTo>
                    <a:pt x="412" y="232"/>
                  </a:lnTo>
                  <a:lnTo>
                    <a:pt x="414" y="228"/>
                  </a:lnTo>
                  <a:lnTo>
                    <a:pt x="420" y="222"/>
                  </a:lnTo>
                  <a:lnTo>
                    <a:pt x="422" y="216"/>
                  </a:lnTo>
                  <a:lnTo>
                    <a:pt x="428" y="212"/>
                  </a:lnTo>
                  <a:lnTo>
                    <a:pt x="436" y="208"/>
                  </a:lnTo>
                  <a:lnTo>
                    <a:pt x="440" y="206"/>
                  </a:lnTo>
                  <a:lnTo>
                    <a:pt x="446" y="200"/>
                  </a:lnTo>
                  <a:lnTo>
                    <a:pt x="452" y="196"/>
                  </a:lnTo>
                  <a:lnTo>
                    <a:pt x="454" y="196"/>
                  </a:lnTo>
                  <a:lnTo>
                    <a:pt x="456" y="190"/>
                  </a:lnTo>
                  <a:lnTo>
                    <a:pt x="456" y="188"/>
                  </a:lnTo>
                  <a:lnTo>
                    <a:pt x="450" y="184"/>
                  </a:lnTo>
                  <a:lnTo>
                    <a:pt x="448" y="184"/>
                  </a:lnTo>
                  <a:lnTo>
                    <a:pt x="452" y="178"/>
                  </a:lnTo>
                  <a:lnTo>
                    <a:pt x="446" y="172"/>
                  </a:lnTo>
                  <a:lnTo>
                    <a:pt x="444" y="172"/>
                  </a:lnTo>
                  <a:lnTo>
                    <a:pt x="438" y="174"/>
                  </a:lnTo>
                  <a:lnTo>
                    <a:pt x="432" y="174"/>
                  </a:lnTo>
                  <a:lnTo>
                    <a:pt x="426" y="174"/>
                  </a:lnTo>
                  <a:lnTo>
                    <a:pt x="420" y="174"/>
                  </a:lnTo>
                  <a:lnTo>
                    <a:pt x="414" y="172"/>
                  </a:lnTo>
                  <a:lnTo>
                    <a:pt x="408" y="174"/>
                  </a:lnTo>
                  <a:lnTo>
                    <a:pt x="402" y="172"/>
                  </a:lnTo>
                  <a:lnTo>
                    <a:pt x="396" y="168"/>
                  </a:lnTo>
                  <a:lnTo>
                    <a:pt x="392" y="164"/>
                  </a:lnTo>
                  <a:lnTo>
                    <a:pt x="386" y="158"/>
                  </a:lnTo>
                  <a:lnTo>
                    <a:pt x="380" y="152"/>
                  </a:lnTo>
                  <a:lnTo>
                    <a:pt x="378" y="146"/>
                  </a:lnTo>
                  <a:lnTo>
                    <a:pt x="378" y="140"/>
                  </a:lnTo>
                  <a:lnTo>
                    <a:pt x="380" y="134"/>
                  </a:lnTo>
                  <a:lnTo>
                    <a:pt x="376" y="128"/>
                  </a:lnTo>
                  <a:lnTo>
                    <a:pt x="376" y="122"/>
                  </a:lnTo>
                  <a:lnTo>
                    <a:pt x="374" y="116"/>
                  </a:lnTo>
                  <a:lnTo>
                    <a:pt x="372" y="116"/>
                  </a:lnTo>
                  <a:lnTo>
                    <a:pt x="368" y="112"/>
                  </a:lnTo>
                  <a:lnTo>
                    <a:pt x="370" y="110"/>
                  </a:lnTo>
                  <a:lnTo>
                    <a:pt x="364" y="110"/>
                  </a:lnTo>
                  <a:lnTo>
                    <a:pt x="362" y="110"/>
                  </a:lnTo>
                  <a:lnTo>
                    <a:pt x="356" y="110"/>
                  </a:lnTo>
                  <a:lnTo>
                    <a:pt x="354" y="110"/>
                  </a:lnTo>
                  <a:lnTo>
                    <a:pt x="348" y="112"/>
                  </a:lnTo>
                  <a:lnTo>
                    <a:pt x="342" y="114"/>
                  </a:lnTo>
                  <a:lnTo>
                    <a:pt x="338" y="114"/>
                  </a:lnTo>
                  <a:lnTo>
                    <a:pt x="332" y="112"/>
                  </a:lnTo>
                  <a:lnTo>
                    <a:pt x="326" y="112"/>
                  </a:lnTo>
                  <a:lnTo>
                    <a:pt x="320" y="108"/>
                  </a:lnTo>
                  <a:lnTo>
                    <a:pt x="318" y="108"/>
                  </a:lnTo>
                  <a:lnTo>
                    <a:pt x="312" y="104"/>
                  </a:lnTo>
                  <a:lnTo>
                    <a:pt x="306" y="104"/>
                  </a:lnTo>
                  <a:lnTo>
                    <a:pt x="300" y="104"/>
                  </a:lnTo>
                  <a:lnTo>
                    <a:pt x="296" y="100"/>
                  </a:lnTo>
                  <a:lnTo>
                    <a:pt x="294" y="100"/>
                  </a:lnTo>
                  <a:lnTo>
                    <a:pt x="294" y="102"/>
                  </a:lnTo>
                  <a:lnTo>
                    <a:pt x="292" y="96"/>
                  </a:lnTo>
                  <a:lnTo>
                    <a:pt x="288" y="96"/>
                  </a:lnTo>
                  <a:lnTo>
                    <a:pt x="282" y="94"/>
                  </a:lnTo>
                  <a:lnTo>
                    <a:pt x="278" y="88"/>
                  </a:lnTo>
                  <a:lnTo>
                    <a:pt x="272" y="82"/>
                  </a:lnTo>
                  <a:lnTo>
                    <a:pt x="272" y="80"/>
                  </a:lnTo>
                  <a:lnTo>
                    <a:pt x="272" y="76"/>
                  </a:lnTo>
                  <a:lnTo>
                    <a:pt x="270" y="74"/>
                  </a:lnTo>
                  <a:lnTo>
                    <a:pt x="270" y="78"/>
                  </a:lnTo>
                  <a:lnTo>
                    <a:pt x="264" y="78"/>
                  </a:lnTo>
                  <a:lnTo>
                    <a:pt x="262" y="80"/>
                  </a:lnTo>
                  <a:lnTo>
                    <a:pt x="256" y="80"/>
                  </a:lnTo>
                  <a:lnTo>
                    <a:pt x="250" y="80"/>
                  </a:lnTo>
                  <a:lnTo>
                    <a:pt x="244" y="80"/>
                  </a:lnTo>
                  <a:lnTo>
                    <a:pt x="238" y="80"/>
                  </a:lnTo>
                  <a:lnTo>
                    <a:pt x="232" y="76"/>
                  </a:lnTo>
                  <a:lnTo>
                    <a:pt x="230" y="72"/>
                  </a:lnTo>
                  <a:lnTo>
                    <a:pt x="230" y="66"/>
                  </a:lnTo>
                  <a:lnTo>
                    <a:pt x="226" y="72"/>
                  </a:lnTo>
                  <a:lnTo>
                    <a:pt x="226" y="78"/>
                  </a:lnTo>
                  <a:lnTo>
                    <a:pt x="220" y="76"/>
                  </a:lnTo>
                  <a:lnTo>
                    <a:pt x="214" y="70"/>
                  </a:lnTo>
                  <a:lnTo>
                    <a:pt x="208" y="70"/>
                  </a:lnTo>
                  <a:lnTo>
                    <a:pt x="202" y="70"/>
                  </a:lnTo>
                  <a:lnTo>
                    <a:pt x="196" y="70"/>
                  </a:lnTo>
                  <a:lnTo>
                    <a:pt x="190" y="70"/>
                  </a:lnTo>
                  <a:lnTo>
                    <a:pt x="184" y="64"/>
                  </a:lnTo>
                  <a:lnTo>
                    <a:pt x="178" y="62"/>
                  </a:lnTo>
                  <a:lnTo>
                    <a:pt x="172" y="58"/>
                  </a:lnTo>
                  <a:lnTo>
                    <a:pt x="178" y="54"/>
                  </a:lnTo>
                  <a:lnTo>
                    <a:pt x="184" y="54"/>
                  </a:lnTo>
                  <a:lnTo>
                    <a:pt x="190" y="54"/>
                  </a:lnTo>
                  <a:lnTo>
                    <a:pt x="196" y="52"/>
                  </a:lnTo>
                  <a:lnTo>
                    <a:pt x="202" y="50"/>
                  </a:lnTo>
                  <a:lnTo>
                    <a:pt x="204" y="46"/>
                  </a:lnTo>
                  <a:lnTo>
                    <a:pt x="204" y="42"/>
                  </a:lnTo>
                  <a:lnTo>
                    <a:pt x="198" y="38"/>
                  </a:lnTo>
                  <a:lnTo>
                    <a:pt x="192" y="36"/>
                  </a:lnTo>
                  <a:lnTo>
                    <a:pt x="186" y="36"/>
                  </a:lnTo>
                  <a:lnTo>
                    <a:pt x="180" y="38"/>
                  </a:lnTo>
                  <a:lnTo>
                    <a:pt x="178" y="38"/>
                  </a:lnTo>
                  <a:lnTo>
                    <a:pt x="172" y="36"/>
                  </a:lnTo>
                  <a:lnTo>
                    <a:pt x="166" y="36"/>
                  </a:lnTo>
                  <a:lnTo>
                    <a:pt x="160" y="36"/>
                  </a:lnTo>
                  <a:lnTo>
                    <a:pt x="154" y="36"/>
                  </a:lnTo>
                  <a:lnTo>
                    <a:pt x="148" y="36"/>
                  </a:lnTo>
                  <a:lnTo>
                    <a:pt x="142" y="36"/>
                  </a:lnTo>
                  <a:lnTo>
                    <a:pt x="136" y="36"/>
                  </a:lnTo>
                  <a:lnTo>
                    <a:pt x="134" y="42"/>
                  </a:lnTo>
                  <a:lnTo>
                    <a:pt x="128" y="46"/>
                  </a:lnTo>
                  <a:lnTo>
                    <a:pt x="124" y="46"/>
                  </a:lnTo>
                  <a:lnTo>
                    <a:pt x="118" y="50"/>
                  </a:lnTo>
                  <a:lnTo>
                    <a:pt x="114" y="54"/>
                  </a:lnTo>
                  <a:lnTo>
                    <a:pt x="108" y="60"/>
                  </a:lnTo>
                  <a:lnTo>
                    <a:pt x="102" y="62"/>
                  </a:lnTo>
                  <a:lnTo>
                    <a:pt x="96" y="68"/>
                  </a:lnTo>
                  <a:lnTo>
                    <a:pt x="92" y="70"/>
                  </a:lnTo>
                  <a:lnTo>
                    <a:pt x="86" y="66"/>
                  </a:lnTo>
                  <a:lnTo>
                    <a:pt x="80" y="72"/>
                  </a:lnTo>
                  <a:lnTo>
                    <a:pt x="74" y="72"/>
                  </a:lnTo>
                  <a:lnTo>
                    <a:pt x="72" y="70"/>
                  </a:lnTo>
                  <a:lnTo>
                    <a:pt x="66" y="72"/>
                  </a:lnTo>
                  <a:lnTo>
                    <a:pt x="60" y="74"/>
                  </a:lnTo>
                  <a:lnTo>
                    <a:pt x="60" y="78"/>
                  </a:lnTo>
                  <a:lnTo>
                    <a:pt x="58" y="84"/>
                  </a:lnTo>
                  <a:lnTo>
                    <a:pt x="52" y="88"/>
                  </a:lnTo>
                  <a:lnTo>
                    <a:pt x="46" y="88"/>
                  </a:lnTo>
                  <a:lnTo>
                    <a:pt x="40" y="90"/>
                  </a:lnTo>
                  <a:lnTo>
                    <a:pt x="34" y="94"/>
                  </a:lnTo>
                  <a:lnTo>
                    <a:pt x="28" y="98"/>
                  </a:lnTo>
                  <a:lnTo>
                    <a:pt x="28" y="92"/>
                  </a:lnTo>
                  <a:lnTo>
                    <a:pt x="20" y="88"/>
                  </a:lnTo>
                  <a:lnTo>
                    <a:pt x="16" y="90"/>
                  </a:lnTo>
                  <a:lnTo>
                    <a:pt x="10" y="94"/>
                  </a:lnTo>
                  <a:lnTo>
                    <a:pt x="4" y="96"/>
                  </a:lnTo>
                  <a:lnTo>
                    <a:pt x="0" y="90"/>
                  </a:lnTo>
                  <a:lnTo>
                    <a:pt x="2" y="9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49" name="Freeform 267"/>
            <p:cNvSpPr>
              <a:spLocks/>
            </p:cNvSpPr>
            <p:nvPr/>
          </p:nvSpPr>
          <p:spPr bwMode="auto">
            <a:xfrm>
              <a:off x="1398588" y="2844800"/>
              <a:ext cx="1368425" cy="685800"/>
            </a:xfrm>
            <a:custGeom>
              <a:avLst/>
              <a:gdLst>
                <a:gd name="T0" fmla="*/ 2147483647 w 3364"/>
                <a:gd name="T1" fmla="*/ 2147483647 h 1666"/>
                <a:gd name="T2" fmla="*/ 2147483647 w 3364"/>
                <a:gd name="T3" fmla="*/ 2147483647 h 1666"/>
                <a:gd name="T4" fmla="*/ 2147483647 w 3364"/>
                <a:gd name="T5" fmla="*/ 2147483647 h 1666"/>
                <a:gd name="T6" fmla="*/ 2147483647 w 3364"/>
                <a:gd name="T7" fmla="*/ 2147483647 h 1666"/>
                <a:gd name="T8" fmla="*/ 2147483647 w 3364"/>
                <a:gd name="T9" fmla="*/ 2147483647 h 1666"/>
                <a:gd name="T10" fmla="*/ 2147483647 w 3364"/>
                <a:gd name="T11" fmla="*/ 2147483647 h 1666"/>
                <a:gd name="T12" fmla="*/ 2147483647 w 3364"/>
                <a:gd name="T13" fmla="*/ 2147483647 h 1666"/>
                <a:gd name="T14" fmla="*/ 2147483647 w 3364"/>
                <a:gd name="T15" fmla="*/ 2147483647 h 1666"/>
                <a:gd name="T16" fmla="*/ 2147483647 w 3364"/>
                <a:gd name="T17" fmla="*/ 2147483647 h 1666"/>
                <a:gd name="T18" fmla="*/ 2147483647 w 3364"/>
                <a:gd name="T19" fmla="*/ 2147483647 h 1666"/>
                <a:gd name="T20" fmla="*/ 2147483647 w 3364"/>
                <a:gd name="T21" fmla="*/ 2147483647 h 1666"/>
                <a:gd name="T22" fmla="*/ 2147483647 w 3364"/>
                <a:gd name="T23" fmla="*/ 2147483647 h 1666"/>
                <a:gd name="T24" fmla="*/ 2147483647 w 3364"/>
                <a:gd name="T25" fmla="*/ 2147483647 h 1666"/>
                <a:gd name="T26" fmla="*/ 2147483647 w 3364"/>
                <a:gd name="T27" fmla="*/ 2147483647 h 1666"/>
                <a:gd name="T28" fmla="*/ 2147483647 w 3364"/>
                <a:gd name="T29" fmla="*/ 2147483647 h 1666"/>
                <a:gd name="T30" fmla="*/ 2147483647 w 3364"/>
                <a:gd name="T31" fmla="*/ 2147483647 h 1666"/>
                <a:gd name="T32" fmla="*/ 2147483647 w 3364"/>
                <a:gd name="T33" fmla="*/ 2147483647 h 1666"/>
                <a:gd name="T34" fmla="*/ 2147483647 w 3364"/>
                <a:gd name="T35" fmla="*/ 2147483647 h 1666"/>
                <a:gd name="T36" fmla="*/ 2147483647 w 3364"/>
                <a:gd name="T37" fmla="*/ 2147483647 h 1666"/>
                <a:gd name="T38" fmla="*/ 2147483647 w 3364"/>
                <a:gd name="T39" fmla="*/ 2147483647 h 1666"/>
                <a:gd name="T40" fmla="*/ 2147483647 w 3364"/>
                <a:gd name="T41" fmla="*/ 2147483647 h 1666"/>
                <a:gd name="T42" fmla="*/ 2147483647 w 3364"/>
                <a:gd name="T43" fmla="*/ 2147483647 h 1666"/>
                <a:gd name="T44" fmla="*/ 2147483647 w 3364"/>
                <a:gd name="T45" fmla="*/ 2147483647 h 1666"/>
                <a:gd name="T46" fmla="*/ 2147483647 w 3364"/>
                <a:gd name="T47" fmla="*/ 2147483647 h 1666"/>
                <a:gd name="T48" fmla="*/ 2147483647 w 3364"/>
                <a:gd name="T49" fmla="*/ 2147483647 h 1666"/>
                <a:gd name="T50" fmla="*/ 2147483647 w 3364"/>
                <a:gd name="T51" fmla="*/ 2147483647 h 1666"/>
                <a:gd name="T52" fmla="*/ 2147483647 w 3364"/>
                <a:gd name="T53" fmla="*/ 2147483647 h 1666"/>
                <a:gd name="T54" fmla="*/ 2147483647 w 3364"/>
                <a:gd name="T55" fmla="*/ 2147483647 h 1666"/>
                <a:gd name="T56" fmla="*/ 2147483647 w 3364"/>
                <a:gd name="T57" fmla="*/ 2147483647 h 1666"/>
                <a:gd name="T58" fmla="*/ 2147483647 w 3364"/>
                <a:gd name="T59" fmla="*/ 2147483647 h 1666"/>
                <a:gd name="T60" fmla="*/ 2147483647 w 3364"/>
                <a:gd name="T61" fmla="*/ 2147483647 h 1666"/>
                <a:gd name="T62" fmla="*/ 2147483647 w 3364"/>
                <a:gd name="T63" fmla="*/ 2147483647 h 1666"/>
                <a:gd name="T64" fmla="*/ 2147483647 w 3364"/>
                <a:gd name="T65" fmla="*/ 2147483647 h 1666"/>
                <a:gd name="T66" fmla="*/ 2147483647 w 3364"/>
                <a:gd name="T67" fmla="*/ 2147483647 h 1666"/>
                <a:gd name="T68" fmla="*/ 2147483647 w 3364"/>
                <a:gd name="T69" fmla="*/ 2147483647 h 1666"/>
                <a:gd name="T70" fmla="*/ 2147483647 w 3364"/>
                <a:gd name="T71" fmla="*/ 2147483647 h 1666"/>
                <a:gd name="T72" fmla="*/ 2147483647 w 3364"/>
                <a:gd name="T73" fmla="*/ 2147483647 h 1666"/>
                <a:gd name="T74" fmla="*/ 2147483647 w 3364"/>
                <a:gd name="T75" fmla="*/ 2147483647 h 1666"/>
                <a:gd name="T76" fmla="*/ 2147483647 w 3364"/>
                <a:gd name="T77" fmla="*/ 2147483647 h 1666"/>
                <a:gd name="T78" fmla="*/ 2147483647 w 3364"/>
                <a:gd name="T79" fmla="*/ 2147483647 h 1666"/>
                <a:gd name="T80" fmla="*/ 2147483647 w 3364"/>
                <a:gd name="T81" fmla="*/ 2147483647 h 1666"/>
                <a:gd name="T82" fmla="*/ 2147483647 w 3364"/>
                <a:gd name="T83" fmla="*/ 2147483647 h 1666"/>
                <a:gd name="T84" fmla="*/ 2147483647 w 3364"/>
                <a:gd name="T85" fmla="*/ 2147483647 h 1666"/>
                <a:gd name="T86" fmla="*/ 2147483647 w 3364"/>
                <a:gd name="T87" fmla="*/ 2147483647 h 1666"/>
                <a:gd name="T88" fmla="*/ 2147483647 w 3364"/>
                <a:gd name="T89" fmla="*/ 2147483647 h 1666"/>
                <a:gd name="T90" fmla="*/ 2147483647 w 3364"/>
                <a:gd name="T91" fmla="*/ 2147483647 h 1666"/>
                <a:gd name="T92" fmla="*/ 2147483647 w 3364"/>
                <a:gd name="T93" fmla="*/ 2147483647 h 1666"/>
                <a:gd name="T94" fmla="*/ 2147483647 w 3364"/>
                <a:gd name="T95" fmla="*/ 2147483647 h 1666"/>
                <a:gd name="T96" fmla="*/ 2147483647 w 3364"/>
                <a:gd name="T97" fmla="*/ 2147483647 h 1666"/>
                <a:gd name="T98" fmla="*/ 2147483647 w 3364"/>
                <a:gd name="T99" fmla="*/ 2147483647 h 1666"/>
                <a:gd name="T100" fmla="*/ 2147483647 w 3364"/>
                <a:gd name="T101" fmla="*/ 2147483647 h 1666"/>
                <a:gd name="T102" fmla="*/ 2147483647 w 3364"/>
                <a:gd name="T103" fmla="*/ 2147483647 h 1666"/>
                <a:gd name="T104" fmla="*/ 2147483647 w 3364"/>
                <a:gd name="T105" fmla="*/ 2147483647 h 1666"/>
                <a:gd name="T106" fmla="*/ 2147483647 w 3364"/>
                <a:gd name="T107" fmla="*/ 2147483647 h 1666"/>
                <a:gd name="T108" fmla="*/ 2147483647 w 3364"/>
                <a:gd name="T109" fmla="*/ 2147483647 h 1666"/>
                <a:gd name="T110" fmla="*/ 2147483647 w 3364"/>
                <a:gd name="T111" fmla="*/ 2147483647 h 1666"/>
                <a:gd name="T112" fmla="*/ 2147483647 w 3364"/>
                <a:gd name="T113" fmla="*/ 2147483647 h 1666"/>
                <a:gd name="T114" fmla="*/ 2147483647 w 3364"/>
                <a:gd name="T115" fmla="*/ 2147483647 h 1666"/>
                <a:gd name="T116" fmla="*/ 2147483647 w 3364"/>
                <a:gd name="T117" fmla="*/ 2147483647 h 1666"/>
                <a:gd name="T118" fmla="*/ 2147483647 w 3364"/>
                <a:gd name="T119" fmla="*/ 2147483647 h 1666"/>
                <a:gd name="T120" fmla="*/ 2147483647 w 3364"/>
                <a:gd name="T121" fmla="*/ 2147483647 h 1666"/>
                <a:gd name="T122" fmla="*/ 2147483647 w 3364"/>
                <a:gd name="T123" fmla="*/ 2147483647 h 1666"/>
                <a:gd name="T124" fmla="*/ 2147483647 w 3364"/>
                <a:gd name="T125" fmla="*/ 2147483647 h 166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64"/>
                <a:gd name="T190" fmla="*/ 0 h 1666"/>
                <a:gd name="T191" fmla="*/ 3364 w 3364"/>
                <a:gd name="T192" fmla="*/ 1666 h 166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64" h="1666">
                  <a:moveTo>
                    <a:pt x="14" y="754"/>
                  </a:moveTo>
                  <a:lnTo>
                    <a:pt x="16" y="748"/>
                  </a:lnTo>
                  <a:lnTo>
                    <a:pt x="14" y="744"/>
                  </a:lnTo>
                  <a:lnTo>
                    <a:pt x="8" y="738"/>
                  </a:lnTo>
                  <a:lnTo>
                    <a:pt x="6" y="732"/>
                  </a:lnTo>
                  <a:lnTo>
                    <a:pt x="6" y="726"/>
                  </a:lnTo>
                  <a:lnTo>
                    <a:pt x="2" y="720"/>
                  </a:lnTo>
                  <a:lnTo>
                    <a:pt x="0" y="714"/>
                  </a:lnTo>
                  <a:lnTo>
                    <a:pt x="2" y="708"/>
                  </a:lnTo>
                  <a:lnTo>
                    <a:pt x="4" y="702"/>
                  </a:lnTo>
                  <a:lnTo>
                    <a:pt x="6" y="696"/>
                  </a:lnTo>
                  <a:lnTo>
                    <a:pt x="8" y="690"/>
                  </a:lnTo>
                  <a:lnTo>
                    <a:pt x="8" y="684"/>
                  </a:lnTo>
                  <a:lnTo>
                    <a:pt x="12" y="678"/>
                  </a:lnTo>
                  <a:lnTo>
                    <a:pt x="16" y="672"/>
                  </a:lnTo>
                  <a:lnTo>
                    <a:pt x="20" y="666"/>
                  </a:lnTo>
                  <a:lnTo>
                    <a:pt x="22" y="660"/>
                  </a:lnTo>
                  <a:lnTo>
                    <a:pt x="22" y="654"/>
                  </a:lnTo>
                  <a:lnTo>
                    <a:pt x="24" y="648"/>
                  </a:lnTo>
                  <a:lnTo>
                    <a:pt x="24" y="646"/>
                  </a:lnTo>
                  <a:lnTo>
                    <a:pt x="22" y="640"/>
                  </a:lnTo>
                  <a:lnTo>
                    <a:pt x="22" y="638"/>
                  </a:lnTo>
                  <a:lnTo>
                    <a:pt x="22" y="632"/>
                  </a:lnTo>
                  <a:lnTo>
                    <a:pt x="18" y="626"/>
                  </a:lnTo>
                  <a:lnTo>
                    <a:pt x="12" y="620"/>
                  </a:lnTo>
                  <a:lnTo>
                    <a:pt x="16" y="614"/>
                  </a:lnTo>
                  <a:lnTo>
                    <a:pt x="18" y="610"/>
                  </a:lnTo>
                  <a:lnTo>
                    <a:pt x="22" y="602"/>
                  </a:lnTo>
                  <a:lnTo>
                    <a:pt x="26" y="596"/>
                  </a:lnTo>
                  <a:lnTo>
                    <a:pt x="30" y="594"/>
                  </a:lnTo>
                  <a:lnTo>
                    <a:pt x="34" y="588"/>
                  </a:lnTo>
                  <a:lnTo>
                    <a:pt x="42" y="584"/>
                  </a:lnTo>
                  <a:lnTo>
                    <a:pt x="48" y="582"/>
                  </a:lnTo>
                  <a:lnTo>
                    <a:pt x="42" y="584"/>
                  </a:lnTo>
                  <a:lnTo>
                    <a:pt x="46" y="578"/>
                  </a:lnTo>
                  <a:lnTo>
                    <a:pt x="52" y="572"/>
                  </a:lnTo>
                  <a:lnTo>
                    <a:pt x="56" y="566"/>
                  </a:lnTo>
                  <a:lnTo>
                    <a:pt x="58" y="560"/>
                  </a:lnTo>
                  <a:lnTo>
                    <a:pt x="64" y="554"/>
                  </a:lnTo>
                  <a:lnTo>
                    <a:pt x="68" y="548"/>
                  </a:lnTo>
                  <a:lnTo>
                    <a:pt x="72" y="542"/>
                  </a:lnTo>
                  <a:lnTo>
                    <a:pt x="76" y="538"/>
                  </a:lnTo>
                  <a:lnTo>
                    <a:pt x="78" y="532"/>
                  </a:lnTo>
                  <a:lnTo>
                    <a:pt x="80" y="526"/>
                  </a:lnTo>
                  <a:lnTo>
                    <a:pt x="82" y="520"/>
                  </a:lnTo>
                  <a:lnTo>
                    <a:pt x="80" y="514"/>
                  </a:lnTo>
                  <a:lnTo>
                    <a:pt x="84" y="508"/>
                  </a:lnTo>
                  <a:lnTo>
                    <a:pt x="90" y="502"/>
                  </a:lnTo>
                  <a:lnTo>
                    <a:pt x="90" y="500"/>
                  </a:lnTo>
                  <a:lnTo>
                    <a:pt x="88" y="494"/>
                  </a:lnTo>
                  <a:lnTo>
                    <a:pt x="88" y="490"/>
                  </a:lnTo>
                  <a:lnTo>
                    <a:pt x="88" y="484"/>
                  </a:lnTo>
                  <a:lnTo>
                    <a:pt x="90" y="478"/>
                  </a:lnTo>
                  <a:lnTo>
                    <a:pt x="94" y="472"/>
                  </a:lnTo>
                  <a:lnTo>
                    <a:pt x="98" y="466"/>
                  </a:lnTo>
                  <a:lnTo>
                    <a:pt x="104" y="460"/>
                  </a:lnTo>
                  <a:lnTo>
                    <a:pt x="106" y="454"/>
                  </a:lnTo>
                  <a:lnTo>
                    <a:pt x="104" y="448"/>
                  </a:lnTo>
                  <a:lnTo>
                    <a:pt x="106" y="442"/>
                  </a:lnTo>
                  <a:lnTo>
                    <a:pt x="112" y="436"/>
                  </a:lnTo>
                  <a:lnTo>
                    <a:pt x="118" y="432"/>
                  </a:lnTo>
                  <a:lnTo>
                    <a:pt x="124" y="424"/>
                  </a:lnTo>
                  <a:lnTo>
                    <a:pt x="128" y="418"/>
                  </a:lnTo>
                  <a:lnTo>
                    <a:pt x="134" y="412"/>
                  </a:lnTo>
                  <a:lnTo>
                    <a:pt x="140" y="408"/>
                  </a:lnTo>
                  <a:lnTo>
                    <a:pt x="138" y="412"/>
                  </a:lnTo>
                  <a:lnTo>
                    <a:pt x="142" y="406"/>
                  </a:lnTo>
                  <a:lnTo>
                    <a:pt x="148" y="408"/>
                  </a:lnTo>
                  <a:lnTo>
                    <a:pt x="150" y="402"/>
                  </a:lnTo>
                  <a:lnTo>
                    <a:pt x="144" y="404"/>
                  </a:lnTo>
                  <a:lnTo>
                    <a:pt x="148" y="398"/>
                  </a:lnTo>
                  <a:lnTo>
                    <a:pt x="154" y="392"/>
                  </a:lnTo>
                  <a:lnTo>
                    <a:pt x="160" y="386"/>
                  </a:lnTo>
                  <a:lnTo>
                    <a:pt x="164" y="384"/>
                  </a:lnTo>
                  <a:lnTo>
                    <a:pt x="170" y="384"/>
                  </a:lnTo>
                  <a:lnTo>
                    <a:pt x="166" y="382"/>
                  </a:lnTo>
                  <a:lnTo>
                    <a:pt x="164" y="384"/>
                  </a:lnTo>
                  <a:lnTo>
                    <a:pt x="166" y="378"/>
                  </a:lnTo>
                  <a:lnTo>
                    <a:pt x="172" y="372"/>
                  </a:lnTo>
                  <a:lnTo>
                    <a:pt x="176" y="368"/>
                  </a:lnTo>
                  <a:lnTo>
                    <a:pt x="180" y="360"/>
                  </a:lnTo>
                  <a:lnTo>
                    <a:pt x="184" y="356"/>
                  </a:lnTo>
                  <a:lnTo>
                    <a:pt x="190" y="348"/>
                  </a:lnTo>
                  <a:lnTo>
                    <a:pt x="194" y="342"/>
                  </a:lnTo>
                  <a:lnTo>
                    <a:pt x="200" y="336"/>
                  </a:lnTo>
                  <a:lnTo>
                    <a:pt x="202" y="330"/>
                  </a:lnTo>
                  <a:lnTo>
                    <a:pt x="208" y="324"/>
                  </a:lnTo>
                  <a:lnTo>
                    <a:pt x="212" y="322"/>
                  </a:lnTo>
                  <a:lnTo>
                    <a:pt x="214" y="316"/>
                  </a:lnTo>
                  <a:lnTo>
                    <a:pt x="218" y="310"/>
                  </a:lnTo>
                  <a:lnTo>
                    <a:pt x="224" y="304"/>
                  </a:lnTo>
                  <a:lnTo>
                    <a:pt x="228" y="298"/>
                  </a:lnTo>
                  <a:lnTo>
                    <a:pt x="232" y="292"/>
                  </a:lnTo>
                  <a:lnTo>
                    <a:pt x="238" y="286"/>
                  </a:lnTo>
                  <a:lnTo>
                    <a:pt x="242" y="280"/>
                  </a:lnTo>
                  <a:lnTo>
                    <a:pt x="246" y="274"/>
                  </a:lnTo>
                  <a:lnTo>
                    <a:pt x="250" y="268"/>
                  </a:lnTo>
                  <a:lnTo>
                    <a:pt x="254" y="262"/>
                  </a:lnTo>
                  <a:lnTo>
                    <a:pt x="260" y="262"/>
                  </a:lnTo>
                  <a:lnTo>
                    <a:pt x="260" y="256"/>
                  </a:lnTo>
                  <a:lnTo>
                    <a:pt x="266" y="250"/>
                  </a:lnTo>
                  <a:lnTo>
                    <a:pt x="266" y="244"/>
                  </a:lnTo>
                  <a:lnTo>
                    <a:pt x="270" y="238"/>
                  </a:lnTo>
                  <a:lnTo>
                    <a:pt x="272" y="232"/>
                  </a:lnTo>
                  <a:lnTo>
                    <a:pt x="280" y="228"/>
                  </a:lnTo>
                  <a:lnTo>
                    <a:pt x="282" y="222"/>
                  </a:lnTo>
                  <a:lnTo>
                    <a:pt x="284" y="216"/>
                  </a:lnTo>
                  <a:lnTo>
                    <a:pt x="290" y="216"/>
                  </a:lnTo>
                  <a:lnTo>
                    <a:pt x="296" y="212"/>
                  </a:lnTo>
                  <a:lnTo>
                    <a:pt x="302" y="214"/>
                  </a:lnTo>
                  <a:lnTo>
                    <a:pt x="308" y="212"/>
                  </a:lnTo>
                  <a:lnTo>
                    <a:pt x="314" y="216"/>
                  </a:lnTo>
                  <a:lnTo>
                    <a:pt x="320" y="218"/>
                  </a:lnTo>
                  <a:lnTo>
                    <a:pt x="326" y="216"/>
                  </a:lnTo>
                  <a:lnTo>
                    <a:pt x="322" y="216"/>
                  </a:lnTo>
                  <a:lnTo>
                    <a:pt x="318" y="212"/>
                  </a:lnTo>
                  <a:lnTo>
                    <a:pt x="312" y="210"/>
                  </a:lnTo>
                  <a:lnTo>
                    <a:pt x="306" y="208"/>
                  </a:lnTo>
                  <a:lnTo>
                    <a:pt x="300" y="208"/>
                  </a:lnTo>
                  <a:lnTo>
                    <a:pt x="294" y="210"/>
                  </a:lnTo>
                  <a:lnTo>
                    <a:pt x="288" y="206"/>
                  </a:lnTo>
                  <a:lnTo>
                    <a:pt x="290" y="200"/>
                  </a:lnTo>
                  <a:lnTo>
                    <a:pt x="294" y="194"/>
                  </a:lnTo>
                  <a:lnTo>
                    <a:pt x="298" y="188"/>
                  </a:lnTo>
                  <a:lnTo>
                    <a:pt x="296" y="194"/>
                  </a:lnTo>
                  <a:lnTo>
                    <a:pt x="292" y="200"/>
                  </a:lnTo>
                  <a:lnTo>
                    <a:pt x="298" y="198"/>
                  </a:lnTo>
                  <a:lnTo>
                    <a:pt x="302" y="192"/>
                  </a:lnTo>
                  <a:lnTo>
                    <a:pt x="306" y="186"/>
                  </a:lnTo>
                  <a:lnTo>
                    <a:pt x="312" y="180"/>
                  </a:lnTo>
                  <a:lnTo>
                    <a:pt x="318" y="182"/>
                  </a:lnTo>
                  <a:lnTo>
                    <a:pt x="312" y="178"/>
                  </a:lnTo>
                  <a:lnTo>
                    <a:pt x="306" y="178"/>
                  </a:lnTo>
                  <a:lnTo>
                    <a:pt x="306" y="172"/>
                  </a:lnTo>
                  <a:lnTo>
                    <a:pt x="308" y="166"/>
                  </a:lnTo>
                  <a:lnTo>
                    <a:pt x="314" y="166"/>
                  </a:lnTo>
                  <a:lnTo>
                    <a:pt x="320" y="164"/>
                  </a:lnTo>
                  <a:lnTo>
                    <a:pt x="326" y="162"/>
                  </a:lnTo>
                  <a:lnTo>
                    <a:pt x="328" y="162"/>
                  </a:lnTo>
                  <a:lnTo>
                    <a:pt x="322" y="162"/>
                  </a:lnTo>
                  <a:lnTo>
                    <a:pt x="316" y="156"/>
                  </a:lnTo>
                  <a:lnTo>
                    <a:pt x="312" y="162"/>
                  </a:lnTo>
                  <a:lnTo>
                    <a:pt x="314" y="156"/>
                  </a:lnTo>
                  <a:lnTo>
                    <a:pt x="318" y="150"/>
                  </a:lnTo>
                  <a:lnTo>
                    <a:pt x="320" y="144"/>
                  </a:lnTo>
                  <a:lnTo>
                    <a:pt x="320" y="138"/>
                  </a:lnTo>
                  <a:lnTo>
                    <a:pt x="322" y="136"/>
                  </a:lnTo>
                  <a:lnTo>
                    <a:pt x="322" y="130"/>
                  </a:lnTo>
                  <a:lnTo>
                    <a:pt x="326" y="124"/>
                  </a:lnTo>
                  <a:lnTo>
                    <a:pt x="330" y="118"/>
                  </a:lnTo>
                  <a:lnTo>
                    <a:pt x="332" y="112"/>
                  </a:lnTo>
                  <a:lnTo>
                    <a:pt x="332" y="106"/>
                  </a:lnTo>
                  <a:lnTo>
                    <a:pt x="330" y="100"/>
                  </a:lnTo>
                  <a:lnTo>
                    <a:pt x="330" y="94"/>
                  </a:lnTo>
                  <a:lnTo>
                    <a:pt x="332" y="88"/>
                  </a:lnTo>
                  <a:lnTo>
                    <a:pt x="334" y="82"/>
                  </a:lnTo>
                  <a:lnTo>
                    <a:pt x="340" y="76"/>
                  </a:lnTo>
                  <a:lnTo>
                    <a:pt x="346" y="70"/>
                  </a:lnTo>
                  <a:lnTo>
                    <a:pt x="346" y="66"/>
                  </a:lnTo>
                  <a:lnTo>
                    <a:pt x="352" y="68"/>
                  </a:lnTo>
                  <a:lnTo>
                    <a:pt x="358" y="72"/>
                  </a:lnTo>
                  <a:lnTo>
                    <a:pt x="364" y="74"/>
                  </a:lnTo>
                  <a:lnTo>
                    <a:pt x="370" y="76"/>
                  </a:lnTo>
                  <a:lnTo>
                    <a:pt x="376" y="80"/>
                  </a:lnTo>
                  <a:lnTo>
                    <a:pt x="382" y="82"/>
                  </a:lnTo>
                  <a:lnTo>
                    <a:pt x="388" y="82"/>
                  </a:lnTo>
                  <a:lnTo>
                    <a:pt x="394" y="82"/>
                  </a:lnTo>
                  <a:lnTo>
                    <a:pt x="400" y="84"/>
                  </a:lnTo>
                  <a:lnTo>
                    <a:pt x="406" y="84"/>
                  </a:lnTo>
                  <a:lnTo>
                    <a:pt x="412" y="84"/>
                  </a:lnTo>
                  <a:lnTo>
                    <a:pt x="418" y="82"/>
                  </a:lnTo>
                  <a:lnTo>
                    <a:pt x="422" y="88"/>
                  </a:lnTo>
                  <a:lnTo>
                    <a:pt x="428" y="84"/>
                  </a:lnTo>
                  <a:lnTo>
                    <a:pt x="428" y="92"/>
                  </a:lnTo>
                  <a:lnTo>
                    <a:pt x="432" y="86"/>
                  </a:lnTo>
                  <a:lnTo>
                    <a:pt x="438" y="82"/>
                  </a:lnTo>
                  <a:lnTo>
                    <a:pt x="436" y="88"/>
                  </a:lnTo>
                  <a:lnTo>
                    <a:pt x="436" y="94"/>
                  </a:lnTo>
                  <a:lnTo>
                    <a:pt x="436" y="100"/>
                  </a:lnTo>
                  <a:lnTo>
                    <a:pt x="428" y="104"/>
                  </a:lnTo>
                  <a:lnTo>
                    <a:pt x="424" y="108"/>
                  </a:lnTo>
                  <a:lnTo>
                    <a:pt x="416" y="114"/>
                  </a:lnTo>
                  <a:lnTo>
                    <a:pt x="420" y="108"/>
                  </a:lnTo>
                  <a:lnTo>
                    <a:pt x="416" y="110"/>
                  </a:lnTo>
                  <a:lnTo>
                    <a:pt x="410" y="116"/>
                  </a:lnTo>
                  <a:lnTo>
                    <a:pt x="402" y="118"/>
                  </a:lnTo>
                  <a:lnTo>
                    <a:pt x="398" y="122"/>
                  </a:lnTo>
                  <a:lnTo>
                    <a:pt x="392" y="128"/>
                  </a:lnTo>
                  <a:lnTo>
                    <a:pt x="386" y="132"/>
                  </a:lnTo>
                  <a:lnTo>
                    <a:pt x="392" y="134"/>
                  </a:lnTo>
                  <a:lnTo>
                    <a:pt x="398" y="132"/>
                  </a:lnTo>
                  <a:lnTo>
                    <a:pt x="402" y="130"/>
                  </a:lnTo>
                  <a:lnTo>
                    <a:pt x="398" y="132"/>
                  </a:lnTo>
                  <a:lnTo>
                    <a:pt x="392" y="134"/>
                  </a:lnTo>
                  <a:lnTo>
                    <a:pt x="392" y="128"/>
                  </a:lnTo>
                  <a:lnTo>
                    <a:pt x="396" y="124"/>
                  </a:lnTo>
                  <a:lnTo>
                    <a:pt x="402" y="120"/>
                  </a:lnTo>
                  <a:lnTo>
                    <a:pt x="408" y="118"/>
                  </a:lnTo>
                  <a:lnTo>
                    <a:pt x="414" y="116"/>
                  </a:lnTo>
                  <a:lnTo>
                    <a:pt x="420" y="112"/>
                  </a:lnTo>
                  <a:lnTo>
                    <a:pt x="426" y="106"/>
                  </a:lnTo>
                  <a:lnTo>
                    <a:pt x="432" y="102"/>
                  </a:lnTo>
                  <a:lnTo>
                    <a:pt x="438" y="98"/>
                  </a:lnTo>
                  <a:lnTo>
                    <a:pt x="440" y="106"/>
                  </a:lnTo>
                  <a:lnTo>
                    <a:pt x="432" y="110"/>
                  </a:lnTo>
                  <a:lnTo>
                    <a:pt x="428" y="110"/>
                  </a:lnTo>
                  <a:lnTo>
                    <a:pt x="426" y="116"/>
                  </a:lnTo>
                  <a:lnTo>
                    <a:pt x="420" y="118"/>
                  </a:lnTo>
                  <a:lnTo>
                    <a:pt x="416" y="124"/>
                  </a:lnTo>
                  <a:lnTo>
                    <a:pt x="422" y="122"/>
                  </a:lnTo>
                  <a:lnTo>
                    <a:pt x="422" y="128"/>
                  </a:lnTo>
                  <a:lnTo>
                    <a:pt x="416" y="134"/>
                  </a:lnTo>
                  <a:lnTo>
                    <a:pt x="412" y="138"/>
                  </a:lnTo>
                  <a:lnTo>
                    <a:pt x="406" y="140"/>
                  </a:lnTo>
                  <a:lnTo>
                    <a:pt x="412" y="134"/>
                  </a:lnTo>
                  <a:lnTo>
                    <a:pt x="406" y="136"/>
                  </a:lnTo>
                  <a:lnTo>
                    <a:pt x="400" y="142"/>
                  </a:lnTo>
                  <a:lnTo>
                    <a:pt x="396" y="148"/>
                  </a:lnTo>
                  <a:lnTo>
                    <a:pt x="396" y="142"/>
                  </a:lnTo>
                  <a:lnTo>
                    <a:pt x="402" y="136"/>
                  </a:lnTo>
                  <a:lnTo>
                    <a:pt x="396" y="138"/>
                  </a:lnTo>
                  <a:lnTo>
                    <a:pt x="392" y="140"/>
                  </a:lnTo>
                  <a:lnTo>
                    <a:pt x="390" y="142"/>
                  </a:lnTo>
                  <a:lnTo>
                    <a:pt x="384" y="148"/>
                  </a:lnTo>
                  <a:lnTo>
                    <a:pt x="378" y="150"/>
                  </a:lnTo>
                  <a:lnTo>
                    <a:pt x="384" y="148"/>
                  </a:lnTo>
                  <a:lnTo>
                    <a:pt x="378" y="154"/>
                  </a:lnTo>
                  <a:lnTo>
                    <a:pt x="384" y="150"/>
                  </a:lnTo>
                  <a:lnTo>
                    <a:pt x="382" y="156"/>
                  </a:lnTo>
                  <a:lnTo>
                    <a:pt x="386" y="150"/>
                  </a:lnTo>
                  <a:lnTo>
                    <a:pt x="392" y="148"/>
                  </a:lnTo>
                  <a:lnTo>
                    <a:pt x="398" y="152"/>
                  </a:lnTo>
                  <a:lnTo>
                    <a:pt x="404" y="148"/>
                  </a:lnTo>
                  <a:lnTo>
                    <a:pt x="410" y="142"/>
                  </a:lnTo>
                  <a:lnTo>
                    <a:pt x="416" y="140"/>
                  </a:lnTo>
                  <a:lnTo>
                    <a:pt x="422" y="138"/>
                  </a:lnTo>
                  <a:lnTo>
                    <a:pt x="428" y="134"/>
                  </a:lnTo>
                  <a:lnTo>
                    <a:pt x="430" y="130"/>
                  </a:lnTo>
                  <a:lnTo>
                    <a:pt x="432" y="124"/>
                  </a:lnTo>
                  <a:lnTo>
                    <a:pt x="438" y="118"/>
                  </a:lnTo>
                  <a:lnTo>
                    <a:pt x="438" y="114"/>
                  </a:lnTo>
                  <a:lnTo>
                    <a:pt x="444" y="106"/>
                  </a:lnTo>
                  <a:lnTo>
                    <a:pt x="450" y="102"/>
                  </a:lnTo>
                  <a:lnTo>
                    <a:pt x="456" y="96"/>
                  </a:lnTo>
                  <a:lnTo>
                    <a:pt x="462" y="94"/>
                  </a:lnTo>
                  <a:lnTo>
                    <a:pt x="460" y="88"/>
                  </a:lnTo>
                  <a:lnTo>
                    <a:pt x="462" y="82"/>
                  </a:lnTo>
                  <a:lnTo>
                    <a:pt x="464" y="76"/>
                  </a:lnTo>
                  <a:lnTo>
                    <a:pt x="466" y="72"/>
                  </a:lnTo>
                  <a:lnTo>
                    <a:pt x="464" y="68"/>
                  </a:lnTo>
                  <a:lnTo>
                    <a:pt x="460" y="68"/>
                  </a:lnTo>
                  <a:lnTo>
                    <a:pt x="460" y="66"/>
                  </a:lnTo>
                  <a:lnTo>
                    <a:pt x="458" y="66"/>
                  </a:lnTo>
                  <a:lnTo>
                    <a:pt x="458" y="60"/>
                  </a:lnTo>
                  <a:lnTo>
                    <a:pt x="464" y="62"/>
                  </a:lnTo>
                  <a:lnTo>
                    <a:pt x="470" y="58"/>
                  </a:lnTo>
                  <a:lnTo>
                    <a:pt x="476" y="54"/>
                  </a:lnTo>
                  <a:lnTo>
                    <a:pt x="476" y="48"/>
                  </a:lnTo>
                  <a:lnTo>
                    <a:pt x="480" y="42"/>
                  </a:lnTo>
                  <a:lnTo>
                    <a:pt x="474" y="42"/>
                  </a:lnTo>
                  <a:lnTo>
                    <a:pt x="474" y="36"/>
                  </a:lnTo>
                  <a:lnTo>
                    <a:pt x="476" y="30"/>
                  </a:lnTo>
                  <a:lnTo>
                    <a:pt x="478" y="26"/>
                  </a:lnTo>
                  <a:lnTo>
                    <a:pt x="480" y="26"/>
                  </a:lnTo>
                  <a:lnTo>
                    <a:pt x="488" y="26"/>
                  </a:lnTo>
                  <a:lnTo>
                    <a:pt x="494" y="26"/>
                  </a:lnTo>
                  <a:lnTo>
                    <a:pt x="502" y="26"/>
                  </a:lnTo>
                  <a:lnTo>
                    <a:pt x="506" y="26"/>
                  </a:lnTo>
                  <a:lnTo>
                    <a:pt x="512" y="26"/>
                  </a:lnTo>
                  <a:lnTo>
                    <a:pt x="520" y="26"/>
                  </a:lnTo>
                  <a:lnTo>
                    <a:pt x="526" y="26"/>
                  </a:lnTo>
                  <a:lnTo>
                    <a:pt x="534" y="26"/>
                  </a:lnTo>
                  <a:lnTo>
                    <a:pt x="542" y="26"/>
                  </a:lnTo>
                  <a:lnTo>
                    <a:pt x="548" y="26"/>
                  </a:lnTo>
                  <a:lnTo>
                    <a:pt x="556" y="26"/>
                  </a:lnTo>
                  <a:lnTo>
                    <a:pt x="562" y="26"/>
                  </a:lnTo>
                  <a:lnTo>
                    <a:pt x="568" y="26"/>
                  </a:lnTo>
                  <a:lnTo>
                    <a:pt x="570" y="26"/>
                  </a:lnTo>
                  <a:lnTo>
                    <a:pt x="576" y="26"/>
                  </a:lnTo>
                  <a:lnTo>
                    <a:pt x="584" y="26"/>
                  </a:lnTo>
                  <a:lnTo>
                    <a:pt x="590" y="26"/>
                  </a:lnTo>
                  <a:lnTo>
                    <a:pt x="596" y="26"/>
                  </a:lnTo>
                  <a:lnTo>
                    <a:pt x="604" y="26"/>
                  </a:lnTo>
                  <a:lnTo>
                    <a:pt x="610" y="26"/>
                  </a:lnTo>
                  <a:lnTo>
                    <a:pt x="618" y="26"/>
                  </a:lnTo>
                  <a:lnTo>
                    <a:pt x="624" y="26"/>
                  </a:lnTo>
                  <a:lnTo>
                    <a:pt x="626" y="26"/>
                  </a:lnTo>
                  <a:lnTo>
                    <a:pt x="634" y="26"/>
                  </a:lnTo>
                  <a:lnTo>
                    <a:pt x="640" y="26"/>
                  </a:lnTo>
                  <a:lnTo>
                    <a:pt x="642" y="26"/>
                  </a:lnTo>
                  <a:lnTo>
                    <a:pt x="648" y="26"/>
                  </a:lnTo>
                  <a:lnTo>
                    <a:pt x="656" y="26"/>
                  </a:lnTo>
                  <a:lnTo>
                    <a:pt x="662" y="26"/>
                  </a:lnTo>
                  <a:lnTo>
                    <a:pt x="670" y="26"/>
                  </a:lnTo>
                  <a:lnTo>
                    <a:pt x="676" y="26"/>
                  </a:lnTo>
                  <a:lnTo>
                    <a:pt x="684" y="26"/>
                  </a:lnTo>
                  <a:lnTo>
                    <a:pt x="690" y="26"/>
                  </a:lnTo>
                  <a:lnTo>
                    <a:pt x="698" y="26"/>
                  </a:lnTo>
                  <a:lnTo>
                    <a:pt x="704" y="26"/>
                  </a:lnTo>
                  <a:lnTo>
                    <a:pt x="712" y="26"/>
                  </a:lnTo>
                  <a:lnTo>
                    <a:pt x="720" y="26"/>
                  </a:lnTo>
                  <a:lnTo>
                    <a:pt x="728" y="26"/>
                  </a:lnTo>
                  <a:lnTo>
                    <a:pt x="736" y="26"/>
                  </a:lnTo>
                  <a:lnTo>
                    <a:pt x="742" y="26"/>
                  </a:lnTo>
                  <a:lnTo>
                    <a:pt x="750" y="26"/>
                  </a:lnTo>
                  <a:lnTo>
                    <a:pt x="754" y="26"/>
                  </a:lnTo>
                  <a:lnTo>
                    <a:pt x="760" y="26"/>
                  </a:lnTo>
                  <a:lnTo>
                    <a:pt x="766" y="26"/>
                  </a:lnTo>
                  <a:lnTo>
                    <a:pt x="770" y="26"/>
                  </a:lnTo>
                  <a:lnTo>
                    <a:pt x="776" y="26"/>
                  </a:lnTo>
                  <a:lnTo>
                    <a:pt x="784" y="26"/>
                  </a:lnTo>
                  <a:lnTo>
                    <a:pt x="792" y="26"/>
                  </a:lnTo>
                  <a:lnTo>
                    <a:pt x="800" y="26"/>
                  </a:lnTo>
                  <a:lnTo>
                    <a:pt x="806" y="26"/>
                  </a:lnTo>
                  <a:lnTo>
                    <a:pt x="814" y="26"/>
                  </a:lnTo>
                  <a:lnTo>
                    <a:pt x="820" y="26"/>
                  </a:lnTo>
                  <a:lnTo>
                    <a:pt x="828" y="26"/>
                  </a:lnTo>
                  <a:lnTo>
                    <a:pt x="830" y="26"/>
                  </a:lnTo>
                  <a:lnTo>
                    <a:pt x="836" y="26"/>
                  </a:lnTo>
                  <a:lnTo>
                    <a:pt x="838" y="26"/>
                  </a:lnTo>
                  <a:lnTo>
                    <a:pt x="844" y="26"/>
                  </a:lnTo>
                  <a:lnTo>
                    <a:pt x="852" y="26"/>
                  </a:lnTo>
                  <a:lnTo>
                    <a:pt x="858" y="26"/>
                  </a:lnTo>
                  <a:lnTo>
                    <a:pt x="864" y="26"/>
                  </a:lnTo>
                  <a:lnTo>
                    <a:pt x="872" y="26"/>
                  </a:lnTo>
                  <a:lnTo>
                    <a:pt x="880" y="26"/>
                  </a:lnTo>
                  <a:lnTo>
                    <a:pt x="884" y="26"/>
                  </a:lnTo>
                  <a:lnTo>
                    <a:pt x="890" y="26"/>
                  </a:lnTo>
                  <a:lnTo>
                    <a:pt x="894" y="26"/>
                  </a:lnTo>
                  <a:lnTo>
                    <a:pt x="900" y="26"/>
                  </a:lnTo>
                  <a:lnTo>
                    <a:pt x="908" y="26"/>
                  </a:lnTo>
                  <a:lnTo>
                    <a:pt x="916" y="26"/>
                  </a:lnTo>
                  <a:lnTo>
                    <a:pt x="922" y="26"/>
                  </a:lnTo>
                  <a:lnTo>
                    <a:pt x="924" y="26"/>
                  </a:lnTo>
                  <a:lnTo>
                    <a:pt x="932" y="26"/>
                  </a:lnTo>
                  <a:lnTo>
                    <a:pt x="938" y="26"/>
                  </a:lnTo>
                  <a:lnTo>
                    <a:pt x="944" y="26"/>
                  </a:lnTo>
                  <a:lnTo>
                    <a:pt x="950" y="26"/>
                  </a:lnTo>
                  <a:lnTo>
                    <a:pt x="958" y="26"/>
                  </a:lnTo>
                  <a:lnTo>
                    <a:pt x="966" y="26"/>
                  </a:lnTo>
                  <a:lnTo>
                    <a:pt x="972" y="26"/>
                  </a:lnTo>
                  <a:lnTo>
                    <a:pt x="978" y="26"/>
                  </a:lnTo>
                  <a:lnTo>
                    <a:pt x="986" y="26"/>
                  </a:lnTo>
                  <a:lnTo>
                    <a:pt x="994" y="26"/>
                  </a:lnTo>
                  <a:lnTo>
                    <a:pt x="1000" y="26"/>
                  </a:lnTo>
                  <a:lnTo>
                    <a:pt x="1008" y="26"/>
                  </a:lnTo>
                  <a:lnTo>
                    <a:pt x="1014" y="26"/>
                  </a:lnTo>
                  <a:lnTo>
                    <a:pt x="1022" y="26"/>
                  </a:lnTo>
                  <a:lnTo>
                    <a:pt x="1024" y="26"/>
                  </a:lnTo>
                  <a:lnTo>
                    <a:pt x="1030" y="26"/>
                  </a:lnTo>
                  <a:lnTo>
                    <a:pt x="1038" y="26"/>
                  </a:lnTo>
                  <a:lnTo>
                    <a:pt x="1046" y="26"/>
                  </a:lnTo>
                  <a:lnTo>
                    <a:pt x="1052" y="26"/>
                  </a:lnTo>
                  <a:lnTo>
                    <a:pt x="1056" y="26"/>
                  </a:lnTo>
                  <a:lnTo>
                    <a:pt x="1064" y="26"/>
                  </a:lnTo>
                  <a:lnTo>
                    <a:pt x="1070" y="26"/>
                  </a:lnTo>
                  <a:lnTo>
                    <a:pt x="1076" y="26"/>
                  </a:lnTo>
                  <a:lnTo>
                    <a:pt x="1084" y="26"/>
                  </a:lnTo>
                  <a:lnTo>
                    <a:pt x="1092" y="26"/>
                  </a:lnTo>
                  <a:lnTo>
                    <a:pt x="1098" y="26"/>
                  </a:lnTo>
                  <a:lnTo>
                    <a:pt x="1106" y="26"/>
                  </a:lnTo>
                  <a:lnTo>
                    <a:pt x="1112" y="26"/>
                  </a:lnTo>
                  <a:lnTo>
                    <a:pt x="1120" y="26"/>
                  </a:lnTo>
                  <a:lnTo>
                    <a:pt x="1126" y="26"/>
                  </a:lnTo>
                  <a:lnTo>
                    <a:pt x="1130" y="26"/>
                  </a:lnTo>
                  <a:lnTo>
                    <a:pt x="1132" y="26"/>
                  </a:lnTo>
                  <a:lnTo>
                    <a:pt x="1138" y="26"/>
                  </a:lnTo>
                  <a:lnTo>
                    <a:pt x="1144" y="26"/>
                  </a:lnTo>
                  <a:lnTo>
                    <a:pt x="1152" y="26"/>
                  </a:lnTo>
                  <a:lnTo>
                    <a:pt x="1160" y="26"/>
                  </a:lnTo>
                  <a:lnTo>
                    <a:pt x="1168" y="26"/>
                  </a:lnTo>
                  <a:lnTo>
                    <a:pt x="1174" y="26"/>
                  </a:lnTo>
                  <a:lnTo>
                    <a:pt x="1182" y="26"/>
                  </a:lnTo>
                  <a:lnTo>
                    <a:pt x="1190" y="26"/>
                  </a:lnTo>
                  <a:lnTo>
                    <a:pt x="1196" y="26"/>
                  </a:lnTo>
                  <a:lnTo>
                    <a:pt x="1204" y="26"/>
                  </a:lnTo>
                  <a:lnTo>
                    <a:pt x="1210" y="26"/>
                  </a:lnTo>
                  <a:lnTo>
                    <a:pt x="1218" y="26"/>
                  </a:lnTo>
                  <a:lnTo>
                    <a:pt x="1224" y="26"/>
                  </a:lnTo>
                  <a:lnTo>
                    <a:pt x="1232" y="26"/>
                  </a:lnTo>
                  <a:lnTo>
                    <a:pt x="1240" y="26"/>
                  </a:lnTo>
                  <a:lnTo>
                    <a:pt x="1246" y="26"/>
                  </a:lnTo>
                  <a:lnTo>
                    <a:pt x="1254" y="26"/>
                  </a:lnTo>
                  <a:lnTo>
                    <a:pt x="1260" y="26"/>
                  </a:lnTo>
                  <a:lnTo>
                    <a:pt x="1268" y="26"/>
                  </a:lnTo>
                  <a:lnTo>
                    <a:pt x="1276" y="26"/>
                  </a:lnTo>
                  <a:lnTo>
                    <a:pt x="1282" y="26"/>
                  </a:lnTo>
                  <a:lnTo>
                    <a:pt x="1288" y="26"/>
                  </a:lnTo>
                  <a:lnTo>
                    <a:pt x="1296" y="26"/>
                  </a:lnTo>
                  <a:lnTo>
                    <a:pt x="1304" y="26"/>
                  </a:lnTo>
                  <a:lnTo>
                    <a:pt x="1306" y="26"/>
                  </a:lnTo>
                  <a:lnTo>
                    <a:pt x="1312" y="26"/>
                  </a:lnTo>
                  <a:lnTo>
                    <a:pt x="1320" y="26"/>
                  </a:lnTo>
                  <a:lnTo>
                    <a:pt x="1326" y="26"/>
                  </a:lnTo>
                  <a:lnTo>
                    <a:pt x="1334" y="26"/>
                  </a:lnTo>
                  <a:lnTo>
                    <a:pt x="1338" y="26"/>
                  </a:lnTo>
                  <a:lnTo>
                    <a:pt x="1344" y="26"/>
                  </a:lnTo>
                  <a:lnTo>
                    <a:pt x="1352" y="26"/>
                  </a:lnTo>
                  <a:lnTo>
                    <a:pt x="1358" y="26"/>
                  </a:lnTo>
                  <a:lnTo>
                    <a:pt x="1366" y="26"/>
                  </a:lnTo>
                  <a:lnTo>
                    <a:pt x="1372" y="26"/>
                  </a:lnTo>
                  <a:lnTo>
                    <a:pt x="1380" y="26"/>
                  </a:lnTo>
                  <a:lnTo>
                    <a:pt x="1386" y="26"/>
                  </a:lnTo>
                  <a:lnTo>
                    <a:pt x="1394" y="26"/>
                  </a:lnTo>
                  <a:lnTo>
                    <a:pt x="1402" y="26"/>
                  </a:lnTo>
                  <a:lnTo>
                    <a:pt x="1408" y="26"/>
                  </a:lnTo>
                  <a:lnTo>
                    <a:pt x="1416" y="26"/>
                  </a:lnTo>
                  <a:lnTo>
                    <a:pt x="1422" y="26"/>
                  </a:lnTo>
                  <a:lnTo>
                    <a:pt x="1428" y="26"/>
                  </a:lnTo>
                  <a:lnTo>
                    <a:pt x="1436" y="26"/>
                  </a:lnTo>
                  <a:lnTo>
                    <a:pt x="1442" y="26"/>
                  </a:lnTo>
                  <a:lnTo>
                    <a:pt x="1450" y="26"/>
                  </a:lnTo>
                  <a:lnTo>
                    <a:pt x="1456" y="26"/>
                  </a:lnTo>
                  <a:lnTo>
                    <a:pt x="1464" y="26"/>
                  </a:lnTo>
                  <a:lnTo>
                    <a:pt x="1470" y="26"/>
                  </a:lnTo>
                  <a:lnTo>
                    <a:pt x="1478" y="26"/>
                  </a:lnTo>
                  <a:lnTo>
                    <a:pt x="1480" y="26"/>
                  </a:lnTo>
                  <a:lnTo>
                    <a:pt x="1486" y="26"/>
                  </a:lnTo>
                  <a:lnTo>
                    <a:pt x="1494" y="26"/>
                  </a:lnTo>
                  <a:lnTo>
                    <a:pt x="1500" y="26"/>
                  </a:lnTo>
                  <a:lnTo>
                    <a:pt x="1508" y="26"/>
                  </a:lnTo>
                  <a:lnTo>
                    <a:pt x="1516" y="26"/>
                  </a:lnTo>
                  <a:lnTo>
                    <a:pt x="1522" y="26"/>
                  </a:lnTo>
                  <a:lnTo>
                    <a:pt x="1530" y="26"/>
                  </a:lnTo>
                  <a:lnTo>
                    <a:pt x="1536" y="26"/>
                  </a:lnTo>
                  <a:lnTo>
                    <a:pt x="1544" y="26"/>
                  </a:lnTo>
                  <a:lnTo>
                    <a:pt x="1550" y="26"/>
                  </a:lnTo>
                  <a:lnTo>
                    <a:pt x="1558" y="26"/>
                  </a:lnTo>
                  <a:lnTo>
                    <a:pt x="1564" y="26"/>
                  </a:lnTo>
                  <a:lnTo>
                    <a:pt x="1572" y="26"/>
                  </a:lnTo>
                  <a:lnTo>
                    <a:pt x="1574" y="26"/>
                  </a:lnTo>
                  <a:lnTo>
                    <a:pt x="1580" y="26"/>
                  </a:lnTo>
                  <a:lnTo>
                    <a:pt x="1588" y="26"/>
                  </a:lnTo>
                  <a:lnTo>
                    <a:pt x="1590" y="26"/>
                  </a:lnTo>
                  <a:lnTo>
                    <a:pt x="1596" y="26"/>
                  </a:lnTo>
                  <a:lnTo>
                    <a:pt x="1604" y="26"/>
                  </a:lnTo>
                  <a:lnTo>
                    <a:pt x="1612" y="26"/>
                  </a:lnTo>
                  <a:lnTo>
                    <a:pt x="1618" y="26"/>
                  </a:lnTo>
                  <a:lnTo>
                    <a:pt x="1622" y="26"/>
                  </a:lnTo>
                  <a:lnTo>
                    <a:pt x="1630" y="26"/>
                  </a:lnTo>
                  <a:lnTo>
                    <a:pt x="1636" y="26"/>
                  </a:lnTo>
                  <a:lnTo>
                    <a:pt x="1644" y="26"/>
                  </a:lnTo>
                  <a:lnTo>
                    <a:pt x="1650" y="26"/>
                  </a:lnTo>
                  <a:lnTo>
                    <a:pt x="1658" y="26"/>
                  </a:lnTo>
                  <a:lnTo>
                    <a:pt x="1664" y="26"/>
                  </a:lnTo>
                  <a:lnTo>
                    <a:pt x="1672" y="26"/>
                  </a:lnTo>
                  <a:lnTo>
                    <a:pt x="1678" y="26"/>
                  </a:lnTo>
                  <a:lnTo>
                    <a:pt x="1686" y="26"/>
                  </a:lnTo>
                  <a:lnTo>
                    <a:pt x="1694" y="26"/>
                  </a:lnTo>
                  <a:lnTo>
                    <a:pt x="1702" y="26"/>
                  </a:lnTo>
                  <a:lnTo>
                    <a:pt x="1710" y="26"/>
                  </a:lnTo>
                  <a:lnTo>
                    <a:pt x="1716" y="26"/>
                  </a:lnTo>
                  <a:lnTo>
                    <a:pt x="1724" y="26"/>
                  </a:lnTo>
                  <a:lnTo>
                    <a:pt x="1730" y="26"/>
                  </a:lnTo>
                  <a:lnTo>
                    <a:pt x="1738" y="26"/>
                  </a:lnTo>
                  <a:lnTo>
                    <a:pt x="1746" y="26"/>
                  </a:lnTo>
                  <a:lnTo>
                    <a:pt x="1752" y="26"/>
                  </a:lnTo>
                  <a:lnTo>
                    <a:pt x="1758" y="26"/>
                  </a:lnTo>
                  <a:lnTo>
                    <a:pt x="1766" y="26"/>
                  </a:lnTo>
                  <a:lnTo>
                    <a:pt x="1774" y="26"/>
                  </a:lnTo>
                  <a:lnTo>
                    <a:pt x="1780" y="26"/>
                  </a:lnTo>
                  <a:lnTo>
                    <a:pt x="1788" y="26"/>
                  </a:lnTo>
                  <a:lnTo>
                    <a:pt x="1790" y="26"/>
                  </a:lnTo>
                  <a:lnTo>
                    <a:pt x="1796" y="26"/>
                  </a:lnTo>
                  <a:lnTo>
                    <a:pt x="1802" y="26"/>
                  </a:lnTo>
                  <a:lnTo>
                    <a:pt x="1808" y="26"/>
                  </a:lnTo>
                  <a:lnTo>
                    <a:pt x="1816" y="26"/>
                  </a:lnTo>
                  <a:lnTo>
                    <a:pt x="1824" y="26"/>
                  </a:lnTo>
                  <a:lnTo>
                    <a:pt x="1830" y="26"/>
                  </a:lnTo>
                  <a:lnTo>
                    <a:pt x="1838" y="26"/>
                  </a:lnTo>
                  <a:lnTo>
                    <a:pt x="1842" y="26"/>
                  </a:lnTo>
                  <a:lnTo>
                    <a:pt x="1844" y="26"/>
                  </a:lnTo>
                  <a:lnTo>
                    <a:pt x="1846" y="26"/>
                  </a:lnTo>
                  <a:lnTo>
                    <a:pt x="1852" y="26"/>
                  </a:lnTo>
                  <a:lnTo>
                    <a:pt x="1858" y="26"/>
                  </a:lnTo>
                  <a:lnTo>
                    <a:pt x="1866" y="26"/>
                  </a:lnTo>
                  <a:lnTo>
                    <a:pt x="1872" y="26"/>
                  </a:lnTo>
                  <a:lnTo>
                    <a:pt x="1880" y="26"/>
                  </a:lnTo>
                  <a:lnTo>
                    <a:pt x="1888" y="26"/>
                  </a:lnTo>
                  <a:lnTo>
                    <a:pt x="1894" y="26"/>
                  </a:lnTo>
                  <a:lnTo>
                    <a:pt x="1902" y="26"/>
                  </a:lnTo>
                  <a:lnTo>
                    <a:pt x="1908" y="26"/>
                  </a:lnTo>
                  <a:lnTo>
                    <a:pt x="1916" y="26"/>
                  </a:lnTo>
                  <a:lnTo>
                    <a:pt x="1924" y="26"/>
                  </a:lnTo>
                  <a:lnTo>
                    <a:pt x="1930" y="26"/>
                  </a:lnTo>
                  <a:lnTo>
                    <a:pt x="1938" y="26"/>
                  </a:lnTo>
                  <a:lnTo>
                    <a:pt x="1942" y="26"/>
                  </a:lnTo>
                  <a:lnTo>
                    <a:pt x="1948" y="26"/>
                  </a:lnTo>
                  <a:lnTo>
                    <a:pt x="1954" y="26"/>
                  </a:lnTo>
                  <a:lnTo>
                    <a:pt x="1958" y="18"/>
                  </a:lnTo>
                  <a:lnTo>
                    <a:pt x="1960" y="14"/>
                  </a:lnTo>
                  <a:lnTo>
                    <a:pt x="1964" y="8"/>
                  </a:lnTo>
                  <a:lnTo>
                    <a:pt x="1968" y="0"/>
                  </a:lnTo>
                  <a:lnTo>
                    <a:pt x="1972" y="2"/>
                  </a:lnTo>
                  <a:lnTo>
                    <a:pt x="1976" y="2"/>
                  </a:lnTo>
                  <a:lnTo>
                    <a:pt x="1980" y="2"/>
                  </a:lnTo>
                  <a:lnTo>
                    <a:pt x="1982" y="8"/>
                  </a:lnTo>
                  <a:lnTo>
                    <a:pt x="1980" y="12"/>
                  </a:lnTo>
                  <a:lnTo>
                    <a:pt x="1978" y="20"/>
                  </a:lnTo>
                  <a:lnTo>
                    <a:pt x="1976" y="24"/>
                  </a:lnTo>
                  <a:lnTo>
                    <a:pt x="1974" y="30"/>
                  </a:lnTo>
                  <a:lnTo>
                    <a:pt x="1972" y="34"/>
                  </a:lnTo>
                  <a:lnTo>
                    <a:pt x="1970" y="42"/>
                  </a:lnTo>
                  <a:lnTo>
                    <a:pt x="1974" y="44"/>
                  </a:lnTo>
                  <a:lnTo>
                    <a:pt x="1980" y="46"/>
                  </a:lnTo>
                  <a:lnTo>
                    <a:pt x="1986" y="46"/>
                  </a:lnTo>
                  <a:lnTo>
                    <a:pt x="1992" y="50"/>
                  </a:lnTo>
                  <a:lnTo>
                    <a:pt x="1998" y="50"/>
                  </a:lnTo>
                  <a:lnTo>
                    <a:pt x="2004" y="50"/>
                  </a:lnTo>
                  <a:lnTo>
                    <a:pt x="2010" y="50"/>
                  </a:lnTo>
                  <a:lnTo>
                    <a:pt x="2008" y="56"/>
                  </a:lnTo>
                  <a:lnTo>
                    <a:pt x="2016" y="58"/>
                  </a:lnTo>
                  <a:lnTo>
                    <a:pt x="2020" y="56"/>
                  </a:lnTo>
                  <a:lnTo>
                    <a:pt x="2026" y="56"/>
                  </a:lnTo>
                  <a:lnTo>
                    <a:pt x="2034" y="52"/>
                  </a:lnTo>
                  <a:lnTo>
                    <a:pt x="2036" y="52"/>
                  </a:lnTo>
                  <a:lnTo>
                    <a:pt x="2042" y="50"/>
                  </a:lnTo>
                  <a:lnTo>
                    <a:pt x="2048" y="50"/>
                  </a:lnTo>
                  <a:lnTo>
                    <a:pt x="2054" y="50"/>
                  </a:lnTo>
                  <a:lnTo>
                    <a:pt x="2060" y="54"/>
                  </a:lnTo>
                  <a:lnTo>
                    <a:pt x="2066" y="56"/>
                  </a:lnTo>
                  <a:lnTo>
                    <a:pt x="2072" y="58"/>
                  </a:lnTo>
                  <a:lnTo>
                    <a:pt x="2070" y="62"/>
                  </a:lnTo>
                  <a:lnTo>
                    <a:pt x="2076" y="66"/>
                  </a:lnTo>
                  <a:lnTo>
                    <a:pt x="2074" y="72"/>
                  </a:lnTo>
                  <a:lnTo>
                    <a:pt x="2078" y="76"/>
                  </a:lnTo>
                  <a:lnTo>
                    <a:pt x="2080" y="76"/>
                  </a:lnTo>
                  <a:lnTo>
                    <a:pt x="2084" y="70"/>
                  </a:lnTo>
                  <a:lnTo>
                    <a:pt x="2090" y="68"/>
                  </a:lnTo>
                  <a:lnTo>
                    <a:pt x="2096" y="74"/>
                  </a:lnTo>
                  <a:lnTo>
                    <a:pt x="2102" y="80"/>
                  </a:lnTo>
                  <a:lnTo>
                    <a:pt x="2108" y="80"/>
                  </a:lnTo>
                  <a:lnTo>
                    <a:pt x="2106" y="84"/>
                  </a:lnTo>
                  <a:lnTo>
                    <a:pt x="2110" y="86"/>
                  </a:lnTo>
                  <a:lnTo>
                    <a:pt x="2112" y="88"/>
                  </a:lnTo>
                  <a:lnTo>
                    <a:pt x="2118" y="90"/>
                  </a:lnTo>
                  <a:lnTo>
                    <a:pt x="2122" y="88"/>
                  </a:lnTo>
                  <a:lnTo>
                    <a:pt x="2126" y="88"/>
                  </a:lnTo>
                  <a:lnTo>
                    <a:pt x="2132" y="86"/>
                  </a:lnTo>
                  <a:lnTo>
                    <a:pt x="2140" y="82"/>
                  </a:lnTo>
                  <a:lnTo>
                    <a:pt x="2144" y="80"/>
                  </a:lnTo>
                  <a:lnTo>
                    <a:pt x="2146" y="80"/>
                  </a:lnTo>
                  <a:lnTo>
                    <a:pt x="2152" y="78"/>
                  </a:lnTo>
                  <a:lnTo>
                    <a:pt x="2158" y="78"/>
                  </a:lnTo>
                  <a:lnTo>
                    <a:pt x="2156" y="78"/>
                  </a:lnTo>
                  <a:lnTo>
                    <a:pt x="2156" y="80"/>
                  </a:lnTo>
                  <a:lnTo>
                    <a:pt x="2158" y="86"/>
                  </a:lnTo>
                  <a:lnTo>
                    <a:pt x="2164" y="86"/>
                  </a:lnTo>
                  <a:lnTo>
                    <a:pt x="2170" y="86"/>
                  </a:lnTo>
                  <a:lnTo>
                    <a:pt x="2176" y="86"/>
                  </a:lnTo>
                  <a:lnTo>
                    <a:pt x="2182" y="86"/>
                  </a:lnTo>
                  <a:lnTo>
                    <a:pt x="2188" y="84"/>
                  </a:lnTo>
                  <a:lnTo>
                    <a:pt x="2194" y="86"/>
                  </a:lnTo>
                  <a:lnTo>
                    <a:pt x="2194" y="90"/>
                  </a:lnTo>
                  <a:lnTo>
                    <a:pt x="2202" y="92"/>
                  </a:lnTo>
                  <a:lnTo>
                    <a:pt x="2206" y="92"/>
                  </a:lnTo>
                  <a:lnTo>
                    <a:pt x="2214" y="92"/>
                  </a:lnTo>
                  <a:lnTo>
                    <a:pt x="2216" y="92"/>
                  </a:lnTo>
                  <a:lnTo>
                    <a:pt x="2210" y="96"/>
                  </a:lnTo>
                  <a:lnTo>
                    <a:pt x="2204" y="98"/>
                  </a:lnTo>
                  <a:lnTo>
                    <a:pt x="2198" y="100"/>
                  </a:lnTo>
                  <a:lnTo>
                    <a:pt x="2192" y="102"/>
                  </a:lnTo>
                  <a:lnTo>
                    <a:pt x="2188" y="104"/>
                  </a:lnTo>
                  <a:lnTo>
                    <a:pt x="2182" y="106"/>
                  </a:lnTo>
                  <a:lnTo>
                    <a:pt x="2176" y="108"/>
                  </a:lnTo>
                  <a:lnTo>
                    <a:pt x="2170" y="108"/>
                  </a:lnTo>
                  <a:lnTo>
                    <a:pt x="2164" y="110"/>
                  </a:lnTo>
                  <a:lnTo>
                    <a:pt x="2158" y="112"/>
                  </a:lnTo>
                  <a:lnTo>
                    <a:pt x="2152" y="114"/>
                  </a:lnTo>
                  <a:lnTo>
                    <a:pt x="2146" y="116"/>
                  </a:lnTo>
                  <a:lnTo>
                    <a:pt x="2140" y="118"/>
                  </a:lnTo>
                  <a:lnTo>
                    <a:pt x="2134" y="122"/>
                  </a:lnTo>
                  <a:lnTo>
                    <a:pt x="2128" y="124"/>
                  </a:lnTo>
                  <a:lnTo>
                    <a:pt x="2122" y="128"/>
                  </a:lnTo>
                  <a:lnTo>
                    <a:pt x="2116" y="130"/>
                  </a:lnTo>
                  <a:lnTo>
                    <a:pt x="2110" y="134"/>
                  </a:lnTo>
                  <a:lnTo>
                    <a:pt x="2104" y="138"/>
                  </a:lnTo>
                  <a:lnTo>
                    <a:pt x="2098" y="142"/>
                  </a:lnTo>
                  <a:lnTo>
                    <a:pt x="2092" y="146"/>
                  </a:lnTo>
                  <a:lnTo>
                    <a:pt x="2086" y="150"/>
                  </a:lnTo>
                  <a:lnTo>
                    <a:pt x="2080" y="152"/>
                  </a:lnTo>
                  <a:lnTo>
                    <a:pt x="2074" y="156"/>
                  </a:lnTo>
                  <a:lnTo>
                    <a:pt x="2068" y="160"/>
                  </a:lnTo>
                  <a:lnTo>
                    <a:pt x="2062" y="162"/>
                  </a:lnTo>
                  <a:lnTo>
                    <a:pt x="2056" y="166"/>
                  </a:lnTo>
                  <a:lnTo>
                    <a:pt x="2050" y="168"/>
                  </a:lnTo>
                  <a:lnTo>
                    <a:pt x="2044" y="172"/>
                  </a:lnTo>
                  <a:lnTo>
                    <a:pt x="2038" y="174"/>
                  </a:lnTo>
                  <a:lnTo>
                    <a:pt x="2038" y="176"/>
                  </a:lnTo>
                  <a:lnTo>
                    <a:pt x="2044" y="182"/>
                  </a:lnTo>
                  <a:lnTo>
                    <a:pt x="2050" y="182"/>
                  </a:lnTo>
                  <a:lnTo>
                    <a:pt x="2054" y="180"/>
                  </a:lnTo>
                  <a:lnTo>
                    <a:pt x="2060" y="178"/>
                  </a:lnTo>
                  <a:lnTo>
                    <a:pt x="2068" y="176"/>
                  </a:lnTo>
                  <a:lnTo>
                    <a:pt x="2072" y="176"/>
                  </a:lnTo>
                  <a:lnTo>
                    <a:pt x="2078" y="174"/>
                  </a:lnTo>
                  <a:lnTo>
                    <a:pt x="2084" y="172"/>
                  </a:lnTo>
                  <a:lnTo>
                    <a:pt x="2090" y="168"/>
                  </a:lnTo>
                  <a:lnTo>
                    <a:pt x="2096" y="168"/>
                  </a:lnTo>
                  <a:lnTo>
                    <a:pt x="2102" y="166"/>
                  </a:lnTo>
                  <a:lnTo>
                    <a:pt x="2108" y="164"/>
                  </a:lnTo>
                  <a:lnTo>
                    <a:pt x="2114" y="164"/>
                  </a:lnTo>
                  <a:lnTo>
                    <a:pt x="2112" y="170"/>
                  </a:lnTo>
                  <a:lnTo>
                    <a:pt x="2106" y="174"/>
                  </a:lnTo>
                  <a:lnTo>
                    <a:pt x="2104" y="180"/>
                  </a:lnTo>
                  <a:lnTo>
                    <a:pt x="2096" y="186"/>
                  </a:lnTo>
                  <a:lnTo>
                    <a:pt x="2102" y="186"/>
                  </a:lnTo>
                  <a:lnTo>
                    <a:pt x="2110" y="182"/>
                  </a:lnTo>
                  <a:lnTo>
                    <a:pt x="2114" y="188"/>
                  </a:lnTo>
                  <a:lnTo>
                    <a:pt x="2120" y="190"/>
                  </a:lnTo>
                  <a:lnTo>
                    <a:pt x="2122" y="188"/>
                  </a:lnTo>
                  <a:lnTo>
                    <a:pt x="2128" y="186"/>
                  </a:lnTo>
                  <a:lnTo>
                    <a:pt x="2134" y="184"/>
                  </a:lnTo>
                  <a:lnTo>
                    <a:pt x="2140" y="184"/>
                  </a:lnTo>
                  <a:lnTo>
                    <a:pt x="2148" y="182"/>
                  </a:lnTo>
                  <a:lnTo>
                    <a:pt x="2150" y="180"/>
                  </a:lnTo>
                  <a:lnTo>
                    <a:pt x="2156" y="178"/>
                  </a:lnTo>
                  <a:lnTo>
                    <a:pt x="2160" y="174"/>
                  </a:lnTo>
                  <a:lnTo>
                    <a:pt x="2168" y="172"/>
                  </a:lnTo>
                  <a:lnTo>
                    <a:pt x="2172" y="172"/>
                  </a:lnTo>
                  <a:lnTo>
                    <a:pt x="2178" y="170"/>
                  </a:lnTo>
                  <a:lnTo>
                    <a:pt x="2186" y="170"/>
                  </a:lnTo>
                  <a:lnTo>
                    <a:pt x="2190" y="168"/>
                  </a:lnTo>
                  <a:lnTo>
                    <a:pt x="2198" y="166"/>
                  </a:lnTo>
                  <a:lnTo>
                    <a:pt x="2204" y="162"/>
                  </a:lnTo>
                  <a:lnTo>
                    <a:pt x="2210" y="160"/>
                  </a:lnTo>
                  <a:lnTo>
                    <a:pt x="2216" y="160"/>
                  </a:lnTo>
                  <a:lnTo>
                    <a:pt x="2222" y="156"/>
                  </a:lnTo>
                  <a:lnTo>
                    <a:pt x="2228" y="152"/>
                  </a:lnTo>
                  <a:lnTo>
                    <a:pt x="2234" y="148"/>
                  </a:lnTo>
                  <a:lnTo>
                    <a:pt x="2240" y="144"/>
                  </a:lnTo>
                  <a:lnTo>
                    <a:pt x="2238" y="150"/>
                  </a:lnTo>
                  <a:lnTo>
                    <a:pt x="2242" y="156"/>
                  </a:lnTo>
                  <a:lnTo>
                    <a:pt x="2242" y="162"/>
                  </a:lnTo>
                  <a:lnTo>
                    <a:pt x="2238" y="168"/>
                  </a:lnTo>
                  <a:lnTo>
                    <a:pt x="2236" y="174"/>
                  </a:lnTo>
                  <a:lnTo>
                    <a:pt x="2242" y="170"/>
                  </a:lnTo>
                  <a:lnTo>
                    <a:pt x="2248" y="168"/>
                  </a:lnTo>
                  <a:lnTo>
                    <a:pt x="2254" y="164"/>
                  </a:lnTo>
                  <a:lnTo>
                    <a:pt x="2248" y="170"/>
                  </a:lnTo>
                  <a:lnTo>
                    <a:pt x="2254" y="166"/>
                  </a:lnTo>
                  <a:lnTo>
                    <a:pt x="2260" y="166"/>
                  </a:lnTo>
                  <a:lnTo>
                    <a:pt x="2266" y="166"/>
                  </a:lnTo>
                  <a:lnTo>
                    <a:pt x="2272" y="166"/>
                  </a:lnTo>
                  <a:lnTo>
                    <a:pt x="2278" y="172"/>
                  </a:lnTo>
                  <a:lnTo>
                    <a:pt x="2282" y="178"/>
                  </a:lnTo>
                  <a:lnTo>
                    <a:pt x="2284" y="184"/>
                  </a:lnTo>
                  <a:lnTo>
                    <a:pt x="2286" y="190"/>
                  </a:lnTo>
                  <a:lnTo>
                    <a:pt x="2292" y="194"/>
                  </a:lnTo>
                  <a:lnTo>
                    <a:pt x="2298" y="194"/>
                  </a:lnTo>
                  <a:lnTo>
                    <a:pt x="2304" y="192"/>
                  </a:lnTo>
                  <a:lnTo>
                    <a:pt x="2310" y="196"/>
                  </a:lnTo>
                  <a:lnTo>
                    <a:pt x="2316" y="194"/>
                  </a:lnTo>
                  <a:lnTo>
                    <a:pt x="2322" y="198"/>
                  </a:lnTo>
                  <a:lnTo>
                    <a:pt x="2326" y="196"/>
                  </a:lnTo>
                  <a:lnTo>
                    <a:pt x="2328" y="194"/>
                  </a:lnTo>
                  <a:lnTo>
                    <a:pt x="2334" y="192"/>
                  </a:lnTo>
                  <a:lnTo>
                    <a:pt x="2340" y="190"/>
                  </a:lnTo>
                  <a:lnTo>
                    <a:pt x="2346" y="186"/>
                  </a:lnTo>
                  <a:lnTo>
                    <a:pt x="2352" y="184"/>
                  </a:lnTo>
                  <a:lnTo>
                    <a:pt x="2358" y="182"/>
                  </a:lnTo>
                  <a:lnTo>
                    <a:pt x="2364" y="182"/>
                  </a:lnTo>
                  <a:lnTo>
                    <a:pt x="2370" y="180"/>
                  </a:lnTo>
                  <a:lnTo>
                    <a:pt x="2376" y="182"/>
                  </a:lnTo>
                  <a:lnTo>
                    <a:pt x="2382" y="182"/>
                  </a:lnTo>
                  <a:lnTo>
                    <a:pt x="2388" y="182"/>
                  </a:lnTo>
                  <a:lnTo>
                    <a:pt x="2394" y="182"/>
                  </a:lnTo>
                  <a:lnTo>
                    <a:pt x="2400" y="180"/>
                  </a:lnTo>
                  <a:lnTo>
                    <a:pt x="2406" y="178"/>
                  </a:lnTo>
                  <a:lnTo>
                    <a:pt x="2412" y="176"/>
                  </a:lnTo>
                  <a:lnTo>
                    <a:pt x="2418" y="176"/>
                  </a:lnTo>
                  <a:lnTo>
                    <a:pt x="2422" y="176"/>
                  </a:lnTo>
                  <a:lnTo>
                    <a:pt x="2422" y="178"/>
                  </a:lnTo>
                  <a:lnTo>
                    <a:pt x="2418" y="184"/>
                  </a:lnTo>
                  <a:lnTo>
                    <a:pt x="2414" y="190"/>
                  </a:lnTo>
                  <a:lnTo>
                    <a:pt x="2414" y="194"/>
                  </a:lnTo>
                  <a:lnTo>
                    <a:pt x="2420" y="196"/>
                  </a:lnTo>
                  <a:lnTo>
                    <a:pt x="2426" y="196"/>
                  </a:lnTo>
                  <a:lnTo>
                    <a:pt x="2432" y="194"/>
                  </a:lnTo>
                  <a:lnTo>
                    <a:pt x="2438" y="198"/>
                  </a:lnTo>
                  <a:lnTo>
                    <a:pt x="2444" y="196"/>
                  </a:lnTo>
                  <a:lnTo>
                    <a:pt x="2448" y="194"/>
                  </a:lnTo>
                  <a:lnTo>
                    <a:pt x="2452" y="200"/>
                  </a:lnTo>
                  <a:lnTo>
                    <a:pt x="2452" y="206"/>
                  </a:lnTo>
                  <a:lnTo>
                    <a:pt x="2450" y="212"/>
                  </a:lnTo>
                  <a:lnTo>
                    <a:pt x="2444" y="214"/>
                  </a:lnTo>
                  <a:lnTo>
                    <a:pt x="2450" y="216"/>
                  </a:lnTo>
                  <a:lnTo>
                    <a:pt x="2452" y="222"/>
                  </a:lnTo>
                  <a:lnTo>
                    <a:pt x="2458" y="228"/>
                  </a:lnTo>
                  <a:lnTo>
                    <a:pt x="2452" y="230"/>
                  </a:lnTo>
                  <a:lnTo>
                    <a:pt x="2446" y="230"/>
                  </a:lnTo>
                  <a:lnTo>
                    <a:pt x="2440" y="228"/>
                  </a:lnTo>
                  <a:lnTo>
                    <a:pt x="2434" y="228"/>
                  </a:lnTo>
                  <a:lnTo>
                    <a:pt x="2428" y="228"/>
                  </a:lnTo>
                  <a:lnTo>
                    <a:pt x="2422" y="226"/>
                  </a:lnTo>
                  <a:lnTo>
                    <a:pt x="2416" y="226"/>
                  </a:lnTo>
                  <a:lnTo>
                    <a:pt x="2410" y="232"/>
                  </a:lnTo>
                  <a:lnTo>
                    <a:pt x="2410" y="238"/>
                  </a:lnTo>
                  <a:lnTo>
                    <a:pt x="2404" y="236"/>
                  </a:lnTo>
                  <a:lnTo>
                    <a:pt x="2400" y="230"/>
                  </a:lnTo>
                  <a:lnTo>
                    <a:pt x="2398" y="228"/>
                  </a:lnTo>
                  <a:lnTo>
                    <a:pt x="2392" y="224"/>
                  </a:lnTo>
                  <a:lnTo>
                    <a:pt x="2386" y="224"/>
                  </a:lnTo>
                  <a:lnTo>
                    <a:pt x="2380" y="222"/>
                  </a:lnTo>
                  <a:lnTo>
                    <a:pt x="2374" y="222"/>
                  </a:lnTo>
                  <a:lnTo>
                    <a:pt x="2368" y="224"/>
                  </a:lnTo>
                  <a:lnTo>
                    <a:pt x="2362" y="228"/>
                  </a:lnTo>
                  <a:lnTo>
                    <a:pt x="2356" y="230"/>
                  </a:lnTo>
                  <a:lnTo>
                    <a:pt x="2350" y="230"/>
                  </a:lnTo>
                  <a:lnTo>
                    <a:pt x="2344" y="232"/>
                  </a:lnTo>
                  <a:lnTo>
                    <a:pt x="2338" y="230"/>
                  </a:lnTo>
                  <a:lnTo>
                    <a:pt x="2332" y="230"/>
                  </a:lnTo>
                  <a:lnTo>
                    <a:pt x="2326" y="232"/>
                  </a:lnTo>
                  <a:lnTo>
                    <a:pt x="2320" y="238"/>
                  </a:lnTo>
                  <a:lnTo>
                    <a:pt x="2318" y="240"/>
                  </a:lnTo>
                  <a:lnTo>
                    <a:pt x="2312" y="244"/>
                  </a:lnTo>
                  <a:lnTo>
                    <a:pt x="2306" y="246"/>
                  </a:lnTo>
                  <a:lnTo>
                    <a:pt x="2300" y="250"/>
                  </a:lnTo>
                  <a:lnTo>
                    <a:pt x="2294" y="254"/>
                  </a:lnTo>
                  <a:lnTo>
                    <a:pt x="2298" y="248"/>
                  </a:lnTo>
                  <a:lnTo>
                    <a:pt x="2304" y="242"/>
                  </a:lnTo>
                  <a:lnTo>
                    <a:pt x="2310" y="236"/>
                  </a:lnTo>
                  <a:lnTo>
                    <a:pt x="2304" y="238"/>
                  </a:lnTo>
                  <a:lnTo>
                    <a:pt x="2298" y="236"/>
                  </a:lnTo>
                  <a:lnTo>
                    <a:pt x="2292" y="242"/>
                  </a:lnTo>
                  <a:lnTo>
                    <a:pt x="2286" y="248"/>
                  </a:lnTo>
                  <a:lnTo>
                    <a:pt x="2280" y="250"/>
                  </a:lnTo>
                  <a:lnTo>
                    <a:pt x="2282" y="244"/>
                  </a:lnTo>
                  <a:lnTo>
                    <a:pt x="2286" y="238"/>
                  </a:lnTo>
                  <a:lnTo>
                    <a:pt x="2280" y="240"/>
                  </a:lnTo>
                  <a:lnTo>
                    <a:pt x="2274" y="246"/>
                  </a:lnTo>
                  <a:lnTo>
                    <a:pt x="2270" y="250"/>
                  </a:lnTo>
                  <a:lnTo>
                    <a:pt x="2264" y="256"/>
                  </a:lnTo>
                  <a:lnTo>
                    <a:pt x="2258" y="262"/>
                  </a:lnTo>
                  <a:lnTo>
                    <a:pt x="2252" y="268"/>
                  </a:lnTo>
                  <a:lnTo>
                    <a:pt x="2246" y="272"/>
                  </a:lnTo>
                  <a:lnTo>
                    <a:pt x="2240" y="278"/>
                  </a:lnTo>
                  <a:lnTo>
                    <a:pt x="2234" y="282"/>
                  </a:lnTo>
                  <a:lnTo>
                    <a:pt x="2228" y="286"/>
                  </a:lnTo>
                  <a:lnTo>
                    <a:pt x="2228" y="288"/>
                  </a:lnTo>
                  <a:lnTo>
                    <a:pt x="2222" y="296"/>
                  </a:lnTo>
                  <a:lnTo>
                    <a:pt x="2216" y="298"/>
                  </a:lnTo>
                  <a:lnTo>
                    <a:pt x="2210" y="300"/>
                  </a:lnTo>
                  <a:lnTo>
                    <a:pt x="2206" y="306"/>
                  </a:lnTo>
                  <a:lnTo>
                    <a:pt x="2200" y="310"/>
                  </a:lnTo>
                  <a:lnTo>
                    <a:pt x="2194" y="316"/>
                  </a:lnTo>
                  <a:lnTo>
                    <a:pt x="2188" y="322"/>
                  </a:lnTo>
                  <a:lnTo>
                    <a:pt x="2186" y="326"/>
                  </a:lnTo>
                  <a:lnTo>
                    <a:pt x="2192" y="326"/>
                  </a:lnTo>
                  <a:lnTo>
                    <a:pt x="2198" y="322"/>
                  </a:lnTo>
                  <a:lnTo>
                    <a:pt x="2204" y="318"/>
                  </a:lnTo>
                  <a:lnTo>
                    <a:pt x="2210" y="312"/>
                  </a:lnTo>
                  <a:lnTo>
                    <a:pt x="2216" y="308"/>
                  </a:lnTo>
                  <a:lnTo>
                    <a:pt x="2222" y="306"/>
                  </a:lnTo>
                  <a:lnTo>
                    <a:pt x="2228" y="304"/>
                  </a:lnTo>
                  <a:lnTo>
                    <a:pt x="2232" y="310"/>
                  </a:lnTo>
                  <a:lnTo>
                    <a:pt x="2228" y="316"/>
                  </a:lnTo>
                  <a:lnTo>
                    <a:pt x="2222" y="322"/>
                  </a:lnTo>
                  <a:lnTo>
                    <a:pt x="2216" y="326"/>
                  </a:lnTo>
                  <a:lnTo>
                    <a:pt x="2212" y="334"/>
                  </a:lnTo>
                  <a:lnTo>
                    <a:pt x="2208" y="338"/>
                  </a:lnTo>
                  <a:lnTo>
                    <a:pt x="2204" y="344"/>
                  </a:lnTo>
                  <a:lnTo>
                    <a:pt x="2202" y="350"/>
                  </a:lnTo>
                  <a:lnTo>
                    <a:pt x="2198" y="356"/>
                  </a:lnTo>
                  <a:lnTo>
                    <a:pt x="2190" y="360"/>
                  </a:lnTo>
                  <a:lnTo>
                    <a:pt x="2186" y="366"/>
                  </a:lnTo>
                  <a:lnTo>
                    <a:pt x="2182" y="372"/>
                  </a:lnTo>
                  <a:lnTo>
                    <a:pt x="2178" y="376"/>
                  </a:lnTo>
                  <a:lnTo>
                    <a:pt x="2178" y="382"/>
                  </a:lnTo>
                  <a:lnTo>
                    <a:pt x="2172" y="388"/>
                  </a:lnTo>
                  <a:lnTo>
                    <a:pt x="2166" y="394"/>
                  </a:lnTo>
                  <a:lnTo>
                    <a:pt x="2164" y="400"/>
                  </a:lnTo>
                  <a:lnTo>
                    <a:pt x="2158" y="406"/>
                  </a:lnTo>
                  <a:lnTo>
                    <a:pt x="2154" y="412"/>
                  </a:lnTo>
                  <a:lnTo>
                    <a:pt x="2150" y="418"/>
                  </a:lnTo>
                  <a:lnTo>
                    <a:pt x="2148" y="424"/>
                  </a:lnTo>
                  <a:lnTo>
                    <a:pt x="2146" y="430"/>
                  </a:lnTo>
                  <a:lnTo>
                    <a:pt x="2146" y="436"/>
                  </a:lnTo>
                  <a:lnTo>
                    <a:pt x="2144" y="442"/>
                  </a:lnTo>
                  <a:lnTo>
                    <a:pt x="2144" y="448"/>
                  </a:lnTo>
                  <a:lnTo>
                    <a:pt x="2142" y="452"/>
                  </a:lnTo>
                  <a:lnTo>
                    <a:pt x="2136" y="458"/>
                  </a:lnTo>
                  <a:lnTo>
                    <a:pt x="2134" y="464"/>
                  </a:lnTo>
                  <a:lnTo>
                    <a:pt x="2134" y="468"/>
                  </a:lnTo>
                  <a:lnTo>
                    <a:pt x="2130" y="474"/>
                  </a:lnTo>
                  <a:lnTo>
                    <a:pt x="2126" y="480"/>
                  </a:lnTo>
                  <a:lnTo>
                    <a:pt x="2124" y="486"/>
                  </a:lnTo>
                  <a:lnTo>
                    <a:pt x="2126" y="490"/>
                  </a:lnTo>
                  <a:lnTo>
                    <a:pt x="2128" y="498"/>
                  </a:lnTo>
                  <a:lnTo>
                    <a:pt x="2126" y="504"/>
                  </a:lnTo>
                  <a:lnTo>
                    <a:pt x="2126" y="508"/>
                  </a:lnTo>
                  <a:lnTo>
                    <a:pt x="2124" y="514"/>
                  </a:lnTo>
                  <a:lnTo>
                    <a:pt x="2126" y="520"/>
                  </a:lnTo>
                  <a:lnTo>
                    <a:pt x="2130" y="524"/>
                  </a:lnTo>
                  <a:lnTo>
                    <a:pt x="2136" y="526"/>
                  </a:lnTo>
                  <a:lnTo>
                    <a:pt x="2142" y="526"/>
                  </a:lnTo>
                  <a:lnTo>
                    <a:pt x="2148" y="524"/>
                  </a:lnTo>
                  <a:lnTo>
                    <a:pt x="2154" y="522"/>
                  </a:lnTo>
                  <a:lnTo>
                    <a:pt x="2160" y="520"/>
                  </a:lnTo>
                  <a:lnTo>
                    <a:pt x="2166" y="518"/>
                  </a:lnTo>
                  <a:lnTo>
                    <a:pt x="2168" y="516"/>
                  </a:lnTo>
                  <a:lnTo>
                    <a:pt x="2174" y="512"/>
                  </a:lnTo>
                  <a:lnTo>
                    <a:pt x="2182" y="508"/>
                  </a:lnTo>
                  <a:lnTo>
                    <a:pt x="2186" y="502"/>
                  </a:lnTo>
                  <a:lnTo>
                    <a:pt x="2192" y="496"/>
                  </a:lnTo>
                  <a:lnTo>
                    <a:pt x="2198" y="490"/>
                  </a:lnTo>
                  <a:lnTo>
                    <a:pt x="2202" y="486"/>
                  </a:lnTo>
                  <a:lnTo>
                    <a:pt x="2208" y="480"/>
                  </a:lnTo>
                  <a:lnTo>
                    <a:pt x="2214" y="474"/>
                  </a:lnTo>
                  <a:lnTo>
                    <a:pt x="2218" y="468"/>
                  </a:lnTo>
                  <a:lnTo>
                    <a:pt x="2222" y="462"/>
                  </a:lnTo>
                  <a:lnTo>
                    <a:pt x="2226" y="456"/>
                  </a:lnTo>
                  <a:lnTo>
                    <a:pt x="2230" y="450"/>
                  </a:lnTo>
                  <a:lnTo>
                    <a:pt x="2232" y="444"/>
                  </a:lnTo>
                  <a:lnTo>
                    <a:pt x="2234" y="438"/>
                  </a:lnTo>
                  <a:lnTo>
                    <a:pt x="2236" y="432"/>
                  </a:lnTo>
                  <a:lnTo>
                    <a:pt x="2236" y="428"/>
                  </a:lnTo>
                  <a:lnTo>
                    <a:pt x="2236" y="422"/>
                  </a:lnTo>
                  <a:lnTo>
                    <a:pt x="2240" y="416"/>
                  </a:lnTo>
                  <a:lnTo>
                    <a:pt x="2242" y="414"/>
                  </a:lnTo>
                  <a:lnTo>
                    <a:pt x="2236" y="410"/>
                  </a:lnTo>
                  <a:lnTo>
                    <a:pt x="2236" y="404"/>
                  </a:lnTo>
                  <a:lnTo>
                    <a:pt x="2238" y="398"/>
                  </a:lnTo>
                  <a:lnTo>
                    <a:pt x="2238" y="392"/>
                  </a:lnTo>
                  <a:lnTo>
                    <a:pt x="2240" y="386"/>
                  </a:lnTo>
                  <a:lnTo>
                    <a:pt x="2246" y="380"/>
                  </a:lnTo>
                  <a:lnTo>
                    <a:pt x="2250" y="374"/>
                  </a:lnTo>
                  <a:lnTo>
                    <a:pt x="2252" y="368"/>
                  </a:lnTo>
                  <a:lnTo>
                    <a:pt x="2252" y="364"/>
                  </a:lnTo>
                  <a:lnTo>
                    <a:pt x="2256" y="358"/>
                  </a:lnTo>
                  <a:lnTo>
                    <a:pt x="2262" y="354"/>
                  </a:lnTo>
                  <a:lnTo>
                    <a:pt x="2268" y="348"/>
                  </a:lnTo>
                  <a:lnTo>
                    <a:pt x="2274" y="342"/>
                  </a:lnTo>
                  <a:lnTo>
                    <a:pt x="2278" y="336"/>
                  </a:lnTo>
                  <a:lnTo>
                    <a:pt x="2282" y="330"/>
                  </a:lnTo>
                  <a:lnTo>
                    <a:pt x="2286" y="324"/>
                  </a:lnTo>
                  <a:lnTo>
                    <a:pt x="2286" y="318"/>
                  </a:lnTo>
                  <a:lnTo>
                    <a:pt x="2292" y="314"/>
                  </a:lnTo>
                  <a:lnTo>
                    <a:pt x="2298" y="312"/>
                  </a:lnTo>
                  <a:lnTo>
                    <a:pt x="2302" y="308"/>
                  </a:lnTo>
                  <a:lnTo>
                    <a:pt x="2306" y="302"/>
                  </a:lnTo>
                  <a:lnTo>
                    <a:pt x="2312" y="300"/>
                  </a:lnTo>
                  <a:lnTo>
                    <a:pt x="2318" y="300"/>
                  </a:lnTo>
                  <a:lnTo>
                    <a:pt x="2322" y="296"/>
                  </a:lnTo>
                  <a:lnTo>
                    <a:pt x="2330" y="290"/>
                  </a:lnTo>
                  <a:lnTo>
                    <a:pt x="2334" y="286"/>
                  </a:lnTo>
                  <a:lnTo>
                    <a:pt x="2340" y="282"/>
                  </a:lnTo>
                  <a:lnTo>
                    <a:pt x="2336" y="288"/>
                  </a:lnTo>
                  <a:lnTo>
                    <a:pt x="2334" y="294"/>
                  </a:lnTo>
                  <a:lnTo>
                    <a:pt x="2332" y="296"/>
                  </a:lnTo>
                  <a:lnTo>
                    <a:pt x="2330" y="302"/>
                  </a:lnTo>
                  <a:lnTo>
                    <a:pt x="2326" y="308"/>
                  </a:lnTo>
                  <a:lnTo>
                    <a:pt x="2330" y="304"/>
                  </a:lnTo>
                  <a:lnTo>
                    <a:pt x="2336" y="298"/>
                  </a:lnTo>
                  <a:lnTo>
                    <a:pt x="2334" y="304"/>
                  </a:lnTo>
                  <a:lnTo>
                    <a:pt x="2328" y="310"/>
                  </a:lnTo>
                  <a:lnTo>
                    <a:pt x="2334" y="308"/>
                  </a:lnTo>
                  <a:lnTo>
                    <a:pt x="2340" y="302"/>
                  </a:lnTo>
                  <a:lnTo>
                    <a:pt x="2344" y="296"/>
                  </a:lnTo>
                  <a:lnTo>
                    <a:pt x="2348" y="290"/>
                  </a:lnTo>
                  <a:lnTo>
                    <a:pt x="2350" y="284"/>
                  </a:lnTo>
                  <a:lnTo>
                    <a:pt x="2354" y="278"/>
                  </a:lnTo>
                  <a:lnTo>
                    <a:pt x="2360" y="274"/>
                  </a:lnTo>
                  <a:lnTo>
                    <a:pt x="2366" y="272"/>
                  </a:lnTo>
                  <a:lnTo>
                    <a:pt x="2372" y="270"/>
                  </a:lnTo>
                  <a:lnTo>
                    <a:pt x="2376" y="270"/>
                  </a:lnTo>
                  <a:lnTo>
                    <a:pt x="2378" y="270"/>
                  </a:lnTo>
                  <a:lnTo>
                    <a:pt x="2384" y="268"/>
                  </a:lnTo>
                  <a:lnTo>
                    <a:pt x="2380" y="266"/>
                  </a:lnTo>
                  <a:lnTo>
                    <a:pt x="2376" y="260"/>
                  </a:lnTo>
                  <a:lnTo>
                    <a:pt x="2380" y="254"/>
                  </a:lnTo>
                  <a:lnTo>
                    <a:pt x="2386" y="250"/>
                  </a:lnTo>
                  <a:lnTo>
                    <a:pt x="2388" y="250"/>
                  </a:lnTo>
                  <a:lnTo>
                    <a:pt x="2392" y="244"/>
                  </a:lnTo>
                  <a:lnTo>
                    <a:pt x="2398" y="244"/>
                  </a:lnTo>
                  <a:lnTo>
                    <a:pt x="2404" y="242"/>
                  </a:lnTo>
                  <a:lnTo>
                    <a:pt x="2410" y="244"/>
                  </a:lnTo>
                  <a:lnTo>
                    <a:pt x="2416" y="250"/>
                  </a:lnTo>
                  <a:lnTo>
                    <a:pt x="2422" y="250"/>
                  </a:lnTo>
                  <a:lnTo>
                    <a:pt x="2424" y="250"/>
                  </a:lnTo>
                  <a:lnTo>
                    <a:pt x="2430" y="254"/>
                  </a:lnTo>
                  <a:lnTo>
                    <a:pt x="2430" y="260"/>
                  </a:lnTo>
                  <a:lnTo>
                    <a:pt x="2436" y="262"/>
                  </a:lnTo>
                  <a:lnTo>
                    <a:pt x="2442" y="264"/>
                  </a:lnTo>
                  <a:lnTo>
                    <a:pt x="2448" y="268"/>
                  </a:lnTo>
                  <a:lnTo>
                    <a:pt x="2454" y="270"/>
                  </a:lnTo>
                  <a:lnTo>
                    <a:pt x="2460" y="272"/>
                  </a:lnTo>
                  <a:lnTo>
                    <a:pt x="2462" y="278"/>
                  </a:lnTo>
                  <a:lnTo>
                    <a:pt x="2460" y="284"/>
                  </a:lnTo>
                  <a:lnTo>
                    <a:pt x="2462" y="290"/>
                  </a:lnTo>
                  <a:lnTo>
                    <a:pt x="2456" y="292"/>
                  </a:lnTo>
                  <a:lnTo>
                    <a:pt x="2450" y="296"/>
                  </a:lnTo>
                  <a:lnTo>
                    <a:pt x="2452" y="302"/>
                  </a:lnTo>
                  <a:lnTo>
                    <a:pt x="2454" y="308"/>
                  </a:lnTo>
                  <a:lnTo>
                    <a:pt x="2452" y="314"/>
                  </a:lnTo>
                  <a:lnTo>
                    <a:pt x="2448" y="320"/>
                  </a:lnTo>
                  <a:lnTo>
                    <a:pt x="2444" y="326"/>
                  </a:lnTo>
                  <a:lnTo>
                    <a:pt x="2442" y="332"/>
                  </a:lnTo>
                  <a:lnTo>
                    <a:pt x="2440" y="336"/>
                  </a:lnTo>
                  <a:lnTo>
                    <a:pt x="2436" y="342"/>
                  </a:lnTo>
                  <a:lnTo>
                    <a:pt x="2430" y="344"/>
                  </a:lnTo>
                  <a:lnTo>
                    <a:pt x="2424" y="346"/>
                  </a:lnTo>
                  <a:lnTo>
                    <a:pt x="2420" y="352"/>
                  </a:lnTo>
                  <a:lnTo>
                    <a:pt x="2416" y="358"/>
                  </a:lnTo>
                  <a:lnTo>
                    <a:pt x="2410" y="360"/>
                  </a:lnTo>
                  <a:lnTo>
                    <a:pt x="2404" y="364"/>
                  </a:lnTo>
                  <a:lnTo>
                    <a:pt x="2398" y="364"/>
                  </a:lnTo>
                  <a:lnTo>
                    <a:pt x="2392" y="370"/>
                  </a:lnTo>
                  <a:lnTo>
                    <a:pt x="2388" y="376"/>
                  </a:lnTo>
                  <a:lnTo>
                    <a:pt x="2384" y="382"/>
                  </a:lnTo>
                  <a:lnTo>
                    <a:pt x="2388" y="388"/>
                  </a:lnTo>
                  <a:lnTo>
                    <a:pt x="2394" y="390"/>
                  </a:lnTo>
                  <a:lnTo>
                    <a:pt x="2400" y="388"/>
                  </a:lnTo>
                  <a:lnTo>
                    <a:pt x="2406" y="384"/>
                  </a:lnTo>
                  <a:lnTo>
                    <a:pt x="2412" y="382"/>
                  </a:lnTo>
                  <a:lnTo>
                    <a:pt x="2418" y="376"/>
                  </a:lnTo>
                  <a:lnTo>
                    <a:pt x="2422" y="372"/>
                  </a:lnTo>
                  <a:lnTo>
                    <a:pt x="2430" y="366"/>
                  </a:lnTo>
                  <a:lnTo>
                    <a:pt x="2436" y="364"/>
                  </a:lnTo>
                  <a:lnTo>
                    <a:pt x="2440" y="364"/>
                  </a:lnTo>
                  <a:lnTo>
                    <a:pt x="2446" y="360"/>
                  </a:lnTo>
                  <a:lnTo>
                    <a:pt x="2452" y="360"/>
                  </a:lnTo>
                  <a:lnTo>
                    <a:pt x="2458" y="364"/>
                  </a:lnTo>
                  <a:lnTo>
                    <a:pt x="2460" y="370"/>
                  </a:lnTo>
                  <a:lnTo>
                    <a:pt x="2460" y="376"/>
                  </a:lnTo>
                  <a:lnTo>
                    <a:pt x="2458" y="382"/>
                  </a:lnTo>
                  <a:lnTo>
                    <a:pt x="2456" y="388"/>
                  </a:lnTo>
                  <a:lnTo>
                    <a:pt x="2454" y="394"/>
                  </a:lnTo>
                  <a:lnTo>
                    <a:pt x="2454" y="400"/>
                  </a:lnTo>
                  <a:lnTo>
                    <a:pt x="2452" y="406"/>
                  </a:lnTo>
                  <a:lnTo>
                    <a:pt x="2450" y="412"/>
                  </a:lnTo>
                  <a:lnTo>
                    <a:pt x="2448" y="418"/>
                  </a:lnTo>
                  <a:lnTo>
                    <a:pt x="2448" y="424"/>
                  </a:lnTo>
                  <a:lnTo>
                    <a:pt x="2448" y="430"/>
                  </a:lnTo>
                  <a:lnTo>
                    <a:pt x="2448" y="432"/>
                  </a:lnTo>
                  <a:lnTo>
                    <a:pt x="2446" y="436"/>
                  </a:lnTo>
                  <a:lnTo>
                    <a:pt x="2442" y="440"/>
                  </a:lnTo>
                  <a:lnTo>
                    <a:pt x="2438" y="446"/>
                  </a:lnTo>
                  <a:lnTo>
                    <a:pt x="2436" y="452"/>
                  </a:lnTo>
                  <a:lnTo>
                    <a:pt x="2432" y="458"/>
                  </a:lnTo>
                  <a:lnTo>
                    <a:pt x="2426" y="462"/>
                  </a:lnTo>
                  <a:lnTo>
                    <a:pt x="2422" y="462"/>
                  </a:lnTo>
                  <a:lnTo>
                    <a:pt x="2424" y="458"/>
                  </a:lnTo>
                  <a:lnTo>
                    <a:pt x="2422" y="454"/>
                  </a:lnTo>
                  <a:lnTo>
                    <a:pt x="2416" y="456"/>
                  </a:lnTo>
                  <a:lnTo>
                    <a:pt x="2410" y="462"/>
                  </a:lnTo>
                  <a:lnTo>
                    <a:pt x="2406" y="468"/>
                  </a:lnTo>
                  <a:lnTo>
                    <a:pt x="2404" y="474"/>
                  </a:lnTo>
                  <a:lnTo>
                    <a:pt x="2398" y="476"/>
                  </a:lnTo>
                  <a:lnTo>
                    <a:pt x="2394" y="478"/>
                  </a:lnTo>
                  <a:lnTo>
                    <a:pt x="2392" y="480"/>
                  </a:lnTo>
                  <a:lnTo>
                    <a:pt x="2388" y="482"/>
                  </a:lnTo>
                  <a:lnTo>
                    <a:pt x="2384" y="488"/>
                  </a:lnTo>
                  <a:lnTo>
                    <a:pt x="2380" y="494"/>
                  </a:lnTo>
                  <a:lnTo>
                    <a:pt x="2376" y="500"/>
                  </a:lnTo>
                  <a:lnTo>
                    <a:pt x="2370" y="506"/>
                  </a:lnTo>
                  <a:lnTo>
                    <a:pt x="2364" y="508"/>
                  </a:lnTo>
                  <a:lnTo>
                    <a:pt x="2358" y="512"/>
                  </a:lnTo>
                  <a:lnTo>
                    <a:pt x="2354" y="520"/>
                  </a:lnTo>
                  <a:lnTo>
                    <a:pt x="2358" y="522"/>
                  </a:lnTo>
                  <a:lnTo>
                    <a:pt x="2364" y="526"/>
                  </a:lnTo>
                  <a:lnTo>
                    <a:pt x="2370" y="528"/>
                  </a:lnTo>
                  <a:lnTo>
                    <a:pt x="2376" y="532"/>
                  </a:lnTo>
                  <a:lnTo>
                    <a:pt x="2382" y="532"/>
                  </a:lnTo>
                  <a:lnTo>
                    <a:pt x="2388" y="534"/>
                  </a:lnTo>
                  <a:lnTo>
                    <a:pt x="2382" y="536"/>
                  </a:lnTo>
                  <a:lnTo>
                    <a:pt x="2376" y="536"/>
                  </a:lnTo>
                  <a:lnTo>
                    <a:pt x="2370" y="538"/>
                  </a:lnTo>
                  <a:lnTo>
                    <a:pt x="2376" y="540"/>
                  </a:lnTo>
                  <a:lnTo>
                    <a:pt x="2382" y="538"/>
                  </a:lnTo>
                  <a:lnTo>
                    <a:pt x="2388" y="538"/>
                  </a:lnTo>
                  <a:lnTo>
                    <a:pt x="2394" y="540"/>
                  </a:lnTo>
                  <a:lnTo>
                    <a:pt x="2400" y="542"/>
                  </a:lnTo>
                  <a:lnTo>
                    <a:pt x="2406" y="540"/>
                  </a:lnTo>
                  <a:lnTo>
                    <a:pt x="2410" y="540"/>
                  </a:lnTo>
                  <a:lnTo>
                    <a:pt x="2416" y="538"/>
                  </a:lnTo>
                  <a:lnTo>
                    <a:pt x="2422" y="536"/>
                  </a:lnTo>
                  <a:lnTo>
                    <a:pt x="2428" y="534"/>
                  </a:lnTo>
                  <a:lnTo>
                    <a:pt x="2434" y="536"/>
                  </a:lnTo>
                  <a:lnTo>
                    <a:pt x="2440" y="536"/>
                  </a:lnTo>
                  <a:lnTo>
                    <a:pt x="2446" y="534"/>
                  </a:lnTo>
                  <a:lnTo>
                    <a:pt x="2452" y="530"/>
                  </a:lnTo>
                  <a:lnTo>
                    <a:pt x="2458" y="526"/>
                  </a:lnTo>
                  <a:lnTo>
                    <a:pt x="2466" y="524"/>
                  </a:lnTo>
                  <a:lnTo>
                    <a:pt x="2470" y="520"/>
                  </a:lnTo>
                  <a:lnTo>
                    <a:pt x="2476" y="518"/>
                  </a:lnTo>
                  <a:lnTo>
                    <a:pt x="2482" y="516"/>
                  </a:lnTo>
                  <a:lnTo>
                    <a:pt x="2488" y="514"/>
                  </a:lnTo>
                  <a:lnTo>
                    <a:pt x="2494" y="512"/>
                  </a:lnTo>
                  <a:lnTo>
                    <a:pt x="2500" y="510"/>
                  </a:lnTo>
                  <a:lnTo>
                    <a:pt x="2506" y="508"/>
                  </a:lnTo>
                  <a:lnTo>
                    <a:pt x="2512" y="506"/>
                  </a:lnTo>
                  <a:lnTo>
                    <a:pt x="2518" y="504"/>
                  </a:lnTo>
                  <a:lnTo>
                    <a:pt x="2524" y="502"/>
                  </a:lnTo>
                  <a:lnTo>
                    <a:pt x="2528" y="500"/>
                  </a:lnTo>
                  <a:lnTo>
                    <a:pt x="2534" y="500"/>
                  </a:lnTo>
                  <a:lnTo>
                    <a:pt x="2540" y="496"/>
                  </a:lnTo>
                  <a:lnTo>
                    <a:pt x="2546" y="494"/>
                  </a:lnTo>
                  <a:lnTo>
                    <a:pt x="2552" y="490"/>
                  </a:lnTo>
                  <a:lnTo>
                    <a:pt x="2552" y="492"/>
                  </a:lnTo>
                  <a:lnTo>
                    <a:pt x="2558" y="490"/>
                  </a:lnTo>
                  <a:lnTo>
                    <a:pt x="2562" y="486"/>
                  </a:lnTo>
                  <a:lnTo>
                    <a:pt x="2568" y="486"/>
                  </a:lnTo>
                  <a:lnTo>
                    <a:pt x="2574" y="482"/>
                  </a:lnTo>
                  <a:lnTo>
                    <a:pt x="2576" y="482"/>
                  </a:lnTo>
                  <a:lnTo>
                    <a:pt x="2584" y="478"/>
                  </a:lnTo>
                  <a:lnTo>
                    <a:pt x="2590" y="476"/>
                  </a:lnTo>
                  <a:lnTo>
                    <a:pt x="2596" y="472"/>
                  </a:lnTo>
                  <a:lnTo>
                    <a:pt x="2600" y="470"/>
                  </a:lnTo>
                  <a:lnTo>
                    <a:pt x="2608" y="466"/>
                  </a:lnTo>
                  <a:lnTo>
                    <a:pt x="2614" y="462"/>
                  </a:lnTo>
                  <a:lnTo>
                    <a:pt x="2620" y="460"/>
                  </a:lnTo>
                  <a:lnTo>
                    <a:pt x="2626" y="454"/>
                  </a:lnTo>
                  <a:lnTo>
                    <a:pt x="2630" y="450"/>
                  </a:lnTo>
                  <a:lnTo>
                    <a:pt x="2636" y="448"/>
                  </a:lnTo>
                  <a:lnTo>
                    <a:pt x="2640" y="442"/>
                  </a:lnTo>
                  <a:lnTo>
                    <a:pt x="2640" y="436"/>
                  </a:lnTo>
                  <a:lnTo>
                    <a:pt x="2644" y="430"/>
                  </a:lnTo>
                  <a:lnTo>
                    <a:pt x="2642" y="428"/>
                  </a:lnTo>
                  <a:lnTo>
                    <a:pt x="2636" y="426"/>
                  </a:lnTo>
                  <a:lnTo>
                    <a:pt x="2640" y="420"/>
                  </a:lnTo>
                  <a:lnTo>
                    <a:pt x="2642" y="414"/>
                  </a:lnTo>
                  <a:lnTo>
                    <a:pt x="2644" y="414"/>
                  </a:lnTo>
                  <a:lnTo>
                    <a:pt x="2650" y="412"/>
                  </a:lnTo>
                  <a:lnTo>
                    <a:pt x="2656" y="410"/>
                  </a:lnTo>
                  <a:lnTo>
                    <a:pt x="2662" y="410"/>
                  </a:lnTo>
                  <a:lnTo>
                    <a:pt x="2668" y="408"/>
                  </a:lnTo>
                  <a:lnTo>
                    <a:pt x="2674" y="406"/>
                  </a:lnTo>
                  <a:lnTo>
                    <a:pt x="2680" y="406"/>
                  </a:lnTo>
                  <a:lnTo>
                    <a:pt x="2686" y="406"/>
                  </a:lnTo>
                  <a:lnTo>
                    <a:pt x="2692" y="406"/>
                  </a:lnTo>
                  <a:lnTo>
                    <a:pt x="2698" y="406"/>
                  </a:lnTo>
                  <a:lnTo>
                    <a:pt x="2704" y="406"/>
                  </a:lnTo>
                  <a:lnTo>
                    <a:pt x="2710" y="408"/>
                  </a:lnTo>
                  <a:lnTo>
                    <a:pt x="2716" y="410"/>
                  </a:lnTo>
                  <a:lnTo>
                    <a:pt x="2722" y="416"/>
                  </a:lnTo>
                  <a:lnTo>
                    <a:pt x="2728" y="414"/>
                  </a:lnTo>
                  <a:lnTo>
                    <a:pt x="2734" y="412"/>
                  </a:lnTo>
                  <a:lnTo>
                    <a:pt x="2740" y="412"/>
                  </a:lnTo>
                  <a:lnTo>
                    <a:pt x="2746" y="412"/>
                  </a:lnTo>
                  <a:lnTo>
                    <a:pt x="2752" y="414"/>
                  </a:lnTo>
                  <a:lnTo>
                    <a:pt x="2758" y="414"/>
                  </a:lnTo>
                  <a:lnTo>
                    <a:pt x="2764" y="412"/>
                  </a:lnTo>
                  <a:lnTo>
                    <a:pt x="2770" y="410"/>
                  </a:lnTo>
                  <a:lnTo>
                    <a:pt x="2776" y="406"/>
                  </a:lnTo>
                  <a:lnTo>
                    <a:pt x="2782" y="402"/>
                  </a:lnTo>
                  <a:lnTo>
                    <a:pt x="2788" y="400"/>
                  </a:lnTo>
                  <a:lnTo>
                    <a:pt x="2790" y="400"/>
                  </a:lnTo>
                  <a:lnTo>
                    <a:pt x="2796" y="396"/>
                  </a:lnTo>
                  <a:lnTo>
                    <a:pt x="2802" y="398"/>
                  </a:lnTo>
                  <a:lnTo>
                    <a:pt x="2808" y="392"/>
                  </a:lnTo>
                  <a:lnTo>
                    <a:pt x="2810" y="386"/>
                  </a:lnTo>
                  <a:lnTo>
                    <a:pt x="2812" y="380"/>
                  </a:lnTo>
                  <a:lnTo>
                    <a:pt x="2816" y="374"/>
                  </a:lnTo>
                  <a:lnTo>
                    <a:pt x="2822" y="368"/>
                  </a:lnTo>
                  <a:lnTo>
                    <a:pt x="2828" y="364"/>
                  </a:lnTo>
                  <a:lnTo>
                    <a:pt x="2826" y="364"/>
                  </a:lnTo>
                  <a:lnTo>
                    <a:pt x="2818" y="364"/>
                  </a:lnTo>
                  <a:lnTo>
                    <a:pt x="2820" y="360"/>
                  </a:lnTo>
                  <a:lnTo>
                    <a:pt x="2816" y="362"/>
                  </a:lnTo>
                  <a:lnTo>
                    <a:pt x="2814" y="356"/>
                  </a:lnTo>
                  <a:lnTo>
                    <a:pt x="2820" y="352"/>
                  </a:lnTo>
                  <a:lnTo>
                    <a:pt x="2826" y="350"/>
                  </a:lnTo>
                  <a:lnTo>
                    <a:pt x="2832" y="348"/>
                  </a:lnTo>
                  <a:lnTo>
                    <a:pt x="2838" y="344"/>
                  </a:lnTo>
                  <a:lnTo>
                    <a:pt x="2844" y="340"/>
                  </a:lnTo>
                  <a:lnTo>
                    <a:pt x="2850" y="338"/>
                  </a:lnTo>
                  <a:lnTo>
                    <a:pt x="2856" y="330"/>
                  </a:lnTo>
                  <a:lnTo>
                    <a:pt x="2862" y="326"/>
                  </a:lnTo>
                  <a:lnTo>
                    <a:pt x="2868" y="322"/>
                  </a:lnTo>
                  <a:lnTo>
                    <a:pt x="2874" y="318"/>
                  </a:lnTo>
                  <a:lnTo>
                    <a:pt x="2880" y="314"/>
                  </a:lnTo>
                  <a:lnTo>
                    <a:pt x="2886" y="310"/>
                  </a:lnTo>
                  <a:lnTo>
                    <a:pt x="2892" y="308"/>
                  </a:lnTo>
                  <a:lnTo>
                    <a:pt x="2898" y="304"/>
                  </a:lnTo>
                  <a:lnTo>
                    <a:pt x="2904" y="302"/>
                  </a:lnTo>
                  <a:lnTo>
                    <a:pt x="2910" y="300"/>
                  </a:lnTo>
                  <a:lnTo>
                    <a:pt x="2914" y="298"/>
                  </a:lnTo>
                  <a:lnTo>
                    <a:pt x="2920" y="296"/>
                  </a:lnTo>
                  <a:lnTo>
                    <a:pt x="2926" y="296"/>
                  </a:lnTo>
                  <a:lnTo>
                    <a:pt x="2932" y="296"/>
                  </a:lnTo>
                  <a:lnTo>
                    <a:pt x="2934" y="296"/>
                  </a:lnTo>
                  <a:lnTo>
                    <a:pt x="2940" y="296"/>
                  </a:lnTo>
                  <a:lnTo>
                    <a:pt x="2942" y="296"/>
                  </a:lnTo>
                  <a:lnTo>
                    <a:pt x="2948" y="296"/>
                  </a:lnTo>
                  <a:lnTo>
                    <a:pt x="2954" y="296"/>
                  </a:lnTo>
                  <a:lnTo>
                    <a:pt x="2960" y="296"/>
                  </a:lnTo>
                  <a:lnTo>
                    <a:pt x="2968" y="296"/>
                  </a:lnTo>
                  <a:lnTo>
                    <a:pt x="2974" y="296"/>
                  </a:lnTo>
                  <a:lnTo>
                    <a:pt x="2980" y="296"/>
                  </a:lnTo>
                  <a:lnTo>
                    <a:pt x="2986" y="296"/>
                  </a:lnTo>
                  <a:lnTo>
                    <a:pt x="2992" y="296"/>
                  </a:lnTo>
                  <a:lnTo>
                    <a:pt x="2998" y="296"/>
                  </a:lnTo>
                  <a:lnTo>
                    <a:pt x="3004" y="296"/>
                  </a:lnTo>
                  <a:lnTo>
                    <a:pt x="3006" y="296"/>
                  </a:lnTo>
                  <a:lnTo>
                    <a:pt x="3012" y="296"/>
                  </a:lnTo>
                  <a:lnTo>
                    <a:pt x="3018" y="296"/>
                  </a:lnTo>
                  <a:lnTo>
                    <a:pt x="3020" y="296"/>
                  </a:lnTo>
                  <a:lnTo>
                    <a:pt x="3024" y="294"/>
                  </a:lnTo>
                  <a:lnTo>
                    <a:pt x="3032" y="294"/>
                  </a:lnTo>
                  <a:lnTo>
                    <a:pt x="3036" y="294"/>
                  </a:lnTo>
                  <a:lnTo>
                    <a:pt x="3044" y="294"/>
                  </a:lnTo>
                  <a:lnTo>
                    <a:pt x="3050" y="294"/>
                  </a:lnTo>
                  <a:lnTo>
                    <a:pt x="3056" y="294"/>
                  </a:lnTo>
                  <a:lnTo>
                    <a:pt x="3062" y="294"/>
                  </a:lnTo>
                  <a:lnTo>
                    <a:pt x="3064" y="294"/>
                  </a:lnTo>
                  <a:lnTo>
                    <a:pt x="3068" y="294"/>
                  </a:lnTo>
                  <a:lnTo>
                    <a:pt x="3074" y="294"/>
                  </a:lnTo>
                  <a:lnTo>
                    <a:pt x="3080" y="294"/>
                  </a:lnTo>
                  <a:lnTo>
                    <a:pt x="3086" y="294"/>
                  </a:lnTo>
                  <a:lnTo>
                    <a:pt x="3092" y="294"/>
                  </a:lnTo>
                  <a:lnTo>
                    <a:pt x="3098" y="294"/>
                  </a:lnTo>
                  <a:lnTo>
                    <a:pt x="3104" y="294"/>
                  </a:lnTo>
                  <a:lnTo>
                    <a:pt x="3108" y="294"/>
                  </a:lnTo>
                  <a:lnTo>
                    <a:pt x="3112" y="288"/>
                  </a:lnTo>
                  <a:lnTo>
                    <a:pt x="3118" y="282"/>
                  </a:lnTo>
                  <a:lnTo>
                    <a:pt x="3122" y="276"/>
                  </a:lnTo>
                  <a:lnTo>
                    <a:pt x="3128" y="278"/>
                  </a:lnTo>
                  <a:lnTo>
                    <a:pt x="3134" y="278"/>
                  </a:lnTo>
                  <a:lnTo>
                    <a:pt x="3138" y="274"/>
                  </a:lnTo>
                  <a:lnTo>
                    <a:pt x="3142" y="272"/>
                  </a:lnTo>
                  <a:lnTo>
                    <a:pt x="3146" y="278"/>
                  </a:lnTo>
                  <a:lnTo>
                    <a:pt x="3152" y="274"/>
                  </a:lnTo>
                  <a:lnTo>
                    <a:pt x="3154" y="268"/>
                  </a:lnTo>
                  <a:lnTo>
                    <a:pt x="3160" y="268"/>
                  </a:lnTo>
                  <a:lnTo>
                    <a:pt x="3162" y="262"/>
                  </a:lnTo>
                  <a:lnTo>
                    <a:pt x="3164" y="258"/>
                  </a:lnTo>
                  <a:lnTo>
                    <a:pt x="3170" y="254"/>
                  </a:lnTo>
                  <a:lnTo>
                    <a:pt x="3176" y="250"/>
                  </a:lnTo>
                  <a:lnTo>
                    <a:pt x="3182" y="248"/>
                  </a:lnTo>
                  <a:lnTo>
                    <a:pt x="3188" y="242"/>
                  </a:lnTo>
                  <a:lnTo>
                    <a:pt x="3194" y="238"/>
                  </a:lnTo>
                  <a:lnTo>
                    <a:pt x="3198" y="234"/>
                  </a:lnTo>
                  <a:lnTo>
                    <a:pt x="3198" y="228"/>
                  </a:lnTo>
                  <a:lnTo>
                    <a:pt x="3202" y="222"/>
                  </a:lnTo>
                  <a:lnTo>
                    <a:pt x="3204" y="220"/>
                  </a:lnTo>
                  <a:lnTo>
                    <a:pt x="3206" y="214"/>
                  </a:lnTo>
                  <a:lnTo>
                    <a:pt x="3210" y="208"/>
                  </a:lnTo>
                  <a:lnTo>
                    <a:pt x="3216" y="204"/>
                  </a:lnTo>
                  <a:lnTo>
                    <a:pt x="3224" y="200"/>
                  </a:lnTo>
                  <a:lnTo>
                    <a:pt x="3224" y="198"/>
                  </a:lnTo>
                  <a:lnTo>
                    <a:pt x="3228" y="192"/>
                  </a:lnTo>
                  <a:lnTo>
                    <a:pt x="3230" y="186"/>
                  </a:lnTo>
                  <a:lnTo>
                    <a:pt x="3234" y="180"/>
                  </a:lnTo>
                  <a:lnTo>
                    <a:pt x="3240" y="176"/>
                  </a:lnTo>
                  <a:lnTo>
                    <a:pt x="3246" y="170"/>
                  </a:lnTo>
                  <a:lnTo>
                    <a:pt x="3252" y="164"/>
                  </a:lnTo>
                  <a:lnTo>
                    <a:pt x="3258" y="160"/>
                  </a:lnTo>
                  <a:lnTo>
                    <a:pt x="3264" y="154"/>
                  </a:lnTo>
                  <a:lnTo>
                    <a:pt x="3270" y="150"/>
                  </a:lnTo>
                  <a:lnTo>
                    <a:pt x="3276" y="144"/>
                  </a:lnTo>
                  <a:lnTo>
                    <a:pt x="3282" y="140"/>
                  </a:lnTo>
                  <a:lnTo>
                    <a:pt x="3290" y="134"/>
                  </a:lnTo>
                  <a:lnTo>
                    <a:pt x="3296" y="130"/>
                  </a:lnTo>
                  <a:lnTo>
                    <a:pt x="3296" y="128"/>
                  </a:lnTo>
                  <a:lnTo>
                    <a:pt x="3302" y="130"/>
                  </a:lnTo>
                  <a:lnTo>
                    <a:pt x="3304" y="136"/>
                  </a:lnTo>
                  <a:lnTo>
                    <a:pt x="3302" y="140"/>
                  </a:lnTo>
                  <a:lnTo>
                    <a:pt x="3306" y="146"/>
                  </a:lnTo>
                  <a:lnTo>
                    <a:pt x="3308" y="148"/>
                  </a:lnTo>
                  <a:lnTo>
                    <a:pt x="3314" y="146"/>
                  </a:lnTo>
                  <a:lnTo>
                    <a:pt x="3320" y="144"/>
                  </a:lnTo>
                  <a:lnTo>
                    <a:pt x="3326" y="142"/>
                  </a:lnTo>
                  <a:lnTo>
                    <a:pt x="3332" y="140"/>
                  </a:lnTo>
                  <a:lnTo>
                    <a:pt x="3338" y="140"/>
                  </a:lnTo>
                  <a:lnTo>
                    <a:pt x="3344" y="136"/>
                  </a:lnTo>
                  <a:lnTo>
                    <a:pt x="3350" y="138"/>
                  </a:lnTo>
                  <a:lnTo>
                    <a:pt x="3354" y="144"/>
                  </a:lnTo>
                  <a:lnTo>
                    <a:pt x="3358" y="148"/>
                  </a:lnTo>
                  <a:lnTo>
                    <a:pt x="3362" y="154"/>
                  </a:lnTo>
                  <a:lnTo>
                    <a:pt x="3364" y="156"/>
                  </a:lnTo>
                  <a:lnTo>
                    <a:pt x="3360" y="162"/>
                  </a:lnTo>
                  <a:lnTo>
                    <a:pt x="3358" y="168"/>
                  </a:lnTo>
                  <a:lnTo>
                    <a:pt x="3356" y="174"/>
                  </a:lnTo>
                  <a:lnTo>
                    <a:pt x="3354" y="180"/>
                  </a:lnTo>
                  <a:lnTo>
                    <a:pt x="3352" y="186"/>
                  </a:lnTo>
                  <a:lnTo>
                    <a:pt x="3350" y="192"/>
                  </a:lnTo>
                  <a:lnTo>
                    <a:pt x="3348" y="198"/>
                  </a:lnTo>
                  <a:lnTo>
                    <a:pt x="3346" y="204"/>
                  </a:lnTo>
                  <a:lnTo>
                    <a:pt x="3342" y="210"/>
                  </a:lnTo>
                  <a:lnTo>
                    <a:pt x="3340" y="216"/>
                  </a:lnTo>
                  <a:lnTo>
                    <a:pt x="3338" y="222"/>
                  </a:lnTo>
                  <a:lnTo>
                    <a:pt x="3336" y="228"/>
                  </a:lnTo>
                  <a:lnTo>
                    <a:pt x="3334" y="234"/>
                  </a:lnTo>
                  <a:lnTo>
                    <a:pt x="3332" y="240"/>
                  </a:lnTo>
                  <a:lnTo>
                    <a:pt x="3328" y="244"/>
                  </a:lnTo>
                  <a:lnTo>
                    <a:pt x="3330" y="250"/>
                  </a:lnTo>
                  <a:lnTo>
                    <a:pt x="3334" y="254"/>
                  </a:lnTo>
                  <a:lnTo>
                    <a:pt x="3342" y="254"/>
                  </a:lnTo>
                  <a:lnTo>
                    <a:pt x="3344" y="256"/>
                  </a:lnTo>
                  <a:lnTo>
                    <a:pt x="3344" y="258"/>
                  </a:lnTo>
                  <a:lnTo>
                    <a:pt x="3338" y="262"/>
                  </a:lnTo>
                  <a:lnTo>
                    <a:pt x="3340" y="268"/>
                  </a:lnTo>
                  <a:lnTo>
                    <a:pt x="3336" y="274"/>
                  </a:lnTo>
                  <a:lnTo>
                    <a:pt x="3336" y="280"/>
                  </a:lnTo>
                  <a:lnTo>
                    <a:pt x="3338" y="286"/>
                  </a:lnTo>
                  <a:lnTo>
                    <a:pt x="3344" y="282"/>
                  </a:lnTo>
                  <a:lnTo>
                    <a:pt x="3346" y="284"/>
                  </a:lnTo>
                  <a:lnTo>
                    <a:pt x="3350" y="288"/>
                  </a:lnTo>
                  <a:lnTo>
                    <a:pt x="3350" y="290"/>
                  </a:lnTo>
                  <a:lnTo>
                    <a:pt x="3350" y="296"/>
                  </a:lnTo>
                  <a:lnTo>
                    <a:pt x="3346" y="300"/>
                  </a:lnTo>
                  <a:lnTo>
                    <a:pt x="3342" y="306"/>
                  </a:lnTo>
                  <a:lnTo>
                    <a:pt x="3348" y="304"/>
                  </a:lnTo>
                  <a:lnTo>
                    <a:pt x="3348" y="308"/>
                  </a:lnTo>
                  <a:lnTo>
                    <a:pt x="3342" y="312"/>
                  </a:lnTo>
                  <a:lnTo>
                    <a:pt x="3336" y="316"/>
                  </a:lnTo>
                  <a:lnTo>
                    <a:pt x="3330" y="318"/>
                  </a:lnTo>
                  <a:lnTo>
                    <a:pt x="3324" y="318"/>
                  </a:lnTo>
                  <a:lnTo>
                    <a:pt x="3318" y="322"/>
                  </a:lnTo>
                  <a:lnTo>
                    <a:pt x="3312" y="322"/>
                  </a:lnTo>
                  <a:lnTo>
                    <a:pt x="3308" y="328"/>
                  </a:lnTo>
                  <a:lnTo>
                    <a:pt x="3302" y="330"/>
                  </a:lnTo>
                  <a:lnTo>
                    <a:pt x="3300" y="330"/>
                  </a:lnTo>
                  <a:lnTo>
                    <a:pt x="3302" y="322"/>
                  </a:lnTo>
                  <a:lnTo>
                    <a:pt x="3296" y="326"/>
                  </a:lnTo>
                  <a:lnTo>
                    <a:pt x="3290" y="330"/>
                  </a:lnTo>
                  <a:lnTo>
                    <a:pt x="3284" y="330"/>
                  </a:lnTo>
                  <a:lnTo>
                    <a:pt x="3284" y="338"/>
                  </a:lnTo>
                  <a:lnTo>
                    <a:pt x="3278" y="340"/>
                  </a:lnTo>
                  <a:lnTo>
                    <a:pt x="3278" y="334"/>
                  </a:lnTo>
                  <a:lnTo>
                    <a:pt x="3278" y="330"/>
                  </a:lnTo>
                  <a:lnTo>
                    <a:pt x="3272" y="328"/>
                  </a:lnTo>
                  <a:lnTo>
                    <a:pt x="3266" y="332"/>
                  </a:lnTo>
                  <a:lnTo>
                    <a:pt x="3260" y="336"/>
                  </a:lnTo>
                  <a:lnTo>
                    <a:pt x="3260" y="330"/>
                  </a:lnTo>
                  <a:lnTo>
                    <a:pt x="3258" y="336"/>
                  </a:lnTo>
                  <a:lnTo>
                    <a:pt x="3252" y="336"/>
                  </a:lnTo>
                  <a:lnTo>
                    <a:pt x="3250" y="342"/>
                  </a:lnTo>
                  <a:lnTo>
                    <a:pt x="3250" y="348"/>
                  </a:lnTo>
                  <a:lnTo>
                    <a:pt x="3248" y="346"/>
                  </a:lnTo>
                  <a:lnTo>
                    <a:pt x="3242" y="342"/>
                  </a:lnTo>
                  <a:lnTo>
                    <a:pt x="3240" y="336"/>
                  </a:lnTo>
                  <a:lnTo>
                    <a:pt x="3242" y="330"/>
                  </a:lnTo>
                  <a:lnTo>
                    <a:pt x="3244" y="324"/>
                  </a:lnTo>
                  <a:lnTo>
                    <a:pt x="3240" y="330"/>
                  </a:lnTo>
                  <a:lnTo>
                    <a:pt x="3236" y="332"/>
                  </a:lnTo>
                  <a:lnTo>
                    <a:pt x="3228" y="336"/>
                  </a:lnTo>
                  <a:lnTo>
                    <a:pt x="3228" y="342"/>
                  </a:lnTo>
                  <a:lnTo>
                    <a:pt x="3222" y="348"/>
                  </a:lnTo>
                  <a:lnTo>
                    <a:pt x="3216" y="354"/>
                  </a:lnTo>
                  <a:lnTo>
                    <a:pt x="3214" y="360"/>
                  </a:lnTo>
                  <a:lnTo>
                    <a:pt x="3208" y="364"/>
                  </a:lnTo>
                  <a:lnTo>
                    <a:pt x="3202" y="364"/>
                  </a:lnTo>
                  <a:lnTo>
                    <a:pt x="3196" y="362"/>
                  </a:lnTo>
                  <a:lnTo>
                    <a:pt x="3190" y="368"/>
                  </a:lnTo>
                  <a:lnTo>
                    <a:pt x="3186" y="374"/>
                  </a:lnTo>
                  <a:lnTo>
                    <a:pt x="3182" y="372"/>
                  </a:lnTo>
                  <a:lnTo>
                    <a:pt x="3184" y="366"/>
                  </a:lnTo>
                  <a:lnTo>
                    <a:pt x="3178" y="372"/>
                  </a:lnTo>
                  <a:lnTo>
                    <a:pt x="3180" y="366"/>
                  </a:lnTo>
                  <a:lnTo>
                    <a:pt x="3180" y="364"/>
                  </a:lnTo>
                  <a:lnTo>
                    <a:pt x="3178" y="366"/>
                  </a:lnTo>
                  <a:lnTo>
                    <a:pt x="3172" y="370"/>
                  </a:lnTo>
                  <a:lnTo>
                    <a:pt x="3170" y="376"/>
                  </a:lnTo>
                  <a:lnTo>
                    <a:pt x="3172" y="370"/>
                  </a:lnTo>
                  <a:lnTo>
                    <a:pt x="3172" y="364"/>
                  </a:lnTo>
                  <a:lnTo>
                    <a:pt x="3176" y="360"/>
                  </a:lnTo>
                  <a:lnTo>
                    <a:pt x="3174" y="360"/>
                  </a:lnTo>
                  <a:lnTo>
                    <a:pt x="3168" y="366"/>
                  </a:lnTo>
                  <a:lnTo>
                    <a:pt x="3172" y="366"/>
                  </a:lnTo>
                  <a:lnTo>
                    <a:pt x="3170" y="372"/>
                  </a:lnTo>
                  <a:lnTo>
                    <a:pt x="3168" y="378"/>
                  </a:lnTo>
                  <a:lnTo>
                    <a:pt x="3164" y="384"/>
                  </a:lnTo>
                  <a:lnTo>
                    <a:pt x="3164" y="382"/>
                  </a:lnTo>
                  <a:lnTo>
                    <a:pt x="3162" y="376"/>
                  </a:lnTo>
                  <a:lnTo>
                    <a:pt x="3156" y="380"/>
                  </a:lnTo>
                  <a:lnTo>
                    <a:pt x="3160" y="376"/>
                  </a:lnTo>
                  <a:lnTo>
                    <a:pt x="3156" y="380"/>
                  </a:lnTo>
                  <a:lnTo>
                    <a:pt x="3156" y="378"/>
                  </a:lnTo>
                  <a:lnTo>
                    <a:pt x="3158" y="376"/>
                  </a:lnTo>
                  <a:lnTo>
                    <a:pt x="3158" y="374"/>
                  </a:lnTo>
                  <a:lnTo>
                    <a:pt x="3158" y="372"/>
                  </a:lnTo>
                  <a:lnTo>
                    <a:pt x="3156" y="376"/>
                  </a:lnTo>
                  <a:lnTo>
                    <a:pt x="3150" y="378"/>
                  </a:lnTo>
                  <a:lnTo>
                    <a:pt x="3144" y="382"/>
                  </a:lnTo>
                  <a:lnTo>
                    <a:pt x="3138" y="388"/>
                  </a:lnTo>
                  <a:lnTo>
                    <a:pt x="3138" y="394"/>
                  </a:lnTo>
                  <a:lnTo>
                    <a:pt x="3130" y="396"/>
                  </a:lnTo>
                  <a:lnTo>
                    <a:pt x="3130" y="402"/>
                  </a:lnTo>
                  <a:lnTo>
                    <a:pt x="3124" y="406"/>
                  </a:lnTo>
                  <a:lnTo>
                    <a:pt x="3118" y="408"/>
                  </a:lnTo>
                  <a:lnTo>
                    <a:pt x="3112" y="412"/>
                  </a:lnTo>
                  <a:lnTo>
                    <a:pt x="3108" y="418"/>
                  </a:lnTo>
                  <a:lnTo>
                    <a:pt x="3104" y="424"/>
                  </a:lnTo>
                  <a:lnTo>
                    <a:pt x="3098" y="428"/>
                  </a:lnTo>
                  <a:lnTo>
                    <a:pt x="3098" y="430"/>
                  </a:lnTo>
                  <a:lnTo>
                    <a:pt x="3092" y="436"/>
                  </a:lnTo>
                  <a:lnTo>
                    <a:pt x="3088" y="440"/>
                  </a:lnTo>
                  <a:lnTo>
                    <a:pt x="3084" y="444"/>
                  </a:lnTo>
                  <a:lnTo>
                    <a:pt x="3086" y="448"/>
                  </a:lnTo>
                  <a:lnTo>
                    <a:pt x="3086" y="452"/>
                  </a:lnTo>
                  <a:lnTo>
                    <a:pt x="3090" y="458"/>
                  </a:lnTo>
                  <a:lnTo>
                    <a:pt x="3084" y="462"/>
                  </a:lnTo>
                  <a:lnTo>
                    <a:pt x="3078" y="464"/>
                  </a:lnTo>
                  <a:lnTo>
                    <a:pt x="3074" y="470"/>
                  </a:lnTo>
                  <a:lnTo>
                    <a:pt x="3068" y="472"/>
                  </a:lnTo>
                  <a:lnTo>
                    <a:pt x="3062" y="478"/>
                  </a:lnTo>
                  <a:lnTo>
                    <a:pt x="3066" y="484"/>
                  </a:lnTo>
                  <a:lnTo>
                    <a:pt x="3072" y="482"/>
                  </a:lnTo>
                  <a:lnTo>
                    <a:pt x="3076" y="486"/>
                  </a:lnTo>
                  <a:lnTo>
                    <a:pt x="3076" y="492"/>
                  </a:lnTo>
                  <a:lnTo>
                    <a:pt x="3076" y="498"/>
                  </a:lnTo>
                  <a:lnTo>
                    <a:pt x="3076" y="504"/>
                  </a:lnTo>
                  <a:lnTo>
                    <a:pt x="3080" y="510"/>
                  </a:lnTo>
                  <a:lnTo>
                    <a:pt x="3078" y="516"/>
                  </a:lnTo>
                  <a:lnTo>
                    <a:pt x="3084" y="518"/>
                  </a:lnTo>
                  <a:lnTo>
                    <a:pt x="3088" y="520"/>
                  </a:lnTo>
                  <a:lnTo>
                    <a:pt x="3096" y="518"/>
                  </a:lnTo>
                  <a:lnTo>
                    <a:pt x="3100" y="516"/>
                  </a:lnTo>
                  <a:lnTo>
                    <a:pt x="3106" y="514"/>
                  </a:lnTo>
                  <a:lnTo>
                    <a:pt x="3108" y="510"/>
                  </a:lnTo>
                  <a:lnTo>
                    <a:pt x="3108" y="508"/>
                  </a:lnTo>
                  <a:lnTo>
                    <a:pt x="3110" y="506"/>
                  </a:lnTo>
                  <a:lnTo>
                    <a:pt x="3106" y="506"/>
                  </a:lnTo>
                  <a:lnTo>
                    <a:pt x="3106" y="500"/>
                  </a:lnTo>
                  <a:lnTo>
                    <a:pt x="3102" y="494"/>
                  </a:lnTo>
                  <a:lnTo>
                    <a:pt x="3108" y="496"/>
                  </a:lnTo>
                  <a:lnTo>
                    <a:pt x="3110" y="502"/>
                  </a:lnTo>
                  <a:lnTo>
                    <a:pt x="3112" y="508"/>
                  </a:lnTo>
                  <a:lnTo>
                    <a:pt x="3108" y="512"/>
                  </a:lnTo>
                  <a:lnTo>
                    <a:pt x="3108" y="518"/>
                  </a:lnTo>
                  <a:lnTo>
                    <a:pt x="3104" y="524"/>
                  </a:lnTo>
                  <a:lnTo>
                    <a:pt x="3100" y="524"/>
                  </a:lnTo>
                  <a:lnTo>
                    <a:pt x="3094" y="524"/>
                  </a:lnTo>
                  <a:lnTo>
                    <a:pt x="3088" y="526"/>
                  </a:lnTo>
                  <a:lnTo>
                    <a:pt x="3082" y="526"/>
                  </a:lnTo>
                  <a:lnTo>
                    <a:pt x="3076" y="528"/>
                  </a:lnTo>
                  <a:lnTo>
                    <a:pt x="3070" y="532"/>
                  </a:lnTo>
                  <a:lnTo>
                    <a:pt x="3064" y="532"/>
                  </a:lnTo>
                  <a:lnTo>
                    <a:pt x="3066" y="524"/>
                  </a:lnTo>
                  <a:lnTo>
                    <a:pt x="3070" y="520"/>
                  </a:lnTo>
                  <a:lnTo>
                    <a:pt x="3064" y="522"/>
                  </a:lnTo>
                  <a:lnTo>
                    <a:pt x="3058" y="526"/>
                  </a:lnTo>
                  <a:lnTo>
                    <a:pt x="3052" y="526"/>
                  </a:lnTo>
                  <a:lnTo>
                    <a:pt x="3048" y="532"/>
                  </a:lnTo>
                  <a:lnTo>
                    <a:pt x="3042" y="534"/>
                  </a:lnTo>
                  <a:lnTo>
                    <a:pt x="3036" y="534"/>
                  </a:lnTo>
                  <a:lnTo>
                    <a:pt x="3032" y="536"/>
                  </a:lnTo>
                  <a:lnTo>
                    <a:pt x="3034" y="530"/>
                  </a:lnTo>
                  <a:lnTo>
                    <a:pt x="3036" y="524"/>
                  </a:lnTo>
                  <a:lnTo>
                    <a:pt x="3042" y="518"/>
                  </a:lnTo>
                  <a:lnTo>
                    <a:pt x="3036" y="520"/>
                  </a:lnTo>
                  <a:lnTo>
                    <a:pt x="3030" y="524"/>
                  </a:lnTo>
                  <a:lnTo>
                    <a:pt x="3028" y="518"/>
                  </a:lnTo>
                  <a:lnTo>
                    <a:pt x="3024" y="524"/>
                  </a:lnTo>
                  <a:lnTo>
                    <a:pt x="3020" y="530"/>
                  </a:lnTo>
                  <a:lnTo>
                    <a:pt x="3020" y="536"/>
                  </a:lnTo>
                  <a:lnTo>
                    <a:pt x="3016" y="542"/>
                  </a:lnTo>
                  <a:lnTo>
                    <a:pt x="3010" y="544"/>
                  </a:lnTo>
                  <a:lnTo>
                    <a:pt x="3004" y="546"/>
                  </a:lnTo>
                  <a:lnTo>
                    <a:pt x="2998" y="546"/>
                  </a:lnTo>
                  <a:lnTo>
                    <a:pt x="2992" y="548"/>
                  </a:lnTo>
                  <a:lnTo>
                    <a:pt x="2986" y="546"/>
                  </a:lnTo>
                  <a:lnTo>
                    <a:pt x="2980" y="548"/>
                  </a:lnTo>
                  <a:lnTo>
                    <a:pt x="2974" y="548"/>
                  </a:lnTo>
                  <a:lnTo>
                    <a:pt x="2970" y="548"/>
                  </a:lnTo>
                  <a:lnTo>
                    <a:pt x="2964" y="548"/>
                  </a:lnTo>
                  <a:lnTo>
                    <a:pt x="2964" y="544"/>
                  </a:lnTo>
                  <a:lnTo>
                    <a:pt x="2962" y="548"/>
                  </a:lnTo>
                  <a:lnTo>
                    <a:pt x="2960" y="550"/>
                  </a:lnTo>
                  <a:lnTo>
                    <a:pt x="2954" y="550"/>
                  </a:lnTo>
                  <a:lnTo>
                    <a:pt x="2948" y="550"/>
                  </a:lnTo>
                  <a:lnTo>
                    <a:pt x="2944" y="552"/>
                  </a:lnTo>
                  <a:lnTo>
                    <a:pt x="2936" y="552"/>
                  </a:lnTo>
                  <a:lnTo>
                    <a:pt x="2932" y="550"/>
                  </a:lnTo>
                  <a:lnTo>
                    <a:pt x="2926" y="554"/>
                  </a:lnTo>
                  <a:lnTo>
                    <a:pt x="2918" y="556"/>
                  </a:lnTo>
                  <a:lnTo>
                    <a:pt x="2914" y="558"/>
                  </a:lnTo>
                  <a:lnTo>
                    <a:pt x="2906" y="560"/>
                  </a:lnTo>
                  <a:lnTo>
                    <a:pt x="2902" y="562"/>
                  </a:lnTo>
                  <a:lnTo>
                    <a:pt x="2894" y="566"/>
                  </a:lnTo>
                  <a:lnTo>
                    <a:pt x="2888" y="568"/>
                  </a:lnTo>
                  <a:lnTo>
                    <a:pt x="2884" y="570"/>
                  </a:lnTo>
                  <a:lnTo>
                    <a:pt x="2880" y="572"/>
                  </a:lnTo>
                  <a:lnTo>
                    <a:pt x="2874" y="576"/>
                  </a:lnTo>
                  <a:lnTo>
                    <a:pt x="2870" y="582"/>
                  </a:lnTo>
                  <a:lnTo>
                    <a:pt x="2864" y="582"/>
                  </a:lnTo>
                  <a:lnTo>
                    <a:pt x="2858" y="586"/>
                  </a:lnTo>
                  <a:lnTo>
                    <a:pt x="2860" y="584"/>
                  </a:lnTo>
                  <a:lnTo>
                    <a:pt x="2864" y="578"/>
                  </a:lnTo>
                  <a:lnTo>
                    <a:pt x="2868" y="572"/>
                  </a:lnTo>
                  <a:lnTo>
                    <a:pt x="2872" y="566"/>
                  </a:lnTo>
                  <a:lnTo>
                    <a:pt x="2874" y="560"/>
                  </a:lnTo>
                  <a:lnTo>
                    <a:pt x="2874" y="554"/>
                  </a:lnTo>
                  <a:lnTo>
                    <a:pt x="2872" y="548"/>
                  </a:lnTo>
                  <a:lnTo>
                    <a:pt x="2870" y="552"/>
                  </a:lnTo>
                  <a:lnTo>
                    <a:pt x="2872" y="558"/>
                  </a:lnTo>
                  <a:lnTo>
                    <a:pt x="2870" y="564"/>
                  </a:lnTo>
                  <a:lnTo>
                    <a:pt x="2868" y="570"/>
                  </a:lnTo>
                  <a:lnTo>
                    <a:pt x="2866" y="574"/>
                  </a:lnTo>
                  <a:lnTo>
                    <a:pt x="2862" y="580"/>
                  </a:lnTo>
                  <a:lnTo>
                    <a:pt x="2856" y="586"/>
                  </a:lnTo>
                  <a:lnTo>
                    <a:pt x="2854" y="588"/>
                  </a:lnTo>
                  <a:lnTo>
                    <a:pt x="2850" y="592"/>
                  </a:lnTo>
                  <a:lnTo>
                    <a:pt x="2848" y="590"/>
                  </a:lnTo>
                  <a:lnTo>
                    <a:pt x="2846" y="592"/>
                  </a:lnTo>
                  <a:lnTo>
                    <a:pt x="2842" y="598"/>
                  </a:lnTo>
                  <a:lnTo>
                    <a:pt x="2836" y="604"/>
                  </a:lnTo>
                  <a:lnTo>
                    <a:pt x="2838" y="608"/>
                  </a:lnTo>
                  <a:lnTo>
                    <a:pt x="2846" y="608"/>
                  </a:lnTo>
                  <a:lnTo>
                    <a:pt x="2850" y="610"/>
                  </a:lnTo>
                  <a:lnTo>
                    <a:pt x="2850" y="614"/>
                  </a:lnTo>
                  <a:lnTo>
                    <a:pt x="2846" y="620"/>
                  </a:lnTo>
                  <a:lnTo>
                    <a:pt x="2842" y="626"/>
                  </a:lnTo>
                  <a:lnTo>
                    <a:pt x="2838" y="632"/>
                  </a:lnTo>
                  <a:lnTo>
                    <a:pt x="2838" y="638"/>
                  </a:lnTo>
                  <a:lnTo>
                    <a:pt x="2834" y="644"/>
                  </a:lnTo>
                  <a:lnTo>
                    <a:pt x="2830" y="650"/>
                  </a:lnTo>
                  <a:lnTo>
                    <a:pt x="2834" y="644"/>
                  </a:lnTo>
                  <a:lnTo>
                    <a:pt x="2836" y="638"/>
                  </a:lnTo>
                  <a:lnTo>
                    <a:pt x="2834" y="638"/>
                  </a:lnTo>
                  <a:lnTo>
                    <a:pt x="2832" y="638"/>
                  </a:lnTo>
                  <a:lnTo>
                    <a:pt x="2830" y="644"/>
                  </a:lnTo>
                  <a:lnTo>
                    <a:pt x="2826" y="650"/>
                  </a:lnTo>
                  <a:lnTo>
                    <a:pt x="2822" y="656"/>
                  </a:lnTo>
                  <a:lnTo>
                    <a:pt x="2820" y="662"/>
                  </a:lnTo>
                  <a:lnTo>
                    <a:pt x="2814" y="666"/>
                  </a:lnTo>
                  <a:lnTo>
                    <a:pt x="2812" y="666"/>
                  </a:lnTo>
                  <a:lnTo>
                    <a:pt x="2810" y="672"/>
                  </a:lnTo>
                  <a:lnTo>
                    <a:pt x="2804" y="672"/>
                  </a:lnTo>
                  <a:lnTo>
                    <a:pt x="2800" y="678"/>
                  </a:lnTo>
                  <a:lnTo>
                    <a:pt x="2798" y="684"/>
                  </a:lnTo>
                  <a:lnTo>
                    <a:pt x="2792" y="686"/>
                  </a:lnTo>
                  <a:lnTo>
                    <a:pt x="2786" y="692"/>
                  </a:lnTo>
                  <a:lnTo>
                    <a:pt x="2780" y="698"/>
                  </a:lnTo>
                  <a:lnTo>
                    <a:pt x="2774" y="704"/>
                  </a:lnTo>
                  <a:lnTo>
                    <a:pt x="2768" y="708"/>
                  </a:lnTo>
                  <a:lnTo>
                    <a:pt x="2766" y="710"/>
                  </a:lnTo>
                  <a:lnTo>
                    <a:pt x="2760" y="712"/>
                  </a:lnTo>
                  <a:lnTo>
                    <a:pt x="2762" y="706"/>
                  </a:lnTo>
                  <a:lnTo>
                    <a:pt x="2768" y="700"/>
                  </a:lnTo>
                  <a:lnTo>
                    <a:pt x="2764" y="694"/>
                  </a:lnTo>
                  <a:lnTo>
                    <a:pt x="2758" y="694"/>
                  </a:lnTo>
                  <a:lnTo>
                    <a:pt x="2752" y="690"/>
                  </a:lnTo>
                  <a:lnTo>
                    <a:pt x="2746" y="684"/>
                  </a:lnTo>
                  <a:lnTo>
                    <a:pt x="2744" y="678"/>
                  </a:lnTo>
                  <a:lnTo>
                    <a:pt x="2740" y="672"/>
                  </a:lnTo>
                  <a:lnTo>
                    <a:pt x="2742" y="670"/>
                  </a:lnTo>
                  <a:lnTo>
                    <a:pt x="2744" y="664"/>
                  </a:lnTo>
                  <a:lnTo>
                    <a:pt x="2750" y="658"/>
                  </a:lnTo>
                  <a:lnTo>
                    <a:pt x="2754" y="652"/>
                  </a:lnTo>
                  <a:lnTo>
                    <a:pt x="2756" y="652"/>
                  </a:lnTo>
                  <a:lnTo>
                    <a:pt x="2762" y="648"/>
                  </a:lnTo>
                  <a:lnTo>
                    <a:pt x="2768" y="648"/>
                  </a:lnTo>
                  <a:lnTo>
                    <a:pt x="2770" y="646"/>
                  </a:lnTo>
                  <a:lnTo>
                    <a:pt x="2766" y="648"/>
                  </a:lnTo>
                  <a:lnTo>
                    <a:pt x="2760" y="648"/>
                  </a:lnTo>
                  <a:lnTo>
                    <a:pt x="2754" y="652"/>
                  </a:lnTo>
                  <a:lnTo>
                    <a:pt x="2748" y="656"/>
                  </a:lnTo>
                  <a:lnTo>
                    <a:pt x="2744" y="662"/>
                  </a:lnTo>
                  <a:lnTo>
                    <a:pt x="2740" y="668"/>
                  </a:lnTo>
                  <a:lnTo>
                    <a:pt x="2738" y="672"/>
                  </a:lnTo>
                  <a:lnTo>
                    <a:pt x="2738" y="678"/>
                  </a:lnTo>
                  <a:lnTo>
                    <a:pt x="2740" y="686"/>
                  </a:lnTo>
                  <a:lnTo>
                    <a:pt x="2742" y="690"/>
                  </a:lnTo>
                  <a:lnTo>
                    <a:pt x="2740" y="696"/>
                  </a:lnTo>
                  <a:lnTo>
                    <a:pt x="2738" y="702"/>
                  </a:lnTo>
                  <a:lnTo>
                    <a:pt x="2740" y="708"/>
                  </a:lnTo>
                  <a:lnTo>
                    <a:pt x="2740" y="714"/>
                  </a:lnTo>
                  <a:lnTo>
                    <a:pt x="2744" y="720"/>
                  </a:lnTo>
                  <a:lnTo>
                    <a:pt x="2748" y="726"/>
                  </a:lnTo>
                  <a:lnTo>
                    <a:pt x="2742" y="732"/>
                  </a:lnTo>
                  <a:lnTo>
                    <a:pt x="2744" y="732"/>
                  </a:lnTo>
                  <a:lnTo>
                    <a:pt x="2740" y="736"/>
                  </a:lnTo>
                  <a:lnTo>
                    <a:pt x="2744" y="740"/>
                  </a:lnTo>
                  <a:lnTo>
                    <a:pt x="2744" y="744"/>
                  </a:lnTo>
                  <a:lnTo>
                    <a:pt x="2740" y="750"/>
                  </a:lnTo>
                  <a:lnTo>
                    <a:pt x="2742" y="744"/>
                  </a:lnTo>
                  <a:lnTo>
                    <a:pt x="2738" y="748"/>
                  </a:lnTo>
                  <a:lnTo>
                    <a:pt x="2736" y="754"/>
                  </a:lnTo>
                  <a:lnTo>
                    <a:pt x="2732" y="758"/>
                  </a:lnTo>
                  <a:lnTo>
                    <a:pt x="2726" y="764"/>
                  </a:lnTo>
                  <a:lnTo>
                    <a:pt x="2720" y="768"/>
                  </a:lnTo>
                  <a:lnTo>
                    <a:pt x="2716" y="774"/>
                  </a:lnTo>
                  <a:lnTo>
                    <a:pt x="2710" y="780"/>
                  </a:lnTo>
                  <a:lnTo>
                    <a:pt x="2708" y="786"/>
                  </a:lnTo>
                  <a:lnTo>
                    <a:pt x="2702" y="792"/>
                  </a:lnTo>
                  <a:lnTo>
                    <a:pt x="2698" y="798"/>
                  </a:lnTo>
                  <a:lnTo>
                    <a:pt x="2694" y="804"/>
                  </a:lnTo>
                  <a:lnTo>
                    <a:pt x="2690" y="810"/>
                  </a:lnTo>
                  <a:lnTo>
                    <a:pt x="2684" y="812"/>
                  </a:lnTo>
                  <a:lnTo>
                    <a:pt x="2678" y="816"/>
                  </a:lnTo>
                  <a:lnTo>
                    <a:pt x="2674" y="822"/>
                  </a:lnTo>
                  <a:lnTo>
                    <a:pt x="2670" y="828"/>
                  </a:lnTo>
                  <a:lnTo>
                    <a:pt x="2668" y="834"/>
                  </a:lnTo>
                  <a:lnTo>
                    <a:pt x="2662" y="834"/>
                  </a:lnTo>
                  <a:lnTo>
                    <a:pt x="2662" y="830"/>
                  </a:lnTo>
                  <a:lnTo>
                    <a:pt x="2664" y="824"/>
                  </a:lnTo>
                  <a:lnTo>
                    <a:pt x="2668" y="818"/>
                  </a:lnTo>
                  <a:lnTo>
                    <a:pt x="2670" y="812"/>
                  </a:lnTo>
                  <a:lnTo>
                    <a:pt x="2674" y="806"/>
                  </a:lnTo>
                  <a:lnTo>
                    <a:pt x="2680" y="800"/>
                  </a:lnTo>
                  <a:lnTo>
                    <a:pt x="2686" y="796"/>
                  </a:lnTo>
                  <a:lnTo>
                    <a:pt x="2686" y="790"/>
                  </a:lnTo>
                  <a:lnTo>
                    <a:pt x="2692" y="788"/>
                  </a:lnTo>
                  <a:lnTo>
                    <a:pt x="2692" y="782"/>
                  </a:lnTo>
                  <a:lnTo>
                    <a:pt x="2698" y="778"/>
                  </a:lnTo>
                  <a:lnTo>
                    <a:pt x="2692" y="778"/>
                  </a:lnTo>
                  <a:lnTo>
                    <a:pt x="2686" y="780"/>
                  </a:lnTo>
                  <a:lnTo>
                    <a:pt x="2688" y="774"/>
                  </a:lnTo>
                  <a:lnTo>
                    <a:pt x="2694" y="772"/>
                  </a:lnTo>
                  <a:lnTo>
                    <a:pt x="2694" y="766"/>
                  </a:lnTo>
                  <a:lnTo>
                    <a:pt x="2686" y="764"/>
                  </a:lnTo>
                  <a:lnTo>
                    <a:pt x="2690" y="758"/>
                  </a:lnTo>
                  <a:lnTo>
                    <a:pt x="2694" y="752"/>
                  </a:lnTo>
                  <a:lnTo>
                    <a:pt x="2688" y="758"/>
                  </a:lnTo>
                  <a:lnTo>
                    <a:pt x="2684" y="754"/>
                  </a:lnTo>
                  <a:lnTo>
                    <a:pt x="2682" y="760"/>
                  </a:lnTo>
                  <a:lnTo>
                    <a:pt x="2678" y="754"/>
                  </a:lnTo>
                  <a:lnTo>
                    <a:pt x="2672" y="750"/>
                  </a:lnTo>
                  <a:lnTo>
                    <a:pt x="2674" y="744"/>
                  </a:lnTo>
                  <a:lnTo>
                    <a:pt x="2682" y="740"/>
                  </a:lnTo>
                  <a:lnTo>
                    <a:pt x="2678" y="734"/>
                  </a:lnTo>
                  <a:lnTo>
                    <a:pt x="2684" y="734"/>
                  </a:lnTo>
                  <a:lnTo>
                    <a:pt x="2690" y="736"/>
                  </a:lnTo>
                  <a:lnTo>
                    <a:pt x="2690" y="734"/>
                  </a:lnTo>
                  <a:lnTo>
                    <a:pt x="2686" y="730"/>
                  </a:lnTo>
                  <a:lnTo>
                    <a:pt x="2682" y="724"/>
                  </a:lnTo>
                  <a:lnTo>
                    <a:pt x="2676" y="726"/>
                  </a:lnTo>
                  <a:lnTo>
                    <a:pt x="2682" y="720"/>
                  </a:lnTo>
                  <a:lnTo>
                    <a:pt x="2688" y="722"/>
                  </a:lnTo>
                  <a:lnTo>
                    <a:pt x="2692" y="716"/>
                  </a:lnTo>
                  <a:lnTo>
                    <a:pt x="2686" y="710"/>
                  </a:lnTo>
                  <a:lnTo>
                    <a:pt x="2686" y="712"/>
                  </a:lnTo>
                  <a:lnTo>
                    <a:pt x="2680" y="714"/>
                  </a:lnTo>
                  <a:lnTo>
                    <a:pt x="2682" y="708"/>
                  </a:lnTo>
                  <a:lnTo>
                    <a:pt x="2688" y="708"/>
                  </a:lnTo>
                  <a:lnTo>
                    <a:pt x="2694" y="706"/>
                  </a:lnTo>
                  <a:lnTo>
                    <a:pt x="2694" y="704"/>
                  </a:lnTo>
                  <a:lnTo>
                    <a:pt x="2698" y="698"/>
                  </a:lnTo>
                  <a:lnTo>
                    <a:pt x="2692" y="702"/>
                  </a:lnTo>
                  <a:lnTo>
                    <a:pt x="2690" y="696"/>
                  </a:lnTo>
                  <a:lnTo>
                    <a:pt x="2696" y="690"/>
                  </a:lnTo>
                  <a:lnTo>
                    <a:pt x="2702" y="684"/>
                  </a:lnTo>
                  <a:lnTo>
                    <a:pt x="2708" y="682"/>
                  </a:lnTo>
                  <a:lnTo>
                    <a:pt x="2714" y="682"/>
                  </a:lnTo>
                  <a:lnTo>
                    <a:pt x="2720" y="682"/>
                  </a:lnTo>
                  <a:lnTo>
                    <a:pt x="2714" y="676"/>
                  </a:lnTo>
                  <a:lnTo>
                    <a:pt x="2720" y="672"/>
                  </a:lnTo>
                  <a:lnTo>
                    <a:pt x="2726" y="668"/>
                  </a:lnTo>
                  <a:lnTo>
                    <a:pt x="2720" y="670"/>
                  </a:lnTo>
                  <a:lnTo>
                    <a:pt x="2714" y="674"/>
                  </a:lnTo>
                  <a:lnTo>
                    <a:pt x="2718" y="668"/>
                  </a:lnTo>
                  <a:lnTo>
                    <a:pt x="2716" y="668"/>
                  </a:lnTo>
                  <a:lnTo>
                    <a:pt x="2710" y="668"/>
                  </a:lnTo>
                  <a:lnTo>
                    <a:pt x="2706" y="674"/>
                  </a:lnTo>
                  <a:lnTo>
                    <a:pt x="2704" y="680"/>
                  </a:lnTo>
                  <a:lnTo>
                    <a:pt x="2698" y="682"/>
                  </a:lnTo>
                  <a:lnTo>
                    <a:pt x="2700" y="676"/>
                  </a:lnTo>
                  <a:lnTo>
                    <a:pt x="2698" y="678"/>
                  </a:lnTo>
                  <a:lnTo>
                    <a:pt x="2698" y="680"/>
                  </a:lnTo>
                  <a:lnTo>
                    <a:pt x="2694" y="686"/>
                  </a:lnTo>
                  <a:lnTo>
                    <a:pt x="2692" y="680"/>
                  </a:lnTo>
                  <a:lnTo>
                    <a:pt x="2690" y="682"/>
                  </a:lnTo>
                  <a:lnTo>
                    <a:pt x="2688" y="686"/>
                  </a:lnTo>
                  <a:lnTo>
                    <a:pt x="2682" y="686"/>
                  </a:lnTo>
                  <a:lnTo>
                    <a:pt x="2682" y="692"/>
                  </a:lnTo>
                  <a:lnTo>
                    <a:pt x="2676" y="690"/>
                  </a:lnTo>
                  <a:lnTo>
                    <a:pt x="2676" y="694"/>
                  </a:lnTo>
                  <a:lnTo>
                    <a:pt x="2682" y="700"/>
                  </a:lnTo>
                  <a:lnTo>
                    <a:pt x="2676" y="702"/>
                  </a:lnTo>
                  <a:lnTo>
                    <a:pt x="2680" y="706"/>
                  </a:lnTo>
                  <a:lnTo>
                    <a:pt x="2672" y="706"/>
                  </a:lnTo>
                  <a:lnTo>
                    <a:pt x="2670" y="710"/>
                  </a:lnTo>
                  <a:lnTo>
                    <a:pt x="2668" y="718"/>
                  </a:lnTo>
                  <a:lnTo>
                    <a:pt x="2666" y="724"/>
                  </a:lnTo>
                  <a:lnTo>
                    <a:pt x="2666" y="730"/>
                  </a:lnTo>
                  <a:lnTo>
                    <a:pt x="2664" y="736"/>
                  </a:lnTo>
                  <a:lnTo>
                    <a:pt x="2662" y="740"/>
                  </a:lnTo>
                  <a:lnTo>
                    <a:pt x="2666" y="746"/>
                  </a:lnTo>
                  <a:lnTo>
                    <a:pt x="2664" y="754"/>
                  </a:lnTo>
                  <a:lnTo>
                    <a:pt x="2656" y="748"/>
                  </a:lnTo>
                  <a:lnTo>
                    <a:pt x="2654" y="742"/>
                  </a:lnTo>
                  <a:lnTo>
                    <a:pt x="2654" y="736"/>
                  </a:lnTo>
                  <a:lnTo>
                    <a:pt x="2656" y="730"/>
                  </a:lnTo>
                  <a:lnTo>
                    <a:pt x="2654" y="734"/>
                  </a:lnTo>
                  <a:lnTo>
                    <a:pt x="2652" y="740"/>
                  </a:lnTo>
                  <a:lnTo>
                    <a:pt x="2654" y="746"/>
                  </a:lnTo>
                  <a:lnTo>
                    <a:pt x="2658" y="752"/>
                  </a:lnTo>
                  <a:lnTo>
                    <a:pt x="2662" y="758"/>
                  </a:lnTo>
                  <a:lnTo>
                    <a:pt x="2664" y="764"/>
                  </a:lnTo>
                  <a:lnTo>
                    <a:pt x="2660" y="770"/>
                  </a:lnTo>
                  <a:lnTo>
                    <a:pt x="2658" y="764"/>
                  </a:lnTo>
                  <a:lnTo>
                    <a:pt x="2652" y="762"/>
                  </a:lnTo>
                  <a:lnTo>
                    <a:pt x="2646" y="760"/>
                  </a:lnTo>
                  <a:lnTo>
                    <a:pt x="2640" y="756"/>
                  </a:lnTo>
                  <a:lnTo>
                    <a:pt x="2640" y="750"/>
                  </a:lnTo>
                  <a:lnTo>
                    <a:pt x="2638" y="750"/>
                  </a:lnTo>
                  <a:lnTo>
                    <a:pt x="2638" y="756"/>
                  </a:lnTo>
                  <a:lnTo>
                    <a:pt x="2632" y="752"/>
                  </a:lnTo>
                  <a:lnTo>
                    <a:pt x="2630" y="746"/>
                  </a:lnTo>
                  <a:lnTo>
                    <a:pt x="2624" y="748"/>
                  </a:lnTo>
                  <a:lnTo>
                    <a:pt x="2618" y="746"/>
                  </a:lnTo>
                  <a:lnTo>
                    <a:pt x="2620" y="740"/>
                  </a:lnTo>
                  <a:lnTo>
                    <a:pt x="2626" y="734"/>
                  </a:lnTo>
                  <a:lnTo>
                    <a:pt x="2632" y="730"/>
                  </a:lnTo>
                  <a:lnTo>
                    <a:pt x="2638" y="726"/>
                  </a:lnTo>
                  <a:lnTo>
                    <a:pt x="2640" y="720"/>
                  </a:lnTo>
                  <a:lnTo>
                    <a:pt x="2642" y="716"/>
                  </a:lnTo>
                  <a:lnTo>
                    <a:pt x="2640" y="714"/>
                  </a:lnTo>
                  <a:lnTo>
                    <a:pt x="2640" y="718"/>
                  </a:lnTo>
                  <a:lnTo>
                    <a:pt x="2638" y="722"/>
                  </a:lnTo>
                  <a:lnTo>
                    <a:pt x="2636" y="726"/>
                  </a:lnTo>
                  <a:lnTo>
                    <a:pt x="2630" y="728"/>
                  </a:lnTo>
                  <a:lnTo>
                    <a:pt x="2630" y="732"/>
                  </a:lnTo>
                  <a:lnTo>
                    <a:pt x="2628" y="732"/>
                  </a:lnTo>
                  <a:lnTo>
                    <a:pt x="2626" y="732"/>
                  </a:lnTo>
                  <a:lnTo>
                    <a:pt x="2622" y="734"/>
                  </a:lnTo>
                  <a:lnTo>
                    <a:pt x="2618" y="740"/>
                  </a:lnTo>
                  <a:lnTo>
                    <a:pt x="2616" y="742"/>
                  </a:lnTo>
                  <a:lnTo>
                    <a:pt x="2614" y="748"/>
                  </a:lnTo>
                  <a:lnTo>
                    <a:pt x="2612" y="748"/>
                  </a:lnTo>
                  <a:lnTo>
                    <a:pt x="2616" y="754"/>
                  </a:lnTo>
                  <a:lnTo>
                    <a:pt x="2622" y="752"/>
                  </a:lnTo>
                  <a:lnTo>
                    <a:pt x="2628" y="754"/>
                  </a:lnTo>
                  <a:lnTo>
                    <a:pt x="2630" y="760"/>
                  </a:lnTo>
                  <a:lnTo>
                    <a:pt x="2632" y="762"/>
                  </a:lnTo>
                  <a:lnTo>
                    <a:pt x="2634" y="764"/>
                  </a:lnTo>
                  <a:lnTo>
                    <a:pt x="2638" y="764"/>
                  </a:lnTo>
                  <a:lnTo>
                    <a:pt x="2644" y="766"/>
                  </a:lnTo>
                  <a:lnTo>
                    <a:pt x="2648" y="766"/>
                  </a:lnTo>
                  <a:lnTo>
                    <a:pt x="2652" y="772"/>
                  </a:lnTo>
                  <a:lnTo>
                    <a:pt x="2654" y="776"/>
                  </a:lnTo>
                  <a:lnTo>
                    <a:pt x="2658" y="778"/>
                  </a:lnTo>
                  <a:lnTo>
                    <a:pt x="2664" y="782"/>
                  </a:lnTo>
                  <a:lnTo>
                    <a:pt x="2664" y="784"/>
                  </a:lnTo>
                  <a:lnTo>
                    <a:pt x="2658" y="792"/>
                  </a:lnTo>
                  <a:lnTo>
                    <a:pt x="2654" y="796"/>
                  </a:lnTo>
                  <a:lnTo>
                    <a:pt x="2648" y="800"/>
                  </a:lnTo>
                  <a:lnTo>
                    <a:pt x="2642" y="798"/>
                  </a:lnTo>
                  <a:lnTo>
                    <a:pt x="2640" y="792"/>
                  </a:lnTo>
                  <a:lnTo>
                    <a:pt x="2634" y="786"/>
                  </a:lnTo>
                  <a:lnTo>
                    <a:pt x="2634" y="780"/>
                  </a:lnTo>
                  <a:lnTo>
                    <a:pt x="2628" y="774"/>
                  </a:lnTo>
                  <a:lnTo>
                    <a:pt x="2628" y="772"/>
                  </a:lnTo>
                  <a:lnTo>
                    <a:pt x="2628" y="778"/>
                  </a:lnTo>
                  <a:lnTo>
                    <a:pt x="2632" y="784"/>
                  </a:lnTo>
                  <a:lnTo>
                    <a:pt x="2634" y="790"/>
                  </a:lnTo>
                  <a:lnTo>
                    <a:pt x="2638" y="796"/>
                  </a:lnTo>
                  <a:lnTo>
                    <a:pt x="2640" y="802"/>
                  </a:lnTo>
                  <a:lnTo>
                    <a:pt x="2646" y="802"/>
                  </a:lnTo>
                  <a:lnTo>
                    <a:pt x="2648" y="808"/>
                  </a:lnTo>
                  <a:lnTo>
                    <a:pt x="2654" y="810"/>
                  </a:lnTo>
                  <a:lnTo>
                    <a:pt x="2652" y="816"/>
                  </a:lnTo>
                  <a:lnTo>
                    <a:pt x="2652" y="818"/>
                  </a:lnTo>
                  <a:lnTo>
                    <a:pt x="2646" y="820"/>
                  </a:lnTo>
                  <a:lnTo>
                    <a:pt x="2640" y="818"/>
                  </a:lnTo>
                  <a:lnTo>
                    <a:pt x="2642" y="826"/>
                  </a:lnTo>
                  <a:lnTo>
                    <a:pt x="2636" y="826"/>
                  </a:lnTo>
                  <a:lnTo>
                    <a:pt x="2630" y="822"/>
                  </a:lnTo>
                  <a:lnTo>
                    <a:pt x="2630" y="818"/>
                  </a:lnTo>
                  <a:lnTo>
                    <a:pt x="2624" y="812"/>
                  </a:lnTo>
                  <a:lnTo>
                    <a:pt x="2628" y="818"/>
                  </a:lnTo>
                  <a:lnTo>
                    <a:pt x="2630" y="826"/>
                  </a:lnTo>
                  <a:lnTo>
                    <a:pt x="2636" y="830"/>
                  </a:lnTo>
                  <a:lnTo>
                    <a:pt x="2642" y="834"/>
                  </a:lnTo>
                  <a:lnTo>
                    <a:pt x="2644" y="838"/>
                  </a:lnTo>
                  <a:lnTo>
                    <a:pt x="2638" y="844"/>
                  </a:lnTo>
                  <a:lnTo>
                    <a:pt x="2632" y="848"/>
                  </a:lnTo>
                  <a:lnTo>
                    <a:pt x="2630" y="842"/>
                  </a:lnTo>
                  <a:lnTo>
                    <a:pt x="2626" y="836"/>
                  </a:lnTo>
                  <a:lnTo>
                    <a:pt x="2624" y="830"/>
                  </a:lnTo>
                  <a:lnTo>
                    <a:pt x="2622" y="830"/>
                  </a:lnTo>
                  <a:lnTo>
                    <a:pt x="2618" y="828"/>
                  </a:lnTo>
                  <a:lnTo>
                    <a:pt x="2612" y="828"/>
                  </a:lnTo>
                  <a:lnTo>
                    <a:pt x="2604" y="824"/>
                  </a:lnTo>
                  <a:lnTo>
                    <a:pt x="2600" y="824"/>
                  </a:lnTo>
                  <a:lnTo>
                    <a:pt x="2594" y="822"/>
                  </a:lnTo>
                  <a:lnTo>
                    <a:pt x="2594" y="824"/>
                  </a:lnTo>
                  <a:lnTo>
                    <a:pt x="2600" y="826"/>
                  </a:lnTo>
                  <a:lnTo>
                    <a:pt x="2606" y="826"/>
                  </a:lnTo>
                  <a:lnTo>
                    <a:pt x="2610" y="830"/>
                  </a:lnTo>
                  <a:lnTo>
                    <a:pt x="2616" y="832"/>
                  </a:lnTo>
                  <a:lnTo>
                    <a:pt x="2622" y="838"/>
                  </a:lnTo>
                  <a:lnTo>
                    <a:pt x="2624" y="842"/>
                  </a:lnTo>
                  <a:lnTo>
                    <a:pt x="2628" y="850"/>
                  </a:lnTo>
                  <a:lnTo>
                    <a:pt x="2626" y="854"/>
                  </a:lnTo>
                  <a:lnTo>
                    <a:pt x="2630" y="852"/>
                  </a:lnTo>
                  <a:lnTo>
                    <a:pt x="2636" y="856"/>
                  </a:lnTo>
                  <a:lnTo>
                    <a:pt x="2636" y="852"/>
                  </a:lnTo>
                  <a:lnTo>
                    <a:pt x="2638" y="848"/>
                  </a:lnTo>
                  <a:lnTo>
                    <a:pt x="2644" y="850"/>
                  </a:lnTo>
                  <a:lnTo>
                    <a:pt x="2650" y="850"/>
                  </a:lnTo>
                  <a:lnTo>
                    <a:pt x="2656" y="852"/>
                  </a:lnTo>
                  <a:lnTo>
                    <a:pt x="2656" y="858"/>
                  </a:lnTo>
                  <a:lnTo>
                    <a:pt x="2656" y="864"/>
                  </a:lnTo>
                  <a:lnTo>
                    <a:pt x="2656" y="870"/>
                  </a:lnTo>
                  <a:lnTo>
                    <a:pt x="2656" y="876"/>
                  </a:lnTo>
                  <a:lnTo>
                    <a:pt x="2656" y="882"/>
                  </a:lnTo>
                  <a:lnTo>
                    <a:pt x="2654" y="888"/>
                  </a:lnTo>
                  <a:lnTo>
                    <a:pt x="2654" y="894"/>
                  </a:lnTo>
                  <a:lnTo>
                    <a:pt x="2654" y="900"/>
                  </a:lnTo>
                  <a:lnTo>
                    <a:pt x="2654" y="906"/>
                  </a:lnTo>
                  <a:lnTo>
                    <a:pt x="2656" y="912"/>
                  </a:lnTo>
                  <a:lnTo>
                    <a:pt x="2658" y="918"/>
                  </a:lnTo>
                  <a:lnTo>
                    <a:pt x="2656" y="924"/>
                  </a:lnTo>
                  <a:lnTo>
                    <a:pt x="2656" y="918"/>
                  </a:lnTo>
                  <a:lnTo>
                    <a:pt x="2654" y="912"/>
                  </a:lnTo>
                  <a:lnTo>
                    <a:pt x="2654" y="906"/>
                  </a:lnTo>
                  <a:lnTo>
                    <a:pt x="2654" y="900"/>
                  </a:lnTo>
                  <a:lnTo>
                    <a:pt x="2652" y="894"/>
                  </a:lnTo>
                  <a:lnTo>
                    <a:pt x="2654" y="888"/>
                  </a:lnTo>
                  <a:lnTo>
                    <a:pt x="2654" y="882"/>
                  </a:lnTo>
                  <a:lnTo>
                    <a:pt x="2654" y="876"/>
                  </a:lnTo>
                  <a:lnTo>
                    <a:pt x="2650" y="870"/>
                  </a:lnTo>
                  <a:lnTo>
                    <a:pt x="2648" y="876"/>
                  </a:lnTo>
                  <a:lnTo>
                    <a:pt x="2646" y="876"/>
                  </a:lnTo>
                  <a:lnTo>
                    <a:pt x="2646" y="874"/>
                  </a:lnTo>
                  <a:lnTo>
                    <a:pt x="2646" y="876"/>
                  </a:lnTo>
                  <a:lnTo>
                    <a:pt x="2646" y="878"/>
                  </a:lnTo>
                  <a:lnTo>
                    <a:pt x="2646" y="884"/>
                  </a:lnTo>
                  <a:lnTo>
                    <a:pt x="2648" y="890"/>
                  </a:lnTo>
                  <a:lnTo>
                    <a:pt x="2650" y="896"/>
                  </a:lnTo>
                  <a:lnTo>
                    <a:pt x="2650" y="902"/>
                  </a:lnTo>
                  <a:lnTo>
                    <a:pt x="2648" y="908"/>
                  </a:lnTo>
                  <a:lnTo>
                    <a:pt x="2648" y="902"/>
                  </a:lnTo>
                  <a:lnTo>
                    <a:pt x="2644" y="896"/>
                  </a:lnTo>
                  <a:lnTo>
                    <a:pt x="2638" y="902"/>
                  </a:lnTo>
                  <a:lnTo>
                    <a:pt x="2632" y="898"/>
                  </a:lnTo>
                  <a:lnTo>
                    <a:pt x="2636" y="904"/>
                  </a:lnTo>
                  <a:lnTo>
                    <a:pt x="2630" y="906"/>
                  </a:lnTo>
                  <a:lnTo>
                    <a:pt x="2624" y="902"/>
                  </a:lnTo>
                  <a:lnTo>
                    <a:pt x="2626" y="908"/>
                  </a:lnTo>
                  <a:lnTo>
                    <a:pt x="2620" y="906"/>
                  </a:lnTo>
                  <a:lnTo>
                    <a:pt x="2614" y="902"/>
                  </a:lnTo>
                  <a:lnTo>
                    <a:pt x="2618" y="908"/>
                  </a:lnTo>
                  <a:lnTo>
                    <a:pt x="2614" y="910"/>
                  </a:lnTo>
                  <a:lnTo>
                    <a:pt x="2608" y="914"/>
                  </a:lnTo>
                  <a:lnTo>
                    <a:pt x="2602" y="912"/>
                  </a:lnTo>
                  <a:lnTo>
                    <a:pt x="2598" y="906"/>
                  </a:lnTo>
                  <a:lnTo>
                    <a:pt x="2598" y="900"/>
                  </a:lnTo>
                  <a:lnTo>
                    <a:pt x="2602" y="894"/>
                  </a:lnTo>
                  <a:lnTo>
                    <a:pt x="2596" y="900"/>
                  </a:lnTo>
                  <a:lnTo>
                    <a:pt x="2596" y="906"/>
                  </a:lnTo>
                  <a:lnTo>
                    <a:pt x="2596" y="912"/>
                  </a:lnTo>
                  <a:lnTo>
                    <a:pt x="2594" y="918"/>
                  </a:lnTo>
                  <a:lnTo>
                    <a:pt x="2596" y="918"/>
                  </a:lnTo>
                  <a:lnTo>
                    <a:pt x="2602" y="918"/>
                  </a:lnTo>
                  <a:lnTo>
                    <a:pt x="2610" y="916"/>
                  </a:lnTo>
                  <a:lnTo>
                    <a:pt x="2616" y="918"/>
                  </a:lnTo>
                  <a:lnTo>
                    <a:pt x="2622" y="916"/>
                  </a:lnTo>
                  <a:lnTo>
                    <a:pt x="2626" y="914"/>
                  </a:lnTo>
                  <a:lnTo>
                    <a:pt x="2632" y="920"/>
                  </a:lnTo>
                  <a:lnTo>
                    <a:pt x="2628" y="926"/>
                  </a:lnTo>
                  <a:lnTo>
                    <a:pt x="2628" y="932"/>
                  </a:lnTo>
                  <a:lnTo>
                    <a:pt x="2624" y="938"/>
                  </a:lnTo>
                  <a:lnTo>
                    <a:pt x="2630" y="934"/>
                  </a:lnTo>
                  <a:lnTo>
                    <a:pt x="2632" y="928"/>
                  </a:lnTo>
                  <a:lnTo>
                    <a:pt x="2634" y="922"/>
                  </a:lnTo>
                  <a:lnTo>
                    <a:pt x="2640" y="922"/>
                  </a:lnTo>
                  <a:lnTo>
                    <a:pt x="2646" y="918"/>
                  </a:lnTo>
                  <a:lnTo>
                    <a:pt x="2648" y="924"/>
                  </a:lnTo>
                  <a:lnTo>
                    <a:pt x="2646" y="930"/>
                  </a:lnTo>
                  <a:lnTo>
                    <a:pt x="2642" y="936"/>
                  </a:lnTo>
                  <a:lnTo>
                    <a:pt x="2640" y="942"/>
                  </a:lnTo>
                  <a:lnTo>
                    <a:pt x="2634" y="940"/>
                  </a:lnTo>
                  <a:lnTo>
                    <a:pt x="2630" y="946"/>
                  </a:lnTo>
                  <a:lnTo>
                    <a:pt x="2624" y="950"/>
                  </a:lnTo>
                  <a:lnTo>
                    <a:pt x="2620" y="956"/>
                  </a:lnTo>
                  <a:lnTo>
                    <a:pt x="2614" y="960"/>
                  </a:lnTo>
                  <a:lnTo>
                    <a:pt x="2610" y="960"/>
                  </a:lnTo>
                  <a:lnTo>
                    <a:pt x="2604" y="956"/>
                  </a:lnTo>
                  <a:lnTo>
                    <a:pt x="2598" y="956"/>
                  </a:lnTo>
                  <a:lnTo>
                    <a:pt x="2592" y="952"/>
                  </a:lnTo>
                  <a:lnTo>
                    <a:pt x="2596" y="946"/>
                  </a:lnTo>
                  <a:lnTo>
                    <a:pt x="2590" y="950"/>
                  </a:lnTo>
                  <a:lnTo>
                    <a:pt x="2590" y="956"/>
                  </a:lnTo>
                  <a:lnTo>
                    <a:pt x="2584" y="954"/>
                  </a:lnTo>
                  <a:lnTo>
                    <a:pt x="2578" y="952"/>
                  </a:lnTo>
                  <a:lnTo>
                    <a:pt x="2572" y="952"/>
                  </a:lnTo>
                  <a:lnTo>
                    <a:pt x="2566" y="948"/>
                  </a:lnTo>
                  <a:lnTo>
                    <a:pt x="2572" y="952"/>
                  </a:lnTo>
                  <a:lnTo>
                    <a:pt x="2578" y="956"/>
                  </a:lnTo>
                  <a:lnTo>
                    <a:pt x="2584" y="960"/>
                  </a:lnTo>
                  <a:lnTo>
                    <a:pt x="2590" y="962"/>
                  </a:lnTo>
                  <a:lnTo>
                    <a:pt x="2590" y="968"/>
                  </a:lnTo>
                  <a:lnTo>
                    <a:pt x="2584" y="970"/>
                  </a:lnTo>
                  <a:lnTo>
                    <a:pt x="2584" y="976"/>
                  </a:lnTo>
                  <a:lnTo>
                    <a:pt x="2580" y="980"/>
                  </a:lnTo>
                  <a:lnTo>
                    <a:pt x="2572" y="984"/>
                  </a:lnTo>
                  <a:lnTo>
                    <a:pt x="2566" y="984"/>
                  </a:lnTo>
                  <a:lnTo>
                    <a:pt x="2562" y="980"/>
                  </a:lnTo>
                  <a:lnTo>
                    <a:pt x="2558" y="978"/>
                  </a:lnTo>
                  <a:lnTo>
                    <a:pt x="2560" y="984"/>
                  </a:lnTo>
                  <a:lnTo>
                    <a:pt x="2566" y="986"/>
                  </a:lnTo>
                  <a:lnTo>
                    <a:pt x="2572" y="988"/>
                  </a:lnTo>
                  <a:lnTo>
                    <a:pt x="2578" y="984"/>
                  </a:lnTo>
                  <a:lnTo>
                    <a:pt x="2584" y="984"/>
                  </a:lnTo>
                  <a:lnTo>
                    <a:pt x="2588" y="984"/>
                  </a:lnTo>
                  <a:lnTo>
                    <a:pt x="2590" y="984"/>
                  </a:lnTo>
                  <a:lnTo>
                    <a:pt x="2590" y="986"/>
                  </a:lnTo>
                  <a:lnTo>
                    <a:pt x="2596" y="984"/>
                  </a:lnTo>
                  <a:lnTo>
                    <a:pt x="2598" y="984"/>
                  </a:lnTo>
                  <a:lnTo>
                    <a:pt x="2594" y="988"/>
                  </a:lnTo>
                  <a:lnTo>
                    <a:pt x="2588" y="992"/>
                  </a:lnTo>
                  <a:lnTo>
                    <a:pt x="2584" y="998"/>
                  </a:lnTo>
                  <a:lnTo>
                    <a:pt x="2578" y="1002"/>
                  </a:lnTo>
                  <a:lnTo>
                    <a:pt x="2572" y="998"/>
                  </a:lnTo>
                  <a:lnTo>
                    <a:pt x="2566" y="1000"/>
                  </a:lnTo>
                  <a:lnTo>
                    <a:pt x="2568" y="1002"/>
                  </a:lnTo>
                  <a:lnTo>
                    <a:pt x="2562" y="1002"/>
                  </a:lnTo>
                  <a:lnTo>
                    <a:pt x="2556" y="1002"/>
                  </a:lnTo>
                  <a:lnTo>
                    <a:pt x="2550" y="1004"/>
                  </a:lnTo>
                  <a:lnTo>
                    <a:pt x="2544" y="1002"/>
                  </a:lnTo>
                  <a:lnTo>
                    <a:pt x="2540" y="1008"/>
                  </a:lnTo>
                  <a:lnTo>
                    <a:pt x="2534" y="1012"/>
                  </a:lnTo>
                  <a:lnTo>
                    <a:pt x="2528" y="1010"/>
                  </a:lnTo>
                  <a:lnTo>
                    <a:pt x="2528" y="1004"/>
                  </a:lnTo>
                  <a:lnTo>
                    <a:pt x="2524" y="1010"/>
                  </a:lnTo>
                  <a:lnTo>
                    <a:pt x="2524" y="1016"/>
                  </a:lnTo>
                  <a:lnTo>
                    <a:pt x="2518" y="1020"/>
                  </a:lnTo>
                  <a:lnTo>
                    <a:pt x="2512" y="1022"/>
                  </a:lnTo>
                  <a:lnTo>
                    <a:pt x="2508" y="1026"/>
                  </a:lnTo>
                  <a:lnTo>
                    <a:pt x="2502" y="1030"/>
                  </a:lnTo>
                  <a:lnTo>
                    <a:pt x="2496" y="1036"/>
                  </a:lnTo>
                  <a:lnTo>
                    <a:pt x="2490" y="1042"/>
                  </a:lnTo>
                  <a:lnTo>
                    <a:pt x="2488" y="1048"/>
                  </a:lnTo>
                  <a:lnTo>
                    <a:pt x="2484" y="1054"/>
                  </a:lnTo>
                  <a:lnTo>
                    <a:pt x="2486" y="1048"/>
                  </a:lnTo>
                  <a:lnTo>
                    <a:pt x="2486" y="1042"/>
                  </a:lnTo>
                  <a:lnTo>
                    <a:pt x="2484" y="1048"/>
                  </a:lnTo>
                  <a:lnTo>
                    <a:pt x="2480" y="1054"/>
                  </a:lnTo>
                  <a:lnTo>
                    <a:pt x="2474" y="1060"/>
                  </a:lnTo>
                  <a:lnTo>
                    <a:pt x="2468" y="1058"/>
                  </a:lnTo>
                  <a:lnTo>
                    <a:pt x="2462" y="1058"/>
                  </a:lnTo>
                  <a:lnTo>
                    <a:pt x="2456" y="1058"/>
                  </a:lnTo>
                  <a:lnTo>
                    <a:pt x="2452" y="1060"/>
                  </a:lnTo>
                  <a:lnTo>
                    <a:pt x="2444" y="1062"/>
                  </a:lnTo>
                  <a:lnTo>
                    <a:pt x="2444" y="1060"/>
                  </a:lnTo>
                  <a:lnTo>
                    <a:pt x="2442" y="1062"/>
                  </a:lnTo>
                  <a:lnTo>
                    <a:pt x="2436" y="1064"/>
                  </a:lnTo>
                  <a:lnTo>
                    <a:pt x="2432" y="1068"/>
                  </a:lnTo>
                  <a:lnTo>
                    <a:pt x="2426" y="1072"/>
                  </a:lnTo>
                  <a:lnTo>
                    <a:pt x="2420" y="1076"/>
                  </a:lnTo>
                  <a:lnTo>
                    <a:pt x="2414" y="1082"/>
                  </a:lnTo>
                  <a:lnTo>
                    <a:pt x="2408" y="1088"/>
                  </a:lnTo>
                  <a:lnTo>
                    <a:pt x="2402" y="1092"/>
                  </a:lnTo>
                  <a:lnTo>
                    <a:pt x="2398" y="1098"/>
                  </a:lnTo>
                  <a:lnTo>
                    <a:pt x="2394" y="1104"/>
                  </a:lnTo>
                  <a:lnTo>
                    <a:pt x="2392" y="1098"/>
                  </a:lnTo>
                  <a:lnTo>
                    <a:pt x="2398" y="1092"/>
                  </a:lnTo>
                  <a:lnTo>
                    <a:pt x="2392" y="1098"/>
                  </a:lnTo>
                  <a:lnTo>
                    <a:pt x="2392" y="1104"/>
                  </a:lnTo>
                  <a:lnTo>
                    <a:pt x="2390" y="1110"/>
                  </a:lnTo>
                  <a:lnTo>
                    <a:pt x="2384" y="1112"/>
                  </a:lnTo>
                  <a:lnTo>
                    <a:pt x="2384" y="1116"/>
                  </a:lnTo>
                  <a:lnTo>
                    <a:pt x="2378" y="1122"/>
                  </a:lnTo>
                  <a:lnTo>
                    <a:pt x="2372" y="1120"/>
                  </a:lnTo>
                  <a:lnTo>
                    <a:pt x="2366" y="1122"/>
                  </a:lnTo>
                  <a:lnTo>
                    <a:pt x="2364" y="1128"/>
                  </a:lnTo>
                  <a:lnTo>
                    <a:pt x="2360" y="1132"/>
                  </a:lnTo>
                  <a:lnTo>
                    <a:pt x="2352" y="1136"/>
                  </a:lnTo>
                  <a:lnTo>
                    <a:pt x="2346" y="1138"/>
                  </a:lnTo>
                  <a:lnTo>
                    <a:pt x="2344" y="1132"/>
                  </a:lnTo>
                  <a:lnTo>
                    <a:pt x="2344" y="1138"/>
                  </a:lnTo>
                  <a:lnTo>
                    <a:pt x="2342" y="1144"/>
                  </a:lnTo>
                  <a:lnTo>
                    <a:pt x="2336" y="1146"/>
                  </a:lnTo>
                  <a:lnTo>
                    <a:pt x="2336" y="1148"/>
                  </a:lnTo>
                  <a:lnTo>
                    <a:pt x="2334" y="1148"/>
                  </a:lnTo>
                  <a:lnTo>
                    <a:pt x="2328" y="1150"/>
                  </a:lnTo>
                  <a:lnTo>
                    <a:pt x="2322" y="1154"/>
                  </a:lnTo>
                  <a:lnTo>
                    <a:pt x="2316" y="1156"/>
                  </a:lnTo>
                  <a:lnTo>
                    <a:pt x="2310" y="1158"/>
                  </a:lnTo>
                  <a:lnTo>
                    <a:pt x="2304" y="1154"/>
                  </a:lnTo>
                  <a:lnTo>
                    <a:pt x="2300" y="1156"/>
                  </a:lnTo>
                  <a:lnTo>
                    <a:pt x="2304" y="1158"/>
                  </a:lnTo>
                  <a:lnTo>
                    <a:pt x="2300" y="1160"/>
                  </a:lnTo>
                  <a:lnTo>
                    <a:pt x="2304" y="1164"/>
                  </a:lnTo>
                  <a:lnTo>
                    <a:pt x="2300" y="1168"/>
                  </a:lnTo>
                  <a:lnTo>
                    <a:pt x="2304" y="1166"/>
                  </a:lnTo>
                  <a:lnTo>
                    <a:pt x="2298" y="1172"/>
                  </a:lnTo>
                  <a:lnTo>
                    <a:pt x="2292" y="1170"/>
                  </a:lnTo>
                  <a:lnTo>
                    <a:pt x="2292" y="1164"/>
                  </a:lnTo>
                  <a:lnTo>
                    <a:pt x="2290" y="1170"/>
                  </a:lnTo>
                  <a:lnTo>
                    <a:pt x="2288" y="1164"/>
                  </a:lnTo>
                  <a:lnTo>
                    <a:pt x="2286" y="1158"/>
                  </a:lnTo>
                  <a:lnTo>
                    <a:pt x="2286" y="1164"/>
                  </a:lnTo>
                  <a:lnTo>
                    <a:pt x="2284" y="1170"/>
                  </a:lnTo>
                  <a:lnTo>
                    <a:pt x="2290" y="1174"/>
                  </a:lnTo>
                  <a:lnTo>
                    <a:pt x="2284" y="1180"/>
                  </a:lnTo>
                  <a:lnTo>
                    <a:pt x="2278" y="1184"/>
                  </a:lnTo>
                  <a:lnTo>
                    <a:pt x="2282" y="1178"/>
                  </a:lnTo>
                  <a:lnTo>
                    <a:pt x="2278" y="1184"/>
                  </a:lnTo>
                  <a:lnTo>
                    <a:pt x="2274" y="1190"/>
                  </a:lnTo>
                  <a:lnTo>
                    <a:pt x="2274" y="1192"/>
                  </a:lnTo>
                  <a:lnTo>
                    <a:pt x="2270" y="1192"/>
                  </a:lnTo>
                  <a:lnTo>
                    <a:pt x="2268" y="1198"/>
                  </a:lnTo>
                  <a:lnTo>
                    <a:pt x="2262" y="1200"/>
                  </a:lnTo>
                  <a:lnTo>
                    <a:pt x="2256" y="1202"/>
                  </a:lnTo>
                  <a:lnTo>
                    <a:pt x="2258" y="1206"/>
                  </a:lnTo>
                  <a:lnTo>
                    <a:pt x="2252" y="1210"/>
                  </a:lnTo>
                  <a:lnTo>
                    <a:pt x="2246" y="1208"/>
                  </a:lnTo>
                  <a:lnTo>
                    <a:pt x="2246" y="1214"/>
                  </a:lnTo>
                  <a:lnTo>
                    <a:pt x="2254" y="1212"/>
                  </a:lnTo>
                  <a:lnTo>
                    <a:pt x="2250" y="1218"/>
                  </a:lnTo>
                  <a:lnTo>
                    <a:pt x="2244" y="1222"/>
                  </a:lnTo>
                  <a:lnTo>
                    <a:pt x="2238" y="1222"/>
                  </a:lnTo>
                  <a:lnTo>
                    <a:pt x="2244" y="1228"/>
                  </a:lnTo>
                  <a:lnTo>
                    <a:pt x="2238" y="1234"/>
                  </a:lnTo>
                  <a:lnTo>
                    <a:pt x="2236" y="1232"/>
                  </a:lnTo>
                  <a:lnTo>
                    <a:pt x="2238" y="1236"/>
                  </a:lnTo>
                  <a:lnTo>
                    <a:pt x="2232" y="1236"/>
                  </a:lnTo>
                  <a:lnTo>
                    <a:pt x="2226" y="1236"/>
                  </a:lnTo>
                  <a:lnTo>
                    <a:pt x="2232" y="1238"/>
                  </a:lnTo>
                  <a:lnTo>
                    <a:pt x="2236" y="1244"/>
                  </a:lnTo>
                  <a:lnTo>
                    <a:pt x="2230" y="1248"/>
                  </a:lnTo>
                  <a:lnTo>
                    <a:pt x="2224" y="1250"/>
                  </a:lnTo>
                  <a:lnTo>
                    <a:pt x="2220" y="1256"/>
                  </a:lnTo>
                  <a:lnTo>
                    <a:pt x="2220" y="1262"/>
                  </a:lnTo>
                  <a:lnTo>
                    <a:pt x="2216" y="1268"/>
                  </a:lnTo>
                  <a:lnTo>
                    <a:pt x="2214" y="1274"/>
                  </a:lnTo>
                  <a:lnTo>
                    <a:pt x="2214" y="1280"/>
                  </a:lnTo>
                  <a:lnTo>
                    <a:pt x="2216" y="1284"/>
                  </a:lnTo>
                  <a:lnTo>
                    <a:pt x="2210" y="1290"/>
                  </a:lnTo>
                  <a:lnTo>
                    <a:pt x="2214" y="1296"/>
                  </a:lnTo>
                  <a:lnTo>
                    <a:pt x="2214" y="1302"/>
                  </a:lnTo>
                  <a:lnTo>
                    <a:pt x="2214" y="1306"/>
                  </a:lnTo>
                  <a:lnTo>
                    <a:pt x="2212" y="1312"/>
                  </a:lnTo>
                  <a:lnTo>
                    <a:pt x="2212" y="1318"/>
                  </a:lnTo>
                  <a:lnTo>
                    <a:pt x="2212" y="1324"/>
                  </a:lnTo>
                  <a:lnTo>
                    <a:pt x="2212" y="1330"/>
                  </a:lnTo>
                  <a:lnTo>
                    <a:pt x="2212" y="1332"/>
                  </a:lnTo>
                  <a:lnTo>
                    <a:pt x="2212" y="1338"/>
                  </a:lnTo>
                  <a:lnTo>
                    <a:pt x="2212" y="1344"/>
                  </a:lnTo>
                  <a:lnTo>
                    <a:pt x="2212" y="1350"/>
                  </a:lnTo>
                  <a:lnTo>
                    <a:pt x="2214" y="1354"/>
                  </a:lnTo>
                  <a:lnTo>
                    <a:pt x="2214" y="1362"/>
                  </a:lnTo>
                  <a:lnTo>
                    <a:pt x="2216" y="1368"/>
                  </a:lnTo>
                  <a:lnTo>
                    <a:pt x="2216" y="1372"/>
                  </a:lnTo>
                  <a:lnTo>
                    <a:pt x="2218" y="1378"/>
                  </a:lnTo>
                  <a:lnTo>
                    <a:pt x="2218" y="1384"/>
                  </a:lnTo>
                  <a:lnTo>
                    <a:pt x="2220" y="1390"/>
                  </a:lnTo>
                  <a:lnTo>
                    <a:pt x="2222" y="1396"/>
                  </a:lnTo>
                  <a:lnTo>
                    <a:pt x="2222" y="1400"/>
                  </a:lnTo>
                  <a:lnTo>
                    <a:pt x="2224" y="1406"/>
                  </a:lnTo>
                  <a:lnTo>
                    <a:pt x="2226" y="1412"/>
                  </a:lnTo>
                  <a:lnTo>
                    <a:pt x="2228" y="1418"/>
                  </a:lnTo>
                  <a:lnTo>
                    <a:pt x="2232" y="1424"/>
                  </a:lnTo>
                  <a:lnTo>
                    <a:pt x="2232" y="1430"/>
                  </a:lnTo>
                  <a:lnTo>
                    <a:pt x="2234" y="1436"/>
                  </a:lnTo>
                  <a:lnTo>
                    <a:pt x="2228" y="1442"/>
                  </a:lnTo>
                  <a:lnTo>
                    <a:pt x="2228" y="1448"/>
                  </a:lnTo>
                  <a:lnTo>
                    <a:pt x="2226" y="1454"/>
                  </a:lnTo>
                  <a:lnTo>
                    <a:pt x="2226" y="1460"/>
                  </a:lnTo>
                  <a:lnTo>
                    <a:pt x="2226" y="1464"/>
                  </a:lnTo>
                  <a:lnTo>
                    <a:pt x="2228" y="1470"/>
                  </a:lnTo>
                  <a:lnTo>
                    <a:pt x="2230" y="1478"/>
                  </a:lnTo>
                  <a:lnTo>
                    <a:pt x="2228" y="1474"/>
                  </a:lnTo>
                  <a:lnTo>
                    <a:pt x="2228" y="1468"/>
                  </a:lnTo>
                  <a:lnTo>
                    <a:pt x="2226" y="1462"/>
                  </a:lnTo>
                  <a:lnTo>
                    <a:pt x="2224" y="1456"/>
                  </a:lnTo>
                  <a:lnTo>
                    <a:pt x="2226" y="1450"/>
                  </a:lnTo>
                  <a:lnTo>
                    <a:pt x="2226" y="1444"/>
                  </a:lnTo>
                  <a:lnTo>
                    <a:pt x="2228" y="1438"/>
                  </a:lnTo>
                  <a:lnTo>
                    <a:pt x="2232" y="1432"/>
                  </a:lnTo>
                  <a:lnTo>
                    <a:pt x="2228" y="1426"/>
                  </a:lnTo>
                  <a:lnTo>
                    <a:pt x="2222" y="1424"/>
                  </a:lnTo>
                  <a:lnTo>
                    <a:pt x="2220" y="1418"/>
                  </a:lnTo>
                  <a:lnTo>
                    <a:pt x="2220" y="1424"/>
                  </a:lnTo>
                  <a:lnTo>
                    <a:pt x="2220" y="1430"/>
                  </a:lnTo>
                  <a:lnTo>
                    <a:pt x="2220" y="1436"/>
                  </a:lnTo>
                  <a:lnTo>
                    <a:pt x="2220" y="1442"/>
                  </a:lnTo>
                  <a:lnTo>
                    <a:pt x="2220" y="1446"/>
                  </a:lnTo>
                  <a:lnTo>
                    <a:pt x="2222" y="1452"/>
                  </a:lnTo>
                  <a:lnTo>
                    <a:pt x="2224" y="1456"/>
                  </a:lnTo>
                  <a:lnTo>
                    <a:pt x="2224" y="1464"/>
                  </a:lnTo>
                  <a:lnTo>
                    <a:pt x="2226" y="1468"/>
                  </a:lnTo>
                  <a:lnTo>
                    <a:pt x="2226" y="1474"/>
                  </a:lnTo>
                  <a:lnTo>
                    <a:pt x="2228" y="1480"/>
                  </a:lnTo>
                  <a:lnTo>
                    <a:pt x="2230" y="1486"/>
                  </a:lnTo>
                  <a:lnTo>
                    <a:pt x="2230" y="1492"/>
                  </a:lnTo>
                  <a:lnTo>
                    <a:pt x="2230" y="1498"/>
                  </a:lnTo>
                  <a:lnTo>
                    <a:pt x="2232" y="1504"/>
                  </a:lnTo>
                  <a:lnTo>
                    <a:pt x="2232" y="1510"/>
                  </a:lnTo>
                  <a:lnTo>
                    <a:pt x="2234" y="1516"/>
                  </a:lnTo>
                  <a:lnTo>
                    <a:pt x="2232" y="1522"/>
                  </a:lnTo>
                  <a:lnTo>
                    <a:pt x="2230" y="1524"/>
                  </a:lnTo>
                  <a:lnTo>
                    <a:pt x="2232" y="1524"/>
                  </a:lnTo>
                  <a:lnTo>
                    <a:pt x="2234" y="1524"/>
                  </a:lnTo>
                  <a:lnTo>
                    <a:pt x="2236" y="1528"/>
                  </a:lnTo>
                  <a:lnTo>
                    <a:pt x="2238" y="1536"/>
                  </a:lnTo>
                  <a:lnTo>
                    <a:pt x="2238" y="1540"/>
                  </a:lnTo>
                  <a:lnTo>
                    <a:pt x="2238" y="1542"/>
                  </a:lnTo>
                  <a:lnTo>
                    <a:pt x="2238" y="1546"/>
                  </a:lnTo>
                  <a:lnTo>
                    <a:pt x="2238" y="1552"/>
                  </a:lnTo>
                  <a:lnTo>
                    <a:pt x="2238" y="1558"/>
                  </a:lnTo>
                  <a:lnTo>
                    <a:pt x="2236" y="1562"/>
                  </a:lnTo>
                  <a:lnTo>
                    <a:pt x="2234" y="1570"/>
                  </a:lnTo>
                  <a:lnTo>
                    <a:pt x="2232" y="1574"/>
                  </a:lnTo>
                  <a:lnTo>
                    <a:pt x="2232" y="1580"/>
                  </a:lnTo>
                  <a:lnTo>
                    <a:pt x="2230" y="1586"/>
                  </a:lnTo>
                  <a:lnTo>
                    <a:pt x="2228" y="1592"/>
                  </a:lnTo>
                  <a:lnTo>
                    <a:pt x="2226" y="1598"/>
                  </a:lnTo>
                  <a:lnTo>
                    <a:pt x="2224" y="1604"/>
                  </a:lnTo>
                  <a:lnTo>
                    <a:pt x="2222" y="1610"/>
                  </a:lnTo>
                  <a:lnTo>
                    <a:pt x="2218" y="1616"/>
                  </a:lnTo>
                  <a:lnTo>
                    <a:pt x="2216" y="1622"/>
                  </a:lnTo>
                  <a:lnTo>
                    <a:pt x="2212" y="1626"/>
                  </a:lnTo>
                  <a:lnTo>
                    <a:pt x="2208" y="1632"/>
                  </a:lnTo>
                  <a:lnTo>
                    <a:pt x="2206" y="1638"/>
                  </a:lnTo>
                  <a:lnTo>
                    <a:pt x="2202" y="1644"/>
                  </a:lnTo>
                  <a:lnTo>
                    <a:pt x="2204" y="1650"/>
                  </a:lnTo>
                  <a:lnTo>
                    <a:pt x="2198" y="1656"/>
                  </a:lnTo>
                  <a:lnTo>
                    <a:pt x="2192" y="1662"/>
                  </a:lnTo>
                  <a:lnTo>
                    <a:pt x="2186" y="1658"/>
                  </a:lnTo>
                  <a:lnTo>
                    <a:pt x="2182" y="1664"/>
                  </a:lnTo>
                  <a:lnTo>
                    <a:pt x="2176" y="1666"/>
                  </a:lnTo>
                  <a:lnTo>
                    <a:pt x="2170" y="1664"/>
                  </a:lnTo>
                  <a:lnTo>
                    <a:pt x="2164" y="1666"/>
                  </a:lnTo>
                  <a:lnTo>
                    <a:pt x="2158" y="1666"/>
                  </a:lnTo>
                  <a:lnTo>
                    <a:pt x="2152" y="1664"/>
                  </a:lnTo>
                  <a:lnTo>
                    <a:pt x="2152" y="1658"/>
                  </a:lnTo>
                  <a:lnTo>
                    <a:pt x="2154" y="1652"/>
                  </a:lnTo>
                  <a:lnTo>
                    <a:pt x="2158" y="1658"/>
                  </a:lnTo>
                  <a:lnTo>
                    <a:pt x="2164" y="1660"/>
                  </a:lnTo>
                  <a:lnTo>
                    <a:pt x="2164" y="1654"/>
                  </a:lnTo>
                  <a:lnTo>
                    <a:pt x="2158" y="1652"/>
                  </a:lnTo>
                  <a:lnTo>
                    <a:pt x="2154" y="1646"/>
                  </a:lnTo>
                  <a:lnTo>
                    <a:pt x="2152" y="1640"/>
                  </a:lnTo>
                  <a:lnTo>
                    <a:pt x="2152" y="1634"/>
                  </a:lnTo>
                  <a:lnTo>
                    <a:pt x="2150" y="1628"/>
                  </a:lnTo>
                  <a:lnTo>
                    <a:pt x="2148" y="1622"/>
                  </a:lnTo>
                  <a:lnTo>
                    <a:pt x="2144" y="1616"/>
                  </a:lnTo>
                  <a:lnTo>
                    <a:pt x="2138" y="1612"/>
                  </a:lnTo>
                  <a:lnTo>
                    <a:pt x="2132" y="1610"/>
                  </a:lnTo>
                  <a:lnTo>
                    <a:pt x="2126" y="1608"/>
                  </a:lnTo>
                  <a:lnTo>
                    <a:pt x="2128" y="1604"/>
                  </a:lnTo>
                  <a:lnTo>
                    <a:pt x="2124" y="1600"/>
                  </a:lnTo>
                  <a:lnTo>
                    <a:pt x="2124" y="1594"/>
                  </a:lnTo>
                  <a:lnTo>
                    <a:pt x="2126" y="1588"/>
                  </a:lnTo>
                  <a:lnTo>
                    <a:pt x="2126" y="1582"/>
                  </a:lnTo>
                  <a:lnTo>
                    <a:pt x="2124" y="1576"/>
                  </a:lnTo>
                  <a:lnTo>
                    <a:pt x="2118" y="1570"/>
                  </a:lnTo>
                  <a:lnTo>
                    <a:pt x="2122" y="1568"/>
                  </a:lnTo>
                  <a:lnTo>
                    <a:pt x="2124" y="1568"/>
                  </a:lnTo>
                  <a:lnTo>
                    <a:pt x="2128" y="1562"/>
                  </a:lnTo>
                  <a:lnTo>
                    <a:pt x="2134" y="1558"/>
                  </a:lnTo>
                  <a:lnTo>
                    <a:pt x="2130" y="1558"/>
                  </a:lnTo>
                  <a:lnTo>
                    <a:pt x="2126" y="1562"/>
                  </a:lnTo>
                  <a:lnTo>
                    <a:pt x="2122" y="1568"/>
                  </a:lnTo>
                  <a:lnTo>
                    <a:pt x="2116" y="1568"/>
                  </a:lnTo>
                  <a:lnTo>
                    <a:pt x="2116" y="1562"/>
                  </a:lnTo>
                  <a:lnTo>
                    <a:pt x="2116" y="1558"/>
                  </a:lnTo>
                  <a:lnTo>
                    <a:pt x="2120" y="1550"/>
                  </a:lnTo>
                  <a:lnTo>
                    <a:pt x="2118" y="1546"/>
                  </a:lnTo>
                  <a:lnTo>
                    <a:pt x="2122" y="1540"/>
                  </a:lnTo>
                  <a:lnTo>
                    <a:pt x="2116" y="1542"/>
                  </a:lnTo>
                  <a:lnTo>
                    <a:pt x="2110" y="1538"/>
                  </a:lnTo>
                  <a:lnTo>
                    <a:pt x="2114" y="1544"/>
                  </a:lnTo>
                  <a:lnTo>
                    <a:pt x="2112" y="1550"/>
                  </a:lnTo>
                  <a:lnTo>
                    <a:pt x="2106" y="1548"/>
                  </a:lnTo>
                  <a:lnTo>
                    <a:pt x="2102" y="1542"/>
                  </a:lnTo>
                  <a:lnTo>
                    <a:pt x="2102" y="1538"/>
                  </a:lnTo>
                  <a:lnTo>
                    <a:pt x="2100" y="1532"/>
                  </a:lnTo>
                  <a:lnTo>
                    <a:pt x="2098" y="1526"/>
                  </a:lnTo>
                  <a:lnTo>
                    <a:pt x="2098" y="1520"/>
                  </a:lnTo>
                  <a:lnTo>
                    <a:pt x="2098" y="1514"/>
                  </a:lnTo>
                  <a:lnTo>
                    <a:pt x="2096" y="1508"/>
                  </a:lnTo>
                  <a:lnTo>
                    <a:pt x="2092" y="1502"/>
                  </a:lnTo>
                  <a:lnTo>
                    <a:pt x="2096" y="1502"/>
                  </a:lnTo>
                  <a:lnTo>
                    <a:pt x="2100" y="1496"/>
                  </a:lnTo>
                  <a:lnTo>
                    <a:pt x="2100" y="1494"/>
                  </a:lnTo>
                  <a:lnTo>
                    <a:pt x="2106" y="1490"/>
                  </a:lnTo>
                  <a:lnTo>
                    <a:pt x="2112" y="1484"/>
                  </a:lnTo>
                  <a:lnTo>
                    <a:pt x="2114" y="1478"/>
                  </a:lnTo>
                  <a:lnTo>
                    <a:pt x="2112" y="1472"/>
                  </a:lnTo>
                  <a:lnTo>
                    <a:pt x="2106" y="1476"/>
                  </a:lnTo>
                  <a:lnTo>
                    <a:pt x="2106" y="1470"/>
                  </a:lnTo>
                  <a:lnTo>
                    <a:pt x="2100" y="1466"/>
                  </a:lnTo>
                  <a:lnTo>
                    <a:pt x="2100" y="1468"/>
                  </a:lnTo>
                  <a:lnTo>
                    <a:pt x="2096" y="1474"/>
                  </a:lnTo>
                  <a:lnTo>
                    <a:pt x="2102" y="1478"/>
                  </a:lnTo>
                  <a:lnTo>
                    <a:pt x="2100" y="1482"/>
                  </a:lnTo>
                  <a:lnTo>
                    <a:pt x="2096" y="1490"/>
                  </a:lnTo>
                  <a:lnTo>
                    <a:pt x="2090" y="1484"/>
                  </a:lnTo>
                  <a:lnTo>
                    <a:pt x="2092" y="1490"/>
                  </a:lnTo>
                  <a:lnTo>
                    <a:pt x="2090" y="1484"/>
                  </a:lnTo>
                  <a:lnTo>
                    <a:pt x="2088" y="1478"/>
                  </a:lnTo>
                  <a:lnTo>
                    <a:pt x="2088" y="1476"/>
                  </a:lnTo>
                  <a:lnTo>
                    <a:pt x="2092" y="1470"/>
                  </a:lnTo>
                  <a:lnTo>
                    <a:pt x="2094" y="1464"/>
                  </a:lnTo>
                  <a:lnTo>
                    <a:pt x="2096" y="1458"/>
                  </a:lnTo>
                  <a:lnTo>
                    <a:pt x="2100" y="1452"/>
                  </a:lnTo>
                  <a:lnTo>
                    <a:pt x="2102" y="1446"/>
                  </a:lnTo>
                  <a:lnTo>
                    <a:pt x="2106" y="1440"/>
                  </a:lnTo>
                  <a:lnTo>
                    <a:pt x="2108" y="1434"/>
                  </a:lnTo>
                  <a:lnTo>
                    <a:pt x="2110" y="1428"/>
                  </a:lnTo>
                  <a:lnTo>
                    <a:pt x="2112" y="1422"/>
                  </a:lnTo>
                  <a:lnTo>
                    <a:pt x="2114" y="1416"/>
                  </a:lnTo>
                  <a:lnTo>
                    <a:pt x="2114" y="1410"/>
                  </a:lnTo>
                  <a:lnTo>
                    <a:pt x="2114" y="1404"/>
                  </a:lnTo>
                  <a:lnTo>
                    <a:pt x="2112" y="1398"/>
                  </a:lnTo>
                  <a:lnTo>
                    <a:pt x="2112" y="1392"/>
                  </a:lnTo>
                  <a:lnTo>
                    <a:pt x="2108" y="1386"/>
                  </a:lnTo>
                  <a:lnTo>
                    <a:pt x="2102" y="1386"/>
                  </a:lnTo>
                  <a:lnTo>
                    <a:pt x="2096" y="1384"/>
                  </a:lnTo>
                  <a:lnTo>
                    <a:pt x="2092" y="1378"/>
                  </a:lnTo>
                  <a:lnTo>
                    <a:pt x="2092" y="1374"/>
                  </a:lnTo>
                  <a:lnTo>
                    <a:pt x="2088" y="1368"/>
                  </a:lnTo>
                  <a:lnTo>
                    <a:pt x="2082" y="1362"/>
                  </a:lnTo>
                  <a:lnTo>
                    <a:pt x="2084" y="1356"/>
                  </a:lnTo>
                  <a:lnTo>
                    <a:pt x="2080" y="1350"/>
                  </a:lnTo>
                  <a:lnTo>
                    <a:pt x="2076" y="1346"/>
                  </a:lnTo>
                  <a:lnTo>
                    <a:pt x="2074" y="1338"/>
                  </a:lnTo>
                  <a:lnTo>
                    <a:pt x="2070" y="1334"/>
                  </a:lnTo>
                  <a:lnTo>
                    <a:pt x="2064" y="1330"/>
                  </a:lnTo>
                  <a:lnTo>
                    <a:pt x="2062" y="1328"/>
                  </a:lnTo>
                  <a:lnTo>
                    <a:pt x="2056" y="1322"/>
                  </a:lnTo>
                  <a:lnTo>
                    <a:pt x="2050" y="1322"/>
                  </a:lnTo>
                  <a:lnTo>
                    <a:pt x="2044" y="1322"/>
                  </a:lnTo>
                  <a:lnTo>
                    <a:pt x="2038" y="1324"/>
                  </a:lnTo>
                  <a:lnTo>
                    <a:pt x="2032" y="1330"/>
                  </a:lnTo>
                  <a:lnTo>
                    <a:pt x="2028" y="1330"/>
                  </a:lnTo>
                  <a:lnTo>
                    <a:pt x="2028" y="1334"/>
                  </a:lnTo>
                  <a:lnTo>
                    <a:pt x="2022" y="1336"/>
                  </a:lnTo>
                  <a:lnTo>
                    <a:pt x="2016" y="1338"/>
                  </a:lnTo>
                  <a:lnTo>
                    <a:pt x="2010" y="1342"/>
                  </a:lnTo>
                  <a:lnTo>
                    <a:pt x="2004" y="1346"/>
                  </a:lnTo>
                  <a:lnTo>
                    <a:pt x="2000" y="1346"/>
                  </a:lnTo>
                  <a:lnTo>
                    <a:pt x="2000" y="1342"/>
                  </a:lnTo>
                  <a:lnTo>
                    <a:pt x="1994" y="1346"/>
                  </a:lnTo>
                  <a:lnTo>
                    <a:pt x="1992" y="1346"/>
                  </a:lnTo>
                  <a:lnTo>
                    <a:pt x="1992" y="1348"/>
                  </a:lnTo>
                  <a:lnTo>
                    <a:pt x="1986" y="1348"/>
                  </a:lnTo>
                  <a:lnTo>
                    <a:pt x="1980" y="1350"/>
                  </a:lnTo>
                  <a:lnTo>
                    <a:pt x="1974" y="1350"/>
                  </a:lnTo>
                  <a:lnTo>
                    <a:pt x="1970" y="1350"/>
                  </a:lnTo>
                  <a:lnTo>
                    <a:pt x="1974" y="1346"/>
                  </a:lnTo>
                  <a:lnTo>
                    <a:pt x="1974" y="1338"/>
                  </a:lnTo>
                  <a:lnTo>
                    <a:pt x="1970" y="1334"/>
                  </a:lnTo>
                  <a:lnTo>
                    <a:pt x="1964" y="1330"/>
                  </a:lnTo>
                  <a:lnTo>
                    <a:pt x="1966" y="1330"/>
                  </a:lnTo>
                  <a:lnTo>
                    <a:pt x="1966" y="1328"/>
                  </a:lnTo>
                  <a:lnTo>
                    <a:pt x="1962" y="1322"/>
                  </a:lnTo>
                  <a:lnTo>
                    <a:pt x="1968" y="1326"/>
                  </a:lnTo>
                  <a:lnTo>
                    <a:pt x="1970" y="1320"/>
                  </a:lnTo>
                  <a:lnTo>
                    <a:pt x="1962" y="1320"/>
                  </a:lnTo>
                  <a:lnTo>
                    <a:pt x="1958" y="1316"/>
                  </a:lnTo>
                  <a:lnTo>
                    <a:pt x="1962" y="1312"/>
                  </a:lnTo>
                  <a:lnTo>
                    <a:pt x="1968" y="1310"/>
                  </a:lnTo>
                  <a:lnTo>
                    <a:pt x="1962" y="1310"/>
                  </a:lnTo>
                  <a:lnTo>
                    <a:pt x="1958" y="1310"/>
                  </a:lnTo>
                  <a:lnTo>
                    <a:pt x="1952" y="1310"/>
                  </a:lnTo>
                  <a:lnTo>
                    <a:pt x="1956" y="1316"/>
                  </a:lnTo>
                  <a:lnTo>
                    <a:pt x="1952" y="1316"/>
                  </a:lnTo>
                  <a:lnTo>
                    <a:pt x="1946" y="1312"/>
                  </a:lnTo>
                  <a:lnTo>
                    <a:pt x="1940" y="1310"/>
                  </a:lnTo>
                  <a:lnTo>
                    <a:pt x="1934" y="1306"/>
                  </a:lnTo>
                  <a:lnTo>
                    <a:pt x="1928" y="1304"/>
                  </a:lnTo>
                  <a:lnTo>
                    <a:pt x="1922" y="1304"/>
                  </a:lnTo>
                  <a:lnTo>
                    <a:pt x="1916" y="1300"/>
                  </a:lnTo>
                  <a:lnTo>
                    <a:pt x="1918" y="1300"/>
                  </a:lnTo>
                  <a:lnTo>
                    <a:pt x="1920" y="1302"/>
                  </a:lnTo>
                  <a:lnTo>
                    <a:pt x="1924" y="1302"/>
                  </a:lnTo>
                  <a:lnTo>
                    <a:pt x="1928" y="1302"/>
                  </a:lnTo>
                  <a:lnTo>
                    <a:pt x="1934" y="1302"/>
                  </a:lnTo>
                  <a:lnTo>
                    <a:pt x="1936" y="1300"/>
                  </a:lnTo>
                  <a:lnTo>
                    <a:pt x="1934" y="1296"/>
                  </a:lnTo>
                  <a:lnTo>
                    <a:pt x="1928" y="1296"/>
                  </a:lnTo>
                  <a:lnTo>
                    <a:pt x="1922" y="1294"/>
                  </a:lnTo>
                  <a:lnTo>
                    <a:pt x="1916" y="1298"/>
                  </a:lnTo>
                  <a:lnTo>
                    <a:pt x="1910" y="1300"/>
                  </a:lnTo>
                  <a:lnTo>
                    <a:pt x="1908" y="1300"/>
                  </a:lnTo>
                  <a:lnTo>
                    <a:pt x="1902" y="1300"/>
                  </a:lnTo>
                  <a:lnTo>
                    <a:pt x="1896" y="1300"/>
                  </a:lnTo>
                  <a:lnTo>
                    <a:pt x="1890" y="1302"/>
                  </a:lnTo>
                  <a:lnTo>
                    <a:pt x="1884" y="1302"/>
                  </a:lnTo>
                  <a:lnTo>
                    <a:pt x="1878" y="1302"/>
                  </a:lnTo>
                  <a:lnTo>
                    <a:pt x="1884" y="1302"/>
                  </a:lnTo>
                  <a:lnTo>
                    <a:pt x="1886" y="1300"/>
                  </a:lnTo>
                  <a:lnTo>
                    <a:pt x="1892" y="1298"/>
                  </a:lnTo>
                  <a:lnTo>
                    <a:pt x="1886" y="1294"/>
                  </a:lnTo>
                  <a:lnTo>
                    <a:pt x="1890" y="1288"/>
                  </a:lnTo>
                  <a:lnTo>
                    <a:pt x="1888" y="1288"/>
                  </a:lnTo>
                  <a:lnTo>
                    <a:pt x="1886" y="1292"/>
                  </a:lnTo>
                  <a:lnTo>
                    <a:pt x="1880" y="1298"/>
                  </a:lnTo>
                  <a:lnTo>
                    <a:pt x="1880" y="1292"/>
                  </a:lnTo>
                  <a:lnTo>
                    <a:pt x="1878" y="1292"/>
                  </a:lnTo>
                  <a:lnTo>
                    <a:pt x="1878" y="1294"/>
                  </a:lnTo>
                  <a:lnTo>
                    <a:pt x="1874" y="1300"/>
                  </a:lnTo>
                  <a:lnTo>
                    <a:pt x="1872" y="1302"/>
                  </a:lnTo>
                  <a:lnTo>
                    <a:pt x="1866" y="1308"/>
                  </a:lnTo>
                  <a:lnTo>
                    <a:pt x="1860" y="1308"/>
                  </a:lnTo>
                  <a:lnTo>
                    <a:pt x="1854" y="1308"/>
                  </a:lnTo>
                  <a:lnTo>
                    <a:pt x="1860" y="1306"/>
                  </a:lnTo>
                  <a:lnTo>
                    <a:pt x="1866" y="1300"/>
                  </a:lnTo>
                  <a:lnTo>
                    <a:pt x="1862" y="1296"/>
                  </a:lnTo>
                  <a:lnTo>
                    <a:pt x="1860" y="1300"/>
                  </a:lnTo>
                  <a:lnTo>
                    <a:pt x="1856" y="1304"/>
                  </a:lnTo>
                  <a:lnTo>
                    <a:pt x="1852" y="1308"/>
                  </a:lnTo>
                  <a:lnTo>
                    <a:pt x="1846" y="1312"/>
                  </a:lnTo>
                  <a:lnTo>
                    <a:pt x="1840" y="1312"/>
                  </a:lnTo>
                  <a:lnTo>
                    <a:pt x="1834" y="1312"/>
                  </a:lnTo>
                  <a:lnTo>
                    <a:pt x="1828" y="1312"/>
                  </a:lnTo>
                  <a:lnTo>
                    <a:pt x="1834" y="1312"/>
                  </a:lnTo>
                  <a:lnTo>
                    <a:pt x="1838" y="1306"/>
                  </a:lnTo>
                  <a:lnTo>
                    <a:pt x="1832" y="1300"/>
                  </a:lnTo>
                  <a:lnTo>
                    <a:pt x="1834" y="1294"/>
                  </a:lnTo>
                  <a:lnTo>
                    <a:pt x="1836" y="1288"/>
                  </a:lnTo>
                  <a:lnTo>
                    <a:pt x="1834" y="1282"/>
                  </a:lnTo>
                  <a:lnTo>
                    <a:pt x="1832" y="1282"/>
                  </a:lnTo>
                  <a:lnTo>
                    <a:pt x="1832" y="1280"/>
                  </a:lnTo>
                  <a:lnTo>
                    <a:pt x="1832" y="1278"/>
                  </a:lnTo>
                  <a:lnTo>
                    <a:pt x="1832" y="1280"/>
                  </a:lnTo>
                  <a:lnTo>
                    <a:pt x="1828" y="1284"/>
                  </a:lnTo>
                  <a:lnTo>
                    <a:pt x="1826" y="1290"/>
                  </a:lnTo>
                  <a:lnTo>
                    <a:pt x="1822" y="1296"/>
                  </a:lnTo>
                  <a:lnTo>
                    <a:pt x="1822" y="1302"/>
                  </a:lnTo>
                  <a:lnTo>
                    <a:pt x="1814" y="1304"/>
                  </a:lnTo>
                  <a:lnTo>
                    <a:pt x="1808" y="1302"/>
                  </a:lnTo>
                  <a:lnTo>
                    <a:pt x="1804" y="1302"/>
                  </a:lnTo>
                  <a:lnTo>
                    <a:pt x="1798" y="1308"/>
                  </a:lnTo>
                  <a:lnTo>
                    <a:pt x="1792" y="1302"/>
                  </a:lnTo>
                  <a:lnTo>
                    <a:pt x="1790" y="1304"/>
                  </a:lnTo>
                  <a:lnTo>
                    <a:pt x="1784" y="1306"/>
                  </a:lnTo>
                  <a:lnTo>
                    <a:pt x="1778" y="1300"/>
                  </a:lnTo>
                  <a:lnTo>
                    <a:pt x="1776" y="1300"/>
                  </a:lnTo>
                  <a:lnTo>
                    <a:pt x="1774" y="1300"/>
                  </a:lnTo>
                  <a:lnTo>
                    <a:pt x="1776" y="1302"/>
                  </a:lnTo>
                  <a:lnTo>
                    <a:pt x="1774" y="1302"/>
                  </a:lnTo>
                  <a:lnTo>
                    <a:pt x="1770" y="1302"/>
                  </a:lnTo>
                  <a:lnTo>
                    <a:pt x="1762" y="1304"/>
                  </a:lnTo>
                  <a:lnTo>
                    <a:pt x="1758" y="1306"/>
                  </a:lnTo>
                  <a:lnTo>
                    <a:pt x="1748" y="1306"/>
                  </a:lnTo>
                  <a:lnTo>
                    <a:pt x="1750" y="1306"/>
                  </a:lnTo>
                  <a:lnTo>
                    <a:pt x="1746" y="1310"/>
                  </a:lnTo>
                  <a:lnTo>
                    <a:pt x="1740" y="1314"/>
                  </a:lnTo>
                  <a:lnTo>
                    <a:pt x="1734" y="1316"/>
                  </a:lnTo>
                  <a:lnTo>
                    <a:pt x="1728" y="1318"/>
                  </a:lnTo>
                  <a:lnTo>
                    <a:pt x="1728" y="1316"/>
                  </a:lnTo>
                  <a:lnTo>
                    <a:pt x="1726" y="1316"/>
                  </a:lnTo>
                  <a:lnTo>
                    <a:pt x="1720" y="1312"/>
                  </a:lnTo>
                  <a:lnTo>
                    <a:pt x="1718" y="1314"/>
                  </a:lnTo>
                  <a:lnTo>
                    <a:pt x="1714" y="1312"/>
                  </a:lnTo>
                  <a:lnTo>
                    <a:pt x="1708" y="1308"/>
                  </a:lnTo>
                  <a:lnTo>
                    <a:pt x="1704" y="1304"/>
                  </a:lnTo>
                  <a:lnTo>
                    <a:pt x="1698" y="1302"/>
                  </a:lnTo>
                  <a:lnTo>
                    <a:pt x="1692" y="1306"/>
                  </a:lnTo>
                  <a:lnTo>
                    <a:pt x="1690" y="1308"/>
                  </a:lnTo>
                  <a:lnTo>
                    <a:pt x="1684" y="1314"/>
                  </a:lnTo>
                  <a:lnTo>
                    <a:pt x="1680" y="1320"/>
                  </a:lnTo>
                  <a:lnTo>
                    <a:pt x="1686" y="1324"/>
                  </a:lnTo>
                  <a:lnTo>
                    <a:pt x="1694" y="1324"/>
                  </a:lnTo>
                  <a:lnTo>
                    <a:pt x="1702" y="1324"/>
                  </a:lnTo>
                  <a:lnTo>
                    <a:pt x="1704" y="1324"/>
                  </a:lnTo>
                  <a:lnTo>
                    <a:pt x="1708" y="1324"/>
                  </a:lnTo>
                  <a:lnTo>
                    <a:pt x="1714" y="1318"/>
                  </a:lnTo>
                  <a:lnTo>
                    <a:pt x="1720" y="1322"/>
                  </a:lnTo>
                  <a:lnTo>
                    <a:pt x="1726" y="1320"/>
                  </a:lnTo>
                  <a:lnTo>
                    <a:pt x="1724" y="1322"/>
                  </a:lnTo>
                  <a:lnTo>
                    <a:pt x="1718" y="1326"/>
                  </a:lnTo>
                  <a:lnTo>
                    <a:pt x="1712" y="1330"/>
                  </a:lnTo>
                  <a:lnTo>
                    <a:pt x="1714" y="1334"/>
                  </a:lnTo>
                  <a:lnTo>
                    <a:pt x="1720" y="1338"/>
                  </a:lnTo>
                  <a:lnTo>
                    <a:pt x="1724" y="1336"/>
                  </a:lnTo>
                  <a:lnTo>
                    <a:pt x="1728" y="1330"/>
                  </a:lnTo>
                  <a:lnTo>
                    <a:pt x="1730" y="1328"/>
                  </a:lnTo>
                  <a:lnTo>
                    <a:pt x="1736" y="1330"/>
                  </a:lnTo>
                  <a:lnTo>
                    <a:pt x="1738" y="1334"/>
                  </a:lnTo>
                  <a:lnTo>
                    <a:pt x="1738" y="1338"/>
                  </a:lnTo>
                  <a:lnTo>
                    <a:pt x="1734" y="1344"/>
                  </a:lnTo>
                  <a:lnTo>
                    <a:pt x="1728" y="1344"/>
                  </a:lnTo>
                  <a:lnTo>
                    <a:pt x="1722" y="1346"/>
                  </a:lnTo>
                  <a:lnTo>
                    <a:pt x="1722" y="1352"/>
                  </a:lnTo>
                  <a:lnTo>
                    <a:pt x="1716" y="1352"/>
                  </a:lnTo>
                  <a:lnTo>
                    <a:pt x="1712" y="1358"/>
                  </a:lnTo>
                  <a:lnTo>
                    <a:pt x="1716" y="1364"/>
                  </a:lnTo>
                  <a:lnTo>
                    <a:pt x="1720" y="1366"/>
                  </a:lnTo>
                  <a:lnTo>
                    <a:pt x="1720" y="1372"/>
                  </a:lnTo>
                  <a:lnTo>
                    <a:pt x="1726" y="1372"/>
                  </a:lnTo>
                  <a:lnTo>
                    <a:pt x="1732" y="1374"/>
                  </a:lnTo>
                  <a:lnTo>
                    <a:pt x="1738" y="1376"/>
                  </a:lnTo>
                  <a:lnTo>
                    <a:pt x="1738" y="1382"/>
                  </a:lnTo>
                  <a:lnTo>
                    <a:pt x="1746" y="1386"/>
                  </a:lnTo>
                  <a:lnTo>
                    <a:pt x="1744" y="1390"/>
                  </a:lnTo>
                  <a:lnTo>
                    <a:pt x="1736" y="1394"/>
                  </a:lnTo>
                  <a:lnTo>
                    <a:pt x="1736" y="1400"/>
                  </a:lnTo>
                  <a:lnTo>
                    <a:pt x="1730" y="1394"/>
                  </a:lnTo>
                  <a:lnTo>
                    <a:pt x="1724" y="1398"/>
                  </a:lnTo>
                  <a:lnTo>
                    <a:pt x="1718" y="1404"/>
                  </a:lnTo>
                  <a:lnTo>
                    <a:pt x="1720" y="1402"/>
                  </a:lnTo>
                  <a:lnTo>
                    <a:pt x="1724" y="1396"/>
                  </a:lnTo>
                  <a:lnTo>
                    <a:pt x="1726" y="1390"/>
                  </a:lnTo>
                  <a:lnTo>
                    <a:pt x="1720" y="1388"/>
                  </a:lnTo>
                  <a:lnTo>
                    <a:pt x="1720" y="1382"/>
                  </a:lnTo>
                  <a:lnTo>
                    <a:pt x="1716" y="1382"/>
                  </a:lnTo>
                  <a:lnTo>
                    <a:pt x="1710" y="1376"/>
                  </a:lnTo>
                  <a:lnTo>
                    <a:pt x="1702" y="1376"/>
                  </a:lnTo>
                  <a:lnTo>
                    <a:pt x="1704" y="1370"/>
                  </a:lnTo>
                  <a:lnTo>
                    <a:pt x="1698" y="1366"/>
                  </a:lnTo>
                  <a:lnTo>
                    <a:pt x="1694" y="1364"/>
                  </a:lnTo>
                  <a:lnTo>
                    <a:pt x="1690" y="1362"/>
                  </a:lnTo>
                  <a:lnTo>
                    <a:pt x="1684" y="1358"/>
                  </a:lnTo>
                  <a:lnTo>
                    <a:pt x="1682" y="1360"/>
                  </a:lnTo>
                  <a:lnTo>
                    <a:pt x="1684" y="1366"/>
                  </a:lnTo>
                  <a:lnTo>
                    <a:pt x="1690" y="1372"/>
                  </a:lnTo>
                  <a:lnTo>
                    <a:pt x="1686" y="1378"/>
                  </a:lnTo>
                  <a:lnTo>
                    <a:pt x="1686" y="1384"/>
                  </a:lnTo>
                  <a:lnTo>
                    <a:pt x="1682" y="1386"/>
                  </a:lnTo>
                  <a:lnTo>
                    <a:pt x="1676" y="1390"/>
                  </a:lnTo>
                  <a:lnTo>
                    <a:pt x="1672" y="1392"/>
                  </a:lnTo>
                  <a:lnTo>
                    <a:pt x="1672" y="1386"/>
                  </a:lnTo>
                  <a:lnTo>
                    <a:pt x="1674" y="1380"/>
                  </a:lnTo>
                  <a:lnTo>
                    <a:pt x="1668" y="1380"/>
                  </a:lnTo>
                  <a:lnTo>
                    <a:pt x="1662" y="1378"/>
                  </a:lnTo>
                  <a:lnTo>
                    <a:pt x="1656" y="1376"/>
                  </a:lnTo>
                  <a:lnTo>
                    <a:pt x="1652" y="1382"/>
                  </a:lnTo>
                  <a:lnTo>
                    <a:pt x="1650" y="1388"/>
                  </a:lnTo>
                  <a:lnTo>
                    <a:pt x="1646" y="1390"/>
                  </a:lnTo>
                  <a:lnTo>
                    <a:pt x="1640" y="1388"/>
                  </a:lnTo>
                  <a:lnTo>
                    <a:pt x="1636" y="1390"/>
                  </a:lnTo>
                  <a:lnTo>
                    <a:pt x="1630" y="1384"/>
                  </a:lnTo>
                  <a:lnTo>
                    <a:pt x="1624" y="1384"/>
                  </a:lnTo>
                  <a:lnTo>
                    <a:pt x="1624" y="1380"/>
                  </a:lnTo>
                  <a:lnTo>
                    <a:pt x="1622" y="1372"/>
                  </a:lnTo>
                  <a:lnTo>
                    <a:pt x="1618" y="1368"/>
                  </a:lnTo>
                  <a:lnTo>
                    <a:pt x="1620" y="1362"/>
                  </a:lnTo>
                  <a:lnTo>
                    <a:pt x="1622" y="1358"/>
                  </a:lnTo>
                  <a:lnTo>
                    <a:pt x="1616" y="1364"/>
                  </a:lnTo>
                  <a:lnTo>
                    <a:pt x="1610" y="1360"/>
                  </a:lnTo>
                  <a:lnTo>
                    <a:pt x="1604" y="1358"/>
                  </a:lnTo>
                  <a:lnTo>
                    <a:pt x="1600" y="1352"/>
                  </a:lnTo>
                  <a:lnTo>
                    <a:pt x="1600" y="1346"/>
                  </a:lnTo>
                  <a:lnTo>
                    <a:pt x="1594" y="1346"/>
                  </a:lnTo>
                  <a:lnTo>
                    <a:pt x="1588" y="1346"/>
                  </a:lnTo>
                  <a:lnTo>
                    <a:pt x="1592" y="1342"/>
                  </a:lnTo>
                  <a:lnTo>
                    <a:pt x="1586" y="1342"/>
                  </a:lnTo>
                  <a:lnTo>
                    <a:pt x="1580" y="1344"/>
                  </a:lnTo>
                  <a:lnTo>
                    <a:pt x="1574" y="1350"/>
                  </a:lnTo>
                  <a:lnTo>
                    <a:pt x="1572" y="1356"/>
                  </a:lnTo>
                  <a:lnTo>
                    <a:pt x="1574" y="1358"/>
                  </a:lnTo>
                  <a:lnTo>
                    <a:pt x="1568" y="1358"/>
                  </a:lnTo>
                  <a:lnTo>
                    <a:pt x="1562" y="1360"/>
                  </a:lnTo>
                  <a:lnTo>
                    <a:pt x="1556" y="1360"/>
                  </a:lnTo>
                  <a:lnTo>
                    <a:pt x="1550" y="1358"/>
                  </a:lnTo>
                  <a:lnTo>
                    <a:pt x="1544" y="1358"/>
                  </a:lnTo>
                  <a:lnTo>
                    <a:pt x="1538" y="1358"/>
                  </a:lnTo>
                  <a:lnTo>
                    <a:pt x="1532" y="1354"/>
                  </a:lnTo>
                  <a:lnTo>
                    <a:pt x="1526" y="1350"/>
                  </a:lnTo>
                  <a:lnTo>
                    <a:pt x="1520" y="1348"/>
                  </a:lnTo>
                  <a:lnTo>
                    <a:pt x="1514" y="1346"/>
                  </a:lnTo>
                  <a:lnTo>
                    <a:pt x="1508" y="1344"/>
                  </a:lnTo>
                  <a:lnTo>
                    <a:pt x="1502" y="1342"/>
                  </a:lnTo>
                  <a:lnTo>
                    <a:pt x="1504" y="1340"/>
                  </a:lnTo>
                  <a:lnTo>
                    <a:pt x="1510" y="1336"/>
                  </a:lnTo>
                  <a:lnTo>
                    <a:pt x="1510" y="1330"/>
                  </a:lnTo>
                  <a:lnTo>
                    <a:pt x="1508" y="1324"/>
                  </a:lnTo>
                  <a:lnTo>
                    <a:pt x="1506" y="1330"/>
                  </a:lnTo>
                  <a:lnTo>
                    <a:pt x="1502" y="1336"/>
                  </a:lnTo>
                  <a:lnTo>
                    <a:pt x="1502" y="1342"/>
                  </a:lnTo>
                  <a:lnTo>
                    <a:pt x="1500" y="1346"/>
                  </a:lnTo>
                  <a:lnTo>
                    <a:pt x="1494" y="1346"/>
                  </a:lnTo>
                  <a:lnTo>
                    <a:pt x="1488" y="1346"/>
                  </a:lnTo>
                  <a:lnTo>
                    <a:pt x="1482" y="1346"/>
                  </a:lnTo>
                  <a:lnTo>
                    <a:pt x="1476" y="1348"/>
                  </a:lnTo>
                  <a:lnTo>
                    <a:pt x="1470" y="1346"/>
                  </a:lnTo>
                  <a:lnTo>
                    <a:pt x="1474" y="1342"/>
                  </a:lnTo>
                  <a:lnTo>
                    <a:pt x="1478" y="1336"/>
                  </a:lnTo>
                  <a:lnTo>
                    <a:pt x="1480" y="1330"/>
                  </a:lnTo>
                  <a:lnTo>
                    <a:pt x="1478" y="1330"/>
                  </a:lnTo>
                  <a:lnTo>
                    <a:pt x="1472" y="1336"/>
                  </a:lnTo>
                  <a:lnTo>
                    <a:pt x="1466" y="1342"/>
                  </a:lnTo>
                  <a:lnTo>
                    <a:pt x="1468" y="1346"/>
                  </a:lnTo>
                  <a:lnTo>
                    <a:pt x="1470" y="1350"/>
                  </a:lnTo>
                  <a:lnTo>
                    <a:pt x="1464" y="1352"/>
                  </a:lnTo>
                  <a:lnTo>
                    <a:pt x="1458" y="1352"/>
                  </a:lnTo>
                  <a:lnTo>
                    <a:pt x="1452" y="1354"/>
                  </a:lnTo>
                  <a:lnTo>
                    <a:pt x="1446" y="1356"/>
                  </a:lnTo>
                  <a:lnTo>
                    <a:pt x="1440" y="1358"/>
                  </a:lnTo>
                  <a:lnTo>
                    <a:pt x="1436" y="1360"/>
                  </a:lnTo>
                  <a:lnTo>
                    <a:pt x="1428" y="1364"/>
                  </a:lnTo>
                  <a:lnTo>
                    <a:pt x="1424" y="1366"/>
                  </a:lnTo>
                  <a:lnTo>
                    <a:pt x="1416" y="1368"/>
                  </a:lnTo>
                  <a:lnTo>
                    <a:pt x="1410" y="1372"/>
                  </a:lnTo>
                  <a:lnTo>
                    <a:pt x="1410" y="1374"/>
                  </a:lnTo>
                  <a:lnTo>
                    <a:pt x="1416" y="1368"/>
                  </a:lnTo>
                  <a:lnTo>
                    <a:pt x="1422" y="1364"/>
                  </a:lnTo>
                  <a:lnTo>
                    <a:pt x="1426" y="1362"/>
                  </a:lnTo>
                  <a:lnTo>
                    <a:pt x="1432" y="1360"/>
                  </a:lnTo>
                  <a:lnTo>
                    <a:pt x="1426" y="1358"/>
                  </a:lnTo>
                  <a:lnTo>
                    <a:pt x="1420" y="1360"/>
                  </a:lnTo>
                  <a:lnTo>
                    <a:pt x="1414" y="1362"/>
                  </a:lnTo>
                  <a:lnTo>
                    <a:pt x="1418" y="1356"/>
                  </a:lnTo>
                  <a:lnTo>
                    <a:pt x="1420" y="1350"/>
                  </a:lnTo>
                  <a:lnTo>
                    <a:pt x="1420" y="1344"/>
                  </a:lnTo>
                  <a:lnTo>
                    <a:pt x="1414" y="1346"/>
                  </a:lnTo>
                  <a:lnTo>
                    <a:pt x="1410" y="1352"/>
                  </a:lnTo>
                  <a:lnTo>
                    <a:pt x="1404" y="1350"/>
                  </a:lnTo>
                  <a:lnTo>
                    <a:pt x="1402" y="1348"/>
                  </a:lnTo>
                  <a:lnTo>
                    <a:pt x="1400" y="1350"/>
                  </a:lnTo>
                  <a:lnTo>
                    <a:pt x="1402" y="1356"/>
                  </a:lnTo>
                  <a:lnTo>
                    <a:pt x="1400" y="1362"/>
                  </a:lnTo>
                  <a:lnTo>
                    <a:pt x="1402" y="1368"/>
                  </a:lnTo>
                  <a:lnTo>
                    <a:pt x="1406" y="1372"/>
                  </a:lnTo>
                  <a:lnTo>
                    <a:pt x="1402" y="1376"/>
                  </a:lnTo>
                  <a:lnTo>
                    <a:pt x="1396" y="1380"/>
                  </a:lnTo>
                  <a:lnTo>
                    <a:pt x="1390" y="1384"/>
                  </a:lnTo>
                  <a:lnTo>
                    <a:pt x="1384" y="1388"/>
                  </a:lnTo>
                  <a:lnTo>
                    <a:pt x="1382" y="1394"/>
                  </a:lnTo>
                  <a:lnTo>
                    <a:pt x="1376" y="1398"/>
                  </a:lnTo>
                  <a:lnTo>
                    <a:pt x="1372" y="1404"/>
                  </a:lnTo>
                  <a:lnTo>
                    <a:pt x="1366" y="1406"/>
                  </a:lnTo>
                  <a:lnTo>
                    <a:pt x="1362" y="1408"/>
                  </a:lnTo>
                  <a:lnTo>
                    <a:pt x="1356" y="1410"/>
                  </a:lnTo>
                  <a:lnTo>
                    <a:pt x="1352" y="1414"/>
                  </a:lnTo>
                  <a:lnTo>
                    <a:pt x="1346" y="1418"/>
                  </a:lnTo>
                  <a:lnTo>
                    <a:pt x="1338" y="1416"/>
                  </a:lnTo>
                  <a:lnTo>
                    <a:pt x="1334" y="1418"/>
                  </a:lnTo>
                  <a:lnTo>
                    <a:pt x="1328" y="1424"/>
                  </a:lnTo>
                  <a:lnTo>
                    <a:pt x="1334" y="1422"/>
                  </a:lnTo>
                  <a:lnTo>
                    <a:pt x="1338" y="1420"/>
                  </a:lnTo>
                  <a:lnTo>
                    <a:pt x="1334" y="1424"/>
                  </a:lnTo>
                  <a:lnTo>
                    <a:pt x="1326" y="1426"/>
                  </a:lnTo>
                  <a:lnTo>
                    <a:pt x="1322" y="1428"/>
                  </a:lnTo>
                  <a:lnTo>
                    <a:pt x="1316" y="1432"/>
                  </a:lnTo>
                  <a:lnTo>
                    <a:pt x="1310" y="1434"/>
                  </a:lnTo>
                  <a:lnTo>
                    <a:pt x="1314" y="1430"/>
                  </a:lnTo>
                  <a:lnTo>
                    <a:pt x="1318" y="1428"/>
                  </a:lnTo>
                  <a:lnTo>
                    <a:pt x="1324" y="1422"/>
                  </a:lnTo>
                  <a:lnTo>
                    <a:pt x="1318" y="1424"/>
                  </a:lnTo>
                  <a:lnTo>
                    <a:pt x="1314" y="1426"/>
                  </a:lnTo>
                  <a:lnTo>
                    <a:pt x="1316" y="1424"/>
                  </a:lnTo>
                  <a:lnTo>
                    <a:pt x="1310" y="1420"/>
                  </a:lnTo>
                  <a:lnTo>
                    <a:pt x="1304" y="1422"/>
                  </a:lnTo>
                  <a:lnTo>
                    <a:pt x="1302" y="1416"/>
                  </a:lnTo>
                  <a:lnTo>
                    <a:pt x="1300" y="1416"/>
                  </a:lnTo>
                  <a:lnTo>
                    <a:pt x="1300" y="1422"/>
                  </a:lnTo>
                  <a:lnTo>
                    <a:pt x="1298" y="1426"/>
                  </a:lnTo>
                  <a:lnTo>
                    <a:pt x="1298" y="1424"/>
                  </a:lnTo>
                  <a:lnTo>
                    <a:pt x="1292" y="1422"/>
                  </a:lnTo>
                  <a:lnTo>
                    <a:pt x="1288" y="1422"/>
                  </a:lnTo>
                  <a:lnTo>
                    <a:pt x="1292" y="1428"/>
                  </a:lnTo>
                  <a:lnTo>
                    <a:pt x="1292" y="1436"/>
                  </a:lnTo>
                  <a:lnTo>
                    <a:pt x="1298" y="1436"/>
                  </a:lnTo>
                  <a:lnTo>
                    <a:pt x="1296" y="1438"/>
                  </a:lnTo>
                  <a:lnTo>
                    <a:pt x="1290" y="1440"/>
                  </a:lnTo>
                  <a:lnTo>
                    <a:pt x="1284" y="1444"/>
                  </a:lnTo>
                  <a:lnTo>
                    <a:pt x="1278" y="1440"/>
                  </a:lnTo>
                  <a:lnTo>
                    <a:pt x="1274" y="1436"/>
                  </a:lnTo>
                  <a:lnTo>
                    <a:pt x="1276" y="1438"/>
                  </a:lnTo>
                  <a:lnTo>
                    <a:pt x="1274" y="1444"/>
                  </a:lnTo>
                  <a:lnTo>
                    <a:pt x="1272" y="1450"/>
                  </a:lnTo>
                  <a:lnTo>
                    <a:pt x="1266" y="1456"/>
                  </a:lnTo>
                  <a:lnTo>
                    <a:pt x="1260" y="1458"/>
                  </a:lnTo>
                  <a:lnTo>
                    <a:pt x="1262" y="1452"/>
                  </a:lnTo>
                  <a:lnTo>
                    <a:pt x="1256" y="1458"/>
                  </a:lnTo>
                  <a:lnTo>
                    <a:pt x="1252" y="1456"/>
                  </a:lnTo>
                  <a:lnTo>
                    <a:pt x="1246" y="1456"/>
                  </a:lnTo>
                  <a:lnTo>
                    <a:pt x="1242" y="1464"/>
                  </a:lnTo>
                  <a:lnTo>
                    <a:pt x="1250" y="1464"/>
                  </a:lnTo>
                  <a:lnTo>
                    <a:pt x="1254" y="1460"/>
                  </a:lnTo>
                  <a:lnTo>
                    <a:pt x="1254" y="1464"/>
                  </a:lnTo>
                  <a:lnTo>
                    <a:pt x="1248" y="1470"/>
                  </a:lnTo>
                  <a:lnTo>
                    <a:pt x="1244" y="1476"/>
                  </a:lnTo>
                  <a:lnTo>
                    <a:pt x="1238" y="1476"/>
                  </a:lnTo>
                  <a:lnTo>
                    <a:pt x="1232" y="1476"/>
                  </a:lnTo>
                  <a:lnTo>
                    <a:pt x="1230" y="1476"/>
                  </a:lnTo>
                  <a:lnTo>
                    <a:pt x="1228" y="1478"/>
                  </a:lnTo>
                  <a:lnTo>
                    <a:pt x="1222" y="1478"/>
                  </a:lnTo>
                  <a:lnTo>
                    <a:pt x="1222" y="1480"/>
                  </a:lnTo>
                  <a:lnTo>
                    <a:pt x="1228" y="1478"/>
                  </a:lnTo>
                  <a:lnTo>
                    <a:pt x="1228" y="1484"/>
                  </a:lnTo>
                  <a:lnTo>
                    <a:pt x="1232" y="1490"/>
                  </a:lnTo>
                  <a:lnTo>
                    <a:pt x="1228" y="1496"/>
                  </a:lnTo>
                  <a:lnTo>
                    <a:pt x="1226" y="1502"/>
                  </a:lnTo>
                  <a:lnTo>
                    <a:pt x="1222" y="1508"/>
                  </a:lnTo>
                  <a:lnTo>
                    <a:pt x="1218" y="1514"/>
                  </a:lnTo>
                  <a:lnTo>
                    <a:pt x="1216" y="1514"/>
                  </a:lnTo>
                  <a:lnTo>
                    <a:pt x="1210" y="1514"/>
                  </a:lnTo>
                  <a:lnTo>
                    <a:pt x="1204" y="1512"/>
                  </a:lnTo>
                  <a:lnTo>
                    <a:pt x="1200" y="1506"/>
                  </a:lnTo>
                  <a:lnTo>
                    <a:pt x="1202" y="1512"/>
                  </a:lnTo>
                  <a:lnTo>
                    <a:pt x="1198" y="1518"/>
                  </a:lnTo>
                  <a:lnTo>
                    <a:pt x="1204" y="1520"/>
                  </a:lnTo>
                  <a:lnTo>
                    <a:pt x="1210" y="1520"/>
                  </a:lnTo>
                  <a:lnTo>
                    <a:pt x="1216" y="1518"/>
                  </a:lnTo>
                  <a:lnTo>
                    <a:pt x="1214" y="1524"/>
                  </a:lnTo>
                  <a:lnTo>
                    <a:pt x="1210" y="1530"/>
                  </a:lnTo>
                  <a:lnTo>
                    <a:pt x="1210" y="1536"/>
                  </a:lnTo>
                  <a:lnTo>
                    <a:pt x="1204" y="1538"/>
                  </a:lnTo>
                  <a:lnTo>
                    <a:pt x="1204" y="1546"/>
                  </a:lnTo>
                  <a:lnTo>
                    <a:pt x="1204" y="1550"/>
                  </a:lnTo>
                  <a:lnTo>
                    <a:pt x="1204" y="1556"/>
                  </a:lnTo>
                  <a:lnTo>
                    <a:pt x="1204" y="1562"/>
                  </a:lnTo>
                  <a:lnTo>
                    <a:pt x="1204" y="1566"/>
                  </a:lnTo>
                  <a:lnTo>
                    <a:pt x="1204" y="1572"/>
                  </a:lnTo>
                  <a:lnTo>
                    <a:pt x="1204" y="1578"/>
                  </a:lnTo>
                  <a:lnTo>
                    <a:pt x="1206" y="1584"/>
                  </a:lnTo>
                  <a:lnTo>
                    <a:pt x="1206" y="1590"/>
                  </a:lnTo>
                  <a:lnTo>
                    <a:pt x="1206" y="1596"/>
                  </a:lnTo>
                  <a:lnTo>
                    <a:pt x="1204" y="1602"/>
                  </a:lnTo>
                  <a:lnTo>
                    <a:pt x="1208" y="1608"/>
                  </a:lnTo>
                  <a:lnTo>
                    <a:pt x="1212" y="1602"/>
                  </a:lnTo>
                  <a:lnTo>
                    <a:pt x="1212" y="1608"/>
                  </a:lnTo>
                  <a:lnTo>
                    <a:pt x="1208" y="1608"/>
                  </a:lnTo>
                  <a:lnTo>
                    <a:pt x="1200" y="1612"/>
                  </a:lnTo>
                  <a:lnTo>
                    <a:pt x="1198" y="1618"/>
                  </a:lnTo>
                  <a:lnTo>
                    <a:pt x="1192" y="1614"/>
                  </a:lnTo>
                  <a:lnTo>
                    <a:pt x="1190" y="1614"/>
                  </a:lnTo>
                  <a:lnTo>
                    <a:pt x="1186" y="1608"/>
                  </a:lnTo>
                  <a:lnTo>
                    <a:pt x="1180" y="1604"/>
                  </a:lnTo>
                  <a:lnTo>
                    <a:pt x="1174" y="1602"/>
                  </a:lnTo>
                  <a:lnTo>
                    <a:pt x="1168" y="1602"/>
                  </a:lnTo>
                  <a:lnTo>
                    <a:pt x="1162" y="1602"/>
                  </a:lnTo>
                  <a:lnTo>
                    <a:pt x="1156" y="1600"/>
                  </a:lnTo>
                  <a:lnTo>
                    <a:pt x="1150" y="1600"/>
                  </a:lnTo>
                  <a:lnTo>
                    <a:pt x="1146" y="1600"/>
                  </a:lnTo>
                  <a:lnTo>
                    <a:pt x="1144" y="1592"/>
                  </a:lnTo>
                  <a:lnTo>
                    <a:pt x="1138" y="1592"/>
                  </a:lnTo>
                  <a:lnTo>
                    <a:pt x="1132" y="1588"/>
                  </a:lnTo>
                  <a:lnTo>
                    <a:pt x="1126" y="1588"/>
                  </a:lnTo>
                  <a:lnTo>
                    <a:pt x="1122" y="1582"/>
                  </a:lnTo>
                  <a:lnTo>
                    <a:pt x="1118" y="1582"/>
                  </a:lnTo>
                  <a:lnTo>
                    <a:pt x="1112" y="1580"/>
                  </a:lnTo>
                  <a:lnTo>
                    <a:pt x="1106" y="1578"/>
                  </a:lnTo>
                  <a:lnTo>
                    <a:pt x="1104" y="1578"/>
                  </a:lnTo>
                  <a:lnTo>
                    <a:pt x="1106" y="1572"/>
                  </a:lnTo>
                  <a:lnTo>
                    <a:pt x="1102" y="1568"/>
                  </a:lnTo>
                  <a:lnTo>
                    <a:pt x="1102" y="1562"/>
                  </a:lnTo>
                  <a:lnTo>
                    <a:pt x="1102" y="1556"/>
                  </a:lnTo>
                  <a:lnTo>
                    <a:pt x="1102" y="1550"/>
                  </a:lnTo>
                  <a:lnTo>
                    <a:pt x="1098" y="1544"/>
                  </a:lnTo>
                  <a:lnTo>
                    <a:pt x="1098" y="1542"/>
                  </a:lnTo>
                  <a:lnTo>
                    <a:pt x="1094" y="1536"/>
                  </a:lnTo>
                  <a:lnTo>
                    <a:pt x="1094" y="1530"/>
                  </a:lnTo>
                  <a:lnTo>
                    <a:pt x="1096" y="1524"/>
                  </a:lnTo>
                  <a:lnTo>
                    <a:pt x="1096" y="1518"/>
                  </a:lnTo>
                  <a:lnTo>
                    <a:pt x="1096" y="1512"/>
                  </a:lnTo>
                  <a:lnTo>
                    <a:pt x="1098" y="1506"/>
                  </a:lnTo>
                  <a:lnTo>
                    <a:pt x="1098" y="1502"/>
                  </a:lnTo>
                  <a:lnTo>
                    <a:pt x="1098" y="1496"/>
                  </a:lnTo>
                  <a:lnTo>
                    <a:pt x="1092" y="1494"/>
                  </a:lnTo>
                  <a:lnTo>
                    <a:pt x="1088" y="1490"/>
                  </a:lnTo>
                  <a:lnTo>
                    <a:pt x="1084" y="1484"/>
                  </a:lnTo>
                  <a:lnTo>
                    <a:pt x="1082" y="1478"/>
                  </a:lnTo>
                  <a:lnTo>
                    <a:pt x="1080" y="1472"/>
                  </a:lnTo>
                  <a:lnTo>
                    <a:pt x="1078" y="1468"/>
                  </a:lnTo>
                  <a:lnTo>
                    <a:pt x="1076" y="1460"/>
                  </a:lnTo>
                  <a:lnTo>
                    <a:pt x="1076" y="1456"/>
                  </a:lnTo>
                  <a:lnTo>
                    <a:pt x="1068" y="1452"/>
                  </a:lnTo>
                  <a:lnTo>
                    <a:pt x="1066" y="1444"/>
                  </a:lnTo>
                  <a:lnTo>
                    <a:pt x="1066" y="1440"/>
                  </a:lnTo>
                  <a:lnTo>
                    <a:pt x="1066" y="1434"/>
                  </a:lnTo>
                  <a:lnTo>
                    <a:pt x="1064" y="1426"/>
                  </a:lnTo>
                  <a:lnTo>
                    <a:pt x="1062" y="1422"/>
                  </a:lnTo>
                  <a:lnTo>
                    <a:pt x="1062" y="1420"/>
                  </a:lnTo>
                  <a:lnTo>
                    <a:pt x="1062" y="1418"/>
                  </a:lnTo>
                  <a:lnTo>
                    <a:pt x="1062" y="1412"/>
                  </a:lnTo>
                  <a:lnTo>
                    <a:pt x="1060" y="1406"/>
                  </a:lnTo>
                  <a:lnTo>
                    <a:pt x="1058" y="1404"/>
                  </a:lnTo>
                  <a:lnTo>
                    <a:pt x="1060" y="1398"/>
                  </a:lnTo>
                  <a:lnTo>
                    <a:pt x="1058" y="1392"/>
                  </a:lnTo>
                  <a:lnTo>
                    <a:pt x="1054" y="1388"/>
                  </a:lnTo>
                  <a:lnTo>
                    <a:pt x="1054" y="1380"/>
                  </a:lnTo>
                  <a:lnTo>
                    <a:pt x="1048" y="1376"/>
                  </a:lnTo>
                  <a:lnTo>
                    <a:pt x="1046" y="1374"/>
                  </a:lnTo>
                  <a:lnTo>
                    <a:pt x="1044" y="1372"/>
                  </a:lnTo>
                  <a:lnTo>
                    <a:pt x="1044" y="1368"/>
                  </a:lnTo>
                  <a:lnTo>
                    <a:pt x="1038" y="1364"/>
                  </a:lnTo>
                  <a:lnTo>
                    <a:pt x="1036" y="1358"/>
                  </a:lnTo>
                  <a:lnTo>
                    <a:pt x="1032" y="1354"/>
                  </a:lnTo>
                  <a:lnTo>
                    <a:pt x="1028" y="1352"/>
                  </a:lnTo>
                  <a:lnTo>
                    <a:pt x="1028" y="1346"/>
                  </a:lnTo>
                  <a:lnTo>
                    <a:pt x="1022" y="1346"/>
                  </a:lnTo>
                  <a:lnTo>
                    <a:pt x="1016" y="1346"/>
                  </a:lnTo>
                  <a:lnTo>
                    <a:pt x="1010" y="1344"/>
                  </a:lnTo>
                  <a:lnTo>
                    <a:pt x="1004" y="1342"/>
                  </a:lnTo>
                  <a:lnTo>
                    <a:pt x="998" y="1344"/>
                  </a:lnTo>
                  <a:lnTo>
                    <a:pt x="992" y="1342"/>
                  </a:lnTo>
                  <a:lnTo>
                    <a:pt x="986" y="1342"/>
                  </a:lnTo>
                  <a:lnTo>
                    <a:pt x="980" y="1338"/>
                  </a:lnTo>
                  <a:lnTo>
                    <a:pt x="974" y="1340"/>
                  </a:lnTo>
                  <a:lnTo>
                    <a:pt x="970" y="1346"/>
                  </a:lnTo>
                  <a:lnTo>
                    <a:pt x="964" y="1344"/>
                  </a:lnTo>
                  <a:lnTo>
                    <a:pt x="958" y="1346"/>
                  </a:lnTo>
                  <a:lnTo>
                    <a:pt x="952" y="1348"/>
                  </a:lnTo>
                  <a:lnTo>
                    <a:pt x="950" y="1350"/>
                  </a:lnTo>
                  <a:lnTo>
                    <a:pt x="946" y="1356"/>
                  </a:lnTo>
                  <a:lnTo>
                    <a:pt x="942" y="1362"/>
                  </a:lnTo>
                  <a:lnTo>
                    <a:pt x="938" y="1368"/>
                  </a:lnTo>
                  <a:lnTo>
                    <a:pt x="932" y="1374"/>
                  </a:lnTo>
                  <a:lnTo>
                    <a:pt x="930" y="1380"/>
                  </a:lnTo>
                  <a:lnTo>
                    <a:pt x="924" y="1386"/>
                  </a:lnTo>
                  <a:lnTo>
                    <a:pt x="920" y="1392"/>
                  </a:lnTo>
                  <a:lnTo>
                    <a:pt x="914" y="1396"/>
                  </a:lnTo>
                  <a:lnTo>
                    <a:pt x="908" y="1400"/>
                  </a:lnTo>
                  <a:lnTo>
                    <a:pt x="906" y="1398"/>
                  </a:lnTo>
                  <a:lnTo>
                    <a:pt x="902" y="1396"/>
                  </a:lnTo>
                  <a:lnTo>
                    <a:pt x="896" y="1394"/>
                  </a:lnTo>
                  <a:lnTo>
                    <a:pt x="890" y="1388"/>
                  </a:lnTo>
                  <a:lnTo>
                    <a:pt x="884" y="1388"/>
                  </a:lnTo>
                  <a:lnTo>
                    <a:pt x="878" y="1382"/>
                  </a:lnTo>
                  <a:lnTo>
                    <a:pt x="872" y="1378"/>
                  </a:lnTo>
                  <a:lnTo>
                    <a:pt x="866" y="1376"/>
                  </a:lnTo>
                  <a:lnTo>
                    <a:pt x="860" y="1372"/>
                  </a:lnTo>
                  <a:lnTo>
                    <a:pt x="858" y="1368"/>
                  </a:lnTo>
                  <a:lnTo>
                    <a:pt x="854" y="1362"/>
                  </a:lnTo>
                  <a:lnTo>
                    <a:pt x="850" y="1360"/>
                  </a:lnTo>
                  <a:lnTo>
                    <a:pt x="848" y="1360"/>
                  </a:lnTo>
                  <a:lnTo>
                    <a:pt x="846" y="1358"/>
                  </a:lnTo>
                  <a:lnTo>
                    <a:pt x="844" y="1354"/>
                  </a:lnTo>
                  <a:lnTo>
                    <a:pt x="844" y="1350"/>
                  </a:lnTo>
                  <a:lnTo>
                    <a:pt x="842" y="1344"/>
                  </a:lnTo>
                  <a:lnTo>
                    <a:pt x="840" y="1338"/>
                  </a:lnTo>
                  <a:lnTo>
                    <a:pt x="840" y="1332"/>
                  </a:lnTo>
                  <a:lnTo>
                    <a:pt x="840" y="1330"/>
                  </a:lnTo>
                  <a:lnTo>
                    <a:pt x="842" y="1324"/>
                  </a:lnTo>
                  <a:lnTo>
                    <a:pt x="844" y="1318"/>
                  </a:lnTo>
                  <a:lnTo>
                    <a:pt x="842" y="1312"/>
                  </a:lnTo>
                  <a:lnTo>
                    <a:pt x="840" y="1306"/>
                  </a:lnTo>
                  <a:lnTo>
                    <a:pt x="840" y="1300"/>
                  </a:lnTo>
                  <a:lnTo>
                    <a:pt x="840" y="1294"/>
                  </a:lnTo>
                  <a:lnTo>
                    <a:pt x="838" y="1288"/>
                  </a:lnTo>
                  <a:lnTo>
                    <a:pt x="836" y="1282"/>
                  </a:lnTo>
                  <a:lnTo>
                    <a:pt x="830" y="1278"/>
                  </a:lnTo>
                  <a:lnTo>
                    <a:pt x="824" y="1274"/>
                  </a:lnTo>
                  <a:lnTo>
                    <a:pt x="818" y="1270"/>
                  </a:lnTo>
                  <a:lnTo>
                    <a:pt x="814" y="1264"/>
                  </a:lnTo>
                  <a:lnTo>
                    <a:pt x="810" y="1258"/>
                  </a:lnTo>
                  <a:lnTo>
                    <a:pt x="808" y="1252"/>
                  </a:lnTo>
                  <a:lnTo>
                    <a:pt x="802" y="1246"/>
                  </a:lnTo>
                  <a:lnTo>
                    <a:pt x="800" y="1240"/>
                  </a:lnTo>
                  <a:lnTo>
                    <a:pt x="796" y="1236"/>
                  </a:lnTo>
                  <a:lnTo>
                    <a:pt x="790" y="1232"/>
                  </a:lnTo>
                  <a:lnTo>
                    <a:pt x="784" y="1228"/>
                  </a:lnTo>
                  <a:lnTo>
                    <a:pt x="782" y="1222"/>
                  </a:lnTo>
                  <a:lnTo>
                    <a:pt x="782" y="1216"/>
                  </a:lnTo>
                  <a:lnTo>
                    <a:pt x="780" y="1210"/>
                  </a:lnTo>
                  <a:lnTo>
                    <a:pt x="776" y="1208"/>
                  </a:lnTo>
                  <a:lnTo>
                    <a:pt x="772" y="1206"/>
                  </a:lnTo>
                  <a:lnTo>
                    <a:pt x="764" y="1206"/>
                  </a:lnTo>
                  <a:lnTo>
                    <a:pt x="758" y="1206"/>
                  </a:lnTo>
                  <a:lnTo>
                    <a:pt x="752" y="1206"/>
                  </a:lnTo>
                  <a:lnTo>
                    <a:pt x="746" y="1206"/>
                  </a:lnTo>
                  <a:lnTo>
                    <a:pt x="740" y="1206"/>
                  </a:lnTo>
                  <a:lnTo>
                    <a:pt x="734" y="1206"/>
                  </a:lnTo>
                  <a:lnTo>
                    <a:pt x="728" y="1206"/>
                  </a:lnTo>
                  <a:lnTo>
                    <a:pt x="724" y="1206"/>
                  </a:lnTo>
                  <a:lnTo>
                    <a:pt x="718" y="1206"/>
                  </a:lnTo>
                  <a:lnTo>
                    <a:pt x="712" y="1206"/>
                  </a:lnTo>
                  <a:lnTo>
                    <a:pt x="708" y="1206"/>
                  </a:lnTo>
                  <a:lnTo>
                    <a:pt x="702" y="1206"/>
                  </a:lnTo>
                  <a:lnTo>
                    <a:pt x="696" y="1206"/>
                  </a:lnTo>
                  <a:lnTo>
                    <a:pt x="690" y="1206"/>
                  </a:lnTo>
                  <a:lnTo>
                    <a:pt x="684" y="1206"/>
                  </a:lnTo>
                  <a:lnTo>
                    <a:pt x="678" y="1206"/>
                  </a:lnTo>
                  <a:lnTo>
                    <a:pt x="672" y="1212"/>
                  </a:lnTo>
                  <a:lnTo>
                    <a:pt x="670" y="1218"/>
                  </a:lnTo>
                  <a:lnTo>
                    <a:pt x="668" y="1226"/>
                  </a:lnTo>
                  <a:lnTo>
                    <a:pt x="666" y="1232"/>
                  </a:lnTo>
                  <a:lnTo>
                    <a:pt x="658" y="1236"/>
                  </a:lnTo>
                  <a:lnTo>
                    <a:pt x="652" y="1236"/>
                  </a:lnTo>
                  <a:lnTo>
                    <a:pt x="646" y="1236"/>
                  </a:lnTo>
                  <a:lnTo>
                    <a:pt x="640" y="1236"/>
                  </a:lnTo>
                  <a:lnTo>
                    <a:pt x="634" y="1236"/>
                  </a:lnTo>
                  <a:lnTo>
                    <a:pt x="628" y="1236"/>
                  </a:lnTo>
                  <a:lnTo>
                    <a:pt x="622" y="1236"/>
                  </a:lnTo>
                  <a:lnTo>
                    <a:pt x="620" y="1236"/>
                  </a:lnTo>
                  <a:lnTo>
                    <a:pt x="614" y="1236"/>
                  </a:lnTo>
                  <a:lnTo>
                    <a:pt x="606" y="1236"/>
                  </a:lnTo>
                  <a:lnTo>
                    <a:pt x="602" y="1236"/>
                  </a:lnTo>
                  <a:lnTo>
                    <a:pt x="596" y="1236"/>
                  </a:lnTo>
                  <a:lnTo>
                    <a:pt x="590" y="1236"/>
                  </a:lnTo>
                  <a:lnTo>
                    <a:pt x="584" y="1236"/>
                  </a:lnTo>
                  <a:lnTo>
                    <a:pt x="576" y="1236"/>
                  </a:lnTo>
                  <a:lnTo>
                    <a:pt x="570" y="1236"/>
                  </a:lnTo>
                  <a:lnTo>
                    <a:pt x="564" y="1236"/>
                  </a:lnTo>
                  <a:lnTo>
                    <a:pt x="560" y="1236"/>
                  </a:lnTo>
                  <a:lnTo>
                    <a:pt x="552" y="1236"/>
                  </a:lnTo>
                  <a:lnTo>
                    <a:pt x="546" y="1236"/>
                  </a:lnTo>
                  <a:lnTo>
                    <a:pt x="540" y="1236"/>
                  </a:lnTo>
                  <a:lnTo>
                    <a:pt x="534" y="1236"/>
                  </a:lnTo>
                  <a:lnTo>
                    <a:pt x="530" y="1236"/>
                  </a:lnTo>
                  <a:lnTo>
                    <a:pt x="524" y="1236"/>
                  </a:lnTo>
                  <a:lnTo>
                    <a:pt x="518" y="1236"/>
                  </a:lnTo>
                  <a:lnTo>
                    <a:pt x="512" y="1236"/>
                  </a:lnTo>
                  <a:lnTo>
                    <a:pt x="506" y="1236"/>
                  </a:lnTo>
                  <a:lnTo>
                    <a:pt x="504" y="1236"/>
                  </a:lnTo>
                  <a:lnTo>
                    <a:pt x="498" y="1236"/>
                  </a:lnTo>
                  <a:lnTo>
                    <a:pt x="492" y="1234"/>
                  </a:lnTo>
                  <a:lnTo>
                    <a:pt x="488" y="1232"/>
                  </a:lnTo>
                  <a:lnTo>
                    <a:pt x="482" y="1230"/>
                  </a:lnTo>
                  <a:lnTo>
                    <a:pt x="476" y="1228"/>
                  </a:lnTo>
                  <a:lnTo>
                    <a:pt x="472" y="1226"/>
                  </a:lnTo>
                  <a:lnTo>
                    <a:pt x="466" y="1224"/>
                  </a:lnTo>
                  <a:lnTo>
                    <a:pt x="460" y="1220"/>
                  </a:lnTo>
                  <a:lnTo>
                    <a:pt x="454" y="1218"/>
                  </a:lnTo>
                  <a:lnTo>
                    <a:pt x="448" y="1214"/>
                  </a:lnTo>
                  <a:lnTo>
                    <a:pt x="442" y="1212"/>
                  </a:lnTo>
                  <a:lnTo>
                    <a:pt x="436" y="1210"/>
                  </a:lnTo>
                  <a:lnTo>
                    <a:pt x="430" y="1208"/>
                  </a:lnTo>
                  <a:lnTo>
                    <a:pt x="424" y="1204"/>
                  </a:lnTo>
                  <a:lnTo>
                    <a:pt x="418" y="1202"/>
                  </a:lnTo>
                  <a:lnTo>
                    <a:pt x="412" y="1200"/>
                  </a:lnTo>
                  <a:lnTo>
                    <a:pt x="408" y="1198"/>
                  </a:lnTo>
                  <a:lnTo>
                    <a:pt x="402" y="1196"/>
                  </a:lnTo>
                  <a:lnTo>
                    <a:pt x="396" y="1194"/>
                  </a:lnTo>
                  <a:lnTo>
                    <a:pt x="390" y="1190"/>
                  </a:lnTo>
                  <a:lnTo>
                    <a:pt x="386" y="1188"/>
                  </a:lnTo>
                  <a:lnTo>
                    <a:pt x="378" y="1186"/>
                  </a:lnTo>
                  <a:lnTo>
                    <a:pt x="372" y="1182"/>
                  </a:lnTo>
                  <a:lnTo>
                    <a:pt x="366" y="1180"/>
                  </a:lnTo>
                  <a:lnTo>
                    <a:pt x="360" y="1178"/>
                  </a:lnTo>
                  <a:lnTo>
                    <a:pt x="356" y="1176"/>
                  </a:lnTo>
                  <a:lnTo>
                    <a:pt x="348" y="1172"/>
                  </a:lnTo>
                  <a:lnTo>
                    <a:pt x="344" y="1170"/>
                  </a:lnTo>
                  <a:lnTo>
                    <a:pt x="338" y="1168"/>
                  </a:lnTo>
                  <a:lnTo>
                    <a:pt x="330" y="1166"/>
                  </a:lnTo>
                  <a:lnTo>
                    <a:pt x="326" y="1164"/>
                  </a:lnTo>
                  <a:lnTo>
                    <a:pt x="318" y="1160"/>
                  </a:lnTo>
                  <a:lnTo>
                    <a:pt x="314" y="1158"/>
                  </a:lnTo>
                  <a:lnTo>
                    <a:pt x="308" y="1156"/>
                  </a:lnTo>
                  <a:lnTo>
                    <a:pt x="310" y="1150"/>
                  </a:lnTo>
                  <a:lnTo>
                    <a:pt x="316" y="1144"/>
                  </a:lnTo>
                  <a:lnTo>
                    <a:pt x="318" y="1142"/>
                  </a:lnTo>
                  <a:lnTo>
                    <a:pt x="310" y="1142"/>
                  </a:lnTo>
                  <a:lnTo>
                    <a:pt x="304" y="1142"/>
                  </a:lnTo>
                  <a:lnTo>
                    <a:pt x="302" y="1142"/>
                  </a:lnTo>
                  <a:lnTo>
                    <a:pt x="296" y="1142"/>
                  </a:lnTo>
                  <a:lnTo>
                    <a:pt x="290" y="1144"/>
                  </a:lnTo>
                  <a:lnTo>
                    <a:pt x="284" y="1144"/>
                  </a:lnTo>
                  <a:lnTo>
                    <a:pt x="278" y="1144"/>
                  </a:lnTo>
                  <a:lnTo>
                    <a:pt x="274" y="1144"/>
                  </a:lnTo>
                  <a:lnTo>
                    <a:pt x="272" y="1144"/>
                  </a:lnTo>
                  <a:lnTo>
                    <a:pt x="268" y="1146"/>
                  </a:lnTo>
                  <a:lnTo>
                    <a:pt x="264" y="1146"/>
                  </a:lnTo>
                  <a:lnTo>
                    <a:pt x="258" y="1146"/>
                  </a:lnTo>
                  <a:lnTo>
                    <a:pt x="250" y="1148"/>
                  </a:lnTo>
                  <a:lnTo>
                    <a:pt x="246" y="1148"/>
                  </a:lnTo>
                  <a:lnTo>
                    <a:pt x="238" y="1148"/>
                  </a:lnTo>
                  <a:lnTo>
                    <a:pt x="234" y="1148"/>
                  </a:lnTo>
                  <a:lnTo>
                    <a:pt x="232" y="1148"/>
                  </a:lnTo>
                  <a:lnTo>
                    <a:pt x="228" y="1148"/>
                  </a:lnTo>
                  <a:lnTo>
                    <a:pt x="222" y="1150"/>
                  </a:lnTo>
                  <a:lnTo>
                    <a:pt x="220" y="1150"/>
                  </a:lnTo>
                  <a:lnTo>
                    <a:pt x="214" y="1150"/>
                  </a:lnTo>
                  <a:lnTo>
                    <a:pt x="212" y="1150"/>
                  </a:lnTo>
                  <a:lnTo>
                    <a:pt x="206" y="1152"/>
                  </a:lnTo>
                  <a:lnTo>
                    <a:pt x="200" y="1152"/>
                  </a:lnTo>
                  <a:lnTo>
                    <a:pt x="194" y="1152"/>
                  </a:lnTo>
                  <a:lnTo>
                    <a:pt x="188" y="1152"/>
                  </a:lnTo>
                  <a:lnTo>
                    <a:pt x="182" y="1154"/>
                  </a:lnTo>
                  <a:lnTo>
                    <a:pt x="180" y="1154"/>
                  </a:lnTo>
                  <a:lnTo>
                    <a:pt x="174" y="1154"/>
                  </a:lnTo>
                  <a:lnTo>
                    <a:pt x="174" y="1152"/>
                  </a:lnTo>
                  <a:lnTo>
                    <a:pt x="174" y="1146"/>
                  </a:lnTo>
                  <a:lnTo>
                    <a:pt x="174" y="1140"/>
                  </a:lnTo>
                  <a:lnTo>
                    <a:pt x="174" y="1134"/>
                  </a:lnTo>
                  <a:lnTo>
                    <a:pt x="176" y="1128"/>
                  </a:lnTo>
                  <a:lnTo>
                    <a:pt x="178" y="1122"/>
                  </a:lnTo>
                  <a:lnTo>
                    <a:pt x="178" y="1116"/>
                  </a:lnTo>
                  <a:lnTo>
                    <a:pt x="178" y="1110"/>
                  </a:lnTo>
                  <a:lnTo>
                    <a:pt x="178" y="1104"/>
                  </a:lnTo>
                  <a:lnTo>
                    <a:pt x="176" y="1100"/>
                  </a:lnTo>
                  <a:lnTo>
                    <a:pt x="170" y="1094"/>
                  </a:lnTo>
                  <a:lnTo>
                    <a:pt x="166" y="1088"/>
                  </a:lnTo>
                  <a:lnTo>
                    <a:pt x="162" y="1082"/>
                  </a:lnTo>
                  <a:lnTo>
                    <a:pt x="156" y="1078"/>
                  </a:lnTo>
                  <a:lnTo>
                    <a:pt x="152" y="1070"/>
                  </a:lnTo>
                  <a:lnTo>
                    <a:pt x="146" y="1068"/>
                  </a:lnTo>
                  <a:lnTo>
                    <a:pt x="140" y="1072"/>
                  </a:lnTo>
                  <a:lnTo>
                    <a:pt x="134" y="1068"/>
                  </a:lnTo>
                  <a:lnTo>
                    <a:pt x="138" y="1062"/>
                  </a:lnTo>
                  <a:lnTo>
                    <a:pt x="138" y="1058"/>
                  </a:lnTo>
                  <a:lnTo>
                    <a:pt x="138" y="1056"/>
                  </a:lnTo>
                  <a:lnTo>
                    <a:pt x="136" y="1050"/>
                  </a:lnTo>
                  <a:lnTo>
                    <a:pt x="130" y="1050"/>
                  </a:lnTo>
                  <a:lnTo>
                    <a:pt x="124" y="1050"/>
                  </a:lnTo>
                  <a:lnTo>
                    <a:pt x="118" y="1052"/>
                  </a:lnTo>
                  <a:lnTo>
                    <a:pt x="112" y="1048"/>
                  </a:lnTo>
                  <a:lnTo>
                    <a:pt x="106" y="1046"/>
                  </a:lnTo>
                  <a:lnTo>
                    <a:pt x="100" y="1042"/>
                  </a:lnTo>
                  <a:lnTo>
                    <a:pt x="98" y="1036"/>
                  </a:lnTo>
                  <a:lnTo>
                    <a:pt x="96" y="1030"/>
                  </a:lnTo>
                  <a:lnTo>
                    <a:pt x="90" y="1026"/>
                  </a:lnTo>
                  <a:lnTo>
                    <a:pt x="84" y="1024"/>
                  </a:lnTo>
                  <a:lnTo>
                    <a:pt x="78" y="1024"/>
                  </a:lnTo>
                  <a:lnTo>
                    <a:pt x="72" y="1024"/>
                  </a:lnTo>
                  <a:lnTo>
                    <a:pt x="66" y="1022"/>
                  </a:lnTo>
                  <a:lnTo>
                    <a:pt x="62" y="1020"/>
                  </a:lnTo>
                  <a:lnTo>
                    <a:pt x="56" y="1020"/>
                  </a:lnTo>
                  <a:lnTo>
                    <a:pt x="50" y="1020"/>
                  </a:lnTo>
                  <a:lnTo>
                    <a:pt x="44" y="1020"/>
                  </a:lnTo>
                  <a:lnTo>
                    <a:pt x="38" y="1020"/>
                  </a:lnTo>
                  <a:lnTo>
                    <a:pt x="34" y="1016"/>
                  </a:lnTo>
                  <a:lnTo>
                    <a:pt x="32" y="1008"/>
                  </a:lnTo>
                  <a:lnTo>
                    <a:pt x="36" y="1004"/>
                  </a:lnTo>
                  <a:lnTo>
                    <a:pt x="38" y="998"/>
                  </a:lnTo>
                  <a:lnTo>
                    <a:pt x="40" y="990"/>
                  </a:lnTo>
                  <a:lnTo>
                    <a:pt x="42" y="986"/>
                  </a:lnTo>
                  <a:lnTo>
                    <a:pt x="46" y="980"/>
                  </a:lnTo>
                  <a:lnTo>
                    <a:pt x="46" y="978"/>
                  </a:lnTo>
                  <a:lnTo>
                    <a:pt x="46" y="974"/>
                  </a:lnTo>
                  <a:lnTo>
                    <a:pt x="42" y="972"/>
                  </a:lnTo>
                  <a:lnTo>
                    <a:pt x="36" y="966"/>
                  </a:lnTo>
                  <a:lnTo>
                    <a:pt x="40" y="960"/>
                  </a:lnTo>
                  <a:lnTo>
                    <a:pt x="42" y="954"/>
                  </a:lnTo>
                  <a:lnTo>
                    <a:pt x="38" y="952"/>
                  </a:lnTo>
                  <a:lnTo>
                    <a:pt x="34" y="944"/>
                  </a:lnTo>
                  <a:lnTo>
                    <a:pt x="34" y="940"/>
                  </a:lnTo>
                  <a:lnTo>
                    <a:pt x="28" y="938"/>
                  </a:lnTo>
                  <a:lnTo>
                    <a:pt x="28" y="932"/>
                  </a:lnTo>
                  <a:lnTo>
                    <a:pt x="26" y="926"/>
                  </a:lnTo>
                  <a:lnTo>
                    <a:pt x="24" y="920"/>
                  </a:lnTo>
                  <a:lnTo>
                    <a:pt x="26" y="914"/>
                  </a:lnTo>
                  <a:lnTo>
                    <a:pt x="22" y="908"/>
                  </a:lnTo>
                  <a:lnTo>
                    <a:pt x="20" y="902"/>
                  </a:lnTo>
                  <a:lnTo>
                    <a:pt x="14" y="898"/>
                  </a:lnTo>
                  <a:lnTo>
                    <a:pt x="14" y="892"/>
                  </a:lnTo>
                  <a:lnTo>
                    <a:pt x="16" y="886"/>
                  </a:lnTo>
                  <a:lnTo>
                    <a:pt x="16" y="880"/>
                  </a:lnTo>
                  <a:lnTo>
                    <a:pt x="18" y="874"/>
                  </a:lnTo>
                  <a:lnTo>
                    <a:pt x="24" y="872"/>
                  </a:lnTo>
                  <a:lnTo>
                    <a:pt x="30" y="866"/>
                  </a:lnTo>
                  <a:lnTo>
                    <a:pt x="34" y="864"/>
                  </a:lnTo>
                  <a:lnTo>
                    <a:pt x="36" y="858"/>
                  </a:lnTo>
                  <a:lnTo>
                    <a:pt x="34" y="852"/>
                  </a:lnTo>
                  <a:lnTo>
                    <a:pt x="30" y="848"/>
                  </a:lnTo>
                  <a:lnTo>
                    <a:pt x="24" y="848"/>
                  </a:lnTo>
                  <a:lnTo>
                    <a:pt x="18" y="844"/>
                  </a:lnTo>
                  <a:lnTo>
                    <a:pt x="16" y="838"/>
                  </a:lnTo>
                  <a:lnTo>
                    <a:pt x="14" y="832"/>
                  </a:lnTo>
                  <a:lnTo>
                    <a:pt x="14" y="826"/>
                  </a:lnTo>
                  <a:lnTo>
                    <a:pt x="18" y="820"/>
                  </a:lnTo>
                  <a:lnTo>
                    <a:pt x="20" y="814"/>
                  </a:lnTo>
                  <a:lnTo>
                    <a:pt x="18" y="808"/>
                  </a:lnTo>
                  <a:lnTo>
                    <a:pt x="22" y="804"/>
                  </a:lnTo>
                  <a:lnTo>
                    <a:pt x="24" y="798"/>
                  </a:lnTo>
                  <a:lnTo>
                    <a:pt x="26" y="792"/>
                  </a:lnTo>
                  <a:lnTo>
                    <a:pt x="32" y="790"/>
                  </a:lnTo>
                  <a:lnTo>
                    <a:pt x="32" y="796"/>
                  </a:lnTo>
                  <a:lnTo>
                    <a:pt x="30" y="800"/>
                  </a:lnTo>
                  <a:lnTo>
                    <a:pt x="34" y="806"/>
                  </a:lnTo>
                  <a:lnTo>
                    <a:pt x="38" y="812"/>
                  </a:lnTo>
                  <a:lnTo>
                    <a:pt x="40" y="808"/>
                  </a:lnTo>
                  <a:lnTo>
                    <a:pt x="42" y="800"/>
                  </a:lnTo>
                  <a:lnTo>
                    <a:pt x="40" y="796"/>
                  </a:lnTo>
                  <a:lnTo>
                    <a:pt x="38" y="788"/>
                  </a:lnTo>
                  <a:lnTo>
                    <a:pt x="42" y="782"/>
                  </a:lnTo>
                  <a:lnTo>
                    <a:pt x="42" y="778"/>
                  </a:lnTo>
                  <a:lnTo>
                    <a:pt x="46" y="774"/>
                  </a:lnTo>
                  <a:lnTo>
                    <a:pt x="54" y="772"/>
                  </a:lnTo>
                  <a:lnTo>
                    <a:pt x="52" y="770"/>
                  </a:lnTo>
                  <a:lnTo>
                    <a:pt x="46" y="764"/>
                  </a:lnTo>
                  <a:lnTo>
                    <a:pt x="40" y="768"/>
                  </a:lnTo>
                  <a:lnTo>
                    <a:pt x="36" y="774"/>
                  </a:lnTo>
                  <a:lnTo>
                    <a:pt x="34" y="780"/>
                  </a:lnTo>
                  <a:lnTo>
                    <a:pt x="32" y="786"/>
                  </a:lnTo>
                  <a:lnTo>
                    <a:pt x="26" y="784"/>
                  </a:lnTo>
                  <a:lnTo>
                    <a:pt x="20" y="782"/>
                  </a:lnTo>
                  <a:lnTo>
                    <a:pt x="18" y="776"/>
                  </a:lnTo>
                  <a:lnTo>
                    <a:pt x="12" y="772"/>
                  </a:lnTo>
                  <a:lnTo>
                    <a:pt x="6" y="776"/>
                  </a:lnTo>
                  <a:lnTo>
                    <a:pt x="10" y="770"/>
                  </a:lnTo>
                  <a:lnTo>
                    <a:pt x="16" y="764"/>
                  </a:lnTo>
                  <a:lnTo>
                    <a:pt x="18" y="770"/>
                  </a:lnTo>
                  <a:lnTo>
                    <a:pt x="18" y="764"/>
                  </a:lnTo>
                  <a:lnTo>
                    <a:pt x="18" y="758"/>
                  </a:lnTo>
                  <a:lnTo>
                    <a:pt x="14" y="7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0" name="Freeform 268"/>
            <p:cNvSpPr>
              <a:spLocks/>
            </p:cNvSpPr>
            <p:nvPr/>
          </p:nvSpPr>
          <p:spPr bwMode="auto">
            <a:xfrm>
              <a:off x="2263775" y="3892550"/>
              <a:ext cx="303213" cy="474663"/>
            </a:xfrm>
            <a:custGeom>
              <a:avLst/>
              <a:gdLst>
                <a:gd name="T0" fmla="*/ 2147483647 w 744"/>
                <a:gd name="T1" fmla="*/ 2147483647 h 1156"/>
                <a:gd name="T2" fmla="*/ 2147483647 w 744"/>
                <a:gd name="T3" fmla="*/ 2147483647 h 1156"/>
                <a:gd name="T4" fmla="*/ 2147483647 w 744"/>
                <a:gd name="T5" fmla="*/ 2147483647 h 1156"/>
                <a:gd name="T6" fmla="*/ 2147483647 w 744"/>
                <a:gd name="T7" fmla="*/ 2147483647 h 1156"/>
                <a:gd name="T8" fmla="*/ 2147483647 w 744"/>
                <a:gd name="T9" fmla="*/ 2147483647 h 1156"/>
                <a:gd name="T10" fmla="*/ 2147483647 w 744"/>
                <a:gd name="T11" fmla="*/ 2147483647 h 1156"/>
                <a:gd name="T12" fmla="*/ 2147483647 w 744"/>
                <a:gd name="T13" fmla="*/ 2147483647 h 1156"/>
                <a:gd name="T14" fmla="*/ 2147483647 w 744"/>
                <a:gd name="T15" fmla="*/ 2147483647 h 1156"/>
                <a:gd name="T16" fmla="*/ 2147483647 w 744"/>
                <a:gd name="T17" fmla="*/ 2147483647 h 1156"/>
                <a:gd name="T18" fmla="*/ 2147483647 w 744"/>
                <a:gd name="T19" fmla="*/ 2147483647 h 1156"/>
                <a:gd name="T20" fmla="*/ 2147483647 w 744"/>
                <a:gd name="T21" fmla="*/ 2147483647 h 1156"/>
                <a:gd name="T22" fmla="*/ 2147483647 w 744"/>
                <a:gd name="T23" fmla="*/ 2147483647 h 1156"/>
                <a:gd name="T24" fmla="*/ 2147483647 w 744"/>
                <a:gd name="T25" fmla="*/ 2147483647 h 1156"/>
                <a:gd name="T26" fmla="*/ 2147483647 w 744"/>
                <a:gd name="T27" fmla="*/ 2147483647 h 1156"/>
                <a:gd name="T28" fmla="*/ 2147483647 w 744"/>
                <a:gd name="T29" fmla="*/ 2147483647 h 1156"/>
                <a:gd name="T30" fmla="*/ 2147483647 w 744"/>
                <a:gd name="T31" fmla="*/ 2147483647 h 1156"/>
                <a:gd name="T32" fmla="*/ 2147483647 w 744"/>
                <a:gd name="T33" fmla="*/ 2147483647 h 1156"/>
                <a:gd name="T34" fmla="*/ 2147483647 w 744"/>
                <a:gd name="T35" fmla="*/ 2147483647 h 1156"/>
                <a:gd name="T36" fmla="*/ 2147483647 w 744"/>
                <a:gd name="T37" fmla="*/ 2147483647 h 1156"/>
                <a:gd name="T38" fmla="*/ 2147483647 w 744"/>
                <a:gd name="T39" fmla="*/ 2147483647 h 1156"/>
                <a:gd name="T40" fmla="*/ 2147483647 w 744"/>
                <a:gd name="T41" fmla="*/ 2147483647 h 1156"/>
                <a:gd name="T42" fmla="*/ 2147483647 w 744"/>
                <a:gd name="T43" fmla="*/ 2147483647 h 1156"/>
                <a:gd name="T44" fmla="*/ 2147483647 w 744"/>
                <a:gd name="T45" fmla="*/ 2147483647 h 1156"/>
                <a:gd name="T46" fmla="*/ 2147483647 w 744"/>
                <a:gd name="T47" fmla="*/ 2147483647 h 1156"/>
                <a:gd name="T48" fmla="*/ 2147483647 w 744"/>
                <a:gd name="T49" fmla="*/ 2147483647 h 1156"/>
                <a:gd name="T50" fmla="*/ 2147483647 w 744"/>
                <a:gd name="T51" fmla="*/ 2147483647 h 1156"/>
                <a:gd name="T52" fmla="*/ 2147483647 w 744"/>
                <a:gd name="T53" fmla="*/ 2147483647 h 1156"/>
                <a:gd name="T54" fmla="*/ 2147483647 w 744"/>
                <a:gd name="T55" fmla="*/ 2147483647 h 1156"/>
                <a:gd name="T56" fmla="*/ 2147483647 w 744"/>
                <a:gd name="T57" fmla="*/ 2147483647 h 1156"/>
                <a:gd name="T58" fmla="*/ 2147483647 w 744"/>
                <a:gd name="T59" fmla="*/ 2147483647 h 1156"/>
                <a:gd name="T60" fmla="*/ 2147483647 w 744"/>
                <a:gd name="T61" fmla="*/ 2147483647 h 1156"/>
                <a:gd name="T62" fmla="*/ 2147483647 w 744"/>
                <a:gd name="T63" fmla="*/ 2147483647 h 1156"/>
                <a:gd name="T64" fmla="*/ 2147483647 w 744"/>
                <a:gd name="T65" fmla="*/ 2147483647 h 1156"/>
                <a:gd name="T66" fmla="*/ 2147483647 w 744"/>
                <a:gd name="T67" fmla="*/ 2147483647 h 1156"/>
                <a:gd name="T68" fmla="*/ 2147483647 w 744"/>
                <a:gd name="T69" fmla="*/ 2147483647 h 1156"/>
                <a:gd name="T70" fmla="*/ 2147483647 w 744"/>
                <a:gd name="T71" fmla="*/ 2147483647 h 1156"/>
                <a:gd name="T72" fmla="*/ 2147483647 w 744"/>
                <a:gd name="T73" fmla="*/ 2147483647 h 1156"/>
                <a:gd name="T74" fmla="*/ 2147483647 w 744"/>
                <a:gd name="T75" fmla="*/ 2147483647 h 1156"/>
                <a:gd name="T76" fmla="*/ 2147483647 w 744"/>
                <a:gd name="T77" fmla="*/ 2147483647 h 1156"/>
                <a:gd name="T78" fmla="*/ 2147483647 w 744"/>
                <a:gd name="T79" fmla="*/ 2147483647 h 1156"/>
                <a:gd name="T80" fmla="*/ 2147483647 w 744"/>
                <a:gd name="T81" fmla="*/ 2147483647 h 1156"/>
                <a:gd name="T82" fmla="*/ 2147483647 w 744"/>
                <a:gd name="T83" fmla="*/ 2147483647 h 1156"/>
                <a:gd name="T84" fmla="*/ 2147483647 w 744"/>
                <a:gd name="T85" fmla="*/ 2147483647 h 1156"/>
                <a:gd name="T86" fmla="*/ 2147483647 w 744"/>
                <a:gd name="T87" fmla="*/ 2147483647 h 1156"/>
                <a:gd name="T88" fmla="*/ 2147483647 w 744"/>
                <a:gd name="T89" fmla="*/ 2147483647 h 1156"/>
                <a:gd name="T90" fmla="*/ 2147483647 w 744"/>
                <a:gd name="T91" fmla="*/ 2147483647 h 1156"/>
                <a:gd name="T92" fmla="*/ 2147483647 w 744"/>
                <a:gd name="T93" fmla="*/ 2147483647 h 1156"/>
                <a:gd name="T94" fmla="*/ 2147483647 w 744"/>
                <a:gd name="T95" fmla="*/ 2147483647 h 1156"/>
                <a:gd name="T96" fmla="*/ 2147483647 w 744"/>
                <a:gd name="T97" fmla="*/ 2147483647 h 1156"/>
                <a:gd name="T98" fmla="*/ 2147483647 w 744"/>
                <a:gd name="T99" fmla="*/ 2147483647 h 1156"/>
                <a:gd name="T100" fmla="*/ 2147483647 w 744"/>
                <a:gd name="T101" fmla="*/ 2147483647 h 1156"/>
                <a:gd name="T102" fmla="*/ 2147483647 w 744"/>
                <a:gd name="T103" fmla="*/ 2147483647 h 1156"/>
                <a:gd name="T104" fmla="*/ 2147483647 w 744"/>
                <a:gd name="T105" fmla="*/ 2147483647 h 1156"/>
                <a:gd name="T106" fmla="*/ 2147483647 w 744"/>
                <a:gd name="T107" fmla="*/ 2147483647 h 1156"/>
                <a:gd name="T108" fmla="*/ 2147483647 w 744"/>
                <a:gd name="T109" fmla="*/ 2147483647 h 1156"/>
                <a:gd name="T110" fmla="*/ 2147483647 w 744"/>
                <a:gd name="T111" fmla="*/ 2147483647 h 1156"/>
                <a:gd name="T112" fmla="*/ 2147483647 w 744"/>
                <a:gd name="T113" fmla="*/ 2147483647 h 1156"/>
                <a:gd name="T114" fmla="*/ 2147483647 w 744"/>
                <a:gd name="T115" fmla="*/ 2147483647 h 1156"/>
                <a:gd name="T116" fmla="*/ 2147483647 w 744"/>
                <a:gd name="T117" fmla="*/ 2147483647 h 1156"/>
                <a:gd name="T118" fmla="*/ 2147483647 w 744"/>
                <a:gd name="T119" fmla="*/ 2147483647 h 1156"/>
                <a:gd name="T120" fmla="*/ 2147483647 w 744"/>
                <a:gd name="T121" fmla="*/ 2147483647 h 11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44"/>
                <a:gd name="T184" fmla="*/ 0 h 1156"/>
                <a:gd name="T185" fmla="*/ 744 w 744"/>
                <a:gd name="T186" fmla="*/ 1156 h 11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44" h="1156">
                  <a:moveTo>
                    <a:pt x="6" y="752"/>
                  </a:moveTo>
                  <a:lnTo>
                    <a:pt x="6" y="752"/>
                  </a:lnTo>
                  <a:lnTo>
                    <a:pt x="0" y="750"/>
                  </a:lnTo>
                  <a:lnTo>
                    <a:pt x="2" y="744"/>
                  </a:lnTo>
                  <a:lnTo>
                    <a:pt x="6" y="738"/>
                  </a:lnTo>
                  <a:lnTo>
                    <a:pt x="12" y="734"/>
                  </a:lnTo>
                  <a:lnTo>
                    <a:pt x="18" y="738"/>
                  </a:lnTo>
                  <a:lnTo>
                    <a:pt x="22" y="736"/>
                  </a:lnTo>
                  <a:lnTo>
                    <a:pt x="28" y="738"/>
                  </a:lnTo>
                  <a:lnTo>
                    <a:pt x="30" y="734"/>
                  </a:lnTo>
                  <a:lnTo>
                    <a:pt x="28" y="728"/>
                  </a:lnTo>
                  <a:lnTo>
                    <a:pt x="28" y="722"/>
                  </a:lnTo>
                  <a:lnTo>
                    <a:pt x="24" y="716"/>
                  </a:lnTo>
                  <a:lnTo>
                    <a:pt x="24" y="710"/>
                  </a:lnTo>
                  <a:lnTo>
                    <a:pt x="24" y="708"/>
                  </a:lnTo>
                  <a:lnTo>
                    <a:pt x="26" y="702"/>
                  </a:lnTo>
                  <a:lnTo>
                    <a:pt x="30" y="696"/>
                  </a:lnTo>
                  <a:lnTo>
                    <a:pt x="36" y="694"/>
                  </a:lnTo>
                  <a:lnTo>
                    <a:pt x="42" y="690"/>
                  </a:lnTo>
                  <a:lnTo>
                    <a:pt x="48" y="690"/>
                  </a:lnTo>
                  <a:lnTo>
                    <a:pt x="54" y="686"/>
                  </a:lnTo>
                  <a:lnTo>
                    <a:pt x="56" y="688"/>
                  </a:lnTo>
                  <a:lnTo>
                    <a:pt x="58" y="688"/>
                  </a:lnTo>
                  <a:lnTo>
                    <a:pt x="60" y="688"/>
                  </a:lnTo>
                  <a:lnTo>
                    <a:pt x="66" y="686"/>
                  </a:lnTo>
                  <a:lnTo>
                    <a:pt x="70" y="682"/>
                  </a:lnTo>
                  <a:lnTo>
                    <a:pt x="74" y="684"/>
                  </a:lnTo>
                  <a:lnTo>
                    <a:pt x="78" y="682"/>
                  </a:lnTo>
                  <a:lnTo>
                    <a:pt x="80" y="682"/>
                  </a:lnTo>
                  <a:lnTo>
                    <a:pt x="78" y="676"/>
                  </a:lnTo>
                  <a:lnTo>
                    <a:pt x="80" y="670"/>
                  </a:lnTo>
                  <a:lnTo>
                    <a:pt x="88" y="664"/>
                  </a:lnTo>
                  <a:lnTo>
                    <a:pt x="88" y="658"/>
                  </a:lnTo>
                  <a:lnTo>
                    <a:pt x="84" y="652"/>
                  </a:lnTo>
                  <a:lnTo>
                    <a:pt x="90" y="650"/>
                  </a:lnTo>
                  <a:lnTo>
                    <a:pt x="94" y="650"/>
                  </a:lnTo>
                  <a:lnTo>
                    <a:pt x="96" y="644"/>
                  </a:lnTo>
                  <a:lnTo>
                    <a:pt x="100" y="638"/>
                  </a:lnTo>
                  <a:lnTo>
                    <a:pt x="102" y="634"/>
                  </a:lnTo>
                  <a:lnTo>
                    <a:pt x="104" y="628"/>
                  </a:lnTo>
                  <a:lnTo>
                    <a:pt x="108" y="622"/>
                  </a:lnTo>
                  <a:lnTo>
                    <a:pt x="108" y="616"/>
                  </a:lnTo>
                  <a:lnTo>
                    <a:pt x="114" y="614"/>
                  </a:lnTo>
                  <a:lnTo>
                    <a:pt x="116" y="612"/>
                  </a:lnTo>
                  <a:lnTo>
                    <a:pt x="122" y="608"/>
                  </a:lnTo>
                  <a:lnTo>
                    <a:pt x="116" y="602"/>
                  </a:lnTo>
                  <a:lnTo>
                    <a:pt x="122" y="598"/>
                  </a:lnTo>
                  <a:lnTo>
                    <a:pt x="126" y="594"/>
                  </a:lnTo>
                  <a:lnTo>
                    <a:pt x="120" y="594"/>
                  </a:lnTo>
                  <a:lnTo>
                    <a:pt x="114" y="596"/>
                  </a:lnTo>
                  <a:lnTo>
                    <a:pt x="110" y="590"/>
                  </a:lnTo>
                  <a:lnTo>
                    <a:pt x="116" y="586"/>
                  </a:lnTo>
                  <a:lnTo>
                    <a:pt x="118" y="580"/>
                  </a:lnTo>
                  <a:lnTo>
                    <a:pt x="112" y="580"/>
                  </a:lnTo>
                  <a:lnTo>
                    <a:pt x="110" y="586"/>
                  </a:lnTo>
                  <a:lnTo>
                    <a:pt x="104" y="586"/>
                  </a:lnTo>
                  <a:lnTo>
                    <a:pt x="104" y="580"/>
                  </a:lnTo>
                  <a:lnTo>
                    <a:pt x="104" y="572"/>
                  </a:lnTo>
                  <a:lnTo>
                    <a:pt x="110" y="570"/>
                  </a:lnTo>
                  <a:lnTo>
                    <a:pt x="116" y="568"/>
                  </a:lnTo>
                  <a:lnTo>
                    <a:pt x="112" y="566"/>
                  </a:lnTo>
                  <a:lnTo>
                    <a:pt x="108" y="564"/>
                  </a:lnTo>
                  <a:lnTo>
                    <a:pt x="108" y="560"/>
                  </a:lnTo>
                  <a:lnTo>
                    <a:pt x="108" y="554"/>
                  </a:lnTo>
                  <a:lnTo>
                    <a:pt x="112" y="548"/>
                  </a:lnTo>
                  <a:lnTo>
                    <a:pt x="112" y="542"/>
                  </a:lnTo>
                  <a:lnTo>
                    <a:pt x="112" y="536"/>
                  </a:lnTo>
                  <a:lnTo>
                    <a:pt x="112" y="530"/>
                  </a:lnTo>
                  <a:lnTo>
                    <a:pt x="110" y="524"/>
                  </a:lnTo>
                  <a:lnTo>
                    <a:pt x="110" y="520"/>
                  </a:lnTo>
                  <a:lnTo>
                    <a:pt x="110" y="516"/>
                  </a:lnTo>
                  <a:lnTo>
                    <a:pt x="110" y="510"/>
                  </a:lnTo>
                  <a:lnTo>
                    <a:pt x="110" y="504"/>
                  </a:lnTo>
                  <a:lnTo>
                    <a:pt x="110" y="498"/>
                  </a:lnTo>
                  <a:lnTo>
                    <a:pt x="110" y="492"/>
                  </a:lnTo>
                  <a:lnTo>
                    <a:pt x="108" y="486"/>
                  </a:lnTo>
                  <a:lnTo>
                    <a:pt x="102" y="482"/>
                  </a:lnTo>
                  <a:lnTo>
                    <a:pt x="102" y="476"/>
                  </a:lnTo>
                  <a:lnTo>
                    <a:pt x="108" y="472"/>
                  </a:lnTo>
                  <a:lnTo>
                    <a:pt x="114" y="470"/>
                  </a:lnTo>
                  <a:lnTo>
                    <a:pt x="120" y="464"/>
                  </a:lnTo>
                  <a:lnTo>
                    <a:pt x="118" y="458"/>
                  </a:lnTo>
                  <a:lnTo>
                    <a:pt x="116" y="452"/>
                  </a:lnTo>
                  <a:lnTo>
                    <a:pt x="114" y="446"/>
                  </a:lnTo>
                  <a:lnTo>
                    <a:pt x="110" y="440"/>
                  </a:lnTo>
                  <a:lnTo>
                    <a:pt x="106" y="434"/>
                  </a:lnTo>
                  <a:lnTo>
                    <a:pt x="106" y="428"/>
                  </a:lnTo>
                  <a:lnTo>
                    <a:pt x="112" y="426"/>
                  </a:lnTo>
                  <a:lnTo>
                    <a:pt x="112" y="420"/>
                  </a:lnTo>
                  <a:lnTo>
                    <a:pt x="114" y="414"/>
                  </a:lnTo>
                  <a:lnTo>
                    <a:pt x="116" y="408"/>
                  </a:lnTo>
                  <a:lnTo>
                    <a:pt x="112" y="402"/>
                  </a:lnTo>
                  <a:lnTo>
                    <a:pt x="106" y="398"/>
                  </a:lnTo>
                  <a:lnTo>
                    <a:pt x="102" y="392"/>
                  </a:lnTo>
                  <a:lnTo>
                    <a:pt x="98" y="386"/>
                  </a:lnTo>
                  <a:lnTo>
                    <a:pt x="96" y="380"/>
                  </a:lnTo>
                  <a:lnTo>
                    <a:pt x="96" y="374"/>
                  </a:lnTo>
                  <a:lnTo>
                    <a:pt x="92" y="370"/>
                  </a:lnTo>
                  <a:lnTo>
                    <a:pt x="86" y="364"/>
                  </a:lnTo>
                  <a:lnTo>
                    <a:pt x="84" y="362"/>
                  </a:lnTo>
                  <a:lnTo>
                    <a:pt x="86" y="356"/>
                  </a:lnTo>
                  <a:lnTo>
                    <a:pt x="86" y="354"/>
                  </a:lnTo>
                  <a:lnTo>
                    <a:pt x="88" y="348"/>
                  </a:lnTo>
                  <a:lnTo>
                    <a:pt x="94" y="344"/>
                  </a:lnTo>
                  <a:lnTo>
                    <a:pt x="96" y="340"/>
                  </a:lnTo>
                  <a:lnTo>
                    <a:pt x="94" y="334"/>
                  </a:lnTo>
                  <a:lnTo>
                    <a:pt x="96" y="328"/>
                  </a:lnTo>
                  <a:lnTo>
                    <a:pt x="100" y="334"/>
                  </a:lnTo>
                  <a:lnTo>
                    <a:pt x="104" y="340"/>
                  </a:lnTo>
                  <a:lnTo>
                    <a:pt x="108" y="336"/>
                  </a:lnTo>
                  <a:lnTo>
                    <a:pt x="114" y="332"/>
                  </a:lnTo>
                  <a:lnTo>
                    <a:pt x="120" y="326"/>
                  </a:lnTo>
                  <a:lnTo>
                    <a:pt x="118" y="326"/>
                  </a:lnTo>
                  <a:lnTo>
                    <a:pt x="120" y="320"/>
                  </a:lnTo>
                  <a:lnTo>
                    <a:pt x="124" y="314"/>
                  </a:lnTo>
                  <a:lnTo>
                    <a:pt x="130" y="310"/>
                  </a:lnTo>
                  <a:lnTo>
                    <a:pt x="128" y="304"/>
                  </a:lnTo>
                  <a:lnTo>
                    <a:pt x="126" y="298"/>
                  </a:lnTo>
                  <a:lnTo>
                    <a:pt x="124" y="292"/>
                  </a:lnTo>
                  <a:lnTo>
                    <a:pt x="120" y="286"/>
                  </a:lnTo>
                  <a:lnTo>
                    <a:pt x="120" y="280"/>
                  </a:lnTo>
                  <a:lnTo>
                    <a:pt x="114" y="274"/>
                  </a:lnTo>
                  <a:lnTo>
                    <a:pt x="116" y="268"/>
                  </a:lnTo>
                  <a:lnTo>
                    <a:pt x="118" y="268"/>
                  </a:lnTo>
                  <a:lnTo>
                    <a:pt x="122" y="262"/>
                  </a:lnTo>
                  <a:lnTo>
                    <a:pt x="124" y="268"/>
                  </a:lnTo>
                  <a:lnTo>
                    <a:pt x="126" y="272"/>
                  </a:lnTo>
                  <a:lnTo>
                    <a:pt x="126" y="274"/>
                  </a:lnTo>
                  <a:lnTo>
                    <a:pt x="132" y="278"/>
                  </a:lnTo>
                  <a:lnTo>
                    <a:pt x="136" y="284"/>
                  </a:lnTo>
                  <a:lnTo>
                    <a:pt x="140" y="290"/>
                  </a:lnTo>
                  <a:lnTo>
                    <a:pt x="142" y="290"/>
                  </a:lnTo>
                  <a:lnTo>
                    <a:pt x="146" y="296"/>
                  </a:lnTo>
                  <a:lnTo>
                    <a:pt x="152" y="298"/>
                  </a:lnTo>
                  <a:lnTo>
                    <a:pt x="150" y="304"/>
                  </a:lnTo>
                  <a:lnTo>
                    <a:pt x="146" y="310"/>
                  </a:lnTo>
                  <a:lnTo>
                    <a:pt x="152" y="314"/>
                  </a:lnTo>
                  <a:lnTo>
                    <a:pt x="158" y="310"/>
                  </a:lnTo>
                  <a:lnTo>
                    <a:pt x="158" y="304"/>
                  </a:lnTo>
                  <a:lnTo>
                    <a:pt x="158" y="302"/>
                  </a:lnTo>
                  <a:lnTo>
                    <a:pt x="156" y="296"/>
                  </a:lnTo>
                  <a:lnTo>
                    <a:pt x="156" y="290"/>
                  </a:lnTo>
                  <a:lnTo>
                    <a:pt x="156" y="284"/>
                  </a:lnTo>
                  <a:lnTo>
                    <a:pt x="156" y="278"/>
                  </a:lnTo>
                  <a:lnTo>
                    <a:pt x="152" y="272"/>
                  </a:lnTo>
                  <a:lnTo>
                    <a:pt x="150" y="268"/>
                  </a:lnTo>
                  <a:lnTo>
                    <a:pt x="156" y="264"/>
                  </a:lnTo>
                  <a:lnTo>
                    <a:pt x="160" y="262"/>
                  </a:lnTo>
                  <a:lnTo>
                    <a:pt x="166" y="256"/>
                  </a:lnTo>
                  <a:lnTo>
                    <a:pt x="172" y="254"/>
                  </a:lnTo>
                  <a:lnTo>
                    <a:pt x="178" y="248"/>
                  </a:lnTo>
                  <a:lnTo>
                    <a:pt x="180" y="246"/>
                  </a:lnTo>
                  <a:lnTo>
                    <a:pt x="186" y="244"/>
                  </a:lnTo>
                  <a:lnTo>
                    <a:pt x="190" y="238"/>
                  </a:lnTo>
                  <a:lnTo>
                    <a:pt x="194" y="232"/>
                  </a:lnTo>
                  <a:lnTo>
                    <a:pt x="196" y="226"/>
                  </a:lnTo>
                  <a:lnTo>
                    <a:pt x="200" y="220"/>
                  </a:lnTo>
                  <a:lnTo>
                    <a:pt x="206" y="214"/>
                  </a:lnTo>
                  <a:lnTo>
                    <a:pt x="212" y="210"/>
                  </a:lnTo>
                  <a:lnTo>
                    <a:pt x="218" y="208"/>
                  </a:lnTo>
                  <a:lnTo>
                    <a:pt x="224" y="210"/>
                  </a:lnTo>
                  <a:lnTo>
                    <a:pt x="230" y="208"/>
                  </a:lnTo>
                  <a:lnTo>
                    <a:pt x="232" y="202"/>
                  </a:lnTo>
                  <a:lnTo>
                    <a:pt x="234" y="196"/>
                  </a:lnTo>
                  <a:lnTo>
                    <a:pt x="228" y="190"/>
                  </a:lnTo>
                  <a:lnTo>
                    <a:pt x="230" y="184"/>
                  </a:lnTo>
                  <a:lnTo>
                    <a:pt x="232" y="178"/>
                  </a:lnTo>
                  <a:lnTo>
                    <a:pt x="234" y="172"/>
                  </a:lnTo>
                  <a:lnTo>
                    <a:pt x="236" y="170"/>
                  </a:lnTo>
                  <a:lnTo>
                    <a:pt x="236" y="164"/>
                  </a:lnTo>
                  <a:lnTo>
                    <a:pt x="238" y="158"/>
                  </a:lnTo>
                  <a:lnTo>
                    <a:pt x="232" y="158"/>
                  </a:lnTo>
                  <a:lnTo>
                    <a:pt x="236" y="152"/>
                  </a:lnTo>
                  <a:lnTo>
                    <a:pt x="240" y="148"/>
                  </a:lnTo>
                  <a:lnTo>
                    <a:pt x="240" y="144"/>
                  </a:lnTo>
                  <a:lnTo>
                    <a:pt x="240" y="142"/>
                  </a:lnTo>
                  <a:lnTo>
                    <a:pt x="242" y="136"/>
                  </a:lnTo>
                  <a:lnTo>
                    <a:pt x="242" y="132"/>
                  </a:lnTo>
                  <a:lnTo>
                    <a:pt x="248" y="126"/>
                  </a:lnTo>
                  <a:lnTo>
                    <a:pt x="254" y="122"/>
                  </a:lnTo>
                  <a:lnTo>
                    <a:pt x="258" y="120"/>
                  </a:lnTo>
                  <a:lnTo>
                    <a:pt x="258" y="118"/>
                  </a:lnTo>
                  <a:lnTo>
                    <a:pt x="260" y="114"/>
                  </a:lnTo>
                  <a:lnTo>
                    <a:pt x="266" y="110"/>
                  </a:lnTo>
                  <a:lnTo>
                    <a:pt x="272" y="108"/>
                  </a:lnTo>
                  <a:lnTo>
                    <a:pt x="274" y="102"/>
                  </a:lnTo>
                  <a:lnTo>
                    <a:pt x="280" y="96"/>
                  </a:lnTo>
                  <a:lnTo>
                    <a:pt x="284" y="92"/>
                  </a:lnTo>
                  <a:lnTo>
                    <a:pt x="290" y="94"/>
                  </a:lnTo>
                  <a:lnTo>
                    <a:pt x="296" y="96"/>
                  </a:lnTo>
                  <a:lnTo>
                    <a:pt x="302" y="98"/>
                  </a:lnTo>
                  <a:lnTo>
                    <a:pt x="308" y="102"/>
                  </a:lnTo>
                  <a:lnTo>
                    <a:pt x="314" y="102"/>
                  </a:lnTo>
                  <a:lnTo>
                    <a:pt x="312" y="102"/>
                  </a:lnTo>
                  <a:lnTo>
                    <a:pt x="310" y="102"/>
                  </a:lnTo>
                  <a:lnTo>
                    <a:pt x="308" y="102"/>
                  </a:lnTo>
                  <a:lnTo>
                    <a:pt x="306" y="102"/>
                  </a:lnTo>
                  <a:lnTo>
                    <a:pt x="306" y="108"/>
                  </a:lnTo>
                  <a:lnTo>
                    <a:pt x="300" y="110"/>
                  </a:lnTo>
                  <a:lnTo>
                    <a:pt x="302" y="116"/>
                  </a:lnTo>
                  <a:lnTo>
                    <a:pt x="308" y="118"/>
                  </a:lnTo>
                  <a:lnTo>
                    <a:pt x="314" y="114"/>
                  </a:lnTo>
                  <a:lnTo>
                    <a:pt x="316" y="108"/>
                  </a:lnTo>
                  <a:lnTo>
                    <a:pt x="318" y="106"/>
                  </a:lnTo>
                  <a:lnTo>
                    <a:pt x="320" y="100"/>
                  </a:lnTo>
                  <a:lnTo>
                    <a:pt x="324" y="94"/>
                  </a:lnTo>
                  <a:lnTo>
                    <a:pt x="324" y="88"/>
                  </a:lnTo>
                  <a:lnTo>
                    <a:pt x="324" y="82"/>
                  </a:lnTo>
                  <a:lnTo>
                    <a:pt x="330" y="78"/>
                  </a:lnTo>
                  <a:lnTo>
                    <a:pt x="336" y="76"/>
                  </a:lnTo>
                  <a:lnTo>
                    <a:pt x="342" y="78"/>
                  </a:lnTo>
                  <a:lnTo>
                    <a:pt x="348" y="82"/>
                  </a:lnTo>
                  <a:lnTo>
                    <a:pt x="354" y="82"/>
                  </a:lnTo>
                  <a:lnTo>
                    <a:pt x="360" y="82"/>
                  </a:lnTo>
                  <a:lnTo>
                    <a:pt x="366" y="82"/>
                  </a:lnTo>
                  <a:lnTo>
                    <a:pt x="372" y="82"/>
                  </a:lnTo>
                  <a:lnTo>
                    <a:pt x="378" y="82"/>
                  </a:lnTo>
                  <a:lnTo>
                    <a:pt x="384" y="78"/>
                  </a:lnTo>
                  <a:lnTo>
                    <a:pt x="390" y="72"/>
                  </a:lnTo>
                  <a:lnTo>
                    <a:pt x="396" y="68"/>
                  </a:lnTo>
                  <a:lnTo>
                    <a:pt x="402" y="64"/>
                  </a:lnTo>
                  <a:lnTo>
                    <a:pt x="406" y="60"/>
                  </a:lnTo>
                  <a:lnTo>
                    <a:pt x="408" y="58"/>
                  </a:lnTo>
                  <a:lnTo>
                    <a:pt x="410" y="56"/>
                  </a:lnTo>
                  <a:lnTo>
                    <a:pt x="416" y="52"/>
                  </a:lnTo>
                  <a:lnTo>
                    <a:pt x="422" y="50"/>
                  </a:lnTo>
                  <a:lnTo>
                    <a:pt x="428" y="48"/>
                  </a:lnTo>
                  <a:lnTo>
                    <a:pt x="434" y="46"/>
                  </a:lnTo>
                  <a:lnTo>
                    <a:pt x="440" y="44"/>
                  </a:lnTo>
                  <a:lnTo>
                    <a:pt x="446" y="40"/>
                  </a:lnTo>
                  <a:lnTo>
                    <a:pt x="450" y="34"/>
                  </a:lnTo>
                  <a:lnTo>
                    <a:pt x="452" y="28"/>
                  </a:lnTo>
                  <a:lnTo>
                    <a:pt x="456" y="22"/>
                  </a:lnTo>
                  <a:lnTo>
                    <a:pt x="454" y="16"/>
                  </a:lnTo>
                  <a:lnTo>
                    <a:pt x="460" y="14"/>
                  </a:lnTo>
                  <a:lnTo>
                    <a:pt x="466" y="14"/>
                  </a:lnTo>
                  <a:lnTo>
                    <a:pt x="464" y="20"/>
                  </a:lnTo>
                  <a:lnTo>
                    <a:pt x="470" y="18"/>
                  </a:lnTo>
                  <a:lnTo>
                    <a:pt x="468" y="12"/>
                  </a:lnTo>
                  <a:lnTo>
                    <a:pt x="474" y="6"/>
                  </a:lnTo>
                  <a:lnTo>
                    <a:pt x="480" y="8"/>
                  </a:lnTo>
                  <a:lnTo>
                    <a:pt x="486" y="4"/>
                  </a:lnTo>
                  <a:lnTo>
                    <a:pt x="492" y="0"/>
                  </a:lnTo>
                  <a:lnTo>
                    <a:pt x="498" y="2"/>
                  </a:lnTo>
                  <a:lnTo>
                    <a:pt x="502" y="4"/>
                  </a:lnTo>
                  <a:lnTo>
                    <a:pt x="508" y="8"/>
                  </a:lnTo>
                  <a:lnTo>
                    <a:pt x="512" y="10"/>
                  </a:lnTo>
                  <a:lnTo>
                    <a:pt x="514" y="16"/>
                  </a:lnTo>
                  <a:lnTo>
                    <a:pt x="516" y="22"/>
                  </a:lnTo>
                  <a:lnTo>
                    <a:pt x="516" y="28"/>
                  </a:lnTo>
                  <a:lnTo>
                    <a:pt x="510" y="34"/>
                  </a:lnTo>
                  <a:lnTo>
                    <a:pt x="506" y="38"/>
                  </a:lnTo>
                  <a:lnTo>
                    <a:pt x="502" y="42"/>
                  </a:lnTo>
                  <a:lnTo>
                    <a:pt x="498" y="44"/>
                  </a:lnTo>
                  <a:lnTo>
                    <a:pt x="494" y="46"/>
                  </a:lnTo>
                  <a:lnTo>
                    <a:pt x="486" y="48"/>
                  </a:lnTo>
                  <a:lnTo>
                    <a:pt x="480" y="50"/>
                  </a:lnTo>
                  <a:lnTo>
                    <a:pt x="474" y="52"/>
                  </a:lnTo>
                  <a:lnTo>
                    <a:pt x="468" y="54"/>
                  </a:lnTo>
                  <a:lnTo>
                    <a:pt x="462" y="56"/>
                  </a:lnTo>
                  <a:lnTo>
                    <a:pt x="458" y="62"/>
                  </a:lnTo>
                  <a:lnTo>
                    <a:pt x="456" y="68"/>
                  </a:lnTo>
                  <a:lnTo>
                    <a:pt x="452" y="74"/>
                  </a:lnTo>
                  <a:lnTo>
                    <a:pt x="450" y="76"/>
                  </a:lnTo>
                  <a:lnTo>
                    <a:pt x="446" y="82"/>
                  </a:lnTo>
                  <a:lnTo>
                    <a:pt x="440" y="90"/>
                  </a:lnTo>
                  <a:lnTo>
                    <a:pt x="434" y="90"/>
                  </a:lnTo>
                  <a:lnTo>
                    <a:pt x="428" y="92"/>
                  </a:lnTo>
                  <a:lnTo>
                    <a:pt x="426" y="98"/>
                  </a:lnTo>
                  <a:lnTo>
                    <a:pt x="422" y="104"/>
                  </a:lnTo>
                  <a:lnTo>
                    <a:pt x="416" y="110"/>
                  </a:lnTo>
                  <a:lnTo>
                    <a:pt x="414" y="116"/>
                  </a:lnTo>
                  <a:lnTo>
                    <a:pt x="410" y="122"/>
                  </a:lnTo>
                  <a:lnTo>
                    <a:pt x="406" y="128"/>
                  </a:lnTo>
                  <a:lnTo>
                    <a:pt x="404" y="134"/>
                  </a:lnTo>
                  <a:lnTo>
                    <a:pt x="400" y="140"/>
                  </a:lnTo>
                  <a:lnTo>
                    <a:pt x="400" y="146"/>
                  </a:lnTo>
                  <a:lnTo>
                    <a:pt x="398" y="152"/>
                  </a:lnTo>
                  <a:lnTo>
                    <a:pt x="398" y="158"/>
                  </a:lnTo>
                  <a:lnTo>
                    <a:pt x="396" y="164"/>
                  </a:lnTo>
                  <a:lnTo>
                    <a:pt x="394" y="170"/>
                  </a:lnTo>
                  <a:lnTo>
                    <a:pt x="394" y="174"/>
                  </a:lnTo>
                  <a:lnTo>
                    <a:pt x="394" y="180"/>
                  </a:lnTo>
                  <a:lnTo>
                    <a:pt x="392" y="186"/>
                  </a:lnTo>
                  <a:lnTo>
                    <a:pt x="388" y="192"/>
                  </a:lnTo>
                  <a:lnTo>
                    <a:pt x="386" y="198"/>
                  </a:lnTo>
                  <a:lnTo>
                    <a:pt x="380" y="204"/>
                  </a:lnTo>
                  <a:lnTo>
                    <a:pt x="376" y="210"/>
                  </a:lnTo>
                  <a:lnTo>
                    <a:pt x="372" y="216"/>
                  </a:lnTo>
                  <a:lnTo>
                    <a:pt x="370" y="220"/>
                  </a:lnTo>
                  <a:lnTo>
                    <a:pt x="366" y="226"/>
                  </a:lnTo>
                  <a:lnTo>
                    <a:pt x="372" y="226"/>
                  </a:lnTo>
                  <a:lnTo>
                    <a:pt x="378" y="226"/>
                  </a:lnTo>
                  <a:lnTo>
                    <a:pt x="384" y="222"/>
                  </a:lnTo>
                  <a:lnTo>
                    <a:pt x="390" y="218"/>
                  </a:lnTo>
                  <a:lnTo>
                    <a:pt x="392" y="224"/>
                  </a:lnTo>
                  <a:lnTo>
                    <a:pt x="392" y="230"/>
                  </a:lnTo>
                  <a:lnTo>
                    <a:pt x="396" y="230"/>
                  </a:lnTo>
                  <a:lnTo>
                    <a:pt x="404" y="232"/>
                  </a:lnTo>
                  <a:lnTo>
                    <a:pt x="402" y="234"/>
                  </a:lnTo>
                  <a:lnTo>
                    <a:pt x="404" y="240"/>
                  </a:lnTo>
                  <a:lnTo>
                    <a:pt x="404" y="246"/>
                  </a:lnTo>
                  <a:lnTo>
                    <a:pt x="406" y="252"/>
                  </a:lnTo>
                  <a:lnTo>
                    <a:pt x="406" y="258"/>
                  </a:lnTo>
                  <a:lnTo>
                    <a:pt x="408" y="264"/>
                  </a:lnTo>
                  <a:lnTo>
                    <a:pt x="412" y="268"/>
                  </a:lnTo>
                  <a:lnTo>
                    <a:pt x="416" y="274"/>
                  </a:lnTo>
                  <a:lnTo>
                    <a:pt x="422" y="280"/>
                  </a:lnTo>
                  <a:lnTo>
                    <a:pt x="424" y="286"/>
                  </a:lnTo>
                  <a:lnTo>
                    <a:pt x="424" y="292"/>
                  </a:lnTo>
                  <a:lnTo>
                    <a:pt x="426" y="298"/>
                  </a:lnTo>
                  <a:lnTo>
                    <a:pt x="426" y="304"/>
                  </a:lnTo>
                  <a:lnTo>
                    <a:pt x="420" y="310"/>
                  </a:lnTo>
                  <a:lnTo>
                    <a:pt x="418" y="316"/>
                  </a:lnTo>
                  <a:lnTo>
                    <a:pt x="418" y="322"/>
                  </a:lnTo>
                  <a:lnTo>
                    <a:pt x="416" y="326"/>
                  </a:lnTo>
                  <a:lnTo>
                    <a:pt x="416" y="332"/>
                  </a:lnTo>
                  <a:lnTo>
                    <a:pt x="416" y="338"/>
                  </a:lnTo>
                  <a:lnTo>
                    <a:pt x="416" y="344"/>
                  </a:lnTo>
                  <a:lnTo>
                    <a:pt x="420" y="348"/>
                  </a:lnTo>
                  <a:lnTo>
                    <a:pt x="422" y="350"/>
                  </a:lnTo>
                  <a:lnTo>
                    <a:pt x="428" y="350"/>
                  </a:lnTo>
                  <a:lnTo>
                    <a:pt x="434" y="354"/>
                  </a:lnTo>
                  <a:lnTo>
                    <a:pt x="434" y="360"/>
                  </a:lnTo>
                  <a:lnTo>
                    <a:pt x="436" y="368"/>
                  </a:lnTo>
                  <a:lnTo>
                    <a:pt x="438" y="374"/>
                  </a:lnTo>
                  <a:lnTo>
                    <a:pt x="440" y="374"/>
                  </a:lnTo>
                  <a:lnTo>
                    <a:pt x="446" y="376"/>
                  </a:lnTo>
                  <a:lnTo>
                    <a:pt x="448" y="376"/>
                  </a:lnTo>
                  <a:lnTo>
                    <a:pt x="454" y="378"/>
                  </a:lnTo>
                  <a:lnTo>
                    <a:pt x="460" y="374"/>
                  </a:lnTo>
                  <a:lnTo>
                    <a:pt x="466" y="374"/>
                  </a:lnTo>
                  <a:lnTo>
                    <a:pt x="472" y="376"/>
                  </a:lnTo>
                  <a:lnTo>
                    <a:pt x="478" y="374"/>
                  </a:lnTo>
                  <a:lnTo>
                    <a:pt x="484" y="376"/>
                  </a:lnTo>
                  <a:lnTo>
                    <a:pt x="490" y="378"/>
                  </a:lnTo>
                  <a:lnTo>
                    <a:pt x="496" y="378"/>
                  </a:lnTo>
                  <a:lnTo>
                    <a:pt x="502" y="378"/>
                  </a:lnTo>
                  <a:lnTo>
                    <a:pt x="508" y="374"/>
                  </a:lnTo>
                  <a:lnTo>
                    <a:pt x="516" y="372"/>
                  </a:lnTo>
                  <a:lnTo>
                    <a:pt x="520" y="370"/>
                  </a:lnTo>
                  <a:lnTo>
                    <a:pt x="528" y="372"/>
                  </a:lnTo>
                  <a:lnTo>
                    <a:pt x="532" y="376"/>
                  </a:lnTo>
                  <a:lnTo>
                    <a:pt x="538" y="378"/>
                  </a:lnTo>
                  <a:lnTo>
                    <a:pt x="544" y="382"/>
                  </a:lnTo>
                  <a:lnTo>
                    <a:pt x="550" y="380"/>
                  </a:lnTo>
                  <a:lnTo>
                    <a:pt x="556" y="378"/>
                  </a:lnTo>
                  <a:lnTo>
                    <a:pt x="558" y="378"/>
                  </a:lnTo>
                  <a:lnTo>
                    <a:pt x="560" y="382"/>
                  </a:lnTo>
                  <a:lnTo>
                    <a:pt x="564" y="390"/>
                  </a:lnTo>
                  <a:lnTo>
                    <a:pt x="566" y="394"/>
                  </a:lnTo>
                  <a:lnTo>
                    <a:pt x="570" y="400"/>
                  </a:lnTo>
                  <a:lnTo>
                    <a:pt x="574" y="406"/>
                  </a:lnTo>
                  <a:lnTo>
                    <a:pt x="580" y="412"/>
                  </a:lnTo>
                  <a:lnTo>
                    <a:pt x="582" y="418"/>
                  </a:lnTo>
                  <a:lnTo>
                    <a:pt x="588" y="424"/>
                  </a:lnTo>
                  <a:lnTo>
                    <a:pt x="592" y="430"/>
                  </a:lnTo>
                  <a:lnTo>
                    <a:pt x="592" y="432"/>
                  </a:lnTo>
                  <a:lnTo>
                    <a:pt x="596" y="438"/>
                  </a:lnTo>
                  <a:lnTo>
                    <a:pt x="604" y="436"/>
                  </a:lnTo>
                  <a:lnTo>
                    <a:pt x="608" y="440"/>
                  </a:lnTo>
                  <a:lnTo>
                    <a:pt x="616" y="436"/>
                  </a:lnTo>
                  <a:lnTo>
                    <a:pt x="620" y="432"/>
                  </a:lnTo>
                  <a:lnTo>
                    <a:pt x="626" y="432"/>
                  </a:lnTo>
                  <a:lnTo>
                    <a:pt x="632" y="434"/>
                  </a:lnTo>
                  <a:lnTo>
                    <a:pt x="638" y="434"/>
                  </a:lnTo>
                  <a:lnTo>
                    <a:pt x="644" y="436"/>
                  </a:lnTo>
                  <a:lnTo>
                    <a:pt x="650" y="436"/>
                  </a:lnTo>
                  <a:lnTo>
                    <a:pt x="656" y="434"/>
                  </a:lnTo>
                  <a:lnTo>
                    <a:pt x="662" y="434"/>
                  </a:lnTo>
                  <a:lnTo>
                    <a:pt x="668" y="434"/>
                  </a:lnTo>
                  <a:lnTo>
                    <a:pt x="674" y="432"/>
                  </a:lnTo>
                  <a:lnTo>
                    <a:pt x="680" y="432"/>
                  </a:lnTo>
                  <a:lnTo>
                    <a:pt x="686" y="432"/>
                  </a:lnTo>
                  <a:lnTo>
                    <a:pt x="692" y="428"/>
                  </a:lnTo>
                  <a:lnTo>
                    <a:pt x="698" y="426"/>
                  </a:lnTo>
                  <a:lnTo>
                    <a:pt x="704" y="426"/>
                  </a:lnTo>
                  <a:lnTo>
                    <a:pt x="710" y="428"/>
                  </a:lnTo>
                  <a:lnTo>
                    <a:pt x="716" y="432"/>
                  </a:lnTo>
                  <a:lnTo>
                    <a:pt x="718" y="432"/>
                  </a:lnTo>
                  <a:lnTo>
                    <a:pt x="716" y="438"/>
                  </a:lnTo>
                  <a:lnTo>
                    <a:pt x="718" y="444"/>
                  </a:lnTo>
                  <a:lnTo>
                    <a:pt x="716" y="450"/>
                  </a:lnTo>
                  <a:lnTo>
                    <a:pt x="710" y="456"/>
                  </a:lnTo>
                  <a:lnTo>
                    <a:pt x="706" y="462"/>
                  </a:lnTo>
                  <a:lnTo>
                    <a:pt x="704" y="468"/>
                  </a:lnTo>
                  <a:lnTo>
                    <a:pt x="706" y="474"/>
                  </a:lnTo>
                  <a:lnTo>
                    <a:pt x="706" y="480"/>
                  </a:lnTo>
                  <a:lnTo>
                    <a:pt x="700" y="486"/>
                  </a:lnTo>
                  <a:lnTo>
                    <a:pt x="694" y="490"/>
                  </a:lnTo>
                  <a:lnTo>
                    <a:pt x="692" y="492"/>
                  </a:lnTo>
                  <a:lnTo>
                    <a:pt x="692" y="496"/>
                  </a:lnTo>
                  <a:lnTo>
                    <a:pt x="694" y="502"/>
                  </a:lnTo>
                  <a:lnTo>
                    <a:pt x="692" y="506"/>
                  </a:lnTo>
                  <a:lnTo>
                    <a:pt x="694" y="512"/>
                  </a:lnTo>
                  <a:lnTo>
                    <a:pt x="694" y="516"/>
                  </a:lnTo>
                  <a:lnTo>
                    <a:pt x="692" y="520"/>
                  </a:lnTo>
                  <a:lnTo>
                    <a:pt x="692" y="526"/>
                  </a:lnTo>
                  <a:lnTo>
                    <a:pt x="692" y="532"/>
                  </a:lnTo>
                  <a:lnTo>
                    <a:pt x="690" y="538"/>
                  </a:lnTo>
                  <a:lnTo>
                    <a:pt x="690" y="544"/>
                  </a:lnTo>
                  <a:lnTo>
                    <a:pt x="688" y="550"/>
                  </a:lnTo>
                  <a:lnTo>
                    <a:pt x="692" y="556"/>
                  </a:lnTo>
                  <a:lnTo>
                    <a:pt x="692" y="562"/>
                  </a:lnTo>
                  <a:lnTo>
                    <a:pt x="692" y="568"/>
                  </a:lnTo>
                  <a:lnTo>
                    <a:pt x="692" y="574"/>
                  </a:lnTo>
                  <a:lnTo>
                    <a:pt x="696" y="580"/>
                  </a:lnTo>
                  <a:lnTo>
                    <a:pt x="698" y="582"/>
                  </a:lnTo>
                  <a:lnTo>
                    <a:pt x="698" y="586"/>
                  </a:lnTo>
                  <a:lnTo>
                    <a:pt x="698" y="592"/>
                  </a:lnTo>
                  <a:lnTo>
                    <a:pt x="702" y="598"/>
                  </a:lnTo>
                  <a:lnTo>
                    <a:pt x="706" y="604"/>
                  </a:lnTo>
                  <a:lnTo>
                    <a:pt x="710" y="608"/>
                  </a:lnTo>
                  <a:lnTo>
                    <a:pt x="714" y="614"/>
                  </a:lnTo>
                  <a:lnTo>
                    <a:pt x="716" y="620"/>
                  </a:lnTo>
                  <a:lnTo>
                    <a:pt x="722" y="624"/>
                  </a:lnTo>
                  <a:lnTo>
                    <a:pt x="720" y="630"/>
                  </a:lnTo>
                  <a:lnTo>
                    <a:pt x="716" y="636"/>
                  </a:lnTo>
                  <a:lnTo>
                    <a:pt x="712" y="636"/>
                  </a:lnTo>
                  <a:lnTo>
                    <a:pt x="708" y="642"/>
                  </a:lnTo>
                  <a:lnTo>
                    <a:pt x="700" y="648"/>
                  </a:lnTo>
                  <a:lnTo>
                    <a:pt x="694" y="656"/>
                  </a:lnTo>
                  <a:lnTo>
                    <a:pt x="688" y="662"/>
                  </a:lnTo>
                  <a:lnTo>
                    <a:pt x="686" y="668"/>
                  </a:lnTo>
                  <a:lnTo>
                    <a:pt x="690" y="666"/>
                  </a:lnTo>
                  <a:lnTo>
                    <a:pt x="696" y="668"/>
                  </a:lnTo>
                  <a:lnTo>
                    <a:pt x="702" y="670"/>
                  </a:lnTo>
                  <a:lnTo>
                    <a:pt x="706" y="676"/>
                  </a:lnTo>
                  <a:lnTo>
                    <a:pt x="710" y="682"/>
                  </a:lnTo>
                  <a:lnTo>
                    <a:pt x="716" y="686"/>
                  </a:lnTo>
                  <a:lnTo>
                    <a:pt x="720" y="692"/>
                  </a:lnTo>
                  <a:lnTo>
                    <a:pt x="726" y="698"/>
                  </a:lnTo>
                  <a:lnTo>
                    <a:pt x="724" y="704"/>
                  </a:lnTo>
                  <a:lnTo>
                    <a:pt x="726" y="710"/>
                  </a:lnTo>
                  <a:lnTo>
                    <a:pt x="730" y="716"/>
                  </a:lnTo>
                  <a:lnTo>
                    <a:pt x="730" y="722"/>
                  </a:lnTo>
                  <a:lnTo>
                    <a:pt x="728" y="724"/>
                  </a:lnTo>
                  <a:lnTo>
                    <a:pt x="732" y="730"/>
                  </a:lnTo>
                  <a:lnTo>
                    <a:pt x="734" y="736"/>
                  </a:lnTo>
                  <a:lnTo>
                    <a:pt x="736" y="742"/>
                  </a:lnTo>
                  <a:lnTo>
                    <a:pt x="738" y="748"/>
                  </a:lnTo>
                  <a:lnTo>
                    <a:pt x="738" y="754"/>
                  </a:lnTo>
                  <a:lnTo>
                    <a:pt x="740" y="760"/>
                  </a:lnTo>
                  <a:lnTo>
                    <a:pt x="742" y="766"/>
                  </a:lnTo>
                  <a:lnTo>
                    <a:pt x="744" y="772"/>
                  </a:lnTo>
                  <a:lnTo>
                    <a:pt x="744" y="778"/>
                  </a:lnTo>
                  <a:lnTo>
                    <a:pt x="736" y="780"/>
                  </a:lnTo>
                  <a:lnTo>
                    <a:pt x="732" y="778"/>
                  </a:lnTo>
                  <a:lnTo>
                    <a:pt x="732" y="772"/>
                  </a:lnTo>
                  <a:lnTo>
                    <a:pt x="732" y="766"/>
                  </a:lnTo>
                  <a:lnTo>
                    <a:pt x="732" y="760"/>
                  </a:lnTo>
                  <a:lnTo>
                    <a:pt x="732" y="754"/>
                  </a:lnTo>
                  <a:lnTo>
                    <a:pt x="732" y="750"/>
                  </a:lnTo>
                  <a:lnTo>
                    <a:pt x="730" y="744"/>
                  </a:lnTo>
                  <a:lnTo>
                    <a:pt x="728" y="738"/>
                  </a:lnTo>
                  <a:lnTo>
                    <a:pt x="724" y="732"/>
                  </a:lnTo>
                  <a:lnTo>
                    <a:pt x="720" y="726"/>
                  </a:lnTo>
                  <a:lnTo>
                    <a:pt x="718" y="720"/>
                  </a:lnTo>
                  <a:lnTo>
                    <a:pt x="712" y="714"/>
                  </a:lnTo>
                  <a:lnTo>
                    <a:pt x="706" y="716"/>
                  </a:lnTo>
                  <a:lnTo>
                    <a:pt x="700" y="720"/>
                  </a:lnTo>
                  <a:lnTo>
                    <a:pt x="696" y="726"/>
                  </a:lnTo>
                  <a:lnTo>
                    <a:pt x="692" y="734"/>
                  </a:lnTo>
                  <a:lnTo>
                    <a:pt x="686" y="738"/>
                  </a:lnTo>
                  <a:lnTo>
                    <a:pt x="680" y="742"/>
                  </a:lnTo>
                  <a:lnTo>
                    <a:pt x="674" y="738"/>
                  </a:lnTo>
                  <a:lnTo>
                    <a:pt x="672" y="734"/>
                  </a:lnTo>
                  <a:lnTo>
                    <a:pt x="670" y="726"/>
                  </a:lnTo>
                  <a:lnTo>
                    <a:pt x="664" y="724"/>
                  </a:lnTo>
                  <a:lnTo>
                    <a:pt x="662" y="730"/>
                  </a:lnTo>
                  <a:lnTo>
                    <a:pt x="662" y="736"/>
                  </a:lnTo>
                  <a:lnTo>
                    <a:pt x="660" y="742"/>
                  </a:lnTo>
                  <a:lnTo>
                    <a:pt x="654" y="742"/>
                  </a:lnTo>
                  <a:lnTo>
                    <a:pt x="648" y="742"/>
                  </a:lnTo>
                  <a:lnTo>
                    <a:pt x="642" y="742"/>
                  </a:lnTo>
                  <a:lnTo>
                    <a:pt x="636" y="742"/>
                  </a:lnTo>
                  <a:lnTo>
                    <a:pt x="630" y="742"/>
                  </a:lnTo>
                  <a:lnTo>
                    <a:pt x="622" y="742"/>
                  </a:lnTo>
                  <a:lnTo>
                    <a:pt x="616" y="742"/>
                  </a:lnTo>
                  <a:lnTo>
                    <a:pt x="610" y="742"/>
                  </a:lnTo>
                  <a:lnTo>
                    <a:pt x="604" y="742"/>
                  </a:lnTo>
                  <a:lnTo>
                    <a:pt x="598" y="742"/>
                  </a:lnTo>
                  <a:lnTo>
                    <a:pt x="592" y="742"/>
                  </a:lnTo>
                  <a:lnTo>
                    <a:pt x="586" y="740"/>
                  </a:lnTo>
                  <a:lnTo>
                    <a:pt x="580" y="738"/>
                  </a:lnTo>
                  <a:lnTo>
                    <a:pt x="574" y="742"/>
                  </a:lnTo>
                  <a:lnTo>
                    <a:pt x="568" y="742"/>
                  </a:lnTo>
                  <a:lnTo>
                    <a:pt x="562" y="744"/>
                  </a:lnTo>
                  <a:lnTo>
                    <a:pt x="562" y="746"/>
                  </a:lnTo>
                  <a:lnTo>
                    <a:pt x="562" y="752"/>
                  </a:lnTo>
                  <a:lnTo>
                    <a:pt x="562" y="758"/>
                  </a:lnTo>
                  <a:lnTo>
                    <a:pt x="562" y="764"/>
                  </a:lnTo>
                  <a:lnTo>
                    <a:pt x="562" y="770"/>
                  </a:lnTo>
                  <a:lnTo>
                    <a:pt x="562" y="776"/>
                  </a:lnTo>
                  <a:lnTo>
                    <a:pt x="562" y="782"/>
                  </a:lnTo>
                  <a:lnTo>
                    <a:pt x="562" y="788"/>
                  </a:lnTo>
                  <a:lnTo>
                    <a:pt x="568" y="786"/>
                  </a:lnTo>
                  <a:lnTo>
                    <a:pt x="574" y="788"/>
                  </a:lnTo>
                  <a:lnTo>
                    <a:pt x="580" y="788"/>
                  </a:lnTo>
                  <a:lnTo>
                    <a:pt x="586" y="788"/>
                  </a:lnTo>
                  <a:lnTo>
                    <a:pt x="592" y="788"/>
                  </a:lnTo>
                  <a:lnTo>
                    <a:pt x="598" y="790"/>
                  </a:lnTo>
                  <a:lnTo>
                    <a:pt x="602" y="796"/>
                  </a:lnTo>
                  <a:lnTo>
                    <a:pt x="606" y="802"/>
                  </a:lnTo>
                  <a:lnTo>
                    <a:pt x="604" y="808"/>
                  </a:lnTo>
                  <a:lnTo>
                    <a:pt x="604" y="814"/>
                  </a:lnTo>
                  <a:lnTo>
                    <a:pt x="600" y="818"/>
                  </a:lnTo>
                  <a:lnTo>
                    <a:pt x="594" y="816"/>
                  </a:lnTo>
                  <a:lnTo>
                    <a:pt x="588" y="812"/>
                  </a:lnTo>
                  <a:lnTo>
                    <a:pt x="582" y="812"/>
                  </a:lnTo>
                  <a:lnTo>
                    <a:pt x="576" y="818"/>
                  </a:lnTo>
                  <a:lnTo>
                    <a:pt x="570" y="816"/>
                  </a:lnTo>
                  <a:lnTo>
                    <a:pt x="564" y="820"/>
                  </a:lnTo>
                  <a:lnTo>
                    <a:pt x="558" y="820"/>
                  </a:lnTo>
                  <a:lnTo>
                    <a:pt x="552" y="820"/>
                  </a:lnTo>
                  <a:lnTo>
                    <a:pt x="550" y="826"/>
                  </a:lnTo>
                  <a:lnTo>
                    <a:pt x="550" y="830"/>
                  </a:lnTo>
                  <a:lnTo>
                    <a:pt x="550" y="838"/>
                  </a:lnTo>
                  <a:lnTo>
                    <a:pt x="550" y="844"/>
                  </a:lnTo>
                  <a:lnTo>
                    <a:pt x="550" y="850"/>
                  </a:lnTo>
                  <a:lnTo>
                    <a:pt x="550" y="856"/>
                  </a:lnTo>
                  <a:lnTo>
                    <a:pt x="548" y="862"/>
                  </a:lnTo>
                  <a:lnTo>
                    <a:pt x="548" y="866"/>
                  </a:lnTo>
                  <a:lnTo>
                    <a:pt x="548" y="872"/>
                  </a:lnTo>
                  <a:lnTo>
                    <a:pt x="552" y="878"/>
                  </a:lnTo>
                  <a:lnTo>
                    <a:pt x="558" y="884"/>
                  </a:lnTo>
                  <a:lnTo>
                    <a:pt x="564" y="888"/>
                  </a:lnTo>
                  <a:lnTo>
                    <a:pt x="570" y="894"/>
                  </a:lnTo>
                  <a:lnTo>
                    <a:pt x="576" y="898"/>
                  </a:lnTo>
                  <a:lnTo>
                    <a:pt x="578" y="902"/>
                  </a:lnTo>
                  <a:lnTo>
                    <a:pt x="578" y="908"/>
                  </a:lnTo>
                  <a:lnTo>
                    <a:pt x="576" y="914"/>
                  </a:lnTo>
                  <a:lnTo>
                    <a:pt x="580" y="920"/>
                  </a:lnTo>
                  <a:lnTo>
                    <a:pt x="582" y="926"/>
                  </a:lnTo>
                  <a:lnTo>
                    <a:pt x="588" y="932"/>
                  </a:lnTo>
                  <a:lnTo>
                    <a:pt x="588" y="936"/>
                  </a:lnTo>
                  <a:lnTo>
                    <a:pt x="590" y="942"/>
                  </a:lnTo>
                  <a:lnTo>
                    <a:pt x="590" y="948"/>
                  </a:lnTo>
                  <a:lnTo>
                    <a:pt x="592" y="954"/>
                  </a:lnTo>
                  <a:lnTo>
                    <a:pt x="588" y="960"/>
                  </a:lnTo>
                  <a:lnTo>
                    <a:pt x="588" y="962"/>
                  </a:lnTo>
                  <a:lnTo>
                    <a:pt x="586" y="968"/>
                  </a:lnTo>
                  <a:lnTo>
                    <a:pt x="586" y="974"/>
                  </a:lnTo>
                  <a:lnTo>
                    <a:pt x="584" y="980"/>
                  </a:lnTo>
                  <a:lnTo>
                    <a:pt x="584" y="988"/>
                  </a:lnTo>
                  <a:lnTo>
                    <a:pt x="582" y="994"/>
                  </a:lnTo>
                  <a:lnTo>
                    <a:pt x="582" y="1000"/>
                  </a:lnTo>
                  <a:lnTo>
                    <a:pt x="582" y="1006"/>
                  </a:lnTo>
                  <a:lnTo>
                    <a:pt x="580" y="1012"/>
                  </a:lnTo>
                  <a:lnTo>
                    <a:pt x="580" y="1018"/>
                  </a:lnTo>
                  <a:lnTo>
                    <a:pt x="578" y="1024"/>
                  </a:lnTo>
                  <a:lnTo>
                    <a:pt x="578" y="1030"/>
                  </a:lnTo>
                  <a:lnTo>
                    <a:pt x="576" y="1036"/>
                  </a:lnTo>
                  <a:lnTo>
                    <a:pt x="576" y="1042"/>
                  </a:lnTo>
                  <a:lnTo>
                    <a:pt x="574" y="1048"/>
                  </a:lnTo>
                  <a:lnTo>
                    <a:pt x="574" y="1056"/>
                  </a:lnTo>
                  <a:lnTo>
                    <a:pt x="574" y="1060"/>
                  </a:lnTo>
                  <a:lnTo>
                    <a:pt x="574" y="1062"/>
                  </a:lnTo>
                  <a:lnTo>
                    <a:pt x="572" y="1068"/>
                  </a:lnTo>
                  <a:lnTo>
                    <a:pt x="572" y="1074"/>
                  </a:lnTo>
                  <a:lnTo>
                    <a:pt x="570" y="1080"/>
                  </a:lnTo>
                  <a:lnTo>
                    <a:pt x="570" y="1086"/>
                  </a:lnTo>
                  <a:lnTo>
                    <a:pt x="570" y="1092"/>
                  </a:lnTo>
                  <a:lnTo>
                    <a:pt x="568" y="1098"/>
                  </a:lnTo>
                  <a:lnTo>
                    <a:pt x="568" y="1104"/>
                  </a:lnTo>
                  <a:lnTo>
                    <a:pt x="566" y="1110"/>
                  </a:lnTo>
                  <a:lnTo>
                    <a:pt x="566" y="1118"/>
                  </a:lnTo>
                  <a:lnTo>
                    <a:pt x="566" y="1124"/>
                  </a:lnTo>
                  <a:lnTo>
                    <a:pt x="564" y="1130"/>
                  </a:lnTo>
                  <a:lnTo>
                    <a:pt x="564" y="1136"/>
                  </a:lnTo>
                  <a:lnTo>
                    <a:pt x="562" y="1142"/>
                  </a:lnTo>
                  <a:lnTo>
                    <a:pt x="562" y="1148"/>
                  </a:lnTo>
                  <a:lnTo>
                    <a:pt x="560" y="1154"/>
                  </a:lnTo>
                  <a:lnTo>
                    <a:pt x="560" y="1156"/>
                  </a:lnTo>
                  <a:lnTo>
                    <a:pt x="558" y="1150"/>
                  </a:lnTo>
                  <a:lnTo>
                    <a:pt x="554" y="1146"/>
                  </a:lnTo>
                  <a:lnTo>
                    <a:pt x="548" y="1140"/>
                  </a:lnTo>
                  <a:lnTo>
                    <a:pt x="546" y="1134"/>
                  </a:lnTo>
                  <a:lnTo>
                    <a:pt x="540" y="1128"/>
                  </a:lnTo>
                  <a:lnTo>
                    <a:pt x="536" y="1124"/>
                  </a:lnTo>
                  <a:lnTo>
                    <a:pt x="528" y="1128"/>
                  </a:lnTo>
                  <a:lnTo>
                    <a:pt x="524" y="1128"/>
                  </a:lnTo>
                  <a:lnTo>
                    <a:pt x="520" y="1126"/>
                  </a:lnTo>
                  <a:lnTo>
                    <a:pt x="516" y="1124"/>
                  </a:lnTo>
                  <a:lnTo>
                    <a:pt x="514" y="1118"/>
                  </a:lnTo>
                  <a:lnTo>
                    <a:pt x="518" y="1114"/>
                  </a:lnTo>
                  <a:lnTo>
                    <a:pt x="522" y="1106"/>
                  </a:lnTo>
                  <a:lnTo>
                    <a:pt x="524" y="1100"/>
                  </a:lnTo>
                  <a:lnTo>
                    <a:pt x="528" y="1094"/>
                  </a:lnTo>
                  <a:lnTo>
                    <a:pt x="532" y="1088"/>
                  </a:lnTo>
                  <a:lnTo>
                    <a:pt x="536" y="1082"/>
                  </a:lnTo>
                  <a:lnTo>
                    <a:pt x="538" y="1076"/>
                  </a:lnTo>
                  <a:lnTo>
                    <a:pt x="542" y="1068"/>
                  </a:lnTo>
                  <a:lnTo>
                    <a:pt x="544" y="1064"/>
                  </a:lnTo>
                  <a:lnTo>
                    <a:pt x="548" y="1056"/>
                  </a:lnTo>
                  <a:lnTo>
                    <a:pt x="552" y="1052"/>
                  </a:lnTo>
                  <a:lnTo>
                    <a:pt x="552" y="1050"/>
                  </a:lnTo>
                  <a:lnTo>
                    <a:pt x="546" y="1046"/>
                  </a:lnTo>
                  <a:lnTo>
                    <a:pt x="542" y="1040"/>
                  </a:lnTo>
                  <a:lnTo>
                    <a:pt x="536" y="1034"/>
                  </a:lnTo>
                  <a:lnTo>
                    <a:pt x="530" y="1036"/>
                  </a:lnTo>
                  <a:lnTo>
                    <a:pt x="524" y="1032"/>
                  </a:lnTo>
                  <a:lnTo>
                    <a:pt x="518" y="1032"/>
                  </a:lnTo>
                  <a:lnTo>
                    <a:pt x="514" y="1024"/>
                  </a:lnTo>
                  <a:lnTo>
                    <a:pt x="508" y="1020"/>
                  </a:lnTo>
                  <a:lnTo>
                    <a:pt x="502" y="1016"/>
                  </a:lnTo>
                  <a:lnTo>
                    <a:pt x="496" y="1016"/>
                  </a:lnTo>
                  <a:lnTo>
                    <a:pt x="490" y="1022"/>
                  </a:lnTo>
                  <a:lnTo>
                    <a:pt x="482" y="1026"/>
                  </a:lnTo>
                  <a:lnTo>
                    <a:pt x="476" y="1026"/>
                  </a:lnTo>
                  <a:lnTo>
                    <a:pt x="470" y="1024"/>
                  </a:lnTo>
                  <a:lnTo>
                    <a:pt x="464" y="1024"/>
                  </a:lnTo>
                  <a:lnTo>
                    <a:pt x="460" y="1016"/>
                  </a:lnTo>
                  <a:lnTo>
                    <a:pt x="454" y="1014"/>
                  </a:lnTo>
                  <a:lnTo>
                    <a:pt x="448" y="1012"/>
                  </a:lnTo>
                  <a:lnTo>
                    <a:pt x="446" y="1016"/>
                  </a:lnTo>
                  <a:lnTo>
                    <a:pt x="442" y="1022"/>
                  </a:lnTo>
                  <a:lnTo>
                    <a:pt x="436" y="1026"/>
                  </a:lnTo>
                  <a:lnTo>
                    <a:pt x="434" y="1026"/>
                  </a:lnTo>
                  <a:lnTo>
                    <a:pt x="426" y="1030"/>
                  </a:lnTo>
                  <a:lnTo>
                    <a:pt x="422" y="1032"/>
                  </a:lnTo>
                  <a:lnTo>
                    <a:pt x="416" y="1034"/>
                  </a:lnTo>
                  <a:lnTo>
                    <a:pt x="410" y="1030"/>
                  </a:lnTo>
                  <a:lnTo>
                    <a:pt x="408" y="1030"/>
                  </a:lnTo>
                  <a:lnTo>
                    <a:pt x="400" y="1030"/>
                  </a:lnTo>
                  <a:lnTo>
                    <a:pt x="396" y="1030"/>
                  </a:lnTo>
                  <a:lnTo>
                    <a:pt x="388" y="1032"/>
                  </a:lnTo>
                  <a:lnTo>
                    <a:pt x="384" y="1034"/>
                  </a:lnTo>
                  <a:lnTo>
                    <a:pt x="378" y="1032"/>
                  </a:lnTo>
                  <a:lnTo>
                    <a:pt x="372" y="1026"/>
                  </a:lnTo>
                  <a:lnTo>
                    <a:pt x="366" y="1026"/>
                  </a:lnTo>
                  <a:lnTo>
                    <a:pt x="362" y="1018"/>
                  </a:lnTo>
                  <a:lnTo>
                    <a:pt x="366" y="1012"/>
                  </a:lnTo>
                  <a:lnTo>
                    <a:pt x="366" y="1006"/>
                  </a:lnTo>
                  <a:lnTo>
                    <a:pt x="364" y="1000"/>
                  </a:lnTo>
                  <a:lnTo>
                    <a:pt x="362" y="994"/>
                  </a:lnTo>
                  <a:lnTo>
                    <a:pt x="356" y="990"/>
                  </a:lnTo>
                  <a:lnTo>
                    <a:pt x="350" y="990"/>
                  </a:lnTo>
                  <a:lnTo>
                    <a:pt x="344" y="986"/>
                  </a:lnTo>
                  <a:lnTo>
                    <a:pt x="340" y="980"/>
                  </a:lnTo>
                  <a:lnTo>
                    <a:pt x="340" y="974"/>
                  </a:lnTo>
                  <a:lnTo>
                    <a:pt x="340" y="970"/>
                  </a:lnTo>
                  <a:lnTo>
                    <a:pt x="336" y="962"/>
                  </a:lnTo>
                  <a:lnTo>
                    <a:pt x="336" y="956"/>
                  </a:lnTo>
                  <a:lnTo>
                    <a:pt x="330" y="950"/>
                  </a:lnTo>
                  <a:lnTo>
                    <a:pt x="324" y="950"/>
                  </a:lnTo>
                  <a:lnTo>
                    <a:pt x="318" y="948"/>
                  </a:lnTo>
                  <a:lnTo>
                    <a:pt x="314" y="942"/>
                  </a:lnTo>
                  <a:lnTo>
                    <a:pt x="308" y="940"/>
                  </a:lnTo>
                  <a:lnTo>
                    <a:pt x="308" y="934"/>
                  </a:lnTo>
                  <a:lnTo>
                    <a:pt x="300" y="934"/>
                  </a:lnTo>
                  <a:lnTo>
                    <a:pt x="294" y="932"/>
                  </a:lnTo>
                  <a:lnTo>
                    <a:pt x="290" y="926"/>
                  </a:lnTo>
                  <a:lnTo>
                    <a:pt x="290" y="920"/>
                  </a:lnTo>
                  <a:lnTo>
                    <a:pt x="286" y="914"/>
                  </a:lnTo>
                  <a:lnTo>
                    <a:pt x="286" y="908"/>
                  </a:lnTo>
                  <a:lnTo>
                    <a:pt x="286" y="902"/>
                  </a:lnTo>
                  <a:lnTo>
                    <a:pt x="284" y="898"/>
                  </a:lnTo>
                  <a:lnTo>
                    <a:pt x="278" y="896"/>
                  </a:lnTo>
                  <a:lnTo>
                    <a:pt x="274" y="890"/>
                  </a:lnTo>
                  <a:lnTo>
                    <a:pt x="268" y="888"/>
                  </a:lnTo>
                  <a:lnTo>
                    <a:pt x="264" y="882"/>
                  </a:lnTo>
                  <a:lnTo>
                    <a:pt x="260" y="876"/>
                  </a:lnTo>
                  <a:lnTo>
                    <a:pt x="252" y="876"/>
                  </a:lnTo>
                  <a:lnTo>
                    <a:pt x="246" y="870"/>
                  </a:lnTo>
                  <a:lnTo>
                    <a:pt x="240" y="868"/>
                  </a:lnTo>
                  <a:lnTo>
                    <a:pt x="234" y="864"/>
                  </a:lnTo>
                  <a:lnTo>
                    <a:pt x="230" y="870"/>
                  </a:lnTo>
                  <a:lnTo>
                    <a:pt x="226" y="868"/>
                  </a:lnTo>
                  <a:lnTo>
                    <a:pt x="220" y="866"/>
                  </a:lnTo>
                  <a:lnTo>
                    <a:pt x="214" y="862"/>
                  </a:lnTo>
                  <a:lnTo>
                    <a:pt x="214" y="860"/>
                  </a:lnTo>
                  <a:lnTo>
                    <a:pt x="208" y="860"/>
                  </a:lnTo>
                  <a:lnTo>
                    <a:pt x="202" y="860"/>
                  </a:lnTo>
                  <a:lnTo>
                    <a:pt x="196" y="854"/>
                  </a:lnTo>
                  <a:lnTo>
                    <a:pt x="194" y="852"/>
                  </a:lnTo>
                  <a:lnTo>
                    <a:pt x="188" y="846"/>
                  </a:lnTo>
                  <a:lnTo>
                    <a:pt x="184" y="840"/>
                  </a:lnTo>
                  <a:lnTo>
                    <a:pt x="178" y="836"/>
                  </a:lnTo>
                  <a:lnTo>
                    <a:pt x="172" y="836"/>
                  </a:lnTo>
                  <a:lnTo>
                    <a:pt x="168" y="834"/>
                  </a:lnTo>
                  <a:lnTo>
                    <a:pt x="160" y="834"/>
                  </a:lnTo>
                  <a:lnTo>
                    <a:pt x="160" y="838"/>
                  </a:lnTo>
                  <a:lnTo>
                    <a:pt x="162" y="844"/>
                  </a:lnTo>
                  <a:lnTo>
                    <a:pt x="160" y="844"/>
                  </a:lnTo>
                  <a:lnTo>
                    <a:pt x="154" y="846"/>
                  </a:lnTo>
                  <a:lnTo>
                    <a:pt x="148" y="844"/>
                  </a:lnTo>
                  <a:lnTo>
                    <a:pt x="142" y="846"/>
                  </a:lnTo>
                  <a:lnTo>
                    <a:pt x="136" y="844"/>
                  </a:lnTo>
                  <a:lnTo>
                    <a:pt x="130" y="842"/>
                  </a:lnTo>
                  <a:lnTo>
                    <a:pt x="126" y="842"/>
                  </a:lnTo>
                  <a:lnTo>
                    <a:pt x="120" y="836"/>
                  </a:lnTo>
                  <a:lnTo>
                    <a:pt x="116" y="838"/>
                  </a:lnTo>
                  <a:lnTo>
                    <a:pt x="110" y="838"/>
                  </a:lnTo>
                  <a:lnTo>
                    <a:pt x="106" y="836"/>
                  </a:lnTo>
                  <a:lnTo>
                    <a:pt x="100" y="834"/>
                  </a:lnTo>
                  <a:lnTo>
                    <a:pt x="98" y="828"/>
                  </a:lnTo>
                  <a:lnTo>
                    <a:pt x="98" y="822"/>
                  </a:lnTo>
                  <a:lnTo>
                    <a:pt x="96" y="816"/>
                  </a:lnTo>
                  <a:lnTo>
                    <a:pt x="90" y="814"/>
                  </a:lnTo>
                  <a:lnTo>
                    <a:pt x="86" y="812"/>
                  </a:lnTo>
                  <a:lnTo>
                    <a:pt x="84" y="806"/>
                  </a:lnTo>
                  <a:lnTo>
                    <a:pt x="80" y="804"/>
                  </a:lnTo>
                  <a:lnTo>
                    <a:pt x="74" y="806"/>
                  </a:lnTo>
                  <a:lnTo>
                    <a:pt x="68" y="802"/>
                  </a:lnTo>
                  <a:lnTo>
                    <a:pt x="64" y="800"/>
                  </a:lnTo>
                  <a:lnTo>
                    <a:pt x="58" y="798"/>
                  </a:lnTo>
                  <a:lnTo>
                    <a:pt x="52" y="794"/>
                  </a:lnTo>
                  <a:lnTo>
                    <a:pt x="46" y="790"/>
                  </a:lnTo>
                  <a:lnTo>
                    <a:pt x="40" y="784"/>
                  </a:lnTo>
                  <a:lnTo>
                    <a:pt x="36" y="780"/>
                  </a:lnTo>
                  <a:lnTo>
                    <a:pt x="30" y="778"/>
                  </a:lnTo>
                  <a:lnTo>
                    <a:pt x="28" y="774"/>
                  </a:lnTo>
                  <a:lnTo>
                    <a:pt x="26" y="774"/>
                  </a:lnTo>
                  <a:lnTo>
                    <a:pt x="24" y="774"/>
                  </a:lnTo>
                  <a:lnTo>
                    <a:pt x="20" y="768"/>
                  </a:lnTo>
                  <a:lnTo>
                    <a:pt x="14" y="762"/>
                  </a:lnTo>
                  <a:lnTo>
                    <a:pt x="12" y="758"/>
                  </a:lnTo>
                  <a:lnTo>
                    <a:pt x="6" y="7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1" name="Freeform 269"/>
            <p:cNvSpPr>
              <a:spLocks/>
            </p:cNvSpPr>
            <p:nvPr/>
          </p:nvSpPr>
          <p:spPr bwMode="auto">
            <a:xfrm>
              <a:off x="2563813" y="4867275"/>
              <a:ext cx="381000" cy="862013"/>
            </a:xfrm>
            <a:custGeom>
              <a:avLst/>
              <a:gdLst>
                <a:gd name="T0" fmla="*/ 2147483647 w 936"/>
                <a:gd name="T1" fmla="*/ 2147483647 h 2098"/>
                <a:gd name="T2" fmla="*/ 2147483647 w 936"/>
                <a:gd name="T3" fmla="*/ 2147483647 h 2098"/>
                <a:gd name="T4" fmla="*/ 2147483647 w 936"/>
                <a:gd name="T5" fmla="*/ 2147483647 h 2098"/>
                <a:gd name="T6" fmla="*/ 2147483647 w 936"/>
                <a:gd name="T7" fmla="*/ 2147483647 h 2098"/>
                <a:gd name="T8" fmla="*/ 2147483647 w 936"/>
                <a:gd name="T9" fmla="*/ 2147483647 h 2098"/>
                <a:gd name="T10" fmla="*/ 2147483647 w 936"/>
                <a:gd name="T11" fmla="*/ 2147483647 h 2098"/>
                <a:gd name="T12" fmla="*/ 2147483647 w 936"/>
                <a:gd name="T13" fmla="*/ 2147483647 h 2098"/>
                <a:gd name="T14" fmla="*/ 2147483647 w 936"/>
                <a:gd name="T15" fmla="*/ 2147483647 h 2098"/>
                <a:gd name="T16" fmla="*/ 2147483647 w 936"/>
                <a:gd name="T17" fmla="*/ 2147483647 h 2098"/>
                <a:gd name="T18" fmla="*/ 2147483647 w 936"/>
                <a:gd name="T19" fmla="*/ 2147483647 h 2098"/>
                <a:gd name="T20" fmla="*/ 2147483647 w 936"/>
                <a:gd name="T21" fmla="*/ 2147483647 h 2098"/>
                <a:gd name="T22" fmla="*/ 2147483647 w 936"/>
                <a:gd name="T23" fmla="*/ 2147483647 h 2098"/>
                <a:gd name="T24" fmla="*/ 2147483647 w 936"/>
                <a:gd name="T25" fmla="*/ 2147483647 h 2098"/>
                <a:gd name="T26" fmla="*/ 2147483647 w 936"/>
                <a:gd name="T27" fmla="*/ 2147483647 h 2098"/>
                <a:gd name="T28" fmla="*/ 2147483647 w 936"/>
                <a:gd name="T29" fmla="*/ 2147483647 h 2098"/>
                <a:gd name="T30" fmla="*/ 2147483647 w 936"/>
                <a:gd name="T31" fmla="*/ 2147483647 h 2098"/>
                <a:gd name="T32" fmla="*/ 2147483647 w 936"/>
                <a:gd name="T33" fmla="*/ 2147483647 h 2098"/>
                <a:gd name="T34" fmla="*/ 2147483647 w 936"/>
                <a:gd name="T35" fmla="*/ 2147483647 h 2098"/>
                <a:gd name="T36" fmla="*/ 2147483647 w 936"/>
                <a:gd name="T37" fmla="*/ 2147483647 h 2098"/>
                <a:gd name="T38" fmla="*/ 2147483647 w 936"/>
                <a:gd name="T39" fmla="*/ 2147483647 h 2098"/>
                <a:gd name="T40" fmla="*/ 2147483647 w 936"/>
                <a:gd name="T41" fmla="*/ 2147483647 h 2098"/>
                <a:gd name="T42" fmla="*/ 2147483647 w 936"/>
                <a:gd name="T43" fmla="*/ 2147483647 h 2098"/>
                <a:gd name="T44" fmla="*/ 2147483647 w 936"/>
                <a:gd name="T45" fmla="*/ 2147483647 h 2098"/>
                <a:gd name="T46" fmla="*/ 2147483647 w 936"/>
                <a:gd name="T47" fmla="*/ 2147483647 h 2098"/>
                <a:gd name="T48" fmla="*/ 2147483647 w 936"/>
                <a:gd name="T49" fmla="*/ 2147483647 h 2098"/>
                <a:gd name="T50" fmla="*/ 2147483647 w 936"/>
                <a:gd name="T51" fmla="*/ 2147483647 h 2098"/>
                <a:gd name="T52" fmla="*/ 2147483647 w 936"/>
                <a:gd name="T53" fmla="*/ 2147483647 h 2098"/>
                <a:gd name="T54" fmla="*/ 2147483647 w 936"/>
                <a:gd name="T55" fmla="*/ 2147483647 h 2098"/>
                <a:gd name="T56" fmla="*/ 2147483647 w 936"/>
                <a:gd name="T57" fmla="*/ 2147483647 h 2098"/>
                <a:gd name="T58" fmla="*/ 2147483647 w 936"/>
                <a:gd name="T59" fmla="*/ 2147483647 h 2098"/>
                <a:gd name="T60" fmla="*/ 2147483647 w 936"/>
                <a:gd name="T61" fmla="*/ 2147483647 h 2098"/>
                <a:gd name="T62" fmla="*/ 2147483647 w 936"/>
                <a:gd name="T63" fmla="*/ 2147483647 h 2098"/>
                <a:gd name="T64" fmla="*/ 2147483647 w 936"/>
                <a:gd name="T65" fmla="*/ 2147483647 h 2098"/>
                <a:gd name="T66" fmla="*/ 2147483647 w 936"/>
                <a:gd name="T67" fmla="*/ 2147483647 h 2098"/>
                <a:gd name="T68" fmla="*/ 2147483647 w 936"/>
                <a:gd name="T69" fmla="*/ 2147483647 h 2098"/>
                <a:gd name="T70" fmla="*/ 2147483647 w 936"/>
                <a:gd name="T71" fmla="*/ 2147483647 h 2098"/>
                <a:gd name="T72" fmla="*/ 2147483647 w 936"/>
                <a:gd name="T73" fmla="*/ 2147483647 h 2098"/>
                <a:gd name="T74" fmla="*/ 2147483647 w 936"/>
                <a:gd name="T75" fmla="*/ 2147483647 h 2098"/>
                <a:gd name="T76" fmla="*/ 2147483647 w 936"/>
                <a:gd name="T77" fmla="*/ 2147483647 h 2098"/>
                <a:gd name="T78" fmla="*/ 2147483647 w 936"/>
                <a:gd name="T79" fmla="*/ 2147483647 h 2098"/>
                <a:gd name="T80" fmla="*/ 2147483647 w 936"/>
                <a:gd name="T81" fmla="*/ 2147483647 h 2098"/>
                <a:gd name="T82" fmla="*/ 2147483647 w 936"/>
                <a:gd name="T83" fmla="*/ 2147483647 h 2098"/>
                <a:gd name="T84" fmla="*/ 2147483647 w 936"/>
                <a:gd name="T85" fmla="*/ 2147483647 h 2098"/>
                <a:gd name="T86" fmla="*/ 2147483647 w 936"/>
                <a:gd name="T87" fmla="*/ 2147483647 h 2098"/>
                <a:gd name="T88" fmla="*/ 2147483647 w 936"/>
                <a:gd name="T89" fmla="*/ 2147483647 h 2098"/>
                <a:gd name="T90" fmla="*/ 2147483647 w 936"/>
                <a:gd name="T91" fmla="*/ 2147483647 h 2098"/>
                <a:gd name="T92" fmla="*/ 2147483647 w 936"/>
                <a:gd name="T93" fmla="*/ 2147483647 h 2098"/>
                <a:gd name="T94" fmla="*/ 2147483647 w 936"/>
                <a:gd name="T95" fmla="*/ 2147483647 h 2098"/>
                <a:gd name="T96" fmla="*/ 2147483647 w 936"/>
                <a:gd name="T97" fmla="*/ 2147483647 h 2098"/>
                <a:gd name="T98" fmla="*/ 2147483647 w 936"/>
                <a:gd name="T99" fmla="*/ 2147483647 h 2098"/>
                <a:gd name="T100" fmla="*/ 2147483647 w 936"/>
                <a:gd name="T101" fmla="*/ 2147483647 h 2098"/>
                <a:gd name="T102" fmla="*/ 2147483647 w 936"/>
                <a:gd name="T103" fmla="*/ 2147483647 h 2098"/>
                <a:gd name="T104" fmla="*/ 2147483647 w 936"/>
                <a:gd name="T105" fmla="*/ 2147483647 h 2098"/>
                <a:gd name="T106" fmla="*/ 2147483647 w 936"/>
                <a:gd name="T107" fmla="*/ 2147483647 h 2098"/>
                <a:gd name="T108" fmla="*/ 2147483647 w 936"/>
                <a:gd name="T109" fmla="*/ 2147483647 h 2098"/>
                <a:gd name="T110" fmla="*/ 2147483647 w 936"/>
                <a:gd name="T111" fmla="*/ 2147483647 h 2098"/>
                <a:gd name="T112" fmla="*/ 2147483647 w 936"/>
                <a:gd name="T113" fmla="*/ 2147483647 h 2098"/>
                <a:gd name="T114" fmla="*/ 2147483647 w 936"/>
                <a:gd name="T115" fmla="*/ 2147483647 h 2098"/>
                <a:gd name="T116" fmla="*/ 2147483647 w 936"/>
                <a:gd name="T117" fmla="*/ 2147483647 h 2098"/>
                <a:gd name="T118" fmla="*/ 2147483647 w 936"/>
                <a:gd name="T119" fmla="*/ 2147483647 h 209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36"/>
                <a:gd name="T181" fmla="*/ 0 h 2098"/>
                <a:gd name="T182" fmla="*/ 936 w 936"/>
                <a:gd name="T183" fmla="*/ 2098 h 209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36" h="2098">
                  <a:moveTo>
                    <a:pt x="2" y="518"/>
                  </a:moveTo>
                  <a:lnTo>
                    <a:pt x="4" y="512"/>
                  </a:lnTo>
                  <a:lnTo>
                    <a:pt x="10" y="508"/>
                  </a:lnTo>
                  <a:lnTo>
                    <a:pt x="12" y="502"/>
                  </a:lnTo>
                  <a:lnTo>
                    <a:pt x="10" y="496"/>
                  </a:lnTo>
                  <a:lnTo>
                    <a:pt x="10" y="490"/>
                  </a:lnTo>
                  <a:lnTo>
                    <a:pt x="12" y="484"/>
                  </a:lnTo>
                  <a:lnTo>
                    <a:pt x="8" y="478"/>
                  </a:lnTo>
                  <a:lnTo>
                    <a:pt x="10" y="472"/>
                  </a:lnTo>
                  <a:lnTo>
                    <a:pt x="12" y="466"/>
                  </a:lnTo>
                  <a:lnTo>
                    <a:pt x="10" y="460"/>
                  </a:lnTo>
                  <a:lnTo>
                    <a:pt x="10" y="458"/>
                  </a:lnTo>
                  <a:lnTo>
                    <a:pt x="16" y="452"/>
                  </a:lnTo>
                  <a:lnTo>
                    <a:pt x="18" y="446"/>
                  </a:lnTo>
                  <a:lnTo>
                    <a:pt x="24" y="440"/>
                  </a:lnTo>
                  <a:lnTo>
                    <a:pt x="24" y="434"/>
                  </a:lnTo>
                  <a:lnTo>
                    <a:pt x="28" y="428"/>
                  </a:lnTo>
                  <a:lnTo>
                    <a:pt x="34" y="422"/>
                  </a:lnTo>
                  <a:lnTo>
                    <a:pt x="34" y="416"/>
                  </a:lnTo>
                  <a:lnTo>
                    <a:pt x="34" y="414"/>
                  </a:lnTo>
                  <a:lnTo>
                    <a:pt x="36" y="408"/>
                  </a:lnTo>
                  <a:lnTo>
                    <a:pt x="36" y="402"/>
                  </a:lnTo>
                  <a:lnTo>
                    <a:pt x="38" y="396"/>
                  </a:lnTo>
                  <a:lnTo>
                    <a:pt x="38" y="390"/>
                  </a:lnTo>
                  <a:lnTo>
                    <a:pt x="42" y="384"/>
                  </a:lnTo>
                  <a:lnTo>
                    <a:pt x="42" y="378"/>
                  </a:lnTo>
                  <a:lnTo>
                    <a:pt x="42" y="372"/>
                  </a:lnTo>
                  <a:lnTo>
                    <a:pt x="48" y="368"/>
                  </a:lnTo>
                  <a:lnTo>
                    <a:pt x="54" y="370"/>
                  </a:lnTo>
                  <a:lnTo>
                    <a:pt x="60" y="366"/>
                  </a:lnTo>
                  <a:lnTo>
                    <a:pt x="66" y="366"/>
                  </a:lnTo>
                  <a:lnTo>
                    <a:pt x="72" y="360"/>
                  </a:lnTo>
                  <a:lnTo>
                    <a:pt x="72" y="354"/>
                  </a:lnTo>
                  <a:lnTo>
                    <a:pt x="72" y="352"/>
                  </a:lnTo>
                  <a:lnTo>
                    <a:pt x="66" y="346"/>
                  </a:lnTo>
                  <a:lnTo>
                    <a:pt x="62" y="342"/>
                  </a:lnTo>
                  <a:lnTo>
                    <a:pt x="56" y="336"/>
                  </a:lnTo>
                  <a:lnTo>
                    <a:pt x="50" y="328"/>
                  </a:lnTo>
                  <a:lnTo>
                    <a:pt x="50" y="324"/>
                  </a:lnTo>
                  <a:lnTo>
                    <a:pt x="48" y="318"/>
                  </a:lnTo>
                  <a:lnTo>
                    <a:pt x="48" y="312"/>
                  </a:lnTo>
                  <a:lnTo>
                    <a:pt x="54" y="306"/>
                  </a:lnTo>
                  <a:lnTo>
                    <a:pt x="56" y="300"/>
                  </a:lnTo>
                  <a:lnTo>
                    <a:pt x="54" y="294"/>
                  </a:lnTo>
                  <a:lnTo>
                    <a:pt x="52" y="288"/>
                  </a:lnTo>
                  <a:lnTo>
                    <a:pt x="50" y="282"/>
                  </a:lnTo>
                  <a:lnTo>
                    <a:pt x="48" y="276"/>
                  </a:lnTo>
                  <a:lnTo>
                    <a:pt x="44" y="270"/>
                  </a:lnTo>
                  <a:lnTo>
                    <a:pt x="42" y="264"/>
                  </a:lnTo>
                  <a:lnTo>
                    <a:pt x="38" y="258"/>
                  </a:lnTo>
                  <a:lnTo>
                    <a:pt x="38" y="252"/>
                  </a:lnTo>
                  <a:lnTo>
                    <a:pt x="38" y="246"/>
                  </a:lnTo>
                  <a:lnTo>
                    <a:pt x="38" y="242"/>
                  </a:lnTo>
                  <a:lnTo>
                    <a:pt x="40" y="236"/>
                  </a:lnTo>
                  <a:lnTo>
                    <a:pt x="40" y="234"/>
                  </a:lnTo>
                  <a:lnTo>
                    <a:pt x="46" y="232"/>
                  </a:lnTo>
                  <a:lnTo>
                    <a:pt x="44" y="226"/>
                  </a:lnTo>
                  <a:lnTo>
                    <a:pt x="42" y="222"/>
                  </a:lnTo>
                  <a:lnTo>
                    <a:pt x="40" y="216"/>
                  </a:lnTo>
                  <a:lnTo>
                    <a:pt x="34" y="214"/>
                  </a:lnTo>
                  <a:lnTo>
                    <a:pt x="32" y="208"/>
                  </a:lnTo>
                  <a:lnTo>
                    <a:pt x="34" y="202"/>
                  </a:lnTo>
                  <a:lnTo>
                    <a:pt x="34" y="196"/>
                  </a:lnTo>
                  <a:lnTo>
                    <a:pt x="40" y="190"/>
                  </a:lnTo>
                  <a:lnTo>
                    <a:pt x="44" y="186"/>
                  </a:lnTo>
                  <a:lnTo>
                    <a:pt x="46" y="184"/>
                  </a:lnTo>
                  <a:lnTo>
                    <a:pt x="52" y="178"/>
                  </a:lnTo>
                  <a:lnTo>
                    <a:pt x="58" y="176"/>
                  </a:lnTo>
                  <a:lnTo>
                    <a:pt x="62" y="172"/>
                  </a:lnTo>
                  <a:lnTo>
                    <a:pt x="68" y="170"/>
                  </a:lnTo>
                  <a:lnTo>
                    <a:pt x="74" y="166"/>
                  </a:lnTo>
                  <a:lnTo>
                    <a:pt x="80" y="164"/>
                  </a:lnTo>
                  <a:lnTo>
                    <a:pt x="82" y="164"/>
                  </a:lnTo>
                  <a:lnTo>
                    <a:pt x="84" y="162"/>
                  </a:lnTo>
                  <a:lnTo>
                    <a:pt x="92" y="158"/>
                  </a:lnTo>
                  <a:lnTo>
                    <a:pt x="96" y="154"/>
                  </a:lnTo>
                  <a:lnTo>
                    <a:pt x="98" y="148"/>
                  </a:lnTo>
                  <a:lnTo>
                    <a:pt x="100" y="142"/>
                  </a:lnTo>
                  <a:lnTo>
                    <a:pt x="100" y="136"/>
                  </a:lnTo>
                  <a:lnTo>
                    <a:pt x="100" y="134"/>
                  </a:lnTo>
                  <a:lnTo>
                    <a:pt x="102" y="128"/>
                  </a:lnTo>
                  <a:lnTo>
                    <a:pt x="102" y="122"/>
                  </a:lnTo>
                  <a:lnTo>
                    <a:pt x="104" y="114"/>
                  </a:lnTo>
                  <a:lnTo>
                    <a:pt x="104" y="108"/>
                  </a:lnTo>
                  <a:lnTo>
                    <a:pt x="106" y="102"/>
                  </a:lnTo>
                  <a:lnTo>
                    <a:pt x="106" y="96"/>
                  </a:lnTo>
                  <a:lnTo>
                    <a:pt x="108" y="92"/>
                  </a:lnTo>
                  <a:lnTo>
                    <a:pt x="108" y="86"/>
                  </a:lnTo>
                  <a:lnTo>
                    <a:pt x="104" y="80"/>
                  </a:lnTo>
                  <a:lnTo>
                    <a:pt x="98" y="74"/>
                  </a:lnTo>
                  <a:lnTo>
                    <a:pt x="96" y="72"/>
                  </a:lnTo>
                  <a:lnTo>
                    <a:pt x="98" y="66"/>
                  </a:lnTo>
                  <a:lnTo>
                    <a:pt x="104" y="60"/>
                  </a:lnTo>
                  <a:lnTo>
                    <a:pt x="104" y="54"/>
                  </a:lnTo>
                  <a:lnTo>
                    <a:pt x="110" y="48"/>
                  </a:lnTo>
                  <a:lnTo>
                    <a:pt x="116" y="44"/>
                  </a:lnTo>
                  <a:lnTo>
                    <a:pt x="118" y="40"/>
                  </a:lnTo>
                  <a:lnTo>
                    <a:pt x="118" y="34"/>
                  </a:lnTo>
                  <a:lnTo>
                    <a:pt x="124" y="30"/>
                  </a:lnTo>
                  <a:lnTo>
                    <a:pt x="130" y="26"/>
                  </a:lnTo>
                  <a:lnTo>
                    <a:pt x="136" y="24"/>
                  </a:lnTo>
                  <a:lnTo>
                    <a:pt x="140" y="22"/>
                  </a:lnTo>
                  <a:lnTo>
                    <a:pt x="144" y="16"/>
                  </a:lnTo>
                  <a:lnTo>
                    <a:pt x="144" y="10"/>
                  </a:lnTo>
                  <a:lnTo>
                    <a:pt x="144" y="6"/>
                  </a:lnTo>
                  <a:lnTo>
                    <a:pt x="144" y="0"/>
                  </a:lnTo>
                  <a:lnTo>
                    <a:pt x="152" y="2"/>
                  </a:lnTo>
                  <a:lnTo>
                    <a:pt x="156" y="8"/>
                  </a:lnTo>
                  <a:lnTo>
                    <a:pt x="164" y="10"/>
                  </a:lnTo>
                  <a:lnTo>
                    <a:pt x="168" y="16"/>
                  </a:lnTo>
                  <a:lnTo>
                    <a:pt x="176" y="22"/>
                  </a:lnTo>
                  <a:lnTo>
                    <a:pt x="182" y="22"/>
                  </a:lnTo>
                  <a:lnTo>
                    <a:pt x="186" y="22"/>
                  </a:lnTo>
                  <a:lnTo>
                    <a:pt x="186" y="20"/>
                  </a:lnTo>
                  <a:lnTo>
                    <a:pt x="192" y="22"/>
                  </a:lnTo>
                  <a:lnTo>
                    <a:pt x="198" y="22"/>
                  </a:lnTo>
                  <a:lnTo>
                    <a:pt x="206" y="22"/>
                  </a:lnTo>
                  <a:lnTo>
                    <a:pt x="210" y="22"/>
                  </a:lnTo>
                  <a:lnTo>
                    <a:pt x="216" y="20"/>
                  </a:lnTo>
                  <a:lnTo>
                    <a:pt x="220" y="20"/>
                  </a:lnTo>
                  <a:lnTo>
                    <a:pt x="226" y="24"/>
                  </a:lnTo>
                  <a:lnTo>
                    <a:pt x="232" y="24"/>
                  </a:lnTo>
                  <a:lnTo>
                    <a:pt x="238" y="28"/>
                  </a:lnTo>
                  <a:lnTo>
                    <a:pt x="240" y="26"/>
                  </a:lnTo>
                  <a:lnTo>
                    <a:pt x="248" y="30"/>
                  </a:lnTo>
                  <a:lnTo>
                    <a:pt x="250" y="36"/>
                  </a:lnTo>
                  <a:lnTo>
                    <a:pt x="252" y="42"/>
                  </a:lnTo>
                  <a:lnTo>
                    <a:pt x="254" y="48"/>
                  </a:lnTo>
                  <a:lnTo>
                    <a:pt x="258" y="54"/>
                  </a:lnTo>
                  <a:lnTo>
                    <a:pt x="258" y="60"/>
                  </a:lnTo>
                  <a:lnTo>
                    <a:pt x="260" y="62"/>
                  </a:lnTo>
                  <a:lnTo>
                    <a:pt x="262" y="64"/>
                  </a:lnTo>
                  <a:lnTo>
                    <a:pt x="266" y="70"/>
                  </a:lnTo>
                  <a:lnTo>
                    <a:pt x="268" y="74"/>
                  </a:lnTo>
                  <a:lnTo>
                    <a:pt x="268" y="68"/>
                  </a:lnTo>
                  <a:lnTo>
                    <a:pt x="268" y="62"/>
                  </a:lnTo>
                  <a:lnTo>
                    <a:pt x="270" y="56"/>
                  </a:lnTo>
                  <a:lnTo>
                    <a:pt x="270" y="50"/>
                  </a:lnTo>
                  <a:lnTo>
                    <a:pt x="274" y="44"/>
                  </a:lnTo>
                  <a:lnTo>
                    <a:pt x="276" y="38"/>
                  </a:lnTo>
                  <a:lnTo>
                    <a:pt x="278" y="32"/>
                  </a:lnTo>
                  <a:lnTo>
                    <a:pt x="280" y="26"/>
                  </a:lnTo>
                  <a:lnTo>
                    <a:pt x="282" y="20"/>
                  </a:lnTo>
                  <a:lnTo>
                    <a:pt x="288" y="14"/>
                  </a:lnTo>
                  <a:lnTo>
                    <a:pt x="296" y="18"/>
                  </a:lnTo>
                  <a:lnTo>
                    <a:pt x="298" y="16"/>
                  </a:lnTo>
                  <a:lnTo>
                    <a:pt x="300" y="16"/>
                  </a:lnTo>
                  <a:lnTo>
                    <a:pt x="304" y="16"/>
                  </a:lnTo>
                  <a:lnTo>
                    <a:pt x="310" y="16"/>
                  </a:lnTo>
                  <a:lnTo>
                    <a:pt x="316" y="16"/>
                  </a:lnTo>
                  <a:lnTo>
                    <a:pt x="324" y="14"/>
                  </a:lnTo>
                  <a:lnTo>
                    <a:pt x="330" y="14"/>
                  </a:lnTo>
                  <a:lnTo>
                    <a:pt x="336" y="14"/>
                  </a:lnTo>
                  <a:lnTo>
                    <a:pt x="342" y="14"/>
                  </a:lnTo>
                  <a:lnTo>
                    <a:pt x="350" y="14"/>
                  </a:lnTo>
                  <a:lnTo>
                    <a:pt x="352" y="20"/>
                  </a:lnTo>
                  <a:lnTo>
                    <a:pt x="358" y="26"/>
                  </a:lnTo>
                  <a:lnTo>
                    <a:pt x="364" y="32"/>
                  </a:lnTo>
                  <a:lnTo>
                    <a:pt x="368" y="36"/>
                  </a:lnTo>
                  <a:lnTo>
                    <a:pt x="374" y="40"/>
                  </a:lnTo>
                  <a:lnTo>
                    <a:pt x="380" y="46"/>
                  </a:lnTo>
                  <a:lnTo>
                    <a:pt x="382" y="48"/>
                  </a:lnTo>
                  <a:lnTo>
                    <a:pt x="388" y="52"/>
                  </a:lnTo>
                  <a:lnTo>
                    <a:pt x="390" y="58"/>
                  </a:lnTo>
                  <a:lnTo>
                    <a:pt x="394" y="62"/>
                  </a:lnTo>
                  <a:lnTo>
                    <a:pt x="398" y="68"/>
                  </a:lnTo>
                  <a:lnTo>
                    <a:pt x="404" y="74"/>
                  </a:lnTo>
                  <a:lnTo>
                    <a:pt x="406" y="80"/>
                  </a:lnTo>
                  <a:lnTo>
                    <a:pt x="410" y="86"/>
                  </a:lnTo>
                  <a:lnTo>
                    <a:pt x="418" y="90"/>
                  </a:lnTo>
                  <a:lnTo>
                    <a:pt x="422" y="96"/>
                  </a:lnTo>
                  <a:lnTo>
                    <a:pt x="426" y="102"/>
                  </a:lnTo>
                  <a:lnTo>
                    <a:pt x="432" y="104"/>
                  </a:lnTo>
                  <a:lnTo>
                    <a:pt x="438" y="108"/>
                  </a:lnTo>
                  <a:lnTo>
                    <a:pt x="444" y="112"/>
                  </a:lnTo>
                  <a:lnTo>
                    <a:pt x="450" y="116"/>
                  </a:lnTo>
                  <a:lnTo>
                    <a:pt x="452" y="116"/>
                  </a:lnTo>
                  <a:lnTo>
                    <a:pt x="458" y="122"/>
                  </a:lnTo>
                  <a:lnTo>
                    <a:pt x="464" y="124"/>
                  </a:lnTo>
                  <a:lnTo>
                    <a:pt x="466" y="126"/>
                  </a:lnTo>
                  <a:lnTo>
                    <a:pt x="466" y="132"/>
                  </a:lnTo>
                  <a:lnTo>
                    <a:pt x="472" y="138"/>
                  </a:lnTo>
                  <a:lnTo>
                    <a:pt x="478" y="140"/>
                  </a:lnTo>
                  <a:lnTo>
                    <a:pt x="484" y="144"/>
                  </a:lnTo>
                  <a:lnTo>
                    <a:pt x="488" y="144"/>
                  </a:lnTo>
                  <a:lnTo>
                    <a:pt x="494" y="146"/>
                  </a:lnTo>
                  <a:lnTo>
                    <a:pt x="500" y="146"/>
                  </a:lnTo>
                  <a:lnTo>
                    <a:pt x="504" y="150"/>
                  </a:lnTo>
                  <a:lnTo>
                    <a:pt x="510" y="152"/>
                  </a:lnTo>
                  <a:lnTo>
                    <a:pt x="516" y="154"/>
                  </a:lnTo>
                  <a:lnTo>
                    <a:pt x="522" y="156"/>
                  </a:lnTo>
                  <a:lnTo>
                    <a:pt x="528" y="154"/>
                  </a:lnTo>
                  <a:lnTo>
                    <a:pt x="536" y="154"/>
                  </a:lnTo>
                  <a:lnTo>
                    <a:pt x="536" y="156"/>
                  </a:lnTo>
                  <a:lnTo>
                    <a:pt x="542" y="160"/>
                  </a:lnTo>
                  <a:lnTo>
                    <a:pt x="548" y="164"/>
                  </a:lnTo>
                  <a:lnTo>
                    <a:pt x="554" y="168"/>
                  </a:lnTo>
                  <a:lnTo>
                    <a:pt x="558" y="170"/>
                  </a:lnTo>
                  <a:lnTo>
                    <a:pt x="564" y="174"/>
                  </a:lnTo>
                  <a:lnTo>
                    <a:pt x="570" y="178"/>
                  </a:lnTo>
                  <a:lnTo>
                    <a:pt x="576" y="184"/>
                  </a:lnTo>
                  <a:lnTo>
                    <a:pt x="582" y="188"/>
                  </a:lnTo>
                  <a:lnTo>
                    <a:pt x="584" y="188"/>
                  </a:lnTo>
                  <a:lnTo>
                    <a:pt x="590" y="194"/>
                  </a:lnTo>
                  <a:lnTo>
                    <a:pt x="596" y="194"/>
                  </a:lnTo>
                  <a:lnTo>
                    <a:pt x="602" y="198"/>
                  </a:lnTo>
                  <a:lnTo>
                    <a:pt x="608" y="204"/>
                  </a:lnTo>
                  <a:lnTo>
                    <a:pt x="614" y="208"/>
                  </a:lnTo>
                  <a:lnTo>
                    <a:pt x="620" y="208"/>
                  </a:lnTo>
                  <a:lnTo>
                    <a:pt x="626" y="210"/>
                  </a:lnTo>
                  <a:lnTo>
                    <a:pt x="632" y="212"/>
                  </a:lnTo>
                  <a:lnTo>
                    <a:pt x="638" y="216"/>
                  </a:lnTo>
                  <a:lnTo>
                    <a:pt x="642" y="222"/>
                  </a:lnTo>
                  <a:lnTo>
                    <a:pt x="648" y="218"/>
                  </a:lnTo>
                  <a:lnTo>
                    <a:pt x="654" y="222"/>
                  </a:lnTo>
                  <a:lnTo>
                    <a:pt x="660" y="226"/>
                  </a:lnTo>
                  <a:lnTo>
                    <a:pt x="666" y="228"/>
                  </a:lnTo>
                  <a:lnTo>
                    <a:pt x="672" y="230"/>
                  </a:lnTo>
                  <a:lnTo>
                    <a:pt x="678" y="234"/>
                  </a:lnTo>
                  <a:lnTo>
                    <a:pt x="682" y="240"/>
                  </a:lnTo>
                  <a:lnTo>
                    <a:pt x="686" y="242"/>
                  </a:lnTo>
                  <a:lnTo>
                    <a:pt x="688" y="248"/>
                  </a:lnTo>
                  <a:lnTo>
                    <a:pt x="694" y="254"/>
                  </a:lnTo>
                  <a:lnTo>
                    <a:pt x="694" y="260"/>
                  </a:lnTo>
                  <a:lnTo>
                    <a:pt x="690" y="266"/>
                  </a:lnTo>
                  <a:lnTo>
                    <a:pt x="686" y="268"/>
                  </a:lnTo>
                  <a:lnTo>
                    <a:pt x="684" y="274"/>
                  </a:lnTo>
                  <a:lnTo>
                    <a:pt x="682" y="280"/>
                  </a:lnTo>
                  <a:lnTo>
                    <a:pt x="682" y="282"/>
                  </a:lnTo>
                  <a:lnTo>
                    <a:pt x="680" y="286"/>
                  </a:lnTo>
                  <a:lnTo>
                    <a:pt x="680" y="292"/>
                  </a:lnTo>
                  <a:lnTo>
                    <a:pt x="672" y="298"/>
                  </a:lnTo>
                  <a:lnTo>
                    <a:pt x="668" y="302"/>
                  </a:lnTo>
                  <a:lnTo>
                    <a:pt x="668" y="308"/>
                  </a:lnTo>
                  <a:lnTo>
                    <a:pt x="666" y="314"/>
                  </a:lnTo>
                  <a:lnTo>
                    <a:pt x="664" y="320"/>
                  </a:lnTo>
                  <a:lnTo>
                    <a:pt x="664" y="326"/>
                  </a:lnTo>
                  <a:lnTo>
                    <a:pt x="668" y="332"/>
                  </a:lnTo>
                  <a:lnTo>
                    <a:pt x="664" y="340"/>
                  </a:lnTo>
                  <a:lnTo>
                    <a:pt x="662" y="346"/>
                  </a:lnTo>
                  <a:lnTo>
                    <a:pt x="662" y="352"/>
                  </a:lnTo>
                  <a:lnTo>
                    <a:pt x="660" y="352"/>
                  </a:lnTo>
                  <a:lnTo>
                    <a:pt x="654" y="356"/>
                  </a:lnTo>
                  <a:lnTo>
                    <a:pt x="652" y="362"/>
                  </a:lnTo>
                  <a:lnTo>
                    <a:pt x="650" y="368"/>
                  </a:lnTo>
                  <a:lnTo>
                    <a:pt x="646" y="374"/>
                  </a:lnTo>
                  <a:lnTo>
                    <a:pt x="650" y="380"/>
                  </a:lnTo>
                  <a:lnTo>
                    <a:pt x="650" y="382"/>
                  </a:lnTo>
                  <a:lnTo>
                    <a:pt x="656" y="380"/>
                  </a:lnTo>
                  <a:lnTo>
                    <a:pt x="662" y="380"/>
                  </a:lnTo>
                  <a:lnTo>
                    <a:pt x="668" y="380"/>
                  </a:lnTo>
                  <a:lnTo>
                    <a:pt x="674" y="380"/>
                  </a:lnTo>
                  <a:lnTo>
                    <a:pt x="680" y="380"/>
                  </a:lnTo>
                  <a:lnTo>
                    <a:pt x="686" y="380"/>
                  </a:lnTo>
                  <a:lnTo>
                    <a:pt x="692" y="380"/>
                  </a:lnTo>
                  <a:lnTo>
                    <a:pt x="698" y="380"/>
                  </a:lnTo>
                  <a:lnTo>
                    <a:pt x="704" y="384"/>
                  </a:lnTo>
                  <a:lnTo>
                    <a:pt x="710" y="386"/>
                  </a:lnTo>
                  <a:lnTo>
                    <a:pt x="716" y="388"/>
                  </a:lnTo>
                  <a:lnTo>
                    <a:pt x="722" y="390"/>
                  </a:lnTo>
                  <a:lnTo>
                    <a:pt x="728" y="390"/>
                  </a:lnTo>
                  <a:lnTo>
                    <a:pt x="734" y="392"/>
                  </a:lnTo>
                  <a:lnTo>
                    <a:pt x="740" y="394"/>
                  </a:lnTo>
                  <a:lnTo>
                    <a:pt x="746" y="392"/>
                  </a:lnTo>
                  <a:lnTo>
                    <a:pt x="752" y="390"/>
                  </a:lnTo>
                  <a:lnTo>
                    <a:pt x="758" y="392"/>
                  </a:lnTo>
                  <a:lnTo>
                    <a:pt x="762" y="396"/>
                  </a:lnTo>
                  <a:lnTo>
                    <a:pt x="768" y="392"/>
                  </a:lnTo>
                  <a:lnTo>
                    <a:pt x="774" y="392"/>
                  </a:lnTo>
                  <a:lnTo>
                    <a:pt x="778" y="398"/>
                  </a:lnTo>
                  <a:lnTo>
                    <a:pt x="786" y="402"/>
                  </a:lnTo>
                  <a:lnTo>
                    <a:pt x="788" y="396"/>
                  </a:lnTo>
                  <a:lnTo>
                    <a:pt x="788" y="390"/>
                  </a:lnTo>
                  <a:lnTo>
                    <a:pt x="794" y="384"/>
                  </a:lnTo>
                  <a:lnTo>
                    <a:pt x="800" y="382"/>
                  </a:lnTo>
                  <a:lnTo>
                    <a:pt x="806" y="384"/>
                  </a:lnTo>
                  <a:lnTo>
                    <a:pt x="812" y="384"/>
                  </a:lnTo>
                  <a:lnTo>
                    <a:pt x="818" y="390"/>
                  </a:lnTo>
                  <a:lnTo>
                    <a:pt x="822" y="388"/>
                  </a:lnTo>
                  <a:lnTo>
                    <a:pt x="828" y="382"/>
                  </a:lnTo>
                  <a:lnTo>
                    <a:pt x="828" y="376"/>
                  </a:lnTo>
                  <a:lnTo>
                    <a:pt x="828" y="370"/>
                  </a:lnTo>
                  <a:lnTo>
                    <a:pt x="834" y="364"/>
                  </a:lnTo>
                  <a:lnTo>
                    <a:pt x="838" y="358"/>
                  </a:lnTo>
                  <a:lnTo>
                    <a:pt x="846" y="356"/>
                  </a:lnTo>
                  <a:lnTo>
                    <a:pt x="846" y="358"/>
                  </a:lnTo>
                  <a:lnTo>
                    <a:pt x="852" y="356"/>
                  </a:lnTo>
                  <a:lnTo>
                    <a:pt x="852" y="350"/>
                  </a:lnTo>
                  <a:lnTo>
                    <a:pt x="858" y="346"/>
                  </a:lnTo>
                  <a:lnTo>
                    <a:pt x="860" y="344"/>
                  </a:lnTo>
                  <a:lnTo>
                    <a:pt x="862" y="338"/>
                  </a:lnTo>
                  <a:lnTo>
                    <a:pt x="868" y="338"/>
                  </a:lnTo>
                  <a:lnTo>
                    <a:pt x="868" y="332"/>
                  </a:lnTo>
                  <a:lnTo>
                    <a:pt x="870" y="326"/>
                  </a:lnTo>
                  <a:lnTo>
                    <a:pt x="872" y="320"/>
                  </a:lnTo>
                  <a:lnTo>
                    <a:pt x="872" y="314"/>
                  </a:lnTo>
                  <a:lnTo>
                    <a:pt x="872" y="308"/>
                  </a:lnTo>
                  <a:lnTo>
                    <a:pt x="872" y="304"/>
                  </a:lnTo>
                  <a:lnTo>
                    <a:pt x="872" y="298"/>
                  </a:lnTo>
                  <a:lnTo>
                    <a:pt x="870" y="292"/>
                  </a:lnTo>
                  <a:lnTo>
                    <a:pt x="872" y="286"/>
                  </a:lnTo>
                  <a:lnTo>
                    <a:pt x="872" y="280"/>
                  </a:lnTo>
                  <a:lnTo>
                    <a:pt x="870" y="274"/>
                  </a:lnTo>
                  <a:lnTo>
                    <a:pt x="868" y="268"/>
                  </a:lnTo>
                  <a:lnTo>
                    <a:pt x="870" y="262"/>
                  </a:lnTo>
                  <a:lnTo>
                    <a:pt x="872" y="262"/>
                  </a:lnTo>
                  <a:lnTo>
                    <a:pt x="876" y="264"/>
                  </a:lnTo>
                  <a:lnTo>
                    <a:pt x="882" y="268"/>
                  </a:lnTo>
                  <a:lnTo>
                    <a:pt x="884" y="262"/>
                  </a:lnTo>
                  <a:lnTo>
                    <a:pt x="890" y="262"/>
                  </a:lnTo>
                  <a:lnTo>
                    <a:pt x="896" y="260"/>
                  </a:lnTo>
                  <a:lnTo>
                    <a:pt x="902" y="260"/>
                  </a:lnTo>
                  <a:lnTo>
                    <a:pt x="908" y="262"/>
                  </a:lnTo>
                  <a:lnTo>
                    <a:pt x="914" y="268"/>
                  </a:lnTo>
                  <a:lnTo>
                    <a:pt x="916" y="274"/>
                  </a:lnTo>
                  <a:lnTo>
                    <a:pt x="918" y="280"/>
                  </a:lnTo>
                  <a:lnTo>
                    <a:pt x="920" y="286"/>
                  </a:lnTo>
                  <a:lnTo>
                    <a:pt x="922" y="292"/>
                  </a:lnTo>
                  <a:lnTo>
                    <a:pt x="926" y="298"/>
                  </a:lnTo>
                  <a:lnTo>
                    <a:pt x="930" y="304"/>
                  </a:lnTo>
                  <a:lnTo>
                    <a:pt x="932" y="308"/>
                  </a:lnTo>
                  <a:lnTo>
                    <a:pt x="932" y="310"/>
                  </a:lnTo>
                  <a:lnTo>
                    <a:pt x="930" y="316"/>
                  </a:lnTo>
                  <a:lnTo>
                    <a:pt x="932" y="322"/>
                  </a:lnTo>
                  <a:lnTo>
                    <a:pt x="932" y="328"/>
                  </a:lnTo>
                  <a:lnTo>
                    <a:pt x="932" y="332"/>
                  </a:lnTo>
                  <a:lnTo>
                    <a:pt x="932" y="340"/>
                  </a:lnTo>
                  <a:lnTo>
                    <a:pt x="932" y="346"/>
                  </a:lnTo>
                  <a:lnTo>
                    <a:pt x="936" y="350"/>
                  </a:lnTo>
                  <a:lnTo>
                    <a:pt x="936" y="358"/>
                  </a:lnTo>
                  <a:lnTo>
                    <a:pt x="934" y="362"/>
                  </a:lnTo>
                  <a:lnTo>
                    <a:pt x="932" y="368"/>
                  </a:lnTo>
                  <a:lnTo>
                    <a:pt x="930" y="372"/>
                  </a:lnTo>
                  <a:lnTo>
                    <a:pt x="924" y="372"/>
                  </a:lnTo>
                  <a:lnTo>
                    <a:pt x="918" y="378"/>
                  </a:lnTo>
                  <a:lnTo>
                    <a:pt x="914" y="380"/>
                  </a:lnTo>
                  <a:lnTo>
                    <a:pt x="910" y="386"/>
                  </a:lnTo>
                  <a:lnTo>
                    <a:pt x="904" y="388"/>
                  </a:lnTo>
                  <a:lnTo>
                    <a:pt x="898" y="390"/>
                  </a:lnTo>
                  <a:lnTo>
                    <a:pt x="892" y="394"/>
                  </a:lnTo>
                  <a:lnTo>
                    <a:pt x="886" y="396"/>
                  </a:lnTo>
                  <a:lnTo>
                    <a:pt x="880" y="400"/>
                  </a:lnTo>
                  <a:lnTo>
                    <a:pt x="874" y="404"/>
                  </a:lnTo>
                  <a:lnTo>
                    <a:pt x="872" y="410"/>
                  </a:lnTo>
                  <a:lnTo>
                    <a:pt x="868" y="416"/>
                  </a:lnTo>
                  <a:lnTo>
                    <a:pt x="862" y="420"/>
                  </a:lnTo>
                  <a:lnTo>
                    <a:pt x="856" y="422"/>
                  </a:lnTo>
                  <a:lnTo>
                    <a:pt x="850" y="424"/>
                  </a:lnTo>
                  <a:lnTo>
                    <a:pt x="850" y="428"/>
                  </a:lnTo>
                  <a:lnTo>
                    <a:pt x="846" y="434"/>
                  </a:lnTo>
                  <a:lnTo>
                    <a:pt x="842" y="434"/>
                  </a:lnTo>
                  <a:lnTo>
                    <a:pt x="836" y="438"/>
                  </a:lnTo>
                  <a:lnTo>
                    <a:pt x="834" y="440"/>
                  </a:lnTo>
                  <a:lnTo>
                    <a:pt x="834" y="442"/>
                  </a:lnTo>
                  <a:lnTo>
                    <a:pt x="828" y="448"/>
                  </a:lnTo>
                  <a:lnTo>
                    <a:pt x="834" y="452"/>
                  </a:lnTo>
                  <a:lnTo>
                    <a:pt x="834" y="458"/>
                  </a:lnTo>
                  <a:lnTo>
                    <a:pt x="828" y="456"/>
                  </a:lnTo>
                  <a:lnTo>
                    <a:pt x="820" y="456"/>
                  </a:lnTo>
                  <a:lnTo>
                    <a:pt x="822" y="462"/>
                  </a:lnTo>
                  <a:lnTo>
                    <a:pt x="816" y="464"/>
                  </a:lnTo>
                  <a:lnTo>
                    <a:pt x="816" y="470"/>
                  </a:lnTo>
                  <a:lnTo>
                    <a:pt x="812" y="476"/>
                  </a:lnTo>
                  <a:lnTo>
                    <a:pt x="808" y="482"/>
                  </a:lnTo>
                  <a:lnTo>
                    <a:pt x="802" y="488"/>
                  </a:lnTo>
                  <a:lnTo>
                    <a:pt x="802" y="494"/>
                  </a:lnTo>
                  <a:lnTo>
                    <a:pt x="798" y="500"/>
                  </a:lnTo>
                  <a:lnTo>
                    <a:pt x="794" y="506"/>
                  </a:lnTo>
                  <a:lnTo>
                    <a:pt x="788" y="510"/>
                  </a:lnTo>
                  <a:lnTo>
                    <a:pt x="786" y="516"/>
                  </a:lnTo>
                  <a:lnTo>
                    <a:pt x="786" y="522"/>
                  </a:lnTo>
                  <a:lnTo>
                    <a:pt x="782" y="528"/>
                  </a:lnTo>
                  <a:lnTo>
                    <a:pt x="780" y="530"/>
                  </a:lnTo>
                  <a:lnTo>
                    <a:pt x="776" y="536"/>
                  </a:lnTo>
                  <a:lnTo>
                    <a:pt x="772" y="542"/>
                  </a:lnTo>
                  <a:lnTo>
                    <a:pt x="770" y="548"/>
                  </a:lnTo>
                  <a:lnTo>
                    <a:pt x="768" y="550"/>
                  </a:lnTo>
                  <a:lnTo>
                    <a:pt x="762" y="554"/>
                  </a:lnTo>
                  <a:lnTo>
                    <a:pt x="756" y="556"/>
                  </a:lnTo>
                  <a:lnTo>
                    <a:pt x="756" y="562"/>
                  </a:lnTo>
                  <a:lnTo>
                    <a:pt x="756" y="568"/>
                  </a:lnTo>
                  <a:lnTo>
                    <a:pt x="750" y="574"/>
                  </a:lnTo>
                  <a:lnTo>
                    <a:pt x="744" y="580"/>
                  </a:lnTo>
                  <a:lnTo>
                    <a:pt x="742" y="582"/>
                  </a:lnTo>
                  <a:lnTo>
                    <a:pt x="740" y="582"/>
                  </a:lnTo>
                  <a:lnTo>
                    <a:pt x="742" y="586"/>
                  </a:lnTo>
                  <a:lnTo>
                    <a:pt x="740" y="594"/>
                  </a:lnTo>
                  <a:lnTo>
                    <a:pt x="736" y="600"/>
                  </a:lnTo>
                  <a:lnTo>
                    <a:pt x="730" y="604"/>
                  </a:lnTo>
                  <a:lnTo>
                    <a:pt x="730" y="606"/>
                  </a:lnTo>
                  <a:lnTo>
                    <a:pt x="732" y="612"/>
                  </a:lnTo>
                  <a:lnTo>
                    <a:pt x="736" y="618"/>
                  </a:lnTo>
                  <a:lnTo>
                    <a:pt x="738" y="620"/>
                  </a:lnTo>
                  <a:lnTo>
                    <a:pt x="738" y="624"/>
                  </a:lnTo>
                  <a:lnTo>
                    <a:pt x="740" y="630"/>
                  </a:lnTo>
                  <a:lnTo>
                    <a:pt x="734" y="634"/>
                  </a:lnTo>
                  <a:lnTo>
                    <a:pt x="736" y="640"/>
                  </a:lnTo>
                  <a:lnTo>
                    <a:pt x="738" y="646"/>
                  </a:lnTo>
                  <a:lnTo>
                    <a:pt x="738" y="652"/>
                  </a:lnTo>
                  <a:lnTo>
                    <a:pt x="738" y="658"/>
                  </a:lnTo>
                  <a:lnTo>
                    <a:pt x="736" y="664"/>
                  </a:lnTo>
                  <a:lnTo>
                    <a:pt x="736" y="666"/>
                  </a:lnTo>
                  <a:lnTo>
                    <a:pt x="732" y="672"/>
                  </a:lnTo>
                  <a:lnTo>
                    <a:pt x="734" y="672"/>
                  </a:lnTo>
                  <a:lnTo>
                    <a:pt x="740" y="678"/>
                  </a:lnTo>
                  <a:lnTo>
                    <a:pt x="738" y="684"/>
                  </a:lnTo>
                  <a:lnTo>
                    <a:pt x="738" y="690"/>
                  </a:lnTo>
                  <a:lnTo>
                    <a:pt x="732" y="696"/>
                  </a:lnTo>
                  <a:lnTo>
                    <a:pt x="732" y="702"/>
                  </a:lnTo>
                  <a:lnTo>
                    <a:pt x="734" y="708"/>
                  </a:lnTo>
                  <a:lnTo>
                    <a:pt x="736" y="714"/>
                  </a:lnTo>
                  <a:lnTo>
                    <a:pt x="736" y="720"/>
                  </a:lnTo>
                  <a:lnTo>
                    <a:pt x="738" y="722"/>
                  </a:lnTo>
                  <a:lnTo>
                    <a:pt x="740" y="724"/>
                  </a:lnTo>
                  <a:lnTo>
                    <a:pt x="742" y="730"/>
                  </a:lnTo>
                  <a:lnTo>
                    <a:pt x="738" y="736"/>
                  </a:lnTo>
                  <a:lnTo>
                    <a:pt x="738" y="738"/>
                  </a:lnTo>
                  <a:lnTo>
                    <a:pt x="738" y="742"/>
                  </a:lnTo>
                  <a:lnTo>
                    <a:pt x="738" y="748"/>
                  </a:lnTo>
                  <a:lnTo>
                    <a:pt x="740" y="752"/>
                  </a:lnTo>
                  <a:lnTo>
                    <a:pt x="744" y="758"/>
                  </a:lnTo>
                  <a:lnTo>
                    <a:pt x="744" y="764"/>
                  </a:lnTo>
                  <a:lnTo>
                    <a:pt x="748" y="770"/>
                  </a:lnTo>
                  <a:lnTo>
                    <a:pt x="748" y="776"/>
                  </a:lnTo>
                  <a:lnTo>
                    <a:pt x="748" y="782"/>
                  </a:lnTo>
                  <a:lnTo>
                    <a:pt x="742" y="782"/>
                  </a:lnTo>
                  <a:lnTo>
                    <a:pt x="736" y="786"/>
                  </a:lnTo>
                  <a:lnTo>
                    <a:pt x="736" y="792"/>
                  </a:lnTo>
                  <a:lnTo>
                    <a:pt x="738" y="798"/>
                  </a:lnTo>
                  <a:lnTo>
                    <a:pt x="734" y="804"/>
                  </a:lnTo>
                  <a:lnTo>
                    <a:pt x="734" y="810"/>
                  </a:lnTo>
                  <a:lnTo>
                    <a:pt x="736" y="816"/>
                  </a:lnTo>
                  <a:lnTo>
                    <a:pt x="736" y="822"/>
                  </a:lnTo>
                  <a:lnTo>
                    <a:pt x="738" y="828"/>
                  </a:lnTo>
                  <a:lnTo>
                    <a:pt x="742" y="834"/>
                  </a:lnTo>
                  <a:lnTo>
                    <a:pt x="744" y="838"/>
                  </a:lnTo>
                  <a:lnTo>
                    <a:pt x="746" y="842"/>
                  </a:lnTo>
                  <a:lnTo>
                    <a:pt x="746" y="846"/>
                  </a:lnTo>
                  <a:lnTo>
                    <a:pt x="752" y="850"/>
                  </a:lnTo>
                  <a:lnTo>
                    <a:pt x="754" y="856"/>
                  </a:lnTo>
                  <a:lnTo>
                    <a:pt x="752" y="860"/>
                  </a:lnTo>
                  <a:lnTo>
                    <a:pt x="752" y="862"/>
                  </a:lnTo>
                  <a:lnTo>
                    <a:pt x="750" y="864"/>
                  </a:lnTo>
                  <a:lnTo>
                    <a:pt x="744" y="866"/>
                  </a:lnTo>
                  <a:lnTo>
                    <a:pt x="746" y="866"/>
                  </a:lnTo>
                  <a:lnTo>
                    <a:pt x="750" y="872"/>
                  </a:lnTo>
                  <a:lnTo>
                    <a:pt x="752" y="878"/>
                  </a:lnTo>
                  <a:lnTo>
                    <a:pt x="756" y="884"/>
                  </a:lnTo>
                  <a:lnTo>
                    <a:pt x="762" y="886"/>
                  </a:lnTo>
                  <a:lnTo>
                    <a:pt x="764" y="890"/>
                  </a:lnTo>
                  <a:lnTo>
                    <a:pt x="770" y="894"/>
                  </a:lnTo>
                  <a:lnTo>
                    <a:pt x="776" y="898"/>
                  </a:lnTo>
                  <a:lnTo>
                    <a:pt x="782" y="900"/>
                  </a:lnTo>
                  <a:lnTo>
                    <a:pt x="788" y="902"/>
                  </a:lnTo>
                  <a:lnTo>
                    <a:pt x="794" y="904"/>
                  </a:lnTo>
                  <a:lnTo>
                    <a:pt x="800" y="906"/>
                  </a:lnTo>
                  <a:lnTo>
                    <a:pt x="806" y="910"/>
                  </a:lnTo>
                  <a:lnTo>
                    <a:pt x="812" y="914"/>
                  </a:lnTo>
                  <a:lnTo>
                    <a:pt x="818" y="918"/>
                  </a:lnTo>
                  <a:lnTo>
                    <a:pt x="824" y="922"/>
                  </a:lnTo>
                  <a:lnTo>
                    <a:pt x="830" y="926"/>
                  </a:lnTo>
                  <a:lnTo>
                    <a:pt x="834" y="930"/>
                  </a:lnTo>
                  <a:lnTo>
                    <a:pt x="840" y="936"/>
                  </a:lnTo>
                  <a:lnTo>
                    <a:pt x="846" y="942"/>
                  </a:lnTo>
                  <a:lnTo>
                    <a:pt x="846" y="948"/>
                  </a:lnTo>
                  <a:lnTo>
                    <a:pt x="842" y="956"/>
                  </a:lnTo>
                  <a:lnTo>
                    <a:pt x="840" y="960"/>
                  </a:lnTo>
                  <a:lnTo>
                    <a:pt x="838" y="966"/>
                  </a:lnTo>
                  <a:lnTo>
                    <a:pt x="838" y="972"/>
                  </a:lnTo>
                  <a:lnTo>
                    <a:pt x="838" y="978"/>
                  </a:lnTo>
                  <a:lnTo>
                    <a:pt x="842" y="984"/>
                  </a:lnTo>
                  <a:lnTo>
                    <a:pt x="846" y="990"/>
                  </a:lnTo>
                  <a:lnTo>
                    <a:pt x="850" y="996"/>
                  </a:lnTo>
                  <a:lnTo>
                    <a:pt x="856" y="1000"/>
                  </a:lnTo>
                  <a:lnTo>
                    <a:pt x="862" y="1004"/>
                  </a:lnTo>
                  <a:lnTo>
                    <a:pt x="868" y="1006"/>
                  </a:lnTo>
                  <a:lnTo>
                    <a:pt x="874" y="1008"/>
                  </a:lnTo>
                  <a:lnTo>
                    <a:pt x="880" y="1004"/>
                  </a:lnTo>
                  <a:lnTo>
                    <a:pt x="884" y="1006"/>
                  </a:lnTo>
                  <a:lnTo>
                    <a:pt x="886" y="1010"/>
                  </a:lnTo>
                  <a:lnTo>
                    <a:pt x="888" y="1016"/>
                  </a:lnTo>
                  <a:lnTo>
                    <a:pt x="890" y="1022"/>
                  </a:lnTo>
                  <a:lnTo>
                    <a:pt x="892" y="1028"/>
                  </a:lnTo>
                  <a:lnTo>
                    <a:pt x="894" y="1034"/>
                  </a:lnTo>
                  <a:lnTo>
                    <a:pt x="896" y="1040"/>
                  </a:lnTo>
                  <a:lnTo>
                    <a:pt x="896" y="1048"/>
                  </a:lnTo>
                  <a:lnTo>
                    <a:pt x="892" y="1052"/>
                  </a:lnTo>
                  <a:lnTo>
                    <a:pt x="890" y="1058"/>
                  </a:lnTo>
                  <a:lnTo>
                    <a:pt x="888" y="1066"/>
                  </a:lnTo>
                  <a:lnTo>
                    <a:pt x="886" y="1070"/>
                  </a:lnTo>
                  <a:lnTo>
                    <a:pt x="884" y="1076"/>
                  </a:lnTo>
                  <a:lnTo>
                    <a:pt x="882" y="1082"/>
                  </a:lnTo>
                  <a:lnTo>
                    <a:pt x="880" y="1088"/>
                  </a:lnTo>
                  <a:lnTo>
                    <a:pt x="876" y="1096"/>
                  </a:lnTo>
                  <a:lnTo>
                    <a:pt x="872" y="1100"/>
                  </a:lnTo>
                  <a:lnTo>
                    <a:pt x="868" y="1106"/>
                  </a:lnTo>
                  <a:lnTo>
                    <a:pt x="864" y="1112"/>
                  </a:lnTo>
                  <a:lnTo>
                    <a:pt x="864" y="1118"/>
                  </a:lnTo>
                  <a:lnTo>
                    <a:pt x="866" y="1124"/>
                  </a:lnTo>
                  <a:lnTo>
                    <a:pt x="866" y="1130"/>
                  </a:lnTo>
                  <a:lnTo>
                    <a:pt x="860" y="1136"/>
                  </a:lnTo>
                  <a:lnTo>
                    <a:pt x="854" y="1140"/>
                  </a:lnTo>
                  <a:lnTo>
                    <a:pt x="848" y="1144"/>
                  </a:lnTo>
                  <a:lnTo>
                    <a:pt x="842" y="1148"/>
                  </a:lnTo>
                  <a:lnTo>
                    <a:pt x="838" y="1152"/>
                  </a:lnTo>
                  <a:lnTo>
                    <a:pt x="832" y="1154"/>
                  </a:lnTo>
                  <a:lnTo>
                    <a:pt x="826" y="1156"/>
                  </a:lnTo>
                  <a:lnTo>
                    <a:pt x="820" y="1158"/>
                  </a:lnTo>
                  <a:lnTo>
                    <a:pt x="814" y="1162"/>
                  </a:lnTo>
                  <a:lnTo>
                    <a:pt x="808" y="1162"/>
                  </a:lnTo>
                  <a:lnTo>
                    <a:pt x="802" y="1166"/>
                  </a:lnTo>
                  <a:lnTo>
                    <a:pt x="796" y="1168"/>
                  </a:lnTo>
                  <a:lnTo>
                    <a:pt x="790" y="1170"/>
                  </a:lnTo>
                  <a:lnTo>
                    <a:pt x="784" y="1172"/>
                  </a:lnTo>
                  <a:lnTo>
                    <a:pt x="778" y="1172"/>
                  </a:lnTo>
                  <a:lnTo>
                    <a:pt x="772" y="1174"/>
                  </a:lnTo>
                  <a:lnTo>
                    <a:pt x="766" y="1176"/>
                  </a:lnTo>
                  <a:lnTo>
                    <a:pt x="760" y="1176"/>
                  </a:lnTo>
                  <a:lnTo>
                    <a:pt x="754" y="1180"/>
                  </a:lnTo>
                  <a:lnTo>
                    <a:pt x="748" y="1180"/>
                  </a:lnTo>
                  <a:lnTo>
                    <a:pt x="742" y="1180"/>
                  </a:lnTo>
                  <a:lnTo>
                    <a:pt x="740" y="1180"/>
                  </a:lnTo>
                  <a:lnTo>
                    <a:pt x="736" y="1182"/>
                  </a:lnTo>
                  <a:lnTo>
                    <a:pt x="730" y="1182"/>
                  </a:lnTo>
                  <a:lnTo>
                    <a:pt x="724" y="1184"/>
                  </a:lnTo>
                  <a:lnTo>
                    <a:pt x="718" y="1186"/>
                  </a:lnTo>
                  <a:lnTo>
                    <a:pt x="712" y="1186"/>
                  </a:lnTo>
                  <a:lnTo>
                    <a:pt x="706" y="1188"/>
                  </a:lnTo>
                  <a:lnTo>
                    <a:pt x="700" y="1188"/>
                  </a:lnTo>
                  <a:lnTo>
                    <a:pt x="694" y="1188"/>
                  </a:lnTo>
                  <a:lnTo>
                    <a:pt x="688" y="1188"/>
                  </a:lnTo>
                  <a:lnTo>
                    <a:pt x="682" y="1190"/>
                  </a:lnTo>
                  <a:lnTo>
                    <a:pt x="676" y="1190"/>
                  </a:lnTo>
                  <a:lnTo>
                    <a:pt x="670" y="1190"/>
                  </a:lnTo>
                  <a:lnTo>
                    <a:pt x="664" y="1190"/>
                  </a:lnTo>
                  <a:lnTo>
                    <a:pt x="658" y="1192"/>
                  </a:lnTo>
                  <a:lnTo>
                    <a:pt x="652" y="1192"/>
                  </a:lnTo>
                  <a:lnTo>
                    <a:pt x="646" y="1188"/>
                  </a:lnTo>
                  <a:lnTo>
                    <a:pt x="640" y="1190"/>
                  </a:lnTo>
                  <a:lnTo>
                    <a:pt x="634" y="1188"/>
                  </a:lnTo>
                  <a:lnTo>
                    <a:pt x="628" y="1186"/>
                  </a:lnTo>
                  <a:lnTo>
                    <a:pt x="622" y="1182"/>
                  </a:lnTo>
                  <a:lnTo>
                    <a:pt x="618" y="1178"/>
                  </a:lnTo>
                  <a:lnTo>
                    <a:pt x="612" y="1178"/>
                  </a:lnTo>
                  <a:lnTo>
                    <a:pt x="606" y="1176"/>
                  </a:lnTo>
                  <a:lnTo>
                    <a:pt x="610" y="1182"/>
                  </a:lnTo>
                  <a:lnTo>
                    <a:pt x="614" y="1188"/>
                  </a:lnTo>
                  <a:lnTo>
                    <a:pt x="614" y="1194"/>
                  </a:lnTo>
                  <a:lnTo>
                    <a:pt x="614" y="1200"/>
                  </a:lnTo>
                  <a:lnTo>
                    <a:pt x="618" y="1206"/>
                  </a:lnTo>
                  <a:lnTo>
                    <a:pt x="622" y="1210"/>
                  </a:lnTo>
                  <a:lnTo>
                    <a:pt x="630" y="1210"/>
                  </a:lnTo>
                  <a:lnTo>
                    <a:pt x="632" y="1218"/>
                  </a:lnTo>
                  <a:lnTo>
                    <a:pt x="626" y="1216"/>
                  </a:lnTo>
                  <a:lnTo>
                    <a:pt x="632" y="1220"/>
                  </a:lnTo>
                  <a:lnTo>
                    <a:pt x="638" y="1224"/>
                  </a:lnTo>
                  <a:lnTo>
                    <a:pt x="638" y="1230"/>
                  </a:lnTo>
                  <a:lnTo>
                    <a:pt x="638" y="1236"/>
                  </a:lnTo>
                  <a:lnTo>
                    <a:pt x="640" y="1242"/>
                  </a:lnTo>
                  <a:lnTo>
                    <a:pt x="640" y="1248"/>
                  </a:lnTo>
                  <a:lnTo>
                    <a:pt x="636" y="1250"/>
                  </a:lnTo>
                  <a:lnTo>
                    <a:pt x="630" y="1248"/>
                  </a:lnTo>
                  <a:lnTo>
                    <a:pt x="632" y="1254"/>
                  </a:lnTo>
                  <a:lnTo>
                    <a:pt x="632" y="1260"/>
                  </a:lnTo>
                  <a:lnTo>
                    <a:pt x="632" y="1262"/>
                  </a:lnTo>
                  <a:lnTo>
                    <a:pt x="634" y="1268"/>
                  </a:lnTo>
                  <a:lnTo>
                    <a:pt x="634" y="1274"/>
                  </a:lnTo>
                  <a:lnTo>
                    <a:pt x="630" y="1280"/>
                  </a:lnTo>
                  <a:lnTo>
                    <a:pt x="634" y="1286"/>
                  </a:lnTo>
                  <a:lnTo>
                    <a:pt x="638" y="1292"/>
                  </a:lnTo>
                  <a:lnTo>
                    <a:pt x="644" y="1294"/>
                  </a:lnTo>
                  <a:lnTo>
                    <a:pt x="648" y="1300"/>
                  </a:lnTo>
                  <a:lnTo>
                    <a:pt x="648" y="1306"/>
                  </a:lnTo>
                  <a:lnTo>
                    <a:pt x="654" y="1304"/>
                  </a:lnTo>
                  <a:lnTo>
                    <a:pt x="652" y="1310"/>
                  </a:lnTo>
                  <a:lnTo>
                    <a:pt x="652" y="1316"/>
                  </a:lnTo>
                  <a:lnTo>
                    <a:pt x="648" y="1322"/>
                  </a:lnTo>
                  <a:lnTo>
                    <a:pt x="642" y="1324"/>
                  </a:lnTo>
                  <a:lnTo>
                    <a:pt x="636" y="1328"/>
                  </a:lnTo>
                  <a:lnTo>
                    <a:pt x="630" y="1332"/>
                  </a:lnTo>
                  <a:lnTo>
                    <a:pt x="626" y="1332"/>
                  </a:lnTo>
                  <a:lnTo>
                    <a:pt x="620" y="1336"/>
                  </a:lnTo>
                  <a:lnTo>
                    <a:pt x="614" y="1338"/>
                  </a:lnTo>
                  <a:lnTo>
                    <a:pt x="610" y="1340"/>
                  </a:lnTo>
                  <a:lnTo>
                    <a:pt x="602" y="1338"/>
                  </a:lnTo>
                  <a:lnTo>
                    <a:pt x="596" y="1340"/>
                  </a:lnTo>
                  <a:lnTo>
                    <a:pt x="592" y="1338"/>
                  </a:lnTo>
                  <a:lnTo>
                    <a:pt x="584" y="1340"/>
                  </a:lnTo>
                  <a:lnTo>
                    <a:pt x="580" y="1340"/>
                  </a:lnTo>
                  <a:lnTo>
                    <a:pt x="574" y="1338"/>
                  </a:lnTo>
                  <a:lnTo>
                    <a:pt x="566" y="1336"/>
                  </a:lnTo>
                  <a:lnTo>
                    <a:pt x="562" y="1332"/>
                  </a:lnTo>
                  <a:lnTo>
                    <a:pt x="556" y="1328"/>
                  </a:lnTo>
                  <a:lnTo>
                    <a:pt x="550" y="1328"/>
                  </a:lnTo>
                  <a:lnTo>
                    <a:pt x="544" y="1326"/>
                  </a:lnTo>
                  <a:lnTo>
                    <a:pt x="538" y="1324"/>
                  </a:lnTo>
                  <a:lnTo>
                    <a:pt x="532" y="1322"/>
                  </a:lnTo>
                  <a:lnTo>
                    <a:pt x="526" y="1320"/>
                  </a:lnTo>
                  <a:lnTo>
                    <a:pt x="520" y="1318"/>
                  </a:lnTo>
                  <a:lnTo>
                    <a:pt x="514" y="1316"/>
                  </a:lnTo>
                  <a:lnTo>
                    <a:pt x="508" y="1316"/>
                  </a:lnTo>
                  <a:lnTo>
                    <a:pt x="514" y="1314"/>
                  </a:lnTo>
                  <a:lnTo>
                    <a:pt x="508" y="1308"/>
                  </a:lnTo>
                  <a:lnTo>
                    <a:pt x="502" y="1312"/>
                  </a:lnTo>
                  <a:lnTo>
                    <a:pt x="496" y="1314"/>
                  </a:lnTo>
                  <a:lnTo>
                    <a:pt x="494" y="1320"/>
                  </a:lnTo>
                  <a:lnTo>
                    <a:pt x="494" y="1326"/>
                  </a:lnTo>
                  <a:lnTo>
                    <a:pt x="494" y="1332"/>
                  </a:lnTo>
                  <a:lnTo>
                    <a:pt x="498" y="1338"/>
                  </a:lnTo>
                  <a:lnTo>
                    <a:pt x="502" y="1344"/>
                  </a:lnTo>
                  <a:lnTo>
                    <a:pt x="504" y="1350"/>
                  </a:lnTo>
                  <a:lnTo>
                    <a:pt x="508" y="1356"/>
                  </a:lnTo>
                  <a:lnTo>
                    <a:pt x="514" y="1362"/>
                  </a:lnTo>
                  <a:lnTo>
                    <a:pt x="516" y="1368"/>
                  </a:lnTo>
                  <a:lnTo>
                    <a:pt x="516" y="1374"/>
                  </a:lnTo>
                  <a:lnTo>
                    <a:pt x="520" y="1380"/>
                  </a:lnTo>
                  <a:lnTo>
                    <a:pt x="520" y="1386"/>
                  </a:lnTo>
                  <a:lnTo>
                    <a:pt x="520" y="1392"/>
                  </a:lnTo>
                  <a:lnTo>
                    <a:pt x="522" y="1398"/>
                  </a:lnTo>
                  <a:lnTo>
                    <a:pt x="526" y="1402"/>
                  </a:lnTo>
                  <a:lnTo>
                    <a:pt x="528" y="1404"/>
                  </a:lnTo>
                  <a:lnTo>
                    <a:pt x="534" y="1408"/>
                  </a:lnTo>
                  <a:lnTo>
                    <a:pt x="540" y="1410"/>
                  </a:lnTo>
                  <a:lnTo>
                    <a:pt x="546" y="1412"/>
                  </a:lnTo>
                  <a:lnTo>
                    <a:pt x="552" y="1414"/>
                  </a:lnTo>
                  <a:lnTo>
                    <a:pt x="558" y="1414"/>
                  </a:lnTo>
                  <a:lnTo>
                    <a:pt x="560" y="1420"/>
                  </a:lnTo>
                  <a:lnTo>
                    <a:pt x="558" y="1426"/>
                  </a:lnTo>
                  <a:lnTo>
                    <a:pt x="564" y="1426"/>
                  </a:lnTo>
                  <a:lnTo>
                    <a:pt x="570" y="1426"/>
                  </a:lnTo>
                  <a:lnTo>
                    <a:pt x="576" y="1426"/>
                  </a:lnTo>
                  <a:lnTo>
                    <a:pt x="582" y="1426"/>
                  </a:lnTo>
                  <a:lnTo>
                    <a:pt x="588" y="1424"/>
                  </a:lnTo>
                  <a:lnTo>
                    <a:pt x="586" y="1418"/>
                  </a:lnTo>
                  <a:lnTo>
                    <a:pt x="580" y="1414"/>
                  </a:lnTo>
                  <a:lnTo>
                    <a:pt x="576" y="1414"/>
                  </a:lnTo>
                  <a:lnTo>
                    <a:pt x="568" y="1412"/>
                  </a:lnTo>
                  <a:lnTo>
                    <a:pt x="576" y="1412"/>
                  </a:lnTo>
                  <a:lnTo>
                    <a:pt x="582" y="1410"/>
                  </a:lnTo>
                  <a:lnTo>
                    <a:pt x="588" y="1408"/>
                  </a:lnTo>
                  <a:lnTo>
                    <a:pt x="592" y="1404"/>
                  </a:lnTo>
                  <a:lnTo>
                    <a:pt x="598" y="1404"/>
                  </a:lnTo>
                  <a:lnTo>
                    <a:pt x="604" y="1408"/>
                  </a:lnTo>
                  <a:lnTo>
                    <a:pt x="610" y="1416"/>
                  </a:lnTo>
                  <a:lnTo>
                    <a:pt x="614" y="1422"/>
                  </a:lnTo>
                  <a:lnTo>
                    <a:pt x="614" y="1426"/>
                  </a:lnTo>
                  <a:lnTo>
                    <a:pt x="618" y="1432"/>
                  </a:lnTo>
                  <a:lnTo>
                    <a:pt x="620" y="1438"/>
                  </a:lnTo>
                  <a:lnTo>
                    <a:pt x="618" y="1444"/>
                  </a:lnTo>
                  <a:lnTo>
                    <a:pt x="620" y="1450"/>
                  </a:lnTo>
                  <a:lnTo>
                    <a:pt x="614" y="1454"/>
                  </a:lnTo>
                  <a:lnTo>
                    <a:pt x="608" y="1456"/>
                  </a:lnTo>
                  <a:lnTo>
                    <a:pt x="602" y="1456"/>
                  </a:lnTo>
                  <a:lnTo>
                    <a:pt x="596" y="1458"/>
                  </a:lnTo>
                  <a:lnTo>
                    <a:pt x="590" y="1452"/>
                  </a:lnTo>
                  <a:lnTo>
                    <a:pt x="584" y="1446"/>
                  </a:lnTo>
                  <a:lnTo>
                    <a:pt x="586" y="1440"/>
                  </a:lnTo>
                  <a:lnTo>
                    <a:pt x="580" y="1438"/>
                  </a:lnTo>
                  <a:lnTo>
                    <a:pt x="574" y="1434"/>
                  </a:lnTo>
                  <a:lnTo>
                    <a:pt x="568" y="1432"/>
                  </a:lnTo>
                  <a:lnTo>
                    <a:pt x="562" y="1432"/>
                  </a:lnTo>
                  <a:lnTo>
                    <a:pt x="556" y="1434"/>
                  </a:lnTo>
                  <a:lnTo>
                    <a:pt x="550" y="1440"/>
                  </a:lnTo>
                  <a:lnTo>
                    <a:pt x="544" y="1446"/>
                  </a:lnTo>
                  <a:lnTo>
                    <a:pt x="546" y="1450"/>
                  </a:lnTo>
                  <a:lnTo>
                    <a:pt x="550" y="1452"/>
                  </a:lnTo>
                  <a:lnTo>
                    <a:pt x="556" y="1454"/>
                  </a:lnTo>
                  <a:lnTo>
                    <a:pt x="562" y="1458"/>
                  </a:lnTo>
                  <a:lnTo>
                    <a:pt x="568" y="1460"/>
                  </a:lnTo>
                  <a:lnTo>
                    <a:pt x="574" y="1460"/>
                  </a:lnTo>
                  <a:lnTo>
                    <a:pt x="580" y="1464"/>
                  </a:lnTo>
                  <a:lnTo>
                    <a:pt x="586" y="1462"/>
                  </a:lnTo>
                  <a:lnTo>
                    <a:pt x="584" y="1468"/>
                  </a:lnTo>
                  <a:lnTo>
                    <a:pt x="578" y="1472"/>
                  </a:lnTo>
                  <a:lnTo>
                    <a:pt x="572" y="1474"/>
                  </a:lnTo>
                  <a:lnTo>
                    <a:pt x="566" y="1476"/>
                  </a:lnTo>
                  <a:lnTo>
                    <a:pt x="560" y="1480"/>
                  </a:lnTo>
                  <a:lnTo>
                    <a:pt x="554" y="1486"/>
                  </a:lnTo>
                  <a:lnTo>
                    <a:pt x="554" y="1488"/>
                  </a:lnTo>
                  <a:lnTo>
                    <a:pt x="554" y="1494"/>
                  </a:lnTo>
                  <a:lnTo>
                    <a:pt x="552" y="1500"/>
                  </a:lnTo>
                  <a:lnTo>
                    <a:pt x="548" y="1506"/>
                  </a:lnTo>
                  <a:lnTo>
                    <a:pt x="548" y="1512"/>
                  </a:lnTo>
                  <a:lnTo>
                    <a:pt x="550" y="1518"/>
                  </a:lnTo>
                  <a:lnTo>
                    <a:pt x="554" y="1524"/>
                  </a:lnTo>
                  <a:lnTo>
                    <a:pt x="558" y="1530"/>
                  </a:lnTo>
                  <a:lnTo>
                    <a:pt x="562" y="1536"/>
                  </a:lnTo>
                  <a:lnTo>
                    <a:pt x="562" y="1542"/>
                  </a:lnTo>
                  <a:lnTo>
                    <a:pt x="562" y="1548"/>
                  </a:lnTo>
                  <a:lnTo>
                    <a:pt x="566" y="1552"/>
                  </a:lnTo>
                  <a:lnTo>
                    <a:pt x="568" y="1558"/>
                  </a:lnTo>
                  <a:lnTo>
                    <a:pt x="566" y="1566"/>
                  </a:lnTo>
                  <a:lnTo>
                    <a:pt x="566" y="1570"/>
                  </a:lnTo>
                  <a:lnTo>
                    <a:pt x="560" y="1572"/>
                  </a:lnTo>
                  <a:lnTo>
                    <a:pt x="554" y="1578"/>
                  </a:lnTo>
                  <a:lnTo>
                    <a:pt x="554" y="1582"/>
                  </a:lnTo>
                  <a:lnTo>
                    <a:pt x="554" y="1590"/>
                  </a:lnTo>
                  <a:lnTo>
                    <a:pt x="560" y="1592"/>
                  </a:lnTo>
                  <a:lnTo>
                    <a:pt x="566" y="1596"/>
                  </a:lnTo>
                  <a:lnTo>
                    <a:pt x="566" y="1602"/>
                  </a:lnTo>
                  <a:lnTo>
                    <a:pt x="564" y="1604"/>
                  </a:lnTo>
                  <a:lnTo>
                    <a:pt x="558" y="1604"/>
                  </a:lnTo>
                  <a:lnTo>
                    <a:pt x="554" y="1602"/>
                  </a:lnTo>
                  <a:lnTo>
                    <a:pt x="550" y="1602"/>
                  </a:lnTo>
                  <a:lnTo>
                    <a:pt x="550" y="1604"/>
                  </a:lnTo>
                  <a:lnTo>
                    <a:pt x="544" y="1602"/>
                  </a:lnTo>
                  <a:lnTo>
                    <a:pt x="542" y="1600"/>
                  </a:lnTo>
                  <a:lnTo>
                    <a:pt x="536" y="1600"/>
                  </a:lnTo>
                  <a:lnTo>
                    <a:pt x="530" y="1602"/>
                  </a:lnTo>
                  <a:lnTo>
                    <a:pt x="530" y="1604"/>
                  </a:lnTo>
                  <a:lnTo>
                    <a:pt x="524" y="1604"/>
                  </a:lnTo>
                  <a:lnTo>
                    <a:pt x="518" y="1610"/>
                  </a:lnTo>
                  <a:lnTo>
                    <a:pt x="520" y="1616"/>
                  </a:lnTo>
                  <a:lnTo>
                    <a:pt x="514" y="1616"/>
                  </a:lnTo>
                  <a:lnTo>
                    <a:pt x="508" y="1616"/>
                  </a:lnTo>
                  <a:lnTo>
                    <a:pt x="502" y="1616"/>
                  </a:lnTo>
                  <a:lnTo>
                    <a:pt x="496" y="1622"/>
                  </a:lnTo>
                  <a:lnTo>
                    <a:pt x="494" y="1628"/>
                  </a:lnTo>
                  <a:lnTo>
                    <a:pt x="492" y="1634"/>
                  </a:lnTo>
                  <a:lnTo>
                    <a:pt x="490" y="1640"/>
                  </a:lnTo>
                  <a:lnTo>
                    <a:pt x="486" y="1646"/>
                  </a:lnTo>
                  <a:lnTo>
                    <a:pt x="488" y="1652"/>
                  </a:lnTo>
                  <a:lnTo>
                    <a:pt x="486" y="1658"/>
                  </a:lnTo>
                  <a:lnTo>
                    <a:pt x="484" y="1664"/>
                  </a:lnTo>
                  <a:lnTo>
                    <a:pt x="482" y="1670"/>
                  </a:lnTo>
                  <a:lnTo>
                    <a:pt x="482" y="1672"/>
                  </a:lnTo>
                  <a:lnTo>
                    <a:pt x="484" y="1678"/>
                  </a:lnTo>
                  <a:lnTo>
                    <a:pt x="486" y="1684"/>
                  </a:lnTo>
                  <a:lnTo>
                    <a:pt x="490" y="1690"/>
                  </a:lnTo>
                  <a:lnTo>
                    <a:pt x="494" y="1696"/>
                  </a:lnTo>
                  <a:lnTo>
                    <a:pt x="500" y="1702"/>
                  </a:lnTo>
                  <a:lnTo>
                    <a:pt x="506" y="1708"/>
                  </a:lnTo>
                  <a:lnTo>
                    <a:pt x="512" y="1712"/>
                  </a:lnTo>
                  <a:lnTo>
                    <a:pt x="518" y="1714"/>
                  </a:lnTo>
                  <a:lnTo>
                    <a:pt x="524" y="1718"/>
                  </a:lnTo>
                  <a:lnTo>
                    <a:pt x="530" y="1722"/>
                  </a:lnTo>
                  <a:lnTo>
                    <a:pt x="536" y="1726"/>
                  </a:lnTo>
                  <a:lnTo>
                    <a:pt x="542" y="1730"/>
                  </a:lnTo>
                  <a:lnTo>
                    <a:pt x="548" y="1734"/>
                  </a:lnTo>
                  <a:lnTo>
                    <a:pt x="554" y="1738"/>
                  </a:lnTo>
                  <a:lnTo>
                    <a:pt x="560" y="1740"/>
                  </a:lnTo>
                  <a:lnTo>
                    <a:pt x="566" y="1740"/>
                  </a:lnTo>
                  <a:lnTo>
                    <a:pt x="572" y="1742"/>
                  </a:lnTo>
                  <a:lnTo>
                    <a:pt x="578" y="1744"/>
                  </a:lnTo>
                  <a:lnTo>
                    <a:pt x="584" y="1744"/>
                  </a:lnTo>
                  <a:lnTo>
                    <a:pt x="590" y="1744"/>
                  </a:lnTo>
                  <a:lnTo>
                    <a:pt x="596" y="1742"/>
                  </a:lnTo>
                  <a:lnTo>
                    <a:pt x="602" y="1744"/>
                  </a:lnTo>
                  <a:lnTo>
                    <a:pt x="608" y="1748"/>
                  </a:lnTo>
                  <a:lnTo>
                    <a:pt x="614" y="1754"/>
                  </a:lnTo>
                  <a:lnTo>
                    <a:pt x="618" y="1760"/>
                  </a:lnTo>
                  <a:lnTo>
                    <a:pt x="620" y="1766"/>
                  </a:lnTo>
                  <a:lnTo>
                    <a:pt x="622" y="1772"/>
                  </a:lnTo>
                  <a:lnTo>
                    <a:pt x="622" y="1778"/>
                  </a:lnTo>
                  <a:lnTo>
                    <a:pt x="622" y="1784"/>
                  </a:lnTo>
                  <a:lnTo>
                    <a:pt x="620" y="1790"/>
                  </a:lnTo>
                  <a:lnTo>
                    <a:pt x="614" y="1788"/>
                  </a:lnTo>
                  <a:lnTo>
                    <a:pt x="608" y="1792"/>
                  </a:lnTo>
                  <a:lnTo>
                    <a:pt x="602" y="1796"/>
                  </a:lnTo>
                  <a:lnTo>
                    <a:pt x="596" y="1796"/>
                  </a:lnTo>
                  <a:lnTo>
                    <a:pt x="600" y="1796"/>
                  </a:lnTo>
                  <a:lnTo>
                    <a:pt x="606" y="1794"/>
                  </a:lnTo>
                  <a:lnTo>
                    <a:pt x="612" y="1792"/>
                  </a:lnTo>
                  <a:lnTo>
                    <a:pt x="618" y="1790"/>
                  </a:lnTo>
                  <a:lnTo>
                    <a:pt x="624" y="1796"/>
                  </a:lnTo>
                  <a:lnTo>
                    <a:pt x="630" y="1802"/>
                  </a:lnTo>
                  <a:lnTo>
                    <a:pt x="624" y="1806"/>
                  </a:lnTo>
                  <a:lnTo>
                    <a:pt x="626" y="1810"/>
                  </a:lnTo>
                  <a:lnTo>
                    <a:pt x="620" y="1812"/>
                  </a:lnTo>
                  <a:lnTo>
                    <a:pt x="618" y="1818"/>
                  </a:lnTo>
                  <a:lnTo>
                    <a:pt x="612" y="1822"/>
                  </a:lnTo>
                  <a:lnTo>
                    <a:pt x="606" y="1828"/>
                  </a:lnTo>
                  <a:lnTo>
                    <a:pt x="600" y="1832"/>
                  </a:lnTo>
                  <a:lnTo>
                    <a:pt x="596" y="1838"/>
                  </a:lnTo>
                  <a:lnTo>
                    <a:pt x="590" y="1844"/>
                  </a:lnTo>
                  <a:lnTo>
                    <a:pt x="584" y="1846"/>
                  </a:lnTo>
                  <a:lnTo>
                    <a:pt x="578" y="1850"/>
                  </a:lnTo>
                  <a:lnTo>
                    <a:pt x="576" y="1856"/>
                  </a:lnTo>
                  <a:lnTo>
                    <a:pt x="572" y="1862"/>
                  </a:lnTo>
                  <a:lnTo>
                    <a:pt x="568" y="1868"/>
                  </a:lnTo>
                  <a:lnTo>
                    <a:pt x="564" y="1874"/>
                  </a:lnTo>
                  <a:lnTo>
                    <a:pt x="564" y="1880"/>
                  </a:lnTo>
                  <a:lnTo>
                    <a:pt x="566" y="1886"/>
                  </a:lnTo>
                  <a:lnTo>
                    <a:pt x="564" y="1892"/>
                  </a:lnTo>
                  <a:lnTo>
                    <a:pt x="560" y="1898"/>
                  </a:lnTo>
                  <a:lnTo>
                    <a:pt x="566" y="1898"/>
                  </a:lnTo>
                  <a:lnTo>
                    <a:pt x="570" y="1892"/>
                  </a:lnTo>
                  <a:lnTo>
                    <a:pt x="570" y="1898"/>
                  </a:lnTo>
                  <a:lnTo>
                    <a:pt x="572" y="1904"/>
                  </a:lnTo>
                  <a:lnTo>
                    <a:pt x="572" y="1910"/>
                  </a:lnTo>
                  <a:lnTo>
                    <a:pt x="574" y="1916"/>
                  </a:lnTo>
                  <a:lnTo>
                    <a:pt x="576" y="1922"/>
                  </a:lnTo>
                  <a:lnTo>
                    <a:pt x="576" y="1928"/>
                  </a:lnTo>
                  <a:lnTo>
                    <a:pt x="578" y="1934"/>
                  </a:lnTo>
                  <a:lnTo>
                    <a:pt x="574" y="1940"/>
                  </a:lnTo>
                  <a:lnTo>
                    <a:pt x="568" y="1944"/>
                  </a:lnTo>
                  <a:lnTo>
                    <a:pt x="562" y="1946"/>
                  </a:lnTo>
                  <a:lnTo>
                    <a:pt x="556" y="1948"/>
                  </a:lnTo>
                  <a:lnTo>
                    <a:pt x="550" y="1944"/>
                  </a:lnTo>
                  <a:lnTo>
                    <a:pt x="544" y="1940"/>
                  </a:lnTo>
                  <a:lnTo>
                    <a:pt x="544" y="1938"/>
                  </a:lnTo>
                  <a:lnTo>
                    <a:pt x="538" y="1934"/>
                  </a:lnTo>
                  <a:lnTo>
                    <a:pt x="532" y="1928"/>
                  </a:lnTo>
                  <a:lnTo>
                    <a:pt x="528" y="1924"/>
                  </a:lnTo>
                  <a:lnTo>
                    <a:pt x="522" y="1922"/>
                  </a:lnTo>
                  <a:lnTo>
                    <a:pt x="528" y="1924"/>
                  </a:lnTo>
                  <a:lnTo>
                    <a:pt x="530" y="1928"/>
                  </a:lnTo>
                  <a:lnTo>
                    <a:pt x="532" y="1930"/>
                  </a:lnTo>
                  <a:lnTo>
                    <a:pt x="534" y="1936"/>
                  </a:lnTo>
                  <a:lnTo>
                    <a:pt x="528" y="1938"/>
                  </a:lnTo>
                  <a:lnTo>
                    <a:pt x="522" y="1938"/>
                  </a:lnTo>
                  <a:lnTo>
                    <a:pt x="518" y="1938"/>
                  </a:lnTo>
                  <a:lnTo>
                    <a:pt x="516" y="1940"/>
                  </a:lnTo>
                  <a:lnTo>
                    <a:pt x="520" y="1940"/>
                  </a:lnTo>
                  <a:lnTo>
                    <a:pt x="522" y="1938"/>
                  </a:lnTo>
                  <a:lnTo>
                    <a:pt x="528" y="1938"/>
                  </a:lnTo>
                  <a:lnTo>
                    <a:pt x="534" y="1938"/>
                  </a:lnTo>
                  <a:lnTo>
                    <a:pt x="540" y="1940"/>
                  </a:lnTo>
                  <a:lnTo>
                    <a:pt x="546" y="1946"/>
                  </a:lnTo>
                  <a:lnTo>
                    <a:pt x="552" y="1948"/>
                  </a:lnTo>
                  <a:lnTo>
                    <a:pt x="550" y="1954"/>
                  </a:lnTo>
                  <a:lnTo>
                    <a:pt x="544" y="1956"/>
                  </a:lnTo>
                  <a:lnTo>
                    <a:pt x="538" y="1958"/>
                  </a:lnTo>
                  <a:lnTo>
                    <a:pt x="532" y="1964"/>
                  </a:lnTo>
                  <a:lnTo>
                    <a:pt x="530" y="1970"/>
                  </a:lnTo>
                  <a:lnTo>
                    <a:pt x="528" y="1976"/>
                  </a:lnTo>
                  <a:lnTo>
                    <a:pt x="528" y="1982"/>
                  </a:lnTo>
                  <a:lnTo>
                    <a:pt x="530" y="1988"/>
                  </a:lnTo>
                  <a:lnTo>
                    <a:pt x="532" y="1994"/>
                  </a:lnTo>
                  <a:lnTo>
                    <a:pt x="534" y="2000"/>
                  </a:lnTo>
                  <a:lnTo>
                    <a:pt x="530" y="2006"/>
                  </a:lnTo>
                  <a:lnTo>
                    <a:pt x="526" y="2012"/>
                  </a:lnTo>
                  <a:lnTo>
                    <a:pt x="528" y="2010"/>
                  </a:lnTo>
                  <a:lnTo>
                    <a:pt x="534" y="2006"/>
                  </a:lnTo>
                  <a:lnTo>
                    <a:pt x="540" y="2008"/>
                  </a:lnTo>
                  <a:lnTo>
                    <a:pt x="542" y="2014"/>
                  </a:lnTo>
                  <a:lnTo>
                    <a:pt x="548" y="2020"/>
                  </a:lnTo>
                  <a:lnTo>
                    <a:pt x="552" y="2026"/>
                  </a:lnTo>
                  <a:lnTo>
                    <a:pt x="556" y="2032"/>
                  </a:lnTo>
                  <a:lnTo>
                    <a:pt x="562" y="2038"/>
                  </a:lnTo>
                  <a:lnTo>
                    <a:pt x="562" y="2044"/>
                  </a:lnTo>
                  <a:lnTo>
                    <a:pt x="558" y="2046"/>
                  </a:lnTo>
                  <a:lnTo>
                    <a:pt x="550" y="2044"/>
                  </a:lnTo>
                  <a:lnTo>
                    <a:pt x="546" y="2044"/>
                  </a:lnTo>
                  <a:lnTo>
                    <a:pt x="538" y="2044"/>
                  </a:lnTo>
                  <a:lnTo>
                    <a:pt x="532" y="2048"/>
                  </a:lnTo>
                  <a:lnTo>
                    <a:pt x="534" y="2048"/>
                  </a:lnTo>
                  <a:lnTo>
                    <a:pt x="540" y="2046"/>
                  </a:lnTo>
                  <a:lnTo>
                    <a:pt x="546" y="2046"/>
                  </a:lnTo>
                  <a:lnTo>
                    <a:pt x="552" y="2046"/>
                  </a:lnTo>
                  <a:lnTo>
                    <a:pt x="558" y="2052"/>
                  </a:lnTo>
                  <a:lnTo>
                    <a:pt x="564" y="2048"/>
                  </a:lnTo>
                  <a:lnTo>
                    <a:pt x="570" y="2052"/>
                  </a:lnTo>
                  <a:lnTo>
                    <a:pt x="576" y="2056"/>
                  </a:lnTo>
                  <a:lnTo>
                    <a:pt x="580" y="2062"/>
                  </a:lnTo>
                  <a:lnTo>
                    <a:pt x="586" y="2068"/>
                  </a:lnTo>
                  <a:lnTo>
                    <a:pt x="592" y="2072"/>
                  </a:lnTo>
                  <a:lnTo>
                    <a:pt x="598" y="2078"/>
                  </a:lnTo>
                  <a:lnTo>
                    <a:pt x="604" y="2082"/>
                  </a:lnTo>
                  <a:lnTo>
                    <a:pt x="610" y="2086"/>
                  </a:lnTo>
                  <a:lnTo>
                    <a:pt x="616" y="2090"/>
                  </a:lnTo>
                  <a:lnTo>
                    <a:pt x="618" y="2098"/>
                  </a:lnTo>
                  <a:lnTo>
                    <a:pt x="618" y="2096"/>
                  </a:lnTo>
                  <a:lnTo>
                    <a:pt x="616" y="2096"/>
                  </a:lnTo>
                  <a:lnTo>
                    <a:pt x="612" y="2094"/>
                  </a:lnTo>
                  <a:lnTo>
                    <a:pt x="610" y="2094"/>
                  </a:lnTo>
                  <a:lnTo>
                    <a:pt x="604" y="2092"/>
                  </a:lnTo>
                  <a:lnTo>
                    <a:pt x="598" y="2092"/>
                  </a:lnTo>
                  <a:lnTo>
                    <a:pt x="596" y="2092"/>
                  </a:lnTo>
                  <a:lnTo>
                    <a:pt x="592" y="2090"/>
                  </a:lnTo>
                  <a:lnTo>
                    <a:pt x="586" y="2086"/>
                  </a:lnTo>
                  <a:lnTo>
                    <a:pt x="580" y="2084"/>
                  </a:lnTo>
                  <a:lnTo>
                    <a:pt x="576" y="2084"/>
                  </a:lnTo>
                  <a:lnTo>
                    <a:pt x="570" y="2082"/>
                  </a:lnTo>
                  <a:lnTo>
                    <a:pt x="564" y="2082"/>
                  </a:lnTo>
                  <a:lnTo>
                    <a:pt x="558" y="2082"/>
                  </a:lnTo>
                  <a:lnTo>
                    <a:pt x="552" y="2080"/>
                  </a:lnTo>
                  <a:lnTo>
                    <a:pt x="548" y="2080"/>
                  </a:lnTo>
                  <a:lnTo>
                    <a:pt x="542" y="2078"/>
                  </a:lnTo>
                  <a:lnTo>
                    <a:pt x="536" y="2076"/>
                  </a:lnTo>
                  <a:lnTo>
                    <a:pt x="530" y="2074"/>
                  </a:lnTo>
                  <a:lnTo>
                    <a:pt x="524" y="2072"/>
                  </a:lnTo>
                  <a:lnTo>
                    <a:pt x="518" y="2072"/>
                  </a:lnTo>
                  <a:lnTo>
                    <a:pt x="512" y="2072"/>
                  </a:lnTo>
                  <a:lnTo>
                    <a:pt x="506" y="2072"/>
                  </a:lnTo>
                  <a:lnTo>
                    <a:pt x="500" y="2072"/>
                  </a:lnTo>
                  <a:lnTo>
                    <a:pt x="494" y="2072"/>
                  </a:lnTo>
                  <a:lnTo>
                    <a:pt x="486" y="2072"/>
                  </a:lnTo>
                  <a:lnTo>
                    <a:pt x="480" y="2072"/>
                  </a:lnTo>
                  <a:lnTo>
                    <a:pt x="474" y="2072"/>
                  </a:lnTo>
                  <a:lnTo>
                    <a:pt x="468" y="2072"/>
                  </a:lnTo>
                  <a:lnTo>
                    <a:pt x="462" y="2072"/>
                  </a:lnTo>
                  <a:lnTo>
                    <a:pt x="456" y="2072"/>
                  </a:lnTo>
                  <a:lnTo>
                    <a:pt x="454" y="2072"/>
                  </a:lnTo>
                  <a:lnTo>
                    <a:pt x="448" y="2072"/>
                  </a:lnTo>
                  <a:lnTo>
                    <a:pt x="444" y="2072"/>
                  </a:lnTo>
                  <a:lnTo>
                    <a:pt x="438" y="2072"/>
                  </a:lnTo>
                  <a:lnTo>
                    <a:pt x="432" y="2072"/>
                  </a:lnTo>
                  <a:lnTo>
                    <a:pt x="424" y="2072"/>
                  </a:lnTo>
                  <a:lnTo>
                    <a:pt x="422" y="2070"/>
                  </a:lnTo>
                  <a:lnTo>
                    <a:pt x="418" y="2064"/>
                  </a:lnTo>
                  <a:lnTo>
                    <a:pt x="414" y="2060"/>
                  </a:lnTo>
                  <a:lnTo>
                    <a:pt x="408" y="2056"/>
                  </a:lnTo>
                  <a:lnTo>
                    <a:pt x="402" y="2054"/>
                  </a:lnTo>
                  <a:lnTo>
                    <a:pt x="396" y="2052"/>
                  </a:lnTo>
                  <a:lnTo>
                    <a:pt x="394" y="2052"/>
                  </a:lnTo>
                  <a:lnTo>
                    <a:pt x="388" y="2044"/>
                  </a:lnTo>
                  <a:lnTo>
                    <a:pt x="382" y="2044"/>
                  </a:lnTo>
                  <a:lnTo>
                    <a:pt x="384" y="2038"/>
                  </a:lnTo>
                  <a:lnTo>
                    <a:pt x="384" y="2032"/>
                  </a:lnTo>
                  <a:lnTo>
                    <a:pt x="382" y="2026"/>
                  </a:lnTo>
                  <a:lnTo>
                    <a:pt x="382" y="2024"/>
                  </a:lnTo>
                  <a:lnTo>
                    <a:pt x="378" y="2020"/>
                  </a:lnTo>
                  <a:lnTo>
                    <a:pt x="372" y="2016"/>
                  </a:lnTo>
                  <a:lnTo>
                    <a:pt x="372" y="2010"/>
                  </a:lnTo>
                  <a:lnTo>
                    <a:pt x="374" y="2004"/>
                  </a:lnTo>
                  <a:lnTo>
                    <a:pt x="372" y="1998"/>
                  </a:lnTo>
                  <a:lnTo>
                    <a:pt x="366" y="1992"/>
                  </a:lnTo>
                  <a:lnTo>
                    <a:pt x="362" y="1986"/>
                  </a:lnTo>
                  <a:lnTo>
                    <a:pt x="358" y="1982"/>
                  </a:lnTo>
                  <a:lnTo>
                    <a:pt x="352" y="1980"/>
                  </a:lnTo>
                  <a:lnTo>
                    <a:pt x="346" y="1984"/>
                  </a:lnTo>
                  <a:lnTo>
                    <a:pt x="340" y="1982"/>
                  </a:lnTo>
                  <a:lnTo>
                    <a:pt x="334" y="1982"/>
                  </a:lnTo>
                  <a:lnTo>
                    <a:pt x="328" y="1986"/>
                  </a:lnTo>
                  <a:lnTo>
                    <a:pt x="322" y="1990"/>
                  </a:lnTo>
                  <a:lnTo>
                    <a:pt x="316" y="1988"/>
                  </a:lnTo>
                  <a:lnTo>
                    <a:pt x="314" y="1982"/>
                  </a:lnTo>
                  <a:lnTo>
                    <a:pt x="308" y="1976"/>
                  </a:lnTo>
                  <a:lnTo>
                    <a:pt x="304" y="1970"/>
                  </a:lnTo>
                  <a:lnTo>
                    <a:pt x="302" y="1964"/>
                  </a:lnTo>
                  <a:lnTo>
                    <a:pt x="296" y="1958"/>
                  </a:lnTo>
                  <a:lnTo>
                    <a:pt x="290" y="1954"/>
                  </a:lnTo>
                  <a:lnTo>
                    <a:pt x="284" y="1950"/>
                  </a:lnTo>
                  <a:lnTo>
                    <a:pt x="278" y="1946"/>
                  </a:lnTo>
                  <a:lnTo>
                    <a:pt x="278" y="1940"/>
                  </a:lnTo>
                  <a:lnTo>
                    <a:pt x="278" y="1938"/>
                  </a:lnTo>
                  <a:lnTo>
                    <a:pt x="272" y="1934"/>
                  </a:lnTo>
                  <a:lnTo>
                    <a:pt x="272" y="1928"/>
                  </a:lnTo>
                  <a:lnTo>
                    <a:pt x="270" y="1922"/>
                  </a:lnTo>
                  <a:lnTo>
                    <a:pt x="266" y="1916"/>
                  </a:lnTo>
                  <a:lnTo>
                    <a:pt x="262" y="1910"/>
                  </a:lnTo>
                  <a:lnTo>
                    <a:pt x="260" y="1904"/>
                  </a:lnTo>
                  <a:lnTo>
                    <a:pt x="260" y="1900"/>
                  </a:lnTo>
                  <a:lnTo>
                    <a:pt x="260" y="1892"/>
                  </a:lnTo>
                  <a:lnTo>
                    <a:pt x="266" y="1892"/>
                  </a:lnTo>
                  <a:lnTo>
                    <a:pt x="272" y="1890"/>
                  </a:lnTo>
                  <a:lnTo>
                    <a:pt x="270" y="1888"/>
                  </a:lnTo>
                  <a:lnTo>
                    <a:pt x="272" y="1882"/>
                  </a:lnTo>
                  <a:lnTo>
                    <a:pt x="272" y="1876"/>
                  </a:lnTo>
                  <a:lnTo>
                    <a:pt x="274" y="1870"/>
                  </a:lnTo>
                  <a:lnTo>
                    <a:pt x="280" y="1868"/>
                  </a:lnTo>
                  <a:lnTo>
                    <a:pt x="288" y="1866"/>
                  </a:lnTo>
                  <a:lnTo>
                    <a:pt x="290" y="1860"/>
                  </a:lnTo>
                  <a:lnTo>
                    <a:pt x="290" y="1854"/>
                  </a:lnTo>
                  <a:lnTo>
                    <a:pt x="288" y="1850"/>
                  </a:lnTo>
                  <a:lnTo>
                    <a:pt x="284" y="1844"/>
                  </a:lnTo>
                  <a:lnTo>
                    <a:pt x="280" y="1838"/>
                  </a:lnTo>
                  <a:lnTo>
                    <a:pt x="282" y="1834"/>
                  </a:lnTo>
                  <a:lnTo>
                    <a:pt x="288" y="1832"/>
                  </a:lnTo>
                  <a:lnTo>
                    <a:pt x="292" y="1826"/>
                  </a:lnTo>
                  <a:lnTo>
                    <a:pt x="288" y="1820"/>
                  </a:lnTo>
                  <a:lnTo>
                    <a:pt x="286" y="1814"/>
                  </a:lnTo>
                  <a:lnTo>
                    <a:pt x="280" y="1808"/>
                  </a:lnTo>
                  <a:lnTo>
                    <a:pt x="274" y="1804"/>
                  </a:lnTo>
                  <a:lnTo>
                    <a:pt x="268" y="1802"/>
                  </a:lnTo>
                  <a:lnTo>
                    <a:pt x="268" y="1794"/>
                  </a:lnTo>
                  <a:lnTo>
                    <a:pt x="266" y="1790"/>
                  </a:lnTo>
                  <a:lnTo>
                    <a:pt x="268" y="1782"/>
                  </a:lnTo>
                  <a:lnTo>
                    <a:pt x="268" y="1778"/>
                  </a:lnTo>
                  <a:lnTo>
                    <a:pt x="266" y="1770"/>
                  </a:lnTo>
                  <a:lnTo>
                    <a:pt x="266" y="1764"/>
                  </a:lnTo>
                  <a:lnTo>
                    <a:pt x="274" y="1764"/>
                  </a:lnTo>
                  <a:lnTo>
                    <a:pt x="276" y="1758"/>
                  </a:lnTo>
                  <a:lnTo>
                    <a:pt x="276" y="1756"/>
                  </a:lnTo>
                  <a:lnTo>
                    <a:pt x="278" y="1752"/>
                  </a:lnTo>
                  <a:lnTo>
                    <a:pt x="284" y="1752"/>
                  </a:lnTo>
                  <a:lnTo>
                    <a:pt x="284" y="1750"/>
                  </a:lnTo>
                  <a:lnTo>
                    <a:pt x="278" y="1744"/>
                  </a:lnTo>
                  <a:lnTo>
                    <a:pt x="272" y="1742"/>
                  </a:lnTo>
                  <a:lnTo>
                    <a:pt x="272" y="1736"/>
                  </a:lnTo>
                  <a:lnTo>
                    <a:pt x="270" y="1730"/>
                  </a:lnTo>
                  <a:lnTo>
                    <a:pt x="270" y="1724"/>
                  </a:lnTo>
                  <a:lnTo>
                    <a:pt x="274" y="1720"/>
                  </a:lnTo>
                  <a:lnTo>
                    <a:pt x="278" y="1714"/>
                  </a:lnTo>
                  <a:lnTo>
                    <a:pt x="274" y="1708"/>
                  </a:lnTo>
                  <a:lnTo>
                    <a:pt x="274" y="1706"/>
                  </a:lnTo>
                  <a:lnTo>
                    <a:pt x="274" y="1704"/>
                  </a:lnTo>
                  <a:lnTo>
                    <a:pt x="268" y="1698"/>
                  </a:lnTo>
                  <a:lnTo>
                    <a:pt x="266" y="1692"/>
                  </a:lnTo>
                  <a:lnTo>
                    <a:pt x="264" y="1690"/>
                  </a:lnTo>
                  <a:lnTo>
                    <a:pt x="258" y="1684"/>
                  </a:lnTo>
                  <a:lnTo>
                    <a:pt x="252" y="1678"/>
                  </a:lnTo>
                  <a:lnTo>
                    <a:pt x="258" y="1676"/>
                  </a:lnTo>
                  <a:lnTo>
                    <a:pt x="260" y="1672"/>
                  </a:lnTo>
                  <a:lnTo>
                    <a:pt x="262" y="1670"/>
                  </a:lnTo>
                  <a:lnTo>
                    <a:pt x="262" y="1666"/>
                  </a:lnTo>
                  <a:lnTo>
                    <a:pt x="260" y="1662"/>
                  </a:lnTo>
                  <a:lnTo>
                    <a:pt x="258" y="1662"/>
                  </a:lnTo>
                  <a:lnTo>
                    <a:pt x="252" y="1660"/>
                  </a:lnTo>
                  <a:lnTo>
                    <a:pt x="250" y="1654"/>
                  </a:lnTo>
                  <a:lnTo>
                    <a:pt x="246" y="1650"/>
                  </a:lnTo>
                  <a:lnTo>
                    <a:pt x="244" y="1642"/>
                  </a:lnTo>
                  <a:lnTo>
                    <a:pt x="248" y="1638"/>
                  </a:lnTo>
                  <a:lnTo>
                    <a:pt x="254" y="1638"/>
                  </a:lnTo>
                  <a:lnTo>
                    <a:pt x="256" y="1634"/>
                  </a:lnTo>
                  <a:lnTo>
                    <a:pt x="256" y="1628"/>
                  </a:lnTo>
                  <a:lnTo>
                    <a:pt x="262" y="1622"/>
                  </a:lnTo>
                  <a:lnTo>
                    <a:pt x="256" y="1616"/>
                  </a:lnTo>
                  <a:lnTo>
                    <a:pt x="250" y="1612"/>
                  </a:lnTo>
                  <a:lnTo>
                    <a:pt x="244" y="1608"/>
                  </a:lnTo>
                  <a:lnTo>
                    <a:pt x="240" y="1602"/>
                  </a:lnTo>
                  <a:lnTo>
                    <a:pt x="238" y="1600"/>
                  </a:lnTo>
                  <a:lnTo>
                    <a:pt x="232" y="1600"/>
                  </a:lnTo>
                  <a:lnTo>
                    <a:pt x="226" y="1596"/>
                  </a:lnTo>
                  <a:lnTo>
                    <a:pt x="220" y="1598"/>
                  </a:lnTo>
                  <a:lnTo>
                    <a:pt x="214" y="1596"/>
                  </a:lnTo>
                  <a:lnTo>
                    <a:pt x="206" y="1592"/>
                  </a:lnTo>
                  <a:lnTo>
                    <a:pt x="208" y="1586"/>
                  </a:lnTo>
                  <a:lnTo>
                    <a:pt x="214" y="1586"/>
                  </a:lnTo>
                  <a:lnTo>
                    <a:pt x="220" y="1584"/>
                  </a:lnTo>
                  <a:lnTo>
                    <a:pt x="226" y="1586"/>
                  </a:lnTo>
                  <a:lnTo>
                    <a:pt x="232" y="1586"/>
                  </a:lnTo>
                  <a:lnTo>
                    <a:pt x="238" y="1586"/>
                  </a:lnTo>
                  <a:lnTo>
                    <a:pt x="244" y="1588"/>
                  </a:lnTo>
                  <a:lnTo>
                    <a:pt x="250" y="1582"/>
                  </a:lnTo>
                  <a:lnTo>
                    <a:pt x="248" y="1576"/>
                  </a:lnTo>
                  <a:lnTo>
                    <a:pt x="252" y="1570"/>
                  </a:lnTo>
                  <a:lnTo>
                    <a:pt x="250" y="1568"/>
                  </a:lnTo>
                  <a:lnTo>
                    <a:pt x="244" y="1562"/>
                  </a:lnTo>
                  <a:lnTo>
                    <a:pt x="236" y="1562"/>
                  </a:lnTo>
                  <a:lnTo>
                    <a:pt x="232" y="1560"/>
                  </a:lnTo>
                  <a:lnTo>
                    <a:pt x="226" y="1562"/>
                  </a:lnTo>
                  <a:lnTo>
                    <a:pt x="220" y="1562"/>
                  </a:lnTo>
                  <a:lnTo>
                    <a:pt x="212" y="1560"/>
                  </a:lnTo>
                  <a:lnTo>
                    <a:pt x="206" y="1560"/>
                  </a:lnTo>
                  <a:lnTo>
                    <a:pt x="206" y="1554"/>
                  </a:lnTo>
                  <a:lnTo>
                    <a:pt x="204" y="1548"/>
                  </a:lnTo>
                  <a:lnTo>
                    <a:pt x="200" y="1542"/>
                  </a:lnTo>
                  <a:lnTo>
                    <a:pt x="202" y="1536"/>
                  </a:lnTo>
                  <a:lnTo>
                    <a:pt x="206" y="1530"/>
                  </a:lnTo>
                  <a:lnTo>
                    <a:pt x="204" y="1528"/>
                  </a:lnTo>
                  <a:lnTo>
                    <a:pt x="198" y="1522"/>
                  </a:lnTo>
                  <a:lnTo>
                    <a:pt x="192" y="1518"/>
                  </a:lnTo>
                  <a:lnTo>
                    <a:pt x="196" y="1512"/>
                  </a:lnTo>
                  <a:lnTo>
                    <a:pt x="192" y="1506"/>
                  </a:lnTo>
                  <a:lnTo>
                    <a:pt x="190" y="1504"/>
                  </a:lnTo>
                  <a:lnTo>
                    <a:pt x="188" y="1502"/>
                  </a:lnTo>
                  <a:lnTo>
                    <a:pt x="182" y="1498"/>
                  </a:lnTo>
                  <a:lnTo>
                    <a:pt x="176" y="1494"/>
                  </a:lnTo>
                  <a:lnTo>
                    <a:pt x="178" y="1488"/>
                  </a:lnTo>
                  <a:lnTo>
                    <a:pt x="182" y="1484"/>
                  </a:lnTo>
                  <a:lnTo>
                    <a:pt x="180" y="1476"/>
                  </a:lnTo>
                  <a:lnTo>
                    <a:pt x="174" y="1474"/>
                  </a:lnTo>
                  <a:lnTo>
                    <a:pt x="168" y="1474"/>
                  </a:lnTo>
                  <a:lnTo>
                    <a:pt x="162" y="1472"/>
                  </a:lnTo>
                  <a:lnTo>
                    <a:pt x="156" y="1468"/>
                  </a:lnTo>
                  <a:lnTo>
                    <a:pt x="152" y="1462"/>
                  </a:lnTo>
                  <a:lnTo>
                    <a:pt x="152" y="1456"/>
                  </a:lnTo>
                  <a:lnTo>
                    <a:pt x="150" y="1450"/>
                  </a:lnTo>
                  <a:lnTo>
                    <a:pt x="148" y="1444"/>
                  </a:lnTo>
                  <a:lnTo>
                    <a:pt x="144" y="1438"/>
                  </a:lnTo>
                  <a:lnTo>
                    <a:pt x="144" y="1432"/>
                  </a:lnTo>
                  <a:lnTo>
                    <a:pt x="144" y="1426"/>
                  </a:lnTo>
                  <a:lnTo>
                    <a:pt x="142" y="1422"/>
                  </a:lnTo>
                  <a:lnTo>
                    <a:pt x="136" y="1418"/>
                  </a:lnTo>
                  <a:lnTo>
                    <a:pt x="138" y="1412"/>
                  </a:lnTo>
                  <a:lnTo>
                    <a:pt x="140" y="1406"/>
                  </a:lnTo>
                  <a:lnTo>
                    <a:pt x="148" y="1406"/>
                  </a:lnTo>
                  <a:lnTo>
                    <a:pt x="152" y="1402"/>
                  </a:lnTo>
                  <a:lnTo>
                    <a:pt x="150" y="1396"/>
                  </a:lnTo>
                  <a:lnTo>
                    <a:pt x="148" y="1396"/>
                  </a:lnTo>
                  <a:lnTo>
                    <a:pt x="146" y="1388"/>
                  </a:lnTo>
                  <a:lnTo>
                    <a:pt x="140" y="1384"/>
                  </a:lnTo>
                  <a:lnTo>
                    <a:pt x="136" y="1378"/>
                  </a:lnTo>
                  <a:lnTo>
                    <a:pt x="130" y="1370"/>
                  </a:lnTo>
                  <a:lnTo>
                    <a:pt x="132" y="1366"/>
                  </a:lnTo>
                  <a:lnTo>
                    <a:pt x="130" y="1360"/>
                  </a:lnTo>
                  <a:lnTo>
                    <a:pt x="126" y="1354"/>
                  </a:lnTo>
                  <a:lnTo>
                    <a:pt x="126" y="1348"/>
                  </a:lnTo>
                  <a:lnTo>
                    <a:pt x="122" y="1340"/>
                  </a:lnTo>
                  <a:lnTo>
                    <a:pt x="122" y="1336"/>
                  </a:lnTo>
                  <a:lnTo>
                    <a:pt x="122" y="1334"/>
                  </a:lnTo>
                  <a:lnTo>
                    <a:pt x="120" y="1328"/>
                  </a:lnTo>
                  <a:lnTo>
                    <a:pt x="118" y="1324"/>
                  </a:lnTo>
                  <a:lnTo>
                    <a:pt x="112" y="1316"/>
                  </a:lnTo>
                  <a:lnTo>
                    <a:pt x="108" y="1312"/>
                  </a:lnTo>
                  <a:lnTo>
                    <a:pt x="108" y="1310"/>
                  </a:lnTo>
                  <a:lnTo>
                    <a:pt x="110" y="1302"/>
                  </a:lnTo>
                  <a:lnTo>
                    <a:pt x="108" y="1296"/>
                  </a:lnTo>
                  <a:lnTo>
                    <a:pt x="110" y="1290"/>
                  </a:lnTo>
                  <a:lnTo>
                    <a:pt x="114" y="1286"/>
                  </a:lnTo>
                  <a:lnTo>
                    <a:pt x="112" y="1280"/>
                  </a:lnTo>
                  <a:lnTo>
                    <a:pt x="106" y="1278"/>
                  </a:lnTo>
                  <a:lnTo>
                    <a:pt x="102" y="1272"/>
                  </a:lnTo>
                  <a:lnTo>
                    <a:pt x="100" y="1266"/>
                  </a:lnTo>
                  <a:lnTo>
                    <a:pt x="106" y="1266"/>
                  </a:lnTo>
                  <a:lnTo>
                    <a:pt x="106" y="1260"/>
                  </a:lnTo>
                  <a:lnTo>
                    <a:pt x="108" y="1254"/>
                  </a:lnTo>
                  <a:lnTo>
                    <a:pt x="102" y="1248"/>
                  </a:lnTo>
                  <a:lnTo>
                    <a:pt x="100" y="1246"/>
                  </a:lnTo>
                  <a:lnTo>
                    <a:pt x="98" y="1240"/>
                  </a:lnTo>
                  <a:lnTo>
                    <a:pt x="96" y="1234"/>
                  </a:lnTo>
                  <a:lnTo>
                    <a:pt x="98" y="1230"/>
                  </a:lnTo>
                  <a:lnTo>
                    <a:pt x="104" y="1232"/>
                  </a:lnTo>
                  <a:lnTo>
                    <a:pt x="106" y="1232"/>
                  </a:lnTo>
                  <a:lnTo>
                    <a:pt x="104" y="1226"/>
                  </a:lnTo>
                  <a:lnTo>
                    <a:pt x="106" y="1220"/>
                  </a:lnTo>
                  <a:lnTo>
                    <a:pt x="106" y="1214"/>
                  </a:lnTo>
                  <a:lnTo>
                    <a:pt x="106" y="1208"/>
                  </a:lnTo>
                  <a:lnTo>
                    <a:pt x="102" y="1202"/>
                  </a:lnTo>
                  <a:lnTo>
                    <a:pt x="100" y="1196"/>
                  </a:lnTo>
                  <a:lnTo>
                    <a:pt x="98" y="1190"/>
                  </a:lnTo>
                  <a:lnTo>
                    <a:pt x="96" y="1184"/>
                  </a:lnTo>
                  <a:lnTo>
                    <a:pt x="102" y="1180"/>
                  </a:lnTo>
                  <a:lnTo>
                    <a:pt x="108" y="1176"/>
                  </a:lnTo>
                  <a:lnTo>
                    <a:pt x="114" y="1172"/>
                  </a:lnTo>
                  <a:lnTo>
                    <a:pt x="120" y="1172"/>
                  </a:lnTo>
                  <a:lnTo>
                    <a:pt x="122" y="1168"/>
                  </a:lnTo>
                  <a:lnTo>
                    <a:pt x="122" y="1162"/>
                  </a:lnTo>
                  <a:lnTo>
                    <a:pt x="120" y="1158"/>
                  </a:lnTo>
                  <a:lnTo>
                    <a:pt x="114" y="1154"/>
                  </a:lnTo>
                  <a:lnTo>
                    <a:pt x="110" y="1148"/>
                  </a:lnTo>
                  <a:lnTo>
                    <a:pt x="106" y="1142"/>
                  </a:lnTo>
                  <a:lnTo>
                    <a:pt x="104" y="1136"/>
                  </a:lnTo>
                  <a:lnTo>
                    <a:pt x="102" y="1132"/>
                  </a:lnTo>
                  <a:lnTo>
                    <a:pt x="100" y="1126"/>
                  </a:lnTo>
                  <a:lnTo>
                    <a:pt x="96" y="1120"/>
                  </a:lnTo>
                  <a:lnTo>
                    <a:pt x="92" y="1114"/>
                  </a:lnTo>
                  <a:lnTo>
                    <a:pt x="88" y="1108"/>
                  </a:lnTo>
                  <a:lnTo>
                    <a:pt x="84" y="1102"/>
                  </a:lnTo>
                  <a:lnTo>
                    <a:pt x="82" y="1096"/>
                  </a:lnTo>
                  <a:lnTo>
                    <a:pt x="82" y="1090"/>
                  </a:lnTo>
                  <a:lnTo>
                    <a:pt x="82" y="1084"/>
                  </a:lnTo>
                  <a:lnTo>
                    <a:pt x="76" y="1078"/>
                  </a:lnTo>
                  <a:lnTo>
                    <a:pt x="74" y="1072"/>
                  </a:lnTo>
                  <a:lnTo>
                    <a:pt x="76" y="1066"/>
                  </a:lnTo>
                  <a:lnTo>
                    <a:pt x="74" y="1060"/>
                  </a:lnTo>
                  <a:lnTo>
                    <a:pt x="72" y="1054"/>
                  </a:lnTo>
                  <a:lnTo>
                    <a:pt x="70" y="1050"/>
                  </a:lnTo>
                  <a:lnTo>
                    <a:pt x="70" y="1048"/>
                  </a:lnTo>
                  <a:lnTo>
                    <a:pt x="68" y="1046"/>
                  </a:lnTo>
                  <a:lnTo>
                    <a:pt x="66" y="1040"/>
                  </a:lnTo>
                  <a:lnTo>
                    <a:pt x="66" y="1034"/>
                  </a:lnTo>
                  <a:lnTo>
                    <a:pt x="68" y="1028"/>
                  </a:lnTo>
                  <a:lnTo>
                    <a:pt x="66" y="1022"/>
                  </a:lnTo>
                  <a:lnTo>
                    <a:pt x="66" y="1016"/>
                  </a:lnTo>
                  <a:lnTo>
                    <a:pt x="72" y="1016"/>
                  </a:lnTo>
                  <a:lnTo>
                    <a:pt x="72" y="1012"/>
                  </a:lnTo>
                  <a:lnTo>
                    <a:pt x="78" y="1014"/>
                  </a:lnTo>
                  <a:lnTo>
                    <a:pt x="82" y="1008"/>
                  </a:lnTo>
                  <a:lnTo>
                    <a:pt x="80" y="1002"/>
                  </a:lnTo>
                  <a:lnTo>
                    <a:pt x="86" y="996"/>
                  </a:lnTo>
                  <a:lnTo>
                    <a:pt x="92" y="994"/>
                  </a:lnTo>
                  <a:lnTo>
                    <a:pt x="94" y="994"/>
                  </a:lnTo>
                  <a:lnTo>
                    <a:pt x="96" y="986"/>
                  </a:lnTo>
                  <a:lnTo>
                    <a:pt x="94" y="984"/>
                  </a:lnTo>
                  <a:lnTo>
                    <a:pt x="92" y="978"/>
                  </a:lnTo>
                  <a:lnTo>
                    <a:pt x="92" y="972"/>
                  </a:lnTo>
                  <a:lnTo>
                    <a:pt x="90" y="966"/>
                  </a:lnTo>
                  <a:lnTo>
                    <a:pt x="86" y="960"/>
                  </a:lnTo>
                  <a:lnTo>
                    <a:pt x="84" y="954"/>
                  </a:lnTo>
                  <a:lnTo>
                    <a:pt x="82" y="948"/>
                  </a:lnTo>
                  <a:lnTo>
                    <a:pt x="78" y="942"/>
                  </a:lnTo>
                  <a:lnTo>
                    <a:pt x="76" y="936"/>
                  </a:lnTo>
                  <a:lnTo>
                    <a:pt x="70" y="934"/>
                  </a:lnTo>
                  <a:lnTo>
                    <a:pt x="72" y="928"/>
                  </a:lnTo>
                  <a:lnTo>
                    <a:pt x="76" y="926"/>
                  </a:lnTo>
                  <a:lnTo>
                    <a:pt x="78" y="920"/>
                  </a:lnTo>
                  <a:lnTo>
                    <a:pt x="76" y="916"/>
                  </a:lnTo>
                  <a:lnTo>
                    <a:pt x="76" y="910"/>
                  </a:lnTo>
                  <a:lnTo>
                    <a:pt x="76" y="904"/>
                  </a:lnTo>
                  <a:lnTo>
                    <a:pt x="76" y="898"/>
                  </a:lnTo>
                  <a:lnTo>
                    <a:pt x="76" y="894"/>
                  </a:lnTo>
                  <a:lnTo>
                    <a:pt x="76" y="888"/>
                  </a:lnTo>
                  <a:lnTo>
                    <a:pt x="80" y="882"/>
                  </a:lnTo>
                  <a:lnTo>
                    <a:pt x="80" y="876"/>
                  </a:lnTo>
                  <a:lnTo>
                    <a:pt x="82" y="870"/>
                  </a:lnTo>
                  <a:lnTo>
                    <a:pt x="80" y="866"/>
                  </a:lnTo>
                  <a:lnTo>
                    <a:pt x="84" y="864"/>
                  </a:lnTo>
                  <a:lnTo>
                    <a:pt x="90" y="866"/>
                  </a:lnTo>
                  <a:lnTo>
                    <a:pt x="92" y="858"/>
                  </a:lnTo>
                  <a:lnTo>
                    <a:pt x="88" y="852"/>
                  </a:lnTo>
                  <a:lnTo>
                    <a:pt x="88" y="846"/>
                  </a:lnTo>
                  <a:lnTo>
                    <a:pt x="82" y="842"/>
                  </a:lnTo>
                  <a:lnTo>
                    <a:pt x="82" y="836"/>
                  </a:lnTo>
                  <a:lnTo>
                    <a:pt x="80" y="830"/>
                  </a:lnTo>
                  <a:lnTo>
                    <a:pt x="80" y="824"/>
                  </a:lnTo>
                  <a:lnTo>
                    <a:pt x="78" y="818"/>
                  </a:lnTo>
                  <a:lnTo>
                    <a:pt x="80" y="812"/>
                  </a:lnTo>
                  <a:lnTo>
                    <a:pt x="80" y="806"/>
                  </a:lnTo>
                  <a:lnTo>
                    <a:pt x="78" y="800"/>
                  </a:lnTo>
                  <a:lnTo>
                    <a:pt x="72" y="794"/>
                  </a:lnTo>
                  <a:lnTo>
                    <a:pt x="68" y="796"/>
                  </a:lnTo>
                  <a:lnTo>
                    <a:pt x="66" y="796"/>
                  </a:lnTo>
                  <a:lnTo>
                    <a:pt x="60" y="790"/>
                  </a:lnTo>
                  <a:lnTo>
                    <a:pt x="58" y="784"/>
                  </a:lnTo>
                  <a:lnTo>
                    <a:pt x="56" y="780"/>
                  </a:lnTo>
                  <a:lnTo>
                    <a:pt x="58" y="774"/>
                  </a:lnTo>
                  <a:lnTo>
                    <a:pt x="58" y="770"/>
                  </a:lnTo>
                  <a:lnTo>
                    <a:pt x="58" y="766"/>
                  </a:lnTo>
                  <a:lnTo>
                    <a:pt x="52" y="764"/>
                  </a:lnTo>
                  <a:lnTo>
                    <a:pt x="52" y="762"/>
                  </a:lnTo>
                  <a:lnTo>
                    <a:pt x="46" y="756"/>
                  </a:lnTo>
                  <a:lnTo>
                    <a:pt x="44" y="752"/>
                  </a:lnTo>
                  <a:lnTo>
                    <a:pt x="46" y="746"/>
                  </a:lnTo>
                  <a:lnTo>
                    <a:pt x="42" y="740"/>
                  </a:lnTo>
                  <a:lnTo>
                    <a:pt x="36" y="736"/>
                  </a:lnTo>
                  <a:lnTo>
                    <a:pt x="36" y="730"/>
                  </a:lnTo>
                  <a:lnTo>
                    <a:pt x="34" y="728"/>
                  </a:lnTo>
                  <a:lnTo>
                    <a:pt x="28" y="722"/>
                  </a:lnTo>
                  <a:lnTo>
                    <a:pt x="24" y="716"/>
                  </a:lnTo>
                  <a:lnTo>
                    <a:pt x="22" y="710"/>
                  </a:lnTo>
                  <a:lnTo>
                    <a:pt x="28" y="710"/>
                  </a:lnTo>
                  <a:lnTo>
                    <a:pt x="30" y="704"/>
                  </a:lnTo>
                  <a:lnTo>
                    <a:pt x="24" y="698"/>
                  </a:lnTo>
                  <a:lnTo>
                    <a:pt x="18" y="698"/>
                  </a:lnTo>
                  <a:lnTo>
                    <a:pt x="12" y="692"/>
                  </a:lnTo>
                  <a:lnTo>
                    <a:pt x="10" y="686"/>
                  </a:lnTo>
                  <a:lnTo>
                    <a:pt x="4" y="680"/>
                  </a:lnTo>
                  <a:lnTo>
                    <a:pt x="2" y="674"/>
                  </a:lnTo>
                  <a:lnTo>
                    <a:pt x="2" y="668"/>
                  </a:lnTo>
                  <a:lnTo>
                    <a:pt x="2" y="664"/>
                  </a:lnTo>
                  <a:lnTo>
                    <a:pt x="0" y="658"/>
                  </a:lnTo>
                  <a:lnTo>
                    <a:pt x="0" y="650"/>
                  </a:lnTo>
                  <a:lnTo>
                    <a:pt x="2" y="646"/>
                  </a:lnTo>
                  <a:lnTo>
                    <a:pt x="8" y="646"/>
                  </a:lnTo>
                  <a:lnTo>
                    <a:pt x="8" y="642"/>
                  </a:lnTo>
                  <a:lnTo>
                    <a:pt x="8" y="636"/>
                  </a:lnTo>
                  <a:lnTo>
                    <a:pt x="6" y="630"/>
                  </a:lnTo>
                  <a:lnTo>
                    <a:pt x="6" y="624"/>
                  </a:lnTo>
                  <a:lnTo>
                    <a:pt x="8" y="618"/>
                  </a:lnTo>
                  <a:lnTo>
                    <a:pt x="8" y="612"/>
                  </a:lnTo>
                  <a:lnTo>
                    <a:pt x="8" y="606"/>
                  </a:lnTo>
                  <a:lnTo>
                    <a:pt x="12" y="600"/>
                  </a:lnTo>
                  <a:lnTo>
                    <a:pt x="8" y="594"/>
                  </a:lnTo>
                  <a:lnTo>
                    <a:pt x="14" y="596"/>
                  </a:lnTo>
                  <a:lnTo>
                    <a:pt x="18" y="596"/>
                  </a:lnTo>
                  <a:lnTo>
                    <a:pt x="24" y="590"/>
                  </a:lnTo>
                  <a:lnTo>
                    <a:pt x="22" y="584"/>
                  </a:lnTo>
                  <a:lnTo>
                    <a:pt x="24" y="578"/>
                  </a:lnTo>
                  <a:lnTo>
                    <a:pt x="18" y="574"/>
                  </a:lnTo>
                  <a:lnTo>
                    <a:pt x="16" y="568"/>
                  </a:lnTo>
                  <a:lnTo>
                    <a:pt x="16" y="562"/>
                  </a:lnTo>
                  <a:lnTo>
                    <a:pt x="16" y="556"/>
                  </a:lnTo>
                  <a:lnTo>
                    <a:pt x="14" y="550"/>
                  </a:lnTo>
                  <a:lnTo>
                    <a:pt x="12" y="548"/>
                  </a:lnTo>
                  <a:lnTo>
                    <a:pt x="8" y="542"/>
                  </a:lnTo>
                  <a:lnTo>
                    <a:pt x="8" y="536"/>
                  </a:lnTo>
                  <a:lnTo>
                    <a:pt x="4" y="530"/>
                  </a:lnTo>
                  <a:lnTo>
                    <a:pt x="2" y="524"/>
                  </a:lnTo>
                  <a:lnTo>
                    <a:pt x="0" y="518"/>
                  </a:lnTo>
                  <a:lnTo>
                    <a:pt x="2" y="5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2" name="Freeform 270"/>
            <p:cNvSpPr>
              <a:spLocks/>
            </p:cNvSpPr>
            <p:nvPr/>
          </p:nvSpPr>
          <p:spPr bwMode="auto">
            <a:xfrm>
              <a:off x="1960563" y="3738563"/>
              <a:ext cx="101600" cy="115887"/>
            </a:xfrm>
            <a:custGeom>
              <a:avLst/>
              <a:gdLst>
                <a:gd name="T0" fmla="*/ 2147483647 w 252"/>
                <a:gd name="T1" fmla="*/ 2147483647 h 282"/>
                <a:gd name="T2" fmla="*/ 2147483647 w 252"/>
                <a:gd name="T3" fmla="*/ 2147483647 h 282"/>
                <a:gd name="T4" fmla="*/ 2147483647 w 252"/>
                <a:gd name="T5" fmla="*/ 2147483647 h 282"/>
                <a:gd name="T6" fmla="*/ 2147483647 w 252"/>
                <a:gd name="T7" fmla="*/ 2147483647 h 282"/>
                <a:gd name="T8" fmla="*/ 2147483647 w 252"/>
                <a:gd name="T9" fmla="*/ 2147483647 h 282"/>
                <a:gd name="T10" fmla="*/ 2147483647 w 252"/>
                <a:gd name="T11" fmla="*/ 2147483647 h 282"/>
                <a:gd name="T12" fmla="*/ 2147483647 w 252"/>
                <a:gd name="T13" fmla="*/ 2147483647 h 282"/>
                <a:gd name="T14" fmla="*/ 2147483647 w 252"/>
                <a:gd name="T15" fmla="*/ 2147483647 h 282"/>
                <a:gd name="T16" fmla="*/ 2147483647 w 252"/>
                <a:gd name="T17" fmla="*/ 2147483647 h 282"/>
                <a:gd name="T18" fmla="*/ 2147483647 w 252"/>
                <a:gd name="T19" fmla="*/ 2147483647 h 282"/>
                <a:gd name="T20" fmla="*/ 2147483647 w 252"/>
                <a:gd name="T21" fmla="*/ 2147483647 h 282"/>
                <a:gd name="T22" fmla="*/ 2147483647 w 252"/>
                <a:gd name="T23" fmla="*/ 2147483647 h 282"/>
                <a:gd name="T24" fmla="*/ 2147483647 w 252"/>
                <a:gd name="T25" fmla="*/ 2147483647 h 282"/>
                <a:gd name="T26" fmla="*/ 2147483647 w 252"/>
                <a:gd name="T27" fmla="*/ 2147483647 h 282"/>
                <a:gd name="T28" fmla="*/ 2147483647 w 252"/>
                <a:gd name="T29" fmla="*/ 2147483647 h 282"/>
                <a:gd name="T30" fmla="*/ 2147483647 w 252"/>
                <a:gd name="T31" fmla="*/ 2147483647 h 282"/>
                <a:gd name="T32" fmla="*/ 2147483647 w 252"/>
                <a:gd name="T33" fmla="*/ 2147483647 h 282"/>
                <a:gd name="T34" fmla="*/ 2147483647 w 252"/>
                <a:gd name="T35" fmla="*/ 0 h 282"/>
                <a:gd name="T36" fmla="*/ 2147483647 w 252"/>
                <a:gd name="T37" fmla="*/ 0 h 282"/>
                <a:gd name="T38" fmla="*/ 2147483647 w 252"/>
                <a:gd name="T39" fmla="*/ 0 h 282"/>
                <a:gd name="T40" fmla="*/ 2147483647 w 252"/>
                <a:gd name="T41" fmla="*/ 0 h 282"/>
                <a:gd name="T42" fmla="*/ 2147483647 w 252"/>
                <a:gd name="T43" fmla="*/ 0 h 282"/>
                <a:gd name="T44" fmla="*/ 2147483647 w 252"/>
                <a:gd name="T45" fmla="*/ 0 h 282"/>
                <a:gd name="T46" fmla="*/ 2147483647 w 252"/>
                <a:gd name="T47" fmla="*/ 2147483647 h 282"/>
                <a:gd name="T48" fmla="*/ 2147483647 w 252"/>
                <a:gd name="T49" fmla="*/ 2147483647 h 282"/>
                <a:gd name="T50" fmla="*/ 2147483647 w 252"/>
                <a:gd name="T51" fmla="*/ 2147483647 h 282"/>
                <a:gd name="T52" fmla="*/ 2147483647 w 252"/>
                <a:gd name="T53" fmla="*/ 2147483647 h 282"/>
                <a:gd name="T54" fmla="*/ 2147483647 w 252"/>
                <a:gd name="T55" fmla="*/ 2147483647 h 282"/>
                <a:gd name="T56" fmla="*/ 2147483647 w 252"/>
                <a:gd name="T57" fmla="*/ 2147483647 h 282"/>
                <a:gd name="T58" fmla="*/ 2147483647 w 252"/>
                <a:gd name="T59" fmla="*/ 2147483647 h 282"/>
                <a:gd name="T60" fmla="*/ 2147483647 w 252"/>
                <a:gd name="T61" fmla="*/ 2147483647 h 282"/>
                <a:gd name="T62" fmla="*/ 2147483647 w 252"/>
                <a:gd name="T63" fmla="*/ 2147483647 h 282"/>
                <a:gd name="T64" fmla="*/ 2147483647 w 252"/>
                <a:gd name="T65" fmla="*/ 2147483647 h 282"/>
                <a:gd name="T66" fmla="*/ 2147483647 w 252"/>
                <a:gd name="T67" fmla="*/ 2147483647 h 282"/>
                <a:gd name="T68" fmla="*/ 2147483647 w 252"/>
                <a:gd name="T69" fmla="*/ 2147483647 h 282"/>
                <a:gd name="T70" fmla="*/ 2147483647 w 252"/>
                <a:gd name="T71" fmla="*/ 2147483647 h 282"/>
                <a:gd name="T72" fmla="*/ 2147483647 w 252"/>
                <a:gd name="T73" fmla="*/ 2147483647 h 282"/>
                <a:gd name="T74" fmla="*/ 2147483647 w 252"/>
                <a:gd name="T75" fmla="*/ 2147483647 h 282"/>
                <a:gd name="T76" fmla="*/ 2147483647 w 252"/>
                <a:gd name="T77" fmla="*/ 2147483647 h 282"/>
                <a:gd name="T78" fmla="*/ 2147483647 w 252"/>
                <a:gd name="T79" fmla="*/ 2147483647 h 282"/>
                <a:gd name="T80" fmla="*/ 2147483647 w 252"/>
                <a:gd name="T81" fmla="*/ 2147483647 h 282"/>
                <a:gd name="T82" fmla="*/ 2147483647 w 252"/>
                <a:gd name="T83" fmla="*/ 2147483647 h 282"/>
                <a:gd name="T84" fmla="*/ 2147483647 w 252"/>
                <a:gd name="T85" fmla="*/ 2147483647 h 282"/>
                <a:gd name="T86" fmla="*/ 2147483647 w 252"/>
                <a:gd name="T87" fmla="*/ 2147483647 h 282"/>
                <a:gd name="T88" fmla="*/ 2147483647 w 252"/>
                <a:gd name="T89" fmla="*/ 2147483647 h 282"/>
                <a:gd name="T90" fmla="*/ 2147483647 w 252"/>
                <a:gd name="T91" fmla="*/ 2147483647 h 282"/>
                <a:gd name="T92" fmla="*/ 2147483647 w 252"/>
                <a:gd name="T93" fmla="*/ 2147483647 h 282"/>
                <a:gd name="T94" fmla="*/ 2147483647 w 252"/>
                <a:gd name="T95" fmla="*/ 2147483647 h 282"/>
                <a:gd name="T96" fmla="*/ 2147483647 w 252"/>
                <a:gd name="T97" fmla="*/ 2147483647 h 282"/>
                <a:gd name="T98" fmla="*/ 2147483647 w 252"/>
                <a:gd name="T99" fmla="*/ 2147483647 h 282"/>
                <a:gd name="T100" fmla="*/ 2147483647 w 252"/>
                <a:gd name="T101" fmla="*/ 2147483647 h 282"/>
                <a:gd name="T102" fmla="*/ 0 w 252"/>
                <a:gd name="T103" fmla="*/ 2147483647 h 28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52"/>
                <a:gd name="T157" fmla="*/ 0 h 282"/>
                <a:gd name="T158" fmla="*/ 252 w 252"/>
                <a:gd name="T159" fmla="*/ 282 h 28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52" h="282">
                  <a:moveTo>
                    <a:pt x="0" y="226"/>
                  </a:moveTo>
                  <a:lnTo>
                    <a:pt x="4" y="220"/>
                  </a:lnTo>
                  <a:lnTo>
                    <a:pt x="6" y="218"/>
                  </a:lnTo>
                  <a:lnTo>
                    <a:pt x="6" y="212"/>
                  </a:lnTo>
                  <a:lnTo>
                    <a:pt x="6" y="206"/>
                  </a:lnTo>
                  <a:lnTo>
                    <a:pt x="8" y="200"/>
                  </a:lnTo>
                  <a:lnTo>
                    <a:pt x="8" y="198"/>
                  </a:lnTo>
                  <a:lnTo>
                    <a:pt x="14" y="192"/>
                  </a:lnTo>
                  <a:lnTo>
                    <a:pt x="14" y="190"/>
                  </a:lnTo>
                  <a:lnTo>
                    <a:pt x="12" y="184"/>
                  </a:lnTo>
                  <a:lnTo>
                    <a:pt x="10" y="182"/>
                  </a:lnTo>
                  <a:lnTo>
                    <a:pt x="8" y="176"/>
                  </a:lnTo>
                  <a:lnTo>
                    <a:pt x="12" y="170"/>
                  </a:lnTo>
                  <a:lnTo>
                    <a:pt x="14" y="166"/>
                  </a:lnTo>
                  <a:lnTo>
                    <a:pt x="18" y="160"/>
                  </a:lnTo>
                  <a:lnTo>
                    <a:pt x="22" y="154"/>
                  </a:lnTo>
                  <a:lnTo>
                    <a:pt x="24" y="150"/>
                  </a:lnTo>
                  <a:lnTo>
                    <a:pt x="28" y="144"/>
                  </a:lnTo>
                  <a:lnTo>
                    <a:pt x="30" y="144"/>
                  </a:lnTo>
                  <a:lnTo>
                    <a:pt x="30" y="140"/>
                  </a:lnTo>
                  <a:lnTo>
                    <a:pt x="34" y="134"/>
                  </a:lnTo>
                  <a:lnTo>
                    <a:pt x="38" y="128"/>
                  </a:lnTo>
                  <a:lnTo>
                    <a:pt x="42" y="122"/>
                  </a:lnTo>
                  <a:lnTo>
                    <a:pt x="48" y="122"/>
                  </a:lnTo>
                  <a:lnTo>
                    <a:pt x="54" y="122"/>
                  </a:lnTo>
                  <a:lnTo>
                    <a:pt x="60" y="122"/>
                  </a:lnTo>
                  <a:lnTo>
                    <a:pt x="64" y="122"/>
                  </a:lnTo>
                  <a:lnTo>
                    <a:pt x="66" y="122"/>
                  </a:lnTo>
                  <a:lnTo>
                    <a:pt x="72" y="122"/>
                  </a:lnTo>
                  <a:lnTo>
                    <a:pt x="78" y="122"/>
                  </a:lnTo>
                  <a:lnTo>
                    <a:pt x="80" y="122"/>
                  </a:lnTo>
                  <a:lnTo>
                    <a:pt x="82" y="122"/>
                  </a:lnTo>
                  <a:lnTo>
                    <a:pt x="84" y="122"/>
                  </a:lnTo>
                  <a:lnTo>
                    <a:pt x="88" y="122"/>
                  </a:lnTo>
                  <a:lnTo>
                    <a:pt x="90" y="122"/>
                  </a:lnTo>
                  <a:lnTo>
                    <a:pt x="96" y="122"/>
                  </a:lnTo>
                  <a:lnTo>
                    <a:pt x="102" y="122"/>
                  </a:lnTo>
                  <a:lnTo>
                    <a:pt x="108" y="122"/>
                  </a:lnTo>
                  <a:lnTo>
                    <a:pt x="114" y="122"/>
                  </a:lnTo>
                  <a:lnTo>
                    <a:pt x="120" y="122"/>
                  </a:lnTo>
                  <a:lnTo>
                    <a:pt x="120" y="120"/>
                  </a:lnTo>
                  <a:lnTo>
                    <a:pt x="122" y="114"/>
                  </a:lnTo>
                  <a:lnTo>
                    <a:pt x="122" y="110"/>
                  </a:lnTo>
                  <a:lnTo>
                    <a:pt x="126" y="104"/>
                  </a:lnTo>
                  <a:lnTo>
                    <a:pt x="126" y="98"/>
                  </a:lnTo>
                  <a:lnTo>
                    <a:pt x="120" y="94"/>
                  </a:lnTo>
                  <a:lnTo>
                    <a:pt x="118" y="94"/>
                  </a:lnTo>
                  <a:lnTo>
                    <a:pt x="114" y="86"/>
                  </a:lnTo>
                  <a:lnTo>
                    <a:pt x="112" y="84"/>
                  </a:lnTo>
                  <a:lnTo>
                    <a:pt x="112" y="80"/>
                  </a:lnTo>
                  <a:lnTo>
                    <a:pt x="110" y="76"/>
                  </a:lnTo>
                  <a:lnTo>
                    <a:pt x="104" y="70"/>
                  </a:lnTo>
                  <a:lnTo>
                    <a:pt x="98" y="68"/>
                  </a:lnTo>
                  <a:lnTo>
                    <a:pt x="92" y="64"/>
                  </a:lnTo>
                  <a:lnTo>
                    <a:pt x="90" y="58"/>
                  </a:lnTo>
                  <a:lnTo>
                    <a:pt x="84" y="52"/>
                  </a:lnTo>
                  <a:lnTo>
                    <a:pt x="82" y="46"/>
                  </a:lnTo>
                  <a:lnTo>
                    <a:pt x="74" y="42"/>
                  </a:lnTo>
                  <a:lnTo>
                    <a:pt x="72" y="40"/>
                  </a:lnTo>
                  <a:lnTo>
                    <a:pt x="78" y="40"/>
                  </a:lnTo>
                  <a:lnTo>
                    <a:pt x="84" y="40"/>
                  </a:lnTo>
                  <a:lnTo>
                    <a:pt x="90" y="40"/>
                  </a:lnTo>
                  <a:lnTo>
                    <a:pt x="96" y="40"/>
                  </a:lnTo>
                  <a:lnTo>
                    <a:pt x="100" y="38"/>
                  </a:lnTo>
                  <a:lnTo>
                    <a:pt x="100" y="32"/>
                  </a:lnTo>
                  <a:lnTo>
                    <a:pt x="102" y="26"/>
                  </a:lnTo>
                  <a:lnTo>
                    <a:pt x="102" y="20"/>
                  </a:lnTo>
                  <a:lnTo>
                    <a:pt x="102" y="14"/>
                  </a:lnTo>
                  <a:lnTo>
                    <a:pt x="104" y="8"/>
                  </a:lnTo>
                  <a:lnTo>
                    <a:pt x="104" y="2"/>
                  </a:lnTo>
                  <a:lnTo>
                    <a:pt x="104" y="0"/>
                  </a:lnTo>
                  <a:lnTo>
                    <a:pt x="110" y="0"/>
                  </a:lnTo>
                  <a:lnTo>
                    <a:pt x="116" y="0"/>
                  </a:lnTo>
                  <a:lnTo>
                    <a:pt x="120" y="0"/>
                  </a:lnTo>
                  <a:lnTo>
                    <a:pt x="124" y="0"/>
                  </a:lnTo>
                  <a:lnTo>
                    <a:pt x="130" y="0"/>
                  </a:lnTo>
                  <a:lnTo>
                    <a:pt x="136" y="0"/>
                  </a:lnTo>
                  <a:lnTo>
                    <a:pt x="142" y="0"/>
                  </a:lnTo>
                  <a:lnTo>
                    <a:pt x="148" y="0"/>
                  </a:lnTo>
                  <a:lnTo>
                    <a:pt x="156" y="0"/>
                  </a:lnTo>
                  <a:lnTo>
                    <a:pt x="164" y="0"/>
                  </a:lnTo>
                  <a:lnTo>
                    <a:pt x="170" y="0"/>
                  </a:lnTo>
                  <a:lnTo>
                    <a:pt x="176" y="0"/>
                  </a:lnTo>
                  <a:lnTo>
                    <a:pt x="182" y="0"/>
                  </a:lnTo>
                  <a:lnTo>
                    <a:pt x="188" y="0"/>
                  </a:lnTo>
                  <a:lnTo>
                    <a:pt x="194" y="0"/>
                  </a:lnTo>
                  <a:lnTo>
                    <a:pt x="198" y="0"/>
                  </a:lnTo>
                  <a:lnTo>
                    <a:pt x="204" y="0"/>
                  </a:lnTo>
                  <a:lnTo>
                    <a:pt x="208" y="0"/>
                  </a:lnTo>
                  <a:lnTo>
                    <a:pt x="214" y="0"/>
                  </a:lnTo>
                  <a:lnTo>
                    <a:pt x="216" y="0"/>
                  </a:lnTo>
                  <a:lnTo>
                    <a:pt x="214" y="6"/>
                  </a:lnTo>
                  <a:lnTo>
                    <a:pt x="214" y="12"/>
                  </a:lnTo>
                  <a:lnTo>
                    <a:pt x="212" y="18"/>
                  </a:lnTo>
                  <a:lnTo>
                    <a:pt x="212" y="24"/>
                  </a:lnTo>
                  <a:lnTo>
                    <a:pt x="212" y="30"/>
                  </a:lnTo>
                  <a:lnTo>
                    <a:pt x="212" y="34"/>
                  </a:lnTo>
                  <a:lnTo>
                    <a:pt x="210" y="40"/>
                  </a:lnTo>
                  <a:lnTo>
                    <a:pt x="210" y="46"/>
                  </a:lnTo>
                  <a:lnTo>
                    <a:pt x="208" y="50"/>
                  </a:lnTo>
                  <a:lnTo>
                    <a:pt x="208" y="54"/>
                  </a:lnTo>
                  <a:lnTo>
                    <a:pt x="208" y="60"/>
                  </a:lnTo>
                  <a:lnTo>
                    <a:pt x="206" y="66"/>
                  </a:lnTo>
                  <a:lnTo>
                    <a:pt x="204" y="72"/>
                  </a:lnTo>
                  <a:lnTo>
                    <a:pt x="204" y="78"/>
                  </a:lnTo>
                  <a:lnTo>
                    <a:pt x="202" y="84"/>
                  </a:lnTo>
                  <a:lnTo>
                    <a:pt x="202" y="90"/>
                  </a:lnTo>
                  <a:lnTo>
                    <a:pt x="200" y="96"/>
                  </a:lnTo>
                  <a:lnTo>
                    <a:pt x="200" y="98"/>
                  </a:lnTo>
                  <a:lnTo>
                    <a:pt x="200" y="104"/>
                  </a:lnTo>
                  <a:lnTo>
                    <a:pt x="198" y="110"/>
                  </a:lnTo>
                  <a:lnTo>
                    <a:pt x="196" y="116"/>
                  </a:lnTo>
                  <a:lnTo>
                    <a:pt x="196" y="122"/>
                  </a:lnTo>
                  <a:lnTo>
                    <a:pt x="194" y="128"/>
                  </a:lnTo>
                  <a:lnTo>
                    <a:pt x="194" y="134"/>
                  </a:lnTo>
                  <a:lnTo>
                    <a:pt x="200" y="134"/>
                  </a:lnTo>
                  <a:lnTo>
                    <a:pt x="206" y="132"/>
                  </a:lnTo>
                  <a:lnTo>
                    <a:pt x="212" y="134"/>
                  </a:lnTo>
                  <a:lnTo>
                    <a:pt x="214" y="136"/>
                  </a:lnTo>
                  <a:lnTo>
                    <a:pt x="220" y="136"/>
                  </a:lnTo>
                  <a:lnTo>
                    <a:pt x="222" y="140"/>
                  </a:lnTo>
                  <a:lnTo>
                    <a:pt x="228" y="144"/>
                  </a:lnTo>
                  <a:lnTo>
                    <a:pt x="228" y="148"/>
                  </a:lnTo>
                  <a:lnTo>
                    <a:pt x="230" y="144"/>
                  </a:lnTo>
                  <a:lnTo>
                    <a:pt x="234" y="138"/>
                  </a:lnTo>
                  <a:lnTo>
                    <a:pt x="236" y="138"/>
                  </a:lnTo>
                  <a:lnTo>
                    <a:pt x="232" y="132"/>
                  </a:lnTo>
                  <a:lnTo>
                    <a:pt x="238" y="134"/>
                  </a:lnTo>
                  <a:lnTo>
                    <a:pt x="242" y="138"/>
                  </a:lnTo>
                  <a:lnTo>
                    <a:pt x="248" y="142"/>
                  </a:lnTo>
                  <a:lnTo>
                    <a:pt x="250" y="144"/>
                  </a:lnTo>
                  <a:lnTo>
                    <a:pt x="252" y="146"/>
                  </a:lnTo>
                  <a:lnTo>
                    <a:pt x="246" y="148"/>
                  </a:lnTo>
                  <a:lnTo>
                    <a:pt x="242" y="156"/>
                  </a:lnTo>
                  <a:lnTo>
                    <a:pt x="236" y="160"/>
                  </a:lnTo>
                  <a:lnTo>
                    <a:pt x="234" y="160"/>
                  </a:lnTo>
                  <a:lnTo>
                    <a:pt x="228" y="166"/>
                  </a:lnTo>
                  <a:lnTo>
                    <a:pt x="222" y="170"/>
                  </a:lnTo>
                  <a:lnTo>
                    <a:pt x="216" y="174"/>
                  </a:lnTo>
                  <a:lnTo>
                    <a:pt x="210" y="178"/>
                  </a:lnTo>
                  <a:lnTo>
                    <a:pt x="204" y="184"/>
                  </a:lnTo>
                  <a:lnTo>
                    <a:pt x="198" y="188"/>
                  </a:lnTo>
                  <a:lnTo>
                    <a:pt x="192" y="190"/>
                  </a:lnTo>
                  <a:lnTo>
                    <a:pt x="188" y="196"/>
                  </a:lnTo>
                  <a:lnTo>
                    <a:pt x="188" y="202"/>
                  </a:lnTo>
                  <a:lnTo>
                    <a:pt x="184" y="206"/>
                  </a:lnTo>
                  <a:lnTo>
                    <a:pt x="188" y="212"/>
                  </a:lnTo>
                  <a:lnTo>
                    <a:pt x="190" y="216"/>
                  </a:lnTo>
                  <a:lnTo>
                    <a:pt x="188" y="220"/>
                  </a:lnTo>
                  <a:lnTo>
                    <a:pt x="182" y="224"/>
                  </a:lnTo>
                  <a:lnTo>
                    <a:pt x="180" y="226"/>
                  </a:lnTo>
                  <a:lnTo>
                    <a:pt x="178" y="228"/>
                  </a:lnTo>
                  <a:lnTo>
                    <a:pt x="174" y="234"/>
                  </a:lnTo>
                  <a:lnTo>
                    <a:pt x="168" y="236"/>
                  </a:lnTo>
                  <a:lnTo>
                    <a:pt x="166" y="236"/>
                  </a:lnTo>
                  <a:lnTo>
                    <a:pt x="164" y="236"/>
                  </a:lnTo>
                  <a:lnTo>
                    <a:pt x="162" y="238"/>
                  </a:lnTo>
                  <a:lnTo>
                    <a:pt x="160" y="240"/>
                  </a:lnTo>
                  <a:lnTo>
                    <a:pt x="162" y="250"/>
                  </a:lnTo>
                  <a:lnTo>
                    <a:pt x="156" y="250"/>
                  </a:lnTo>
                  <a:lnTo>
                    <a:pt x="154" y="252"/>
                  </a:lnTo>
                  <a:lnTo>
                    <a:pt x="148" y="256"/>
                  </a:lnTo>
                  <a:lnTo>
                    <a:pt x="148" y="262"/>
                  </a:lnTo>
                  <a:lnTo>
                    <a:pt x="142" y="260"/>
                  </a:lnTo>
                  <a:lnTo>
                    <a:pt x="140" y="260"/>
                  </a:lnTo>
                  <a:lnTo>
                    <a:pt x="138" y="262"/>
                  </a:lnTo>
                  <a:lnTo>
                    <a:pt x="132" y="268"/>
                  </a:lnTo>
                  <a:lnTo>
                    <a:pt x="130" y="268"/>
                  </a:lnTo>
                  <a:lnTo>
                    <a:pt x="124" y="274"/>
                  </a:lnTo>
                  <a:lnTo>
                    <a:pt x="124" y="280"/>
                  </a:lnTo>
                  <a:lnTo>
                    <a:pt x="124" y="282"/>
                  </a:lnTo>
                  <a:lnTo>
                    <a:pt x="118" y="280"/>
                  </a:lnTo>
                  <a:lnTo>
                    <a:pt x="116" y="278"/>
                  </a:lnTo>
                  <a:lnTo>
                    <a:pt x="114" y="278"/>
                  </a:lnTo>
                  <a:lnTo>
                    <a:pt x="108" y="276"/>
                  </a:lnTo>
                  <a:lnTo>
                    <a:pt x="102" y="272"/>
                  </a:lnTo>
                  <a:lnTo>
                    <a:pt x="96" y="270"/>
                  </a:lnTo>
                  <a:lnTo>
                    <a:pt x="92" y="270"/>
                  </a:lnTo>
                  <a:lnTo>
                    <a:pt x="86" y="270"/>
                  </a:lnTo>
                  <a:lnTo>
                    <a:pt x="82" y="270"/>
                  </a:lnTo>
                  <a:lnTo>
                    <a:pt x="76" y="270"/>
                  </a:lnTo>
                  <a:lnTo>
                    <a:pt x="70" y="270"/>
                  </a:lnTo>
                  <a:lnTo>
                    <a:pt x="64" y="270"/>
                  </a:lnTo>
                  <a:lnTo>
                    <a:pt x="58" y="270"/>
                  </a:lnTo>
                  <a:lnTo>
                    <a:pt x="52" y="268"/>
                  </a:lnTo>
                  <a:lnTo>
                    <a:pt x="46" y="266"/>
                  </a:lnTo>
                  <a:lnTo>
                    <a:pt x="44" y="264"/>
                  </a:lnTo>
                  <a:lnTo>
                    <a:pt x="40" y="262"/>
                  </a:lnTo>
                  <a:lnTo>
                    <a:pt x="34" y="258"/>
                  </a:lnTo>
                  <a:lnTo>
                    <a:pt x="32" y="256"/>
                  </a:lnTo>
                  <a:lnTo>
                    <a:pt x="26" y="252"/>
                  </a:lnTo>
                  <a:lnTo>
                    <a:pt x="24" y="250"/>
                  </a:lnTo>
                  <a:lnTo>
                    <a:pt x="18" y="246"/>
                  </a:lnTo>
                  <a:lnTo>
                    <a:pt x="12" y="240"/>
                  </a:lnTo>
                  <a:lnTo>
                    <a:pt x="6" y="234"/>
                  </a:lnTo>
                  <a:lnTo>
                    <a:pt x="4" y="232"/>
                  </a:lnTo>
                  <a:lnTo>
                    <a:pt x="0" y="22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3" name="Freeform 271"/>
            <p:cNvSpPr>
              <a:spLocks/>
            </p:cNvSpPr>
            <p:nvPr/>
          </p:nvSpPr>
          <p:spPr bwMode="auto">
            <a:xfrm>
              <a:off x="2787650" y="4076700"/>
              <a:ext cx="101600" cy="117475"/>
            </a:xfrm>
            <a:custGeom>
              <a:avLst/>
              <a:gdLst>
                <a:gd name="T0" fmla="*/ 2147483647 w 250"/>
                <a:gd name="T1" fmla="*/ 2147483647 h 286"/>
                <a:gd name="T2" fmla="*/ 2147483647 w 250"/>
                <a:gd name="T3" fmla="*/ 2147483647 h 286"/>
                <a:gd name="T4" fmla="*/ 2147483647 w 250"/>
                <a:gd name="T5" fmla="*/ 2147483647 h 286"/>
                <a:gd name="T6" fmla="*/ 2147483647 w 250"/>
                <a:gd name="T7" fmla="*/ 2147483647 h 286"/>
                <a:gd name="T8" fmla="*/ 2147483647 w 250"/>
                <a:gd name="T9" fmla="*/ 2147483647 h 286"/>
                <a:gd name="T10" fmla="*/ 2147483647 w 250"/>
                <a:gd name="T11" fmla="*/ 2147483647 h 286"/>
                <a:gd name="T12" fmla="*/ 2147483647 w 250"/>
                <a:gd name="T13" fmla="*/ 2147483647 h 286"/>
                <a:gd name="T14" fmla="*/ 2147483647 w 250"/>
                <a:gd name="T15" fmla="*/ 2147483647 h 286"/>
                <a:gd name="T16" fmla="*/ 2147483647 w 250"/>
                <a:gd name="T17" fmla="*/ 2147483647 h 286"/>
                <a:gd name="T18" fmla="*/ 2147483647 w 250"/>
                <a:gd name="T19" fmla="*/ 2147483647 h 286"/>
                <a:gd name="T20" fmla="*/ 2147483647 w 250"/>
                <a:gd name="T21" fmla="*/ 2147483647 h 286"/>
                <a:gd name="T22" fmla="*/ 2147483647 w 250"/>
                <a:gd name="T23" fmla="*/ 2147483647 h 286"/>
                <a:gd name="T24" fmla="*/ 2147483647 w 250"/>
                <a:gd name="T25" fmla="*/ 0 h 286"/>
                <a:gd name="T26" fmla="*/ 2147483647 w 250"/>
                <a:gd name="T27" fmla="*/ 2147483647 h 286"/>
                <a:gd name="T28" fmla="*/ 2147483647 w 250"/>
                <a:gd name="T29" fmla="*/ 2147483647 h 286"/>
                <a:gd name="T30" fmla="*/ 2147483647 w 250"/>
                <a:gd name="T31" fmla="*/ 2147483647 h 286"/>
                <a:gd name="T32" fmla="*/ 2147483647 w 250"/>
                <a:gd name="T33" fmla="*/ 2147483647 h 286"/>
                <a:gd name="T34" fmla="*/ 2147483647 w 250"/>
                <a:gd name="T35" fmla="*/ 2147483647 h 286"/>
                <a:gd name="T36" fmla="*/ 2147483647 w 250"/>
                <a:gd name="T37" fmla="*/ 2147483647 h 286"/>
                <a:gd name="T38" fmla="*/ 2147483647 w 250"/>
                <a:gd name="T39" fmla="*/ 0 h 286"/>
                <a:gd name="T40" fmla="*/ 2147483647 w 250"/>
                <a:gd name="T41" fmla="*/ 2147483647 h 286"/>
                <a:gd name="T42" fmla="*/ 2147483647 w 250"/>
                <a:gd name="T43" fmla="*/ 2147483647 h 286"/>
                <a:gd name="T44" fmla="*/ 2147483647 w 250"/>
                <a:gd name="T45" fmla="*/ 2147483647 h 286"/>
                <a:gd name="T46" fmla="*/ 2147483647 w 250"/>
                <a:gd name="T47" fmla="*/ 2147483647 h 286"/>
                <a:gd name="T48" fmla="*/ 2147483647 w 250"/>
                <a:gd name="T49" fmla="*/ 0 h 286"/>
                <a:gd name="T50" fmla="*/ 2147483647 w 250"/>
                <a:gd name="T51" fmla="*/ 2147483647 h 286"/>
                <a:gd name="T52" fmla="*/ 2147483647 w 250"/>
                <a:gd name="T53" fmla="*/ 2147483647 h 286"/>
                <a:gd name="T54" fmla="*/ 2147483647 w 250"/>
                <a:gd name="T55" fmla="*/ 2147483647 h 286"/>
                <a:gd name="T56" fmla="*/ 2147483647 w 250"/>
                <a:gd name="T57" fmla="*/ 2147483647 h 286"/>
                <a:gd name="T58" fmla="*/ 2147483647 w 250"/>
                <a:gd name="T59" fmla="*/ 2147483647 h 286"/>
                <a:gd name="T60" fmla="*/ 2147483647 w 250"/>
                <a:gd name="T61" fmla="*/ 2147483647 h 286"/>
                <a:gd name="T62" fmla="*/ 2147483647 w 250"/>
                <a:gd name="T63" fmla="*/ 2147483647 h 286"/>
                <a:gd name="T64" fmla="*/ 2147483647 w 250"/>
                <a:gd name="T65" fmla="*/ 2147483647 h 286"/>
                <a:gd name="T66" fmla="*/ 2147483647 w 250"/>
                <a:gd name="T67" fmla="*/ 2147483647 h 286"/>
                <a:gd name="T68" fmla="*/ 2147483647 w 250"/>
                <a:gd name="T69" fmla="*/ 2147483647 h 286"/>
                <a:gd name="T70" fmla="*/ 2147483647 w 250"/>
                <a:gd name="T71" fmla="*/ 2147483647 h 286"/>
                <a:gd name="T72" fmla="*/ 2147483647 w 250"/>
                <a:gd name="T73" fmla="*/ 2147483647 h 286"/>
                <a:gd name="T74" fmla="*/ 2147483647 w 250"/>
                <a:gd name="T75" fmla="*/ 2147483647 h 286"/>
                <a:gd name="T76" fmla="*/ 2147483647 w 250"/>
                <a:gd name="T77" fmla="*/ 2147483647 h 286"/>
                <a:gd name="T78" fmla="*/ 2147483647 w 250"/>
                <a:gd name="T79" fmla="*/ 2147483647 h 286"/>
                <a:gd name="T80" fmla="*/ 2147483647 w 250"/>
                <a:gd name="T81" fmla="*/ 2147483647 h 286"/>
                <a:gd name="T82" fmla="*/ 2147483647 w 250"/>
                <a:gd name="T83" fmla="*/ 2147483647 h 286"/>
                <a:gd name="T84" fmla="*/ 2147483647 w 250"/>
                <a:gd name="T85" fmla="*/ 2147483647 h 286"/>
                <a:gd name="T86" fmla="*/ 2147483647 w 250"/>
                <a:gd name="T87" fmla="*/ 2147483647 h 286"/>
                <a:gd name="T88" fmla="*/ 2147483647 w 250"/>
                <a:gd name="T89" fmla="*/ 2147483647 h 286"/>
                <a:gd name="T90" fmla="*/ 2147483647 w 250"/>
                <a:gd name="T91" fmla="*/ 2147483647 h 286"/>
                <a:gd name="T92" fmla="*/ 2147483647 w 250"/>
                <a:gd name="T93" fmla="*/ 2147483647 h 286"/>
                <a:gd name="T94" fmla="*/ 2147483647 w 250"/>
                <a:gd name="T95" fmla="*/ 2147483647 h 286"/>
                <a:gd name="T96" fmla="*/ 2147483647 w 250"/>
                <a:gd name="T97" fmla="*/ 2147483647 h 286"/>
                <a:gd name="T98" fmla="*/ 2147483647 w 250"/>
                <a:gd name="T99" fmla="*/ 2147483647 h 286"/>
                <a:gd name="T100" fmla="*/ 2147483647 w 250"/>
                <a:gd name="T101" fmla="*/ 2147483647 h 286"/>
                <a:gd name="T102" fmla="*/ 2147483647 w 250"/>
                <a:gd name="T103" fmla="*/ 2147483647 h 286"/>
                <a:gd name="T104" fmla="*/ 2147483647 w 250"/>
                <a:gd name="T105" fmla="*/ 2147483647 h 286"/>
                <a:gd name="T106" fmla="*/ 2147483647 w 250"/>
                <a:gd name="T107" fmla="*/ 2147483647 h 286"/>
                <a:gd name="T108" fmla="*/ 2147483647 w 250"/>
                <a:gd name="T109" fmla="*/ 2147483647 h 286"/>
                <a:gd name="T110" fmla="*/ 2147483647 w 250"/>
                <a:gd name="T111" fmla="*/ 2147483647 h 286"/>
                <a:gd name="T112" fmla="*/ 2147483647 w 250"/>
                <a:gd name="T113" fmla="*/ 2147483647 h 286"/>
                <a:gd name="T114" fmla="*/ 2147483647 w 250"/>
                <a:gd name="T115" fmla="*/ 2147483647 h 286"/>
                <a:gd name="T116" fmla="*/ 2147483647 w 250"/>
                <a:gd name="T117" fmla="*/ 2147483647 h 286"/>
                <a:gd name="T118" fmla="*/ 2147483647 w 250"/>
                <a:gd name="T119" fmla="*/ 2147483647 h 286"/>
                <a:gd name="T120" fmla="*/ 2147483647 w 250"/>
                <a:gd name="T121" fmla="*/ 2147483647 h 286"/>
                <a:gd name="T122" fmla="*/ 2147483647 w 250"/>
                <a:gd name="T123" fmla="*/ 2147483647 h 286"/>
                <a:gd name="T124" fmla="*/ 2147483647 w 250"/>
                <a:gd name="T125" fmla="*/ 2147483647 h 2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0"/>
                <a:gd name="T190" fmla="*/ 0 h 286"/>
                <a:gd name="T191" fmla="*/ 250 w 250"/>
                <a:gd name="T192" fmla="*/ 286 h 2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0" h="286">
                  <a:moveTo>
                    <a:pt x="22" y="166"/>
                  </a:moveTo>
                  <a:lnTo>
                    <a:pt x="14" y="162"/>
                  </a:lnTo>
                  <a:lnTo>
                    <a:pt x="12" y="156"/>
                  </a:lnTo>
                  <a:lnTo>
                    <a:pt x="10" y="150"/>
                  </a:lnTo>
                  <a:lnTo>
                    <a:pt x="8" y="144"/>
                  </a:lnTo>
                  <a:lnTo>
                    <a:pt x="2" y="138"/>
                  </a:lnTo>
                  <a:lnTo>
                    <a:pt x="2" y="132"/>
                  </a:lnTo>
                  <a:lnTo>
                    <a:pt x="0" y="126"/>
                  </a:lnTo>
                  <a:lnTo>
                    <a:pt x="4" y="120"/>
                  </a:lnTo>
                  <a:lnTo>
                    <a:pt x="8" y="114"/>
                  </a:lnTo>
                  <a:lnTo>
                    <a:pt x="8" y="108"/>
                  </a:lnTo>
                  <a:lnTo>
                    <a:pt x="12" y="102"/>
                  </a:lnTo>
                  <a:lnTo>
                    <a:pt x="14" y="96"/>
                  </a:lnTo>
                  <a:lnTo>
                    <a:pt x="16" y="90"/>
                  </a:lnTo>
                  <a:lnTo>
                    <a:pt x="12" y="84"/>
                  </a:lnTo>
                  <a:lnTo>
                    <a:pt x="12" y="78"/>
                  </a:lnTo>
                  <a:lnTo>
                    <a:pt x="16" y="72"/>
                  </a:lnTo>
                  <a:lnTo>
                    <a:pt x="22" y="70"/>
                  </a:lnTo>
                  <a:lnTo>
                    <a:pt x="28" y="68"/>
                  </a:lnTo>
                  <a:lnTo>
                    <a:pt x="34" y="66"/>
                  </a:lnTo>
                  <a:lnTo>
                    <a:pt x="40" y="68"/>
                  </a:lnTo>
                  <a:lnTo>
                    <a:pt x="46" y="66"/>
                  </a:lnTo>
                  <a:lnTo>
                    <a:pt x="50" y="66"/>
                  </a:lnTo>
                  <a:lnTo>
                    <a:pt x="48" y="60"/>
                  </a:lnTo>
                  <a:lnTo>
                    <a:pt x="54" y="56"/>
                  </a:lnTo>
                  <a:lnTo>
                    <a:pt x="54" y="52"/>
                  </a:lnTo>
                  <a:lnTo>
                    <a:pt x="54" y="50"/>
                  </a:lnTo>
                  <a:lnTo>
                    <a:pt x="48" y="46"/>
                  </a:lnTo>
                  <a:lnTo>
                    <a:pt x="52" y="40"/>
                  </a:lnTo>
                  <a:lnTo>
                    <a:pt x="52" y="34"/>
                  </a:lnTo>
                  <a:lnTo>
                    <a:pt x="58" y="30"/>
                  </a:lnTo>
                  <a:lnTo>
                    <a:pt x="60" y="24"/>
                  </a:lnTo>
                  <a:lnTo>
                    <a:pt x="60" y="18"/>
                  </a:lnTo>
                  <a:lnTo>
                    <a:pt x="62" y="12"/>
                  </a:lnTo>
                  <a:lnTo>
                    <a:pt x="64" y="6"/>
                  </a:lnTo>
                  <a:lnTo>
                    <a:pt x="66" y="2"/>
                  </a:lnTo>
                  <a:lnTo>
                    <a:pt x="68" y="2"/>
                  </a:lnTo>
                  <a:lnTo>
                    <a:pt x="70" y="0"/>
                  </a:lnTo>
                  <a:lnTo>
                    <a:pt x="76" y="0"/>
                  </a:lnTo>
                  <a:lnTo>
                    <a:pt x="82" y="0"/>
                  </a:lnTo>
                  <a:lnTo>
                    <a:pt x="88" y="2"/>
                  </a:lnTo>
                  <a:lnTo>
                    <a:pt x="94" y="2"/>
                  </a:lnTo>
                  <a:lnTo>
                    <a:pt x="100" y="2"/>
                  </a:lnTo>
                  <a:lnTo>
                    <a:pt x="106" y="4"/>
                  </a:lnTo>
                  <a:lnTo>
                    <a:pt x="112" y="6"/>
                  </a:lnTo>
                  <a:lnTo>
                    <a:pt x="118" y="8"/>
                  </a:lnTo>
                  <a:lnTo>
                    <a:pt x="124" y="10"/>
                  </a:lnTo>
                  <a:lnTo>
                    <a:pt x="130" y="12"/>
                  </a:lnTo>
                  <a:lnTo>
                    <a:pt x="136" y="14"/>
                  </a:lnTo>
                  <a:lnTo>
                    <a:pt x="136" y="22"/>
                  </a:lnTo>
                  <a:lnTo>
                    <a:pt x="138" y="18"/>
                  </a:lnTo>
                  <a:lnTo>
                    <a:pt x="136" y="12"/>
                  </a:lnTo>
                  <a:lnTo>
                    <a:pt x="136" y="10"/>
                  </a:lnTo>
                  <a:lnTo>
                    <a:pt x="136" y="6"/>
                  </a:lnTo>
                  <a:lnTo>
                    <a:pt x="142" y="2"/>
                  </a:lnTo>
                  <a:lnTo>
                    <a:pt x="148" y="0"/>
                  </a:lnTo>
                  <a:lnTo>
                    <a:pt x="154" y="0"/>
                  </a:lnTo>
                  <a:lnTo>
                    <a:pt x="160" y="0"/>
                  </a:lnTo>
                  <a:lnTo>
                    <a:pt x="166" y="0"/>
                  </a:lnTo>
                  <a:lnTo>
                    <a:pt x="170" y="2"/>
                  </a:lnTo>
                  <a:lnTo>
                    <a:pt x="176" y="4"/>
                  </a:lnTo>
                  <a:lnTo>
                    <a:pt x="178" y="6"/>
                  </a:lnTo>
                  <a:lnTo>
                    <a:pt x="182" y="6"/>
                  </a:lnTo>
                  <a:lnTo>
                    <a:pt x="182" y="10"/>
                  </a:lnTo>
                  <a:lnTo>
                    <a:pt x="186" y="8"/>
                  </a:lnTo>
                  <a:lnTo>
                    <a:pt x="190" y="8"/>
                  </a:lnTo>
                  <a:lnTo>
                    <a:pt x="194" y="8"/>
                  </a:lnTo>
                  <a:lnTo>
                    <a:pt x="198" y="8"/>
                  </a:lnTo>
                  <a:lnTo>
                    <a:pt x="196" y="6"/>
                  </a:lnTo>
                  <a:lnTo>
                    <a:pt x="190" y="8"/>
                  </a:lnTo>
                  <a:lnTo>
                    <a:pt x="184" y="6"/>
                  </a:lnTo>
                  <a:lnTo>
                    <a:pt x="186" y="0"/>
                  </a:lnTo>
                  <a:lnTo>
                    <a:pt x="192" y="0"/>
                  </a:lnTo>
                  <a:lnTo>
                    <a:pt x="196" y="0"/>
                  </a:lnTo>
                  <a:lnTo>
                    <a:pt x="202" y="0"/>
                  </a:lnTo>
                  <a:lnTo>
                    <a:pt x="208" y="2"/>
                  </a:lnTo>
                  <a:lnTo>
                    <a:pt x="210" y="2"/>
                  </a:lnTo>
                  <a:lnTo>
                    <a:pt x="216" y="2"/>
                  </a:lnTo>
                  <a:lnTo>
                    <a:pt x="222" y="4"/>
                  </a:lnTo>
                  <a:lnTo>
                    <a:pt x="228" y="4"/>
                  </a:lnTo>
                  <a:lnTo>
                    <a:pt x="232" y="6"/>
                  </a:lnTo>
                  <a:lnTo>
                    <a:pt x="240" y="6"/>
                  </a:lnTo>
                  <a:lnTo>
                    <a:pt x="246" y="10"/>
                  </a:lnTo>
                  <a:lnTo>
                    <a:pt x="250" y="14"/>
                  </a:lnTo>
                  <a:lnTo>
                    <a:pt x="250" y="20"/>
                  </a:lnTo>
                  <a:lnTo>
                    <a:pt x="248" y="26"/>
                  </a:lnTo>
                  <a:lnTo>
                    <a:pt x="248" y="32"/>
                  </a:lnTo>
                  <a:lnTo>
                    <a:pt x="244" y="38"/>
                  </a:lnTo>
                  <a:lnTo>
                    <a:pt x="242" y="44"/>
                  </a:lnTo>
                  <a:lnTo>
                    <a:pt x="236" y="48"/>
                  </a:lnTo>
                  <a:lnTo>
                    <a:pt x="232" y="54"/>
                  </a:lnTo>
                  <a:lnTo>
                    <a:pt x="230" y="54"/>
                  </a:lnTo>
                  <a:lnTo>
                    <a:pt x="228" y="60"/>
                  </a:lnTo>
                  <a:lnTo>
                    <a:pt x="222" y="66"/>
                  </a:lnTo>
                  <a:lnTo>
                    <a:pt x="222" y="72"/>
                  </a:lnTo>
                  <a:lnTo>
                    <a:pt x="220" y="78"/>
                  </a:lnTo>
                  <a:lnTo>
                    <a:pt x="220" y="84"/>
                  </a:lnTo>
                  <a:lnTo>
                    <a:pt x="222" y="90"/>
                  </a:lnTo>
                  <a:lnTo>
                    <a:pt x="224" y="96"/>
                  </a:lnTo>
                  <a:lnTo>
                    <a:pt x="222" y="102"/>
                  </a:lnTo>
                  <a:lnTo>
                    <a:pt x="222" y="108"/>
                  </a:lnTo>
                  <a:lnTo>
                    <a:pt x="222" y="112"/>
                  </a:lnTo>
                  <a:lnTo>
                    <a:pt x="224" y="116"/>
                  </a:lnTo>
                  <a:lnTo>
                    <a:pt x="224" y="122"/>
                  </a:lnTo>
                  <a:lnTo>
                    <a:pt x="228" y="128"/>
                  </a:lnTo>
                  <a:lnTo>
                    <a:pt x="226" y="134"/>
                  </a:lnTo>
                  <a:lnTo>
                    <a:pt x="230" y="140"/>
                  </a:lnTo>
                  <a:lnTo>
                    <a:pt x="234" y="146"/>
                  </a:lnTo>
                  <a:lnTo>
                    <a:pt x="240" y="152"/>
                  </a:lnTo>
                  <a:lnTo>
                    <a:pt x="242" y="158"/>
                  </a:lnTo>
                  <a:lnTo>
                    <a:pt x="248" y="164"/>
                  </a:lnTo>
                  <a:lnTo>
                    <a:pt x="246" y="170"/>
                  </a:lnTo>
                  <a:lnTo>
                    <a:pt x="248" y="176"/>
                  </a:lnTo>
                  <a:lnTo>
                    <a:pt x="244" y="180"/>
                  </a:lnTo>
                  <a:lnTo>
                    <a:pt x="242" y="186"/>
                  </a:lnTo>
                  <a:lnTo>
                    <a:pt x="236" y="192"/>
                  </a:lnTo>
                  <a:lnTo>
                    <a:pt x="234" y="196"/>
                  </a:lnTo>
                  <a:lnTo>
                    <a:pt x="236" y="202"/>
                  </a:lnTo>
                  <a:lnTo>
                    <a:pt x="236" y="208"/>
                  </a:lnTo>
                  <a:lnTo>
                    <a:pt x="236" y="214"/>
                  </a:lnTo>
                  <a:lnTo>
                    <a:pt x="234" y="218"/>
                  </a:lnTo>
                  <a:lnTo>
                    <a:pt x="232" y="226"/>
                  </a:lnTo>
                  <a:lnTo>
                    <a:pt x="228" y="230"/>
                  </a:lnTo>
                  <a:lnTo>
                    <a:pt x="226" y="236"/>
                  </a:lnTo>
                  <a:lnTo>
                    <a:pt x="222" y="242"/>
                  </a:lnTo>
                  <a:lnTo>
                    <a:pt x="216" y="246"/>
                  </a:lnTo>
                  <a:lnTo>
                    <a:pt x="216" y="252"/>
                  </a:lnTo>
                  <a:lnTo>
                    <a:pt x="210" y="252"/>
                  </a:lnTo>
                  <a:lnTo>
                    <a:pt x="208" y="252"/>
                  </a:lnTo>
                  <a:lnTo>
                    <a:pt x="204" y="250"/>
                  </a:lnTo>
                  <a:lnTo>
                    <a:pt x="198" y="244"/>
                  </a:lnTo>
                  <a:lnTo>
                    <a:pt x="196" y="246"/>
                  </a:lnTo>
                  <a:lnTo>
                    <a:pt x="190" y="240"/>
                  </a:lnTo>
                  <a:lnTo>
                    <a:pt x="186" y="234"/>
                  </a:lnTo>
                  <a:lnTo>
                    <a:pt x="184" y="234"/>
                  </a:lnTo>
                  <a:lnTo>
                    <a:pt x="178" y="236"/>
                  </a:lnTo>
                  <a:lnTo>
                    <a:pt x="172" y="240"/>
                  </a:lnTo>
                  <a:lnTo>
                    <a:pt x="166" y="240"/>
                  </a:lnTo>
                  <a:lnTo>
                    <a:pt x="160" y="246"/>
                  </a:lnTo>
                  <a:lnTo>
                    <a:pt x="154" y="244"/>
                  </a:lnTo>
                  <a:lnTo>
                    <a:pt x="148" y="246"/>
                  </a:lnTo>
                  <a:lnTo>
                    <a:pt x="142" y="248"/>
                  </a:lnTo>
                  <a:lnTo>
                    <a:pt x="136" y="244"/>
                  </a:lnTo>
                  <a:lnTo>
                    <a:pt x="130" y="240"/>
                  </a:lnTo>
                  <a:lnTo>
                    <a:pt x="124" y="242"/>
                  </a:lnTo>
                  <a:lnTo>
                    <a:pt x="124" y="248"/>
                  </a:lnTo>
                  <a:lnTo>
                    <a:pt x="118" y="252"/>
                  </a:lnTo>
                  <a:lnTo>
                    <a:pt x="116" y="258"/>
                  </a:lnTo>
                  <a:lnTo>
                    <a:pt x="122" y="264"/>
                  </a:lnTo>
                  <a:lnTo>
                    <a:pt x="126" y="268"/>
                  </a:lnTo>
                  <a:lnTo>
                    <a:pt x="128" y="274"/>
                  </a:lnTo>
                  <a:lnTo>
                    <a:pt x="130" y="280"/>
                  </a:lnTo>
                  <a:lnTo>
                    <a:pt x="124" y="286"/>
                  </a:lnTo>
                  <a:lnTo>
                    <a:pt x="118" y="286"/>
                  </a:lnTo>
                  <a:lnTo>
                    <a:pt x="112" y="282"/>
                  </a:lnTo>
                  <a:lnTo>
                    <a:pt x="106" y="282"/>
                  </a:lnTo>
                  <a:lnTo>
                    <a:pt x="100" y="280"/>
                  </a:lnTo>
                  <a:lnTo>
                    <a:pt x="94" y="280"/>
                  </a:lnTo>
                  <a:lnTo>
                    <a:pt x="88" y="274"/>
                  </a:lnTo>
                  <a:lnTo>
                    <a:pt x="82" y="274"/>
                  </a:lnTo>
                  <a:lnTo>
                    <a:pt x="78" y="268"/>
                  </a:lnTo>
                  <a:lnTo>
                    <a:pt x="74" y="260"/>
                  </a:lnTo>
                  <a:lnTo>
                    <a:pt x="70" y="256"/>
                  </a:lnTo>
                  <a:lnTo>
                    <a:pt x="70" y="252"/>
                  </a:lnTo>
                  <a:lnTo>
                    <a:pt x="68" y="246"/>
                  </a:lnTo>
                  <a:lnTo>
                    <a:pt x="64" y="240"/>
                  </a:lnTo>
                  <a:lnTo>
                    <a:pt x="62" y="234"/>
                  </a:lnTo>
                  <a:lnTo>
                    <a:pt x="60" y="228"/>
                  </a:lnTo>
                  <a:lnTo>
                    <a:pt x="54" y="222"/>
                  </a:lnTo>
                  <a:lnTo>
                    <a:pt x="50" y="216"/>
                  </a:lnTo>
                  <a:lnTo>
                    <a:pt x="50" y="210"/>
                  </a:lnTo>
                  <a:lnTo>
                    <a:pt x="50" y="204"/>
                  </a:lnTo>
                  <a:lnTo>
                    <a:pt x="48" y="198"/>
                  </a:lnTo>
                  <a:lnTo>
                    <a:pt x="46" y="192"/>
                  </a:lnTo>
                  <a:lnTo>
                    <a:pt x="46" y="186"/>
                  </a:lnTo>
                  <a:lnTo>
                    <a:pt x="46" y="180"/>
                  </a:lnTo>
                  <a:lnTo>
                    <a:pt x="40" y="180"/>
                  </a:lnTo>
                  <a:lnTo>
                    <a:pt x="34" y="182"/>
                  </a:lnTo>
                  <a:lnTo>
                    <a:pt x="28" y="182"/>
                  </a:lnTo>
                  <a:lnTo>
                    <a:pt x="26" y="182"/>
                  </a:lnTo>
                  <a:lnTo>
                    <a:pt x="26" y="176"/>
                  </a:lnTo>
                  <a:lnTo>
                    <a:pt x="24" y="170"/>
                  </a:lnTo>
                  <a:lnTo>
                    <a:pt x="22" y="16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4" name="Freeform 272"/>
            <p:cNvSpPr>
              <a:spLocks/>
            </p:cNvSpPr>
            <p:nvPr/>
          </p:nvSpPr>
          <p:spPr bwMode="auto">
            <a:xfrm>
              <a:off x="1489075" y="2262188"/>
              <a:ext cx="1604963" cy="790575"/>
            </a:xfrm>
            <a:custGeom>
              <a:avLst/>
              <a:gdLst>
                <a:gd name="T0" fmla="*/ 2147483647 w 3942"/>
                <a:gd name="T1" fmla="*/ 2147483647 h 1920"/>
                <a:gd name="T2" fmla="*/ 2147483647 w 3942"/>
                <a:gd name="T3" fmla="*/ 2147483647 h 1920"/>
                <a:gd name="T4" fmla="*/ 2147483647 w 3942"/>
                <a:gd name="T5" fmla="*/ 2147483647 h 1920"/>
                <a:gd name="T6" fmla="*/ 2147483647 w 3942"/>
                <a:gd name="T7" fmla="*/ 2147483647 h 1920"/>
                <a:gd name="T8" fmla="*/ 2147483647 w 3942"/>
                <a:gd name="T9" fmla="*/ 2147483647 h 1920"/>
                <a:gd name="T10" fmla="*/ 2147483647 w 3942"/>
                <a:gd name="T11" fmla="*/ 2147483647 h 1920"/>
                <a:gd name="T12" fmla="*/ 2147483647 w 3942"/>
                <a:gd name="T13" fmla="*/ 2147483647 h 1920"/>
                <a:gd name="T14" fmla="*/ 2147483647 w 3942"/>
                <a:gd name="T15" fmla="*/ 2147483647 h 1920"/>
                <a:gd name="T16" fmla="*/ 2147483647 w 3942"/>
                <a:gd name="T17" fmla="*/ 2147483647 h 1920"/>
                <a:gd name="T18" fmla="*/ 2147483647 w 3942"/>
                <a:gd name="T19" fmla="*/ 2147483647 h 1920"/>
                <a:gd name="T20" fmla="*/ 2147483647 w 3942"/>
                <a:gd name="T21" fmla="*/ 2147483647 h 1920"/>
                <a:gd name="T22" fmla="*/ 2147483647 w 3942"/>
                <a:gd name="T23" fmla="*/ 2147483647 h 1920"/>
                <a:gd name="T24" fmla="*/ 2147483647 w 3942"/>
                <a:gd name="T25" fmla="*/ 2147483647 h 1920"/>
                <a:gd name="T26" fmla="*/ 2147483647 w 3942"/>
                <a:gd name="T27" fmla="*/ 2147483647 h 1920"/>
                <a:gd name="T28" fmla="*/ 2147483647 w 3942"/>
                <a:gd name="T29" fmla="*/ 2147483647 h 1920"/>
                <a:gd name="T30" fmla="*/ 2147483647 w 3942"/>
                <a:gd name="T31" fmla="*/ 2147483647 h 1920"/>
                <a:gd name="T32" fmla="*/ 2147483647 w 3942"/>
                <a:gd name="T33" fmla="*/ 2147483647 h 1920"/>
                <a:gd name="T34" fmla="*/ 2147483647 w 3942"/>
                <a:gd name="T35" fmla="*/ 2147483647 h 1920"/>
                <a:gd name="T36" fmla="*/ 2147483647 w 3942"/>
                <a:gd name="T37" fmla="*/ 2147483647 h 1920"/>
                <a:gd name="T38" fmla="*/ 2147483647 w 3942"/>
                <a:gd name="T39" fmla="*/ 2147483647 h 1920"/>
                <a:gd name="T40" fmla="*/ 2147483647 w 3942"/>
                <a:gd name="T41" fmla="*/ 2147483647 h 1920"/>
                <a:gd name="T42" fmla="*/ 2147483647 w 3942"/>
                <a:gd name="T43" fmla="*/ 2147483647 h 1920"/>
                <a:gd name="T44" fmla="*/ 2147483647 w 3942"/>
                <a:gd name="T45" fmla="*/ 2147483647 h 1920"/>
                <a:gd name="T46" fmla="*/ 2147483647 w 3942"/>
                <a:gd name="T47" fmla="*/ 2147483647 h 1920"/>
                <a:gd name="T48" fmla="*/ 2147483647 w 3942"/>
                <a:gd name="T49" fmla="*/ 2147483647 h 1920"/>
                <a:gd name="T50" fmla="*/ 2147483647 w 3942"/>
                <a:gd name="T51" fmla="*/ 2147483647 h 1920"/>
                <a:gd name="T52" fmla="*/ 2147483647 w 3942"/>
                <a:gd name="T53" fmla="*/ 2147483647 h 1920"/>
                <a:gd name="T54" fmla="*/ 2147483647 w 3942"/>
                <a:gd name="T55" fmla="*/ 2147483647 h 1920"/>
                <a:gd name="T56" fmla="*/ 2147483647 w 3942"/>
                <a:gd name="T57" fmla="*/ 2147483647 h 1920"/>
                <a:gd name="T58" fmla="*/ 2147483647 w 3942"/>
                <a:gd name="T59" fmla="*/ 2147483647 h 1920"/>
                <a:gd name="T60" fmla="*/ 2147483647 w 3942"/>
                <a:gd name="T61" fmla="*/ 2147483647 h 1920"/>
                <a:gd name="T62" fmla="*/ 2147483647 w 3942"/>
                <a:gd name="T63" fmla="*/ 2147483647 h 1920"/>
                <a:gd name="T64" fmla="*/ 2147483647 w 3942"/>
                <a:gd name="T65" fmla="*/ 2147483647 h 1920"/>
                <a:gd name="T66" fmla="*/ 2147483647 w 3942"/>
                <a:gd name="T67" fmla="*/ 2147483647 h 1920"/>
                <a:gd name="T68" fmla="*/ 2147483647 w 3942"/>
                <a:gd name="T69" fmla="*/ 2147483647 h 1920"/>
                <a:gd name="T70" fmla="*/ 2147483647 w 3942"/>
                <a:gd name="T71" fmla="*/ 2147483647 h 1920"/>
                <a:gd name="T72" fmla="*/ 2147483647 w 3942"/>
                <a:gd name="T73" fmla="*/ 2147483647 h 1920"/>
                <a:gd name="T74" fmla="*/ 2147483647 w 3942"/>
                <a:gd name="T75" fmla="*/ 2147483647 h 1920"/>
                <a:gd name="T76" fmla="*/ 2147483647 w 3942"/>
                <a:gd name="T77" fmla="*/ 2147483647 h 1920"/>
                <a:gd name="T78" fmla="*/ 2147483647 w 3942"/>
                <a:gd name="T79" fmla="*/ 2147483647 h 1920"/>
                <a:gd name="T80" fmla="*/ 2147483647 w 3942"/>
                <a:gd name="T81" fmla="*/ 2147483647 h 1920"/>
                <a:gd name="T82" fmla="*/ 2147483647 w 3942"/>
                <a:gd name="T83" fmla="*/ 2147483647 h 1920"/>
                <a:gd name="T84" fmla="*/ 2147483647 w 3942"/>
                <a:gd name="T85" fmla="*/ 2147483647 h 1920"/>
                <a:gd name="T86" fmla="*/ 2147483647 w 3942"/>
                <a:gd name="T87" fmla="*/ 2147483647 h 1920"/>
                <a:gd name="T88" fmla="*/ 2147483647 w 3942"/>
                <a:gd name="T89" fmla="*/ 2147483647 h 1920"/>
                <a:gd name="T90" fmla="*/ 2147483647 w 3942"/>
                <a:gd name="T91" fmla="*/ 2147483647 h 1920"/>
                <a:gd name="T92" fmla="*/ 2147483647 w 3942"/>
                <a:gd name="T93" fmla="*/ 2147483647 h 1920"/>
                <a:gd name="T94" fmla="*/ 2147483647 w 3942"/>
                <a:gd name="T95" fmla="*/ 2147483647 h 1920"/>
                <a:gd name="T96" fmla="*/ 2147483647 w 3942"/>
                <a:gd name="T97" fmla="*/ 2147483647 h 1920"/>
                <a:gd name="T98" fmla="*/ 2147483647 w 3942"/>
                <a:gd name="T99" fmla="*/ 2147483647 h 1920"/>
                <a:gd name="T100" fmla="*/ 2147483647 w 3942"/>
                <a:gd name="T101" fmla="*/ 2147483647 h 1920"/>
                <a:gd name="T102" fmla="*/ 2147483647 w 3942"/>
                <a:gd name="T103" fmla="*/ 2147483647 h 1920"/>
                <a:gd name="T104" fmla="*/ 2147483647 w 3942"/>
                <a:gd name="T105" fmla="*/ 2147483647 h 1920"/>
                <a:gd name="T106" fmla="*/ 2147483647 w 3942"/>
                <a:gd name="T107" fmla="*/ 2147483647 h 1920"/>
                <a:gd name="T108" fmla="*/ 2147483647 w 3942"/>
                <a:gd name="T109" fmla="*/ 2147483647 h 1920"/>
                <a:gd name="T110" fmla="*/ 2147483647 w 3942"/>
                <a:gd name="T111" fmla="*/ 2147483647 h 1920"/>
                <a:gd name="T112" fmla="*/ 2147483647 w 3942"/>
                <a:gd name="T113" fmla="*/ 2147483647 h 1920"/>
                <a:gd name="T114" fmla="*/ 2147483647 w 3942"/>
                <a:gd name="T115" fmla="*/ 2147483647 h 1920"/>
                <a:gd name="T116" fmla="*/ 2147483647 w 3942"/>
                <a:gd name="T117" fmla="*/ 2147483647 h 1920"/>
                <a:gd name="T118" fmla="*/ 2147483647 w 3942"/>
                <a:gd name="T119" fmla="*/ 2147483647 h 1920"/>
                <a:gd name="T120" fmla="*/ 2147483647 w 3942"/>
                <a:gd name="T121" fmla="*/ 2147483647 h 1920"/>
                <a:gd name="T122" fmla="*/ 2147483647 w 3942"/>
                <a:gd name="T123" fmla="*/ 2147483647 h 1920"/>
                <a:gd name="T124" fmla="*/ 2147483647 w 3942"/>
                <a:gd name="T125" fmla="*/ 2147483647 h 19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42"/>
                <a:gd name="T190" fmla="*/ 0 h 1920"/>
                <a:gd name="T191" fmla="*/ 3942 w 3942"/>
                <a:gd name="T192" fmla="*/ 1920 h 19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42" h="1920">
                  <a:moveTo>
                    <a:pt x="36" y="708"/>
                  </a:moveTo>
                  <a:lnTo>
                    <a:pt x="30" y="706"/>
                  </a:lnTo>
                  <a:lnTo>
                    <a:pt x="24" y="702"/>
                  </a:lnTo>
                  <a:lnTo>
                    <a:pt x="18" y="704"/>
                  </a:lnTo>
                  <a:lnTo>
                    <a:pt x="12" y="706"/>
                  </a:lnTo>
                  <a:lnTo>
                    <a:pt x="6" y="704"/>
                  </a:lnTo>
                  <a:lnTo>
                    <a:pt x="0" y="704"/>
                  </a:lnTo>
                  <a:lnTo>
                    <a:pt x="2" y="696"/>
                  </a:lnTo>
                  <a:lnTo>
                    <a:pt x="10" y="690"/>
                  </a:lnTo>
                  <a:lnTo>
                    <a:pt x="16" y="684"/>
                  </a:lnTo>
                  <a:lnTo>
                    <a:pt x="24" y="678"/>
                  </a:lnTo>
                  <a:lnTo>
                    <a:pt x="30" y="670"/>
                  </a:lnTo>
                  <a:lnTo>
                    <a:pt x="38" y="664"/>
                  </a:lnTo>
                  <a:lnTo>
                    <a:pt x="44" y="658"/>
                  </a:lnTo>
                  <a:lnTo>
                    <a:pt x="52" y="652"/>
                  </a:lnTo>
                  <a:lnTo>
                    <a:pt x="58" y="646"/>
                  </a:lnTo>
                  <a:lnTo>
                    <a:pt x="66" y="640"/>
                  </a:lnTo>
                  <a:lnTo>
                    <a:pt x="72" y="632"/>
                  </a:lnTo>
                  <a:lnTo>
                    <a:pt x="80" y="626"/>
                  </a:lnTo>
                  <a:lnTo>
                    <a:pt x="88" y="620"/>
                  </a:lnTo>
                  <a:lnTo>
                    <a:pt x="94" y="614"/>
                  </a:lnTo>
                  <a:lnTo>
                    <a:pt x="98" y="612"/>
                  </a:lnTo>
                  <a:lnTo>
                    <a:pt x="104" y="606"/>
                  </a:lnTo>
                  <a:lnTo>
                    <a:pt x="110" y="600"/>
                  </a:lnTo>
                  <a:lnTo>
                    <a:pt x="118" y="594"/>
                  </a:lnTo>
                  <a:lnTo>
                    <a:pt x="126" y="588"/>
                  </a:lnTo>
                  <a:lnTo>
                    <a:pt x="132" y="580"/>
                  </a:lnTo>
                  <a:lnTo>
                    <a:pt x="140" y="574"/>
                  </a:lnTo>
                  <a:lnTo>
                    <a:pt x="146" y="568"/>
                  </a:lnTo>
                  <a:lnTo>
                    <a:pt x="154" y="562"/>
                  </a:lnTo>
                  <a:lnTo>
                    <a:pt x="162" y="556"/>
                  </a:lnTo>
                  <a:lnTo>
                    <a:pt x="168" y="550"/>
                  </a:lnTo>
                  <a:lnTo>
                    <a:pt x="176" y="544"/>
                  </a:lnTo>
                  <a:lnTo>
                    <a:pt x="182" y="538"/>
                  </a:lnTo>
                  <a:lnTo>
                    <a:pt x="190" y="532"/>
                  </a:lnTo>
                  <a:lnTo>
                    <a:pt x="196" y="526"/>
                  </a:lnTo>
                  <a:lnTo>
                    <a:pt x="204" y="518"/>
                  </a:lnTo>
                  <a:lnTo>
                    <a:pt x="212" y="512"/>
                  </a:lnTo>
                  <a:lnTo>
                    <a:pt x="218" y="506"/>
                  </a:lnTo>
                  <a:lnTo>
                    <a:pt x="226" y="500"/>
                  </a:lnTo>
                  <a:lnTo>
                    <a:pt x="234" y="494"/>
                  </a:lnTo>
                  <a:lnTo>
                    <a:pt x="240" y="488"/>
                  </a:lnTo>
                  <a:lnTo>
                    <a:pt x="248" y="482"/>
                  </a:lnTo>
                  <a:lnTo>
                    <a:pt x="256" y="476"/>
                  </a:lnTo>
                  <a:lnTo>
                    <a:pt x="262" y="470"/>
                  </a:lnTo>
                  <a:lnTo>
                    <a:pt x="270" y="464"/>
                  </a:lnTo>
                  <a:lnTo>
                    <a:pt x="278" y="458"/>
                  </a:lnTo>
                  <a:lnTo>
                    <a:pt x="284" y="450"/>
                  </a:lnTo>
                  <a:lnTo>
                    <a:pt x="292" y="446"/>
                  </a:lnTo>
                  <a:lnTo>
                    <a:pt x="300" y="438"/>
                  </a:lnTo>
                  <a:lnTo>
                    <a:pt x="306" y="432"/>
                  </a:lnTo>
                  <a:lnTo>
                    <a:pt x="310" y="430"/>
                  </a:lnTo>
                  <a:lnTo>
                    <a:pt x="318" y="422"/>
                  </a:lnTo>
                  <a:lnTo>
                    <a:pt x="326" y="416"/>
                  </a:lnTo>
                  <a:lnTo>
                    <a:pt x="334" y="410"/>
                  </a:lnTo>
                  <a:lnTo>
                    <a:pt x="342" y="404"/>
                  </a:lnTo>
                  <a:lnTo>
                    <a:pt x="348" y="398"/>
                  </a:lnTo>
                  <a:lnTo>
                    <a:pt x="356" y="392"/>
                  </a:lnTo>
                  <a:lnTo>
                    <a:pt x="364" y="386"/>
                  </a:lnTo>
                  <a:lnTo>
                    <a:pt x="370" y="380"/>
                  </a:lnTo>
                  <a:lnTo>
                    <a:pt x="378" y="374"/>
                  </a:lnTo>
                  <a:lnTo>
                    <a:pt x="386" y="368"/>
                  </a:lnTo>
                  <a:lnTo>
                    <a:pt x="394" y="362"/>
                  </a:lnTo>
                  <a:lnTo>
                    <a:pt x="400" y="356"/>
                  </a:lnTo>
                  <a:lnTo>
                    <a:pt x="408" y="350"/>
                  </a:lnTo>
                  <a:lnTo>
                    <a:pt x="416" y="344"/>
                  </a:lnTo>
                  <a:lnTo>
                    <a:pt x="424" y="338"/>
                  </a:lnTo>
                  <a:lnTo>
                    <a:pt x="430" y="332"/>
                  </a:lnTo>
                  <a:lnTo>
                    <a:pt x="438" y="326"/>
                  </a:lnTo>
                  <a:lnTo>
                    <a:pt x="446" y="320"/>
                  </a:lnTo>
                  <a:lnTo>
                    <a:pt x="454" y="314"/>
                  </a:lnTo>
                  <a:lnTo>
                    <a:pt x="460" y="308"/>
                  </a:lnTo>
                  <a:lnTo>
                    <a:pt x="468" y="302"/>
                  </a:lnTo>
                  <a:lnTo>
                    <a:pt x="476" y="296"/>
                  </a:lnTo>
                  <a:lnTo>
                    <a:pt x="484" y="290"/>
                  </a:lnTo>
                  <a:lnTo>
                    <a:pt x="490" y="284"/>
                  </a:lnTo>
                  <a:lnTo>
                    <a:pt x="498" y="278"/>
                  </a:lnTo>
                  <a:lnTo>
                    <a:pt x="506" y="272"/>
                  </a:lnTo>
                  <a:lnTo>
                    <a:pt x="514" y="266"/>
                  </a:lnTo>
                  <a:lnTo>
                    <a:pt x="514" y="264"/>
                  </a:lnTo>
                  <a:lnTo>
                    <a:pt x="522" y="260"/>
                  </a:lnTo>
                  <a:lnTo>
                    <a:pt x="528" y="254"/>
                  </a:lnTo>
                  <a:lnTo>
                    <a:pt x="536" y="248"/>
                  </a:lnTo>
                  <a:lnTo>
                    <a:pt x="544" y="242"/>
                  </a:lnTo>
                  <a:lnTo>
                    <a:pt x="552" y="236"/>
                  </a:lnTo>
                  <a:lnTo>
                    <a:pt x="560" y="230"/>
                  </a:lnTo>
                  <a:lnTo>
                    <a:pt x="566" y="224"/>
                  </a:lnTo>
                  <a:lnTo>
                    <a:pt x="574" y="220"/>
                  </a:lnTo>
                  <a:lnTo>
                    <a:pt x="582" y="212"/>
                  </a:lnTo>
                  <a:lnTo>
                    <a:pt x="590" y="206"/>
                  </a:lnTo>
                  <a:lnTo>
                    <a:pt x="598" y="200"/>
                  </a:lnTo>
                  <a:lnTo>
                    <a:pt x="606" y="196"/>
                  </a:lnTo>
                  <a:lnTo>
                    <a:pt x="612" y="190"/>
                  </a:lnTo>
                  <a:lnTo>
                    <a:pt x="620" y="184"/>
                  </a:lnTo>
                  <a:lnTo>
                    <a:pt x="628" y="178"/>
                  </a:lnTo>
                  <a:lnTo>
                    <a:pt x="636" y="172"/>
                  </a:lnTo>
                  <a:lnTo>
                    <a:pt x="644" y="166"/>
                  </a:lnTo>
                  <a:lnTo>
                    <a:pt x="652" y="160"/>
                  </a:lnTo>
                  <a:lnTo>
                    <a:pt x="658" y="154"/>
                  </a:lnTo>
                  <a:lnTo>
                    <a:pt x="666" y="148"/>
                  </a:lnTo>
                  <a:lnTo>
                    <a:pt x="674" y="142"/>
                  </a:lnTo>
                  <a:lnTo>
                    <a:pt x="682" y="136"/>
                  </a:lnTo>
                  <a:lnTo>
                    <a:pt x="686" y="134"/>
                  </a:lnTo>
                  <a:lnTo>
                    <a:pt x="692" y="136"/>
                  </a:lnTo>
                  <a:lnTo>
                    <a:pt x="698" y="136"/>
                  </a:lnTo>
                  <a:lnTo>
                    <a:pt x="704" y="136"/>
                  </a:lnTo>
                  <a:lnTo>
                    <a:pt x="710" y="136"/>
                  </a:lnTo>
                  <a:lnTo>
                    <a:pt x="716" y="136"/>
                  </a:lnTo>
                  <a:lnTo>
                    <a:pt x="722" y="136"/>
                  </a:lnTo>
                  <a:lnTo>
                    <a:pt x="728" y="136"/>
                  </a:lnTo>
                  <a:lnTo>
                    <a:pt x="734" y="136"/>
                  </a:lnTo>
                  <a:lnTo>
                    <a:pt x="740" y="138"/>
                  </a:lnTo>
                  <a:lnTo>
                    <a:pt x="746" y="140"/>
                  </a:lnTo>
                  <a:lnTo>
                    <a:pt x="752" y="142"/>
                  </a:lnTo>
                  <a:lnTo>
                    <a:pt x="758" y="142"/>
                  </a:lnTo>
                  <a:lnTo>
                    <a:pt x="758" y="148"/>
                  </a:lnTo>
                  <a:lnTo>
                    <a:pt x="762" y="154"/>
                  </a:lnTo>
                  <a:lnTo>
                    <a:pt x="768" y="158"/>
                  </a:lnTo>
                  <a:lnTo>
                    <a:pt x="772" y="154"/>
                  </a:lnTo>
                  <a:lnTo>
                    <a:pt x="772" y="162"/>
                  </a:lnTo>
                  <a:lnTo>
                    <a:pt x="778" y="166"/>
                  </a:lnTo>
                  <a:lnTo>
                    <a:pt x="784" y="168"/>
                  </a:lnTo>
                  <a:lnTo>
                    <a:pt x="790" y="170"/>
                  </a:lnTo>
                  <a:lnTo>
                    <a:pt x="796" y="172"/>
                  </a:lnTo>
                  <a:lnTo>
                    <a:pt x="802" y="174"/>
                  </a:lnTo>
                  <a:lnTo>
                    <a:pt x="808" y="174"/>
                  </a:lnTo>
                  <a:lnTo>
                    <a:pt x="814" y="178"/>
                  </a:lnTo>
                  <a:lnTo>
                    <a:pt x="820" y="178"/>
                  </a:lnTo>
                  <a:lnTo>
                    <a:pt x="826" y="178"/>
                  </a:lnTo>
                  <a:lnTo>
                    <a:pt x="832" y="178"/>
                  </a:lnTo>
                  <a:lnTo>
                    <a:pt x="838" y="178"/>
                  </a:lnTo>
                  <a:lnTo>
                    <a:pt x="844" y="178"/>
                  </a:lnTo>
                  <a:lnTo>
                    <a:pt x="848" y="180"/>
                  </a:lnTo>
                  <a:lnTo>
                    <a:pt x="852" y="182"/>
                  </a:lnTo>
                  <a:lnTo>
                    <a:pt x="858" y="186"/>
                  </a:lnTo>
                  <a:lnTo>
                    <a:pt x="864" y="190"/>
                  </a:lnTo>
                  <a:lnTo>
                    <a:pt x="868" y="192"/>
                  </a:lnTo>
                  <a:lnTo>
                    <a:pt x="872" y="192"/>
                  </a:lnTo>
                  <a:lnTo>
                    <a:pt x="870" y="186"/>
                  </a:lnTo>
                  <a:lnTo>
                    <a:pt x="876" y="182"/>
                  </a:lnTo>
                  <a:lnTo>
                    <a:pt x="868" y="180"/>
                  </a:lnTo>
                  <a:lnTo>
                    <a:pt x="876" y="176"/>
                  </a:lnTo>
                  <a:lnTo>
                    <a:pt x="882" y="176"/>
                  </a:lnTo>
                  <a:lnTo>
                    <a:pt x="888" y="178"/>
                  </a:lnTo>
                  <a:lnTo>
                    <a:pt x="894" y="178"/>
                  </a:lnTo>
                  <a:lnTo>
                    <a:pt x="900" y="178"/>
                  </a:lnTo>
                  <a:lnTo>
                    <a:pt x="906" y="176"/>
                  </a:lnTo>
                  <a:lnTo>
                    <a:pt x="906" y="182"/>
                  </a:lnTo>
                  <a:lnTo>
                    <a:pt x="904" y="188"/>
                  </a:lnTo>
                  <a:lnTo>
                    <a:pt x="912" y="190"/>
                  </a:lnTo>
                  <a:lnTo>
                    <a:pt x="914" y="190"/>
                  </a:lnTo>
                  <a:lnTo>
                    <a:pt x="916" y="186"/>
                  </a:lnTo>
                  <a:lnTo>
                    <a:pt x="916" y="180"/>
                  </a:lnTo>
                  <a:lnTo>
                    <a:pt x="918" y="174"/>
                  </a:lnTo>
                  <a:lnTo>
                    <a:pt x="924" y="170"/>
                  </a:lnTo>
                  <a:lnTo>
                    <a:pt x="930" y="166"/>
                  </a:lnTo>
                  <a:lnTo>
                    <a:pt x="936" y="166"/>
                  </a:lnTo>
                  <a:lnTo>
                    <a:pt x="942" y="164"/>
                  </a:lnTo>
                  <a:lnTo>
                    <a:pt x="950" y="162"/>
                  </a:lnTo>
                  <a:lnTo>
                    <a:pt x="956" y="158"/>
                  </a:lnTo>
                  <a:lnTo>
                    <a:pt x="962" y="156"/>
                  </a:lnTo>
                  <a:lnTo>
                    <a:pt x="964" y="156"/>
                  </a:lnTo>
                  <a:lnTo>
                    <a:pt x="970" y="154"/>
                  </a:lnTo>
                  <a:lnTo>
                    <a:pt x="974" y="154"/>
                  </a:lnTo>
                  <a:lnTo>
                    <a:pt x="980" y="152"/>
                  </a:lnTo>
                  <a:lnTo>
                    <a:pt x="986" y="152"/>
                  </a:lnTo>
                  <a:lnTo>
                    <a:pt x="992" y="148"/>
                  </a:lnTo>
                  <a:lnTo>
                    <a:pt x="998" y="148"/>
                  </a:lnTo>
                  <a:lnTo>
                    <a:pt x="1004" y="148"/>
                  </a:lnTo>
                  <a:lnTo>
                    <a:pt x="1010" y="148"/>
                  </a:lnTo>
                  <a:lnTo>
                    <a:pt x="1016" y="146"/>
                  </a:lnTo>
                  <a:lnTo>
                    <a:pt x="1022" y="144"/>
                  </a:lnTo>
                  <a:lnTo>
                    <a:pt x="1028" y="142"/>
                  </a:lnTo>
                  <a:lnTo>
                    <a:pt x="1034" y="140"/>
                  </a:lnTo>
                  <a:lnTo>
                    <a:pt x="1040" y="134"/>
                  </a:lnTo>
                  <a:lnTo>
                    <a:pt x="1046" y="132"/>
                  </a:lnTo>
                  <a:lnTo>
                    <a:pt x="1052" y="134"/>
                  </a:lnTo>
                  <a:lnTo>
                    <a:pt x="1060" y="134"/>
                  </a:lnTo>
                  <a:lnTo>
                    <a:pt x="1066" y="134"/>
                  </a:lnTo>
                  <a:lnTo>
                    <a:pt x="1060" y="132"/>
                  </a:lnTo>
                  <a:lnTo>
                    <a:pt x="1066" y="128"/>
                  </a:lnTo>
                  <a:lnTo>
                    <a:pt x="1072" y="128"/>
                  </a:lnTo>
                  <a:lnTo>
                    <a:pt x="1078" y="128"/>
                  </a:lnTo>
                  <a:lnTo>
                    <a:pt x="1072" y="128"/>
                  </a:lnTo>
                  <a:lnTo>
                    <a:pt x="1078" y="132"/>
                  </a:lnTo>
                  <a:lnTo>
                    <a:pt x="1084" y="130"/>
                  </a:lnTo>
                  <a:lnTo>
                    <a:pt x="1090" y="128"/>
                  </a:lnTo>
                  <a:lnTo>
                    <a:pt x="1096" y="128"/>
                  </a:lnTo>
                  <a:lnTo>
                    <a:pt x="1102" y="126"/>
                  </a:lnTo>
                  <a:lnTo>
                    <a:pt x="1108" y="124"/>
                  </a:lnTo>
                  <a:lnTo>
                    <a:pt x="1114" y="122"/>
                  </a:lnTo>
                  <a:lnTo>
                    <a:pt x="1120" y="120"/>
                  </a:lnTo>
                  <a:lnTo>
                    <a:pt x="1128" y="120"/>
                  </a:lnTo>
                  <a:lnTo>
                    <a:pt x="1134" y="116"/>
                  </a:lnTo>
                  <a:lnTo>
                    <a:pt x="1132" y="122"/>
                  </a:lnTo>
                  <a:lnTo>
                    <a:pt x="1138" y="120"/>
                  </a:lnTo>
                  <a:lnTo>
                    <a:pt x="1144" y="118"/>
                  </a:lnTo>
                  <a:lnTo>
                    <a:pt x="1150" y="116"/>
                  </a:lnTo>
                  <a:lnTo>
                    <a:pt x="1152" y="114"/>
                  </a:lnTo>
                  <a:lnTo>
                    <a:pt x="1158" y="112"/>
                  </a:lnTo>
                  <a:lnTo>
                    <a:pt x="1164" y="108"/>
                  </a:lnTo>
                  <a:lnTo>
                    <a:pt x="1170" y="108"/>
                  </a:lnTo>
                  <a:lnTo>
                    <a:pt x="1176" y="106"/>
                  </a:lnTo>
                  <a:lnTo>
                    <a:pt x="1182" y="106"/>
                  </a:lnTo>
                  <a:lnTo>
                    <a:pt x="1188" y="104"/>
                  </a:lnTo>
                  <a:lnTo>
                    <a:pt x="1182" y="106"/>
                  </a:lnTo>
                  <a:lnTo>
                    <a:pt x="1190" y="106"/>
                  </a:lnTo>
                  <a:lnTo>
                    <a:pt x="1196" y="108"/>
                  </a:lnTo>
                  <a:lnTo>
                    <a:pt x="1200" y="106"/>
                  </a:lnTo>
                  <a:lnTo>
                    <a:pt x="1206" y="108"/>
                  </a:lnTo>
                  <a:lnTo>
                    <a:pt x="1212" y="106"/>
                  </a:lnTo>
                  <a:lnTo>
                    <a:pt x="1218" y="104"/>
                  </a:lnTo>
                  <a:lnTo>
                    <a:pt x="1224" y="100"/>
                  </a:lnTo>
                  <a:lnTo>
                    <a:pt x="1230" y="98"/>
                  </a:lnTo>
                  <a:lnTo>
                    <a:pt x="1224" y="104"/>
                  </a:lnTo>
                  <a:lnTo>
                    <a:pt x="1232" y="104"/>
                  </a:lnTo>
                  <a:lnTo>
                    <a:pt x="1224" y="110"/>
                  </a:lnTo>
                  <a:lnTo>
                    <a:pt x="1220" y="110"/>
                  </a:lnTo>
                  <a:lnTo>
                    <a:pt x="1216" y="114"/>
                  </a:lnTo>
                  <a:lnTo>
                    <a:pt x="1210" y="114"/>
                  </a:lnTo>
                  <a:lnTo>
                    <a:pt x="1204" y="116"/>
                  </a:lnTo>
                  <a:lnTo>
                    <a:pt x="1198" y="118"/>
                  </a:lnTo>
                  <a:lnTo>
                    <a:pt x="1190" y="120"/>
                  </a:lnTo>
                  <a:lnTo>
                    <a:pt x="1188" y="120"/>
                  </a:lnTo>
                  <a:lnTo>
                    <a:pt x="1182" y="120"/>
                  </a:lnTo>
                  <a:lnTo>
                    <a:pt x="1176" y="122"/>
                  </a:lnTo>
                  <a:lnTo>
                    <a:pt x="1170" y="122"/>
                  </a:lnTo>
                  <a:lnTo>
                    <a:pt x="1166" y="124"/>
                  </a:lnTo>
                  <a:lnTo>
                    <a:pt x="1158" y="126"/>
                  </a:lnTo>
                  <a:lnTo>
                    <a:pt x="1152" y="128"/>
                  </a:lnTo>
                  <a:lnTo>
                    <a:pt x="1148" y="132"/>
                  </a:lnTo>
                  <a:lnTo>
                    <a:pt x="1140" y="132"/>
                  </a:lnTo>
                  <a:lnTo>
                    <a:pt x="1136" y="134"/>
                  </a:lnTo>
                  <a:lnTo>
                    <a:pt x="1128" y="136"/>
                  </a:lnTo>
                  <a:lnTo>
                    <a:pt x="1122" y="136"/>
                  </a:lnTo>
                  <a:lnTo>
                    <a:pt x="1120" y="136"/>
                  </a:lnTo>
                  <a:lnTo>
                    <a:pt x="1116" y="142"/>
                  </a:lnTo>
                  <a:lnTo>
                    <a:pt x="1110" y="146"/>
                  </a:lnTo>
                  <a:lnTo>
                    <a:pt x="1104" y="150"/>
                  </a:lnTo>
                  <a:lnTo>
                    <a:pt x="1110" y="148"/>
                  </a:lnTo>
                  <a:lnTo>
                    <a:pt x="1116" y="144"/>
                  </a:lnTo>
                  <a:lnTo>
                    <a:pt x="1110" y="148"/>
                  </a:lnTo>
                  <a:lnTo>
                    <a:pt x="1104" y="152"/>
                  </a:lnTo>
                  <a:lnTo>
                    <a:pt x="1110" y="150"/>
                  </a:lnTo>
                  <a:lnTo>
                    <a:pt x="1104" y="154"/>
                  </a:lnTo>
                  <a:lnTo>
                    <a:pt x="1098" y="158"/>
                  </a:lnTo>
                  <a:lnTo>
                    <a:pt x="1092" y="162"/>
                  </a:lnTo>
                  <a:lnTo>
                    <a:pt x="1098" y="160"/>
                  </a:lnTo>
                  <a:lnTo>
                    <a:pt x="1104" y="156"/>
                  </a:lnTo>
                  <a:lnTo>
                    <a:pt x="1110" y="152"/>
                  </a:lnTo>
                  <a:lnTo>
                    <a:pt x="1116" y="150"/>
                  </a:lnTo>
                  <a:lnTo>
                    <a:pt x="1122" y="148"/>
                  </a:lnTo>
                  <a:lnTo>
                    <a:pt x="1128" y="146"/>
                  </a:lnTo>
                  <a:lnTo>
                    <a:pt x="1134" y="142"/>
                  </a:lnTo>
                  <a:lnTo>
                    <a:pt x="1140" y="140"/>
                  </a:lnTo>
                  <a:lnTo>
                    <a:pt x="1148" y="138"/>
                  </a:lnTo>
                  <a:lnTo>
                    <a:pt x="1152" y="134"/>
                  </a:lnTo>
                  <a:lnTo>
                    <a:pt x="1160" y="132"/>
                  </a:lnTo>
                  <a:lnTo>
                    <a:pt x="1166" y="130"/>
                  </a:lnTo>
                  <a:lnTo>
                    <a:pt x="1170" y="130"/>
                  </a:lnTo>
                  <a:lnTo>
                    <a:pt x="1178" y="128"/>
                  </a:lnTo>
                  <a:lnTo>
                    <a:pt x="1184" y="128"/>
                  </a:lnTo>
                  <a:lnTo>
                    <a:pt x="1190" y="126"/>
                  </a:lnTo>
                  <a:lnTo>
                    <a:pt x="1196" y="124"/>
                  </a:lnTo>
                  <a:lnTo>
                    <a:pt x="1204" y="124"/>
                  </a:lnTo>
                  <a:lnTo>
                    <a:pt x="1210" y="124"/>
                  </a:lnTo>
                  <a:lnTo>
                    <a:pt x="1216" y="122"/>
                  </a:lnTo>
                  <a:lnTo>
                    <a:pt x="1222" y="122"/>
                  </a:lnTo>
                  <a:lnTo>
                    <a:pt x="1228" y="120"/>
                  </a:lnTo>
                  <a:lnTo>
                    <a:pt x="1234" y="118"/>
                  </a:lnTo>
                  <a:lnTo>
                    <a:pt x="1242" y="116"/>
                  </a:lnTo>
                  <a:lnTo>
                    <a:pt x="1234" y="120"/>
                  </a:lnTo>
                  <a:lnTo>
                    <a:pt x="1228" y="122"/>
                  </a:lnTo>
                  <a:lnTo>
                    <a:pt x="1222" y="122"/>
                  </a:lnTo>
                  <a:lnTo>
                    <a:pt x="1216" y="128"/>
                  </a:lnTo>
                  <a:lnTo>
                    <a:pt x="1222" y="132"/>
                  </a:lnTo>
                  <a:lnTo>
                    <a:pt x="1228" y="128"/>
                  </a:lnTo>
                  <a:lnTo>
                    <a:pt x="1234" y="128"/>
                  </a:lnTo>
                  <a:lnTo>
                    <a:pt x="1240" y="124"/>
                  </a:lnTo>
                  <a:lnTo>
                    <a:pt x="1246" y="122"/>
                  </a:lnTo>
                  <a:lnTo>
                    <a:pt x="1250" y="120"/>
                  </a:lnTo>
                  <a:lnTo>
                    <a:pt x="1258" y="118"/>
                  </a:lnTo>
                  <a:lnTo>
                    <a:pt x="1264" y="116"/>
                  </a:lnTo>
                  <a:lnTo>
                    <a:pt x="1270" y="114"/>
                  </a:lnTo>
                  <a:lnTo>
                    <a:pt x="1272" y="114"/>
                  </a:lnTo>
                  <a:lnTo>
                    <a:pt x="1276" y="108"/>
                  </a:lnTo>
                  <a:lnTo>
                    <a:pt x="1282" y="106"/>
                  </a:lnTo>
                  <a:lnTo>
                    <a:pt x="1288" y="104"/>
                  </a:lnTo>
                  <a:lnTo>
                    <a:pt x="1294" y="102"/>
                  </a:lnTo>
                  <a:lnTo>
                    <a:pt x="1300" y="102"/>
                  </a:lnTo>
                  <a:lnTo>
                    <a:pt x="1308" y="102"/>
                  </a:lnTo>
                  <a:lnTo>
                    <a:pt x="1314" y="102"/>
                  </a:lnTo>
                  <a:lnTo>
                    <a:pt x="1320" y="100"/>
                  </a:lnTo>
                  <a:lnTo>
                    <a:pt x="1314" y="98"/>
                  </a:lnTo>
                  <a:lnTo>
                    <a:pt x="1308" y="98"/>
                  </a:lnTo>
                  <a:lnTo>
                    <a:pt x="1314" y="92"/>
                  </a:lnTo>
                  <a:lnTo>
                    <a:pt x="1306" y="92"/>
                  </a:lnTo>
                  <a:lnTo>
                    <a:pt x="1312" y="86"/>
                  </a:lnTo>
                  <a:lnTo>
                    <a:pt x="1318" y="82"/>
                  </a:lnTo>
                  <a:lnTo>
                    <a:pt x="1324" y="82"/>
                  </a:lnTo>
                  <a:lnTo>
                    <a:pt x="1330" y="82"/>
                  </a:lnTo>
                  <a:lnTo>
                    <a:pt x="1336" y="88"/>
                  </a:lnTo>
                  <a:lnTo>
                    <a:pt x="1340" y="94"/>
                  </a:lnTo>
                  <a:lnTo>
                    <a:pt x="1340" y="98"/>
                  </a:lnTo>
                  <a:lnTo>
                    <a:pt x="1338" y="104"/>
                  </a:lnTo>
                  <a:lnTo>
                    <a:pt x="1336" y="110"/>
                  </a:lnTo>
                  <a:lnTo>
                    <a:pt x="1334" y="114"/>
                  </a:lnTo>
                  <a:lnTo>
                    <a:pt x="1334" y="116"/>
                  </a:lnTo>
                  <a:lnTo>
                    <a:pt x="1328" y="122"/>
                  </a:lnTo>
                  <a:lnTo>
                    <a:pt x="1326" y="128"/>
                  </a:lnTo>
                  <a:lnTo>
                    <a:pt x="1328" y="134"/>
                  </a:lnTo>
                  <a:lnTo>
                    <a:pt x="1328" y="140"/>
                  </a:lnTo>
                  <a:lnTo>
                    <a:pt x="1332" y="146"/>
                  </a:lnTo>
                  <a:lnTo>
                    <a:pt x="1340" y="150"/>
                  </a:lnTo>
                  <a:lnTo>
                    <a:pt x="1346" y="150"/>
                  </a:lnTo>
                  <a:lnTo>
                    <a:pt x="1352" y="152"/>
                  </a:lnTo>
                  <a:lnTo>
                    <a:pt x="1358" y="148"/>
                  </a:lnTo>
                  <a:lnTo>
                    <a:pt x="1364" y="148"/>
                  </a:lnTo>
                  <a:lnTo>
                    <a:pt x="1370" y="148"/>
                  </a:lnTo>
                  <a:lnTo>
                    <a:pt x="1364" y="144"/>
                  </a:lnTo>
                  <a:lnTo>
                    <a:pt x="1358" y="146"/>
                  </a:lnTo>
                  <a:lnTo>
                    <a:pt x="1352" y="146"/>
                  </a:lnTo>
                  <a:lnTo>
                    <a:pt x="1358" y="144"/>
                  </a:lnTo>
                  <a:lnTo>
                    <a:pt x="1364" y="142"/>
                  </a:lnTo>
                  <a:lnTo>
                    <a:pt x="1368" y="140"/>
                  </a:lnTo>
                  <a:lnTo>
                    <a:pt x="1374" y="144"/>
                  </a:lnTo>
                  <a:lnTo>
                    <a:pt x="1378" y="138"/>
                  </a:lnTo>
                  <a:lnTo>
                    <a:pt x="1372" y="136"/>
                  </a:lnTo>
                  <a:lnTo>
                    <a:pt x="1378" y="132"/>
                  </a:lnTo>
                  <a:lnTo>
                    <a:pt x="1384" y="132"/>
                  </a:lnTo>
                  <a:lnTo>
                    <a:pt x="1390" y="130"/>
                  </a:lnTo>
                  <a:lnTo>
                    <a:pt x="1396" y="128"/>
                  </a:lnTo>
                  <a:lnTo>
                    <a:pt x="1402" y="130"/>
                  </a:lnTo>
                  <a:lnTo>
                    <a:pt x="1396" y="128"/>
                  </a:lnTo>
                  <a:lnTo>
                    <a:pt x="1390" y="128"/>
                  </a:lnTo>
                  <a:lnTo>
                    <a:pt x="1396" y="122"/>
                  </a:lnTo>
                  <a:lnTo>
                    <a:pt x="1402" y="124"/>
                  </a:lnTo>
                  <a:lnTo>
                    <a:pt x="1408" y="120"/>
                  </a:lnTo>
                  <a:lnTo>
                    <a:pt x="1414" y="118"/>
                  </a:lnTo>
                  <a:lnTo>
                    <a:pt x="1420" y="116"/>
                  </a:lnTo>
                  <a:lnTo>
                    <a:pt x="1426" y="116"/>
                  </a:lnTo>
                  <a:lnTo>
                    <a:pt x="1432" y="114"/>
                  </a:lnTo>
                  <a:lnTo>
                    <a:pt x="1428" y="114"/>
                  </a:lnTo>
                  <a:lnTo>
                    <a:pt x="1424" y="114"/>
                  </a:lnTo>
                  <a:lnTo>
                    <a:pt x="1420" y="114"/>
                  </a:lnTo>
                  <a:lnTo>
                    <a:pt x="1418" y="114"/>
                  </a:lnTo>
                  <a:lnTo>
                    <a:pt x="1416" y="114"/>
                  </a:lnTo>
                  <a:lnTo>
                    <a:pt x="1410" y="116"/>
                  </a:lnTo>
                  <a:lnTo>
                    <a:pt x="1404" y="118"/>
                  </a:lnTo>
                  <a:lnTo>
                    <a:pt x="1408" y="114"/>
                  </a:lnTo>
                  <a:lnTo>
                    <a:pt x="1414" y="112"/>
                  </a:lnTo>
                  <a:lnTo>
                    <a:pt x="1420" y="110"/>
                  </a:lnTo>
                  <a:lnTo>
                    <a:pt x="1426" y="110"/>
                  </a:lnTo>
                  <a:lnTo>
                    <a:pt x="1432" y="110"/>
                  </a:lnTo>
                  <a:lnTo>
                    <a:pt x="1438" y="112"/>
                  </a:lnTo>
                  <a:lnTo>
                    <a:pt x="1444" y="110"/>
                  </a:lnTo>
                  <a:lnTo>
                    <a:pt x="1442" y="112"/>
                  </a:lnTo>
                  <a:lnTo>
                    <a:pt x="1442" y="114"/>
                  </a:lnTo>
                  <a:lnTo>
                    <a:pt x="1440" y="114"/>
                  </a:lnTo>
                  <a:lnTo>
                    <a:pt x="1438" y="114"/>
                  </a:lnTo>
                  <a:lnTo>
                    <a:pt x="1432" y="120"/>
                  </a:lnTo>
                  <a:lnTo>
                    <a:pt x="1428" y="124"/>
                  </a:lnTo>
                  <a:lnTo>
                    <a:pt x="1422" y="130"/>
                  </a:lnTo>
                  <a:lnTo>
                    <a:pt x="1428" y="130"/>
                  </a:lnTo>
                  <a:lnTo>
                    <a:pt x="1434" y="132"/>
                  </a:lnTo>
                  <a:lnTo>
                    <a:pt x="1428" y="134"/>
                  </a:lnTo>
                  <a:lnTo>
                    <a:pt x="1422" y="138"/>
                  </a:lnTo>
                  <a:lnTo>
                    <a:pt x="1416" y="140"/>
                  </a:lnTo>
                  <a:lnTo>
                    <a:pt x="1410" y="142"/>
                  </a:lnTo>
                  <a:lnTo>
                    <a:pt x="1404" y="144"/>
                  </a:lnTo>
                  <a:lnTo>
                    <a:pt x="1398" y="150"/>
                  </a:lnTo>
                  <a:lnTo>
                    <a:pt x="1404" y="152"/>
                  </a:lnTo>
                  <a:lnTo>
                    <a:pt x="1410" y="152"/>
                  </a:lnTo>
                  <a:lnTo>
                    <a:pt x="1416" y="152"/>
                  </a:lnTo>
                  <a:lnTo>
                    <a:pt x="1422" y="150"/>
                  </a:lnTo>
                  <a:lnTo>
                    <a:pt x="1424" y="150"/>
                  </a:lnTo>
                  <a:lnTo>
                    <a:pt x="1430" y="150"/>
                  </a:lnTo>
                  <a:lnTo>
                    <a:pt x="1436" y="150"/>
                  </a:lnTo>
                  <a:lnTo>
                    <a:pt x="1442" y="148"/>
                  </a:lnTo>
                  <a:lnTo>
                    <a:pt x="1448" y="144"/>
                  </a:lnTo>
                  <a:lnTo>
                    <a:pt x="1454" y="142"/>
                  </a:lnTo>
                  <a:lnTo>
                    <a:pt x="1462" y="142"/>
                  </a:lnTo>
                  <a:lnTo>
                    <a:pt x="1466" y="140"/>
                  </a:lnTo>
                  <a:lnTo>
                    <a:pt x="1474" y="134"/>
                  </a:lnTo>
                  <a:lnTo>
                    <a:pt x="1478" y="130"/>
                  </a:lnTo>
                  <a:lnTo>
                    <a:pt x="1486" y="126"/>
                  </a:lnTo>
                  <a:lnTo>
                    <a:pt x="1492" y="124"/>
                  </a:lnTo>
                  <a:lnTo>
                    <a:pt x="1496" y="124"/>
                  </a:lnTo>
                  <a:lnTo>
                    <a:pt x="1502" y="124"/>
                  </a:lnTo>
                  <a:lnTo>
                    <a:pt x="1508" y="124"/>
                  </a:lnTo>
                  <a:lnTo>
                    <a:pt x="1514" y="124"/>
                  </a:lnTo>
                  <a:lnTo>
                    <a:pt x="1522" y="124"/>
                  </a:lnTo>
                  <a:lnTo>
                    <a:pt x="1526" y="126"/>
                  </a:lnTo>
                  <a:lnTo>
                    <a:pt x="1532" y="124"/>
                  </a:lnTo>
                  <a:lnTo>
                    <a:pt x="1540" y="124"/>
                  </a:lnTo>
                  <a:lnTo>
                    <a:pt x="1546" y="124"/>
                  </a:lnTo>
                  <a:lnTo>
                    <a:pt x="1552" y="126"/>
                  </a:lnTo>
                  <a:lnTo>
                    <a:pt x="1558" y="128"/>
                  </a:lnTo>
                  <a:lnTo>
                    <a:pt x="1564" y="130"/>
                  </a:lnTo>
                  <a:lnTo>
                    <a:pt x="1570" y="134"/>
                  </a:lnTo>
                  <a:lnTo>
                    <a:pt x="1576" y="138"/>
                  </a:lnTo>
                  <a:lnTo>
                    <a:pt x="1580" y="144"/>
                  </a:lnTo>
                  <a:lnTo>
                    <a:pt x="1586" y="148"/>
                  </a:lnTo>
                  <a:lnTo>
                    <a:pt x="1592" y="152"/>
                  </a:lnTo>
                  <a:lnTo>
                    <a:pt x="1594" y="152"/>
                  </a:lnTo>
                  <a:lnTo>
                    <a:pt x="1600" y="152"/>
                  </a:lnTo>
                  <a:lnTo>
                    <a:pt x="1606" y="154"/>
                  </a:lnTo>
                  <a:lnTo>
                    <a:pt x="1612" y="154"/>
                  </a:lnTo>
                  <a:lnTo>
                    <a:pt x="1618" y="154"/>
                  </a:lnTo>
                  <a:lnTo>
                    <a:pt x="1626" y="154"/>
                  </a:lnTo>
                  <a:lnTo>
                    <a:pt x="1632" y="156"/>
                  </a:lnTo>
                  <a:lnTo>
                    <a:pt x="1638" y="158"/>
                  </a:lnTo>
                  <a:lnTo>
                    <a:pt x="1644" y="160"/>
                  </a:lnTo>
                  <a:lnTo>
                    <a:pt x="1648" y="166"/>
                  </a:lnTo>
                  <a:lnTo>
                    <a:pt x="1654" y="168"/>
                  </a:lnTo>
                  <a:lnTo>
                    <a:pt x="1660" y="172"/>
                  </a:lnTo>
                  <a:lnTo>
                    <a:pt x="1666" y="172"/>
                  </a:lnTo>
                  <a:lnTo>
                    <a:pt x="1674" y="174"/>
                  </a:lnTo>
                  <a:lnTo>
                    <a:pt x="1680" y="174"/>
                  </a:lnTo>
                  <a:lnTo>
                    <a:pt x="1686" y="176"/>
                  </a:lnTo>
                  <a:lnTo>
                    <a:pt x="1692" y="178"/>
                  </a:lnTo>
                  <a:lnTo>
                    <a:pt x="1698" y="178"/>
                  </a:lnTo>
                  <a:lnTo>
                    <a:pt x="1704" y="178"/>
                  </a:lnTo>
                  <a:lnTo>
                    <a:pt x="1710" y="178"/>
                  </a:lnTo>
                  <a:lnTo>
                    <a:pt x="1716" y="180"/>
                  </a:lnTo>
                  <a:lnTo>
                    <a:pt x="1722" y="178"/>
                  </a:lnTo>
                  <a:lnTo>
                    <a:pt x="1728" y="182"/>
                  </a:lnTo>
                  <a:lnTo>
                    <a:pt x="1732" y="180"/>
                  </a:lnTo>
                  <a:lnTo>
                    <a:pt x="1730" y="174"/>
                  </a:lnTo>
                  <a:lnTo>
                    <a:pt x="1736" y="172"/>
                  </a:lnTo>
                  <a:lnTo>
                    <a:pt x="1742" y="174"/>
                  </a:lnTo>
                  <a:lnTo>
                    <a:pt x="1748" y="176"/>
                  </a:lnTo>
                  <a:lnTo>
                    <a:pt x="1754" y="172"/>
                  </a:lnTo>
                  <a:lnTo>
                    <a:pt x="1760" y="174"/>
                  </a:lnTo>
                  <a:lnTo>
                    <a:pt x="1766" y="174"/>
                  </a:lnTo>
                  <a:lnTo>
                    <a:pt x="1772" y="178"/>
                  </a:lnTo>
                  <a:lnTo>
                    <a:pt x="1778" y="180"/>
                  </a:lnTo>
                  <a:lnTo>
                    <a:pt x="1784" y="180"/>
                  </a:lnTo>
                  <a:lnTo>
                    <a:pt x="1788" y="188"/>
                  </a:lnTo>
                  <a:lnTo>
                    <a:pt x="1794" y="188"/>
                  </a:lnTo>
                  <a:lnTo>
                    <a:pt x="1794" y="194"/>
                  </a:lnTo>
                  <a:lnTo>
                    <a:pt x="1800" y="196"/>
                  </a:lnTo>
                  <a:lnTo>
                    <a:pt x="1800" y="202"/>
                  </a:lnTo>
                  <a:lnTo>
                    <a:pt x="1798" y="208"/>
                  </a:lnTo>
                  <a:lnTo>
                    <a:pt x="1792" y="212"/>
                  </a:lnTo>
                  <a:lnTo>
                    <a:pt x="1786" y="216"/>
                  </a:lnTo>
                  <a:lnTo>
                    <a:pt x="1780" y="216"/>
                  </a:lnTo>
                  <a:lnTo>
                    <a:pt x="1774" y="216"/>
                  </a:lnTo>
                  <a:lnTo>
                    <a:pt x="1768" y="214"/>
                  </a:lnTo>
                  <a:lnTo>
                    <a:pt x="1762" y="216"/>
                  </a:lnTo>
                  <a:lnTo>
                    <a:pt x="1756" y="216"/>
                  </a:lnTo>
                  <a:lnTo>
                    <a:pt x="1750" y="216"/>
                  </a:lnTo>
                  <a:lnTo>
                    <a:pt x="1750" y="220"/>
                  </a:lnTo>
                  <a:lnTo>
                    <a:pt x="1744" y="222"/>
                  </a:lnTo>
                  <a:lnTo>
                    <a:pt x="1738" y="220"/>
                  </a:lnTo>
                  <a:lnTo>
                    <a:pt x="1732" y="220"/>
                  </a:lnTo>
                  <a:lnTo>
                    <a:pt x="1724" y="224"/>
                  </a:lnTo>
                  <a:lnTo>
                    <a:pt x="1722" y="230"/>
                  </a:lnTo>
                  <a:lnTo>
                    <a:pt x="1716" y="232"/>
                  </a:lnTo>
                  <a:lnTo>
                    <a:pt x="1712" y="232"/>
                  </a:lnTo>
                  <a:lnTo>
                    <a:pt x="1704" y="234"/>
                  </a:lnTo>
                  <a:lnTo>
                    <a:pt x="1698" y="238"/>
                  </a:lnTo>
                  <a:lnTo>
                    <a:pt x="1704" y="238"/>
                  </a:lnTo>
                  <a:lnTo>
                    <a:pt x="1710" y="242"/>
                  </a:lnTo>
                  <a:lnTo>
                    <a:pt x="1714" y="242"/>
                  </a:lnTo>
                  <a:lnTo>
                    <a:pt x="1720" y="242"/>
                  </a:lnTo>
                  <a:lnTo>
                    <a:pt x="1726" y="242"/>
                  </a:lnTo>
                  <a:lnTo>
                    <a:pt x="1732" y="244"/>
                  </a:lnTo>
                  <a:lnTo>
                    <a:pt x="1738" y="246"/>
                  </a:lnTo>
                  <a:lnTo>
                    <a:pt x="1744" y="246"/>
                  </a:lnTo>
                  <a:lnTo>
                    <a:pt x="1750" y="246"/>
                  </a:lnTo>
                  <a:lnTo>
                    <a:pt x="1758" y="248"/>
                  </a:lnTo>
                  <a:lnTo>
                    <a:pt x="1762" y="248"/>
                  </a:lnTo>
                  <a:lnTo>
                    <a:pt x="1770" y="248"/>
                  </a:lnTo>
                  <a:lnTo>
                    <a:pt x="1776" y="248"/>
                  </a:lnTo>
                  <a:lnTo>
                    <a:pt x="1782" y="248"/>
                  </a:lnTo>
                  <a:lnTo>
                    <a:pt x="1788" y="248"/>
                  </a:lnTo>
                  <a:lnTo>
                    <a:pt x="1794" y="250"/>
                  </a:lnTo>
                  <a:lnTo>
                    <a:pt x="1800" y="250"/>
                  </a:lnTo>
                  <a:lnTo>
                    <a:pt x="1806" y="250"/>
                  </a:lnTo>
                  <a:lnTo>
                    <a:pt x="1812" y="250"/>
                  </a:lnTo>
                  <a:lnTo>
                    <a:pt x="1818" y="250"/>
                  </a:lnTo>
                  <a:lnTo>
                    <a:pt x="1824" y="250"/>
                  </a:lnTo>
                  <a:lnTo>
                    <a:pt x="1830" y="246"/>
                  </a:lnTo>
                  <a:lnTo>
                    <a:pt x="1836" y="246"/>
                  </a:lnTo>
                  <a:lnTo>
                    <a:pt x="1842" y="246"/>
                  </a:lnTo>
                  <a:lnTo>
                    <a:pt x="1848" y="250"/>
                  </a:lnTo>
                  <a:lnTo>
                    <a:pt x="1854" y="246"/>
                  </a:lnTo>
                  <a:lnTo>
                    <a:pt x="1860" y="246"/>
                  </a:lnTo>
                  <a:lnTo>
                    <a:pt x="1866" y="246"/>
                  </a:lnTo>
                  <a:lnTo>
                    <a:pt x="1872" y="246"/>
                  </a:lnTo>
                  <a:lnTo>
                    <a:pt x="1878" y="242"/>
                  </a:lnTo>
                  <a:lnTo>
                    <a:pt x="1886" y="242"/>
                  </a:lnTo>
                  <a:lnTo>
                    <a:pt x="1892" y="240"/>
                  </a:lnTo>
                  <a:lnTo>
                    <a:pt x="1886" y="244"/>
                  </a:lnTo>
                  <a:lnTo>
                    <a:pt x="1892" y="242"/>
                  </a:lnTo>
                  <a:lnTo>
                    <a:pt x="1898" y="244"/>
                  </a:lnTo>
                  <a:lnTo>
                    <a:pt x="1904" y="242"/>
                  </a:lnTo>
                  <a:lnTo>
                    <a:pt x="1910" y="238"/>
                  </a:lnTo>
                  <a:lnTo>
                    <a:pt x="1916" y="238"/>
                  </a:lnTo>
                  <a:lnTo>
                    <a:pt x="1922" y="236"/>
                  </a:lnTo>
                  <a:lnTo>
                    <a:pt x="1928" y="234"/>
                  </a:lnTo>
                  <a:lnTo>
                    <a:pt x="1934" y="234"/>
                  </a:lnTo>
                  <a:lnTo>
                    <a:pt x="1940" y="236"/>
                  </a:lnTo>
                  <a:lnTo>
                    <a:pt x="1946" y="230"/>
                  </a:lnTo>
                  <a:lnTo>
                    <a:pt x="1952" y="232"/>
                  </a:lnTo>
                  <a:lnTo>
                    <a:pt x="1952" y="234"/>
                  </a:lnTo>
                  <a:lnTo>
                    <a:pt x="1946" y="238"/>
                  </a:lnTo>
                  <a:lnTo>
                    <a:pt x="1944" y="238"/>
                  </a:lnTo>
                  <a:lnTo>
                    <a:pt x="1948" y="238"/>
                  </a:lnTo>
                  <a:lnTo>
                    <a:pt x="1954" y="242"/>
                  </a:lnTo>
                  <a:lnTo>
                    <a:pt x="1952" y="248"/>
                  </a:lnTo>
                  <a:lnTo>
                    <a:pt x="1958" y="246"/>
                  </a:lnTo>
                  <a:lnTo>
                    <a:pt x="1964" y="246"/>
                  </a:lnTo>
                  <a:lnTo>
                    <a:pt x="1970" y="246"/>
                  </a:lnTo>
                  <a:lnTo>
                    <a:pt x="1976" y="246"/>
                  </a:lnTo>
                  <a:lnTo>
                    <a:pt x="1976" y="252"/>
                  </a:lnTo>
                  <a:lnTo>
                    <a:pt x="1972" y="260"/>
                  </a:lnTo>
                  <a:lnTo>
                    <a:pt x="1966" y="260"/>
                  </a:lnTo>
                  <a:lnTo>
                    <a:pt x="1964" y="264"/>
                  </a:lnTo>
                  <a:lnTo>
                    <a:pt x="1966" y="268"/>
                  </a:lnTo>
                  <a:lnTo>
                    <a:pt x="1972" y="266"/>
                  </a:lnTo>
                  <a:lnTo>
                    <a:pt x="1978" y="262"/>
                  </a:lnTo>
                  <a:lnTo>
                    <a:pt x="1984" y="254"/>
                  </a:lnTo>
                  <a:lnTo>
                    <a:pt x="1990" y="258"/>
                  </a:lnTo>
                  <a:lnTo>
                    <a:pt x="1986" y="264"/>
                  </a:lnTo>
                  <a:lnTo>
                    <a:pt x="1982" y="268"/>
                  </a:lnTo>
                  <a:lnTo>
                    <a:pt x="1988" y="266"/>
                  </a:lnTo>
                  <a:lnTo>
                    <a:pt x="1994" y="266"/>
                  </a:lnTo>
                  <a:lnTo>
                    <a:pt x="2000" y="272"/>
                  </a:lnTo>
                  <a:lnTo>
                    <a:pt x="1998" y="278"/>
                  </a:lnTo>
                  <a:lnTo>
                    <a:pt x="1994" y="284"/>
                  </a:lnTo>
                  <a:lnTo>
                    <a:pt x="1988" y="286"/>
                  </a:lnTo>
                  <a:lnTo>
                    <a:pt x="1982" y="286"/>
                  </a:lnTo>
                  <a:lnTo>
                    <a:pt x="1976" y="288"/>
                  </a:lnTo>
                  <a:lnTo>
                    <a:pt x="1970" y="286"/>
                  </a:lnTo>
                  <a:lnTo>
                    <a:pt x="1964" y="282"/>
                  </a:lnTo>
                  <a:lnTo>
                    <a:pt x="1962" y="288"/>
                  </a:lnTo>
                  <a:lnTo>
                    <a:pt x="1968" y="290"/>
                  </a:lnTo>
                  <a:lnTo>
                    <a:pt x="1974" y="292"/>
                  </a:lnTo>
                  <a:lnTo>
                    <a:pt x="1970" y="298"/>
                  </a:lnTo>
                  <a:lnTo>
                    <a:pt x="1964" y="298"/>
                  </a:lnTo>
                  <a:lnTo>
                    <a:pt x="1966" y="300"/>
                  </a:lnTo>
                  <a:lnTo>
                    <a:pt x="1972" y="304"/>
                  </a:lnTo>
                  <a:lnTo>
                    <a:pt x="1970" y="310"/>
                  </a:lnTo>
                  <a:lnTo>
                    <a:pt x="1976" y="306"/>
                  </a:lnTo>
                  <a:lnTo>
                    <a:pt x="1976" y="312"/>
                  </a:lnTo>
                  <a:lnTo>
                    <a:pt x="1978" y="318"/>
                  </a:lnTo>
                  <a:lnTo>
                    <a:pt x="1978" y="322"/>
                  </a:lnTo>
                  <a:lnTo>
                    <a:pt x="1984" y="328"/>
                  </a:lnTo>
                  <a:lnTo>
                    <a:pt x="1982" y="322"/>
                  </a:lnTo>
                  <a:lnTo>
                    <a:pt x="1980" y="316"/>
                  </a:lnTo>
                  <a:lnTo>
                    <a:pt x="1980" y="310"/>
                  </a:lnTo>
                  <a:lnTo>
                    <a:pt x="1980" y="304"/>
                  </a:lnTo>
                  <a:lnTo>
                    <a:pt x="1986" y="302"/>
                  </a:lnTo>
                  <a:lnTo>
                    <a:pt x="1990" y="296"/>
                  </a:lnTo>
                  <a:lnTo>
                    <a:pt x="1994" y="290"/>
                  </a:lnTo>
                  <a:lnTo>
                    <a:pt x="2000" y="290"/>
                  </a:lnTo>
                  <a:lnTo>
                    <a:pt x="2006" y="288"/>
                  </a:lnTo>
                  <a:lnTo>
                    <a:pt x="2000" y="294"/>
                  </a:lnTo>
                  <a:lnTo>
                    <a:pt x="1994" y="296"/>
                  </a:lnTo>
                  <a:lnTo>
                    <a:pt x="1998" y="302"/>
                  </a:lnTo>
                  <a:lnTo>
                    <a:pt x="2004" y="298"/>
                  </a:lnTo>
                  <a:lnTo>
                    <a:pt x="2010" y="292"/>
                  </a:lnTo>
                  <a:lnTo>
                    <a:pt x="2014" y="298"/>
                  </a:lnTo>
                  <a:lnTo>
                    <a:pt x="2016" y="292"/>
                  </a:lnTo>
                  <a:lnTo>
                    <a:pt x="2016" y="286"/>
                  </a:lnTo>
                  <a:lnTo>
                    <a:pt x="2020" y="284"/>
                  </a:lnTo>
                  <a:lnTo>
                    <a:pt x="2022" y="282"/>
                  </a:lnTo>
                  <a:lnTo>
                    <a:pt x="2018" y="276"/>
                  </a:lnTo>
                  <a:lnTo>
                    <a:pt x="2020" y="270"/>
                  </a:lnTo>
                  <a:lnTo>
                    <a:pt x="2026" y="264"/>
                  </a:lnTo>
                  <a:lnTo>
                    <a:pt x="2030" y="258"/>
                  </a:lnTo>
                  <a:lnTo>
                    <a:pt x="2026" y="252"/>
                  </a:lnTo>
                  <a:lnTo>
                    <a:pt x="2026" y="248"/>
                  </a:lnTo>
                  <a:lnTo>
                    <a:pt x="2032" y="242"/>
                  </a:lnTo>
                  <a:lnTo>
                    <a:pt x="2038" y="240"/>
                  </a:lnTo>
                  <a:lnTo>
                    <a:pt x="2042" y="238"/>
                  </a:lnTo>
                  <a:lnTo>
                    <a:pt x="2048" y="238"/>
                  </a:lnTo>
                  <a:lnTo>
                    <a:pt x="2054" y="234"/>
                  </a:lnTo>
                  <a:lnTo>
                    <a:pt x="2048" y="234"/>
                  </a:lnTo>
                  <a:lnTo>
                    <a:pt x="2050" y="228"/>
                  </a:lnTo>
                  <a:lnTo>
                    <a:pt x="2056" y="228"/>
                  </a:lnTo>
                  <a:lnTo>
                    <a:pt x="2050" y="230"/>
                  </a:lnTo>
                  <a:lnTo>
                    <a:pt x="2056" y="230"/>
                  </a:lnTo>
                  <a:lnTo>
                    <a:pt x="2062" y="228"/>
                  </a:lnTo>
                  <a:lnTo>
                    <a:pt x="2068" y="228"/>
                  </a:lnTo>
                  <a:lnTo>
                    <a:pt x="2074" y="228"/>
                  </a:lnTo>
                  <a:lnTo>
                    <a:pt x="2080" y="226"/>
                  </a:lnTo>
                  <a:lnTo>
                    <a:pt x="2086" y="224"/>
                  </a:lnTo>
                  <a:lnTo>
                    <a:pt x="2092" y="224"/>
                  </a:lnTo>
                  <a:lnTo>
                    <a:pt x="2098" y="224"/>
                  </a:lnTo>
                  <a:lnTo>
                    <a:pt x="2106" y="224"/>
                  </a:lnTo>
                  <a:lnTo>
                    <a:pt x="2108" y="222"/>
                  </a:lnTo>
                  <a:lnTo>
                    <a:pt x="2114" y="220"/>
                  </a:lnTo>
                  <a:lnTo>
                    <a:pt x="2120" y="216"/>
                  </a:lnTo>
                  <a:lnTo>
                    <a:pt x="2126" y="216"/>
                  </a:lnTo>
                  <a:lnTo>
                    <a:pt x="2132" y="210"/>
                  </a:lnTo>
                  <a:lnTo>
                    <a:pt x="2138" y="210"/>
                  </a:lnTo>
                  <a:lnTo>
                    <a:pt x="2144" y="208"/>
                  </a:lnTo>
                  <a:lnTo>
                    <a:pt x="2150" y="208"/>
                  </a:lnTo>
                  <a:lnTo>
                    <a:pt x="2156" y="208"/>
                  </a:lnTo>
                  <a:lnTo>
                    <a:pt x="2162" y="206"/>
                  </a:lnTo>
                  <a:lnTo>
                    <a:pt x="2168" y="206"/>
                  </a:lnTo>
                  <a:lnTo>
                    <a:pt x="2174" y="202"/>
                  </a:lnTo>
                  <a:lnTo>
                    <a:pt x="2178" y="196"/>
                  </a:lnTo>
                  <a:lnTo>
                    <a:pt x="2186" y="192"/>
                  </a:lnTo>
                  <a:lnTo>
                    <a:pt x="2180" y="194"/>
                  </a:lnTo>
                  <a:lnTo>
                    <a:pt x="2174" y="194"/>
                  </a:lnTo>
                  <a:lnTo>
                    <a:pt x="2168" y="194"/>
                  </a:lnTo>
                  <a:lnTo>
                    <a:pt x="2162" y="196"/>
                  </a:lnTo>
                  <a:lnTo>
                    <a:pt x="2156" y="196"/>
                  </a:lnTo>
                  <a:lnTo>
                    <a:pt x="2150" y="198"/>
                  </a:lnTo>
                  <a:lnTo>
                    <a:pt x="2144" y="200"/>
                  </a:lnTo>
                  <a:lnTo>
                    <a:pt x="2138" y="204"/>
                  </a:lnTo>
                  <a:lnTo>
                    <a:pt x="2132" y="204"/>
                  </a:lnTo>
                  <a:lnTo>
                    <a:pt x="2130" y="208"/>
                  </a:lnTo>
                  <a:lnTo>
                    <a:pt x="2124" y="210"/>
                  </a:lnTo>
                  <a:lnTo>
                    <a:pt x="2118" y="208"/>
                  </a:lnTo>
                  <a:lnTo>
                    <a:pt x="2112" y="208"/>
                  </a:lnTo>
                  <a:lnTo>
                    <a:pt x="2106" y="210"/>
                  </a:lnTo>
                  <a:lnTo>
                    <a:pt x="2100" y="212"/>
                  </a:lnTo>
                  <a:lnTo>
                    <a:pt x="2094" y="214"/>
                  </a:lnTo>
                  <a:lnTo>
                    <a:pt x="2088" y="212"/>
                  </a:lnTo>
                  <a:lnTo>
                    <a:pt x="2082" y="210"/>
                  </a:lnTo>
                  <a:lnTo>
                    <a:pt x="2076" y="210"/>
                  </a:lnTo>
                  <a:lnTo>
                    <a:pt x="2070" y="210"/>
                  </a:lnTo>
                  <a:lnTo>
                    <a:pt x="2064" y="214"/>
                  </a:lnTo>
                  <a:lnTo>
                    <a:pt x="2070" y="220"/>
                  </a:lnTo>
                  <a:lnTo>
                    <a:pt x="2064" y="220"/>
                  </a:lnTo>
                  <a:lnTo>
                    <a:pt x="2058" y="220"/>
                  </a:lnTo>
                  <a:lnTo>
                    <a:pt x="2052" y="220"/>
                  </a:lnTo>
                  <a:lnTo>
                    <a:pt x="2046" y="220"/>
                  </a:lnTo>
                  <a:lnTo>
                    <a:pt x="2040" y="222"/>
                  </a:lnTo>
                  <a:lnTo>
                    <a:pt x="2034" y="220"/>
                  </a:lnTo>
                  <a:lnTo>
                    <a:pt x="2040" y="216"/>
                  </a:lnTo>
                  <a:lnTo>
                    <a:pt x="2034" y="220"/>
                  </a:lnTo>
                  <a:lnTo>
                    <a:pt x="2036" y="214"/>
                  </a:lnTo>
                  <a:lnTo>
                    <a:pt x="2030" y="216"/>
                  </a:lnTo>
                  <a:lnTo>
                    <a:pt x="2024" y="214"/>
                  </a:lnTo>
                  <a:lnTo>
                    <a:pt x="2030" y="210"/>
                  </a:lnTo>
                  <a:lnTo>
                    <a:pt x="2036" y="208"/>
                  </a:lnTo>
                  <a:lnTo>
                    <a:pt x="2042" y="206"/>
                  </a:lnTo>
                  <a:lnTo>
                    <a:pt x="2048" y="202"/>
                  </a:lnTo>
                  <a:lnTo>
                    <a:pt x="2054" y="200"/>
                  </a:lnTo>
                  <a:lnTo>
                    <a:pt x="2062" y="196"/>
                  </a:lnTo>
                  <a:lnTo>
                    <a:pt x="2068" y="194"/>
                  </a:lnTo>
                  <a:lnTo>
                    <a:pt x="2074" y="194"/>
                  </a:lnTo>
                  <a:lnTo>
                    <a:pt x="2080" y="192"/>
                  </a:lnTo>
                  <a:lnTo>
                    <a:pt x="2086" y="192"/>
                  </a:lnTo>
                  <a:lnTo>
                    <a:pt x="2092" y="192"/>
                  </a:lnTo>
                  <a:lnTo>
                    <a:pt x="2098" y="192"/>
                  </a:lnTo>
                  <a:lnTo>
                    <a:pt x="2104" y="190"/>
                  </a:lnTo>
                  <a:lnTo>
                    <a:pt x="2110" y="190"/>
                  </a:lnTo>
                  <a:lnTo>
                    <a:pt x="2116" y="190"/>
                  </a:lnTo>
                  <a:lnTo>
                    <a:pt x="2122" y="188"/>
                  </a:lnTo>
                  <a:lnTo>
                    <a:pt x="2128" y="186"/>
                  </a:lnTo>
                  <a:lnTo>
                    <a:pt x="2134" y="184"/>
                  </a:lnTo>
                  <a:lnTo>
                    <a:pt x="2140" y="184"/>
                  </a:lnTo>
                  <a:lnTo>
                    <a:pt x="2146" y="182"/>
                  </a:lnTo>
                  <a:lnTo>
                    <a:pt x="2152" y="182"/>
                  </a:lnTo>
                  <a:lnTo>
                    <a:pt x="2158" y="180"/>
                  </a:lnTo>
                  <a:lnTo>
                    <a:pt x="2164" y="180"/>
                  </a:lnTo>
                  <a:lnTo>
                    <a:pt x="2170" y="178"/>
                  </a:lnTo>
                  <a:lnTo>
                    <a:pt x="2176" y="176"/>
                  </a:lnTo>
                  <a:lnTo>
                    <a:pt x="2182" y="176"/>
                  </a:lnTo>
                  <a:lnTo>
                    <a:pt x="2188" y="178"/>
                  </a:lnTo>
                  <a:lnTo>
                    <a:pt x="2194" y="178"/>
                  </a:lnTo>
                  <a:lnTo>
                    <a:pt x="2196" y="184"/>
                  </a:lnTo>
                  <a:lnTo>
                    <a:pt x="2194" y="190"/>
                  </a:lnTo>
                  <a:lnTo>
                    <a:pt x="2192" y="196"/>
                  </a:lnTo>
                  <a:lnTo>
                    <a:pt x="2190" y="202"/>
                  </a:lnTo>
                  <a:lnTo>
                    <a:pt x="2186" y="202"/>
                  </a:lnTo>
                  <a:lnTo>
                    <a:pt x="2178" y="206"/>
                  </a:lnTo>
                  <a:lnTo>
                    <a:pt x="2186" y="212"/>
                  </a:lnTo>
                  <a:lnTo>
                    <a:pt x="2190" y="216"/>
                  </a:lnTo>
                  <a:lnTo>
                    <a:pt x="2198" y="212"/>
                  </a:lnTo>
                  <a:lnTo>
                    <a:pt x="2204" y="212"/>
                  </a:lnTo>
                  <a:lnTo>
                    <a:pt x="2198" y="216"/>
                  </a:lnTo>
                  <a:lnTo>
                    <a:pt x="2204" y="216"/>
                  </a:lnTo>
                  <a:lnTo>
                    <a:pt x="2210" y="216"/>
                  </a:lnTo>
                  <a:lnTo>
                    <a:pt x="2204" y="222"/>
                  </a:lnTo>
                  <a:lnTo>
                    <a:pt x="2204" y="228"/>
                  </a:lnTo>
                  <a:lnTo>
                    <a:pt x="2210" y="228"/>
                  </a:lnTo>
                  <a:lnTo>
                    <a:pt x="2216" y="230"/>
                  </a:lnTo>
                  <a:lnTo>
                    <a:pt x="2220" y="230"/>
                  </a:lnTo>
                  <a:lnTo>
                    <a:pt x="2226" y="228"/>
                  </a:lnTo>
                  <a:lnTo>
                    <a:pt x="2228" y="230"/>
                  </a:lnTo>
                  <a:lnTo>
                    <a:pt x="2234" y="228"/>
                  </a:lnTo>
                  <a:lnTo>
                    <a:pt x="2242" y="226"/>
                  </a:lnTo>
                  <a:lnTo>
                    <a:pt x="2246" y="226"/>
                  </a:lnTo>
                  <a:lnTo>
                    <a:pt x="2252" y="222"/>
                  </a:lnTo>
                  <a:lnTo>
                    <a:pt x="2258" y="224"/>
                  </a:lnTo>
                  <a:lnTo>
                    <a:pt x="2254" y="230"/>
                  </a:lnTo>
                  <a:lnTo>
                    <a:pt x="2260" y="234"/>
                  </a:lnTo>
                  <a:lnTo>
                    <a:pt x="2266" y="236"/>
                  </a:lnTo>
                  <a:lnTo>
                    <a:pt x="2266" y="242"/>
                  </a:lnTo>
                  <a:lnTo>
                    <a:pt x="2274" y="242"/>
                  </a:lnTo>
                  <a:lnTo>
                    <a:pt x="2280" y="242"/>
                  </a:lnTo>
                  <a:lnTo>
                    <a:pt x="2286" y="248"/>
                  </a:lnTo>
                  <a:lnTo>
                    <a:pt x="2292" y="246"/>
                  </a:lnTo>
                  <a:lnTo>
                    <a:pt x="2298" y="246"/>
                  </a:lnTo>
                  <a:lnTo>
                    <a:pt x="2304" y="246"/>
                  </a:lnTo>
                  <a:lnTo>
                    <a:pt x="2310" y="248"/>
                  </a:lnTo>
                  <a:lnTo>
                    <a:pt x="2316" y="250"/>
                  </a:lnTo>
                  <a:lnTo>
                    <a:pt x="2322" y="246"/>
                  </a:lnTo>
                  <a:lnTo>
                    <a:pt x="2328" y="246"/>
                  </a:lnTo>
                  <a:lnTo>
                    <a:pt x="2334" y="244"/>
                  </a:lnTo>
                  <a:lnTo>
                    <a:pt x="2340" y="246"/>
                  </a:lnTo>
                  <a:lnTo>
                    <a:pt x="2346" y="246"/>
                  </a:lnTo>
                  <a:lnTo>
                    <a:pt x="2352" y="242"/>
                  </a:lnTo>
                  <a:lnTo>
                    <a:pt x="2358" y="240"/>
                  </a:lnTo>
                  <a:lnTo>
                    <a:pt x="2364" y="242"/>
                  </a:lnTo>
                  <a:lnTo>
                    <a:pt x="2368" y="242"/>
                  </a:lnTo>
                  <a:lnTo>
                    <a:pt x="2374" y="240"/>
                  </a:lnTo>
                  <a:lnTo>
                    <a:pt x="2380" y="240"/>
                  </a:lnTo>
                  <a:lnTo>
                    <a:pt x="2386" y="240"/>
                  </a:lnTo>
                  <a:lnTo>
                    <a:pt x="2392" y="242"/>
                  </a:lnTo>
                  <a:lnTo>
                    <a:pt x="2398" y="242"/>
                  </a:lnTo>
                  <a:lnTo>
                    <a:pt x="2404" y="242"/>
                  </a:lnTo>
                  <a:lnTo>
                    <a:pt x="2410" y="242"/>
                  </a:lnTo>
                  <a:lnTo>
                    <a:pt x="2416" y="242"/>
                  </a:lnTo>
                  <a:lnTo>
                    <a:pt x="2422" y="248"/>
                  </a:lnTo>
                  <a:lnTo>
                    <a:pt x="2428" y="246"/>
                  </a:lnTo>
                  <a:lnTo>
                    <a:pt x="2434" y="248"/>
                  </a:lnTo>
                  <a:lnTo>
                    <a:pt x="2440" y="244"/>
                  </a:lnTo>
                  <a:lnTo>
                    <a:pt x="2446" y="244"/>
                  </a:lnTo>
                  <a:lnTo>
                    <a:pt x="2452" y="244"/>
                  </a:lnTo>
                  <a:lnTo>
                    <a:pt x="2458" y="242"/>
                  </a:lnTo>
                  <a:lnTo>
                    <a:pt x="2464" y="242"/>
                  </a:lnTo>
                  <a:lnTo>
                    <a:pt x="2460" y="236"/>
                  </a:lnTo>
                  <a:lnTo>
                    <a:pt x="2460" y="230"/>
                  </a:lnTo>
                  <a:lnTo>
                    <a:pt x="2466" y="226"/>
                  </a:lnTo>
                  <a:lnTo>
                    <a:pt x="2472" y="226"/>
                  </a:lnTo>
                  <a:lnTo>
                    <a:pt x="2474" y="232"/>
                  </a:lnTo>
                  <a:lnTo>
                    <a:pt x="2476" y="238"/>
                  </a:lnTo>
                  <a:lnTo>
                    <a:pt x="2478" y="244"/>
                  </a:lnTo>
                  <a:lnTo>
                    <a:pt x="2484" y="248"/>
                  </a:lnTo>
                  <a:lnTo>
                    <a:pt x="2490" y="254"/>
                  </a:lnTo>
                  <a:lnTo>
                    <a:pt x="2496" y="254"/>
                  </a:lnTo>
                  <a:lnTo>
                    <a:pt x="2502" y="252"/>
                  </a:lnTo>
                  <a:lnTo>
                    <a:pt x="2508" y="252"/>
                  </a:lnTo>
                  <a:lnTo>
                    <a:pt x="2512" y="250"/>
                  </a:lnTo>
                  <a:lnTo>
                    <a:pt x="2516" y="248"/>
                  </a:lnTo>
                  <a:lnTo>
                    <a:pt x="2514" y="246"/>
                  </a:lnTo>
                  <a:lnTo>
                    <a:pt x="2520" y="242"/>
                  </a:lnTo>
                  <a:lnTo>
                    <a:pt x="2520" y="236"/>
                  </a:lnTo>
                  <a:lnTo>
                    <a:pt x="2512" y="236"/>
                  </a:lnTo>
                  <a:lnTo>
                    <a:pt x="2508" y="230"/>
                  </a:lnTo>
                  <a:lnTo>
                    <a:pt x="2502" y="232"/>
                  </a:lnTo>
                  <a:lnTo>
                    <a:pt x="2496" y="232"/>
                  </a:lnTo>
                  <a:lnTo>
                    <a:pt x="2490" y="234"/>
                  </a:lnTo>
                  <a:lnTo>
                    <a:pt x="2484" y="236"/>
                  </a:lnTo>
                  <a:lnTo>
                    <a:pt x="2478" y="240"/>
                  </a:lnTo>
                  <a:lnTo>
                    <a:pt x="2478" y="234"/>
                  </a:lnTo>
                  <a:lnTo>
                    <a:pt x="2474" y="228"/>
                  </a:lnTo>
                  <a:lnTo>
                    <a:pt x="2476" y="222"/>
                  </a:lnTo>
                  <a:lnTo>
                    <a:pt x="2482" y="220"/>
                  </a:lnTo>
                  <a:lnTo>
                    <a:pt x="2482" y="226"/>
                  </a:lnTo>
                  <a:lnTo>
                    <a:pt x="2486" y="220"/>
                  </a:lnTo>
                  <a:lnTo>
                    <a:pt x="2482" y="214"/>
                  </a:lnTo>
                  <a:lnTo>
                    <a:pt x="2482" y="208"/>
                  </a:lnTo>
                  <a:lnTo>
                    <a:pt x="2488" y="208"/>
                  </a:lnTo>
                  <a:lnTo>
                    <a:pt x="2494" y="208"/>
                  </a:lnTo>
                  <a:lnTo>
                    <a:pt x="2500" y="212"/>
                  </a:lnTo>
                  <a:lnTo>
                    <a:pt x="2506" y="212"/>
                  </a:lnTo>
                  <a:lnTo>
                    <a:pt x="2512" y="210"/>
                  </a:lnTo>
                  <a:lnTo>
                    <a:pt x="2518" y="208"/>
                  </a:lnTo>
                  <a:lnTo>
                    <a:pt x="2520" y="204"/>
                  </a:lnTo>
                  <a:lnTo>
                    <a:pt x="2524" y="198"/>
                  </a:lnTo>
                  <a:lnTo>
                    <a:pt x="2530" y="200"/>
                  </a:lnTo>
                  <a:lnTo>
                    <a:pt x="2536" y="202"/>
                  </a:lnTo>
                  <a:lnTo>
                    <a:pt x="2542" y="200"/>
                  </a:lnTo>
                  <a:lnTo>
                    <a:pt x="2548" y="202"/>
                  </a:lnTo>
                  <a:lnTo>
                    <a:pt x="2552" y="208"/>
                  </a:lnTo>
                  <a:lnTo>
                    <a:pt x="2554" y="212"/>
                  </a:lnTo>
                  <a:lnTo>
                    <a:pt x="2548" y="216"/>
                  </a:lnTo>
                  <a:lnTo>
                    <a:pt x="2554" y="216"/>
                  </a:lnTo>
                  <a:lnTo>
                    <a:pt x="2560" y="216"/>
                  </a:lnTo>
                  <a:lnTo>
                    <a:pt x="2566" y="218"/>
                  </a:lnTo>
                  <a:lnTo>
                    <a:pt x="2572" y="214"/>
                  </a:lnTo>
                  <a:lnTo>
                    <a:pt x="2578" y="214"/>
                  </a:lnTo>
                  <a:lnTo>
                    <a:pt x="2572" y="218"/>
                  </a:lnTo>
                  <a:lnTo>
                    <a:pt x="2566" y="220"/>
                  </a:lnTo>
                  <a:lnTo>
                    <a:pt x="2558" y="224"/>
                  </a:lnTo>
                  <a:lnTo>
                    <a:pt x="2554" y="230"/>
                  </a:lnTo>
                  <a:lnTo>
                    <a:pt x="2558" y="228"/>
                  </a:lnTo>
                  <a:lnTo>
                    <a:pt x="2566" y="224"/>
                  </a:lnTo>
                  <a:lnTo>
                    <a:pt x="2572" y="220"/>
                  </a:lnTo>
                  <a:lnTo>
                    <a:pt x="2578" y="220"/>
                  </a:lnTo>
                  <a:lnTo>
                    <a:pt x="2584" y="218"/>
                  </a:lnTo>
                  <a:lnTo>
                    <a:pt x="2588" y="216"/>
                  </a:lnTo>
                  <a:lnTo>
                    <a:pt x="2594" y="216"/>
                  </a:lnTo>
                  <a:lnTo>
                    <a:pt x="2602" y="214"/>
                  </a:lnTo>
                  <a:lnTo>
                    <a:pt x="2594" y="218"/>
                  </a:lnTo>
                  <a:lnTo>
                    <a:pt x="2588" y="224"/>
                  </a:lnTo>
                  <a:lnTo>
                    <a:pt x="2580" y="228"/>
                  </a:lnTo>
                  <a:lnTo>
                    <a:pt x="2576" y="232"/>
                  </a:lnTo>
                  <a:lnTo>
                    <a:pt x="2570" y="238"/>
                  </a:lnTo>
                  <a:lnTo>
                    <a:pt x="2564" y="240"/>
                  </a:lnTo>
                  <a:lnTo>
                    <a:pt x="2558" y="246"/>
                  </a:lnTo>
                  <a:lnTo>
                    <a:pt x="2554" y="252"/>
                  </a:lnTo>
                  <a:lnTo>
                    <a:pt x="2548" y="252"/>
                  </a:lnTo>
                  <a:lnTo>
                    <a:pt x="2542" y="256"/>
                  </a:lnTo>
                  <a:lnTo>
                    <a:pt x="2536" y="260"/>
                  </a:lnTo>
                  <a:lnTo>
                    <a:pt x="2542" y="264"/>
                  </a:lnTo>
                  <a:lnTo>
                    <a:pt x="2548" y="264"/>
                  </a:lnTo>
                  <a:lnTo>
                    <a:pt x="2542" y="268"/>
                  </a:lnTo>
                  <a:lnTo>
                    <a:pt x="2536" y="270"/>
                  </a:lnTo>
                  <a:lnTo>
                    <a:pt x="2534" y="276"/>
                  </a:lnTo>
                  <a:lnTo>
                    <a:pt x="2540" y="276"/>
                  </a:lnTo>
                  <a:lnTo>
                    <a:pt x="2546" y="272"/>
                  </a:lnTo>
                  <a:lnTo>
                    <a:pt x="2552" y="272"/>
                  </a:lnTo>
                  <a:lnTo>
                    <a:pt x="2558" y="268"/>
                  </a:lnTo>
                  <a:lnTo>
                    <a:pt x="2566" y="272"/>
                  </a:lnTo>
                  <a:lnTo>
                    <a:pt x="2558" y="274"/>
                  </a:lnTo>
                  <a:lnTo>
                    <a:pt x="2554" y="276"/>
                  </a:lnTo>
                  <a:lnTo>
                    <a:pt x="2546" y="280"/>
                  </a:lnTo>
                  <a:lnTo>
                    <a:pt x="2552" y="278"/>
                  </a:lnTo>
                  <a:lnTo>
                    <a:pt x="2558" y="278"/>
                  </a:lnTo>
                  <a:lnTo>
                    <a:pt x="2564" y="278"/>
                  </a:lnTo>
                  <a:lnTo>
                    <a:pt x="2562" y="284"/>
                  </a:lnTo>
                  <a:lnTo>
                    <a:pt x="2560" y="290"/>
                  </a:lnTo>
                  <a:lnTo>
                    <a:pt x="2554" y="292"/>
                  </a:lnTo>
                  <a:lnTo>
                    <a:pt x="2548" y="292"/>
                  </a:lnTo>
                  <a:lnTo>
                    <a:pt x="2542" y="292"/>
                  </a:lnTo>
                  <a:lnTo>
                    <a:pt x="2536" y="292"/>
                  </a:lnTo>
                  <a:lnTo>
                    <a:pt x="2530" y="292"/>
                  </a:lnTo>
                  <a:lnTo>
                    <a:pt x="2532" y="286"/>
                  </a:lnTo>
                  <a:lnTo>
                    <a:pt x="2526" y="292"/>
                  </a:lnTo>
                  <a:lnTo>
                    <a:pt x="2520" y="292"/>
                  </a:lnTo>
                  <a:lnTo>
                    <a:pt x="2518" y="286"/>
                  </a:lnTo>
                  <a:lnTo>
                    <a:pt x="2512" y="288"/>
                  </a:lnTo>
                  <a:lnTo>
                    <a:pt x="2514" y="294"/>
                  </a:lnTo>
                  <a:lnTo>
                    <a:pt x="2516" y="302"/>
                  </a:lnTo>
                  <a:lnTo>
                    <a:pt x="2522" y="304"/>
                  </a:lnTo>
                  <a:lnTo>
                    <a:pt x="2522" y="310"/>
                  </a:lnTo>
                  <a:lnTo>
                    <a:pt x="2516" y="314"/>
                  </a:lnTo>
                  <a:lnTo>
                    <a:pt x="2518" y="314"/>
                  </a:lnTo>
                  <a:lnTo>
                    <a:pt x="2524" y="310"/>
                  </a:lnTo>
                  <a:lnTo>
                    <a:pt x="2530" y="306"/>
                  </a:lnTo>
                  <a:lnTo>
                    <a:pt x="2524" y="306"/>
                  </a:lnTo>
                  <a:lnTo>
                    <a:pt x="2520" y="300"/>
                  </a:lnTo>
                  <a:lnTo>
                    <a:pt x="2524" y="294"/>
                  </a:lnTo>
                  <a:lnTo>
                    <a:pt x="2530" y="294"/>
                  </a:lnTo>
                  <a:lnTo>
                    <a:pt x="2536" y="296"/>
                  </a:lnTo>
                  <a:lnTo>
                    <a:pt x="2542" y="296"/>
                  </a:lnTo>
                  <a:lnTo>
                    <a:pt x="2548" y="296"/>
                  </a:lnTo>
                  <a:lnTo>
                    <a:pt x="2554" y="296"/>
                  </a:lnTo>
                  <a:lnTo>
                    <a:pt x="2560" y="294"/>
                  </a:lnTo>
                  <a:lnTo>
                    <a:pt x="2564" y="288"/>
                  </a:lnTo>
                  <a:lnTo>
                    <a:pt x="2566" y="282"/>
                  </a:lnTo>
                  <a:lnTo>
                    <a:pt x="2570" y="280"/>
                  </a:lnTo>
                  <a:lnTo>
                    <a:pt x="2576" y="276"/>
                  </a:lnTo>
                  <a:lnTo>
                    <a:pt x="2582" y="274"/>
                  </a:lnTo>
                  <a:lnTo>
                    <a:pt x="2578" y="268"/>
                  </a:lnTo>
                  <a:lnTo>
                    <a:pt x="2582" y="262"/>
                  </a:lnTo>
                  <a:lnTo>
                    <a:pt x="2588" y="258"/>
                  </a:lnTo>
                  <a:lnTo>
                    <a:pt x="2584" y="250"/>
                  </a:lnTo>
                  <a:lnTo>
                    <a:pt x="2584" y="246"/>
                  </a:lnTo>
                  <a:lnTo>
                    <a:pt x="2588" y="242"/>
                  </a:lnTo>
                  <a:lnTo>
                    <a:pt x="2596" y="240"/>
                  </a:lnTo>
                  <a:lnTo>
                    <a:pt x="2600" y="234"/>
                  </a:lnTo>
                  <a:lnTo>
                    <a:pt x="2606" y="232"/>
                  </a:lnTo>
                  <a:lnTo>
                    <a:pt x="2612" y="226"/>
                  </a:lnTo>
                  <a:lnTo>
                    <a:pt x="2618" y="228"/>
                  </a:lnTo>
                  <a:lnTo>
                    <a:pt x="2624" y="226"/>
                  </a:lnTo>
                  <a:lnTo>
                    <a:pt x="2630" y="228"/>
                  </a:lnTo>
                  <a:lnTo>
                    <a:pt x="2638" y="228"/>
                  </a:lnTo>
                  <a:lnTo>
                    <a:pt x="2644" y="226"/>
                  </a:lnTo>
                  <a:lnTo>
                    <a:pt x="2650" y="224"/>
                  </a:lnTo>
                  <a:lnTo>
                    <a:pt x="2656" y="220"/>
                  </a:lnTo>
                  <a:lnTo>
                    <a:pt x="2662" y="220"/>
                  </a:lnTo>
                  <a:lnTo>
                    <a:pt x="2668" y="216"/>
                  </a:lnTo>
                  <a:lnTo>
                    <a:pt x="2674" y="216"/>
                  </a:lnTo>
                  <a:lnTo>
                    <a:pt x="2680" y="212"/>
                  </a:lnTo>
                  <a:lnTo>
                    <a:pt x="2686" y="208"/>
                  </a:lnTo>
                  <a:lnTo>
                    <a:pt x="2692" y="204"/>
                  </a:lnTo>
                  <a:lnTo>
                    <a:pt x="2698" y="204"/>
                  </a:lnTo>
                  <a:lnTo>
                    <a:pt x="2704" y="202"/>
                  </a:lnTo>
                  <a:lnTo>
                    <a:pt x="2710" y="200"/>
                  </a:lnTo>
                  <a:lnTo>
                    <a:pt x="2716" y="200"/>
                  </a:lnTo>
                  <a:lnTo>
                    <a:pt x="2722" y="198"/>
                  </a:lnTo>
                  <a:lnTo>
                    <a:pt x="2724" y="196"/>
                  </a:lnTo>
                  <a:lnTo>
                    <a:pt x="2730" y="194"/>
                  </a:lnTo>
                  <a:lnTo>
                    <a:pt x="2724" y="194"/>
                  </a:lnTo>
                  <a:lnTo>
                    <a:pt x="2718" y="192"/>
                  </a:lnTo>
                  <a:lnTo>
                    <a:pt x="2724" y="188"/>
                  </a:lnTo>
                  <a:lnTo>
                    <a:pt x="2730" y="184"/>
                  </a:lnTo>
                  <a:lnTo>
                    <a:pt x="2736" y="180"/>
                  </a:lnTo>
                  <a:lnTo>
                    <a:pt x="2738" y="174"/>
                  </a:lnTo>
                  <a:lnTo>
                    <a:pt x="2734" y="168"/>
                  </a:lnTo>
                  <a:lnTo>
                    <a:pt x="2728" y="172"/>
                  </a:lnTo>
                  <a:lnTo>
                    <a:pt x="2722" y="176"/>
                  </a:lnTo>
                  <a:lnTo>
                    <a:pt x="2716" y="182"/>
                  </a:lnTo>
                  <a:lnTo>
                    <a:pt x="2722" y="180"/>
                  </a:lnTo>
                  <a:lnTo>
                    <a:pt x="2728" y="178"/>
                  </a:lnTo>
                  <a:lnTo>
                    <a:pt x="2722" y="180"/>
                  </a:lnTo>
                  <a:lnTo>
                    <a:pt x="2716" y="182"/>
                  </a:lnTo>
                  <a:lnTo>
                    <a:pt x="2710" y="186"/>
                  </a:lnTo>
                  <a:lnTo>
                    <a:pt x="2704" y="186"/>
                  </a:lnTo>
                  <a:lnTo>
                    <a:pt x="2698" y="186"/>
                  </a:lnTo>
                  <a:lnTo>
                    <a:pt x="2692" y="188"/>
                  </a:lnTo>
                  <a:lnTo>
                    <a:pt x="2688" y="182"/>
                  </a:lnTo>
                  <a:lnTo>
                    <a:pt x="2694" y="178"/>
                  </a:lnTo>
                  <a:lnTo>
                    <a:pt x="2698" y="174"/>
                  </a:lnTo>
                  <a:lnTo>
                    <a:pt x="2706" y="174"/>
                  </a:lnTo>
                  <a:lnTo>
                    <a:pt x="2712" y="170"/>
                  </a:lnTo>
                  <a:lnTo>
                    <a:pt x="2718" y="170"/>
                  </a:lnTo>
                  <a:lnTo>
                    <a:pt x="2724" y="166"/>
                  </a:lnTo>
                  <a:lnTo>
                    <a:pt x="2730" y="162"/>
                  </a:lnTo>
                  <a:lnTo>
                    <a:pt x="2724" y="158"/>
                  </a:lnTo>
                  <a:lnTo>
                    <a:pt x="2728" y="154"/>
                  </a:lnTo>
                  <a:lnTo>
                    <a:pt x="2736" y="152"/>
                  </a:lnTo>
                  <a:lnTo>
                    <a:pt x="2742" y="150"/>
                  </a:lnTo>
                  <a:lnTo>
                    <a:pt x="2748" y="150"/>
                  </a:lnTo>
                  <a:lnTo>
                    <a:pt x="2754" y="150"/>
                  </a:lnTo>
                  <a:lnTo>
                    <a:pt x="2760" y="148"/>
                  </a:lnTo>
                  <a:lnTo>
                    <a:pt x="2766" y="148"/>
                  </a:lnTo>
                  <a:lnTo>
                    <a:pt x="2760" y="150"/>
                  </a:lnTo>
                  <a:lnTo>
                    <a:pt x="2754" y="154"/>
                  </a:lnTo>
                  <a:lnTo>
                    <a:pt x="2748" y="156"/>
                  </a:lnTo>
                  <a:lnTo>
                    <a:pt x="2744" y="162"/>
                  </a:lnTo>
                  <a:lnTo>
                    <a:pt x="2750" y="158"/>
                  </a:lnTo>
                  <a:lnTo>
                    <a:pt x="2754" y="158"/>
                  </a:lnTo>
                  <a:lnTo>
                    <a:pt x="2760" y="154"/>
                  </a:lnTo>
                  <a:lnTo>
                    <a:pt x="2766" y="152"/>
                  </a:lnTo>
                  <a:lnTo>
                    <a:pt x="2772" y="150"/>
                  </a:lnTo>
                  <a:lnTo>
                    <a:pt x="2770" y="150"/>
                  </a:lnTo>
                  <a:lnTo>
                    <a:pt x="2764" y="150"/>
                  </a:lnTo>
                  <a:lnTo>
                    <a:pt x="2770" y="146"/>
                  </a:lnTo>
                  <a:lnTo>
                    <a:pt x="2770" y="140"/>
                  </a:lnTo>
                  <a:lnTo>
                    <a:pt x="2764" y="142"/>
                  </a:lnTo>
                  <a:lnTo>
                    <a:pt x="2758" y="142"/>
                  </a:lnTo>
                  <a:lnTo>
                    <a:pt x="2752" y="146"/>
                  </a:lnTo>
                  <a:lnTo>
                    <a:pt x="2746" y="146"/>
                  </a:lnTo>
                  <a:lnTo>
                    <a:pt x="2740" y="146"/>
                  </a:lnTo>
                  <a:lnTo>
                    <a:pt x="2734" y="144"/>
                  </a:lnTo>
                  <a:lnTo>
                    <a:pt x="2732" y="138"/>
                  </a:lnTo>
                  <a:lnTo>
                    <a:pt x="2730" y="132"/>
                  </a:lnTo>
                  <a:lnTo>
                    <a:pt x="2724" y="138"/>
                  </a:lnTo>
                  <a:lnTo>
                    <a:pt x="2716" y="138"/>
                  </a:lnTo>
                  <a:lnTo>
                    <a:pt x="2712" y="136"/>
                  </a:lnTo>
                  <a:lnTo>
                    <a:pt x="2704" y="134"/>
                  </a:lnTo>
                  <a:lnTo>
                    <a:pt x="2698" y="132"/>
                  </a:lnTo>
                  <a:lnTo>
                    <a:pt x="2694" y="126"/>
                  </a:lnTo>
                  <a:lnTo>
                    <a:pt x="2688" y="126"/>
                  </a:lnTo>
                  <a:lnTo>
                    <a:pt x="2682" y="126"/>
                  </a:lnTo>
                  <a:lnTo>
                    <a:pt x="2676" y="120"/>
                  </a:lnTo>
                  <a:lnTo>
                    <a:pt x="2682" y="116"/>
                  </a:lnTo>
                  <a:lnTo>
                    <a:pt x="2676" y="114"/>
                  </a:lnTo>
                  <a:lnTo>
                    <a:pt x="2676" y="110"/>
                  </a:lnTo>
                  <a:lnTo>
                    <a:pt x="2676" y="104"/>
                  </a:lnTo>
                  <a:lnTo>
                    <a:pt x="2680" y="98"/>
                  </a:lnTo>
                  <a:lnTo>
                    <a:pt x="2686" y="94"/>
                  </a:lnTo>
                  <a:lnTo>
                    <a:pt x="2692" y="90"/>
                  </a:lnTo>
                  <a:lnTo>
                    <a:pt x="2698" y="90"/>
                  </a:lnTo>
                  <a:lnTo>
                    <a:pt x="2704" y="86"/>
                  </a:lnTo>
                  <a:lnTo>
                    <a:pt x="2710" y="82"/>
                  </a:lnTo>
                  <a:lnTo>
                    <a:pt x="2716" y="80"/>
                  </a:lnTo>
                  <a:lnTo>
                    <a:pt x="2724" y="82"/>
                  </a:lnTo>
                  <a:lnTo>
                    <a:pt x="2728" y="82"/>
                  </a:lnTo>
                  <a:lnTo>
                    <a:pt x="2722" y="78"/>
                  </a:lnTo>
                  <a:lnTo>
                    <a:pt x="2728" y="76"/>
                  </a:lnTo>
                  <a:lnTo>
                    <a:pt x="2734" y="72"/>
                  </a:lnTo>
                  <a:lnTo>
                    <a:pt x="2728" y="74"/>
                  </a:lnTo>
                  <a:lnTo>
                    <a:pt x="2722" y="76"/>
                  </a:lnTo>
                  <a:lnTo>
                    <a:pt x="2716" y="76"/>
                  </a:lnTo>
                  <a:lnTo>
                    <a:pt x="2714" y="72"/>
                  </a:lnTo>
                  <a:lnTo>
                    <a:pt x="2712" y="64"/>
                  </a:lnTo>
                  <a:lnTo>
                    <a:pt x="2718" y="62"/>
                  </a:lnTo>
                  <a:lnTo>
                    <a:pt x="2724" y="58"/>
                  </a:lnTo>
                  <a:lnTo>
                    <a:pt x="2730" y="54"/>
                  </a:lnTo>
                  <a:lnTo>
                    <a:pt x="2732" y="48"/>
                  </a:lnTo>
                  <a:lnTo>
                    <a:pt x="2740" y="46"/>
                  </a:lnTo>
                  <a:lnTo>
                    <a:pt x="2742" y="40"/>
                  </a:lnTo>
                  <a:lnTo>
                    <a:pt x="2748" y="38"/>
                  </a:lnTo>
                  <a:lnTo>
                    <a:pt x="2754" y="38"/>
                  </a:lnTo>
                  <a:lnTo>
                    <a:pt x="2760" y="34"/>
                  </a:lnTo>
                  <a:lnTo>
                    <a:pt x="2766" y="32"/>
                  </a:lnTo>
                  <a:lnTo>
                    <a:pt x="2772" y="32"/>
                  </a:lnTo>
                  <a:lnTo>
                    <a:pt x="2774" y="34"/>
                  </a:lnTo>
                  <a:lnTo>
                    <a:pt x="2778" y="38"/>
                  </a:lnTo>
                  <a:lnTo>
                    <a:pt x="2784" y="40"/>
                  </a:lnTo>
                  <a:lnTo>
                    <a:pt x="2790" y="36"/>
                  </a:lnTo>
                  <a:lnTo>
                    <a:pt x="2796" y="30"/>
                  </a:lnTo>
                  <a:lnTo>
                    <a:pt x="2802" y="28"/>
                  </a:lnTo>
                  <a:lnTo>
                    <a:pt x="2794" y="28"/>
                  </a:lnTo>
                  <a:lnTo>
                    <a:pt x="2788" y="28"/>
                  </a:lnTo>
                  <a:lnTo>
                    <a:pt x="2782" y="24"/>
                  </a:lnTo>
                  <a:lnTo>
                    <a:pt x="2788" y="22"/>
                  </a:lnTo>
                  <a:lnTo>
                    <a:pt x="2794" y="20"/>
                  </a:lnTo>
                  <a:lnTo>
                    <a:pt x="2800" y="18"/>
                  </a:lnTo>
                  <a:lnTo>
                    <a:pt x="2806" y="16"/>
                  </a:lnTo>
                  <a:lnTo>
                    <a:pt x="2812" y="16"/>
                  </a:lnTo>
                  <a:lnTo>
                    <a:pt x="2818" y="16"/>
                  </a:lnTo>
                  <a:lnTo>
                    <a:pt x="2824" y="12"/>
                  </a:lnTo>
                  <a:lnTo>
                    <a:pt x="2830" y="10"/>
                  </a:lnTo>
                  <a:lnTo>
                    <a:pt x="2836" y="8"/>
                  </a:lnTo>
                  <a:lnTo>
                    <a:pt x="2842" y="8"/>
                  </a:lnTo>
                  <a:lnTo>
                    <a:pt x="2850" y="10"/>
                  </a:lnTo>
                  <a:lnTo>
                    <a:pt x="2856" y="6"/>
                  </a:lnTo>
                  <a:lnTo>
                    <a:pt x="2850" y="8"/>
                  </a:lnTo>
                  <a:lnTo>
                    <a:pt x="2844" y="8"/>
                  </a:lnTo>
                  <a:lnTo>
                    <a:pt x="2838" y="8"/>
                  </a:lnTo>
                  <a:lnTo>
                    <a:pt x="2830" y="4"/>
                  </a:lnTo>
                  <a:lnTo>
                    <a:pt x="2836" y="2"/>
                  </a:lnTo>
                  <a:lnTo>
                    <a:pt x="2842" y="2"/>
                  </a:lnTo>
                  <a:lnTo>
                    <a:pt x="2848" y="0"/>
                  </a:lnTo>
                  <a:lnTo>
                    <a:pt x="2854" y="0"/>
                  </a:lnTo>
                  <a:lnTo>
                    <a:pt x="2860" y="0"/>
                  </a:lnTo>
                  <a:lnTo>
                    <a:pt x="2862" y="0"/>
                  </a:lnTo>
                  <a:lnTo>
                    <a:pt x="2868" y="4"/>
                  </a:lnTo>
                  <a:lnTo>
                    <a:pt x="2860" y="8"/>
                  </a:lnTo>
                  <a:lnTo>
                    <a:pt x="2856" y="12"/>
                  </a:lnTo>
                  <a:lnTo>
                    <a:pt x="2862" y="12"/>
                  </a:lnTo>
                  <a:lnTo>
                    <a:pt x="2856" y="18"/>
                  </a:lnTo>
                  <a:lnTo>
                    <a:pt x="2862" y="14"/>
                  </a:lnTo>
                  <a:lnTo>
                    <a:pt x="2868" y="12"/>
                  </a:lnTo>
                  <a:lnTo>
                    <a:pt x="2876" y="12"/>
                  </a:lnTo>
                  <a:lnTo>
                    <a:pt x="2880" y="14"/>
                  </a:lnTo>
                  <a:lnTo>
                    <a:pt x="2888" y="16"/>
                  </a:lnTo>
                  <a:lnTo>
                    <a:pt x="2880" y="22"/>
                  </a:lnTo>
                  <a:lnTo>
                    <a:pt x="2888" y="26"/>
                  </a:lnTo>
                  <a:lnTo>
                    <a:pt x="2894" y="30"/>
                  </a:lnTo>
                  <a:lnTo>
                    <a:pt x="2898" y="36"/>
                  </a:lnTo>
                  <a:lnTo>
                    <a:pt x="2894" y="42"/>
                  </a:lnTo>
                  <a:lnTo>
                    <a:pt x="2892" y="48"/>
                  </a:lnTo>
                  <a:lnTo>
                    <a:pt x="2886" y="54"/>
                  </a:lnTo>
                  <a:lnTo>
                    <a:pt x="2880" y="58"/>
                  </a:lnTo>
                  <a:lnTo>
                    <a:pt x="2876" y="64"/>
                  </a:lnTo>
                  <a:lnTo>
                    <a:pt x="2868" y="66"/>
                  </a:lnTo>
                  <a:lnTo>
                    <a:pt x="2874" y="68"/>
                  </a:lnTo>
                  <a:lnTo>
                    <a:pt x="2878" y="68"/>
                  </a:lnTo>
                  <a:lnTo>
                    <a:pt x="2874" y="74"/>
                  </a:lnTo>
                  <a:lnTo>
                    <a:pt x="2880" y="74"/>
                  </a:lnTo>
                  <a:lnTo>
                    <a:pt x="2886" y="80"/>
                  </a:lnTo>
                  <a:lnTo>
                    <a:pt x="2880" y="86"/>
                  </a:lnTo>
                  <a:lnTo>
                    <a:pt x="2886" y="86"/>
                  </a:lnTo>
                  <a:lnTo>
                    <a:pt x="2886" y="94"/>
                  </a:lnTo>
                  <a:lnTo>
                    <a:pt x="2880" y="96"/>
                  </a:lnTo>
                  <a:lnTo>
                    <a:pt x="2886" y="96"/>
                  </a:lnTo>
                  <a:lnTo>
                    <a:pt x="2892" y="92"/>
                  </a:lnTo>
                  <a:lnTo>
                    <a:pt x="2898" y="94"/>
                  </a:lnTo>
                  <a:lnTo>
                    <a:pt x="2894" y="98"/>
                  </a:lnTo>
                  <a:lnTo>
                    <a:pt x="2896" y="104"/>
                  </a:lnTo>
                  <a:lnTo>
                    <a:pt x="2890" y="106"/>
                  </a:lnTo>
                  <a:lnTo>
                    <a:pt x="2884" y="106"/>
                  </a:lnTo>
                  <a:lnTo>
                    <a:pt x="2878" y="106"/>
                  </a:lnTo>
                  <a:lnTo>
                    <a:pt x="2872" y="104"/>
                  </a:lnTo>
                  <a:lnTo>
                    <a:pt x="2866" y="102"/>
                  </a:lnTo>
                  <a:lnTo>
                    <a:pt x="2860" y="102"/>
                  </a:lnTo>
                  <a:lnTo>
                    <a:pt x="2854" y="106"/>
                  </a:lnTo>
                  <a:lnTo>
                    <a:pt x="2848" y="110"/>
                  </a:lnTo>
                  <a:lnTo>
                    <a:pt x="2854" y="108"/>
                  </a:lnTo>
                  <a:lnTo>
                    <a:pt x="2860" y="108"/>
                  </a:lnTo>
                  <a:lnTo>
                    <a:pt x="2866" y="114"/>
                  </a:lnTo>
                  <a:lnTo>
                    <a:pt x="2864" y="114"/>
                  </a:lnTo>
                  <a:lnTo>
                    <a:pt x="2856" y="116"/>
                  </a:lnTo>
                  <a:lnTo>
                    <a:pt x="2852" y="120"/>
                  </a:lnTo>
                  <a:lnTo>
                    <a:pt x="2844" y="122"/>
                  </a:lnTo>
                  <a:lnTo>
                    <a:pt x="2838" y="124"/>
                  </a:lnTo>
                  <a:lnTo>
                    <a:pt x="2832" y="124"/>
                  </a:lnTo>
                  <a:lnTo>
                    <a:pt x="2826" y="126"/>
                  </a:lnTo>
                  <a:lnTo>
                    <a:pt x="2820" y="128"/>
                  </a:lnTo>
                  <a:lnTo>
                    <a:pt x="2814" y="130"/>
                  </a:lnTo>
                  <a:lnTo>
                    <a:pt x="2820" y="130"/>
                  </a:lnTo>
                  <a:lnTo>
                    <a:pt x="2826" y="130"/>
                  </a:lnTo>
                  <a:lnTo>
                    <a:pt x="2820" y="132"/>
                  </a:lnTo>
                  <a:lnTo>
                    <a:pt x="2814" y="132"/>
                  </a:lnTo>
                  <a:lnTo>
                    <a:pt x="2820" y="132"/>
                  </a:lnTo>
                  <a:lnTo>
                    <a:pt x="2826" y="132"/>
                  </a:lnTo>
                  <a:lnTo>
                    <a:pt x="2832" y="132"/>
                  </a:lnTo>
                  <a:lnTo>
                    <a:pt x="2838" y="134"/>
                  </a:lnTo>
                  <a:lnTo>
                    <a:pt x="2838" y="140"/>
                  </a:lnTo>
                  <a:lnTo>
                    <a:pt x="2846" y="142"/>
                  </a:lnTo>
                  <a:lnTo>
                    <a:pt x="2852" y="140"/>
                  </a:lnTo>
                  <a:lnTo>
                    <a:pt x="2858" y="138"/>
                  </a:lnTo>
                  <a:lnTo>
                    <a:pt x="2864" y="136"/>
                  </a:lnTo>
                  <a:lnTo>
                    <a:pt x="2870" y="134"/>
                  </a:lnTo>
                  <a:lnTo>
                    <a:pt x="2876" y="132"/>
                  </a:lnTo>
                  <a:lnTo>
                    <a:pt x="2882" y="136"/>
                  </a:lnTo>
                  <a:lnTo>
                    <a:pt x="2876" y="138"/>
                  </a:lnTo>
                  <a:lnTo>
                    <a:pt x="2870" y="140"/>
                  </a:lnTo>
                  <a:lnTo>
                    <a:pt x="2864" y="140"/>
                  </a:lnTo>
                  <a:lnTo>
                    <a:pt x="2870" y="140"/>
                  </a:lnTo>
                  <a:lnTo>
                    <a:pt x="2876" y="140"/>
                  </a:lnTo>
                  <a:lnTo>
                    <a:pt x="2882" y="142"/>
                  </a:lnTo>
                  <a:lnTo>
                    <a:pt x="2888" y="140"/>
                  </a:lnTo>
                  <a:lnTo>
                    <a:pt x="2894" y="144"/>
                  </a:lnTo>
                  <a:lnTo>
                    <a:pt x="2900" y="140"/>
                  </a:lnTo>
                  <a:lnTo>
                    <a:pt x="2906" y="142"/>
                  </a:lnTo>
                  <a:lnTo>
                    <a:pt x="2912" y="146"/>
                  </a:lnTo>
                  <a:lnTo>
                    <a:pt x="2906" y="144"/>
                  </a:lnTo>
                  <a:lnTo>
                    <a:pt x="2900" y="146"/>
                  </a:lnTo>
                  <a:lnTo>
                    <a:pt x="2894" y="148"/>
                  </a:lnTo>
                  <a:lnTo>
                    <a:pt x="2888" y="150"/>
                  </a:lnTo>
                  <a:lnTo>
                    <a:pt x="2882" y="154"/>
                  </a:lnTo>
                  <a:lnTo>
                    <a:pt x="2876" y="154"/>
                  </a:lnTo>
                  <a:lnTo>
                    <a:pt x="2870" y="156"/>
                  </a:lnTo>
                  <a:lnTo>
                    <a:pt x="2874" y="152"/>
                  </a:lnTo>
                  <a:lnTo>
                    <a:pt x="2868" y="154"/>
                  </a:lnTo>
                  <a:lnTo>
                    <a:pt x="2862" y="154"/>
                  </a:lnTo>
                  <a:lnTo>
                    <a:pt x="2868" y="158"/>
                  </a:lnTo>
                  <a:lnTo>
                    <a:pt x="2872" y="164"/>
                  </a:lnTo>
                  <a:lnTo>
                    <a:pt x="2874" y="170"/>
                  </a:lnTo>
                  <a:lnTo>
                    <a:pt x="2874" y="176"/>
                  </a:lnTo>
                  <a:lnTo>
                    <a:pt x="2872" y="182"/>
                  </a:lnTo>
                  <a:lnTo>
                    <a:pt x="2866" y="184"/>
                  </a:lnTo>
                  <a:lnTo>
                    <a:pt x="2872" y="182"/>
                  </a:lnTo>
                  <a:lnTo>
                    <a:pt x="2866" y="190"/>
                  </a:lnTo>
                  <a:lnTo>
                    <a:pt x="2860" y="196"/>
                  </a:lnTo>
                  <a:lnTo>
                    <a:pt x="2856" y="200"/>
                  </a:lnTo>
                  <a:lnTo>
                    <a:pt x="2848" y="206"/>
                  </a:lnTo>
                  <a:lnTo>
                    <a:pt x="2854" y="208"/>
                  </a:lnTo>
                  <a:lnTo>
                    <a:pt x="2848" y="210"/>
                  </a:lnTo>
                  <a:lnTo>
                    <a:pt x="2856" y="210"/>
                  </a:lnTo>
                  <a:lnTo>
                    <a:pt x="2852" y="216"/>
                  </a:lnTo>
                  <a:lnTo>
                    <a:pt x="2860" y="216"/>
                  </a:lnTo>
                  <a:lnTo>
                    <a:pt x="2864" y="210"/>
                  </a:lnTo>
                  <a:lnTo>
                    <a:pt x="2872" y="208"/>
                  </a:lnTo>
                  <a:lnTo>
                    <a:pt x="2872" y="206"/>
                  </a:lnTo>
                  <a:lnTo>
                    <a:pt x="2874" y="204"/>
                  </a:lnTo>
                  <a:lnTo>
                    <a:pt x="2876" y="204"/>
                  </a:lnTo>
                  <a:lnTo>
                    <a:pt x="2882" y="202"/>
                  </a:lnTo>
                  <a:lnTo>
                    <a:pt x="2888" y="198"/>
                  </a:lnTo>
                  <a:lnTo>
                    <a:pt x="2886" y="194"/>
                  </a:lnTo>
                  <a:lnTo>
                    <a:pt x="2892" y="192"/>
                  </a:lnTo>
                  <a:lnTo>
                    <a:pt x="2898" y="192"/>
                  </a:lnTo>
                  <a:lnTo>
                    <a:pt x="2904" y="186"/>
                  </a:lnTo>
                  <a:lnTo>
                    <a:pt x="2908" y="180"/>
                  </a:lnTo>
                  <a:lnTo>
                    <a:pt x="2912" y="174"/>
                  </a:lnTo>
                  <a:lnTo>
                    <a:pt x="2918" y="170"/>
                  </a:lnTo>
                  <a:lnTo>
                    <a:pt x="2924" y="168"/>
                  </a:lnTo>
                  <a:lnTo>
                    <a:pt x="2930" y="166"/>
                  </a:lnTo>
                  <a:lnTo>
                    <a:pt x="2936" y="162"/>
                  </a:lnTo>
                  <a:lnTo>
                    <a:pt x="2942" y="158"/>
                  </a:lnTo>
                  <a:lnTo>
                    <a:pt x="2948" y="156"/>
                  </a:lnTo>
                  <a:lnTo>
                    <a:pt x="2954" y="156"/>
                  </a:lnTo>
                  <a:lnTo>
                    <a:pt x="2960" y="160"/>
                  </a:lnTo>
                  <a:lnTo>
                    <a:pt x="2962" y="166"/>
                  </a:lnTo>
                  <a:lnTo>
                    <a:pt x="2968" y="170"/>
                  </a:lnTo>
                  <a:lnTo>
                    <a:pt x="2974" y="174"/>
                  </a:lnTo>
                  <a:lnTo>
                    <a:pt x="2980" y="180"/>
                  </a:lnTo>
                  <a:lnTo>
                    <a:pt x="2982" y="186"/>
                  </a:lnTo>
                  <a:lnTo>
                    <a:pt x="2978" y="192"/>
                  </a:lnTo>
                  <a:lnTo>
                    <a:pt x="2974" y="198"/>
                  </a:lnTo>
                  <a:lnTo>
                    <a:pt x="2972" y="204"/>
                  </a:lnTo>
                  <a:lnTo>
                    <a:pt x="2968" y="208"/>
                  </a:lnTo>
                  <a:lnTo>
                    <a:pt x="2962" y="214"/>
                  </a:lnTo>
                  <a:lnTo>
                    <a:pt x="2958" y="216"/>
                  </a:lnTo>
                  <a:lnTo>
                    <a:pt x="2952" y="216"/>
                  </a:lnTo>
                  <a:lnTo>
                    <a:pt x="2946" y="216"/>
                  </a:lnTo>
                  <a:lnTo>
                    <a:pt x="2950" y="210"/>
                  </a:lnTo>
                  <a:lnTo>
                    <a:pt x="2944" y="212"/>
                  </a:lnTo>
                  <a:lnTo>
                    <a:pt x="2938" y="214"/>
                  </a:lnTo>
                  <a:lnTo>
                    <a:pt x="2936" y="220"/>
                  </a:lnTo>
                  <a:lnTo>
                    <a:pt x="2932" y="226"/>
                  </a:lnTo>
                  <a:lnTo>
                    <a:pt x="2926" y="230"/>
                  </a:lnTo>
                  <a:lnTo>
                    <a:pt x="2922" y="236"/>
                  </a:lnTo>
                  <a:lnTo>
                    <a:pt x="2920" y="242"/>
                  </a:lnTo>
                  <a:lnTo>
                    <a:pt x="2920" y="248"/>
                  </a:lnTo>
                  <a:lnTo>
                    <a:pt x="2924" y="254"/>
                  </a:lnTo>
                  <a:lnTo>
                    <a:pt x="2928" y="260"/>
                  </a:lnTo>
                  <a:lnTo>
                    <a:pt x="2930" y="264"/>
                  </a:lnTo>
                  <a:lnTo>
                    <a:pt x="2934" y="270"/>
                  </a:lnTo>
                  <a:lnTo>
                    <a:pt x="2930" y="276"/>
                  </a:lnTo>
                  <a:lnTo>
                    <a:pt x="2924" y="282"/>
                  </a:lnTo>
                  <a:lnTo>
                    <a:pt x="2930" y="284"/>
                  </a:lnTo>
                  <a:lnTo>
                    <a:pt x="2932" y="282"/>
                  </a:lnTo>
                  <a:lnTo>
                    <a:pt x="2938" y="276"/>
                  </a:lnTo>
                  <a:lnTo>
                    <a:pt x="2944" y="278"/>
                  </a:lnTo>
                  <a:lnTo>
                    <a:pt x="2952" y="276"/>
                  </a:lnTo>
                  <a:lnTo>
                    <a:pt x="2956" y="270"/>
                  </a:lnTo>
                  <a:lnTo>
                    <a:pt x="2962" y="266"/>
                  </a:lnTo>
                  <a:lnTo>
                    <a:pt x="2968" y="264"/>
                  </a:lnTo>
                  <a:lnTo>
                    <a:pt x="2974" y="270"/>
                  </a:lnTo>
                  <a:lnTo>
                    <a:pt x="2980" y="264"/>
                  </a:lnTo>
                  <a:lnTo>
                    <a:pt x="2986" y="260"/>
                  </a:lnTo>
                  <a:lnTo>
                    <a:pt x="2992" y="254"/>
                  </a:lnTo>
                  <a:lnTo>
                    <a:pt x="2996" y="248"/>
                  </a:lnTo>
                  <a:lnTo>
                    <a:pt x="3000" y="244"/>
                  </a:lnTo>
                  <a:lnTo>
                    <a:pt x="3008" y="242"/>
                  </a:lnTo>
                  <a:lnTo>
                    <a:pt x="3010" y="240"/>
                  </a:lnTo>
                  <a:lnTo>
                    <a:pt x="3016" y="236"/>
                  </a:lnTo>
                  <a:lnTo>
                    <a:pt x="3022" y="234"/>
                  </a:lnTo>
                  <a:lnTo>
                    <a:pt x="3028" y="232"/>
                  </a:lnTo>
                  <a:lnTo>
                    <a:pt x="3034" y="230"/>
                  </a:lnTo>
                  <a:lnTo>
                    <a:pt x="3040" y="226"/>
                  </a:lnTo>
                  <a:lnTo>
                    <a:pt x="3046" y="220"/>
                  </a:lnTo>
                  <a:lnTo>
                    <a:pt x="3052" y="214"/>
                  </a:lnTo>
                  <a:lnTo>
                    <a:pt x="3058" y="210"/>
                  </a:lnTo>
                  <a:lnTo>
                    <a:pt x="3064" y="206"/>
                  </a:lnTo>
                  <a:lnTo>
                    <a:pt x="3070" y="200"/>
                  </a:lnTo>
                  <a:lnTo>
                    <a:pt x="3074" y="194"/>
                  </a:lnTo>
                  <a:lnTo>
                    <a:pt x="3080" y="190"/>
                  </a:lnTo>
                  <a:lnTo>
                    <a:pt x="3086" y="188"/>
                  </a:lnTo>
                  <a:lnTo>
                    <a:pt x="3092" y="184"/>
                  </a:lnTo>
                  <a:lnTo>
                    <a:pt x="3098" y="188"/>
                  </a:lnTo>
                  <a:lnTo>
                    <a:pt x="3104" y="186"/>
                  </a:lnTo>
                  <a:lnTo>
                    <a:pt x="3110" y="186"/>
                  </a:lnTo>
                  <a:lnTo>
                    <a:pt x="3116" y="186"/>
                  </a:lnTo>
                  <a:lnTo>
                    <a:pt x="3122" y="182"/>
                  </a:lnTo>
                  <a:lnTo>
                    <a:pt x="3116" y="182"/>
                  </a:lnTo>
                  <a:lnTo>
                    <a:pt x="3110" y="178"/>
                  </a:lnTo>
                  <a:lnTo>
                    <a:pt x="3116" y="180"/>
                  </a:lnTo>
                  <a:lnTo>
                    <a:pt x="3120" y="174"/>
                  </a:lnTo>
                  <a:lnTo>
                    <a:pt x="3126" y="176"/>
                  </a:lnTo>
                  <a:lnTo>
                    <a:pt x="3132" y="174"/>
                  </a:lnTo>
                  <a:lnTo>
                    <a:pt x="3126" y="172"/>
                  </a:lnTo>
                  <a:lnTo>
                    <a:pt x="3130" y="170"/>
                  </a:lnTo>
                  <a:lnTo>
                    <a:pt x="3136" y="170"/>
                  </a:lnTo>
                  <a:lnTo>
                    <a:pt x="3142" y="170"/>
                  </a:lnTo>
                  <a:lnTo>
                    <a:pt x="3136" y="166"/>
                  </a:lnTo>
                  <a:lnTo>
                    <a:pt x="3130" y="164"/>
                  </a:lnTo>
                  <a:lnTo>
                    <a:pt x="3126" y="164"/>
                  </a:lnTo>
                  <a:lnTo>
                    <a:pt x="3130" y="162"/>
                  </a:lnTo>
                  <a:lnTo>
                    <a:pt x="3126" y="162"/>
                  </a:lnTo>
                  <a:lnTo>
                    <a:pt x="3120" y="158"/>
                  </a:lnTo>
                  <a:lnTo>
                    <a:pt x="3118" y="152"/>
                  </a:lnTo>
                  <a:lnTo>
                    <a:pt x="3126" y="154"/>
                  </a:lnTo>
                  <a:lnTo>
                    <a:pt x="3124" y="148"/>
                  </a:lnTo>
                  <a:lnTo>
                    <a:pt x="3130" y="144"/>
                  </a:lnTo>
                  <a:lnTo>
                    <a:pt x="3124" y="146"/>
                  </a:lnTo>
                  <a:lnTo>
                    <a:pt x="3130" y="140"/>
                  </a:lnTo>
                  <a:lnTo>
                    <a:pt x="3136" y="138"/>
                  </a:lnTo>
                  <a:lnTo>
                    <a:pt x="3134" y="132"/>
                  </a:lnTo>
                  <a:lnTo>
                    <a:pt x="3140" y="128"/>
                  </a:lnTo>
                  <a:lnTo>
                    <a:pt x="3146" y="124"/>
                  </a:lnTo>
                  <a:lnTo>
                    <a:pt x="3140" y="124"/>
                  </a:lnTo>
                  <a:lnTo>
                    <a:pt x="3146" y="122"/>
                  </a:lnTo>
                  <a:lnTo>
                    <a:pt x="3152" y="122"/>
                  </a:lnTo>
                  <a:lnTo>
                    <a:pt x="3158" y="126"/>
                  </a:lnTo>
                  <a:lnTo>
                    <a:pt x="3164" y="124"/>
                  </a:lnTo>
                  <a:lnTo>
                    <a:pt x="3170" y="124"/>
                  </a:lnTo>
                  <a:lnTo>
                    <a:pt x="3176" y="124"/>
                  </a:lnTo>
                  <a:lnTo>
                    <a:pt x="3182" y="122"/>
                  </a:lnTo>
                  <a:lnTo>
                    <a:pt x="3188" y="122"/>
                  </a:lnTo>
                  <a:lnTo>
                    <a:pt x="3194" y="122"/>
                  </a:lnTo>
                  <a:lnTo>
                    <a:pt x="3200" y="124"/>
                  </a:lnTo>
                  <a:lnTo>
                    <a:pt x="3206" y="128"/>
                  </a:lnTo>
                  <a:lnTo>
                    <a:pt x="3212" y="128"/>
                  </a:lnTo>
                  <a:lnTo>
                    <a:pt x="3218" y="130"/>
                  </a:lnTo>
                  <a:lnTo>
                    <a:pt x="3224" y="132"/>
                  </a:lnTo>
                  <a:lnTo>
                    <a:pt x="3230" y="132"/>
                  </a:lnTo>
                  <a:lnTo>
                    <a:pt x="3236" y="130"/>
                  </a:lnTo>
                  <a:lnTo>
                    <a:pt x="3242" y="132"/>
                  </a:lnTo>
                  <a:lnTo>
                    <a:pt x="3250" y="132"/>
                  </a:lnTo>
                  <a:lnTo>
                    <a:pt x="3256" y="132"/>
                  </a:lnTo>
                  <a:lnTo>
                    <a:pt x="3262" y="130"/>
                  </a:lnTo>
                  <a:lnTo>
                    <a:pt x="3268" y="134"/>
                  </a:lnTo>
                  <a:lnTo>
                    <a:pt x="3274" y="136"/>
                  </a:lnTo>
                  <a:lnTo>
                    <a:pt x="3266" y="134"/>
                  </a:lnTo>
                  <a:lnTo>
                    <a:pt x="3262" y="138"/>
                  </a:lnTo>
                  <a:lnTo>
                    <a:pt x="3256" y="142"/>
                  </a:lnTo>
                  <a:lnTo>
                    <a:pt x="3250" y="142"/>
                  </a:lnTo>
                  <a:lnTo>
                    <a:pt x="3244" y="142"/>
                  </a:lnTo>
                  <a:lnTo>
                    <a:pt x="3236" y="140"/>
                  </a:lnTo>
                  <a:lnTo>
                    <a:pt x="3230" y="140"/>
                  </a:lnTo>
                  <a:lnTo>
                    <a:pt x="3236" y="142"/>
                  </a:lnTo>
                  <a:lnTo>
                    <a:pt x="3242" y="142"/>
                  </a:lnTo>
                  <a:lnTo>
                    <a:pt x="3248" y="144"/>
                  </a:lnTo>
                  <a:lnTo>
                    <a:pt x="3254" y="144"/>
                  </a:lnTo>
                  <a:lnTo>
                    <a:pt x="3262" y="146"/>
                  </a:lnTo>
                  <a:lnTo>
                    <a:pt x="3268" y="148"/>
                  </a:lnTo>
                  <a:lnTo>
                    <a:pt x="3262" y="148"/>
                  </a:lnTo>
                  <a:lnTo>
                    <a:pt x="3266" y="154"/>
                  </a:lnTo>
                  <a:lnTo>
                    <a:pt x="3260" y="158"/>
                  </a:lnTo>
                  <a:lnTo>
                    <a:pt x="3266" y="158"/>
                  </a:lnTo>
                  <a:lnTo>
                    <a:pt x="3272" y="156"/>
                  </a:lnTo>
                  <a:lnTo>
                    <a:pt x="3278" y="156"/>
                  </a:lnTo>
                  <a:lnTo>
                    <a:pt x="3284" y="156"/>
                  </a:lnTo>
                  <a:lnTo>
                    <a:pt x="3290" y="160"/>
                  </a:lnTo>
                  <a:lnTo>
                    <a:pt x="3296" y="160"/>
                  </a:lnTo>
                  <a:lnTo>
                    <a:pt x="3294" y="166"/>
                  </a:lnTo>
                  <a:lnTo>
                    <a:pt x="3288" y="168"/>
                  </a:lnTo>
                  <a:lnTo>
                    <a:pt x="3282" y="170"/>
                  </a:lnTo>
                  <a:lnTo>
                    <a:pt x="3274" y="172"/>
                  </a:lnTo>
                  <a:lnTo>
                    <a:pt x="3268" y="174"/>
                  </a:lnTo>
                  <a:lnTo>
                    <a:pt x="3262" y="176"/>
                  </a:lnTo>
                  <a:lnTo>
                    <a:pt x="3256" y="178"/>
                  </a:lnTo>
                  <a:lnTo>
                    <a:pt x="3250" y="178"/>
                  </a:lnTo>
                  <a:lnTo>
                    <a:pt x="3256" y="178"/>
                  </a:lnTo>
                  <a:lnTo>
                    <a:pt x="3262" y="176"/>
                  </a:lnTo>
                  <a:lnTo>
                    <a:pt x="3268" y="178"/>
                  </a:lnTo>
                  <a:lnTo>
                    <a:pt x="3274" y="180"/>
                  </a:lnTo>
                  <a:lnTo>
                    <a:pt x="3280" y="180"/>
                  </a:lnTo>
                  <a:lnTo>
                    <a:pt x="3278" y="186"/>
                  </a:lnTo>
                  <a:lnTo>
                    <a:pt x="3274" y="192"/>
                  </a:lnTo>
                  <a:lnTo>
                    <a:pt x="3270" y="194"/>
                  </a:lnTo>
                  <a:lnTo>
                    <a:pt x="3262" y="196"/>
                  </a:lnTo>
                  <a:lnTo>
                    <a:pt x="3256" y="198"/>
                  </a:lnTo>
                  <a:lnTo>
                    <a:pt x="3250" y="200"/>
                  </a:lnTo>
                  <a:lnTo>
                    <a:pt x="3244" y="200"/>
                  </a:lnTo>
                  <a:lnTo>
                    <a:pt x="3238" y="204"/>
                  </a:lnTo>
                  <a:lnTo>
                    <a:pt x="3232" y="206"/>
                  </a:lnTo>
                  <a:lnTo>
                    <a:pt x="3228" y="200"/>
                  </a:lnTo>
                  <a:lnTo>
                    <a:pt x="3222" y="204"/>
                  </a:lnTo>
                  <a:lnTo>
                    <a:pt x="3216" y="202"/>
                  </a:lnTo>
                  <a:lnTo>
                    <a:pt x="3210" y="204"/>
                  </a:lnTo>
                  <a:lnTo>
                    <a:pt x="3204" y="206"/>
                  </a:lnTo>
                  <a:lnTo>
                    <a:pt x="3212" y="212"/>
                  </a:lnTo>
                  <a:lnTo>
                    <a:pt x="3204" y="214"/>
                  </a:lnTo>
                  <a:lnTo>
                    <a:pt x="3210" y="216"/>
                  </a:lnTo>
                  <a:lnTo>
                    <a:pt x="3204" y="222"/>
                  </a:lnTo>
                  <a:lnTo>
                    <a:pt x="3210" y="224"/>
                  </a:lnTo>
                  <a:lnTo>
                    <a:pt x="3216" y="222"/>
                  </a:lnTo>
                  <a:lnTo>
                    <a:pt x="3210" y="226"/>
                  </a:lnTo>
                  <a:lnTo>
                    <a:pt x="3204" y="232"/>
                  </a:lnTo>
                  <a:lnTo>
                    <a:pt x="3204" y="238"/>
                  </a:lnTo>
                  <a:lnTo>
                    <a:pt x="3210" y="244"/>
                  </a:lnTo>
                  <a:lnTo>
                    <a:pt x="3214" y="250"/>
                  </a:lnTo>
                  <a:lnTo>
                    <a:pt x="3220" y="254"/>
                  </a:lnTo>
                  <a:lnTo>
                    <a:pt x="3220" y="260"/>
                  </a:lnTo>
                  <a:lnTo>
                    <a:pt x="3218" y="266"/>
                  </a:lnTo>
                  <a:lnTo>
                    <a:pt x="3212" y="270"/>
                  </a:lnTo>
                  <a:lnTo>
                    <a:pt x="3206" y="276"/>
                  </a:lnTo>
                  <a:lnTo>
                    <a:pt x="3200" y="280"/>
                  </a:lnTo>
                  <a:lnTo>
                    <a:pt x="3194" y="286"/>
                  </a:lnTo>
                  <a:lnTo>
                    <a:pt x="3188" y="290"/>
                  </a:lnTo>
                  <a:lnTo>
                    <a:pt x="3182" y="290"/>
                  </a:lnTo>
                  <a:lnTo>
                    <a:pt x="3176" y="290"/>
                  </a:lnTo>
                  <a:lnTo>
                    <a:pt x="3168" y="290"/>
                  </a:lnTo>
                  <a:lnTo>
                    <a:pt x="3164" y="294"/>
                  </a:lnTo>
                  <a:lnTo>
                    <a:pt x="3156" y="298"/>
                  </a:lnTo>
                  <a:lnTo>
                    <a:pt x="3150" y="302"/>
                  </a:lnTo>
                  <a:lnTo>
                    <a:pt x="3146" y="308"/>
                  </a:lnTo>
                  <a:lnTo>
                    <a:pt x="3142" y="306"/>
                  </a:lnTo>
                  <a:lnTo>
                    <a:pt x="3136" y="306"/>
                  </a:lnTo>
                  <a:lnTo>
                    <a:pt x="3130" y="310"/>
                  </a:lnTo>
                  <a:lnTo>
                    <a:pt x="3124" y="312"/>
                  </a:lnTo>
                  <a:lnTo>
                    <a:pt x="3118" y="316"/>
                  </a:lnTo>
                  <a:lnTo>
                    <a:pt x="3112" y="316"/>
                  </a:lnTo>
                  <a:lnTo>
                    <a:pt x="3106" y="316"/>
                  </a:lnTo>
                  <a:lnTo>
                    <a:pt x="3100" y="316"/>
                  </a:lnTo>
                  <a:lnTo>
                    <a:pt x="3094" y="322"/>
                  </a:lnTo>
                  <a:lnTo>
                    <a:pt x="3088" y="322"/>
                  </a:lnTo>
                  <a:lnTo>
                    <a:pt x="3082" y="326"/>
                  </a:lnTo>
                  <a:lnTo>
                    <a:pt x="3076" y="328"/>
                  </a:lnTo>
                  <a:lnTo>
                    <a:pt x="3070" y="328"/>
                  </a:lnTo>
                  <a:lnTo>
                    <a:pt x="3062" y="328"/>
                  </a:lnTo>
                  <a:lnTo>
                    <a:pt x="3068" y="322"/>
                  </a:lnTo>
                  <a:lnTo>
                    <a:pt x="3062" y="318"/>
                  </a:lnTo>
                  <a:lnTo>
                    <a:pt x="3056" y="314"/>
                  </a:lnTo>
                  <a:lnTo>
                    <a:pt x="3060" y="308"/>
                  </a:lnTo>
                  <a:lnTo>
                    <a:pt x="3066" y="310"/>
                  </a:lnTo>
                  <a:lnTo>
                    <a:pt x="3068" y="304"/>
                  </a:lnTo>
                  <a:lnTo>
                    <a:pt x="3072" y="298"/>
                  </a:lnTo>
                  <a:lnTo>
                    <a:pt x="3066" y="302"/>
                  </a:lnTo>
                  <a:lnTo>
                    <a:pt x="3060" y="304"/>
                  </a:lnTo>
                  <a:lnTo>
                    <a:pt x="3054" y="308"/>
                  </a:lnTo>
                  <a:lnTo>
                    <a:pt x="3048" y="306"/>
                  </a:lnTo>
                  <a:lnTo>
                    <a:pt x="3048" y="304"/>
                  </a:lnTo>
                  <a:lnTo>
                    <a:pt x="3050" y="304"/>
                  </a:lnTo>
                  <a:lnTo>
                    <a:pt x="3050" y="300"/>
                  </a:lnTo>
                  <a:lnTo>
                    <a:pt x="3056" y="300"/>
                  </a:lnTo>
                  <a:lnTo>
                    <a:pt x="3054" y="294"/>
                  </a:lnTo>
                  <a:lnTo>
                    <a:pt x="3046" y="292"/>
                  </a:lnTo>
                  <a:lnTo>
                    <a:pt x="3050" y="292"/>
                  </a:lnTo>
                  <a:lnTo>
                    <a:pt x="3056" y="292"/>
                  </a:lnTo>
                  <a:lnTo>
                    <a:pt x="3050" y="290"/>
                  </a:lnTo>
                  <a:lnTo>
                    <a:pt x="3044" y="288"/>
                  </a:lnTo>
                  <a:lnTo>
                    <a:pt x="3038" y="290"/>
                  </a:lnTo>
                  <a:lnTo>
                    <a:pt x="3044" y="292"/>
                  </a:lnTo>
                  <a:lnTo>
                    <a:pt x="3038" y="290"/>
                  </a:lnTo>
                  <a:lnTo>
                    <a:pt x="3032" y="292"/>
                  </a:lnTo>
                  <a:lnTo>
                    <a:pt x="3026" y="292"/>
                  </a:lnTo>
                  <a:lnTo>
                    <a:pt x="3020" y="294"/>
                  </a:lnTo>
                  <a:lnTo>
                    <a:pt x="3014" y="298"/>
                  </a:lnTo>
                  <a:lnTo>
                    <a:pt x="3020" y="298"/>
                  </a:lnTo>
                  <a:lnTo>
                    <a:pt x="3024" y="294"/>
                  </a:lnTo>
                  <a:lnTo>
                    <a:pt x="3032" y="294"/>
                  </a:lnTo>
                  <a:lnTo>
                    <a:pt x="3038" y="292"/>
                  </a:lnTo>
                  <a:lnTo>
                    <a:pt x="3044" y="296"/>
                  </a:lnTo>
                  <a:lnTo>
                    <a:pt x="3038" y="296"/>
                  </a:lnTo>
                  <a:lnTo>
                    <a:pt x="3044" y="300"/>
                  </a:lnTo>
                  <a:lnTo>
                    <a:pt x="3038" y="300"/>
                  </a:lnTo>
                  <a:lnTo>
                    <a:pt x="3044" y="302"/>
                  </a:lnTo>
                  <a:lnTo>
                    <a:pt x="3050" y="304"/>
                  </a:lnTo>
                  <a:lnTo>
                    <a:pt x="3048" y="304"/>
                  </a:lnTo>
                  <a:lnTo>
                    <a:pt x="3046" y="310"/>
                  </a:lnTo>
                  <a:lnTo>
                    <a:pt x="3052" y="310"/>
                  </a:lnTo>
                  <a:lnTo>
                    <a:pt x="3046" y="314"/>
                  </a:lnTo>
                  <a:lnTo>
                    <a:pt x="3050" y="320"/>
                  </a:lnTo>
                  <a:lnTo>
                    <a:pt x="3052" y="326"/>
                  </a:lnTo>
                  <a:lnTo>
                    <a:pt x="3052" y="332"/>
                  </a:lnTo>
                  <a:lnTo>
                    <a:pt x="3048" y="336"/>
                  </a:lnTo>
                  <a:lnTo>
                    <a:pt x="3042" y="338"/>
                  </a:lnTo>
                  <a:lnTo>
                    <a:pt x="3036" y="336"/>
                  </a:lnTo>
                  <a:lnTo>
                    <a:pt x="3030" y="332"/>
                  </a:lnTo>
                  <a:lnTo>
                    <a:pt x="3024" y="332"/>
                  </a:lnTo>
                  <a:lnTo>
                    <a:pt x="3024" y="326"/>
                  </a:lnTo>
                  <a:lnTo>
                    <a:pt x="3018" y="328"/>
                  </a:lnTo>
                  <a:lnTo>
                    <a:pt x="3016" y="334"/>
                  </a:lnTo>
                  <a:lnTo>
                    <a:pt x="3018" y="340"/>
                  </a:lnTo>
                  <a:lnTo>
                    <a:pt x="3012" y="338"/>
                  </a:lnTo>
                  <a:lnTo>
                    <a:pt x="3008" y="336"/>
                  </a:lnTo>
                  <a:lnTo>
                    <a:pt x="3000" y="334"/>
                  </a:lnTo>
                  <a:lnTo>
                    <a:pt x="2996" y="336"/>
                  </a:lnTo>
                  <a:lnTo>
                    <a:pt x="2990" y="332"/>
                  </a:lnTo>
                  <a:lnTo>
                    <a:pt x="2982" y="332"/>
                  </a:lnTo>
                  <a:lnTo>
                    <a:pt x="2986" y="326"/>
                  </a:lnTo>
                  <a:lnTo>
                    <a:pt x="2990" y="320"/>
                  </a:lnTo>
                  <a:lnTo>
                    <a:pt x="2986" y="314"/>
                  </a:lnTo>
                  <a:lnTo>
                    <a:pt x="2980" y="316"/>
                  </a:lnTo>
                  <a:lnTo>
                    <a:pt x="2974" y="318"/>
                  </a:lnTo>
                  <a:lnTo>
                    <a:pt x="2970" y="318"/>
                  </a:lnTo>
                  <a:lnTo>
                    <a:pt x="2962" y="320"/>
                  </a:lnTo>
                  <a:lnTo>
                    <a:pt x="2956" y="320"/>
                  </a:lnTo>
                  <a:lnTo>
                    <a:pt x="2950" y="318"/>
                  </a:lnTo>
                  <a:lnTo>
                    <a:pt x="2944" y="318"/>
                  </a:lnTo>
                  <a:lnTo>
                    <a:pt x="2938" y="318"/>
                  </a:lnTo>
                  <a:lnTo>
                    <a:pt x="2932" y="318"/>
                  </a:lnTo>
                  <a:lnTo>
                    <a:pt x="2926" y="318"/>
                  </a:lnTo>
                  <a:lnTo>
                    <a:pt x="2926" y="324"/>
                  </a:lnTo>
                  <a:lnTo>
                    <a:pt x="2920" y="326"/>
                  </a:lnTo>
                  <a:lnTo>
                    <a:pt x="2924" y="332"/>
                  </a:lnTo>
                  <a:lnTo>
                    <a:pt x="2928" y="332"/>
                  </a:lnTo>
                  <a:lnTo>
                    <a:pt x="2936" y="334"/>
                  </a:lnTo>
                  <a:lnTo>
                    <a:pt x="2940" y="336"/>
                  </a:lnTo>
                  <a:lnTo>
                    <a:pt x="2946" y="342"/>
                  </a:lnTo>
                  <a:lnTo>
                    <a:pt x="2940" y="346"/>
                  </a:lnTo>
                  <a:lnTo>
                    <a:pt x="2934" y="350"/>
                  </a:lnTo>
                  <a:lnTo>
                    <a:pt x="2928" y="350"/>
                  </a:lnTo>
                  <a:lnTo>
                    <a:pt x="2922" y="354"/>
                  </a:lnTo>
                  <a:lnTo>
                    <a:pt x="2916" y="356"/>
                  </a:lnTo>
                  <a:lnTo>
                    <a:pt x="2912" y="356"/>
                  </a:lnTo>
                  <a:lnTo>
                    <a:pt x="2906" y="360"/>
                  </a:lnTo>
                  <a:lnTo>
                    <a:pt x="2900" y="366"/>
                  </a:lnTo>
                  <a:lnTo>
                    <a:pt x="2894" y="370"/>
                  </a:lnTo>
                  <a:lnTo>
                    <a:pt x="2888" y="372"/>
                  </a:lnTo>
                  <a:lnTo>
                    <a:pt x="2882" y="374"/>
                  </a:lnTo>
                  <a:lnTo>
                    <a:pt x="2876" y="376"/>
                  </a:lnTo>
                  <a:lnTo>
                    <a:pt x="2870" y="378"/>
                  </a:lnTo>
                  <a:lnTo>
                    <a:pt x="2864" y="382"/>
                  </a:lnTo>
                  <a:lnTo>
                    <a:pt x="2858" y="386"/>
                  </a:lnTo>
                  <a:lnTo>
                    <a:pt x="2852" y="388"/>
                  </a:lnTo>
                  <a:lnTo>
                    <a:pt x="2846" y="390"/>
                  </a:lnTo>
                  <a:lnTo>
                    <a:pt x="2840" y="390"/>
                  </a:lnTo>
                  <a:lnTo>
                    <a:pt x="2834" y="390"/>
                  </a:lnTo>
                  <a:lnTo>
                    <a:pt x="2828" y="390"/>
                  </a:lnTo>
                  <a:lnTo>
                    <a:pt x="2822" y="390"/>
                  </a:lnTo>
                  <a:lnTo>
                    <a:pt x="2816" y="390"/>
                  </a:lnTo>
                  <a:lnTo>
                    <a:pt x="2810" y="388"/>
                  </a:lnTo>
                  <a:lnTo>
                    <a:pt x="2804" y="382"/>
                  </a:lnTo>
                  <a:lnTo>
                    <a:pt x="2800" y="378"/>
                  </a:lnTo>
                  <a:lnTo>
                    <a:pt x="2796" y="374"/>
                  </a:lnTo>
                  <a:lnTo>
                    <a:pt x="2790" y="372"/>
                  </a:lnTo>
                  <a:lnTo>
                    <a:pt x="2796" y="372"/>
                  </a:lnTo>
                  <a:lnTo>
                    <a:pt x="2800" y="372"/>
                  </a:lnTo>
                  <a:lnTo>
                    <a:pt x="2808" y="372"/>
                  </a:lnTo>
                  <a:lnTo>
                    <a:pt x="2804" y="372"/>
                  </a:lnTo>
                  <a:lnTo>
                    <a:pt x="2796" y="370"/>
                  </a:lnTo>
                  <a:lnTo>
                    <a:pt x="2792" y="368"/>
                  </a:lnTo>
                  <a:lnTo>
                    <a:pt x="2786" y="368"/>
                  </a:lnTo>
                  <a:lnTo>
                    <a:pt x="2780" y="364"/>
                  </a:lnTo>
                  <a:lnTo>
                    <a:pt x="2774" y="360"/>
                  </a:lnTo>
                  <a:lnTo>
                    <a:pt x="2768" y="356"/>
                  </a:lnTo>
                  <a:lnTo>
                    <a:pt x="2762" y="354"/>
                  </a:lnTo>
                  <a:lnTo>
                    <a:pt x="2756" y="352"/>
                  </a:lnTo>
                  <a:lnTo>
                    <a:pt x="2750" y="352"/>
                  </a:lnTo>
                  <a:lnTo>
                    <a:pt x="2752" y="354"/>
                  </a:lnTo>
                  <a:lnTo>
                    <a:pt x="2758" y="358"/>
                  </a:lnTo>
                  <a:lnTo>
                    <a:pt x="2752" y="360"/>
                  </a:lnTo>
                  <a:lnTo>
                    <a:pt x="2746" y="358"/>
                  </a:lnTo>
                  <a:lnTo>
                    <a:pt x="2746" y="356"/>
                  </a:lnTo>
                  <a:lnTo>
                    <a:pt x="2740" y="358"/>
                  </a:lnTo>
                  <a:lnTo>
                    <a:pt x="2732" y="358"/>
                  </a:lnTo>
                  <a:lnTo>
                    <a:pt x="2728" y="356"/>
                  </a:lnTo>
                  <a:lnTo>
                    <a:pt x="2732" y="356"/>
                  </a:lnTo>
                  <a:lnTo>
                    <a:pt x="2728" y="356"/>
                  </a:lnTo>
                  <a:lnTo>
                    <a:pt x="2720" y="356"/>
                  </a:lnTo>
                  <a:lnTo>
                    <a:pt x="2714" y="356"/>
                  </a:lnTo>
                  <a:lnTo>
                    <a:pt x="2708" y="354"/>
                  </a:lnTo>
                  <a:lnTo>
                    <a:pt x="2702" y="354"/>
                  </a:lnTo>
                  <a:lnTo>
                    <a:pt x="2696" y="352"/>
                  </a:lnTo>
                  <a:lnTo>
                    <a:pt x="2690" y="352"/>
                  </a:lnTo>
                  <a:lnTo>
                    <a:pt x="2684" y="356"/>
                  </a:lnTo>
                  <a:lnTo>
                    <a:pt x="2690" y="358"/>
                  </a:lnTo>
                  <a:lnTo>
                    <a:pt x="2696" y="360"/>
                  </a:lnTo>
                  <a:lnTo>
                    <a:pt x="2700" y="354"/>
                  </a:lnTo>
                  <a:lnTo>
                    <a:pt x="2706" y="356"/>
                  </a:lnTo>
                  <a:lnTo>
                    <a:pt x="2712" y="356"/>
                  </a:lnTo>
                  <a:lnTo>
                    <a:pt x="2718" y="356"/>
                  </a:lnTo>
                  <a:lnTo>
                    <a:pt x="2724" y="358"/>
                  </a:lnTo>
                  <a:lnTo>
                    <a:pt x="2730" y="358"/>
                  </a:lnTo>
                  <a:lnTo>
                    <a:pt x="2736" y="360"/>
                  </a:lnTo>
                  <a:lnTo>
                    <a:pt x="2742" y="362"/>
                  </a:lnTo>
                  <a:lnTo>
                    <a:pt x="2746" y="364"/>
                  </a:lnTo>
                  <a:lnTo>
                    <a:pt x="2752" y="370"/>
                  </a:lnTo>
                  <a:lnTo>
                    <a:pt x="2758" y="374"/>
                  </a:lnTo>
                  <a:lnTo>
                    <a:pt x="2756" y="380"/>
                  </a:lnTo>
                  <a:lnTo>
                    <a:pt x="2762" y="384"/>
                  </a:lnTo>
                  <a:lnTo>
                    <a:pt x="2766" y="390"/>
                  </a:lnTo>
                  <a:lnTo>
                    <a:pt x="2772" y="390"/>
                  </a:lnTo>
                  <a:lnTo>
                    <a:pt x="2778" y="392"/>
                  </a:lnTo>
                  <a:lnTo>
                    <a:pt x="2784" y="392"/>
                  </a:lnTo>
                  <a:lnTo>
                    <a:pt x="2790" y="394"/>
                  </a:lnTo>
                  <a:lnTo>
                    <a:pt x="2796" y="394"/>
                  </a:lnTo>
                  <a:lnTo>
                    <a:pt x="2802" y="394"/>
                  </a:lnTo>
                  <a:lnTo>
                    <a:pt x="2808" y="394"/>
                  </a:lnTo>
                  <a:lnTo>
                    <a:pt x="2814" y="394"/>
                  </a:lnTo>
                  <a:lnTo>
                    <a:pt x="2820" y="394"/>
                  </a:lnTo>
                  <a:lnTo>
                    <a:pt x="2826" y="392"/>
                  </a:lnTo>
                  <a:lnTo>
                    <a:pt x="2832" y="394"/>
                  </a:lnTo>
                  <a:lnTo>
                    <a:pt x="2838" y="394"/>
                  </a:lnTo>
                  <a:lnTo>
                    <a:pt x="2844" y="394"/>
                  </a:lnTo>
                  <a:lnTo>
                    <a:pt x="2850" y="398"/>
                  </a:lnTo>
                  <a:lnTo>
                    <a:pt x="2846" y="404"/>
                  </a:lnTo>
                  <a:lnTo>
                    <a:pt x="2842" y="408"/>
                  </a:lnTo>
                  <a:lnTo>
                    <a:pt x="2834" y="414"/>
                  </a:lnTo>
                  <a:lnTo>
                    <a:pt x="2828" y="416"/>
                  </a:lnTo>
                  <a:lnTo>
                    <a:pt x="2822" y="420"/>
                  </a:lnTo>
                  <a:lnTo>
                    <a:pt x="2816" y="424"/>
                  </a:lnTo>
                  <a:lnTo>
                    <a:pt x="2810" y="428"/>
                  </a:lnTo>
                  <a:lnTo>
                    <a:pt x="2804" y="428"/>
                  </a:lnTo>
                  <a:lnTo>
                    <a:pt x="2800" y="434"/>
                  </a:lnTo>
                  <a:lnTo>
                    <a:pt x="2798" y="434"/>
                  </a:lnTo>
                  <a:lnTo>
                    <a:pt x="2792" y="438"/>
                  </a:lnTo>
                  <a:lnTo>
                    <a:pt x="2786" y="440"/>
                  </a:lnTo>
                  <a:lnTo>
                    <a:pt x="2780" y="442"/>
                  </a:lnTo>
                  <a:lnTo>
                    <a:pt x="2774" y="446"/>
                  </a:lnTo>
                  <a:lnTo>
                    <a:pt x="2768" y="452"/>
                  </a:lnTo>
                  <a:lnTo>
                    <a:pt x="2762" y="454"/>
                  </a:lnTo>
                  <a:lnTo>
                    <a:pt x="2758" y="460"/>
                  </a:lnTo>
                  <a:lnTo>
                    <a:pt x="2752" y="462"/>
                  </a:lnTo>
                  <a:lnTo>
                    <a:pt x="2746" y="462"/>
                  </a:lnTo>
                  <a:lnTo>
                    <a:pt x="2740" y="466"/>
                  </a:lnTo>
                  <a:lnTo>
                    <a:pt x="2732" y="466"/>
                  </a:lnTo>
                  <a:lnTo>
                    <a:pt x="2728" y="468"/>
                  </a:lnTo>
                  <a:lnTo>
                    <a:pt x="2722" y="470"/>
                  </a:lnTo>
                  <a:lnTo>
                    <a:pt x="2716" y="472"/>
                  </a:lnTo>
                  <a:lnTo>
                    <a:pt x="2710" y="472"/>
                  </a:lnTo>
                  <a:lnTo>
                    <a:pt x="2702" y="472"/>
                  </a:lnTo>
                  <a:lnTo>
                    <a:pt x="2698" y="468"/>
                  </a:lnTo>
                  <a:lnTo>
                    <a:pt x="2694" y="462"/>
                  </a:lnTo>
                  <a:lnTo>
                    <a:pt x="2694" y="468"/>
                  </a:lnTo>
                  <a:lnTo>
                    <a:pt x="2694" y="474"/>
                  </a:lnTo>
                  <a:lnTo>
                    <a:pt x="2688" y="472"/>
                  </a:lnTo>
                  <a:lnTo>
                    <a:pt x="2682" y="470"/>
                  </a:lnTo>
                  <a:lnTo>
                    <a:pt x="2678" y="470"/>
                  </a:lnTo>
                  <a:lnTo>
                    <a:pt x="2676" y="476"/>
                  </a:lnTo>
                  <a:lnTo>
                    <a:pt x="2674" y="470"/>
                  </a:lnTo>
                  <a:lnTo>
                    <a:pt x="2668" y="464"/>
                  </a:lnTo>
                  <a:lnTo>
                    <a:pt x="2674" y="458"/>
                  </a:lnTo>
                  <a:lnTo>
                    <a:pt x="2668" y="462"/>
                  </a:lnTo>
                  <a:lnTo>
                    <a:pt x="2662" y="462"/>
                  </a:lnTo>
                  <a:lnTo>
                    <a:pt x="2660" y="464"/>
                  </a:lnTo>
                  <a:lnTo>
                    <a:pt x="2662" y="470"/>
                  </a:lnTo>
                  <a:lnTo>
                    <a:pt x="2660" y="476"/>
                  </a:lnTo>
                  <a:lnTo>
                    <a:pt x="2654" y="472"/>
                  </a:lnTo>
                  <a:lnTo>
                    <a:pt x="2652" y="474"/>
                  </a:lnTo>
                  <a:lnTo>
                    <a:pt x="2646" y="476"/>
                  </a:lnTo>
                  <a:lnTo>
                    <a:pt x="2646" y="482"/>
                  </a:lnTo>
                  <a:lnTo>
                    <a:pt x="2644" y="486"/>
                  </a:lnTo>
                  <a:lnTo>
                    <a:pt x="2640" y="488"/>
                  </a:lnTo>
                  <a:lnTo>
                    <a:pt x="2634" y="490"/>
                  </a:lnTo>
                  <a:lnTo>
                    <a:pt x="2626" y="494"/>
                  </a:lnTo>
                  <a:lnTo>
                    <a:pt x="2622" y="494"/>
                  </a:lnTo>
                  <a:lnTo>
                    <a:pt x="2614" y="492"/>
                  </a:lnTo>
                  <a:lnTo>
                    <a:pt x="2610" y="490"/>
                  </a:lnTo>
                  <a:lnTo>
                    <a:pt x="2608" y="496"/>
                  </a:lnTo>
                  <a:lnTo>
                    <a:pt x="2602" y="496"/>
                  </a:lnTo>
                  <a:lnTo>
                    <a:pt x="2596" y="498"/>
                  </a:lnTo>
                  <a:lnTo>
                    <a:pt x="2590" y="498"/>
                  </a:lnTo>
                  <a:lnTo>
                    <a:pt x="2584" y="496"/>
                  </a:lnTo>
                  <a:lnTo>
                    <a:pt x="2578" y="494"/>
                  </a:lnTo>
                  <a:lnTo>
                    <a:pt x="2572" y="490"/>
                  </a:lnTo>
                  <a:lnTo>
                    <a:pt x="2568" y="488"/>
                  </a:lnTo>
                  <a:lnTo>
                    <a:pt x="2562" y="486"/>
                  </a:lnTo>
                  <a:lnTo>
                    <a:pt x="2556" y="484"/>
                  </a:lnTo>
                  <a:lnTo>
                    <a:pt x="2550" y="484"/>
                  </a:lnTo>
                  <a:lnTo>
                    <a:pt x="2544" y="488"/>
                  </a:lnTo>
                  <a:lnTo>
                    <a:pt x="2538" y="486"/>
                  </a:lnTo>
                  <a:lnTo>
                    <a:pt x="2532" y="486"/>
                  </a:lnTo>
                  <a:lnTo>
                    <a:pt x="2526" y="482"/>
                  </a:lnTo>
                  <a:lnTo>
                    <a:pt x="2520" y="480"/>
                  </a:lnTo>
                  <a:lnTo>
                    <a:pt x="2514" y="478"/>
                  </a:lnTo>
                  <a:lnTo>
                    <a:pt x="2508" y="476"/>
                  </a:lnTo>
                  <a:lnTo>
                    <a:pt x="2502" y="472"/>
                  </a:lnTo>
                  <a:lnTo>
                    <a:pt x="2496" y="470"/>
                  </a:lnTo>
                  <a:lnTo>
                    <a:pt x="2490" y="466"/>
                  </a:lnTo>
                  <a:lnTo>
                    <a:pt x="2486" y="460"/>
                  </a:lnTo>
                  <a:lnTo>
                    <a:pt x="2488" y="464"/>
                  </a:lnTo>
                  <a:lnTo>
                    <a:pt x="2488" y="470"/>
                  </a:lnTo>
                  <a:lnTo>
                    <a:pt x="2482" y="472"/>
                  </a:lnTo>
                  <a:lnTo>
                    <a:pt x="2478" y="472"/>
                  </a:lnTo>
                  <a:lnTo>
                    <a:pt x="2474" y="474"/>
                  </a:lnTo>
                  <a:lnTo>
                    <a:pt x="2478" y="480"/>
                  </a:lnTo>
                  <a:lnTo>
                    <a:pt x="2484" y="482"/>
                  </a:lnTo>
                  <a:lnTo>
                    <a:pt x="2490" y="480"/>
                  </a:lnTo>
                  <a:lnTo>
                    <a:pt x="2492" y="474"/>
                  </a:lnTo>
                  <a:lnTo>
                    <a:pt x="2498" y="478"/>
                  </a:lnTo>
                  <a:lnTo>
                    <a:pt x="2500" y="478"/>
                  </a:lnTo>
                  <a:lnTo>
                    <a:pt x="2506" y="480"/>
                  </a:lnTo>
                  <a:lnTo>
                    <a:pt x="2512" y="482"/>
                  </a:lnTo>
                  <a:lnTo>
                    <a:pt x="2518" y="484"/>
                  </a:lnTo>
                  <a:lnTo>
                    <a:pt x="2524" y="484"/>
                  </a:lnTo>
                  <a:lnTo>
                    <a:pt x="2530" y="488"/>
                  </a:lnTo>
                  <a:lnTo>
                    <a:pt x="2538" y="490"/>
                  </a:lnTo>
                  <a:lnTo>
                    <a:pt x="2532" y="494"/>
                  </a:lnTo>
                  <a:lnTo>
                    <a:pt x="2524" y="494"/>
                  </a:lnTo>
                  <a:lnTo>
                    <a:pt x="2520" y="496"/>
                  </a:lnTo>
                  <a:lnTo>
                    <a:pt x="2512" y="500"/>
                  </a:lnTo>
                  <a:lnTo>
                    <a:pt x="2520" y="500"/>
                  </a:lnTo>
                  <a:lnTo>
                    <a:pt x="2526" y="500"/>
                  </a:lnTo>
                  <a:lnTo>
                    <a:pt x="2532" y="496"/>
                  </a:lnTo>
                  <a:lnTo>
                    <a:pt x="2538" y="494"/>
                  </a:lnTo>
                  <a:lnTo>
                    <a:pt x="2544" y="492"/>
                  </a:lnTo>
                  <a:lnTo>
                    <a:pt x="2550" y="490"/>
                  </a:lnTo>
                  <a:lnTo>
                    <a:pt x="2554" y="488"/>
                  </a:lnTo>
                  <a:lnTo>
                    <a:pt x="2560" y="494"/>
                  </a:lnTo>
                  <a:lnTo>
                    <a:pt x="2562" y="500"/>
                  </a:lnTo>
                  <a:lnTo>
                    <a:pt x="2568" y="504"/>
                  </a:lnTo>
                  <a:lnTo>
                    <a:pt x="2574" y="504"/>
                  </a:lnTo>
                  <a:lnTo>
                    <a:pt x="2580" y="504"/>
                  </a:lnTo>
                  <a:lnTo>
                    <a:pt x="2586" y="508"/>
                  </a:lnTo>
                  <a:lnTo>
                    <a:pt x="2580" y="508"/>
                  </a:lnTo>
                  <a:lnTo>
                    <a:pt x="2584" y="514"/>
                  </a:lnTo>
                  <a:lnTo>
                    <a:pt x="2584" y="518"/>
                  </a:lnTo>
                  <a:lnTo>
                    <a:pt x="2582" y="524"/>
                  </a:lnTo>
                  <a:lnTo>
                    <a:pt x="2578" y="530"/>
                  </a:lnTo>
                  <a:lnTo>
                    <a:pt x="2572" y="534"/>
                  </a:lnTo>
                  <a:lnTo>
                    <a:pt x="2566" y="538"/>
                  </a:lnTo>
                  <a:lnTo>
                    <a:pt x="2560" y="536"/>
                  </a:lnTo>
                  <a:lnTo>
                    <a:pt x="2554" y="536"/>
                  </a:lnTo>
                  <a:lnTo>
                    <a:pt x="2548" y="538"/>
                  </a:lnTo>
                  <a:lnTo>
                    <a:pt x="2542" y="542"/>
                  </a:lnTo>
                  <a:lnTo>
                    <a:pt x="2536" y="544"/>
                  </a:lnTo>
                  <a:lnTo>
                    <a:pt x="2530" y="546"/>
                  </a:lnTo>
                  <a:lnTo>
                    <a:pt x="2522" y="546"/>
                  </a:lnTo>
                  <a:lnTo>
                    <a:pt x="2516" y="544"/>
                  </a:lnTo>
                  <a:lnTo>
                    <a:pt x="2510" y="544"/>
                  </a:lnTo>
                  <a:lnTo>
                    <a:pt x="2504" y="542"/>
                  </a:lnTo>
                  <a:lnTo>
                    <a:pt x="2498" y="542"/>
                  </a:lnTo>
                  <a:lnTo>
                    <a:pt x="2492" y="544"/>
                  </a:lnTo>
                  <a:lnTo>
                    <a:pt x="2486" y="542"/>
                  </a:lnTo>
                  <a:lnTo>
                    <a:pt x="2480" y="548"/>
                  </a:lnTo>
                  <a:lnTo>
                    <a:pt x="2486" y="554"/>
                  </a:lnTo>
                  <a:lnTo>
                    <a:pt x="2492" y="556"/>
                  </a:lnTo>
                  <a:lnTo>
                    <a:pt x="2498" y="558"/>
                  </a:lnTo>
                  <a:lnTo>
                    <a:pt x="2492" y="560"/>
                  </a:lnTo>
                  <a:lnTo>
                    <a:pt x="2486" y="562"/>
                  </a:lnTo>
                  <a:lnTo>
                    <a:pt x="2482" y="558"/>
                  </a:lnTo>
                  <a:lnTo>
                    <a:pt x="2476" y="560"/>
                  </a:lnTo>
                  <a:lnTo>
                    <a:pt x="2470" y="562"/>
                  </a:lnTo>
                  <a:lnTo>
                    <a:pt x="2464" y="560"/>
                  </a:lnTo>
                  <a:lnTo>
                    <a:pt x="2460" y="566"/>
                  </a:lnTo>
                  <a:lnTo>
                    <a:pt x="2454" y="566"/>
                  </a:lnTo>
                  <a:lnTo>
                    <a:pt x="2448" y="572"/>
                  </a:lnTo>
                  <a:lnTo>
                    <a:pt x="2442" y="574"/>
                  </a:lnTo>
                  <a:lnTo>
                    <a:pt x="2448" y="578"/>
                  </a:lnTo>
                  <a:lnTo>
                    <a:pt x="2442" y="584"/>
                  </a:lnTo>
                  <a:lnTo>
                    <a:pt x="2440" y="578"/>
                  </a:lnTo>
                  <a:lnTo>
                    <a:pt x="2434" y="576"/>
                  </a:lnTo>
                  <a:lnTo>
                    <a:pt x="2428" y="574"/>
                  </a:lnTo>
                  <a:lnTo>
                    <a:pt x="2426" y="574"/>
                  </a:lnTo>
                  <a:lnTo>
                    <a:pt x="2432" y="578"/>
                  </a:lnTo>
                  <a:lnTo>
                    <a:pt x="2432" y="584"/>
                  </a:lnTo>
                  <a:lnTo>
                    <a:pt x="2426" y="584"/>
                  </a:lnTo>
                  <a:lnTo>
                    <a:pt x="2420" y="584"/>
                  </a:lnTo>
                  <a:lnTo>
                    <a:pt x="2420" y="590"/>
                  </a:lnTo>
                  <a:lnTo>
                    <a:pt x="2414" y="594"/>
                  </a:lnTo>
                  <a:lnTo>
                    <a:pt x="2408" y="596"/>
                  </a:lnTo>
                  <a:lnTo>
                    <a:pt x="2402" y="594"/>
                  </a:lnTo>
                  <a:lnTo>
                    <a:pt x="2400" y="598"/>
                  </a:lnTo>
                  <a:lnTo>
                    <a:pt x="2394" y="602"/>
                  </a:lnTo>
                  <a:lnTo>
                    <a:pt x="2388" y="600"/>
                  </a:lnTo>
                  <a:lnTo>
                    <a:pt x="2382" y="598"/>
                  </a:lnTo>
                  <a:lnTo>
                    <a:pt x="2382" y="604"/>
                  </a:lnTo>
                  <a:lnTo>
                    <a:pt x="2388" y="606"/>
                  </a:lnTo>
                  <a:lnTo>
                    <a:pt x="2386" y="610"/>
                  </a:lnTo>
                  <a:lnTo>
                    <a:pt x="2380" y="614"/>
                  </a:lnTo>
                  <a:lnTo>
                    <a:pt x="2374" y="616"/>
                  </a:lnTo>
                  <a:lnTo>
                    <a:pt x="2368" y="618"/>
                  </a:lnTo>
                  <a:lnTo>
                    <a:pt x="2362" y="620"/>
                  </a:lnTo>
                  <a:lnTo>
                    <a:pt x="2356" y="624"/>
                  </a:lnTo>
                  <a:lnTo>
                    <a:pt x="2350" y="624"/>
                  </a:lnTo>
                  <a:lnTo>
                    <a:pt x="2344" y="628"/>
                  </a:lnTo>
                  <a:lnTo>
                    <a:pt x="2338" y="634"/>
                  </a:lnTo>
                  <a:lnTo>
                    <a:pt x="2340" y="638"/>
                  </a:lnTo>
                  <a:lnTo>
                    <a:pt x="2334" y="640"/>
                  </a:lnTo>
                  <a:lnTo>
                    <a:pt x="2328" y="638"/>
                  </a:lnTo>
                  <a:lnTo>
                    <a:pt x="2328" y="644"/>
                  </a:lnTo>
                  <a:lnTo>
                    <a:pt x="2322" y="648"/>
                  </a:lnTo>
                  <a:lnTo>
                    <a:pt x="2320" y="652"/>
                  </a:lnTo>
                  <a:lnTo>
                    <a:pt x="2314" y="654"/>
                  </a:lnTo>
                  <a:lnTo>
                    <a:pt x="2308" y="660"/>
                  </a:lnTo>
                  <a:lnTo>
                    <a:pt x="2302" y="664"/>
                  </a:lnTo>
                  <a:lnTo>
                    <a:pt x="2296" y="666"/>
                  </a:lnTo>
                  <a:lnTo>
                    <a:pt x="2290" y="670"/>
                  </a:lnTo>
                  <a:lnTo>
                    <a:pt x="2284" y="676"/>
                  </a:lnTo>
                  <a:lnTo>
                    <a:pt x="2278" y="680"/>
                  </a:lnTo>
                  <a:lnTo>
                    <a:pt x="2272" y="686"/>
                  </a:lnTo>
                  <a:lnTo>
                    <a:pt x="2266" y="688"/>
                  </a:lnTo>
                  <a:lnTo>
                    <a:pt x="2260" y="686"/>
                  </a:lnTo>
                  <a:lnTo>
                    <a:pt x="2262" y="690"/>
                  </a:lnTo>
                  <a:lnTo>
                    <a:pt x="2256" y="690"/>
                  </a:lnTo>
                  <a:lnTo>
                    <a:pt x="2258" y="696"/>
                  </a:lnTo>
                  <a:lnTo>
                    <a:pt x="2254" y="702"/>
                  </a:lnTo>
                  <a:lnTo>
                    <a:pt x="2248" y="706"/>
                  </a:lnTo>
                  <a:lnTo>
                    <a:pt x="2242" y="712"/>
                  </a:lnTo>
                  <a:lnTo>
                    <a:pt x="2236" y="716"/>
                  </a:lnTo>
                  <a:lnTo>
                    <a:pt x="2230" y="720"/>
                  </a:lnTo>
                  <a:lnTo>
                    <a:pt x="2230" y="722"/>
                  </a:lnTo>
                  <a:lnTo>
                    <a:pt x="2224" y="728"/>
                  </a:lnTo>
                  <a:lnTo>
                    <a:pt x="2222" y="734"/>
                  </a:lnTo>
                  <a:lnTo>
                    <a:pt x="2216" y="740"/>
                  </a:lnTo>
                  <a:lnTo>
                    <a:pt x="2212" y="746"/>
                  </a:lnTo>
                  <a:lnTo>
                    <a:pt x="2208" y="752"/>
                  </a:lnTo>
                  <a:lnTo>
                    <a:pt x="2206" y="758"/>
                  </a:lnTo>
                  <a:lnTo>
                    <a:pt x="2204" y="764"/>
                  </a:lnTo>
                  <a:lnTo>
                    <a:pt x="2198" y="768"/>
                  </a:lnTo>
                  <a:lnTo>
                    <a:pt x="2192" y="774"/>
                  </a:lnTo>
                  <a:lnTo>
                    <a:pt x="2188" y="780"/>
                  </a:lnTo>
                  <a:lnTo>
                    <a:pt x="2182" y="780"/>
                  </a:lnTo>
                  <a:lnTo>
                    <a:pt x="2176" y="782"/>
                  </a:lnTo>
                  <a:lnTo>
                    <a:pt x="2182" y="784"/>
                  </a:lnTo>
                  <a:lnTo>
                    <a:pt x="2186" y="784"/>
                  </a:lnTo>
                  <a:lnTo>
                    <a:pt x="2182" y="790"/>
                  </a:lnTo>
                  <a:lnTo>
                    <a:pt x="2178" y="796"/>
                  </a:lnTo>
                  <a:lnTo>
                    <a:pt x="2182" y="792"/>
                  </a:lnTo>
                  <a:lnTo>
                    <a:pt x="2190" y="796"/>
                  </a:lnTo>
                  <a:lnTo>
                    <a:pt x="2192" y="802"/>
                  </a:lnTo>
                  <a:lnTo>
                    <a:pt x="2198" y="802"/>
                  </a:lnTo>
                  <a:lnTo>
                    <a:pt x="2194" y="806"/>
                  </a:lnTo>
                  <a:lnTo>
                    <a:pt x="2186" y="812"/>
                  </a:lnTo>
                  <a:lnTo>
                    <a:pt x="2182" y="818"/>
                  </a:lnTo>
                  <a:lnTo>
                    <a:pt x="2178" y="824"/>
                  </a:lnTo>
                  <a:lnTo>
                    <a:pt x="2172" y="830"/>
                  </a:lnTo>
                  <a:lnTo>
                    <a:pt x="2166" y="836"/>
                  </a:lnTo>
                  <a:lnTo>
                    <a:pt x="2172" y="832"/>
                  </a:lnTo>
                  <a:lnTo>
                    <a:pt x="2178" y="826"/>
                  </a:lnTo>
                  <a:lnTo>
                    <a:pt x="2182" y="822"/>
                  </a:lnTo>
                  <a:lnTo>
                    <a:pt x="2186" y="816"/>
                  </a:lnTo>
                  <a:lnTo>
                    <a:pt x="2192" y="810"/>
                  </a:lnTo>
                  <a:lnTo>
                    <a:pt x="2198" y="806"/>
                  </a:lnTo>
                  <a:lnTo>
                    <a:pt x="2204" y="800"/>
                  </a:lnTo>
                  <a:lnTo>
                    <a:pt x="2208" y="800"/>
                  </a:lnTo>
                  <a:lnTo>
                    <a:pt x="2214" y="800"/>
                  </a:lnTo>
                  <a:lnTo>
                    <a:pt x="2220" y="800"/>
                  </a:lnTo>
                  <a:lnTo>
                    <a:pt x="2226" y="798"/>
                  </a:lnTo>
                  <a:lnTo>
                    <a:pt x="2232" y="800"/>
                  </a:lnTo>
                  <a:lnTo>
                    <a:pt x="2238" y="804"/>
                  </a:lnTo>
                  <a:lnTo>
                    <a:pt x="2244" y="800"/>
                  </a:lnTo>
                  <a:lnTo>
                    <a:pt x="2250" y="804"/>
                  </a:lnTo>
                  <a:lnTo>
                    <a:pt x="2246" y="810"/>
                  </a:lnTo>
                  <a:lnTo>
                    <a:pt x="2242" y="816"/>
                  </a:lnTo>
                  <a:lnTo>
                    <a:pt x="2242" y="822"/>
                  </a:lnTo>
                  <a:lnTo>
                    <a:pt x="2240" y="828"/>
                  </a:lnTo>
                  <a:lnTo>
                    <a:pt x="2238" y="834"/>
                  </a:lnTo>
                  <a:lnTo>
                    <a:pt x="2238" y="840"/>
                  </a:lnTo>
                  <a:lnTo>
                    <a:pt x="2236" y="846"/>
                  </a:lnTo>
                  <a:lnTo>
                    <a:pt x="2232" y="852"/>
                  </a:lnTo>
                  <a:lnTo>
                    <a:pt x="2230" y="858"/>
                  </a:lnTo>
                  <a:lnTo>
                    <a:pt x="2228" y="864"/>
                  </a:lnTo>
                  <a:lnTo>
                    <a:pt x="2228" y="868"/>
                  </a:lnTo>
                  <a:lnTo>
                    <a:pt x="2228" y="876"/>
                  </a:lnTo>
                  <a:lnTo>
                    <a:pt x="2226" y="882"/>
                  </a:lnTo>
                  <a:lnTo>
                    <a:pt x="2224" y="886"/>
                  </a:lnTo>
                  <a:lnTo>
                    <a:pt x="2222" y="892"/>
                  </a:lnTo>
                  <a:lnTo>
                    <a:pt x="2216" y="898"/>
                  </a:lnTo>
                  <a:lnTo>
                    <a:pt x="2210" y="902"/>
                  </a:lnTo>
                  <a:lnTo>
                    <a:pt x="2204" y="908"/>
                  </a:lnTo>
                  <a:lnTo>
                    <a:pt x="2198" y="912"/>
                  </a:lnTo>
                  <a:lnTo>
                    <a:pt x="2192" y="916"/>
                  </a:lnTo>
                  <a:lnTo>
                    <a:pt x="2186" y="918"/>
                  </a:lnTo>
                  <a:lnTo>
                    <a:pt x="2180" y="920"/>
                  </a:lnTo>
                  <a:lnTo>
                    <a:pt x="2184" y="920"/>
                  </a:lnTo>
                  <a:lnTo>
                    <a:pt x="2190" y="918"/>
                  </a:lnTo>
                  <a:lnTo>
                    <a:pt x="2196" y="916"/>
                  </a:lnTo>
                  <a:lnTo>
                    <a:pt x="2202" y="912"/>
                  </a:lnTo>
                  <a:lnTo>
                    <a:pt x="2208" y="910"/>
                  </a:lnTo>
                  <a:lnTo>
                    <a:pt x="2214" y="910"/>
                  </a:lnTo>
                  <a:lnTo>
                    <a:pt x="2220" y="910"/>
                  </a:lnTo>
                  <a:lnTo>
                    <a:pt x="2214" y="912"/>
                  </a:lnTo>
                  <a:lnTo>
                    <a:pt x="2208" y="916"/>
                  </a:lnTo>
                  <a:lnTo>
                    <a:pt x="2202" y="918"/>
                  </a:lnTo>
                  <a:lnTo>
                    <a:pt x="2204" y="918"/>
                  </a:lnTo>
                  <a:lnTo>
                    <a:pt x="2210" y="916"/>
                  </a:lnTo>
                  <a:lnTo>
                    <a:pt x="2216" y="914"/>
                  </a:lnTo>
                  <a:lnTo>
                    <a:pt x="2222" y="912"/>
                  </a:lnTo>
                  <a:lnTo>
                    <a:pt x="2228" y="910"/>
                  </a:lnTo>
                  <a:lnTo>
                    <a:pt x="2234" y="910"/>
                  </a:lnTo>
                  <a:lnTo>
                    <a:pt x="2240" y="908"/>
                  </a:lnTo>
                  <a:lnTo>
                    <a:pt x="2246" y="906"/>
                  </a:lnTo>
                  <a:lnTo>
                    <a:pt x="2252" y="904"/>
                  </a:lnTo>
                  <a:lnTo>
                    <a:pt x="2258" y="904"/>
                  </a:lnTo>
                  <a:lnTo>
                    <a:pt x="2264" y="902"/>
                  </a:lnTo>
                  <a:lnTo>
                    <a:pt x="2270" y="900"/>
                  </a:lnTo>
                  <a:lnTo>
                    <a:pt x="2276" y="898"/>
                  </a:lnTo>
                  <a:lnTo>
                    <a:pt x="2282" y="898"/>
                  </a:lnTo>
                  <a:lnTo>
                    <a:pt x="2288" y="896"/>
                  </a:lnTo>
                  <a:lnTo>
                    <a:pt x="2294" y="896"/>
                  </a:lnTo>
                  <a:lnTo>
                    <a:pt x="2300" y="898"/>
                  </a:lnTo>
                  <a:lnTo>
                    <a:pt x="2306" y="898"/>
                  </a:lnTo>
                  <a:lnTo>
                    <a:pt x="2312" y="900"/>
                  </a:lnTo>
                  <a:lnTo>
                    <a:pt x="2318" y="904"/>
                  </a:lnTo>
                  <a:lnTo>
                    <a:pt x="2324" y="908"/>
                  </a:lnTo>
                  <a:lnTo>
                    <a:pt x="2330" y="912"/>
                  </a:lnTo>
                  <a:lnTo>
                    <a:pt x="2336" y="914"/>
                  </a:lnTo>
                  <a:lnTo>
                    <a:pt x="2342" y="916"/>
                  </a:lnTo>
                  <a:lnTo>
                    <a:pt x="2348" y="918"/>
                  </a:lnTo>
                  <a:lnTo>
                    <a:pt x="2354" y="918"/>
                  </a:lnTo>
                  <a:lnTo>
                    <a:pt x="2360" y="920"/>
                  </a:lnTo>
                  <a:lnTo>
                    <a:pt x="2366" y="922"/>
                  </a:lnTo>
                  <a:lnTo>
                    <a:pt x="2372" y="924"/>
                  </a:lnTo>
                  <a:lnTo>
                    <a:pt x="2380" y="922"/>
                  </a:lnTo>
                  <a:lnTo>
                    <a:pt x="2382" y="928"/>
                  </a:lnTo>
                  <a:lnTo>
                    <a:pt x="2386" y="934"/>
                  </a:lnTo>
                  <a:lnTo>
                    <a:pt x="2390" y="940"/>
                  </a:lnTo>
                  <a:lnTo>
                    <a:pt x="2396" y="946"/>
                  </a:lnTo>
                  <a:lnTo>
                    <a:pt x="2402" y="948"/>
                  </a:lnTo>
                  <a:lnTo>
                    <a:pt x="2406" y="954"/>
                  </a:lnTo>
                  <a:lnTo>
                    <a:pt x="2408" y="960"/>
                  </a:lnTo>
                  <a:lnTo>
                    <a:pt x="2410" y="966"/>
                  </a:lnTo>
                  <a:lnTo>
                    <a:pt x="2410" y="972"/>
                  </a:lnTo>
                  <a:lnTo>
                    <a:pt x="2406" y="978"/>
                  </a:lnTo>
                  <a:lnTo>
                    <a:pt x="2412" y="976"/>
                  </a:lnTo>
                  <a:lnTo>
                    <a:pt x="2414" y="976"/>
                  </a:lnTo>
                  <a:lnTo>
                    <a:pt x="2420" y="978"/>
                  </a:lnTo>
                  <a:lnTo>
                    <a:pt x="2426" y="982"/>
                  </a:lnTo>
                  <a:lnTo>
                    <a:pt x="2432" y="984"/>
                  </a:lnTo>
                  <a:lnTo>
                    <a:pt x="2438" y="984"/>
                  </a:lnTo>
                  <a:lnTo>
                    <a:pt x="2444" y="986"/>
                  </a:lnTo>
                  <a:lnTo>
                    <a:pt x="2448" y="988"/>
                  </a:lnTo>
                  <a:lnTo>
                    <a:pt x="2454" y="990"/>
                  </a:lnTo>
                  <a:lnTo>
                    <a:pt x="2462" y="994"/>
                  </a:lnTo>
                  <a:lnTo>
                    <a:pt x="2466" y="996"/>
                  </a:lnTo>
                  <a:lnTo>
                    <a:pt x="2474" y="998"/>
                  </a:lnTo>
                  <a:lnTo>
                    <a:pt x="2478" y="998"/>
                  </a:lnTo>
                  <a:lnTo>
                    <a:pt x="2484" y="1002"/>
                  </a:lnTo>
                  <a:lnTo>
                    <a:pt x="2490" y="1006"/>
                  </a:lnTo>
                  <a:lnTo>
                    <a:pt x="2492" y="1012"/>
                  </a:lnTo>
                  <a:lnTo>
                    <a:pt x="2498" y="1018"/>
                  </a:lnTo>
                  <a:lnTo>
                    <a:pt x="2504" y="1020"/>
                  </a:lnTo>
                  <a:lnTo>
                    <a:pt x="2500" y="1026"/>
                  </a:lnTo>
                  <a:lnTo>
                    <a:pt x="2492" y="1030"/>
                  </a:lnTo>
                  <a:lnTo>
                    <a:pt x="2486" y="1034"/>
                  </a:lnTo>
                  <a:lnTo>
                    <a:pt x="2482" y="1038"/>
                  </a:lnTo>
                  <a:lnTo>
                    <a:pt x="2476" y="1044"/>
                  </a:lnTo>
                  <a:lnTo>
                    <a:pt x="2478" y="1044"/>
                  </a:lnTo>
                  <a:lnTo>
                    <a:pt x="2484" y="1038"/>
                  </a:lnTo>
                  <a:lnTo>
                    <a:pt x="2490" y="1034"/>
                  </a:lnTo>
                  <a:lnTo>
                    <a:pt x="2496" y="1030"/>
                  </a:lnTo>
                  <a:lnTo>
                    <a:pt x="2500" y="1026"/>
                  </a:lnTo>
                  <a:lnTo>
                    <a:pt x="2508" y="1024"/>
                  </a:lnTo>
                  <a:lnTo>
                    <a:pt x="2512" y="1024"/>
                  </a:lnTo>
                  <a:lnTo>
                    <a:pt x="2520" y="1026"/>
                  </a:lnTo>
                  <a:lnTo>
                    <a:pt x="2524" y="1028"/>
                  </a:lnTo>
                  <a:lnTo>
                    <a:pt x="2530" y="1028"/>
                  </a:lnTo>
                  <a:lnTo>
                    <a:pt x="2538" y="1026"/>
                  </a:lnTo>
                  <a:lnTo>
                    <a:pt x="2542" y="1024"/>
                  </a:lnTo>
                  <a:lnTo>
                    <a:pt x="2550" y="1024"/>
                  </a:lnTo>
                  <a:lnTo>
                    <a:pt x="2554" y="1026"/>
                  </a:lnTo>
                  <a:lnTo>
                    <a:pt x="2562" y="1024"/>
                  </a:lnTo>
                  <a:lnTo>
                    <a:pt x="2568" y="1022"/>
                  </a:lnTo>
                  <a:lnTo>
                    <a:pt x="2572" y="1028"/>
                  </a:lnTo>
                  <a:lnTo>
                    <a:pt x="2578" y="1030"/>
                  </a:lnTo>
                  <a:lnTo>
                    <a:pt x="2576" y="1026"/>
                  </a:lnTo>
                  <a:lnTo>
                    <a:pt x="2582" y="1026"/>
                  </a:lnTo>
                  <a:lnTo>
                    <a:pt x="2588" y="1028"/>
                  </a:lnTo>
                  <a:lnTo>
                    <a:pt x="2594" y="1030"/>
                  </a:lnTo>
                  <a:lnTo>
                    <a:pt x="2600" y="1030"/>
                  </a:lnTo>
                  <a:lnTo>
                    <a:pt x="2606" y="1028"/>
                  </a:lnTo>
                  <a:lnTo>
                    <a:pt x="2612" y="1030"/>
                  </a:lnTo>
                  <a:lnTo>
                    <a:pt x="2606" y="1036"/>
                  </a:lnTo>
                  <a:lnTo>
                    <a:pt x="2612" y="1034"/>
                  </a:lnTo>
                  <a:lnTo>
                    <a:pt x="2618" y="1034"/>
                  </a:lnTo>
                  <a:lnTo>
                    <a:pt x="2624" y="1032"/>
                  </a:lnTo>
                  <a:lnTo>
                    <a:pt x="2630" y="1032"/>
                  </a:lnTo>
                  <a:lnTo>
                    <a:pt x="2636" y="1038"/>
                  </a:lnTo>
                  <a:lnTo>
                    <a:pt x="2642" y="1038"/>
                  </a:lnTo>
                  <a:lnTo>
                    <a:pt x="2638" y="1044"/>
                  </a:lnTo>
                  <a:lnTo>
                    <a:pt x="2636" y="1046"/>
                  </a:lnTo>
                  <a:lnTo>
                    <a:pt x="2636" y="1052"/>
                  </a:lnTo>
                  <a:lnTo>
                    <a:pt x="2630" y="1058"/>
                  </a:lnTo>
                  <a:lnTo>
                    <a:pt x="2626" y="1064"/>
                  </a:lnTo>
                  <a:lnTo>
                    <a:pt x="2620" y="1070"/>
                  </a:lnTo>
                  <a:lnTo>
                    <a:pt x="2614" y="1076"/>
                  </a:lnTo>
                  <a:lnTo>
                    <a:pt x="2608" y="1082"/>
                  </a:lnTo>
                  <a:lnTo>
                    <a:pt x="2602" y="1088"/>
                  </a:lnTo>
                  <a:lnTo>
                    <a:pt x="2600" y="1094"/>
                  </a:lnTo>
                  <a:lnTo>
                    <a:pt x="2598" y="1100"/>
                  </a:lnTo>
                  <a:lnTo>
                    <a:pt x="2602" y="1106"/>
                  </a:lnTo>
                  <a:lnTo>
                    <a:pt x="2600" y="1110"/>
                  </a:lnTo>
                  <a:lnTo>
                    <a:pt x="2600" y="1118"/>
                  </a:lnTo>
                  <a:lnTo>
                    <a:pt x="2596" y="1124"/>
                  </a:lnTo>
                  <a:lnTo>
                    <a:pt x="2592" y="1128"/>
                  </a:lnTo>
                  <a:lnTo>
                    <a:pt x="2586" y="1134"/>
                  </a:lnTo>
                  <a:lnTo>
                    <a:pt x="2582" y="1140"/>
                  </a:lnTo>
                  <a:lnTo>
                    <a:pt x="2582" y="1146"/>
                  </a:lnTo>
                  <a:lnTo>
                    <a:pt x="2580" y="1152"/>
                  </a:lnTo>
                  <a:lnTo>
                    <a:pt x="2576" y="1158"/>
                  </a:lnTo>
                  <a:lnTo>
                    <a:pt x="2568" y="1162"/>
                  </a:lnTo>
                  <a:lnTo>
                    <a:pt x="2566" y="1164"/>
                  </a:lnTo>
                  <a:lnTo>
                    <a:pt x="2560" y="1170"/>
                  </a:lnTo>
                  <a:lnTo>
                    <a:pt x="2558" y="1176"/>
                  </a:lnTo>
                  <a:lnTo>
                    <a:pt x="2556" y="1178"/>
                  </a:lnTo>
                  <a:lnTo>
                    <a:pt x="2558" y="1180"/>
                  </a:lnTo>
                  <a:lnTo>
                    <a:pt x="2566" y="1184"/>
                  </a:lnTo>
                  <a:lnTo>
                    <a:pt x="2566" y="1190"/>
                  </a:lnTo>
                  <a:lnTo>
                    <a:pt x="2566" y="1196"/>
                  </a:lnTo>
                  <a:lnTo>
                    <a:pt x="2572" y="1202"/>
                  </a:lnTo>
                  <a:lnTo>
                    <a:pt x="2574" y="1208"/>
                  </a:lnTo>
                  <a:lnTo>
                    <a:pt x="2574" y="1214"/>
                  </a:lnTo>
                  <a:lnTo>
                    <a:pt x="2574" y="1220"/>
                  </a:lnTo>
                  <a:lnTo>
                    <a:pt x="2568" y="1220"/>
                  </a:lnTo>
                  <a:lnTo>
                    <a:pt x="2562" y="1222"/>
                  </a:lnTo>
                  <a:lnTo>
                    <a:pt x="2556" y="1224"/>
                  </a:lnTo>
                  <a:lnTo>
                    <a:pt x="2554" y="1224"/>
                  </a:lnTo>
                  <a:lnTo>
                    <a:pt x="2550" y="1228"/>
                  </a:lnTo>
                  <a:lnTo>
                    <a:pt x="2556" y="1226"/>
                  </a:lnTo>
                  <a:lnTo>
                    <a:pt x="2562" y="1226"/>
                  </a:lnTo>
                  <a:lnTo>
                    <a:pt x="2568" y="1226"/>
                  </a:lnTo>
                  <a:lnTo>
                    <a:pt x="2572" y="1232"/>
                  </a:lnTo>
                  <a:lnTo>
                    <a:pt x="2578" y="1236"/>
                  </a:lnTo>
                  <a:lnTo>
                    <a:pt x="2584" y="1238"/>
                  </a:lnTo>
                  <a:lnTo>
                    <a:pt x="2590" y="1244"/>
                  </a:lnTo>
                  <a:lnTo>
                    <a:pt x="2594" y="1250"/>
                  </a:lnTo>
                  <a:lnTo>
                    <a:pt x="2598" y="1256"/>
                  </a:lnTo>
                  <a:lnTo>
                    <a:pt x="2600" y="1262"/>
                  </a:lnTo>
                  <a:lnTo>
                    <a:pt x="2598" y="1268"/>
                  </a:lnTo>
                  <a:lnTo>
                    <a:pt x="2598" y="1274"/>
                  </a:lnTo>
                  <a:lnTo>
                    <a:pt x="2598" y="1280"/>
                  </a:lnTo>
                  <a:lnTo>
                    <a:pt x="2592" y="1286"/>
                  </a:lnTo>
                  <a:lnTo>
                    <a:pt x="2586" y="1288"/>
                  </a:lnTo>
                  <a:lnTo>
                    <a:pt x="2582" y="1288"/>
                  </a:lnTo>
                  <a:lnTo>
                    <a:pt x="2576" y="1292"/>
                  </a:lnTo>
                  <a:lnTo>
                    <a:pt x="2570" y="1296"/>
                  </a:lnTo>
                  <a:lnTo>
                    <a:pt x="2568" y="1296"/>
                  </a:lnTo>
                  <a:lnTo>
                    <a:pt x="2562" y="1302"/>
                  </a:lnTo>
                  <a:lnTo>
                    <a:pt x="2556" y="1304"/>
                  </a:lnTo>
                  <a:lnTo>
                    <a:pt x="2554" y="1306"/>
                  </a:lnTo>
                  <a:lnTo>
                    <a:pt x="2560" y="1306"/>
                  </a:lnTo>
                  <a:lnTo>
                    <a:pt x="2566" y="1300"/>
                  </a:lnTo>
                  <a:lnTo>
                    <a:pt x="2572" y="1298"/>
                  </a:lnTo>
                  <a:lnTo>
                    <a:pt x="2576" y="1296"/>
                  </a:lnTo>
                  <a:lnTo>
                    <a:pt x="2584" y="1292"/>
                  </a:lnTo>
                  <a:lnTo>
                    <a:pt x="2588" y="1288"/>
                  </a:lnTo>
                  <a:lnTo>
                    <a:pt x="2596" y="1286"/>
                  </a:lnTo>
                  <a:lnTo>
                    <a:pt x="2602" y="1286"/>
                  </a:lnTo>
                  <a:lnTo>
                    <a:pt x="2608" y="1288"/>
                  </a:lnTo>
                  <a:lnTo>
                    <a:pt x="2614" y="1290"/>
                  </a:lnTo>
                  <a:lnTo>
                    <a:pt x="2616" y="1290"/>
                  </a:lnTo>
                  <a:lnTo>
                    <a:pt x="2620" y="1296"/>
                  </a:lnTo>
                  <a:lnTo>
                    <a:pt x="2624" y="1302"/>
                  </a:lnTo>
                  <a:lnTo>
                    <a:pt x="2626" y="1306"/>
                  </a:lnTo>
                  <a:lnTo>
                    <a:pt x="2630" y="1310"/>
                  </a:lnTo>
                  <a:lnTo>
                    <a:pt x="2630" y="1312"/>
                  </a:lnTo>
                  <a:lnTo>
                    <a:pt x="2632" y="1318"/>
                  </a:lnTo>
                  <a:lnTo>
                    <a:pt x="2632" y="1324"/>
                  </a:lnTo>
                  <a:lnTo>
                    <a:pt x="2632" y="1326"/>
                  </a:lnTo>
                  <a:lnTo>
                    <a:pt x="2634" y="1320"/>
                  </a:lnTo>
                  <a:lnTo>
                    <a:pt x="2632" y="1314"/>
                  </a:lnTo>
                  <a:lnTo>
                    <a:pt x="2630" y="1308"/>
                  </a:lnTo>
                  <a:lnTo>
                    <a:pt x="2624" y="1302"/>
                  </a:lnTo>
                  <a:lnTo>
                    <a:pt x="2626" y="1296"/>
                  </a:lnTo>
                  <a:lnTo>
                    <a:pt x="2630" y="1292"/>
                  </a:lnTo>
                  <a:lnTo>
                    <a:pt x="2634" y="1284"/>
                  </a:lnTo>
                  <a:lnTo>
                    <a:pt x="2640" y="1280"/>
                  </a:lnTo>
                  <a:lnTo>
                    <a:pt x="2646" y="1276"/>
                  </a:lnTo>
                  <a:lnTo>
                    <a:pt x="2648" y="1272"/>
                  </a:lnTo>
                  <a:lnTo>
                    <a:pt x="2656" y="1268"/>
                  </a:lnTo>
                  <a:lnTo>
                    <a:pt x="2660" y="1266"/>
                  </a:lnTo>
                  <a:lnTo>
                    <a:pt x="2666" y="1266"/>
                  </a:lnTo>
                  <a:lnTo>
                    <a:pt x="2664" y="1272"/>
                  </a:lnTo>
                  <a:lnTo>
                    <a:pt x="2668" y="1272"/>
                  </a:lnTo>
                  <a:lnTo>
                    <a:pt x="2674" y="1278"/>
                  </a:lnTo>
                  <a:lnTo>
                    <a:pt x="2674" y="1284"/>
                  </a:lnTo>
                  <a:lnTo>
                    <a:pt x="2670" y="1290"/>
                  </a:lnTo>
                  <a:lnTo>
                    <a:pt x="2672" y="1296"/>
                  </a:lnTo>
                  <a:lnTo>
                    <a:pt x="2674" y="1296"/>
                  </a:lnTo>
                  <a:lnTo>
                    <a:pt x="2672" y="1290"/>
                  </a:lnTo>
                  <a:lnTo>
                    <a:pt x="2678" y="1284"/>
                  </a:lnTo>
                  <a:lnTo>
                    <a:pt x="2680" y="1284"/>
                  </a:lnTo>
                  <a:lnTo>
                    <a:pt x="2682" y="1278"/>
                  </a:lnTo>
                  <a:lnTo>
                    <a:pt x="2690" y="1276"/>
                  </a:lnTo>
                  <a:lnTo>
                    <a:pt x="2692" y="1276"/>
                  </a:lnTo>
                  <a:lnTo>
                    <a:pt x="2686" y="1274"/>
                  </a:lnTo>
                  <a:lnTo>
                    <a:pt x="2690" y="1268"/>
                  </a:lnTo>
                  <a:lnTo>
                    <a:pt x="2686" y="1262"/>
                  </a:lnTo>
                  <a:lnTo>
                    <a:pt x="2684" y="1260"/>
                  </a:lnTo>
                  <a:lnTo>
                    <a:pt x="2690" y="1254"/>
                  </a:lnTo>
                  <a:lnTo>
                    <a:pt x="2696" y="1252"/>
                  </a:lnTo>
                  <a:lnTo>
                    <a:pt x="2696" y="1246"/>
                  </a:lnTo>
                  <a:lnTo>
                    <a:pt x="2702" y="1244"/>
                  </a:lnTo>
                  <a:lnTo>
                    <a:pt x="2708" y="1240"/>
                  </a:lnTo>
                  <a:lnTo>
                    <a:pt x="2714" y="1238"/>
                  </a:lnTo>
                  <a:lnTo>
                    <a:pt x="2720" y="1232"/>
                  </a:lnTo>
                  <a:lnTo>
                    <a:pt x="2724" y="1226"/>
                  </a:lnTo>
                  <a:lnTo>
                    <a:pt x="2732" y="1224"/>
                  </a:lnTo>
                  <a:lnTo>
                    <a:pt x="2728" y="1224"/>
                  </a:lnTo>
                  <a:lnTo>
                    <a:pt x="2732" y="1218"/>
                  </a:lnTo>
                  <a:lnTo>
                    <a:pt x="2734" y="1212"/>
                  </a:lnTo>
                  <a:lnTo>
                    <a:pt x="2734" y="1206"/>
                  </a:lnTo>
                  <a:lnTo>
                    <a:pt x="2728" y="1204"/>
                  </a:lnTo>
                  <a:lnTo>
                    <a:pt x="2732" y="1202"/>
                  </a:lnTo>
                  <a:lnTo>
                    <a:pt x="2732" y="1196"/>
                  </a:lnTo>
                  <a:lnTo>
                    <a:pt x="2730" y="1190"/>
                  </a:lnTo>
                  <a:lnTo>
                    <a:pt x="2736" y="1190"/>
                  </a:lnTo>
                  <a:lnTo>
                    <a:pt x="2740" y="1184"/>
                  </a:lnTo>
                  <a:lnTo>
                    <a:pt x="2734" y="1182"/>
                  </a:lnTo>
                  <a:lnTo>
                    <a:pt x="2736" y="1178"/>
                  </a:lnTo>
                  <a:lnTo>
                    <a:pt x="2738" y="1176"/>
                  </a:lnTo>
                  <a:lnTo>
                    <a:pt x="2732" y="1174"/>
                  </a:lnTo>
                  <a:lnTo>
                    <a:pt x="2736" y="1168"/>
                  </a:lnTo>
                  <a:lnTo>
                    <a:pt x="2740" y="1162"/>
                  </a:lnTo>
                  <a:lnTo>
                    <a:pt x="2742" y="1156"/>
                  </a:lnTo>
                  <a:lnTo>
                    <a:pt x="2746" y="1150"/>
                  </a:lnTo>
                  <a:lnTo>
                    <a:pt x="2744" y="1144"/>
                  </a:lnTo>
                  <a:lnTo>
                    <a:pt x="2750" y="1142"/>
                  </a:lnTo>
                  <a:lnTo>
                    <a:pt x="2754" y="1136"/>
                  </a:lnTo>
                  <a:lnTo>
                    <a:pt x="2748" y="1136"/>
                  </a:lnTo>
                  <a:lnTo>
                    <a:pt x="2754" y="1130"/>
                  </a:lnTo>
                  <a:lnTo>
                    <a:pt x="2748" y="1128"/>
                  </a:lnTo>
                  <a:lnTo>
                    <a:pt x="2754" y="1126"/>
                  </a:lnTo>
                  <a:lnTo>
                    <a:pt x="2758" y="1120"/>
                  </a:lnTo>
                  <a:lnTo>
                    <a:pt x="2764" y="1122"/>
                  </a:lnTo>
                  <a:lnTo>
                    <a:pt x="2758" y="1118"/>
                  </a:lnTo>
                  <a:lnTo>
                    <a:pt x="2760" y="1112"/>
                  </a:lnTo>
                  <a:lnTo>
                    <a:pt x="2766" y="1108"/>
                  </a:lnTo>
                  <a:lnTo>
                    <a:pt x="2760" y="1104"/>
                  </a:lnTo>
                  <a:lnTo>
                    <a:pt x="2766" y="1100"/>
                  </a:lnTo>
                  <a:lnTo>
                    <a:pt x="2760" y="1098"/>
                  </a:lnTo>
                  <a:lnTo>
                    <a:pt x="2754" y="1096"/>
                  </a:lnTo>
                  <a:lnTo>
                    <a:pt x="2760" y="1094"/>
                  </a:lnTo>
                  <a:lnTo>
                    <a:pt x="2754" y="1090"/>
                  </a:lnTo>
                  <a:lnTo>
                    <a:pt x="2756" y="1084"/>
                  </a:lnTo>
                  <a:lnTo>
                    <a:pt x="2758" y="1078"/>
                  </a:lnTo>
                  <a:lnTo>
                    <a:pt x="2760" y="1072"/>
                  </a:lnTo>
                  <a:lnTo>
                    <a:pt x="2754" y="1068"/>
                  </a:lnTo>
                  <a:lnTo>
                    <a:pt x="2760" y="1062"/>
                  </a:lnTo>
                  <a:lnTo>
                    <a:pt x="2766" y="1060"/>
                  </a:lnTo>
                  <a:lnTo>
                    <a:pt x="2772" y="1060"/>
                  </a:lnTo>
                  <a:lnTo>
                    <a:pt x="2778" y="1058"/>
                  </a:lnTo>
                  <a:lnTo>
                    <a:pt x="2784" y="1056"/>
                  </a:lnTo>
                  <a:lnTo>
                    <a:pt x="2792" y="1056"/>
                  </a:lnTo>
                  <a:lnTo>
                    <a:pt x="2796" y="1054"/>
                  </a:lnTo>
                  <a:lnTo>
                    <a:pt x="2802" y="1052"/>
                  </a:lnTo>
                  <a:lnTo>
                    <a:pt x="2808" y="1048"/>
                  </a:lnTo>
                  <a:lnTo>
                    <a:pt x="2814" y="1048"/>
                  </a:lnTo>
                  <a:lnTo>
                    <a:pt x="2822" y="1046"/>
                  </a:lnTo>
                  <a:lnTo>
                    <a:pt x="2826" y="1044"/>
                  </a:lnTo>
                  <a:lnTo>
                    <a:pt x="2828" y="1044"/>
                  </a:lnTo>
                  <a:lnTo>
                    <a:pt x="2834" y="1042"/>
                  </a:lnTo>
                  <a:lnTo>
                    <a:pt x="2840" y="1040"/>
                  </a:lnTo>
                  <a:lnTo>
                    <a:pt x="2846" y="1038"/>
                  </a:lnTo>
                  <a:lnTo>
                    <a:pt x="2852" y="1034"/>
                  </a:lnTo>
                  <a:lnTo>
                    <a:pt x="2858" y="1032"/>
                  </a:lnTo>
                  <a:lnTo>
                    <a:pt x="2864" y="1030"/>
                  </a:lnTo>
                  <a:lnTo>
                    <a:pt x="2870" y="1028"/>
                  </a:lnTo>
                  <a:lnTo>
                    <a:pt x="2876" y="1026"/>
                  </a:lnTo>
                  <a:lnTo>
                    <a:pt x="2882" y="1022"/>
                  </a:lnTo>
                  <a:lnTo>
                    <a:pt x="2888" y="1018"/>
                  </a:lnTo>
                  <a:lnTo>
                    <a:pt x="2894" y="1016"/>
                  </a:lnTo>
                  <a:lnTo>
                    <a:pt x="2900" y="1012"/>
                  </a:lnTo>
                  <a:lnTo>
                    <a:pt x="2906" y="1010"/>
                  </a:lnTo>
                  <a:lnTo>
                    <a:pt x="2912" y="1008"/>
                  </a:lnTo>
                  <a:lnTo>
                    <a:pt x="2918" y="1004"/>
                  </a:lnTo>
                  <a:lnTo>
                    <a:pt x="2924" y="1000"/>
                  </a:lnTo>
                  <a:lnTo>
                    <a:pt x="2930" y="994"/>
                  </a:lnTo>
                  <a:lnTo>
                    <a:pt x="2936" y="992"/>
                  </a:lnTo>
                  <a:lnTo>
                    <a:pt x="2942" y="988"/>
                  </a:lnTo>
                  <a:lnTo>
                    <a:pt x="2948" y="984"/>
                  </a:lnTo>
                  <a:lnTo>
                    <a:pt x="2954" y="980"/>
                  </a:lnTo>
                  <a:lnTo>
                    <a:pt x="2960" y="976"/>
                  </a:lnTo>
                  <a:lnTo>
                    <a:pt x="2966" y="972"/>
                  </a:lnTo>
                  <a:lnTo>
                    <a:pt x="2970" y="966"/>
                  </a:lnTo>
                  <a:lnTo>
                    <a:pt x="2976" y="960"/>
                  </a:lnTo>
                  <a:lnTo>
                    <a:pt x="2980" y="954"/>
                  </a:lnTo>
                  <a:lnTo>
                    <a:pt x="2984" y="948"/>
                  </a:lnTo>
                  <a:lnTo>
                    <a:pt x="2988" y="942"/>
                  </a:lnTo>
                  <a:lnTo>
                    <a:pt x="2992" y="936"/>
                  </a:lnTo>
                  <a:lnTo>
                    <a:pt x="2996" y="930"/>
                  </a:lnTo>
                  <a:lnTo>
                    <a:pt x="3000" y="924"/>
                  </a:lnTo>
                  <a:lnTo>
                    <a:pt x="3002" y="918"/>
                  </a:lnTo>
                  <a:lnTo>
                    <a:pt x="3004" y="912"/>
                  </a:lnTo>
                  <a:lnTo>
                    <a:pt x="3008" y="908"/>
                  </a:lnTo>
                  <a:lnTo>
                    <a:pt x="3012" y="900"/>
                  </a:lnTo>
                  <a:lnTo>
                    <a:pt x="3012" y="894"/>
                  </a:lnTo>
                  <a:lnTo>
                    <a:pt x="3014" y="890"/>
                  </a:lnTo>
                  <a:lnTo>
                    <a:pt x="3014" y="884"/>
                  </a:lnTo>
                  <a:lnTo>
                    <a:pt x="3016" y="878"/>
                  </a:lnTo>
                  <a:lnTo>
                    <a:pt x="3016" y="872"/>
                  </a:lnTo>
                  <a:lnTo>
                    <a:pt x="3016" y="866"/>
                  </a:lnTo>
                  <a:lnTo>
                    <a:pt x="3016" y="860"/>
                  </a:lnTo>
                  <a:lnTo>
                    <a:pt x="3014" y="854"/>
                  </a:lnTo>
                  <a:lnTo>
                    <a:pt x="3014" y="848"/>
                  </a:lnTo>
                  <a:lnTo>
                    <a:pt x="3008" y="844"/>
                  </a:lnTo>
                  <a:lnTo>
                    <a:pt x="3006" y="836"/>
                  </a:lnTo>
                  <a:lnTo>
                    <a:pt x="3000" y="830"/>
                  </a:lnTo>
                  <a:lnTo>
                    <a:pt x="2994" y="828"/>
                  </a:lnTo>
                  <a:lnTo>
                    <a:pt x="2988" y="826"/>
                  </a:lnTo>
                  <a:lnTo>
                    <a:pt x="2986" y="820"/>
                  </a:lnTo>
                  <a:lnTo>
                    <a:pt x="2984" y="820"/>
                  </a:lnTo>
                  <a:lnTo>
                    <a:pt x="2978" y="816"/>
                  </a:lnTo>
                  <a:lnTo>
                    <a:pt x="2978" y="810"/>
                  </a:lnTo>
                  <a:lnTo>
                    <a:pt x="2970" y="810"/>
                  </a:lnTo>
                  <a:lnTo>
                    <a:pt x="2976" y="804"/>
                  </a:lnTo>
                  <a:lnTo>
                    <a:pt x="2978" y="798"/>
                  </a:lnTo>
                  <a:lnTo>
                    <a:pt x="2980" y="792"/>
                  </a:lnTo>
                  <a:lnTo>
                    <a:pt x="2986" y="790"/>
                  </a:lnTo>
                  <a:lnTo>
                    <a:pt x="2992" y="788"/>
                  </a:lnTo>
                  <a:lnTo>
                    <a:pt x="2998" y="786"/>
                  </a:lnTo>
                  <a:lnTo>
                    <a:pt x="3004" y="780"/>
                  </a:lnTo>
                  <a:lnTo>
                    <a:pt x="3008" y="778"/>
                  </a:lnTo>
                  <a:lnTo>
                    <a:pt x="3014" y="772"/>
                  </a:lnTo>
                  <a:lnTo>
                    <a:pt x="3020" y="770"/>
                  </a:lnTo>
                  <a:lnTo>
                    <a:pt x="3026" y="768"/>
                  </a:lnTo>
                  <a:lnTo>
                    <a:pt x="3032" y="764"/>
                  </a:lnTo>
                  <a:lnTo>
                    <a:pt x="3034" y="762"/>
                  </a:lnTo>
                  <a:lnTo>
                    <a:pt x="3040" y="760"/>
                  </a:lnTo>
                  <a:lnTo>
                    <a:pt x="3034" y="758"/>
                  </a:lnTo>
                  <a:lnTo>
                    <a:pt x="3038" y="752"/>
                  </a:lnTo>
                  <a:lnTo>
                    <a:pt x="3044" y="750"/>
                  </a:lnTo>
                  <a:lnTo>
                    <a:pt x="3050" y="746"/>
                  </a:lnTo>
                  <a:lnTo>
                    <a:pt x="3050" y="740"/>
                  </a:lnTo>
                  <a:lnTo>
                    <a:pt x="3056" y="742"/>
                  </a:lnTo>
                  <a:lnTo>
                    <a:pt x="3062" y="744"/>
                  </a:lnTo>
                  <a:lnTo>
                    <a:pt x="3062" y="738"/>
                  </a:lnTo>
                  <a:lnTo>
                    <a:pt x="3068" y="736"/>
                  </a:lnTo>
                  <a:lnTo>
                    <a:pt x="3076" y="734"/>
                  </a:lnTo>
                  <a:lnTo>
                    <a:pt x="3078" y="730"/>
                  </a:lnTo>
                  <a:lnTo>
                    <a:pt x="3084" y="724"/>
                  </a:lnTo>
                  <a:lnTo>
                    <a:pt x="3088" y="720"/>
                  </a:lnTo>
                  <a:lnTo>
                    <a:pt x="3082" y="718"/>
                  </a:lnTo>
                  <a:lnTo>
                    <a:pt x="3076" y="718"/>
                  </a:lnTo>
                  <a:lnTo>
                    <a:pt x="3082" y="712"/>
                  </a:lnTo>
                  <a:lnTo>
                    <a:pt x="3084" y="708"/>
                  </a:lnTo>
                  <a:lnTo>
                    <a:pt x="3084" y="702"/>
                  </a:lnTo>
                  <a:lnTo>
                    <a:pt x="3080" y="696"/>
                  </a:lnTo>
                  <a:lnTo>
                    <a:pt x="3086" y="692"/>
                  </a:lnTo>
                  <a:lnTo>
                    <a:pt x="3092" y="690"/>
                  </a:lnTo>
                  <a:lnTo>
                    <a:pt x="3098" y="686"/>
                  </a:lnTo>
                  <a:lnTo>
                    <a:pt x="3092" y="686"/>
                  </a:lnTo>
                  <a:lnTo>
                    <a:pt x="3086" y="684"/>
                  </a:lnTo>
                  <a:lnTo>
                    <a:pt x="3092" y="678"/>
                  </a:lnTo>
                  <a:lnTo>
                    <a:pt x="3096" y="674"/>
                  </a:lnTo>
                  <a:lnTo>
                    <a:pt x="3104" y="670"/>
                  </a:lnTo>
                  <a:lnTo>
                    <a:pt x="3096" y="670"/>
                  </a:lnTo>
                  <a:lnTo>
                    <a:pt x="3092" y="672"/>
                  </a:lnTo>
                  <a:lnTo>
                    <a:pt x="3084" y="672"/>
                  </a:lnTo>
                  <a:lnTo>
                    <a:pt x="3090" y="670"/>
                  </a:lnTo>
                  <a:lnTo>
                    <a:pt x="3084" y="670"/>
                  </a:lnTo>
                  <a:lnTo>
                    <a:pt x="3078" y="670"/>
                  </a:lnTo>
                  <a:lnTo>
                    <a:pt x="3082" y="664"/>
                  </a:lnTo>
                  <a:lnTo>
                    <a:pt x="3088" y="662"/>
                  </a:lnTo>
                  <a:lnTo>
                    <a:pt x="3094" y="658"/>
                  </a:lnTo>
                  <a:lnTo>
                    <a:pt x="3100" y="654"/>
                  </a:lnTo>
                  <a:lnTo>
                    <a:pt x="3106" y="650"/>
                  </a:lnTo>
                  <a:lnTo>
                    <a:pt x="3112" y="646"/>
                  </a:lnTo>
                  <a:lnTo>
                    <a:pt x="3116" y="640"/>
                  </a:lnTo>
                  <a:lnTo>
                    <a:pt x="3120" y="634"/>
                  </a:lnTo>
                  <a:lnTo>
                    <a:pt x="3126" y="630"/>
                  </a:lnTo>
                  <a:lnTo>
                    <a:pt x="3132" y="628"/>
                  </a:lnTo>
                  <a:lnTo>
                    <a:pt x="3132" y="624"/>
                  </a:lnTo>
                  <a:lnTo>
                    <a:pt x="3140" y="624"/>
                  </a:lnTo>
                  <a:lnTo>
                    <a:pt x="3134" y="620"/>
                  </a:lnTo>
                  <a:lnTo>
                    <a:pt x="3130" y="614"/>
                  </a:lnTo>
                  <a:lnTo>
                    <a:pt x="3126" y="614"/>
                  </a:lnTo>
                  <a:lnTo>
                    <a:pt x="3124" y="610"/>
                  </a:lnTo>
                  <a:lnTo>
                    <a:pt x="3124" y="602"/>
                  </a:lnTo>
                  <a:lnTo>
                    <a:pt x="3128" y="596"/>
                  </a:lnTo>
                  <a:lnTo>
                    <a:pt x="3130" y="590"/>
                  </a:lnTo>
                  <a:lnTo>
                    <a:pt x="3132" y="584"/>
                  </a:lnTo>
                  <a:lnTo>
                    <a:pt x="3138" y="578"/>
                  </a:lnTo>
                  <a:lnTo>
                    <a:pt x="3144" y="574"/>
                  </a:lnTo>
                  <a:lnTo>
                    <a:pt x="3150" y="572"/>
                  </a:lnTo>
                  <a:lnTo>
                    <a:pt x="3156" y="570"/>
                  </a:lnTo>
                  <a:lnTo>
                    <a:pt x="3162" y="568"/>
                  </a:lnTo>
                  <a:lnTo>
                    <a:pt x="3168" y="566"/>
                  </a:lnTo>
                  <a:lnTo>
                    <a:pt x="3172" y="562"/>
                  </a:lnTo>
                  <a:lnTo>
                    <a:pt x="3180" y="560"/>
                  </a:lnTo>
                  <a:lnTo>
                    <a:pt x="3186" y="558"/>
                  </a:lnTo>
                  <a:lnTo>
                    <a:pt x="3192" y="560"/>
                  </a:lnTo>
                  <a:lnTo>
                    <a:pt x="3198" y="562"/>
                  </a:lnTo>
                  <a:lnTo>
                    <a:pt x="3204" y="562"/>
                  </a:lnTo>
                  <a:lnTo>
                    <a:pt x="3210" y="564"/>
                  </a:lnTo>
                  <a:lnTo>
                    <a:pt x="3216" y="564"/>
                  </a:lnTo>
                  <a:lnTo>
                    <a:pt x="3222" y="566"/>
                  </a:lnTo>
                  <a:lnTo>
                    <a:pt x="3228" y="568"/>
                  </a:lnTo>
                  <a:lnTo>
                    <a:pt x="3232" y="570"/>
                  </a:lnTo>
                  <a:lnTo>
                    <a:pt x="3240" y="574"/>
                  </a:lnTo>
                  <a:lnTo>
                    <a:pt x="3244" y="574"/>
                  </a:lnTo>
                  <a:lnTo>
                    <a:pt x="3252" y="576"/>
                  </a:lnTo>
                  <a:lnTo>
                    <a:pt x="3258" y="576"/>
                  </a:lnTo>
                  <a:lnTo>
                    <a:pt x="3252" y="580"/>
                  </a:lnTo>
                  <a:lnTo>
                    <a:pt x="3246" y="584"/>
                  </a:lnTo>
                  <a:lnTo>
                    <a:pt x="3244" y="586"/>
                  </a:lnTo>
                  <a:lnTo>
                    <a:pt x="3250" y="584"/>
                  </a:lnTo>
                  <a:lnTo>
                    <a:pt x="3256" y="582"/>
                  </a:lnTo>
                  <a:lnTo>
                    <a:pt x="3262" y="578"/>
                  </a:lnTo>
                  <a:lnTo>
                    <a:pt x="3268" y="576"/>
                  </a:lnTo>
                  <a:lnTo>
                    <a:pt x="3274" y="576"/>
                  </a:lnTo>
                  <a:lnTo>
                    <a:pt x="3280" y="576"/>
                  </a:lnTo>
                  <a:lnTo>
                    <a:pt x="3286" y="578"/>
                  </a:lnTo>
                  <a:lnTo>
                    <a:pt x="3288" y="580"/>
                  </a:lnTo>
                  <a:lnTo>
                    <a:pt x="3294" y="584"/>
                  </a:lnTo>
                  <a:lnTo>
                    <a:pt x="3300" y="590"/>
                  </a:lnTo>
                  <a:lnTo>
                    <a:pt x="3296" y="582"/>
                  </a:lnTo>
                  <a:lnTo>
                    <a:pt x="3302" y="580"/>
                  </a:lnTo>
                  <a:lnTo>
                    <a:pt x="3308" y="580"/>
                  </a:lnTo>
                  <a:lnTo>
                    <a:pt x="3314" y="580"/>
                  </a:lnTo>
                  <a:lnTo>
                    <a:pt x="3320" y="578"/>
                  </a:lnTo>
                  <a:lnTo>
                    <a:pt x="3326" y="576"/>
                  </a:lnTo>
                  <a:lnTo>
                    <a:pt x="3332" y="574"/>
                  </a:lnTo>
                  <a:lnTo>
                    <a:pt x="3338" y="574"/>
                  </a:lnTo>
                  <a:lnTo>
                    <a:pt x="3344" y="570"/>
                  </a:lnTo>
                  <a:lnTo>
                    <a:pt x="3350" y="566"/>
                  </a:lnTo>
                  <a:lnTo>
                    <a:pt x="3356" y="566"/>
                  </a:lnTo>
                  <a:lnTo>
                    <a:pt x="3360" y="572"/>
                  </a:lnTo>
                  <a:lnTo>
                    <a:pt x="3366" y="572"/>
                  </a:lnTo>
                  <a:lnTo>
                    <a:pt x="3372" y="576"/>
                  </a:lnTo>
                  <a:lnTo>
                    <a:pt x="3376" y="580"/>
                  </a:lnTo>
                  <a:lnTo>
                    <a:pt x="3380" y="586"/>
                  </a:lnTo>
                  <a:lnTo>
                    <a:pt x="3386" y="590"/>
                  </a:lnTo>
                  <a:lnTo>
                    <a:pt x="3394" y="588"/>
                  </a:lnTo>
                  <a:lnTo>
                    <a:pt x="3392" y="594"/>
                  </a:lnTo>
                  <a:lnTo>
                    <a:pt x="3386" y="598"/>
                  </a:lnTo>
                  <a:lnTo>
                    <a:pt x="3380" y="604"/>
                  </a:lnTo>
                  <a:lnTo>
                    <a:pt x="3376" y="606"/>
                  </a:lnTo>
                  <a:lnTo>
                    <a:pt x="3382" y="604"/>
                  </a:lnTo>
                  <a:lnTo>
                    <a:pt x="3388" y="600"/>
                  </a:lnTo>
                  <a:lnTo>
                    <a:pt x="3394" y="600"/>
                  </a:lnTo>
                  <a:lnTo>
                    <a:pt x="3400" y="602"/>
                  </a:lnTo>
                  <a:lnTo>
                    <a:pt x="3406" y="604"/>
                  </a:lnTo>
                  <a:lnTo>
                    <a:pt x="3402" y="610"/>
                  </a:lnTo>
                  <a:lnTo>
                    <a:pt x="3406" y="612"/>
                  </a:lnTo>
                  <a:lnTo>
                    <a:pt x="3406" y="618"/>
                  </a:lnTo>
                  <a:lnTo>
                    <a:pt x="3400" y="620"/>
                  </a:lnTo>
                  <a:lnTo>
                    <a:pt x="3394" y="620"/>
                  </a:lnTo>
                  <a:lnTo>
                    <a:pt x="3400" y="622"/>
                  </a:lnTo>
                  <a:lnTo>
                    <a:pt x="3406" y="620"/>
                  </a:lnTo>
                  <a:lnTo>
                    <a:pt x="3410" y="614"/>
                  </a:lnTo>
                  <a:lnTo>
                    <a:pt x="3416" y="614"/>
                  </a:lnTo>
                  <a:lnTo>
                    <a:pt x="3422" y="616"/>
                  </a:lnTo>
                  <a:lnTo>
                    <a:pt x="3426" y="622"/>
                  </a:lnTo>
                  <a:lnTo>
                    <a:pt x="3420" y="624"/>
                  </a:lnTo>
                  <a:lnTo>
                    <a:pt x="3414" y="624"/>
                  </a:lnTo>
                  <a:lnTo>
                    <a:pt x="3410" y="628"/>
                  </a:lnTo>
                  <a:lnTo>
                    <a:pt x="3406" y="630"/>
                  </a:lnTo>
                  <a:lnTo>
                    <a:pt x="3412" y="632"/>
                  </a:lnTo>
                  <a:lnTo>
                    <a:pt x="3418" y="632"/>
                  </a:lnTo>
                  <a:lnTo>
                    <a:pt x="3412" y="636"/>
                  </a:lnTo>
                  <a:lnTo>
                    <a:pt x="3406" y="634"/>
                  </a:lnTo>
                  <a:lnTo>
                    <a:pt x="3406" y="640"/>
                  </a:lnTo>
                  <a:lnTo>
                    <a:pt x="3410" y="646"/>
                  </a:lnTo>
                  <a:lnTo>
                    <a:pt x="3416" y="644"/>
                  </a:lnTo>
                  <a:lnTo>
                    <a:pt x="3416" y="650"/>
                  </a:lnTo>
                  <a:lnTo>
                    <a:pt x="3422" y="648"/>
                  </a:lnTo>
                  <a:lnTo>
                    <a:pt x="3428" y="650"/>
                  </a:lnTo>
                  <a:lnTo>
                    <a:pt x="3434" y="650"/>
                  </a:lnTo>
                  <a:lnTo>
                    <a:pt x="3440" y="654"/>
                  </a:lnTo>
                  <a:lnTo>
                    <a:pt x="3442" y="654"/>
                  </a:lnTo>
                  <a:lnTo>
                    <a:pt x="3448" y="654"/>
                  </a:lnTo>
                  <a:lnTo>
                    <a:pt x="3454" y="658"/>
                  </a:lnTo>
                  <a:lnTo>
                    <a:pt x="3460" y="656"/>
                  </a:lnTo>
                  <a:lnTo>
                    <a:pt x="3466" y="652"/>
                  </a:lnTo>
                  <a:lnTo>
                    <a:pt x="3470" y="654"/>
                  </a:lnTo>
                  <a:lnTo>
                    <a:pt x="3472" y="660"/>
                  </a:lnTo>
                  <a:lnTo>
                    <a:pt x="3468" y="666"/>
                  </a:lnTo>
                  <a:lnTo>
                    <a:pt x="3474" y="668"/>
                  </a:lnTo>
                  <a:lnTo>
                    <a:pt x="3480" y="668"/>
                  </a:lnTo>
                  <a:lnTo>
                    <a:pt x="3486" y="664"/>
                  </a:lnTo>
                  <a:lnTo>
                    <a:pt x="3490" y="666"/>
                  </a:lnTo>
                  <a:lnTo>
                    <a:pt x="3492" y="660"/>
                  </a:lnTo>
                  <a:lnTo>
                    <a:pt x="3500" y="654"/>
                  </a:lnTo>
                  <a:lnTo>
                    <a:pt x="3504" y="660"/>
                  </a:lnTo>
                  <a:lnTo>
                    <a:pt x="3504" y="666"/>
                  </a:lnTo>
                  <a:lnTo>
                    <a:pt x="3500" y="672"/>
                  </a:lnTo>
                  <a:lnTo>
                    <a:pt x="3494" y="674"/>
                  </a:lnTo>
                  <a:lnTo>
                    <a:pt x="3488" y="674"/>
                  </a:lnTo>
                  <a:lnTo>
                    <a:pt x="3482" y="678"/>
                  </a:lnTo>
                  <a:lnTo>
                    <a:pt x="3478" y="684"/>
                  </a:lnTo>
                  <a:lnTo>
                    <a:pt x="3472" y="688"/>
                  </a:lnTo>
                  <a:lnTo>
                    <a:pt x="3470" y="694"/>
                  </a:lnTo>
                  <a:lnTo>
                    <a:pt x="3468" y="700"/>
                  </a:lnTo>
                  <a:lnTo>
                    <a:pt x="3468" y="704"/>
                  </a:lnTo>
                  <a:lnTo>
                    <a:pt x="3468" y="712"/>
                  </a:lnTo>
                  <a:lnTo>
                    <a:pt x="3462" y="716"/>
                  </a:lnTo>
                  <a:lnTo>
                    <a:pt x="3456" y="718"/>
                  </a:lnTo>
                  <a:lnTo>
                    <a:pt x="3450" y="718"/>
                  </a:lnTo>
                  <a:lnTo>
                    <a:pt x="3452" y="720"/>
                  </a:lnTo>
                  <a:lnTo>
                    <a:pt x="3448" y="720"/>
                  </a:lnTo>
                  <a:lnTo>
                    <a:pt x="3442" y="720"/>
                  </a:lnTo>
                  <a:lnTo>
                    <a:pt x="3436" y="720"/>
                  </a:lnTo>
                  <a:lnTo>
                    <a:pt x="3430" y="720"/>
                  </a:lnTo>
                  <a:lnTo>
                    <a:pt x="3424" y="720"/>
                  </a:lnTo>
                  <a:lnTo>
                    <a:pt x="3420" y="720"/>
                  </a:lnTo>
                  <a:lnTo>
                    <a:pt x="3414" y="722"/>
                  </a:lnTo>
                  <a:lnTo>
                    <a:pt x="3412" y="720"/>
                  </a:lnTo>
                  <a:lnTo>
                    <a:pt x="3406" y="720"/>
                  </a:lnTo>
                  <a:lnTo>
                    <a:pt x="3400" y="718"/>
                  </a:lnTo>
                  <a:lnTo>
                    <a:pt x="3394" y="716"/>
                  </a:lnTo>
                  <a:lnTo>
                    <a:pt x="3394" y="718"/>
                  </a:lnTo>
                  <a:lnTo>
                    <a:pt x="3400" y="718"/>
                  </a:lnTo>
                  <a:lnTo>
                    <a:pt x="3406" y="720"/>
                  </a:lnTo>
                  <a:lnTo>
                    <a:pt x="3414" y="724"/>
                  </a:lnTo>
                  <a:lnTo>
                    <a:pt x="3420" y="722"/>
                  </a:lnTo>
                  <a:lnTo>
                    <a:pt x="3426" y="722"/>
                  </a:lnTo>
                  <a:lnTo>
                    <a:pt x="3432" y="724"/>
                  </a:lnTo>
                  <a:lnTo>
                    <a:pt x="3438" y="724"/>
                  </a:lnTo>
                  <a:lnTo>
                    <a:pt x="3440" y="724"/>
                  </a:lnTo>
                  <a:lnTo>
                    <a:pt x="3446" y="724"/>
                  </a:lnTo>
                  <a:lnTo>
                    <a:pt x="3452" y="724"/>
                  </a:lnTo>
                  <a:lnTo>
                    <a:pt x="3454" y="730"/>
                  </a:lnTo>
                  <a:lnTo>
                    <a:pt x="3452" y="734"/>
                  </a:lnTo>
                  <a:lnTo>
                    <a:pt x="3448" y="740"/>
                  </a:lnTo>
                  <a:lnTo>
                    <a:pt x="3448" y="746"/>
                  </a:lnTo>
                  <a:lnTo>
                    <a:pt x="3442" y="748"/>
                  </a:lnTo>
                  <a:lnTo>
                    <a:pt x="3436" y="752"/>
                  </a:lnTo>
                  <a:lnTo>
                    <a:pt x="3438" y="758"/>
                  </a:lnTo>
                  <a:lnTo>
                    <a:pt x="3432" y="762"/>
                  </a:lnTo>
                  <a:lnTo>
                    <a:pt x="3438" y="764"/>
                  </a:lnTo>
                  <a:lnTo>
                    <a:pt x="3444" y="762"/>
                  </a:lnTo>
                  <a:lnTo>
                    <a:pt x="3450" y="764"/>
                  </a:lnTo>
                  <a:lnTo>
                    <a:pt x="3450" y="770"/>
                  </a:lnTo>
                  <a:lnTo>
                    <a:pt x="3444" y="770"/>
                  </a:lnTo>
                  <a:lnTo>
                    <a:pt x="3440" y="772"/>
                  </a:lnTo>
                  <a:lnTo>
                    <a:pt x="3434" y="774"/>
                  </a:lnTo>
                  <a:lnTo>
                    <a:pt x="3440" y="778"/>
                  </a:lnTo>
                  <a:lnTo>
                    <a:pt x="3434" y="784"/>
                  </a:lnTo>
                  <a:lnTo>
                    <a:pt x="3428" y="788"/>
                  </a:lnTo>
                  <a:lnTo>
                    <a:pt x="3422" y="794"/>
                  </a:lnTo>
                  <a:lnTo>
                    <a:pt x="3416" y="798"/>
                  </a:lnTo>
                  <a:lnTo>
                    <a:pt x="3416" y="792"/>
                  </a:lnTo>
                  <a:lnTo>
                    <a:pt x="3418" y="786"/>
                  </a:lnTo>
                  <a:lnTo>
                    <a:pt x="3412" y="784"/>
                  </a:lnTo>
                  <a:lnTo>
                    <a:pt x="3412" y="788"/>
                  </a:lnTo>
                  <a:lnTo>
                    <a:pt x="3410" y="794"/>
                  </a:lnTo>
                  <a:lnTo>
                    <a:pt x="3402" y="796"/>
                  </a:lnTo>
                  <a:lnTo>
                    <a:pt x="3398" y="796"/>
                  </a:lnTo>
                  <a:lnTo>
                    <a:pt x="3392" y="798"/>
                  </a:lnTo>
                  <a:lnTo>
                    <a:pt x="3386" y="798"/>
                  </a:lnTo>
                  <a:lnTo>
                    <a:pt x="3392" y="800"/>
                  </a:lnTo>
                  <a:lnTo>
                    <a:pt x="3396" y="802"/>
                  </a:lnTo>
                  <a:lnTo>
                    <a:pt x="3398" y="804"/>
                  </a:lnTo>
                  <a:lnTo>
                    <a:pt x="3402" y="804"/>
                  </a:lnTo>
                  <a:lnTo>
                    <a:pt x="3398" y="810"/>
                  </a:lnTo>
                  <a:lnTo>
                    <a:pt x="3404" y="808"/>
                  </a:lnTo>
                  <a:lnTo>
                    <a:pt x="3410" y="804"/>
                  </a:lnTo>
                  <a:lnTo>
                    <a:pt x="3416" y="800"/>
                  </a:lnTo>
                  <a:lnTo>
                    <a:pt x="3422" y="800"/>
                  </a:lnTo>
                  <a:lnTo>
                    <a:pt x="3428" y="796"/>
                  </a:lnTo>
                  <a:lnTo>
                    <a:pt x="3434" y="792"/>
                  </a:lnTo>
                  <a:lnTo>
                    <a:pt x="3440" y="792"/>
                  </a:lnTo>
                  <a:lnTo>
                    <a:pt x="3444" y="792"/>
                  </a:lnTo>
                  <a:lnTo>
                    <a:pt x="3452" y="792"/>
                  </a:lnTo>
                  <a:lnTo>
                    <a:pt x="3456" y="792"/>
                  </a:lnTo>
                  <a:lnTo>
                    <a:pt x="3462" y="790"/>
                  </a:lnTo>
                  <a:lnTo>
                    <a:pt x="3470" y="792"/>
                  </a:lnTo>
                  <a:lnTo>
                    <a:pt x="3474" y="796"/>
                  </a:lnTo>
                  <a:lnTo>
                    <a:pt x="3474" y="802"/>
                  </a:lnTo>
                  <a:lnTo>
                    <a:pt x="3474" y="808"/>
                  </a:lnTo>
                  <a:lnTo>
                    <a:pt x="3472" y="814"/>
                  </a:lnTo>
                  <a:lnTo>
                    <a:pt x="3474" y="820"/>
                  </a:lnTo>
                  <a:lnTo>
                    <a:pt x="3468" y="826"/>
                  </a:lnTo>
                  <a:lnTo>
                    <a:pt x="3462" y="832"/>
                  </a:lnTo>
                  <a:lnTo>
                    <a:pt x="3456" y="838"/>
                  </a:lnTo>
                  <a:lnTo>
                    <a:pt x="3452" y="844"/>
                  </a:lnTo>
                  <a:lnTo>
                    <a:pt x="3444" y="846"/>
                  </a:lnTo>
                  <a:lnTo>
                    <a:pt x="3440" y="848"/>
                  </a:lnTo>
                  <a:lnTo>
                    <a:pt x="3434" y="848"/>
                  </a:lnTo>
                  <a:lnTo>
                    <a:pt x="3428" y="850"/>
                  </a:lnTo>
                  <a:lnTo>
                    <a:pt x="3422" y="852"/>
                  </a:lnTo>
                  <a:lnTo>
                    <a:pt x="3416" y="852"/>
                  </a:lnTo>
                  <a:lnTo>
                    <a:pt x="3410" y="856"/>
                  </a:lnTo>
                  <a:lnTo>
                    <a:pt x="3404" y="858"/>
                  </a:lnTo>
                  <a:lnTo>
                    <a:pt x="3398" y="860"/>
                  </a:lnTo>
                  <a:lnTo>
                    <a:pt x="3392" y="864"/>
                  </a:lnTo>
                  <a:lnTo>
                    <a:pt x="3398" y="862"/>
                  </a:lnTo>
                  <a:lnTo>
                    <a:pt x="3404" y="860"/>
                  </a:lnTo>
                  <a:lnTo>
                    <a:pt x="3410" y="856"/>
                  </a:lnTo>
                  <a:lnTo>
                    <a:pt x="3414" y="854"/>
                  </a:lnTo>
                  <a:lnTo>
                    <a:pt x="3422" y="852"/>
                  </a:lnTo>
                  <a:lnTo>
                    <a:pt x="3428" y="852"/>
                  </a:lnTo>
                  <a:lnTo>
                    <a:pt x="3432" y="850"/>
                  </a:lnTo>
                  <a:lnTo>
                    <a:pt x="3440" y="848"/>
                  </a:lnTo>
                  <a:lnTo>
                    <a:pt x="3444" y="848"/>
                  </a:lnTo>
                  <a:lnTo>
                    <a:pt x="3450" y="846"/>
                  </a:lnTo>
                  <a:lnTo>
                    <a:pt x="3456" y="842"/>
                  </a:lnTo>
                  <a:lnTo>
                    <a:pt x="3460" y="836"/>
                  </a:lnTo>
                  <a:lnTo>
                    <a:pt x="3466" y="832"/>
                  </a:lnTo>
                  <a:lnTo>
                    <a:pt x="3472" y="826"/>
                  </a:lnTo>
                  <a:lnTo>
                    <a:pt x="3476" y="820"/>
                  </a:lnTo>
                  <a:lnTo>
                    <a:pt x="3482" y="816"/>
                  </a:lnTo>
                  <a:lnTo>
                    <a:pt x="3488" y="812"/>
                  </a:lnTo>
                  <a:lnTo>
                    <a:pt x="3490" y="818"/>
                  </a:lnTo>
                  <a:lnTo>
                    <a:pt x="3486" y="824"/>
                  </a:lnTo>
                  <a:lnTo>
                    <a:pt x="3484" y="830"/>
                  </a:lnTo>
                  <a:lnTo>
                    <a:pt x="3478" y="834"/>
                  </a:lnTo>
                  <a:lnTo>
                    <a:pt x="3474" y="838"/>
                  </a:lnTo>
                  <a:lnTo>
                    <a:pt x="3468" y="842"/>
                  </a:lnTo>
                  <a:lnTo>
                    <a:pt x="3474" y="840"/>
                  </a:lnTo>
                  <a:lnTo>
                    <a:pt x="3478" y="836"/>
                  </a:lnTo>
                  <a:lnTo>
                    <a:pt x="3484" y="832"/>
                  </a:lnTo>
                  <a:lnTo>
                    <a:pt x="3490" y="826"/>
                  </a:lnTo>
                  <a:lnTo>
                    <a:pt x="3494" y="820"/>
                  </a:lnTo>
                  <a:lnTo>
                    <a:pt x="3496" y="826"/>
                  </a:lnTo>
                  <a:lnTo>
                    <a:pt x="3494" y="832"/>
                  </a:lnTo>
                  <a:lnTo>
                    <a:pt x="3490" y="838"/>
                  </a:lnTo>
                  <a:lnTo>
                    <a:pt x="3486" y="844"/>
                  </a:lnTo>
                  <a:lnTo>
                    <a:pt x="3482" y="850"/>
                  </a:lnTo>
                  <a:lnTo>
                    <a:pt x="3480" y="854"/>
                  </a:lnTo>
                  <a:lnTo>
                    <a:pt x="3484" y="848"/>
                  </a:lnTo>
                  <a:lnTo>
                    <a:pt x="3488" y="842"/>
                  </a:lnTo>
                  <a:lnTo>
                    <a:pt x="3494" y="836"/>
                  </a:lnTo>
                  <a:lnTo>
                    <a:pt x="3500" y="834"/>
                  </a:lnTo>
                  <a:lnTo>
                    <a:pt x="3506" y="830"/>
                  </a:lnTo>
                  <a:lnTo>
                    <a:pt x="3512" y="828"/>
                  </a:lnTo>
                  <a:lnTo>
                    <a:pt x="3518" y="828"/>
                  </a:lnTo>
                  <a:lnTo>
                    <a:pt x="3524" y="826"/>
                  </a:lnTo>
                  <a:lnTo>
                    <a:pt x="3530" y="822"/>
                  </a:lnTo>
                  <a:lnTo>
                    <a:pt x="3536" y="818"/>
                  </a:lnTo>
                  <a:lnTo>
                    <a:pt x="3542" y="820"/>
                  </a:lnTo>
                  <a:lnTo>
                    <a:pt x="3548" y="816"/>
                  </a:lnTo>
                  <a:lnTo>
                    <a:pt x="3554" y="818"/>
                  </a:lnTo>
                  <a:lnTo>
                    <a:pt x="3556" y="812"/>
                  </a:lnTo>
                  <a:lnTo>
                    <a:pt x="3562" y="806"/>
                  </a:lnTo>
                  <a:lnTo>
                    <a:pt x="3566" y="802"/>
                  </a:lnTo>
                  <a:lnTo>
                    <a:pt x="3572" y="796"/>
                  </a:lnTo>
                  <a:lnTo>
                    <a:pt x="3578" y="794"/>
                  </a:lnTo>
                  <a:lnTo>
                    <a:pt x="3584" y="800"/>
                  </a:lnTo>
                  <a:lnTo>
                    <a:pt x="3586" y="806"/>
                  </a:lnTo>
                  <a:lnTo>
                    <a:pt x="3590" y="812"/>
                  </a:lnTo>
                  <a:lnTo>
                    <a:pt x="3584" y="816"/>
                  </a:lnTo>
                  <a:lnTo>
                    <a:pt x="3582" y="822"/>
                  </a:lnTo>
                  <a:lnTo>
                    <a:pt x="3576" y="826"/>
                  </a:lnTo>
                  <a:lnTo>
                    <a:pt x="3576" y="828"/>
                  </a:lnTo>
                  <a:lnTo>
                    <a:pt x="3582" y="824"/>
                  </a:lnTo>
                  <a:lnTo>
                    <a:pt x="3584" y="818"/>
                  </a:lnTo>
                  <a:lnTo>
                    <a:pt x="3590" y="814"/>
                  </a:lnTo>
                  <a:lnTo>
                    <a:pt x="3594" y="808"/>
                  </a:lnTo>
                  <a:lnTo>
                    <a:pt x="3590" y="802"/>
                  </a:lnTo>
                  <a:lnTo>
                    <a:pt x="3592" y="796"/>
                  </a:lnTo>
                  <a:lnTo>
                    <a:pt x="3598" y="796"/>
                  </a:lnTo>
                  <a:lnTo>
                    <a:pt x="3604" y="796"/>
                  </a:lnTo>
                  <a:lnTo>
                    <a:pt x="3606" y="794"/>
                  </a:lnTo>
                  <a:lnTo>
                    <a:pt x="3600" y="792"/>
                  </a:lnTo>
                  <a:lnTo>
                    <a:pt x="3606" y="788"/>
                  </a:lnTo>
                  <a:lnTo>
                    <a:pt x="3612" y="786"/>
                  </a:lnTo>
                  <a:lnTo>
                    <a:pt x="3618" y="782"/>
                  </a:lnTo>
                  <a:lnTo>
                    <a:pt x="3624" y="786"/>
                  </a:lnTo>
                  <a:lnTo>
                    <a:pt x="3630" y="782"/>
                  </a:lnTo>
                  <a:lnTo>
                    <a:pt x="3636" y="782"/>
                  </a:lnTo>
                  <a:lnTo>
                    <a:pt x="3630" y="780"/>
                  </a:lnTo>
                  <a:lnTo>
                    <a:pt x="3624" y="780"/>
                  </a:lnTo>
                  <a:lnTo>
                    <a:pt x="3622" y="774"/>
                  </a:lnTo>
                  <a:lnTo>
                    <a:pt x="3624" y="768"/>
                  </a:lnTo>
                  <a:lnTo>
                    <a:pt x="3630" y="772"/>
                  </a:lnTo>
                  <a:lnTo>
                    <a:pt x="3634" y="768"/>
                  </a:lnTo>
                  <a:lnTo>
                    <a:pt x="3634" y="764"/>
                  </a:lnTo>
                  <a:lnTo>
                    <a:pt x="3640" y="766"/>
                  </a:lnTo>
                  <a:lnTo>
                    <a:pt x="3644" y="760"/>
                  </a:lnTo>
                  <a:lnTo>
                    <a:pt x="3640" y="754"/>
                  </a:lnTo>
                  <a:lnTo>
                    <a:pt x="3646" y="754"/>
                  </a:lnTo>
                  <a:lnTo>
                    <a:pt x="3652" y="754"/>
                  </a:lnTo>
                  <a:lnTo>
                    <a:pt x="3658" y="758"/>
                  </a:lnTo>
                  <a:lnTo>
                    <a:pt x="3662" y="760"/>
                  </a:lnTo>
                  <a:lnTo>
                    <a:pt x="3660" y="754"/>
                  </a:lnTo>
                  <a:lnTo>
                    <a:pt x="3654" y="752"/>
                  </a:lnTo>
                  <a:lnTo>
                    <a:pt x="3648" y="746"/>
                  </a:lnTo>
                  <a:lnTo>
                    <a:pt x="3650" y="740"/>
                  </a:lnTo>
                  <a:lnTo>
                    <a:pt x="3654" y="734"/>
                  </a:lnTo>
                  <a:lnTo>
                    <a:pt x="3660" y="734"/>
                  </a:lnTo>
                  <a:lnTo>
                    <a:pt x="3666" y="732"/>
                  </a:lnTo>
                  <a:lnTo>
                    <a:pt x="3672" y="736"/>
                  </a:lnTo>
                  <a:lnTo>
                    <a:pt x="3678" y="736"/>
                  </a:lnTo>
                  <a:lnTo>
                    <a:pt x="3672" y="734"/>
                  </a:lnTo>
                  <a:lnTo>
                    <a:pt x="3670" y="728"/>
                  </a:lnTo>
                  <a:lnTo>
                    <a:pt x="3676" y="726"/>
                  </a:lnTo>
                  <a:lnTo>
                    <a:pt x="3682" y="720"/>
                  </a:lnTo>
                  <a:lnTo>
                    <a:pt x="3686" y="716"/>
                  </a:lnTo>
                  <a:lnTo>
                    <a:pt x="3692" y="712"/>
                  </a:lnTo>
                  <a:lnTo>
                    <a:pt x="3698" y="708"/>
                  </a:lnTo>
                  <a:lnTo>
                    <a:pt x="3702" y="702"/>
                  </a:lnTo>
                  <a:lnTo>
                    <a:pt x="3708" y="698"/>
                  </a:lnTo>
                  <a:lnTo>
                    <a:pt x="3714" y="700"/>
                  </a:lnTo>
                  <a:lnTo>
                    <a:pt x="3720" y="702"/>
                  </a:lnTo>
                  <a:lnTo>
                    <a:pt x="3714" y="704"/>
                  </a:lnTo>
                  <a:lnTo>
                    <a:pt x="3706" y="706"/>
                  </a:lnTo>
                  <a:lnTo>
                    <a:pt x="3712" y="704"/>
                  </a:lnTo>
                  <a:lnTo>
                    <a:pt x="3720" y="706"/>
                  </a:lnTo>
                  <a:lnTo>
                    <a:pt x="3714" y="710"/>
                  </a:lnTo>
                  <a:lnTo>
                    <a:pt x="3720" y="708"/>
                  </a:lnTo>
                  <a:lnTo>
                    <a:pt x="3714" y="714"/>
                  </a:lnTo>
                  <a:lnTo>
                    <a:pt x="3708" y="716"/>
                  </a:lnTo>
                  <a:lnTo>
                    <a:pt x="3702" y="718"/>
                  </a:lnTo>
                  <a:lnTo>
                    <a:pt x="3696" y="720"/>
                  </a:lnTo>
                  <a:lnTo>
                    <a:pt x="3694" y="720"/>
                  </a:lnTo>
                  <a:lnTo>
                    <a:pt x="3698" y="720"/>
                  </a:lnTo>
                  <a:lnTo>
                    <a:pt x="3704" y="718"/>
                  </a:lnTo>
                  <a:lnTo>
                    <a:pt x="3710" y="718"/>
                  </a:lnTo>
                  <a:lnTo>
                    <a:pt x="3716" y="716"/>
                  </a:lnTo>
                  <a:lnTo>
                    <a:pt x="3710" y="720"/>
                  </a:lnTo>
                  <a:lnTo>
                    <a:pt x="3712" y="720"/>
                  </a:lnTo>
                  <a:lnTo>
                    <a:pt x="3706" y="728"/>
                  </a:lnTo>
                  <a:lnTo>
                    <a:pt x="3712" y="726"/>
                  </a:lnTo>
                  <a:lnTo>
                    <a:pt x="3718" y="722"/>
                  </a:lnTo>
                  <a:lnTo>
                    <a:pt x="3724" y="720"/>
                  </a:lnTo>
                  <a:lnTo>
                    <a:pt x="3728" y="720"/>
                  </a:lnTo>
                  <a:lnTo>
                    <a:pt x="3720" y="724"/>
                  </a:lnTo>
                  <a:lnTo>
                    <a:pt x="3722" y="730"/>
                  </a:lnTo>
                  <a:lnTo>
                    <a:pt x="3716" y="736"/>
                  </a:lnTo>
                  <a:lnTo>
                    <a:pt x="3716" y="738"/>
                  </a:lnTo>
                  <a:lnTo>
                    <a:pt x="3716" y="742"/>
                  </a:lnTo>
                  <a:lnTo>
                    <a:pt x="3722" y="742"/>
                  </a:lnTo>
                  <a:lnTo>
                    <a:pt x="3718" y="748"/>
                  </a:lnTo>
                  <a:lnTo>
                    <a:pt x="3724" y="746"/>
                  </a:lnTo>
                  <a:lnTo>
                    <a:pt x="3720" y="752"/>
                  </a:lnTo>
                  <a:lnTo>
                    <a:pt x="3726" y="748"/>
                  </a:lnTo>
                  <a:lnTo>
                    <a:pt x="3732" y="752"/>
                  </a:lnTo>
                  <a:lnTo>
                    <a:pt x="3726" y="758"/>
                  </a:lnTo>
                  <a:lnTo>
                    <a:pt x="3720" y="758"/>
                  </a:lnTo>
                  <a:lnTo>
                    <a:pt x="3714" y="758"/>
                  </a:lnTo>
                  <a:lnTo>
                    <a:pt x="3720" y="760"/>
                  </a:lnTo>
                  <a:lnTo>
                    <a:pt x="3722" y="762"/>
                  </a:lnTo>
                  <a:lnTo>
                    <a:pt x="3722" y="768"/>
                  </a:lnTo>
                  <a:lnTo>
                    <a:pt x="3728" y="764"/>
                  </a:lnTo>
                  <a:lnTo>
                    <a:pt x="3734" y="762"/>
                  </a:lnTo>
                  <a:lnTo>
                    <a:pt x="3732" y="768"/>
                  </a:lnTo>
                  <a:lnTo>
                    <a:pt x="3726" y="772"/>
                  </a:lnTo>
                  <a:lnTo>
                    <a:pt x="3732" y="770"/>
                  </a:lnTo>
                  <a:lnTo>
                    <a:pt x="3738" y="768"/>
                  </a:lnTo>
                  <a:lnTo>
                    <a:pt x="3734" y="772"/>
                  </a:lnTo>
                  <a:lnTo>
                    <a:pt x="3728" y="778"/>
                  </a:lnTo>
                  <a:lnTo>
                    <a:pt x="3722" y="780"/>
                  </a:lnTo>
                  <a:lnTo>
                    <a:pt x="3716" y="782"/>
                  </a:lnTo>
                  <a:lnTo>
                    <a:pt x="3710" y="780"/>
                  </a:lnTo>
                  <a:lnTo>
                    <a:pt x="3704" y="780"/>
                  </a:lnTo>
                  <a:lnTo>
                    <a:pt x="3704" y="786"/>
                  </a:lnTo>
                  <a:lnTo>
                    <a:pt x="3710" y="782"/>
                  </a:lnTo>
                  <a:lnTo>
                    <a:pt x="3716" y="784"/>
                  </a:lnTo>
                  <a:lnTo>
                    <a:pt x="3722" y="782"/>
                  </a:lnTo>
                  <a:lnTo>
                    <a:pt x="3728" y="782"/>
                  </a:lnTo>
                  <a:lnTo>
                    <a:pt x="3734" y="780"/>
                  </a:lnTo>
                  <a:lnTo>
                    <a:pt x="3740" y="780"/>
                  </a:lnTo>
                  <a:lnTo>
                    <a:pt x="3744" y="780"/>
                  </a:lnTo>
                  <a:lnTo>
                    <a:pt x="3740" y="784"/>
                  </a:lnTo>
                  <a:lnTo>
                    <a:pt x="3732" y="788"/>
                  </a:lnTo>
                  <a:lnTo>
                    <a:pt x="3740" y="786"/>
                  </a:lnTo>
                  <a:lnTo>
                    <a:pt x="3736" y="792"/>
                  </a:lnTo>
                  <a:lnTo>
                    <a:pt x="3728" y="794"/>
                  </a:lnTo>
                  <a:lnTo>
                    <a:pt x="3736" y="794"/>
                  </a:lnTo>
                  <a:lnTo>
                    <a:pt x="3742" y="792"/>
                  </a:lnTo>
                  <a:lnTo>
                    <a:pt x="3748" y="796"/>
                  </a:lnTo>
                  <a:lnTo>
                    <a:pt x="3742" y="802"/>
                  </a:lnTo>
                  <a:lnTo>
                    <a:pt x="3744" y="808"/>
                  </a:lnTo>
                  <a:lnTo>
                    <a:pt x="3738" y="812"/>
                  </a:lnTo>
                  <a:lnTo>
                    <a:pt x="3732" y="814"/>
                  </a:lnTo>
                  <a:lnTo>
                    <a:pt x="3726" y="816"/>
                  </a:lnTo>
                  <a:lnTo>
                    <a:pt x="3720" y="818"/>
                  </a:lnTo>
                  <a:lnTo>
                    <a:pt x="3714" y="818"/>
                  </a:lnTo>
                  <a:lnTo>
                    <a:pt x="3708" y="818"/>
                  </a:lnTo>
                  <a:lnTo>
                    <a:pt x="3714" y="818"/>
                  </a:lnTo>
                  <a:lnTo>
                    <a:pt x="3710" y="824"/>
                  </a:lnTo>
                  <a:lnTo>
                    <a:pt x="3702" y="826"/>
                  </a:lnTo>
                  <a:lnTo>
                    <a:pt x="3708" y="826"/>
                  </a:lnTo>
                  <a:lnTo>
                    <a:pt x="3716" y="822"/>
                  </a:lnTo>
                  <a:lnTo>
                    <a:pt x="3722" y="818"/>
                  </a:lnTo>
                  <a:lnTo>
                    <a:pt x="3728" y="820"/>
                  </a:lnTo>
                  <a:lnTo>
                    <a:pt x="3722" y="824"/>
                  </a:lnTo>
                  <a:lnTo>
                    <a:pt x="3728" y="822"/>
                  </a:lnTo>
                  <a:lnTo>
                    <a:pt x="3732" y="820"/>
                  </a:lnTo>
                  <a:lnTo>
                    <a:pt x="3740" y="818"/>
                  </a:lnTo>
                  <a:lnTo>
                    <a:pt x="3744" y="818"/>
                  </a:lnTo>
                  <a:lnTo>
                    <a:pt x="3750" y="818"/>
                  </a:lnTo>
                  <a:lnTo>
                    <a:pt x="3748" y="822"/>
                  </a:lnTo>
                  <a:lnTo>
                    <a:pt x="3746" y="828"/>
                  </a:lnTo>
                  <a:lnTo>
                    <a:pt x="3740" y="832"/>
                  </a:lnTo>
                  <a:lnTo>
                    <a:pt x="3734" y="832"/>
                  </a:lnTo>
                  <a:lnTo>
                    <a:pt x="3740" y="834"/>
                  </a:lnTo>
                  <a:lnTo>
                    <a:pt x="3734" y="838"/>
                  </a:lnTo>
                  <a:lnTo>
                    <a:pt x="3728" y="838"/>
                  </a:lnTo>
                  <a:lnTo>
                    <a:pt x="3722" y="840"/>
                  </a:lnTo>
                  <a:lnTo>
                    <a:pt x="3716" y="842"/>
                  </a:lnTo>
                  <a:lnTo>
                    <a:pt x="3710" y="844"/>
                  </a:lnTo>
                  <a:lnTo>
                    <a:pt x="3708" y="844"/>
                  </a:lnTo>
                  <a:lnTo>
                    <a:pt x="3702" y="848"/>
                  </a:lnTo>
                  <a:lnTo>
                    <a:pt x="3708" y="850"/>
                  </a:lnTo>
                  <a:lnTo>
                    <a:pt x="3714" y="844"/>
                  </a:lnTo>
                  <a:lnTo>
                    <a:pt x="3720" y="844"/>
                  </a:lnTo>
                  <a:lnTo>
                    <a:pt x="3726" y="840"/>
                  </a:lnTo>
                  <a:lnTo>
                    <a:pt x="3732" y="840"/>
                  </a:lnTo>
                  <a:lnTo>
                    <a:pt x="3736" y="840"/>
                  </a:lnTo>
                  <a:lnTo>
                    <a:pt x="3742" y="838"/>
                  </a:lnTo>
                  <a:lnTo>
                    <a:pt x="3748" y="838"/>
                  </a:lnTo>
                  <a:lnTo>
                    <a:pt x="3744" y="844"/>
                  </a:lnTo>
                  <a:lnTo>
                    <a:pt x="3750" y="842"/>
                  </a:lnTo>
                  <a:lnTo>
                    <a:pt x="3750" y="848"/>
                  </a:lnTo>
                  <a:lnTo>
                    <a:pt x="3744" y="848"/>
                  </a:lnTo>
                  <a:lnTo>
                    <a:pt x="3738" y="850"/>
                  </a:lnTo>
                  <a:lnTo>
                    <a:pt x="3732" y="852"/>
                  </a:lnTo>
                  <a:lnTo>
                    <a:pt x="3738" y="852"/>
                  </a:lnTo>
                  <a:lnTo>
                    <a:pt x="3744" y="852"/>
                  </a:lnTo>
                  <a:lnTo>
                    <a:pt x="3742" y="858"/>
                  </a:lnTo>
                  <a:lnTo>
                    <a:pt x="3746" y="852"/>
                  </a:lnTo>
                  <a:lnTo>
                    <a:pt x="3752" y="852"/>
                  </a:lnTo>
                  <a:lnTo>
                    <a:pt x="3758" y="850"/>
                  </a:lnTo>
                  <a:lnTo>
                    <a:pt x="3760" y="856"/>
                  </a:lnTo>
                  <a:lnTo>
                    <a:pt x="3754" y="862"/>
                  </a:lnTo>
                  <a:lnTo>
                    <a:pt x="3760" y="868"/>
                  </a:lnTo>
                  <a:lnTo>
                    <a:pt x="3756" y="874"/>
                  </a:lnTo>
                  <a:lnTo>
                    <a:pt x="3750" y="876"/>
                  </a:lnTo>
                  <a:lnTo>
                    <a:pt x="3744" y="880"/>
                  </a:lnTo>
                  <a:lnTo>
                    <a:pt x="3738" y="878"/>
                  </a:lnTo>
                  <a:lnTo>
                    <a:pt x="3732" y="884"/>
                  </a:lnTo>
                  <a:lnTo>
                    <a:pt x="3728" y="882"/>
                  </a:lnTo>
                  <a:lnTo>
                    <a:pt x="3732" y="886"/>
                  </a:lnTo>
                  <a:lnTo>
                    <a:pt x="3738" y="884"/>
                  </a:lnTo>
                  <a:lnTo>
                    <a:pt x="3744" y="884"/>
                  </a:lnTo>
                  <a:lnTo>
                    <a:pt x="3750" y="886"/>
                  </a:lnTo>
                  <a:lnTo>
                    <a:pt x="3752" y="892"/>
                  </a:lnTo>
                  <a:lnTo>
                    <a:pt x="3746" y="898"/>
                  </a:lnTo>
                  <a:lnTo>
                    <a:pt x="3752" y="900"/>
                  </a:lnTo>
                  <a:lnTo>
                    <a:pt x="3758" y="900"/>
                  </a:lnTo>
                  <a:lnTo>
                    <a:pt x="3764" y="902"/>
                  </a:lnTo>
                  <a:lnTo>
                    <a:pt x="3768" y="910"/>
                  </a:lnTo>
                  <a:lnTo>
                    <a:pt x="3766" y="916"/>
                  </a:lnTo>
                  <a:lnTo>
                    <a:pt x="3760" y="914"/>
                  </a:lnTo>
                  <a:lnTo>
                    <a:pt x="3754" y="918"/>
                  </a:lnTo>
                  <a:lnTo>
                    <a:pt x="3748" y="922"/>
                  </a:lnTo>
                  <a:lnTo>
                    <a:pt x="3742" y="926"/>
                  </a:lnTo>
                  <a:lnTo>
                    <a:pt x="3736" y="928"/>
                  </a:lnTo>
                  <a:lnTo>
                    <a:pt x="3730" y="932"/>
                  </a:lnTo>
                  <a:lnTo>
                    <a:pt x="3736" y="928"/>
                  </a:lnTo>
                  <a:lnTo>
                    <a:pt x="3738" y="936"/>
                  </a:lnTo>
                  <a:lnTo>
                    <a:pt x="3732" y="936"/>
                  </a:lnTo>
                  <a:lnTo>
                    <a:pt x="3726" y="936"/>
                  </a:lnTo>
                  <a:lnTo>
                    <a:pt x="3720" y="932"/>
                  </a:lnTo>
                  <a:lnTo>
                    <a:pt x="3714" y="932"/>
                  </a:lnTo>
                  <a:lnTo>
                    <a:pt x="3708" y="930"/>
                  </a:lnTo>
                  <a:lnTo>
                    <a:pt x="3714" y="924"/>
                  </a:lnTo>
                  <a:lnTo>
                    <a:pt x="3720" y="926"/>
                  </a:lnTo>
                  <a:lnTo>
                    <a:pt x="3726" y="924"/>
                  </a:lnTo>
                  <a:lnTo>
                    <a:pt x="3720" y="924"/>
                  </a:lnTo>
                  <a:lnTo>
                    <a:pt x="3714" y="924"/>
                  </a:lnTo>
                  <a:lnTo>
                    <a:pt x="3708" y="924"/>
                  </a:lnTo>
                  <a:lnTo>
                    <a:pt x="3702" y="924"/>
                  </a:lnTo>
                  <a:lnTo>
                    <a:pt x="3706" y="930"/>
                  </a:lnTo>
                  <a:lnTo>
                    <a:pt x="3712" y="932"/>
                  </a:lnTo>
                  <a:lnTo>
                    <a:pt x="3718" y="936"/>
                  </a:lnTo>
                  <a:lnTo>
                    <a:pt x="3724" y="938"/>
                  </a:lnTo>
                  <a:lnTo>
                    <a:pt x="3718" y="938"/>
                  </a:lnTo>
                  <a:lnTo>
                    <a:pt x="3712" y="938"/>
                  </a:lnTo>
                  <a:lnTo>
                    <a:pt x="3710" y="938"/>
                  </a:lnTo>
                  <a:lnTo>
                    <a:pt x="3716" y="940"/>
                  </a:lnTo>
                  <a:lnTo>
                    <a:pt x="3722" y="940"/>
                  </a:lnTo>
                  <a:lnTo>
                    <a:pt x="3728" y="940"/>
                  </a:lnTo>
                  <a:lnTo>
                    <a:pt x="3734" y="940"/>
                  </a:lnTo>
                  <a:lnTo>
                    <a:pt x="3728" y="946"/>
                  </a:lnTo>
                  <a:lnTo>
                    <a:pt x="3722" y="946"/>
                  </a:lnTo>
                  <a:lnTo>
                    <a:pt x="3716" y="946"/>
                  </a:lnTo>
                  <a:lnTo>
                    <a:pt x="3710" y="948"/>
                  </a:lnTo>
                  <a:lnTo>
                    <a:pt x="3716" y="952"/>
                  </a:lnTo>
                  <a:lnTo>
                    <a:pt x="3722" y="952"/>
                  </a:lnTo>
                  <a:lnTo>
                    <a:pt x="3728" y="958"/>
                  </a:lnTo>
                  <a:lnTo>
                    <a:pt x="3722" y="958"/>
                  </a:lnTo>
                  <a:lnTo>
                    <a:pt x="3728" y="960"/>
                  </a:lnTo>
                  <a:lnTo>
                    <a:pt x="3722" y="962"/>
                  </a:lnTo>
                  <a:lnTo>
                    <a:pt x="3716" y="960"/>
                  </a:lnTo>
                  <a:lnTo>
                    <a:pt x="3710" y="958"/>
                  </a:lnTo>
                  <a:lnTo>
                    <a:pt x="3716" y="964"/>
                  </a:lnTo>
                  <a:lnTo>
                    <a:pt x="3722" y="964"/>
                  </a:lnTo>
                  <a:lnTo>
                    <a:pt x="3722" y="966"/>
                  </a:lnTo>
                  <a:lnTo>
                    <a:pt x="3724" y="964"/>
                  </a:lnTo>
                  <a:lnTo>
                    <a:pt x="3730" y="964"/>
                  </a:lnTo>
                  <a:lnTo>
                    <a:pt x="3736" y="964"/>
                  </a:lnTo>
                  <a:lnTo>
                    <a:pt x="3742" y="964"/>
                  </a:lnTo>
                  <a:lnTo>
                    <a:pt x="3736" y="970"/>
                  </a:lnTo>
                  <a:lnTo>
                    <a:pt x="3734" y="976"/>
                  </a:lnTo>
                  <a:lnTo>
                    <a:pt x="3740" y="974"/>
                  </a:lnTo>
                  <a:lnTo>
                    <a:pt x="3734" y="976"/>
                  </a:lnTo>
                  <a:lnTo>
                    <a:pt x="3740" y="980"/>
                  </a:lnTo>
                  <a:lnTo>
                    <a:pt x="3746" y="980"/>
                  </a:lnTo>
                  <a:lnTo>
                    <a:pt x="3740" y="986"/>
                  </a:lnTo>
                  <a:lnTo>
                    <a:pt x="3746" y="988"/>
                  </a:lnTo>
                  <a:lnTo>
                    <a:pt x="3752" y="988"/>
                  </a:lnTo>
                  <a:lnTo>
                    <a:pt x="3758" y="988"/>
                  </a:lnTo>
                  <a:lnTo>
                    <a:pt x="3758" y="994"/>
                  </a:lnTo>
                  <a:lnTo>
                    <a:pt x="3752" y="994"/>
                  </a:lnTo>
                  <a:lnTo>
                    <a:pt x="3754" y="996"/>
                  </a:lnTo>
                  <a:lnTo>
                    <a:pt x="3760" y="994"/>
                  </a:lnTo>
                  <a:lnTo>
                    <a:pt x="3766" y="990"/>
                  </a:lnTo>
                  <a:lnTo>
                    <a:pt x="3766" y="996"/>
                  </a:lnTo>
                  <a:lnTo>
                    <a:pt x="3762" y="1002"/>
                  </a:lnTo>
                  <a:lnTo>
                    <a:pt x="3768" y="998"/>
                  </a:lnTo>
                  <a:lnTo>
                    <a:pt x="3772" y="992"/>
                  </a:lnTo>
                  <a:lnTo>
                    <a:pt x="3778" y="992"/>
                  </a:lnTo>
                  <a:lnTo>
                    <a:pt x="3776" y="998"/>
                  </a:lnTo>
                  <a:lnTo>
                    <a:pt x="3770" y="1000"/>
                  </a:lnTo>
                  <a:lnTo>
                    <a:pt x="3772" y="1006"/>
                  </a:lnTo>
                  <a:lnTo>
                    <a:pt x="3770" y="1012"/>
                  </a:lnTo>
                  <a:lnTo>
                    <a:pt x="3764" y="1016"/>
                  </a:lnTo>
                  <a:lnTo>
                    <a:pt x="3770" y="1012"/>
                  </a:lnTo>
                  <a:lnTo>
                    <a:pt x="3776" y="1010"/>
                  </a:lnTo>
                  <a:lnTo>
                    <a:pt x="3774" y="1016"/>
                  </a:lnTo>
                  <a:lnTo>
                    <a:pt x="3768" y="1018"/>
                  </a:lnTo>
                  <a:lnTo>
                    <a:pt x="3762" y="1024"/>
                  </a:lnTo>
                  <a:lnTo>
                    <a:pt x="3758" y="1026"/>
                  </a:lnTo>
                  <a:lnTo>
                    <a:pt x="3752" y="1030"/>
                  </a:lnTo>
                  <a:lnTo>
                    <a:pt x="3758" y="1028"/>
                  </a:lnTo>
                  <a:lnTo>
                    <a:pt x="3764" y="1026"/>
                  </a:lnTo>
                  <a:lnTo>
                    <a:pt x="3758" y="1030"/>
                  </a:lnTo>
                  <a:lnTo>
                    <a:pt x="3752" y="1036"/>
                  </a:lnTo>
                  <a:lnTo>
                    <a:pt x="3744" y="1038"/>
                  </a:lnTo>
                  <a:lnTo>
                    <a:pt x="3742" y="1040"/>
                  </a:lnTo>
                  <a:lnTo>
                    <a:pt x="3740" y="1044"/>
                  </a:lnTo>
                  <a:lnTo>
                    <a:pt x="3746" y="1040"/>
                  </a:lnTo>
                  <a:lnTo>
                    <a:pt x="3752" y="1036"/>
                  </a:lnTo>
                  <a:lnTo>
                    <a:pt x="3758" y="1032"/>
                  </a:lnTo>
                  <a:lnTo>
                    <a:pt x="3764" y="1030"/>
                  </a:lnTo>
                  <a:lnTo>
                    <a:pt x="3770" y="1026"/>
                  </a:lnTo>
                  <a:lnTo>
                    <a:pt x="3776" y="1028"/>
                  </a:lnTo>
                  <a:lnTo>
                    <a:pt x="3772" y="1034"/>
                  </a:lnTo>
                  <a:lnTo>
                    <a:pt x="3766" y="1036"/>
                  </a:lnTo>
                  <a:lnTo>
                    <a:pt x="3760" y="1042"/>
                  </a:lnTo>
                  <a:lnTo>
                    <a:pt x="3766" y="1038"/>
                  </a:lnTo>
                  <a:lnTo>
                    <a:pt x="3772" y="1034"/>
                  </a:lnTo>
                  <a:lnTo>
                    <a:pt x="3778" y="1030"/>
                  </a:lnTo>
                  <a:lnTo>
                    <a:pt x="3782" y="1028"/>
                  </a:lnTo>
                  <a:lnTo>
                    <a:pt x="3788" y="1026"/>
                  </a:lnTo>
                  <a:lnTo>
                    <a:pt x="3794" y="1022"/>
                  </a:lnTo>
                  <a:lnTo>
                    <a:pt x="3794" y="1028"/>
                  </a:lnTo>
                  <a:lnTo>
                    <a:pt x="3788" y="1032"/>
                  </a:lnTo>
                  <a:lnTo>
                    <a:pt x="3782" y="1032"/>
                  </a:lnTo>
                  <a:lnTo>
                    <a:pt x="3788" y="1036"/>
                  </a:lnTo>
                  <a:lnTo>
                    <a:pt x="3794" y="1034"/>
                  </a:lnTo>
                  <a:lnTo>
                    <a:pt x="3800" y="1034"/>
                  </a:lnTo>
                  <a:lnTo>
                    <a:pt x="3806" y="1030"/>
                  </a:lnTo>
                  <a:lnTo>
                    <a:pt x="3806" y="1036"/>
                  </a:lnTo>
                  <a:lnTo>
                    <a:pt x="3800" y="1040"/>
                  </a:lnTo>
                  <a:lnTo>
                    <a:pt x="3794" y="1042"/>
                  </a:lnTo>
                  <a:lnTo>
                    <a:pt x="3788" y="1044"/>
                  </a:lnTo>
                  <a:lnTo>
                    <a:pt x="3782" y="1050"/>
                  </a:lnTo>
                  <a:lnTo>
                    <a:pt x="3778" y="1056"/>
                  </a:lnTo>
                  <a:lnTo>
                    <a:pt x="3772" y="1058"/>
                  </a:lnTo>
                  <a:lnTo>
                    <a:pt x="3778" y="1058"/>
                  </a:lnTo>
                  <a:lnTo>
                    <a:pt x="3780" y="1052"/>
                  </a:lnTo>
                  <a:lnTo>
                    <a:pt x="3786" y="1050"/>
                  </a:lnTo>
                  <a:lnTo>
                    <a:pt x="3792" y="1046"/>
                  </a:lnTo>
                  <a:lnTo>
                    <a:pt x="3798" y="1042"/>
                  </a:lnTo>
                  <a:lnTo>
                    <a:pt x="3804" y="1038"/>
                  </a:lnTo>
                  <a:lnTo>
                    <a:pt x="3810" y="1036"/>
                  </a:lnTo>
                  <a:lnTo>
                    <a:pt x="3816" y="1030"/>
                  </a:lnTo>
                  <a:lnTo>
                    <a:pt x="3822" y="1030"/>
                  </a:lnTo>
                  <a:lnTo>
                    <a:pt x="3818" y="1036"/>
                  </a:lnTo>
                  <a:lnTo>
                    <a:pt x="3812" y="1040"/>
                  </a:lnTo>
                  <a:lnTo>
                    <a:pt x="3806" y="1042"/>
                  </a:lnTo>
                  <a:lnTo>
                    <a:pt x="3812" y="1042"/>
                  </a:lnTo>
                  <a:lnTo>
                    <a:pt x="3818" y="1038"/>
                  </a:lnTo>
                  <a:lnTo>
                    <a:pt x="3824" y="1036"/>
                  </a:lnTo>
                  <a:lnTo>
                    <a:pt x="3830" y="1036"/>
                  </a:lnTo>
                  <a:lnTo>
                    <a:pt x="3826" y="1042"/>
                  </a:lnTo>
                  <a:lnTo>
                    <a:pt x="3828" y="1046"/>
                  </a:lnTo>
                  <a:lnTo>
                    <a:pt x="3822" y="1050"/>
                  </a:lnTo>
                  <a:lnTo>
                    <a:pt x="3828" y="1048"/>
                  </a:lnTo>
                  <a:lnTo>
                    <a:pt x="3832" y="1054"/>
                  </a:lnTo>
                  <a:lnTo>
                    <a:pt x="3838" y="1056"/>
                  </a:lnTo>
                  <a:lnTo>
                    <a:pt x="3844" y="1056"/>
                  </a:lnTo>
                  <a:lnTo>
                    <a:pt x="3850" y="1058"/>
                  </a:lnTo>
                  <a:lnTo>
                    <a:pt x="3856" y="1056"/>
                  </a:lnTo>
                  <a:lnTo>
                    <a:pt x="3862" y="1060"/>
                  </a:lnTo>
                  <a:lnTo>
                    <a:pt x="3868" y="1060"/>
                  </a:lnTo>
                  <a:lnTo>
                    <a:pt x="3874" y="1060"/>
                  </a:lnTo>
                  <a:lnTo>
                    <a:pt x="3880" y="1064"/>
                  </a:lnTo>
                  <a:lnTo>
                    <a:pt x="3886" y="1068"/>
                  </a:lnTo>
                  <a:lnTo>
                    <a:pt x="3892" y="1066"/>
                  </a:lnTo>
                  <a:lnTo>
                    <a:pt x="3898" y="1070"/>
                  </a:lnTo>
                  <a:lnTo>
                    <a:pt x="3892" y="1076"/>
                  </a:lnTo>
                  <a:lnTo>
                    <a:pt x="3886" y="1076"/>
                  </a:lnTo>
                  <a:lnTo>
                    <a:pt x="3880" y="1076"/>
                  </a:lnTo>
                  <a:lnTo>
                    <a:pt x="3876" y="1078"/>
                  </a:lnTo>
                  <a:lnTo>
                    <a:pt x="3882" y="1078"/>
                  </a:lnTo>
                  <a:lnTo>
                    <a:pt x="3888" y="1078"/>
                  </a:lnTo>
                  <a:lnTo>
                    <a:pt x="3882" y="1082"/>
                  </a:lnTo>
                  <a:lnTo>
                    <a:pt x="3876" y="1084"/>
                  </a:lnTo>
                  <a:lnTo>
                    <a:pt x="3870" y="1084"/>
                  </a:lnTo>
                  <a:lnTo>
                    <a:pt x="3864" y="1084"/>
                  </a:lnTo>
                  <a:lnTo>
                    <a:pt x="3858" y="1084"/>
                  </a:lnTo>
                  <a:lnTo>
                    <a:pt x="3852" y="1084"/>
                  </a:lnTo>
                  <a:lnTo>
                    <a:pt x="3846" y="1086"/>
                  </a:lnTo>
                  <a:lnTo>
                    <a:pt x="3840" y="1092"/>
                  </a:lnTo>
                  <a:lnTo>
                    <a:pt x="3834" y="1094"/>
                  </a:lnTo>
                  <a:lnTo>
                    <a:pt x="3828" y="1094"/>
                  </a:lnTo>
                  <a:lnTo>
                    <a:pt x="3822" y="1096"/>
                  </a:lnTo>
                  <a:lnTo>
                    <a:pt x="3816" y="1098"/>
                  </a:lnTo>
                  <a:lnTo>
                    <a:pt x="3810" y="1100"/>
                  </a:lnTo>
                  <a:lnTo>
                    <a:pt x="3804" y="1100"/>
                  </a:lnTo>
                  <a:lnTo>
                    <a:pt x="3798" y="1102"/>
                  </a:lnTo>
                  <a:lnTo>
                    <a:pt x="3792" y="1102"/>
                  </a:lnTo>
                  <a:lnTo>
                    <a:pt x="3786" y="1104"/>
                  </a:lnTo>
                  <a:lnTo>
                    <a:pt x="3780" y="1106"/>
                  </a:lnTo>
                  <a:lnTo>
                    <a:pt x="3774" y="1106"/>
                  </a:lnTo>
                  <a:lnTo>
                    <a:pt x="3768" y="1106"/>
                  </a:lnTo>
                  <a:lnTo>
                    <a:pt x="3770" y="1110"/>
                  </a:lnTo>
                  <a:lnTo>
                    <a:pt x="3774" y="1108"/>
                  </a:lnTo>
                  <a:lnTo>
                    <a:pt x="3780" y="1108"/>
                  </a:lnTo>
                  <a:lnTo>
                    <a:pt x="3786" y="1106"/>
                  </a:lnTo>
                  <a:lnTo>
                    <a:pt x="3792" y="1106"/>
                  </a:lnTo>
                  <a:lnTo>
                    <a:pt x="3798" y="1104"/>
                  </a:lnTo>
                  <a:lnTo>
                    <a:pt x="3804" y="1102"/>
                  </a:lnTo>
                  <a:lnTo>
                    <a:pt x="3810" y="1102"/>
                  </a:lnTo>
                  <a:lnTo>
                    <a:pt x="3816" y="1100"/>
                  </a:lnTo>
                  <a:lnTo>
                    <a:pt x="3822" y="1098"/>
                  </a:lnTo>
                  <a:lnTo>
                    <a:pt x="3828" y="1096"/>
                  </a:lnTo>
                  <a:lnTo>
                    <a:pt x="3834" y="1094"/>
                  </a:lnTo>
                  <a:lnTo>
                    <a:pt x="3828" y="1100"/>
                  </a:lnTo>
                  <a:lnTo>
                    <a:pt x="3822" y="1102"/>
                  </a:lnTo>
                  <a:lnTo>
                    <a:pt x="3816" y="1106"/>
                  </a:lnTo>
                  <a:lnTo>
                    <a:pt x="3810" y="1106"/>
                  </a:lnTo>
                  <a:lnTo>
                    <a:pt x="3804" y="1106"/>
                  </a:lnTo>
                  <a:lnTo>
                    <a:pt x="3798" y="1110"/>
                  </a:lnTo>
                  <a:lnTo>
                    <a:pt x="3792" y="1112"/>
                  </a:lnTo>
                  <a:lnTo>
                    <a:pt x="3786" y="1114"/>
                  </a:lnTo>
                  <a:lnTo>
                    <a:pt x="3780" y="1114"/>
                  </a:lnTo>
                  <a:lnTo>
                    <a:pt x="3774" y="1118"/>
                  </a:lnTo>
                  <a:lnTo>
                    <a:pt x="3768" y="1120"/>
                  </a:lnTo>
                  <a:lnTo>
                    <a:pt x="3762" y="1120"/>
                  </a:lnTo>
                  <a:lnTo>
                    <a:pt x="3756" y="1120"/>
                  </a:lnTo>
                  <a:lnTo>
                    <a:pt x="3750" y="1118"/>
                  </a:lnTo>
                  <a:lnTo>
                    <a:pt x="3744" y="1122"/>
                  </a:lnTo>
                  <a:lnTo>
                    <a:pt x="3738" y="1124"/>
                  </a:lnTo>
                  <a:lnTo>
                    <a:pt x="3734" y="1128"/>
                  </a:lnTo>
                  <a:lnTo>
                    <a:pt x="3728" y="1132"/>
                  </a:lnTo>
                  <a:lnTo>
                    <a:pt x="3724" y="1138"/>
                  </a:lnTo>
                  <a:lnTo>
                    <a:pt x="3718" y="1136"/>
                  </a:lnTo>
                  <a:lnTo>
                    <a:pt x="3712" y="1130"/>
                  </a:lnTo>
                  <a:lnTo>
                    <a:pt x="3706" y="1128"/>
                  </a:lnTo>
                  <a:lnTo>
                    <a:pt x="3700" y="1126"/>
                  </a:lnTo>
                  <a:lnTo>
                    <a:pt x="3694" y="1120"/>
                  </a:lnTo>
                  <a:lnTo>
                    <a:pt x="3694" y="1122"/>
                  </a:lnTo>
                  <a:lnTo>
                    <a:pt x="3692" y="1128"/>
                  </a:lnTo>
                  <a:lnTo>
                    <a:pt x="3698" y="1128"/>
                  </a:lnTo>
                  <a:lnTo>
                    <a:pt x="3704" y="1130"/>
                  </a:lnTo>
                  <a:lnTo>
                    <a:pt x="3710" y="1132"/>
                  </a:lnTo>
                  <a:lnTo>
                    <a:pt x="3716" y="1138"/>
                  </a:lnTo>
                  <a:lnTo>
                    <a:pt x="3722" y="1140"/>
                  </a:lnTo>
                  <a:lnTo>
                    <a:pt x="3726" y="1144"/>
                  </a:lnTo>
                  <a:lnTo>
                    <a:pt x="3720" y="1146"/>
                  </a:lnTo>
                  <a:lnTo>
                    <a:pt x="3714" y="1148"/>
                  </a:lnTo>
                  <a:lnTo>
                    <a:pt x="3708" y="1152"/>
                  </a:lnTo>
                  <a:lnTo>
                    <a:pt x="3714" y="1154"/>
                  </a:lnTo>
                  <a:lnTo>
                    <a:pt x="3708" y="1156"/>
                  </a:lnTo>
                  <a:lnTo>
                    <a:pt x="3702" y="1156"/>
                  </a:lnTo>
                  <a:lnTo>
                    <a:pt x="3702" y="1158"/>
                  </a:lnTo>
                  <a:lnTo>
                    <a:pt x="3708" y="1158"/>
                  </a:lnTo>
                  <a:lnTo>
                    <a:pt x="3714" y="1156"/>
                  </a:lnTo>
                  <a:lnTo>
                    <a:pt x="3720" y="1152"/>
                  </a:lnTo>
                  <a:lnTo>
                    <a:pt x="3726" y="1150"/>
                  </a:lnTo>
                  <a:lnTo>
                    <a:pt x="3728" y="1148"/>
                  </a:lnTo>
                  <a:lnTo>
                    <a:pt x="3734" y="1146"/>
                  </a:lnTo>
                  <a:lnTo>
                    <a:pt x="3736" y="1146"/>
                  </a:lnTo>
                  <a:lnTo>
                    <a:pt x="3740" y="1140"/>
                  </a:lnTo>
                  <a:lnTo>
                    <a:pt x="3746" y="1140"/>
                  </a:lnTo>
                  <a:lnTo>
                    <a:pt x="3752" y="1140"/>
                  </a:lnTo>
                  <a:lnTo>
                    <a:pt x="3758" y="1138"/>
                  </a:lnTo>
                  <a:lnTo>
                    <a:pt x="3764" y="1134"/>
                  </a:lnTo>
                  <a:lnTo>
                    <a:pt x="3770" y="1132"/>
                  </a:lnTo>
                  <a:lnTo>
                    <a:pt x="3776" y="1130"/>
                  </a:lnTo>
                  <a:lnTo>
                    <a:pt x="3782" y="1130"/>
                  </a:lnTo>
                  <a:lnTo>
                    <a:pt x="3788" y="1126"/>
                  </a:lnTo>
                  <a:lnTo>
                    <a:pt x="3790" y="1120"/>
                  </a:lnTo>
                  <a:lnTo>
                    <a:pt x="3796" y="1118"/>
                  </a:lnTo>
                  <a:lnTo>
                    <a:pt x="3802" y="1112"/>
                  </a:lnTo>
                  <a:lnTo>
                    <a:pt x="3808" y="1112"/>
                  </a:lnTo>
                  <a:lnTo>
                    <a:pt x="3814" y="1110"/>
                  </a:lnTo>
                  <a:lnTo>
                    <a:pt x="3820" y="1108"/>
                  </a:lnTo>
                  <a:lnTo>
                    <a:pt x="3826" y="1108"/>
                  </a:lnTo>
                  <a:lnTo>
                    <a:pt x="3832" y="1106"/>
                  </a:lnTo>
                  <a:lnTo>
                    <a:pt x="3838" y="1104"/>
                  </a:lnTo>
                  <a:lnTo>
                    <a:pt x="3844" y="1102"/>
                  </a:lnTo>
                  <a:lnTo>
                    <a:pt x="3850" y="1104"/>
                  </a:lnTo>
                  <a:lnTo>
                    <a:pt x="3856" y="1102"/>
                  </a:lnTo>
                  <a:lnTo>
                    <a:pt x="3850" y="1100"/>
                  </a:lnTo>
                  <a:lnTo>
                    <a:pt x="3844" y="1100"/>
                  </a:lnTo>
                  <a:lnTo>
                    <a:pt x="3838" y="1102"/>
                  </a:lnTo>
                  <a:lnTo>
                    <a:pt x="3832" y="1102"/>
                  </a:lnTo>
                  <a:lnTo>
                    <a:pt x="3834" y="1096"/>
                  </a:lnTo>
                  <a:lnTo>
                    <a:pt x="3840" y="1096"/>
                  </a:lnTo>
                  <a:lnTo>
                    <a:pt x="3846" y="1094"/>
                  </a:lnTo>
                  <a:lnTo>
                    <a:pt x="3852" y="1094"/>
                  </a:lnTo>
                  <a:lnTo>
                    <a:pt x="3858" y="1096"/>
                  </a:lnTo>
                  <a:lnTo>
                    <a:pt x="3864" y="1096"/>
                  </a:lnTo>
                  <a:lnTo>
                    <a:pt x="3870" y="1096"/>
                  </a:lnTo>
                  <a:lnTo>
                    <a:pt x="3876" y="1098"/>
                  </a:lnTo>
                  <a:lnTo>
                    <a:pt x="3882" y="1098"/>
                  </a:lnTo>
                  <a:lnTo>
                    <a:pt x="3884" y="1102"/>
                  </a:lnTo>
                  <a:lnTo>
                    <a:pt x="3884" y="1110"/>
                  </a:lnTo>
                  <a:lnTo>
                    <a:pt x="3884" y="1114"/>
                  </a:lnTo>
                  <a:lnTo>
                    <a:pt x="3890" y="1120"/>
                  </a:lnTo>
                  <a:lnTo>
                    <a:pt x="3884" y="1124"/>
                  </a:lnTo>
                  <a:lnTo>
                    <a:pt x="3878" y="1128"/>
                  </a:lnTo>
                  <a:lnTo>
                    <a:pt x="3872" y="1132"/>
                  </a:lnTo>
                  <a:lnTo>
                    <a:pt x="3866" y="1132"/>
                  </a:lnTo>
                  <a:lnTo>
                    <a:pt x="3860" y="1136"/>
                  </a:lnTo>
                  <a:lnTo>
                    <a:pt x="3864" y="1136"/>
                  </a:lnTo>
                  <a:lnTo>
                    <a:pt x="3870" y="1136"/>
                  </a:lnTo>
                  <a:lnTo>
                    <a:pt x="3868" y="1142"/>
                  </a:lnTo>
                  <a:lnTo>
                    <a:pt x="3874" y="1142"/>
                  </a:lnTo>
                  <a:lnTo>
                    <a:pt x="3880" y="1136"/>
                  </a:lnTo>
                  <a:lnTo>
                    <a:pt x="3886" y="1130"/>
                  </a:lnTo>
                  <a:lnTo>
                    <a:pt x="3892" y="1128"/>
                  </a:lnTo>
                  <a:lnTo>
                    <a:pt x="3898" y="1128"/>
                  </a:lnTo>
                  <a:lnTo>
                    <a:pt x="3904" y="1128"/>
                  </a:lnTo>
                  <a:lnTo>
                    <a:pt x="3910" y="1128"/>
                  </a:lnTo>
                  <a:lnTo>
                    <a:pt x="3916" y="1124"/>
                  </a:lnTo>
                  <a:lnTo>
                    <a:pt x="3912" y="1130"/>
                  </a:lnTo>
                  <a:lnTo>
                    <a:pt x="3906" y="1130"/>
                  </a:lnTo>
                  <a:lnTo>
                    <a:pt x="3910" y="1132"/>
                  </a:lnTo>
                  <a:lnTo>
                    <a:pt x="3918" y="1134"/>
                  </a:lnTo>
                  <a:lnTo>
                    <a:pt x="3922" y="1134"/>
                  </a:lnTo>
                  <a:lnTo>
                    <a:pt x="3928" y="1136"/>
                  </a:lnTo>
                  <a:lnTo>
                    <a:pt x="3934" y="1136"/>
                  </a:lnTo>
                  <a:lnTo>
                    <a:pt x="3928" y="1138"/>
                  </a:lnTo>
                  <a:lnTo>
                    <a:pt x="3934" y="1144"/>
                  </a:lnTo>
                  <a:lnTo>
                    <a:pt x="3932" y="1150"/>
                  </a:lnTo>
                  <a:lnTo>
                    <a:pt x="3938" y="1148"/>
                  </a:lnTo>
                  <a:lnTo>
                    <a:pt x="3942" y="1152"/>
                  </a:lnTo>
                  <a:lnTo>
                    <a:pt x="3940" y="1158"/>
                  </a:lnTo>
                  <a:lnTo>
                    <a:pt x="3940" y="1164"/>
                  </a:lnTo>
                  <a:lnTo>
                    <a:pt x="3934" y="1168"/>
                  </a:lnTo>
                  <a:lnTo>
                    <a:pt x="3928" y="1174"/>
                  </a:lnTo>
                  <a:lnTo>
                    <a:pt x="3922" y="1172"/>
                  </a:lnTo>
                  <a:lnTo>
                    <a:pt x="3916" y="1172"/>
                  </a:lnTo>
                  <a:lnTo>
                    <a:pt x="3922" y="1174"/>
                  </a:lnTo>
                  <a:lnTo>
                    <a:pt x="3928" y="1178"/>
                  </a:lnTo>
                  <a:lnTo>
                    <a:pt x="3930" y="1182"/>
                  </a:lnTo>
                  <a:lnTo>
                    <a:pt x="3928" y="1184"/>
                  </a:lnTo>
                  <a:lnTo>
                    <a:pt x="3924" y="1186"/>
                  </a:lnTo>
                  <a:lnTo>
                    <a:pt x="3918" y="1188"/>
                  </a:lnTo>
                  <a:lnTo>
                    <a:pt x="3912" y="1188"/>
                  </a:lnTo>
                  <a:lnTo>
                    <a:pt x="3914" y="1194"/>
                  </a:lnTo>
                  <a:lnTo>
                    <a:pt x="3920" y="1196"/>
                  </a:lnTo>
                  <a:lnTo>
                    <a:pt x="3926" y="1196"/>
                  </a:lnTo>
                  <a:lnTo>
                    <a:pt x="3922" y="1202"/>
                  </a:lnTo>
                  <a:lnTo>
                    <a:pt x="3918" y="1200"/>
                  </a:lnTo>
                  <a:lnTo>
                    <a:pt x="3910" y="1198"/>
                  </a:lnTo>
                  <a:lnTo>
                    <a:pt x="3912" y="1204"/>
                  </a:lnTo>
                  <a:lnTo>
                    <a:pt x="3906" y="1204"/>
                  </a:lnTo>
                  <a:lnTo>
                    <a:pt x="3900" y="1204"/>
                  </a:lnTo>
                  <a:lnTo>
                    <a:pt x="3894" y="1204"/>
                  </a:lnTo>
                  <a:lnTo>
                    <a:pt x="3888" y="1202"/>
                  </a:lnTo>
                  <a:lnTo>
                    <a:pt x="3886" y="1202"/>
                  </a:lnTo>
                  <a:lnTo>
                    <a:pt x="3892" y="1204"/>
                  </a:lnTo>
                  <a:lnTo>
                    <a:pt x="3898" y="1206"/>
                  </a:lnTo>
                  <a:lnTo>
                    <a:pt x="3904" y="1204"/>
                  </a:lnTo>
                  <a:lnTo>
                    <a:pt x="3910" y="1208"/>
                  </a:lnTo>
                  <a:lnTo>
                    <a:pt x="3916" y="1208"/>
                  </a:lnTo>
                  <a:lnTo>
                    <a:pt x="3918" y="1208"/>
                  </a:lnTo>
                  <a:lnTo>
                    <a:pt x="3924" y="1212"/>
                  </a:lnTo>
                  <a:lnTo>
                    <a:pt x="3924" y="1218"/>
                  </a:lnTo>
                  <a:lnTo>
                    <a:pt x="3918" y="1216"/>
                  </a:lnTo>
                  <a:lnTo>
                    <a:pt x="3912" y="1216"/>
                  </a:lnTo>
                  <a:lnTo>
                    <a:pt x="3906" y="1214"/>
                  </a:lnTo>
                  <a:lnTo>
                    <a:pt x="3900" y="1212"/>
                  </a:lnTo>
                  <a:lnTo>
                    <a:pt x="3906" y="1216"/>
                  </a:lnTo>
                  <a:lnTo>
                    <a:pt x="3912" y="1220"/>
                  </a:lnTo>
                  <a:lnTo>
                    <a:pt x="3918" y="1222"/>
                  </a:lnTo>
                  <a:lnTo>
                    <a:pt x="3914" y="1228"/>
                  </a:lnTo>
                  <a:lnTo>
                    <a:pt x="3916" y="1234"/>
                  </a:lnTo>
                  <a:lnTo>
                    <a:pt x="3910" y="1236"/>
                  </a:lnTo>
                  <a:lnTo>
                    <a:pt x="3904" y="1240"/>
                  </a:lnTo>
                  <a:lnTo>
                    <a:pt x="3898" y="1246"/>
                  </a:lnTo>
                  <a:lnTo>
                    <a:pt x="3892" y="1248"/>
                  </a:lnTo>
                  <a:lnTo>
                    <a:pt x="3886" y="1250"/>
                  </a:lnTo>
                  <a:lnTo>
                    <a:pt x="3880" y="1254"/>
                  </a:lnTo>
                  <a:lnTo>
                    <a:pt x="3874" y="1256"/>
                  </a:lnTo>
                  <a:lnTo>
                    <a:pt x="3868" y="1258"/>
                  </a:lnTo>
                  <a:lnTo>
                    <a:pt x="3862" y="1262"/>
                  </a:lnTo>
                  <a:lnTo>
                    <a:pt x="3856" y="1264"/>
                  </a:lnTo>
                  <a:lnTo>
                    <a:pt x="3850" y="1266"/>
                  </a:lnTo>
                  <a:lnTo>
                    <a:pt x="3844" y="1272"/>
                  </a:lnTo>
                  <a:lnTo>
                    <a:pt x="3838" y="1276"/>
                  </a:lnTo>
                  <a:lnTo>
                    <a:pt x="3832" y="1278"/>
                  </a:lnTo>
                  <a:lnTo>
                    <a:pt x="3826" y="1280"/>
                  </a:lnTo>
                  <a:lnTo>
                    <a:pt x="3824" y="1280"/>
                  </a:lnTo>
                  <a:lnTo>
                    <a:pt x="3818" y="1278"/>
                  </a:lnTo>
                  <a:lnTo>
                    <a:pt x="3812" y="1276"/>
                  </a:lnTo>
                  <a:lnTo>
                    <a:pt x="3806" y="1278"/>
                  </a:lnTo>
                  <a:lnTo>
                    <a:pt x="3800" y="1278"/>
                  </a:lnTo>
                  <a:lnTo>
                    <a:pt x="3794" y="1280"/>
                  </a:lnTo>
                  <a:lnTo>
                    <a:pt x="3788" y="1280"/>
                  </a:lnTo>
                  <a:lnTo>
                    <a:pt x="3782" y="1282"/>
                  </a:lnTo>
                  <a:lnTo>
                    <a:pt x="3776" y="1286"/>
                  </a:lnTo>
                  <a:lnTo>
                    <a:pt x="3770" y="1288"/>
                  </a:lnTo>
                  <a:lnTo>
                    <a:pt x="3764" y="1288"/>
                  </a:lnTo>
                  <a:lnTo>
                    <a:pt x="3758" y="1288"/>
                  </a:lnTo>
                  <a:lnTo>
                    <a:pt x="3750" y="1288"/>
                  </a:lnTo>
                  <a:lnTo>
                    <a:pt x="3744" y="1290"/>
                  </a:lnTo>
                  <a:lnTo>
                    <a:pt x="3740" y="1290"/>
                  </a:lnTo>
                  <a:lnTo>
                    <a:pt x="3736" y="1290"/>
                  </a:lnTo>
                  <a:lnTo>
                    <a:pt x="3738" y="1296"/>
                  </a:lnTo>
                  <a:lnTo>
                    <a:pt x="3732" y="1300"/>
                  </a:lnTo>
                  <a:lnTo>
                    <a:pt x="3726" y="1302"/>
                  </a:lnTo>
                  <a:lnTo>
                    <a:pt x="3720" y="1306"/>
                  </a:lnTo>
                  <a:lnTo>
                    <a:pt x="3714" y="1306"/>
                  </a:lnTo>
                  <a:lnTo>
                    <a:pt x="3714" y="1312"/>
                  </a:lnTo>
                  <a:lnTo>
                    <a:pt x="3712" y="1312"/>
                  </a:lnTo>
                  <a:lnTo>
                    <a:pt x="3710" y="1318"/>
                  </a:lnTo>
                  <a:lnTo>
                    <a:pt x="3706" y="1322"/>
                  </a:lnTo>
                  <a:lnTo>
                    <a:pt x="3706" y="1316"/>
                  </a:lnTo>
                  <a:lnTo>
                    <a:pt x="3700" y="1322"/>
                  </a:lnTo>
                  <a:lnTo>
                    <a:pt x="3694" y="1326"/>
                  </a:lnTo>
                  <a:lnTo>
                    <a:pt x="3688" y="1326"/>
                  </a:lnTo>
                  <a:lnTo>
                    <a:pt x="3682" y="1330"/>
                  </a:lnTo>
                  <a:lnTo>
                    <a:pt x="3676" y="1336"/>
                  </a:lnTo>
                  <a:lnTo>
                    <a:pt x="3670" y="1340"/>
                  </a:lnTo>
                  <a:lnTo>
                    <a:pt x="3668" y="1342"/>
                  </a:lnTo>
                  <a:lnTo>
                    <a:pt x="3662" y="1344"/>
                  </a:lnTo>
                  <a:lnTo>
                    <a:pt x="3656" y="1344"/>
                  </a:lnTo>
                  <a:lnTo>
                    <a:pt x="3652" y="1348"/>
                  </a:lnTo>
                  <a:lnTo>
                    <a:pt x="3648" y="1354"/>
                  </a:lnTo>
                  <a:lnTo>
                    <a:pt x="3642" y="1356"/>
                  </a:lnTo>
                  <a:lnTo>
                    <a:pt x="3640" y="1358"/>
                  </a:lnTo>
                  <a:lnTo>
                    <a:pt x="3634" y="1360"/>
                  </a:lnTo>
                  <a:lnTo>
                    <a:pt x="3628" y="1358"/>
                  </a:lnTo>
                  <a:lnTo>
                    <a:pt x="3622" y="1358"/>
                  </a:lnTo>
                  <a:lnTo>
                    <a:pt x="3616" y="1358"/>
                  </a:lnTo>
                  <a:lnTo>
                    <a:pt x="3610" y="1360"/>
                  </a:lnTo>
                  <a:lnTo>
                    <a:pt x="3604" y="1360"/>
                  </a:lnTo>
                  <a:lnTo>
                    <a:pt x="3598" y="1360"/>
                  </a:lnTo>
                  <a:lnTo>
                    <a:pt x="3592" y="1360"/>
                  </a:lnTo>
                  <a:lnTo>
                    <a:pt x="3586" y="1360"/>
                  </a:lnTo>
                  <a:lnTo>
                    <a:pt x="3580" y="1362"/>
                  </a:lnTo>
                  <a:lnTo>
                    <a:pt x="3574" y="1360"/>
                  </a:lnTo>
                  <a:lnTo>
                    <a:pt x="3568" y="1362"/>
                  </a:lnTo>
                  <a:lnTo>
                    <a:pt x="3562" y="1362"/>
                  </a:lnTo>
                  <a:lnTo>
                    <a:pt x="3556" y="1364"/>
                  </a:lnTo>
                  <a:lnTo>
                    <a:pt x="3550" y="1366"/>
                  </a:lnTo>
                  <a:lnTo>
                    <a:pt x="3544" y="1368"/>
                  </a:lnTo>
                  <a:lnTo>
                    <a:pt x="3550" y="1364"/>
                  </a:lnTo>
                  <a:lnTo>
                    <a:pt x="3554" y="1362"/>
                  </a:lnTo>
                  <a:lnTo>
                    <a:pt x="3548" y="1364"/>
                  </a:lnTo>
                  <a:lnTo>
                    <a:pt x="3542" y="1366"/>
                  </a:lnTo>
                  <a:lnTo>
                    <a:pt x="3542" y="1360"/>
                  </a:lnTo>
                  <a:lnTo>
                    <a:pt x="3536" y="1358"/>
                  </a:lnTo>
                  <a:lnTo>
                    <a:pt x="3528" y="1360"/>
                  </a:lnTo>
                  <a:lnTo>
                    <a:pt x="3522" y="1358"/>
                  </a:lnTo>
                  <a:lnTo>
                    <a:pt x="3516" y="1356"/>
                  </a:lnTo>
                  <a:lnTo>
                    <a:pt x="3510" y="1356"/>
                  </a:lnTo>
                  <a:lnTo>
                    <a:pt x="3504" y="1356"/>
                  </a:lnTo>
                  <a:lnTo>
                    <a:pt x="3500" y="1356"/>
                  </a:lnTo>
                  <a:lnTo>
                    <a:pt x="3494" y="1354"/>
                  </a:lnTo>
                  <a:lnTo>
                    <a:pt x="3486" y="1356"/>
                  </a:lnTo>
                  <a:lnTo>
                    <a:pt x="3482" y="1354"/>
                  </a:lnTo>
                  <a:lnTo>
                    <a:pt x="3476" y="1354"/>
                  </a:lnTo>
                  <a:lnTo>
                    <a:pt x="3470" y="1358"/>
                  </a:lnTo>
                  <a:lnTo>
                    <a:pt x="3464" y="1358"/>
                  </a:lnTo>
                  <a:lnTo>
                    <a:pt x="3458" y="1360"/>
                  </a:lnTo>
                  <a:lnTo>
                    <a:pt x="3452" y="1356"/>
                  </a:lnTo>
                  <a:lnTo>
                    <a:pt x="3446" y="1356"/>
                  </a:lnTo>
                  <a:lnTo>
                    <a:pt x="3440" y="1354"/>
                  </a:lnTo>
                  <a:lnTo>
                    <a:pt x="3434" y="1354"/>
                  </a:lnTo>
                  <a:lnTo>
                    <a:pt x="3428" y="1354"/>
                  </a:lnTo>
                  <a:lnTo>
                    <a:pt x="3422" y="1356"/>
                  </a:lnTo>
                  <a:lnTo>
                    <a:pt x="3416" y="1356"/>
                  </a:lnTo>
                  <a:lnTo>
                    <a:pt x="3410" y="1354"/>
                  </a:lnTo>
                  <a:lnTo>
                    <a:pt x="3406" y="1352"/>
                  </a:lnTo>
                  <a:lnTo>
                    <a:pt x="3400" y="1356"/>
                  </a:lnTo>
                  <a:lnTo>
                    <a:pt x="3394" y="1356"/>
                  </a:lnTo>
                  <a:lnTo>
                    <a:pt x="3388" y="1356"/>
                  </a:lnTo>
                  <a:lnTo>
                    <a:pt x="3382" y="1356"/>
                  </a:lnTo>
                  <a:lnTo>
                    <a:pt x="3378" y="1356"/>
                  </a:lnTo>
                  <a:lnTo>
                    <a:pt x="3372" y="1356"/>
                  </a:lnTo>
                  <a:lnTo>
                    <a:pt x="3366" y="1354"/>
                  </a:lnTo>
                  <a:lnTo>
                    <a:pt x="3360" y="1354"/>
                  </a:lnTo>
                  <a:lnTo>
                    <a:pt x="3354" y="1354"/>
                  </a:lnTo>
                  <a:lnTo>
                    <a:pt x="3346" y="1356"/>
                  </a:lnTo>
                  <a:lnTo>
                    <a:pt x="3342" y="1356"/>
                  </a:lnTo>
                  <a:lnTo>
                    <a:pt x="3334" y="1356"/>
                  </a:lnTo>
                  <a:lnTo>
                    <a:pt x="3330" y="1356"/>
                  </a:lnTo>
                  <a:lnTo>
                    <a:pt x="3322" y="1356"/>
                  </a:lnTo>
                  <a:lnTo>
                    <a:pt x="3316" y="1360"/>
                  </a:lnTo>
                  <a:lnTo>
                    <a:pt x="3312" y="1360"/>
                  </a:lnTo>
                  <a:lnTo>
                    <a:pt x="3306" y="1360"/>
                  </a:lnTo>
                  <a:lnTo>
                    <a:pt x="3300" y="1356"/>
                  </a:lnTo>
                  <a:lnTo>
                    <a:pt x="3294" y="1360"/>
                  </a:lnTo>
                  <a:lnTo>
                    <a:pt x="3294" y="1366"/>
                  </a:lnTo>
                  <a:lnTo>
                    <a:pt x="3288" y="1364"/>
                  </a:lnTo>
                  <a:lnTo>
                    <a:pt x="3286" y="1362"/>
                  </a:lnTo>
                  <a:lnTo>
                    <a:pt x="3280" y="1368"/>
                  </a:lnTo>
                  <a:lnTo>
                    <a:pt x="3274" y="1372"/>
                  </a:lnTo>
                  <a:lnTo>
                    <a:pt x="3268" y="1374"/>
                  </a:lnTo>
                  <a:lnTo>
                    <a:pt x="3266" y="1374"/>
                  </a:lnTo>
                  <a:lnTo>
                    <a:pt x="3262" y="1380"/>
                  </a:lnTo>
                  <a:lnTo>
                    <a:pt x="3256" y="1386"/>
                  </a:lnTo>
                  <a:lnTo>
                    <a:pt x="3250" y="1386"/>
                  </a:lnTo>
                  <a:lnTo>
                    <a:pt x="3244" y="1392"/>
                  </a:lnTo>
                  <a:lnTo>
                    <a:pt x="3240" y="1398"/>
                  </a:lnTo>
                  <a:lnTo>
                    <a:pt x="3236" y="1404"/>
                  </a:lnTo>
                  <a:lnTo>
                    <a:pt x="3234" y="1410"/>
                  </a:lnTo>
                  <a:lnTo>
                    <a:pt x="3228" y="1414"/>
                  </a:lnTo>
                  <a:lnTo>
                    <a:pt x="3222" y="1420"/>
                  </a:lnTo>
                  <a:lnTo>
                    <a:pt x="3216" y="1420"/>
                  </a:lnTo>
                  <a:lnTo>
                    <a:pt x="3210" y="1420"/>
                  </a:lnTo>
                  <a:lnTo>
                    <a:pt x="3204" y="1420"/>
                  </a:lnTo>
                  <a:lnTo>
                    <a:pt x="3198" y="1424"/>
                  </a:lnTo>
                  <a:lnTo>
                    <a:pt x="3192" y="1422"/>
                  </a:lnTo>
                  <a:lnTo>
                    <a:pt x="3186" y="1422"/>
                  </a:lnTo>
                  <a:lnTo>
                    <a:pt x="3180" y="1424"/>
                  </a:lnTo>
                  <a:lnTo>
                    <a:pt x="3174" y="1428"/>
                  </a:lnTo>
                  <a:lnTo>
                    <a:pt x="3170" y="1428"/>
                  </a:lnTo>
                  <a:lnTo>
                    <a:pt x="3172" y="1434"/>
                  </a:lnTo>
                  <a:lnTo>
                    <a:pt x="3166" y="1434"/>
                  </a:lnTo>
                  <a:lnTo>
                    <a:pt x="3160" y="1438"/>
                  </a:lnTo>
                  <a:lnTo>
                    <a:pt x="3164" y="1432"/>
                  </a:lnTo>
                  <a:lnTo>
                    <a:pt x="3162" y="1428"/>
                  </a:lnTo>
                  <a:lnTo>
                    <a:pt x="3160" y="1434"/>
                  </a:lnTo>
                  <a:lnTo>
                    <a:pt x="3154" y="1436"/>
                  </a:lnTo>
                  <a:lnTo>
                    <a:pt x="3148" y="1440"/>
                  </a:lnTo>
                  <a:lnTo>
                    <a:pt x="3142" y="1444"/>
                  </a:lnTo>
                  <a:lnTo>
                    <a:pt x="3136" y="1448"/>
                  </a:lnTo>
                  <a:lnTo>
                    <a:pt x="3130" y="1452"/>
                  </a:lnTo>
                  <a:lnTo>
                    <a:pt x="3124" y="1454"/>
                  </a:lnTo>
                  <a:lnTo>
                    <a:pt x="3118" y="1456"/>
                  </a:lnTo>
                  <a:lnTo>
                    <a:pt x="3116" y="1458"/>
                  </a:lnTo>
                  <a:lnTo>
                    <a:pt x="3112" y="1466"/>
                  </a:lnTo>
                  <a:lnTo>
                    <a:pt x="3106" y="1470"/>
                  </a:lnTo>
                  <a:lnTo>
                    <a:pt x="3100" y="1472"/>
                  </a:lnTo>
                  <a:lnTo>
                    <a:pt x="3096" y="1478"/>
                  </a:lnTo>
                  <a:lnTo>
                    <a:pt x="3090" y="1484"/>
                  </a:lnTo>
                  <a:lnTo>
                    <a:pt x="3084" y="1488"/>
                  </a:lnTo>
                  <a:lnTo>
                    <a:pt x="3078" y="1492"/>
                  </a:lnTo>
                  <a:lnTo>
                    <a:pt x="3072" y="1496"/>
                  </a:lnTo>
                  <a:lnTo>
                    <a:pt x="3066" y="1500"/>
                  </a:lnTo>
                  <a:lnTo>
                    <a:pt x="3060" y="1498"/>
                  </a:lnTo>
                  <a:lnTo>
                    <a:pt x="3056" y="1492"/>
                  </a:lnTo>
                  <a:lnTo>
                    <a:pt x="3054" y="1490"/>
                  </a:lnTo>
                  <a:lnTo>
                    <a:pt x="3048" y="1492"/>
                  </a:lnTo>
                  <a:lnTo>
                    <a:pt x="3042" y="1488"/>
                  </a:lnTo>
                  <a:lnTo>
                    <a:pt x="3036" y="1484"/>
                  </a:lnTo>
                  <a:lnTo>
                    <a:pt x="3030" y="1484"/>
                  </a:lnTo>
                  <a:lnTo>
                    <a:pt x="3024" y="1482"/>
                  </a:lnTo>
                  <a:lnTo>
                    <a:pt x="3018" y="1480"/>
                  </a:lnTo>
                  <a:lnTo>
                    <a:pt x="3012" y="1478"/>
                  </a:lnTo>
                  <a:lnTo>
                    <a:pt x="3006" y="1478"/>
                  </a:lnTo>
                  <a:lnTo>
                    <a:pt x="3000" y="1478"/>
                  </a:lnTo>
                  <a:lnTo>
                    <a:pt x="3006" y="1478"/>
                  </a:lnTo>
                  <a:lnTo>
                    <a:pt x="3012" y="1482"/>
                  </a:lnTo>
                  <a:lnTo>
                    <a:pt x="3008" y="1488"/>
                  </a:lnTo>
                  <a:lnTo>
                    <a:pt x="3014" y="1486"/>
                  </a:lnTo>
                  <a:lnTo>
                    <a:pt x="3020" y="1486"/>
                  </a:lnTo>
                  <a:lnTo>
                    <a:pt x="3026" y="1484"/>
                  </a:lnTo>
                  <a:lnTo>
                    <a:pt x="3032" y="1486"/>
                  </a:lnTo>
                  <a:lnTo>
                    <a:pt x="3038" y="1488"/>
                  </a:lnTo>
                  <a:lnTo>
                    <a:pt x="3044" y="1492"/>
                  </a:lnTo>
                  <a:lnTo>
                    <a:pt x="3050" y="1492"/>
                  </a:lnTo>
                  <a:lnTo>
                    <a:pt x="3052" y="1492"/>
                  </a:lnTo>
                  <a:lnTo>
                    <a:pt x="3058" y="1498"/>
                  </a:lnTo>
                  <a:lnTo>
                    <a:pt x="3062" y="1500"/>
                  </a:lnTo>
                  <a:lnTo>
                    <a:pt x="3058" y="1508"/>
                  </a:lnTo>
                  <a:lnTo>
                    <a:pt x="3054" y="1512"/>
                  </a:lnTo>
                  <a:lnTo>
                    <a:pt x="3048" y="1518"/>
                  </a:lnTo>
                  <a:lnTo>
                    <a:pt x="3042" y="1524"/>
                  </a:lnTo>
                  <a:lnTo>
                    <a:pt x="3038" y="1528"/>
                  </a:lnTo>
                  <a:lnTo>
                    <a:pt x="3032" y="1532"/>
                  </a:lnTo>
                  <a:lnTo>
                    <a:pt x="3026" y="1534"/>
                  </a:lnTo>
                  <a:lnTo>
                    <a:pt x="3020" y="1542"/>
                  </a:lnTo>
                  <a:lnTo>
                    <a:pt x="3016" y="1544"/>
                  </a:lnTo>
                  <a:lnTo>
                    <a:pt x="3010" y="1546"/>
                  </a:lnTo>
                  <a:lnTo>
                    <a:pt x="3004" y="1546"/>
                  </a:lnTo>
                  <a:lnTo>
                    <a:pt x="2998" y="1552"/>
                  </a:lnTo>
                  <a:lnTo>
                    <a:pt x="2994" y="1560"/>
                  </a:lnTo>
                  <a:lnTo>
                    <a:pt x="2988" y="1564"/>
                  </a:lnTo>
                  <a:lnTo>
                    <a:pt x="2982" y="1570"/>
                  </a:lnTo>
                  <a:lnTo>
                    <a:pt x="2976" y="1572"/>
                  </a:lnTo>
                  <a:lnTo>
                    <a:pt x="2970" y="1574"/>
                  </a:lnTo>
                  <a:lnTo>
                    <a:pt x="2966" y="1576"/>
                  </a:lnTo>
                  <a:lnTo>
                    <a:pt x="2958" y="1580"/>
                  </a:lnTo>
                  <a:lnTo>
                    <a:pt x="2952" y="1584"/>
                  </a:lnTo>
                  <a:lnTo>
                    <a:pt x="2948" y="1588"/>
                  </a:lnTo>
                  <a:lnTo>
                    <a:pt x="2940" y="1594"/>
                  </a:lnTo>
                  <a:lnTo>
                    <a:pt x="2946" y="1590"/>
                  </a:lnTo>
                  <a:lnTo>
                    <a:pt x="2952" y="1586"/>
                  </a:lnTo>
                  <a:lnTo>
                    <a:pt x="2958" y="1586"/>
                  </a:lnTo>
                  <a:lnTo>
                    <a:pt x="2966" y="1584"/>
                  </a:lnTo>
                  <a:lnTo>
                    <a:pt x="2970" y="1582"/>
                  </a:lnTo>
                  <a:lnTo>
                    <a:pt x="2978" y="1580"/>
                  </a:lnTo>
                  <a:lnTo>
                    <a:pt x="2982" y="1578"/>
                  </a:lnTo>
                  <a:lnTo>
                    <a:pt x="2988" y="1576"/>
                  </a:lnTo>
                  <a:lnTo>
                    <a:pt x="2996" y="1572"/>
                  </a:lnTo>
                  <a:lnTo>
                    <a:pt x="3000" y="1568"/>
                  </a:lnTo>
                  <a:lnTo>
                    <a:pt x="3004" y="1566"/>
                  </a:lnTo>
                  <a:lnTo>
                    <a:pt x="3010" y="1562"/>
                  </a:lnTo>
                  <a:lnTo>
                    <a:pt x="3016" y="1556"/>
                  </a:lnTo>
                  <a:lnTo>
                    <a:pt x="3022" y="1554"/>
                  </a:lnTo>
                  <a:lnTo>
                    <a:pt x="3028" y="1546"/>
                  </a:lnTo>
                  <a:lnTo>
                    <a:pt x="3032" y="1542"/>
                  </a:lnTo>
                  <a:lnTo>
                    <a:pt x="3038" y="1540"/>
                  </a:lnTo>
                  <a:lnTo>
                    <a:pt x="3044" y="1536"/>
                  </a:lnTo>
                  <a:lnTo>
                    <a:pt x="3050" y="1530"/>
                  </a:lnTo>
                  <a:lnTo>
                    <a:pt x="3056" y="1526"/>
                  </a:lnTo>
                  <a:lnTo>
                    <a:pt x="3062" y="1522"/>
                  </a:lnTo>
                  <a:lnTo>
                    <a:pt x="3068" y="1516"/>
                  </a:lnTo>
                  <a:lnTo>
                    <a:pt x="3074" y="1512"/>
                  </a:lnTo>
                  <a:lnTo>
                    <a:pt x="3080" y="1508"/>
                  </a:lnTo>
                  <a:lnTo>
                    <a:pt x="3086" y="1504"/>
                  </a:lnTo>
                  <a:lnTo>
                    <a:pt x="3092" y="1502"/>
                  </a:lnTo>
                  <a:lnTo>
                    <a:pt x="3096" y="1498"/>
                  </a:lnTo>
                  <a:lnTo>
                    <a:pt x="3102" y="1494"/>
                  </a:lnTo>
                  <a:lnTo>
                    <a:pt x="3110" y="1490"/>
                  </a:lnTo>
                  <a:lnTo>
                    <a:pt x="3114" y="1488"/>
                  </a:lnTo>
                  <a:lnTo>
                    <a:pt x="3120" y="1484"/>
                  </a:lnTo>
                  <a:lnTo>
                    <a:pt x="3126" y="1482"/>
                  </a:lnTo>
                  <a:lnTo>
                    <a:pt x="3132" y="1478"/>
                  </a:lnTo>
                  <a:lnTo>
                    <a:pt x="3136" y="1478"/>
                  </a:lnTo>
                  <a:lnTo>
                    <a:pt x="3144" y="1474"/>
                  </a:lnTo>
                  <a:lnTo>
                    <a:pt x="3148" y="1472"/>
                  </a:lnTo>
                  <a:lnTo>
                    <a:pt x="3156" y="1468"/>
                  </a:lnTo>
                  <a:lnTo>
                    <a:pt x="3160" y="1466"/>
                  </a:lnTo>
                  <a:lnTo>
                    <a:pt x="3168" y="1464"/>
                  </a:lnTo>
                  <a:lnTo>
                    <a:pt x="3172" y="1462"/>
                  </a:lnTo>
                  <a:lnTo>
                    <a:pt x="3178" y="1460"/>
                  </a:lnTo>
                  <a:lnTo>
                    <a:pt x="3186" y="1458"/>
                  </a:lnTo>
                  <a:lnTo>
                    <a:pt x="3190" y="1456"/>
                  </a:lnTo>
                  <a:lnTo>
                    <a:pt x="3196" y="1454"/>
                  </a:lnTo>
                  <a:lnTo>
                    <a:pt x="3202" y="1450"/>
                  </a:lnTo>
                  <a:lnTo>
                    <a:pt x="3208" y="1450"/>
                  </a:lnTo>
                  <a:lnTo>
                    <a:pt x="3214" y="1448"/>
                  </a:lnTo>
                  <a:lnTo>
                    <a:pt x="3220" y="1446"/>
                  </a:lnTo>
                  <a:lnTo>
                    <a:pt x="3226" y="1444"/>
                  </a:lnTo>
                  <a:lnTo>
                    <a:pt x="3232" y="1444"/>
                  </a:lnTo>
                  <a:lnTo>
                    <a:pt x="3238" y="1440"/>
                  </a:lnTo>
                  <a:lnTo>
                    <a:pt x="3244" y="1438"/>
                  </a:lnTo>
                  <a:lnTo>
                    <a:pt x="3250" y="1436"/>
                  </a:lnTo>
                  <a:lnTo>
                    <a:pt x="3254" y="1434"/>
                  </a:lnTo>
                  <a:lnTo>
                    <a:pt x="3260" y="1432"/>
                  </a:lnTo>
                  <a:lnTo>
                    <a:pt x="3266" y="1432"/>
                  </a:lnTo>
                  <a:lnTo>
                    <a:pt x="3272" y="1430"/>
                  </a:lnTo>
                  <a:lnTo>
                    <a:pt x="3278" y="1428"/>
                  </a:lnTo>
                  <a:lnTo>
                    <a:pt x="3284" y="1428"/>
                  </a:lnTo>
                  <a:lnTo>
                    <a:pt x="3290" y="1426"/>
                  </a:lnTo>
                  <a:lnTo>
                    <a:pt x="3296" y="1426"/>
                  </a:lnTo>
                  <a:lnTo>
                    <a:pt x="3302" y="1426"/>
                  </a:lnTo>
                  <a:lnTo>
                    <a:pt x="3308" y="1426"/>
                  </a:lnTo>
                  <a:lnTo>
                    <a:pt x="3314" y="1424"/>
                  </a:lnTo>
                  <a:lnTo>
                    <a:pt x="3316" y="1424"/>
                  </a:lnTo>
                  <a:lnTo>
                    <a:pt x="3322" y="1424"/>
                  </a:lnTo>
                  <a:lnTo>
                    <a:pt x="3328" y="1424"/>
                  </a:lnTo>
                  <a:lnTo>
                    <a:pt x="3334" y="1426"/>
                  </a:lnTo>
                  <a:lnTo>
                    <a:pt x="3340" y="1426"/>
                  </a:lnTo>
                  <a:lnTo>
                    <a:pt x="3346" y="1426"/>
                  </a:lnTo>
                  <a:lnTo>
                    <a:pt x="3352" y="1428"/>
                  </a:lnTo>
                  <a:lnTo>
                    <a:pt x="3358" y="1430"/>
                  </a:lnTo>
                  <a:lnTo>
                    <a:pt x="3364" y="1434"/>
                  </a:lnTo>
                  <a:lnTo>
                    <a:pt x="3370" y="1436"/>
                  </a:lnTo>
                  <a:lnTo>
                    <a:pt x="3376" y="1442"/>
                  </a:lnTo>
                  <a:lnTo>
                    <a:pt x="3380" y="1450"/>
                  </a:lnTo>
                  <a:lnTo>
                    <a:pt x="3380" y="1454"/>
                  </a:lnTo>
                  <a:lnTo>
                    <a:pt x="3372" y="1454"/>
                  </a:lnTo>
                  <a:lnTo>
                    <a:pt x="3368" y="1452"/>
                  </a:lnTo>
                  <a:lnTo>
                    <a:pt x="3364" y="1454"/>
                  </a:lnTo>
                  <a:lnTo>
                    <a:pt x="3368" y="1456"/>
                  </a:lnTo>
                  <a:lnTo>
                    <a:pt x="3366" y="1456"/>
                  </a:lnTo>
                  <a:lnTo>
                    <a:pt x="3368" y="1456"/>
                  </a:lnTo>
                  <a:lnTo>
                    <a:pt x="3374" y="1462"/>
                  </a:lnTo>
                  <a:lnTo>
                    <a:pt x="3370" y="1468"/>
                  </a:lnTo>
                  <a:lnTo>
                    <a:pt x="3370" y="1474"/>
                  </a:lnTo>
                  <a:lnTo>
                    <a:pt x="3364" y="1478"/>
                  </a:lnTo>
                  <a:lnTo>
                    <a:pt x="3358" y="1482"/>
                  </a:lnTo>
                  <a:lnTo>
                    <a:pt x="3352" y="1482"/>
                  </a:lnTo>
                  <a:lnTo>
                    <a:pt x="3346" y="1484"/>
                  </a:lnTo>
                  <a:lnTo>
                    <a:pt x="3340" y="1486"/>
                  </a:lnTo>
                  <a:lnTo>
                    <a:pt x="3338" y="1488"/>
                  </a:lnTo>
                  <a:lnTo>
                    <a:pt x="3334" y="1492"/>
                  </a:lnTo>
                  <a:lnTo>
                    <a:pt x="3328" y="1496"/>
                  </a:lnTo>
                  <a:lnTo>
                    <a:pt x="3322" y="1496"/>
                  </a:lnTo>
                  <a:lnTo>
                    <a:pt x="3316" y="1502"/>
                  </a:lnTo>
                  <a:lnTo>
                    <a:pt x="3310" y="1504"/>
                  </a:lnTo>
                  <a:lnTo>
                    <a:pt x="3304" y="1506"/>
                  </a:lnTo>
                  <a:lnTo>
                    <a:pt x="3298" y="1508"/>
                  </a:lnTo>
                  <a:lnTo>
                    <a:pt x="3292" y="1508"/>
                  </a:lnTo>
                  <a:lnTo>
                    <a:pt x="3286" y="1504"/>
                  </a:lnTo>
                  <a:lnTo>
                    <a:pt x="3280" y="1502"/>
                  </a:lnTo>
                  <a:lnTo>
                    <a:pt x="3274" y="1500"/>
                  </a:lnTo>
                  <a:lnTo>
                    <a:pt x="3272" y="1500"/>
                  </a:lnTo>
                  <a:lnTo>
                    <a:pt x="3266" y="1498"/>
                  </a:lnTo>
                  <a:lnTo>
                    <a:pt x="3262" y="1502"/>
                  </a:lnTo>
                  <a:lnTo>
                    <a:pt x="3254" y="1502"/>
                  </a:lnTo>
                  <a:lnTo>
                    <a:pt x="3250" y="1502"/>
                  </a:lnTo>
                  <a:lnTo>
                    <a:pt x="3244" y="1502"/>
                  </a:lnTo>
                  <a:lnTo>
                    <a:pt x="3236" y="1502"/>
                  </a:lnTo>
                  <a:lnTo>
                    <a:pt x="3232" y="1504"/>
                  </a:lnTo>
                  <a:lnTo>
                    <a:pt x="3226" y="1508"/>
                  </a:lnTo>
                  <a:lnTo>
                    <a:pt x="3220" y="1508"/>
                  </a:lnTo>
                  <a:lnTo>
                    <a:pt x="3216" y="1508"/>
                  </a:lnTo>
                  <a:lnTo>
                    <a:pt x="3222" y="1510"/>
                  </a:lnTo>
                  <a:lnTo>
                    <a:pt x="3228" y="1508"/>
                  </a:lnTo>
                  <a:lnTo>
                    <a:pt x="3234" y="1506"/>
                  </a:lnTo>
                  <a:lnTo>
                    <a:pt x="3240" y="1504"/>
                  </a:lnTo>
                  <a:lnTo>
                    <a:pt x="3246" y="1508"/>
                  </a:lnTo>
                  <a:lnTo>
                    <a:pt x="3252" y="1510"/>
                  </a:lnTo>
                  <a:lnTo>
                    <a:pt x="3258" y="1514"/>
                  </a:lnTo>
                  <a:lnTo>
                    <a:pt x="3264" y="1514"/>
                  </a:lnTo>
                  <a:lnTo>
                    <a:pt x="3270" y="1516"/>
                  </a:lnTo>
                  <a:lnTo>
                    <a:pt x="3270" y="1524"/>
                  </a:lnTo>
                  <a:lnTo>
                    <a:pt x="3270" y="1530"/>
                  </a:lnTo>
                  <a:lnTo>
                    <a:pt x="3270" y="1534"/>
                  </a:lnTo>
                  <a:lnTo>
                    <a:pt x="3276" y="1530"/>
                  </a:lnTo>
                  <a:lnTo>
                    <a:pt x="3284" y="1530"/>
                  </a:lnTo>
                  <a:lnTo>
                    <a:pt x="3288" y="1526"/>
                  </a:lnTo>
                  <a:lnTo>
                    <a:pt x="3294" y="1522"/>
                  </a:lnTo>
                  <a:lnTo>
                    <a:pt x="3300" y="1520"/>
                  </a:lnTo>
                  <a:lnTo>
                    <a:pt x="3306" y="1520"/>
                  </a:lnTo>
                  <a:lnTo>
                    <a:pt x="3312" y="1522"/>
                  </a:lnTo>
                  <a:lnTo>
                    <a:pt x="3318" y="1522"/>
                  </a:lnTo>
                  <a:lnTo>
                    <a:pt x="3318" y="1528"/>
                  </a:lnTo>
                  <a:lnTo>
                    <a:pt x="3326" y="1526"/>
                  </a:lnTo>
                  <a:lnTo>
                    <a:pt x="3318" y="1530"/>
                  </a:lnTo>
                  <a:lnTo>
                    <a:pt x="3312" y="1536"/>
                  </a:lnTo>
                  <a:lnTo>
                    <a:pt x="3308" y="1542"/>
                  </a:lnTo>
                  <a:lnTo>
                    <a:pt x="3306" y="1548"/>
                  </a:lnTo>
                  <a:lnTo>
                    <a:pt x="3300" y="1554"/>
                  </a:lnTo>
                  <a:lnTo>
                    <a:pt x="3294" y="1558"/>
                  </a:lnTo>
                  <a:lnTo>
                    <a:pt x="3288" y="1562"/>
                  </a:lnTo>
                  <a:lnTo>
                    <a:pt x="3282" y="1566"/>
                  </a:lnTo>
                  <a:lnTo>
                    <a:pt x="3276" y="1568"/>
                  </a:lnTo>
                  <a:lnTo>
                    <a:pt x="3270" y="1570"/>
                  </a:lnTo>
                  <a:lnTo>
                    <a:pt x="3276" y="1570"/>
                  </a:lnTo>
                  <a:lnTo>
                    <a:pt x="3278" y="1574"/>
                  </a:lnTo>
                  <a:lnTo>
                    <a:pt x="3284" y="1572"/>
                  </a:lnTo>
                  <a:lnTo>
                    <a:pt x="3290" y="1570"/>
                  </a:lnTo>
                  <a:lnTo>
                    <a:pt x="3296" y="1570"/>
                  </a:lnTo>
                  <a:lnTo>
                    <a:pt x="3300" y="1576"/>
                  </a:lnTo>
                  <a:lnTo>
                    <a:pt x="3294" y="1580"/>
                  </a:lnTo>
                  <a:lnTo>
                    <a:pt x="3290" y="1588"/>
                  </a:lnTo>
                  <a:lnTo>
                    <a:pt x="3292" y="1594"/>
                  </a:lnTo>
                  <a:lnTo>
                    <a:pt x="3292" y="1598"/>
                  </a:lnTo>
                  <a:lnTo>
                    <a:pt x="3292" y="1604"/>
                  </a:lnTo>
                  <a:lnTo>
                    <a:pt x="3294" y="1610"/>
                  </a:lnTo>
                  <a:lnTo>
                    <a:pt x="3294" y="1616"/>
                  </a:lnTo>
                  <a:lnTo>
                    <a:pt x="3288" y="1622"/>
                  </a:lnTo>
                  <a:lnTo>
                    <a:pt x="3294" y="1622"/>
                  </a:lnTo>
                  <a:lnTo>
                    <a:pt x="3294" y="1628"/>
                  </a:lnTo>
                  <a:lnTo>
                    <a:pt x="3300" y="1628"/>
                  </a:lnTo>
                  <a:lnTo>
                    <a:pt x="3304" y="1628"/>
                  </a:lnTo>
                  <a:lnTo>
                    <a:pt x="3310" y="1628"/>
                  </a:lnTo>
                  <a:lnTo>
                    <a:pt x="3316" y="1632"/>
                  </a:lnTo>
                  <a:lnTo>
                    <a:pt x="3322" y="1632"/>
                  </a:lnTo>
                  <a:lnTo>
                    <a:pt x="3328" y="1634"/>
                  </a:lnTo>
                  <a:lnTo>
                    <a:pt x="3332" y="1636"/>
                  </a:lnTo>
                  <a:lnTo>
                    <a:pt x="3326" y="1640"/>
                  </a:lnTo>
                  <a:lnTo>
                    <a:pt x="3320" y="1640"/>
                  </a:lnTo>
                  <a:lnTo>
                    <a:pt x="3314" y="1642"/>
                  </a:lnTo>
                  <a:lnTo>
                    <a:pt x="3316" y="1644"/>
                  </a:lnTo>
                  <a:lnTo>
                    <a:pt x="3322" y="1644"/>
                  </a:lnTo>
                  <a:lnTo>
                    <a:pt x="3326" y="1652"/>
                  </a:lnTo>
                  <a:lnTo>
                    <a:pt x="3332" y="1654"/>
                  </a:lnTo>
                  <a:lnTo>
                    <a:pt x="3338" y="1652"/>
                  </a:lnTo>
                  <a:lnTo>
                    <a:pt x="3344" y="1652"/>
                  </a:lnTo>
                  <a:lnTo>
                    <a:pt x="3350" y="1658"/>
                  </a:lnTo>
                  <a:lnTo>
                    <a:pt x="3356" y="1660"/>
                  </a:lnTo>
                  <a:lnTo>
                    <a:pt x="3362" y="1660"/>
                  </a:lnTo>
                  <a:lnTo>
                    <a:pt x="3368" y="1658"/>
                  </a:lnTo>
                  <a:lnTo>
                    <a:pt x="3372" y="1660"/>
                  </a:lnTo>
                  <a:lnTo>
                    <a:pt x="3380" y="1660"/>
                  </a:lnTo>
                  <a:lnTo>
                    <a:pt x="3384" y="1664"/>
                  </a:lnTo>
                  <a:lnTo>
                    <a:pt x="3380" y="1666"/>
                  </a:lnTo>
                  <a:lnTo>
                    <a:pt x="3376" y="1670"/>
                  </a:lnTo>
                  <a:lnTo>
                    <a:pt x="3382" y="1670"/>
                  </a:lnTo>
                  <a:lnTo>
                    <a:pt x="3388" y="1666"/>
                  </a:lnTo>
                  <a:lnTo>
                    <a:pt x="3394" y="1668"/>
                  </a:lnTo>
                  <a:lnTo>
                    <a:pt x="3400" y="1666"/>
                  </a:lnTo>
                  <a:lnTo>
                    <a:pt x="3406" y="1664"/>
                  </a:lnTo>
                  <a:lnTo>
                    <a:pt x="3412" y="1660"/>
                  </a:lnTo>
                  <a:lnTo>
                    <a:pt x="3418" y="1658"/>
                  </a:lnTo>
                  <a:lnTo>
                    <a:pt x="3424" y="1654"/>
                  </a:lnTo>
                  <a:lnTo>
                    <a:pt x="3426" y="1660"/>
                  </a:lnTo>
                  <a:lnTo>
                    <a:pt x="3426" y="1666"/>
                  </a:lnTo>
                  <a:lnTo>
                    <a:pt x="3432" y="1670"/>
                  </a:lnTo>
                  <a:lnTo>
                    <a:pt x="3438" y="1670"/>
                  </a:lnTo>
                  <a:lnTo>
                    <a:pt x="3444" y="1666"/>
                  </a:lnTo>
                  <a:lnTo>
                    <a:pt x="3450" y="1670"/>
                  </a:lnTo>
                  <a:lnTo>
                    <a:pt x="3452" y="1672"/>
                  </a:lnTo>
                  <a:lnTo>
                    <a:pt x="3454" y="1678"/>
                  </a:lnTo>
                  <a:lnTo>
                    <a:pt x="3450" y="1682"/>
                  </a:lnTo>
                  <a:lnTo>
                    <a:pt x="3444" y="1684"/>
                  </a:lnTo>
                  <a:lnTo>
                    <a:pt x="3450" y="1690"/>
                  </a:lnTo>
                  <a:lnTo>
                    <a:pt x="3452" y="1690"/>
                  </a:lnTo>
                  <a:lnTo>
                    <a:pt x="3458" y="1688"/>
                  </a:lnTo>
                  <a:lnTo>
                    <a:pt x="3464" y="1690"/>
                  </a:lnTo>
                  <a:lnTo>
                    <a:pt x="3460" y="1694"/>
                  </a:lnTo>
                  <a:lnTo>
                    <a:pt x="3454" y="1698"/>
                  </a:lnTo>
                  <a:lnTo>
                    <a:pt x="3448" y="1696"/>
                  </a:lnTo>
                  <a:lnTo>
                    <a:pt x="3444" y="1698"/>
                  </a:lnTo>
                  <a:lnTo>
                    <a:pt x="3438" y="1702"/>
                  </a:lnTo>
                  <a:lnTo>
                    <a:pt x="3432" y="1702"/>
                  </a:lnTo>
                  <a:lnTo>
                    <a:pt x="3426" y="1702"/>
                  </a:lnTo>
                  <a:lnTo>
                    <a:pt x="3420" y="1706"/>
                  </a:lnTo>
                  <a:lnTo>
                    <a:pt x="3414" y="1708"/>
                  </a:lnTo>
                  <a:lnTo>
                    <a:pt x="3410" y="1708"/>
                  </a:lnTo>
                  <a:lnTo>
                    <a:pt x="3404" y="1710"/>
                  </a:lnTo>
                  <a:lnTo>
                    <a:pt x="3402" y="1712"/>
                  </a:lnTo>
                  <a:lnTo>
                    <a:pt x="3396" y="1714"/>
                  </a:lnTo>
                  <a:lnTo>
                    <a:pt x="3390" y="1714"/>
                  </a:lnTo>
                  <a:lnTo>
                    <a:pt x="3384" y="1718"/>
                  </a:lnTo>
                  <a:lnTo>
                    <a:pt x="3378" y="1718"/>
                  </a:lnTo>
                  <a:lnTo>
                    <a:pt x="3372" y="1720"/>
                  </a:lnTo>
                  <a:lnTo>
                    <a:pt x="3366" y="1724"/>
                  </a:lnTo>
                  <a:lnTo>
                    <a:pt x="3360" y="1726"/>
                  </a:lnTo>
                  <a:lnTo>
                    <a:pt x="3354" y="1728"/>
                  </a:lnTo>
                  <a:lnTo>
                    <a:pt x="3348" y="1730"/>
                  </a:lnTo>
                  <a:lnTo>
                    <a:pt x="3342" y="1732"/>
                  </a:lnTo>
                  <a:lnTo>
                    <a:pt x="3336" y="1730"/>
                  </a:lnTo>
                  <a:lnTo>
                    <a:pt x="3330" y="1732"/>
                  </a:lnTo>
                  <a:lnTo>
                    <a:pt x="3324" y="1736"/>
                  </a:lnTo>
                  <a:lnTo>
                    <a:pt x="3324" y="1738"/>
                  </a:lnTo>
                  <a:lnTo>
                    <a:pt x="3318" y="1736"/>
                  </a:lnTo>
                  <a:lnTo>
                    <a:pt x="3312" y="1738"/>
                  </a:lnTo>
                  <a:lnTo>
                    <a:pt x="3308" y="1734"/>
                  </a:lnTo>
                  <a:lnTo>
                    <a:pt x="3306" y="1732"/>
                  </a:lnTo>
                  <a:lnTo>
                    <a:pt x="3308" y="1738"/>
                  </a:lnTo>
                  <a:lnTo>
                    <a:pt x="3308" y="1744"/>
                  </a:lnTo>
                  <a:lnTo>
                    <a:pt x="3302" y="1748"/>
                  </a:lnTo>
                  <a:lnTo>
                    <a:pt x="3296" y="1750"/>
                  </a:lnTo>
                  <a:lnTo>
                    <a:pt x="3290" y="1746"/>
                  </a:lnTo>
                  <a:lnTo>
                    <a:pt x="3288" y="1740"/>
                  </a:lnTo>
                  <a:lnTo>
                    <a:pt x="3292" y="1734"/>
                  </a:lnTo>
                  <a:lnTo>
                    <a:pt x="3286" y="1736"/>
                  </a:lnTo>
                  <a:lnTo>
                    <a:pt x="3280" y="1740"/>
                  </a:lnTo>
                  <a:lnTo>
                    <a:pt x="3280" y="1746"/>
                  </a:lnTo>
                  <a:lnTo>
                    <a:pt x="3274" y="1748"/>
                  </a:lnTo>
                  <a:lnTo>
                    <a:pt x="3274" y="1742"/>
                  </a:lnTo>
                  <a:lnTo>
                    <a:pt x="3268" y="1744"/>
                  </a:lnTo>
                  <a:lnTo>
                    <a:pt x="3262" y="1748"/>
                  </a:lnTo>
                  <a:lnTo>
                    <a:pt x="3262" y="1754"/>
                  </a:lnTo>
                  <a:lnTo>
                    <a:pt x="3260" y="1754"/>
                  </a:lnTo>
                  <a:lnTo>
                    <a:pt x="3260" y="1760"/>
                  </a:lnTo>
                  <a:lnTo>
                    <a:pt x="3254" y="1758"/>
                  </a:lnTo>
                  <a:lnTo>
                    <a:pt x="3252" y="1764"/>
                  </a:lnTo>
                  <a:lnTo>
                    <a:pt x="3246" y="1768"/>
                  </a:lnTo>
                  <a:lnTo>
                    <a:pt x="3240" y="1770"/>
                  </a:lnTo>
                  <a:lnTo>
                    <a:pt x="3238" y="1772"/>
                  </a:lnTo>
                  <a:lnTo>
                    <a:pt x="3234" y="1776"/>
                  </a:lnTo>
                  <a:lnTo>
                    <a:pt x="3228" y="1782"/>
                  </a:lnTo>
                  <a:lnTo>
                    <a:pt x="3222" y="1784"/>
                  </a:lnTo>
                  <a:lnTo>
                    <a:pt x="3220" y="1790"/>
                  </a:lnTo>
                  <a:lnTo>
                    <a:pt x="3214" y="1794"/>
                  </a:lnTo>
                  <a:lnTo>
                    <a:pt x="3208" y="1796"/>
                  </a:lnTo>
                  <a:lnTo>
                    <a:pt x="3202" y="1800"/>
                  </a:lnTo>
                  <a:lnTo>
                    <a:pt x="3198" y="1800"/>
                  </a:lnTo>
                  <a:lnTo>
                    <a:pt x="3196" y="1796"/>
                  </a:lnTo>
                  <a:lnTo>
                    <a:pt x="3192" y="1802"/>
                  </a:lnTo>
                  <a:lnTo>
                    <a:pt x="3186" y="1798"/>
                  </a:lnTo>
                  <a:lnTo>
                    <a:pt x="3186" y="1804"/>
                  </a:lnTo>
                  <a:lnTo>
                    <a:pt x="3184" y="1810"/>
                  </a:lnTo>
                  <a:lnTo>
                    <a:pt x="3178" y="1810"/>
                  </a:lnTo>
                  <a:lnTo>
                    <a:pt x="3174" y="1816"/>
                  </a:lnTo>
                  <a:lnTo>
                    <a:pt x="3172" y="1810"/>
                  </a:lnTo>
                  <a:lnTo>
                    <a:pt x="3166" y="1814"/>
                  </a:lnTo>
                  <a:lnTo>
                    <a:pt x="3160" y="1810"/>
                  </a:lnTo>
                  <a:lnTo>
                    <a:pt x="3162" y="1804"/>
                  </a:lnTo>
                  <a:lnTo>
                    <a:pt x="3160" y="1800"/>
                  </a:lnTo>
                  <a:lnTo>
                    <a:pt x="3158" y="1794"/>
                  </a:lnTo>
                  <a:lnTo>
                    <a:pt x="3152" y="1800"/>
                  </a:lnTo>
                  <a:lnTo>
                    <a:pt x="3150" y="1802"/>
                  </a:lnTo>
                  <a:lnTo>
                    <a:pt x="3146" y="1796"/>
                  </a:lnTo>
                  <a:lnTo>
                    <a:pt x="3146" y="1790"/>
                  </a:lnTo>
                  <a:lnTo>
                    <a:pt x="3148" y="1784"/>
                  </a:lnTo>
                  <a:lnTo>
                    <a:pt x="3150" y="1778"/>
                  </a:lnTo>
                  <a:lnTo>
                    <a:pt x="3150" y="1772"/>
                  </a:lnTo>
                  <a:lnTo>
                    <a:pt x="3156" y="1766"/>
                  </a:lnTo>
                  <a:lnTo>
                    <a:pt x="3158" y="1760"/>
                  </a:lnTo>
                  <a:lnTo>
                    <a:pt x="3164" y="1754"/>
                  </a:lnTo>
                  <a:lnTo>
                    <a:pt x="3170" y="1750"/>
                  </a:lnTo>
                  <a:lnTo>
                    <a:pt x="3176" y="1746"/>
                  </a:lnTo>
                  <a:lnTo>
                    <a:pt x="3182" y="1742"/>
                  </a:lnTo>
                  <a:lnTo>
                    <a:pt x="3174" y="1742"/>
                  </a:lnTo>
                  <a:lnTo>
                    <a:pt x="3168" y="1746"/>
                  </a:lnTo>
                  <a:lnTo>
                    <a:pt x="3164" y="1750"/>
                  </a:lnTo>
                  <a:lnTo>
                    <a:pt x="3156" y="1754"/>
                  </a:lnTo>
                  <a:lnTo>
                    <a:pt x="3162" y="1748"/>
                  </a:lnTo>
                  <a:lnTo>
                    <a:pt x="3168" y="1744"/>
                  </a:lnTo>
                  <a:lnTo>
                    <a:pt x="3174" y="1740"/>
                  </a:lnTo>
                  <a:lnTo>
                    <a:pt x="3180" y="1738"/>
                  </a:lnTo>
                  <a:lnTo>
                    <a:pt x="3186" y="1734"/>
                  </a:lnTo>
                  <a:lnTo>
                    <a:pt x="3188" y="1738"/>
                  </a:lnTo>
                  <a:lnTo>
                    <a:pt x="3194" y="1736"/>
                  </a:lnTo>
                  <a:lnTo>
                    <a:pt x="3200" y="1732"/>
                  </a:lnTo>
                  <a:lnTo>
                    <a:pt x="3206" y="1730"/>
                  </a:lnTo>
                  <a:lnTo>
                    <a:pt x="3200" y="1732"/>
                  </a:lnTo>
                  <a:lnTo>
                    <a:pt x="3194" y="1732"/>
                  </a:lnTo>
                  <a:lnTo>
                    <a:pt x="3200" y="1728"/>
                  </a:lnTo>
                  <a:lnTo>
                    <a:pt x="3206" y="1724"/>
                  </a:lnTo>
                  <a:lnTo>
                    <a:pt x="3212" y="1720"/>
                  </a:lnTo>
                  <a:lnTo>
                    <a:pt x="3218" y="1718"/>
                  </a:lnTo>
                  <a:lnTo>
                    <a:pt x="3224" y="1716"/>
                  </a:lnTo>
                  <a:lnTo>
                    <a:pt x="3230" y="1712"/>
                  </a:lnTo>
                  <a:lnTo>
                    <a:pt x="3236" y="1710"/>
                  </a:lnTo>
                  <a:lnTo>
                    <a:pt x="3242" y="1708"/>
                  </a:lnTo>
                  <a:lnTo>
                    <a:pt x="3248" y="1704"/>
                  </a:lnTo>
                  <a:lnTo>
                    <a:pt x="3254" y="1700"/>
                  </a:lnTo>
                  <a:lnTo>
                    <a:pt x="3260" y="1700"/>
                  </a:lnTo>
                  <a:lnTo>
                    <a:pt x="3266" y="1698"/>
                  </a:lnTo>
                  <a:lnTo>
                    <a:pt x="3272" y="1696"/>
                  </a:lnTo>
                  <a:lnTo>
                    <a:pt x="3278" y="1694"/>
                  </a:lnTo>
                  <a:lnTo>
                    <a:pt x="3278" y="1700"/>
                  </a:lnTo>
                  <a:lnTo>
                    <a:pt x="3276" y="1706"/>
                  </a:lnTo>
                  <a:lnTo>
                    <a:pt x="3282" y="1704"/>
                  </a:lnTo>
                  <a:lnTo>
                    <a:pt x="3286" y="1710"/>
                  </a:lnTo>
                  <a:lnTo>
                    <a:pt x="3284" y="1712"/>
                  </a:lnTo>
                  <a:lnTo>
                    <a:pt x="3288" y="1712"/>
                  </a:lnTo>
                  <a:lnTo>
                    <a:pt x="3286" y="1706"/>
                  </a:lnTo>
                  <a:lnTo>
                    <a:pt x="3288" y="1700"/>
                  </a:lnTo>
                  <a:lnTo>
                    <a:pt x="3294" y="1698"/>
                  </a:lnTo>
                  <a:lnTo>
                    <a:pt x="3300" y="1696"/>
                  </a:lnTo>
                  <a:lnTo>
                    <a:pt x="3306" y="1694"/>
                  </a:lnTo>
                  <a:lnTo>
                    <a:pt x="3312" y="1690"/>
                  </a:lnTo>
                  <a:lnTo>
                    <a:pt x="3318" y="1690"/>
                  </a:lnTo>
                  <a:lnTo>
                    <a:pt x="3324" y="1690"/>
                  </a:lnTo>
                  <a:lnTo>
                    <a:pt x="3330" y="1690"/>
                  </a:lnTo>
                  <a:lnTo>
                    <a:pt x="3336" y="1688"/>
                  </a:lnTo>
                  <a:lnTo>
                    <a:pt x="3330" y="1686"/>
                  </a:lnTo>
                  <a:lnTo>
                    <a:pt x="3326" y="1686"/>
                  </a:lnTo>
                  <a:lnTo>
                    <a:pt x="3318" y="1686"/>
                  </a:lnTo>
                  <a:lnTo>
                    <a:pt x="3312" y="1686"/>
                  </a:lnTo>
                  <a:lnTo>
                    <a:pt x="3308" y="1688"/>
                  </a:lnTo>
                  <a:lnTo>
                    <a:pt x="3300" y="1686"/>
                  </a:lnTo>
                  <a:lnTo>
                    <a:pt x="3296" y="1684"/>
                  </a:lnTo>
                  <a:lnTo>
                    <a:pt x="3290" y="1686"/>
                  </a:lnTo>
                  <a:lnTo>
                    <a:pt x="3284" y="1686"/>
                  </a:lnTo>
                  <a:lnTo>
                    <a:pt x="3278" y="1686"/>
                  </a:lnTo>
                  <a:lnTo>
                    <a:pt x="3272" y="1684"/>
                  </a:lnTo>
                  <a:lnTo>
                    <a:pt x="3266" y="1686"/>
                  </a:lnTo>
                  <a:lnTo>
                    <a:pt x="3260" y="1690"/>
                  </a:lnTo>
                  <a:lnTo>
                    <a:pt x="3258" y="1692"/>
                  </a:lnTo>
                  <a:lnTo>
                    <a:pt x="3252" y="1688"/>
                  </a:lnTo>
                  <a:lnTo>
                    <a:pt x="3254" y="1682"/>
                  </a:lnTo>
                  <a:lnTo>
                    <a:pt x="3260" y="1680"/>
                  </a:lnTo>
                  <a:lnTo>
                    <a:pt x="3266" y="1676"/>
                  </a:lnTo>
                  <a:lnTo>
                    <a:pt x="3272" y="1672"/>
                  </a:lnTo>
                  <a:lnTo>
                    <a:pt x="3278" y="1670"/>
                  </a:lnTo>
                  <a:lnTo>
                    <a:pt x="3284" y="1666"/>
                  </a:lnTo>
                  <a:lnTo>
                    <a:pt x="3290" y="1660"/>
                  </a:lnTo>
                  <a:lnTo>
                    <a:pt x="3296" y="1656"/>
                  </a:lnTo>
                  <a:lnTo>
                    <a:pt x="3298" y="1656"/>
                  </a:lnTo>
                  <a:lnTo>
                    <a:pt x="3292" y="1656"/>
                  </a:lnTo>
                  <a:lnTo>
                    <a:pt x="3288" y="1660"/>
                  </a:lnTo>
                  <a:lnTo>
                    <a:pt x="3284" y="1654"/>
                  </a:lnTo>
                  <a:lnTo>
                    <a:pt x="3282" y="1648"/>
                  </a:lnTo>
                  <a:lnTo>
                    <a:pt x="3282" y="1642"/>
                  </a:lnTo>
                  <a:lnTo>
                    <a:pt x="3282" y="1648"/>
                  </a:lnTo>
                  <a:lnTo>
                    <a:pt x="3284" y="1654"/>
                  </a:lnTo>
                  <a:lnTo>
                    <a:pt x="3276" y="1660"/>
                  </a:lnTo>
                  <a:lnTo>
                    <a:pt x="3270" y="1666"/>
                  </a:lnTo>
                  <a:lnTo>
                    <a:pt x="3266" y="1670"/>
                  </a:lnTo>
                  <a:lnTo>
                    <a:pt x="3258" y="1670"/>
                  </a:lnTo>
                  <a:lnTo>
                    <a:pt x="3254" y="1674"/>
                  </a:lnTo>
                  <a:lnTo>
                    <a:pt x="3248" y="1676"/>
                  </a:lnTo>
                  <a:lnTo>
                    <a:pt x="3240" y="1678"/>
                  </a:lnTo>
                  <a:lnTo>
                    <a:pt x="3236" y="1680"/>
                  </a:lnTo>
                  <a:lnTo>
                    <a:pt x="3230" y="1682"/>
                  </a:lnTo>
                  <a:lnTo>
                    <a:pt x="3224" y="1686"/>
                  </a:lnTo>
                  <a:lnTo>
                    <a:pt x="3218" y="1690"/>
                  </a:lnTo>
                  <a:lnTo>
                    <a:pt x="3212" y="1690"/>
                  </a:lnTo>
                  <a:lnTo>
                    <a:pt x="3206" y="1694"/>
                  </a:lnTo>
                  <a:lnTo>
                    <a:pt x="3200" y="1694"/>
                  </a:lnTo>
                  <a:lnTo>
                    <a:pt x="3194" y="1698"/>
                  </a:lnTo>
                  <a:lnTo>
                    <a:pt x="3188" y="1692"/>
                  </a:lnTo>
                  <a:lnTo>
                    <a:pt x="3186" y="1692"/>
                  </a:lnTo>
                  <a:lnTo>
                    <a:pt x="3192" y="1686"/>
                  </a:lnTo>
                  <a:lnTo>
                    <a:pt x="3196" y="1680"/>
                  </a:lnTo>
                  <a:lnTo>
                    <a:pt x="3190" y="1686"/>
                  </a:lnTo>
                  <a:lnTo>
                    <a:pt x="3184" y="1688"/>
                  </a:lnTo>
                  <a:lnTo>
                    <a:pt x="3182" y="1690"/>
                  </a:lnTo>
                  <a:lnTo>
                    <a:pt x="3184" y="1696"/>
                  </a:lnTo>
                  <a:lnTo>
                    <a:pt x="3178" y="1700"/>
                  </a:lnTo>
                  <a:lnTo>
                    <a:pt x="3172" y="1698"/>
                  </a:lnTo>
                  <a:lnTo>
                    <a:pt x="3170" y="1702"/>
                  </a:lnTo>
                  <a:lnTo>
                    <a:pt x="3164" y="1704"/>
                  </a:lnTo>
                  <a:lnTo>
                    <a:pt x="3160" y="1702"/>
                  </a:lnTo>
                  <a:lnTo>
                    <a:pt x="3154" y="1704"/>
                  </a:lnTo>
                  <a:lnTo>
                    <a:pt x="3148" y="1708"/>
                  </a:lnTo>
                  <a:lnTo>
                    <a:pt x="3142" y="1708"/>
                  </a:lnTo>
                  <a:lnTo>
                    <a:pt x="3138" y="1702"/>
                  </a:lnTo>
                  <a:lnTo>
                    <a:pt x="3132" y="1700"/>
                  </a:lnTo>
                  <a:lnTo>
                    <a:pt x="3126" y="1704"/>
                  </a:lnTo>
                  <a:lnTo>
                    <a:pt x="3128" y="1698"/>
                  </a:lnTo>
                  <a:lnTo>
                    <a:pt x="3122" y="1700"/>
                  </a:lnTo>
                  <a:lnTo>
                    <a:pt x="3120" y="1698"/>
                  </a:lnTo>
                  <a:lnTo>
                    <a:pt x="3114" y="1702"/>
                  </a:lnTo>
                  <a:lnTo>
                    <a:pt x="3112" y="1696"/>
                  </a:lnTo>
                  <a:lnTo>
                    <a:pt x="3112" y="1690"/>
                  </a:lnTo>
                  <a:lnTo>
                    <a:pt x="3116" y="1684"/>
                  </a:lnTo>
                  <a:lnTo>
                    <a:pt x="3114" y="1678"/>
                  </a:lnTo>
                  <a:lnTo>
                    <a:pt x="3120" y="1674"/>
                  </a:lnTo>
                  <a:lnTo>
                    <a:pt x="3120" y="1672"/>
                  </a:lnTo>
                  <a:lnTo>
                    <a:pt x="3118" y="1670"/>
                  </a:lnTo>
                  <a:lnTo>
                    <a:pt x="3110" y="1670"/>
                  </a:lnTo>
                  <a:lnTo>
                    <a:pt x="3106" y="1666"/>
                  </a:lnTo>
                  <a:lnTo>
                    <a:pt x="3104" y="1660"/>
                  </a:lnTo>
                  <a:lnTo>
                    <a:pt x="3108" y="1656"/>
                  </a:lnTo>
                  <a:lnTo>
                    <a:pt x="3110" y="1650"/>
                  </a:lnTo>
                  <a:lnTo>
                    <a:pt x="3112" y="1644"/>
                  </a:lnTo>
                  <a:lnTo>
                    <a:pt x="3114" y="1638"/>
                  </a:lnTo>
                  <a:lnTo>
                    <a:pt x="3116" y="1632"/>
                  </a:lnTo>
                  <a:lnTo>
                    <a:pt x="3118" y="1626"/>
                  </a:lnTo>
                  <a:lnTo>
                    <a:pt x="3122" y="1620"/>
                  </a:lnTo>
                  <a:lnTo>
                    <a:pt x="3124" y="1614"/>
                  </a:lnTo>
                  <a:lnTo>
                    <a:pt x="3126" y="1608"/>
                  </a:lnTo>
                  <a:lnTo>
                    <a:pt x="3128" y="1602"/>
                  </a:lnTo>
                  <a:lnTo>
                    <a:pt x="3130" y="1596"/>
                  </a:lnTo>
                  <a:lnTo>
                    <a:pt x="3132" y="1590"/>
                  </a:lnTo>
                  <a:lnTo>
                    <a:pt x="3134" y="1584"/>
                  </a:lnTo>
                  <a:lnTo>
                    <a:pt x="3136" y="1578"/>
                  </a:lnTo>
                  <a:lnTo>
                    <a:pt x="3140" y="1572"/>
                  </a:lnTo>
                  <a:lnTo>
                    <a:pt x="3138" y="1570"/>
                  </a:lnTo>
                  <a:lnTo>
                    <a:pt x="3134" y="1564"/>
                  </a:lnTo>
                  <a:lnTo>
                    <a:pt x="3130" y="1560"/>
                  </a:lnTo>
                  <a:lnTo>
                    <a:pt x="3126" y="1554"/>
                  </a:lnTo>
                  <a:lnTo>
                    <a:pt x="3120" y="1552"/>
                  </a:lnTo>
                  <a:lnTo>
                    <a:pt x="3114" y="1556"/>
                  </a:lnTo>
                  <a:lnTo>
                    <a:pt x="3108" y="1556"/>
                  </a:lnTo>
                  <a:lnTo>
                    <a:pt x="3102" y="1558"/>
                  </a:lnTo>
                  <a:lnTo>
                    <a:pt x="3096" y="1560"/>
                  </a:lnTo>
                  <a:lnTo>
                    <a:pt x="3090" y="1562"/>
                  </a:lnTo>
                  <a:lnTo>
                    <a:pt x="3084" y="1564"/>
                  </a:lnTo>
                  <a:lnTo>
                    <a:pt x="3082" y="1562"/>
                  </a:lnTo>
                  <a:lnTo>
                    <a:pt x="3078" y="1556"/>
                  </a:lnTo>
                  <a:lnTo>
                    <a:pt x="3080" y="1552"/>
                  </a:lnTo>
                  <a:lnTo>
                    <a:pt x="3078" y="1546"/>
                  </a:lnTo>
                  <a:lnTo>
                    <a:pt x="3072" y="1544"/>
                  </a:lnTo>
                  <a:lnTo>
                    <a:pt x="3072" y="1546"/>
                  </a:lnTo>
                  <a:lnTo>
                    <a:pt x="3066" y="1550"/>
                  </a:lnTo>
                  <a:lnTo>
                    <a:pt x="3058" y="1556"/>
                  </a:lnTo>
                  <a:lnTo>
                    <a:pt x="3052" y="1560"/>
                  </a:lnTo>
                  <a:lnTo>
                    <a:pt x="3046" y="1566"/>
                  </a:lnTo>
                  <a:lnTo>
                    <a:pt x="3040" y="1570"/>
                  </a:lnTo>
                  <a:lnTo>
                    <a:pt x="3034" y="1576"/>
                  </a:lnTo>
                  <a:lnTo>
                    <a:pt x="3028" y="1580"/>
                  </a:lnTo>
                  <a:lnTo>
                    <a:pt x="3022" y="1586"/>
                  </a:lnTo>
                  <a:lnTo>
                    <a:pt x="3016" y="1592"/>
                  </a:lnTo>
                  <a:lnTo>
                    <a:pt x="3010" y="1596"/>
                  </a:lnTo>
                  <a:lnTo>
                    <a:pt x="3006" y="1602"/>
                  </a:lnTo>
                  <a:lnTo>
                    <a:pt x="3004" y="1608"/>
                  </a:lnTo>
                  <a:lnTo>
                    <a:pt x="3000" y="1614"/>
                  </a:lnTo>
                  <a:lnTo>
                    <a:pt x="3000" y="1616"/>
                  </a:lnTo>
                  <a:lnTo>
                    <a:pt x="2992" y="1620"/>
                  </a:lnTo>
                  <a:lnTo>
                    <a:pt x="2986" y="1624"/>
                  </a:lnTo>
                  <a:lnTo>
                    <a:pt x="2982" y="1630"/>
                  </a:lnTo>
                  <a:lnTo>
                    <a:pt x="2980" y="1636"/>
                  </a:lnTo>
                  <a:lnTo>
                    <a:pt x="2978" y="1638"/>
                  </a:lnTo>
                  <a:lnTo>
                    <a:pt x="2974" y="1644"/>
                  </a:lnTo>
                  <a:lnTo>
                    <a:pt x="2974" y="1650"/>
                  </a:lnTo>
                  <a:lnTo>
                    <a:pt x="2970" y="1654"/>
                  </a:lnTo>
                  <a:lnTo>
                    <a:pt x="2964" y="1658"/>
                  </a:lnTo>
                  <a:lnTo>
                    <a:pt x="2958" y="1664"/>
                  </a:lnTo>
                  <a:lnTo>
                    <a:pt x="2952" y="1666"/>
                  </a:lnTo>
                  <a:lnTo>
                    <a:pt x="2946" y="1670"/>
                  </a:lnTo>
                  <a:lnTo>
                    <a:pt x="2940" y="1674"/>
                  </a:lnTo>
                  <a:lnTo>
                    <a:pt x="2938" y="1678"/>
                  </a:lnTo>
                  <a:lnTo>
                    <a:pt x="2936" y="1684"/>
                  </a:lnTo>
                  <a:lnTo>
                    <a:pt x="2930" y="1684"/>
                  </a:lnTo>
                  <a:lnTo>
                    <a:pt x="2928" y="1690"/>
                  </a:lnTo>
                  <a:lnTo>
                    <a:pt x="2922" y="1694"/>
                  </a:lnTo>
                  <a:lnTo>
                    <a:pt x="2918" y="1688"/>
                  </a:lnTo>
                  <a:lnTo>
                    <a:pt x="2914" y="1690"/>
                  </a:lnTo>
                  <a:lnTo>
                    <a:pt x="2910" y="1694"/>
                  </a:lnTo>
                  <a:lnTo>
                    <a:pt x="2904" y="1694"/>
                  </a:lnTo>
                  <a:lnTo>
                    <a:pt x="2898" y="1692"/>
                  </a:lnTo>
                  <a:lnTo>
                    <a:pt x="2894" y="1698"/>
                  </a:lnTo>
                  <a:lnTo>
                    <a:pt x="2888" y="1704"/>
                  </a:lnTo>
                  <a:lnTo>
                    <a:pt x="2884" y="1710"/>
                  </a:lnTo>
                  <a:lnTo>
                    <a:pt x="2880" y="1710"/>
                  </a:lnTo>
                  <a:lnTo>
                    <a:pt x="2874" y="1710"/>
                  </a:lnTo>
                  <a:lnTo>
                    <a:pt x="2868" y="1710"/>
                  </a:lnTo>
                  <a:lnTo>
                    <a:pt x="2862" y="1710"/>
                  </a:lnTo>
                  <a:lnTo>
                    <a:pt x="2856" y="1710"/>
                  </a:lnTo>
                  <a:lnTo>
                    <a:pt x="2850" y="1710"/>
                  </a:lnTo>
                  <a:lnTo>
                    <a:pt x="2844" y="1710"/>
                  </a:lnTo>
                  <a:lnTo>
                    <a:pt x="2840" y="1710"/>
                  </a:lnTo>
                  <a:lnTo>
                    <a:pt x="2838" y="1710"/>
                  </a:lnTo>
                  <a:lnTo>
                    <a:pt x="2832" y="1710"/>
                  </a:lnTo>
                  <a:lnTo>
                    <a:pt x="2826" y="1710"/>
                  </a:lnTo>
                  <a:lnTo>
                    <a:pt x="2820" y="1710"/>
                  </a:lnTo>
                  <a:lnTo>
                    <a:pt x="2812" y="1710"/>
                  </a:lnTo>
                  <a:lnTo>
                    <a:pt x="2808" y="1710"/>
                  </a:lnTo>
                  <a:lnTo>
                    <a:pt x="2800" y="1710"/>
                  </a:lnTo>
                  <a:lnTo>
                    <a:pt x="2796" y="1712"/>
                  </a:lnTo>
                  <a:lnTo>
                    <a:pt x="2794" y="1712"/>
                  </a:lnTo>
                  <a:lnTo>
                    <a:pt x="2788" y="1712"/>
                  </a:lnTo>
                  <a:lnTo>
                    <a:pt x="2782" y="1712"/>
                  </a:lnTo>
                  <a:lnTo>
                    <a:pt x="2780" y="1712"/>
                  </a:lnTo>
                  <a:lnTo>
                    <a:pt x="2774" y="1712"/>
                  </a:lnTo>
                  <a:lnTo>
                    <a:pt x="2768" y="1712"/>
                  </a:lnTo>
                  <a:lnTo>
                    <a:pt x="2762" y="1712"/>
                  </a:lnTo>
                  <a:lnTo>
                    <a:pt x="2756" y="1712"/>
                  </a:lnTo>
                  <a:lnTo>
                    <a:pt x="2750" y="1712"/>
                  </a:lnTo>
                  <a:lnTo>
                    <a:pt x="2744" y="1712"/>
                  </a:lnTo>
                  <a:lnTo>
                    <a:pt x="2736" y="1712"/>
                  </a:lnTo>
                  <a:lnTo>
                    <a:pt x="2730" y="1712"/>
                  </a:lnTo>
                  <a:lnTo>
                    <a:pt x="2724" y="1712"/>
                  </a:lnTo>
                  <a:lnTo>
                    <a:pt x="2718" y="1712"/>
                  </a:lnTo>
                  <a:lnTo>
                    <a:pt x="2716" y="1712"/>
                  </a:lnTo>
                  <a:lnTo>
                    <a:pt x="2710" y="1712"/>
                  </a:lnTo>
                  <a:lnTo>
                    <a:pt x="2708" y="1712"/>
                  </a:lnTo>
                  <a:lnTo>
                    <a:pt x="2702" y="1712"/>
                  </a:lnTo>
                  <a:lnTo>
                    <a:pt x="2696" y="1712"/>
                  </a:lnTo>
                  <a:lnTo>
                    <a:pt x="2690" y="1714"/>
                  </a:lnTo>
                  <a:lnTo>
                    <a:pt x="2686" y="1716"/>
                  </a:lnTo>
                  <a:lnTo>
                    <a:pt x="2680" y="1718"/>
                  </a:lnTo>
                  <a:lnTo>
                    <a:pt x="2674" y="1720"/>
                  </a:lnTo>
                  <a:lnTo>
                    <a:pt x="2668" y="1724"/>
                  </a:lnTo>
                  <a:lnTo>
                    <a:pt x="2662" y="1726"/>
                  </a:lnTo>
                  <a:lnTo>
                    <a:pt x="2656" y="1730"/>
                  </a:lnTo>
                  <a:lnTo>
                    <a:pt x="2650" y="1734"/>
                  </a:lnTo>
                  <a:lnTo>
                    <a:pt x="2644" y="1738"/>
                  </a:lnTo>
                  <a:lnTo>
                    <a:pt x="2638" y="1742"/>
                  </a:lnTo>
                  <a:lnTo>
                    <a:pt x="2632" y="1746"/>
                  </a:lnTo>
                  <a:lnTo>
                    <a:pt x="2626" y="1750"/>
                  </a:lnTo>
                  <a:lnTo>
                    <a:pt x="2620" y="1754"/>
                  </a:lnTo>
                  <a:lnTo>
                    <a:pt x="2614" y="1756"/>
                  </a:lnTo>
                  <a:lnTo>
                    <a:pt x="2608" y="1758"/>
                  </a:lnTo>
                  <a:lnTo>
                    <a:pt x="2602" y="1758"/>
                  </a:lnTo>
                  <a:lnTo>
                    <a:pt x="2596" y="1762"/>
                  </a:lnTo>
                  <a:lnTo>
                    <a:pt x="2590" y="1764"/>
                  </a:lnTo>
                  <a:lnTo>
                    <a:pt x="2584" y="1764"/>
                  </a:lnTo>
                  <a:lnTo>
                    <a:pt x="2578" y="1764"/>
                  </a:lnTo>
                  <a:lnTo>
                    <a:pt x="2572" y="1766"/>
                  </a:lnTo>
                  <a:lnTo>
                    <a:pt x="2566" y="1770"/>
                  </a:lnTo>
                  <a:lnTo>
                    <a:pt x="2560" y="1772"/>
                  </a:lnTo>
                  <a:lnTo>
                    <a:pt x="2554" y="1772"/>
                  </a:lnTo>
                  <a:lnTo>
                    <a:pt x="2560" y="1768"/>
                  </a:lnTo>
                  <a:lnTo>
                    <a:pt x="2554" y="1766"/>
                  </a:lnTo>
                  <a:lnTo>
                    <a:pt x="2548" y="1768"/>
                  </a:lnTo>
                  <a:lnTo>
                    <a:pt x="2542" y="1768"/>
                  </a:lnTo>
                  <a:lnTo>
                    <a:pt x="2536" y="1770"/>
                  </a:lnTo>
                  <a:lnTo>
                    <a:pt x="2530" y="1772"/>
                  </a:lnTo>
                  <a:lnTo>
                    <a:pt x="2524" y="1772"/>
                  </a:lnTo>
                  <a:lnTo>
                    <a:pt x="2528" y="1772"/>
                  </a:lnTo>
                  <a:lnTo>
                    <a:pt x="2534" y="1770"/>
                  </a:lnTo>
                  <a:lnTo>
                    <a:pt x="2540" y="1772"/>
                  </a:lnTo>
                  <a:lnTo>
                    <a:pt x="2546" y="1770"/>
                  </a:lnTo>
                  <a:lnTo>
                    <a:pt x="2552" y="1772"/>
                  </a:lnTo>
                  <a:lnTo>
                    <a:pt x="2550" y="1776"/>
                  </a:lnTo>
                  <a:lnTo>
                    <a:pt x="2558" y="1776"/>
                  </a:lnTo>
                  <a:lnTo>
                    <a:pt x="2564" y="1774"/>
                  </a:lnTo>
                  <a:lnTo>
                    <a:pt x="2558" y="1778"/>
                  </a:lnTo>
                  <a:lnTo>
                    <a:pt x="2550" y="1784"/>
                  </a:lnTo>
                  <a:lnTo>
                    <a:pt x="2558" y="1784"/>
                  </a:lnTo>
                  <a:lnTo>
                    <a:pt x="2550" y="1786"/>
                  </a:lnTo>
                  <a:lnTo>
                    <a:pt x="2546" y="1788"/>
                  </a:lnTo>
                  <a:lnTo>
                    <a:pt x="2538" y="1790"/>
                  </a:lnTo>
                  <a:lnTo>
                    <a:pt x="2540" y="1784"/>
                  </a:lnTo>
                  <a:lnTo>
                    <a:pt x="2534" y="1782"/>
                  </a:lnTo>
                  <a:lnTo>
                    <a:pt x="2528" y="1784"/>
                  </a:lnTo>
                  <a:lnTo>
                    <a:pt x="2522" y="1778"/>
                  </a:lnTo>
                  <a:lnTo>
                    <a:pt x="2516" y="1778"/>
                  </a:lnTo>
                  <a:lnTo>
                    <a:pt x="2510" y="1780"/>
                  </a:lnTo>
                  <a:lnTo>
                    <a:pt x="2504" y="1780"/>
                  </a:lnTo>
                  <a:lnTo>
                    <a:pt x="2498" y="1782"/>
                  </a:lnTo>
                  <a:lnTo>
                    <a:pt x="2492" y="1782"/>
                  </a:lnTo>
                  <a:lnTo>
                    <a:pt x="2486" y="1784"/>
                  </a:lnTo>
                  <a:lnTo>
                    <a:pt x="2480" y="1784"/>
                  </a:lnTo>
                  <a:lnTo>
                    <a:pt x="2474" y="1784"/>
                  </a:lnTo>
                  <a:lnTo>
                    <a:pt x="2468" y="1786"/>
                  </a:lnTo>
                  <a:lnTo>
                    <a:pt x="2462" y="1786"/>
                  </a:lnTo>
                  <a:lnTo>
                    <a:pt x="2456" y="1788"/>
                  </a:lnTo>
                  <a:lnTo>
                    <a:pt x="2450" y="1788"/>
                  </a:lnTo>
                  <a:lnTo>
                    <a:pt x="2444" y="1790"/>
                  </a:lnTo>
                  <a:lnTo>
                    <a:pt x="2438" y="1790"/>
                  </a:lnTo>
                  <a:lnTo>
                    <a:pt x="2432" y="1792"/>
                  </a:lnTo>
                  <a:lnTo>
                    <a:pt x="2426" y="1796"/>
                  </a:lnTo>
                  <a:lnTo>
                    <a:pt x="2420" y="1800"/>
                  </a:lnTo>
                  <a:lnTo>
                    <a:pt x="2414" y="1802"/>
                  </a:lnTo>
                  <a:lnTo>
                    <a:pt x="2408" y="1804"/>
                  </a:lnTo>
                  <a:lnTo>
                    <a:pt x="2402" y="1808"/>
                  </a:lnTo>
                  <a:lnTo>
                    <a:pt x="2396" y="1810"/>
                  </a:lnTo>
                  <a:lnTo>
                    <a:pt x="2392" y="1816"/>
                  </a:lnTo>
                  <a:lnTo>
                    <a:pt x="2386" y="1822"/>
                  </a:lnTo>
                  <a:lnTo>
                    <a:pt x="2380" y="1826"/>
                  </a:lnTo>
                  <a:lnTo>
                    <a:pt x="2382" y="1832"/>
                  </a:lnTo>
                  <a:lnTo>
                    <a:pt x="2388" y="1834"/>
                  </a:lnTo>
                  <a:lnTo>
                    <a:pt x="2394" y="1834"/>
                  </a:lnTo>
                  <a:lnTo>
                    <a:pt x="2400" y="1836"/>
                  </a:lnTo>
                  <a:lnTo>
                    <a:pt x="2406" y="1834"/>
                  </a:lnTo>
                  <a:lnTo>
                    <a:pt x="2412" y="1830"/>
                  </a:lnTo>
                  <a:lnTo>
                    <a:pt x="2418" y="1830"/>
                  </a:lnTo>
                  <a:lnTo>
                    <a:pt x="2416" y="1836"/>
                  </a:lnTo>
                  <a:lnTo>
                    <a:pt x="2412" y="1842"/>
                  </a:lnTo>
                  <a:lnTo>
                    <a:pt x="2410" y="1842"/>
                  </a:lnTo>
                  <a:lnTo>
                    <a:pt x="2410" y="1848"/>
                  </a:lnTo>
                  <a:lnTo>
                    <a:pt x="2416" y="1854"/>
                  </a:lnTo>
                  <a:lnTo>
                    <a:pt x="2414" y="1856"/>
                  </a:lnTo>
                  <a:lnTo>
                    <a:pt x="2408" y="1856"/>
                  </a:lnTo>
                  <a:lnTo>
                    <a:pt x="2402" y="1858"/>
                  </a:lnTo>
                  <a:lnTo>
                    <a:pt x="2396" y="1856"/>
                  </a:lnTo>
                  <a:lnTo>
                    <a:pt x="2390" y="1858"/>
                  </a:lnTo>
                  <a:lnTo>
                    <a:pt x="2384" y="1858"/>
                  </a:lnTo>
                  <a:lnTo>
                    <a:pt x="2378" y="1858"/>
                  </a:lnTo>
                  <a:lnTo>
                    <a:pt x="2376" y="1858"/>
                  </a:lnTo>
                  <a:lnTo>
                    <a:pt x="2370" y="1858"/>
                  </a:lnTo>
                  <a:lnTo>
                    <a:pt x="2364" y="1860"/>
                  </a:lnTo>
                  <a:lnTo>
                    <a:pt x="2358" y="1860"/>
                  </a:lnTo>
                  <a:lnTo>
                    <a:pt x="2352" y="1862"/>
                  </a:lnTo>
                  <a:lnTo>
                    <a:pt x="2348" y="1862"/>
                  </a:lnTo>
                  <a:lnTo>
                    <a:pt x="2342" y="1862"/>
                  </a:lnTo>
                  <a:lnTo>
                    <a:pt x="2336" y="1866"/>
                  </a:lnTo>
                  <a:lnTo>
                    <a:pt x="2330" y="1870"/>
                  </a:lnTo>
                  <a:lnTo>
                    <a:pt x="2324" y="1876"/>
                  </a:lnTo>
                  <a:lnTo>
                    <a:pt x="2330" y="1878"/>
                  </a:lnTo>
                  <a:lnTo>
                    <a:pt x="2336" y="1878"/>
                  </a:lnTo>
                  <a:lnTo>
                    <a:pt x="2342" y="1878"/>
                  </a:lnTo>
                  <a:lnTo>
                    <a:pt x="2336" y="1880"/>
                  </a:lnTo>
                  <a:lnTo>
                    <a:pt x="2330" y="1878"/>
                  </a:lnTo>
                  <a:lnTo>
                    <a:pt x="2324" y="1878"/>
                  </a:lnTo>
                  <a:lnTo>
                    <a:pt x="2318" y="1878"/>
                  </a:lnTo>
                  <a:lnTo>
                    <a:pt x="2312" y="1876"/>
                  </a:lnTo>
                  <a:lnTo>
                    <a:pt x="2306" y="1874"/>
                  </a:lnTo>
                  <a:lnTo>
                    <a:pt x="2300" y="1872"/>
                  </a:lnTo>
                  <a:lnTo>
                    <a:pt x="2294" y="1872"/>
                  </a:lnTo>
                  <a:lnTo>
                    <a:pt x="2288" y="1872"/>
                  </a:lnTo>
                  <a:lnTo>
                    <a:pt x="2282" y="1872"/>
                  </a:lnTo>
                  <a:lnTo>
                    <a:pt x="2276" y="1872"/>
                  </a:lnTo>
                  <a:lnTo>
                    <a:pt x="2270" y="1874"/>
                  </a:lnTo>
                  <a:lnTo>
                    <a:pt x="2264" y="1876"/>
                  </a:lnTo>
                  <a:lnTo>
                    <a:pt x="2258" y="1878"/>
                  </a:lnTo>
                  <a:lnTo>
                    <a:pt x="2252" y="1882"/>
                  </a:lnTo>
                  <a:lnTo>
                    <a:pt x="2246" y="1886"/>
                  </a:lnTo>
                  <a:lnTo>
                    <a:pt x="2240" y="1890"/>
                  </a:lnTo>
                  <a:lnTo>
                    <a:pt x="2234" y="1896"/>
                  </a:lnTo>
                  <a:lnTo>
                    <a:pt x="2228" y="1898"/>
                  </a:lnTo>
                  <a:lnTo>
                    <a:pt x="2222" y="1900"/>
                  </a:lnTo>
                  <a:lnTo>
                    <a:pt x="2216" y="1902"/>
                  </a:lnTo>
                  <a:lnTo>
                    <a:pt x="2210" y="1904"/>
                  </a:lnTo>
                  <a:lnTo>
                    <a:pt x="2204" y="1906"/>
                  </a:lnTo>
                  <a:lnTo>
                    <a:pt x="2198" y="1910"/>
                  </a:lnTo>
                  <a:lnTo>
                    <a:pt x="2194" y="1914"/>
                  </a:lnTo>
                  <a:lnTo>
                    <a:pt x="2188" y="1920"/>
                  </a:lnTo>
                  <a:lnTo>
                    <a:pt x="2182" y="1914"/>
                  </a:lnTo>
                  <a:lnTo>
                    <a:pt x="2176" y="1916"/>
                  </a:lnTo>
                  <a:lnTo>
                    <a:pt x="2170" y="1918"/>
                  </a:lnTo>
                  <a:lnTo>
                    <a:pt x="2164" y="1916"/>
                  </a:lnTo>
                  <a:lnTo>
                    <a:pt x="2158" y="1914"/>
                  </a:lnTo>
                  <a:lnTo>
                    <a:pt x="2160" y="1908"/>
                  </a:lnTo>
                  <a:lnTo>
                    <a:pt x="2164" y="1902"/>
                  </a:lnTo>
                  <a:lnTo>
                    <a:pt x="2168" y="1896"/>
                  </a:lnTo>
                  <a:lnTo>
                    <a:pt x="2170" y="1894"/>
                  </a:lnTo>
                  <a:lnTo>
                    <a:pt x="2174" y="1894"/>
                  </a:lnTo>
                  <a:lnTo>
                    <a:pt x="2182" y="1894"/>
                  </a:lnTo>
                  <a:lnTo>
                    <a:pt x="2186" y="1896"/>
                  </a:lnTo>
                  <a:lnTo>
                    <a:pt x="2194" y="1896"/>
                  </a:lnTo>
                  <a:lnTo>
                    <a:pt x="2198" y="1896"/>
                  </a:lnTo>
                  <a:lnTo>
                    <a:pt x="2204" y="1892"/>
                  </a:lnTo>
                  <a:lnTo>
                    <a:pt x="2208" y="1890"/>
                  </a:lnTo>
                  <a:lnTo>
                    <a:pt x="2206" y="1884"/>
                  </a:lnTo>
                  <a:lnTo>
                    <a:pt x="2200" y="1882"/>
                  </a:lnTo>
                  <a:lnTo>
                    <a:pt x="2198" y="1878"/>
                  </a:lnTo>
                  <a:lnTo>
                    <a:pt x="2202" y="1878"/>
                  </a:lnTo>
                  <a:lnTo>
                    <a:pt x="2208" y="1874"/>
                  </a:lnTo>
                  <a:lnTo>
                    <a:pt x="2212" y="1868"/>
                  </a:lnTo>
                  <a:lnTo>
                    <a:pt x="2214" y="1862"/>
                  </a:lnTo>
                  <a:lnTo>
                    <a:pt x="2218" y="1856"/>
                  </a:lnTo>
                  <a:lnTo>
                    <a:pt x="2222" y="1852"/>
                  </a:lnTo>
                  <a:lnTo>
                    <a:pt x="2224" y="1848"/>
                  </a:lnTo>
                  <a:lnTo>
                    <a:pt x="2230" y="1846"/>
                  </a:lnTo>
                  <a:lnTo>
                    <a:pt x="2236" y="1844"/>
                  </a:lnTo>
                  <a:lnTo>
                    <a:pt x="2242" y="1842"/>
                  </a:lnTo>
                  <a:lnTo>
                    <a:pt x="2248" y="1838"/>
                  </a:lnTo>
                  <a:lnTo>
                    <a:pt x="2254" y="1834"/>
                  </a:lnTo>
                  <a:lnTo>
                    <a:pt x="2260" y="1832"/>
                  </a:lnTo>
                  <a:lnTo>
                    <a:pt x="2266" y="1828"/>
                  </a:lnTo>
                  <a:lnTo>
                    <a:pt x="2272" y="1824"/>
                  </a:lnTo>
                  <a:lnTo>
                    <a:pt x="2276" y="1818"/>
                  </a:lnTo>
                  <a:lnTo>
                    <a:pt x="2280" y="1812"/>
                  </a:lnTo>
                  <a:lnTo>
                    <a:pt x="2280" y="1806"/>
                  </a:lnTo>
                  <a:lnTo>
                    <a:pt x="2282" y="1800"/>
                  </a:lnTo>
                  <a:lnTo>
                    <a:pt x="2286" y="1794"/>
                  </a:lnTo>
                  <a:lnTo>
                    <a:pt x="2288" y="1788"/>
                  </a:lnTo>
                  <a:lnTo>
                    <a:pt x="2290" y="1782"/>
                  </a:lnTo>
                  <a:lnTo>
                    <a:pt x="2292" y="1776"/>
                  </a:lnTo>
                  <a:lnTo>
                    <a:pt x="2298" y="1772"/>
                  </a:lnTo>
                  <a:lnTo>
                    <a:pt x="2304" y="1764"/>
                  </a:lnTo>
                  <a:lnTo>
                    <a:pt x="2308" y="1758"/>
                  </a:lnTo>
                  <a:lnTo>
                    <a:pt x="2314" y="1754"/>
                  </a:lnTo>
                  <a:lnTo>
                    <a:pt x="2320" y="1750"/>
                  </a:lnTo>
                  <a:lnTo>
                    <a:pt x="2326" y="1746"/>
                  </a:lnTo>
                  <a:lnTo>
                    <a:pt x="2332" y="1740"/>
                  </a:lnTo>
                  <a:lnTo>
                    <a:pt x="2336" y="1734"/>
                  </a:lnTo>
                  <a:lnTo>
                    <a:pt x="2338" y="1728"/>
                  </a:lnTo>
                  <a:lnTo>
                    <a:pt x="2338" y="1724"/>
                  </a:lnTo>
                  <a:lnTo>
                    <a:pt x="2338" y="1716"/>
                  </a:lnTo>
                  <a:lnTo>
                    <a:pt x="2338" y="1712"/>
                  </a:lnTo>
                  <a:lnTo>
                    <a:pt x="2336" y="1706"/>
                  </a:lnTo>
                  <a:lnTo>
                    <a:pt x="2334" y="1700"/>
                  </a:lnTo>
                  <a:lnTo>
                    <a:pt x="2330" y="1694"/>
                  </a:lnTo>
                  <a:lnTo>
                    <a:pt x="2336" y="1694"/>
                  </a:lnTo>
                  <a:lnTo>
                    <a:pt x="2342" y="1696"/>
                  </a:lnTo>
                  <a:lnTo>
                    <a:pt x="2348" y="1700"/>
                  </a:lnTo>
                  <a:lnTo>
                    <a:pt x="2350" y="1706"/>
                  </a:lnTo>
                  <a:lnTo>
                    <a:pt x="2348" y="1712"/>
                  </a:lnTo>
                  <a:lnTo>
                    <a:pt x="2352" y="1712"/>
                  </a:lnTo>
                  <a:lnTo>
                    <a:pt x="2352" y="1718"/>
                  </a:lnTo>
                  <a:lnTo>
                    <a:pt x="2360" y="1718"/>
                  </a:lnTo>
                  <a:lnTo>
                    <a:pt x="2356" y="1724"/>
                  </a:lnTo>
                  <a:lnTo>
                    <a:pt x="2350" y="1728"/>
                  </a:lnTo>
                  <a:lnTo>
                    <a:pt x="2356" y="1724"/>
                  </a:lnTo>
                  <a:lnTo>
                    <a:pt x="2360" y="1726"/>
                  </a:lnTo>
                  <a:lnTo>
                    <a:pt x="2358" y="1732"/>
                  </a:lnTo>
                  <a:lnTo>
                    <a:pt x="2356" y="1738"/>
                  </a:lnTo>
                  <a:lnTo>
                    <a:pt x="2360" y="1734"/>
                  </a:lnTo>
                  <a:lnTo>
                    <a:pt x="2366" y="1732"/>
                  </a:lnTo>
                  <a:lnTo>
                    <a:pt x="2372" y="1732"/>
                  </a:lnTo>
                  <a:lnTo>
                    <a:pt x="2372" y="1738"/>
                  </a:lnTo>
                  <a:lnTo>
                    <a:pt x="2380" y="1742"/>
                  </a:lnTo>
                  <a:lnTo>
                    <a:pt x="2386" y="1744"/>
                  </a:lnTo>
                  <a:lnTo>
                    <a:pt x="2392" y="1746"/>
                  </a:lnTo>
                  <a:lnTo>
                    <a:pt x="2398" y="1748"/>
                  </a:lnTo>
                  <a:lnTo>
                    <a:pt x="2402" y="1742"/>
                  </a:lnTo>
                  <a:lnTo>
                    <a:pt x="2404" y="1740"/>
                  </a:lnTo>
                  <a:lnTo>
                    <a:pt x="2406" y="1736"/>
                  </a:lnTo>
                  <a:lnTo>
                    <a:pt x="2408" y="1732"/>
                  </a:lnTo>
                  <a:lnTo>
                    <a:pt x="2406" y="1730"/>
                  </a:lnTo>
                  <a:lnTo>
                    <a:pt x="2406" y="1724"/>
                  </a:lnTo>
                  <a:lnTo>
                    <a:pt x="2412" y="1722"/>
                  </a:lnTo>
                  <a:lnTo>
                    <a:pt x="2416" y="1722"/>
                  </a:lnTo>
                  <a:lnTo>
                    <a:pt x="2420" y="1728"/>
                  </a:lnTo>
                  <a:lnTo>
                    <a:pt x="2426" y="1726"/>
                  </a:lnTo>
                  <a:lnTo>
                    <a:pt x="2430" y="1720"/>
                  </a:lnTo>
                  <a:lnTo>
                    <a:pt x="2428" y="1720"/>
                  </a:lnTo>
                  <a:lnTo>
                    <a:pt x="2424" y="1724"/>
                  </a:lnTo>
                  <a:lnTo>
                    <a:pt x="2422" y="1718"/>
                  </a:lnTo>
                  <a:lnTo>
                    <a:pt x="2420" y="1712"/>
                  </a:lnTo>
                  <a:lnTo>
                    <a:pt x="2418" y="1710"/>
                  </a:lnTo>
                  <a:lnTo>
                    <a:pt x="2418" y="1708"/>
                  </a:lnTo>
                  <a:lnTo>
                    <a:pt x="2414" y="1704"/>
                  </a:lnTo>
                  <a:lnTo>
                    <a:pt x="2420" y="1704"/>
                  </a:lnTo>
                  <a:lnTo>
                    <a:pt x="2422" y="1700"/>
                  </a:lnTo>
                  <a:lnTo>
                    <a:pt x="2420" y="1700"/>
                  </a:lnTo>
                  <a:lnTo>
                    <a:pt x="2418" y="1694"/>
                  </a:lnTo>
                  <a:lnTo>
                    <a:pt x="2424" y="1690"/>
                  </a:lnTo>
                  <a:lnTo>
                    <a:pt x="2424" y="1684"/>
                  </a:lnTo>
                  <a:lnTo>
                    <a:pt x="2416" y="1690"/>
                  </a:lnTo>
                  <a:lnTo>
                    <a:pt x="2410" y="1688"/>
                  </a:lnTo>
                  <a:lnTo>
                    <a:pt x="2408" y="1682"/>
                  </a:lnTo>
                  <a:lnTo>
                    <a:pt x="2412" y="1676"/>
                  </a:lnTo>
                  <a:lnTo>
                    <a:pt x="2412" y="1670"/>
                  </a:lnTo>
                  <a:lnTo>
                    <a:pt x="2406" y="1672"/>
                  </a:lnTo>
                  <a:lnTo>
                    <a:pt x="2404" y="1666"/>
                  </a:lnTo>
                  <a:lnTo>
                    <a:pt x="2404" y="1660"/>
                  </a:lnTo>
                  <a:lnTo>
                    <a:pt x="2404" y="1654"/>
                  </a:lnTo>
                  <a:lnTo>
                    <a:pt x="2398" y="1648"/>
                  </a:lnTo>
                  <a:lnTo>
                    <a:pt x="2392" y="1648"/>
                  </a:lnTo>
                  <a:lnTo>
                    <a:pt x="2386" y="1648"/>
                  </a:lnTo>
                  <a:lnTo>
                    <a:pt x="2380" y="1648"/>
                  </a:lnTo>
                  <a:lnTo>
                    <a:pt x="2384" y="1644"/>
                  </a:lnTo>
                  <a:lnTo>
                    <a:pt x="2378" y="1646"/>
                  </a:lnTo>
                  <a:lnTo>
                    <a:pt x="2372" y="1646"/>
                  </a:lnTo>
                  <a:lnTo>
                    <a:pt x="2366" y="1644"/>
                  </a:lnTo>
                  <a:lnTo>
                    <a:pt x="2360" y="1644"/>
                  </a:lnTo>
                  <a:lnTo>
                    <a:pt x="2354" y="1648"/>
                  </a:lnTo>
                  <a:lnTo>
                    <a:pt x="2360" y="1644"/>
                  </a:lnTo>
                  <a:lnTo>
                    <a:pt x="2362" y="1642"/>
                  </a:lnTo>
                  <a:lnTo>
                    <a:pt x="2356" y="1642"/>
                  </a:lnTo>
                  <a:lnTo>
                    <a:pt x="2362" y="1636"/>
                  </a:lnTo>
                  <a:lnTo>
                    <a:pt x="2356" y="1640"/>
                  </a:lnTo>
                  <a:lnTo>
                    <a:pt x="2350" y="1642"/>
                  </a:lnTo>
                  <a:lnTo>
                    <a:pt x="2354" y="1636"/>
                  </a:lnTo>
                  <a:lnTo>
                    <a:pt x="2348" y="1636"/>
                  </a:lnTo>
                  <a:lnTo>
                    <a:pt x="2342" y="1638"/>
                  </a:lnTo>
                  <a:lnTo>
                    <a:pt x="2336" y="1636"/>
                  </a:lnTo>
                  <a:lnTo>
                    <a:pt x="2330" y="1634"/>
                  </a:lnTo>
                  <a:lnTo>
                    <a:pt x="2324" y="1632"/>
                  </a:lnTo>
                  <a:lnTo>
                    <a:pt x="2318" y="1630"/>
                  </a:lnTo>
                  <a:lnTo>
                    <a:pt x="2312" y="1632"/>
                  </a:lnTo>
                  <a:lnTo>
                    <a:pt x="2306" y="1630"/>
                  </a:lnTo>
                  <a:lnTo>
                    <a:pt x="2300" y="1632"/>
                  </a:lnTo>
                  <a:lnTo>
                    <a:pt x="2294" y="1632"/>
                  </a:lnTo>
                  <a:lnTo>
                    <a:pt x="2288" y="1632"/>
                  </a:lnTo>
                  <a:lnTo>
                    <a:pt x="2282" y="1632"/>
                  </a:lnTo>
                  <a:lnTo>
                    <a:pt x="2276" y="1630"/>
                  </a:lnTo>
                  <a:lnTo>
                    <a:pt x="2270" y="1628"/>
                  </a:lnTo>
                  <a:lnTo>
                    <a:pt x="2264" y="1628"/>
                  </a:lnTo>
                  <a:lnTo>
                    <a:pt x="2258" y="1624"/>
                  </a:lnTo>
                  <a:lnTo>
                    <a:pt x="2258" y="1626"/>
                  </a:lnTo>
                  <a:lnTo>
                    <a:pt x="2252" y="1624"/>
                  </a:lnTo>
                  <a:lnTo>
                    <a:pt x="2246" y="1622"/>
                  </a:lnTo>
                  <a:lnTo>
                    <a:pt x="2240" y="1622"/>
                  </a:lnTo>
                  <a:lnTo>
                    <a:pt x="2234" y="1618"/>
                  </a:lnTo>
                  <a:lnTo>
                    <a:pt x="2238" y="1614"/>
                  </a:lnTo>
                  <a:lnTo>
                    <a:pt x="2238" y="1608"/>
                  </a:lnTo>
                  <a:lnTo>
                    <a:pt x="2232" y="1608"/>
                  </a:lnTo>
                  <a:lnTo>
                    <a:pt x="2226" y="1608"/>
                  </a:lnTo>
                  <a:lnTo>
                    <a:pt x="2224" y="1608"/>
                  </a:lnTo>
                  <a:lnTo>
                    <a:pt x="2220" y="1610"/>
                  </a:lnTo>
                  <a:lnTo>
                    <a:pt x="2216" y="1608"/>
                  </a:lnTo>
                  <a:lnTo>
                    <a:pt x="2218" y="1602"/>
                  </a:lnTo>
                  <a:lnTo>
                    <a:pt x="2224" y="1598"/>
                  </a:lnTo>
                  <a:lnTo>
                    <a:pt x="2226" y="1594"/>
                  </a:lnTo>
                  <a:lnTo>
                    <a:pt x="2220" y="1598"/>
                  </a:lnTo>
                  <a:lnTo>
                    <a:pt x="2224" y="1590"/>
                  </a:lnTo>
                  <a:lnTo>
                    <a:pt x="2230" y="1586"/>
                  </a:lnTo>
                  <a:lnTo>
                    <a:pt x="2236" y="1586"/>
                  </a:lnTo>
                  <a:lnTo>
                    <a:pt x="2234" y="1580"/>
                  </a:lnTo>
                  <a:lnTo>
                    <a:pt x="2228" y="1580"/>
                  </a:lnTo>
                  <a:lnTo>
                    <a:pt x="2224" y="1580"/>
                  </a:lnTo>
                  <a:lnTo>
                    <a:pt x="2220" y="1574"/>
                  </a:lnTo>
                  <a:lnTo>
                    <a:pt x="2226" y="1570"/>
                  </a:lnTo>
                  <a:lnTo>
                    <a:pt x="2228" y="1564"/>
                  </a:lnTo>
                  <a:lnTo>
                    <a:pt x="2236" y="1558"/>
                  </a:lnTo>
                  <a:lnTo>
                    <a:pt x="2238" y="1552"/>
                  </a:lnTo>
                  <a:lnTo>
                    <a:pt x="2236" y="1546"/>
                  </a:lnTo>
                  <a:lnTo>
                    <a:pt x="2230" y="1542"/>
                  </a:lnTo>
                  <a:lnTo>
                    <a:pt x="2226" y="1536"/>
                  </a:lnTo>
                  <a:lnTo>
                    <a:pt x="2228" y="1532"/>
                  </a:lnTo>
                  <a:lnTo>
                    <a:pt x="2232" y="1526"/>
                  </a:lnTo>
                  <a:lnTo>
                    <a:pt x="2238" y="1524"/>
                  </a:lnTo>
                  <a:lnTo>
                    <a:pt x="2240" y="1518"/>
                  </a:lnTo>
                  <a:lnTo>
                    <a:pt x="2244" y="1512"/>
                  </a:lnTo>
                  <a:lnTo>
                    <a:pt x="2238" y="1510"/>
                  </a:lnTo>
                  <a:lnTo>
                    <a:pt x="2232" y="1512"/>
                  </a:lnTo>
                  <a:lnTo>
                    <a:pt x="2226" y="1512"/>
                  </a:lnTo>
                  <a:lnTo>
                    <a:pt x="2220" y="1512"/>
                  </a:lnTo>
                  <a:lnTo>
                    <a:pt x="2214" y="1514"/>
                  </a:lnTo>
                  <a:lnTo>
                    <a:pt x="2208" y="1514"/>
                  </a:lnTo>
                  <a:lnTo>
                    <a:pt x="2202" y="1514"/>
                  </a:lnTo>
                  <a:lnTo>
                    <a:pt x="2196" y="1512"/>
                  </a:lnTo>
                  <a:lnTo>
                    <a:pt x="2190" y="1506"/>
                  </a:lnTo>
                  <a:lnTo>
                    <a:pt x="2188" y="1500"/>
                  </a:lnTo>
                  <a:lnTo>
                    <a:pt x="2188" y="1494"/>
                  </a:lnTo>
                  <a:lnTo>
                    <a:pt x="2186" y="1488"/>
                  </a:lnTo>
                  <a:lnTo>
                    <a:pt x="2188" y="1482"/>
                  </a:lnTo>
                  <a:lnTo>
                    <a:pt x="2188" y="1476"/>
                  </a:lnTo>
                  <a:lnTo>
                    <a:pt x="2190" y="1470"/>
                  </a:lnTo>
                  <a:lnTo>
                    <a:pt x="2190" y="1464"/>
                  </a:lnTo>
                  <a:lnTo>
                    <a:pt x="2190" y="1458"/>
                  </a:lnTo>
                  <a:lnTo>
                    <a:pt x="2184" y="1458"/>
                  </a:lnTo>
                  <a:lnTo>
                    <a:pt x="2178" y="1458"/>
                  </a:lnTo>
                  <a:lnTo>
                    <a:pt x="2172" y="1456"/>
                  </a:lnTo>
                  <a:lnTo>
                    <a:pt x="2166" y="1458"/>
                  </a:lnTo>
                  <a:lnTo>
                    <a:pt x="2160" y="1454"/>
                  </a:lnTo>
                  <a:lnTo>
                    <a:pt x="2154" y="1456"/>
                  </a:lnTo>
                  <a:lnTo>
                    <a:pt x="2148" y="1456"/>
                  </a:lnTo>
                  <a:lnTo>
                    <a:pt x="2142" y="1458"/>
                  </a:lnTo>
                  <a:lnTo>
                    <a:pt x="2136" y="1452"/>
                  </a:lnTo>
                  <a:lnTo>
                    <a:pt x="2130" y="1452"/>
                  </a:lnTo>
                  <a:lnTo>
                    <a:pt x="2124" y="1448"/>
                  </a:lnTo>
                  <a:lnTo>
                    <a:pt x="2118" y="1446"/>
                  </a:lnTo>
                  <a:lnTo>
                    <a:pt x="2112" y="1444"/>
                  </a:lnTo>
                  <a:lnTo>
                    <a:pt x="2106" y="1442"/>
                  </a:lnTo>
                  <a:lnTo>
                    <a:pt x="2100" y="1444"/>
                  </a:lnTo>
                  <a:lnTo>
                    <a:pt x="2098" y="1442"/>
                  </a:lnTo>
                  <a:lnTo>
                    <a:pt x="2096" y="1448"/>
                  </a:lnTo>
                  <a:lnTo>
                    <a:pt x="2098" y="1454"/>
                  </a:lnTo>
                  <a:lnTo>
                    <a:pt x="2098" y="1460"/>
                  </a:lnTo>
                  <a:lnTo>
                    <a:pt x="2092" y="1466"/>
                  </a:lnTo>
                  <a:lnTo>
                    <a:pt x="2086" y="1470"/>
                  </a:lnTo>
                  <a:lnTo>
                    <a:pt x="2080" y="1470"/>
                  </a:lnTo>
                  <a:lnTo>
                    <a:pt x="2074" y="1470"/>
                  </a:lnTo>
                  <a:lnTo>
                    <a:pt x="2068" y="1476"/>
                  </a:lnTo>
                  <a:lnTo>
                    <a:pt x="2062" y="1480"/>
                  </a:lnTo>
                  <a:lnTo>
                    <a:pt x="2066" y="1474"/>
                  </a:lnTo>
                  <a:lnTo>
                    <a:pt x="2072" y="1470"/>
                  </a:lnTo>
                  <a:lnTo>
                    <a:pt x="2078" y="1466"/>
                  </a:lnTo>
                  <a:lnTo>
                    <a:pt x="2084" y="1462"/>
                  </a:lnTo>
                  <a:lnTo>
                    <a:pt x="2088" y="1456"/>
                  </a:lnTo>
                  <a:lnTo>
                    <a:pt x="2082" y="1452"/>
                  </a:lnTo>
                  <a:lnTo>
                    <a:pt x="2076" y="1456"/>
                  </a:lnTo>
                  <a:lnTo>
                    <a:pt x="2072" y="1462"/>
                  </a:lnTo>
                  <a:lnTo>
                    <a:pt x="2066" y="1466"/>
                  </a:lnTo>
                  <a:lnTo>
                    <a:pt x="2062" y="1472"/>
                  </a:lnTo>
                  <a:lnTo>
                    <a:pt x="2056" y="1478"/>
                  </a:lnTo>
                  <a:lnTo>
                    <a:pt x="2050" y="1484"/>
                  </a:lnTo>
                  <a:lnTo>
                    <a:pt x="2046" y="1486"/>
                  </a:lnTo>
                  <a:lnTo>
                    <a:pt x="2038" y="1488"/>
                  </a:lnTo>
                  <a:lnTo>
                    <a:pt x="2044" y="1484"/>
                  </a:lnTo>
                  <a:lnTo>
                    <a:pt x="2050" y="1476"/>
                  </a:lnTo>
                  <a:lnTo>
                    <a:pt x="2054" y="1472"/>
                  </a:lnTo>
                  <a:lnTo>
                    <a:pt x="2050" y="1472"/>
                  </a:lnTo>
                  <a:lnTo>
                    <a:pt x="2042" y="1474"/>
                  </a:lnTo>
                  <a:lnTo>
                    <a:pt x="2038" y="1474"/>
                  </a:lnTo>
                  <a:lnTo>
                    <a:pt x="2032" y="1478"/>
                  </a:lnTo>
                  <a:lnTo>
                    <a:pt x="2026" y="1482"/>
                  </a:lnTo>
                  <a:lnTo>
                    <a:pt x="2022" y="1488"/>
                  </a:lnTo>
                  <a:lnTo>
                    <a:pt x="2018" y="1494"/>
                  </a:lnTo>
                  <a:lnTo>
                    <a:pt x="2012" y="1500"/>
                  </a:lnTo>
                  <a:lnTo>
                    <a:pt x="2006" y="1502"/>
                  </a:lnTo>
                  <a:lnTo>
                    <a:pt x="2000" y="1506"/>
                  </a:lnTo>
                  <a:lnTo>
                    <a:pt x="1994" y="1508"/>
                  </a:lnTo>
                  <a:lnTo>
                    <a:pt x="1992" y="1508"/>
                  </a:lnTo>
                  <a:lnTo>
                    <a:pt x="1990" y="1508"/>
                  </a:lnTo>
                  <a:lnTo>
                    <a:pt x="1982" y="1508"/>
                  </a:lnTo>
                  <a:lnTo>
                    <a:pt x="1978" y="1508"/>
                  </a:lnTo>
                  <a:lnTo>
                    <a:pt x="1970" y="1506"/>
                  </a:lnTo>
                  <a:lnTo>
                    <a:pt x="1970" y="1502"/>
                  </a:lnTo>
                  <a:lnTo>
                    <a:pt x="1964" y="1500"/>
                  </a:lnTo>
                  <a:lnTo>
                    <a:pt x="1958" y="1502"/>
                  </a:lnTo>
                  <a:lnTo>
                    <a:pt x="1952" y="1502"/>
                  </a:lnTo>
                  <a:lnTo>
                    <a:pt x="1946" y="1502"/>
                  </a:lnTo>
                  <a:lnTo>
                    <a:pt x="1940" y="1502"/>
                  </a:lnTo>
                  <a:lnTo>
                    <a:pt x="1934" y="1502"/>
                  </a:lnTo>
                  <a:lnTo>
                    <a:pt x="1932" y="1496"/>
                  </a:lnTo>
                  <a:lnTo>
                    <a:pt x="1932" y="1494"/>
                  </a:lnTo>
                  <a:lnTo>
                    <a:pt x="1934" y="1494"/>
                  </a:lnTo>
                  <a:lnTo>
                    <a:pt x="1928" y="1494"/>
                  </a:lnTo>
                  <a:lnTo>
                    <a:pt x="1922" y="1496"/>
                  </a:lnTo>
                  <a:lnTo>
                    <a:pt x="1920" y="1496"/>
                  </a:lnTo>
                  <a:lnTo>
                    <a:pt x="1916" y="1498"/>
                  </a:lnTo>
                  <a:lnTo>
                    <a:pt x="1908" y="1502"/>
                  </a:lnTo>
                  <a:lnTo>
                    <a:pt x="1902" y="1504"/>
                  </a:lnTo>
                  <a:lnTo>
                    <a:pt x="1898" y="1504"/>
                  </a:lnTo>
                  <a:lnTo>
                    <a:pt x="1894" y="1506"/>
                  </a:lnTo>
                  <a:lnTo>
                    <a:pt x="1888" y="1504"/>
                  </a:lnTo>
                  <a:lnTo>
                    <a:pt x="1886" y="1502"/>
                  </a:lnTo>
                  <a:lnTo>
                    <a:pt x="1882" y="1500"/>
                  </a:lnTo>
                  <a:lnTo>
                    <a:pt x="1884" y="1496"/>
                  </a:lnTo>
                  <a:lnTo>
                    <a:pt x="1878" y="1496"/>
                  </a:lnTo>
                  <a:lnTo>
                    <a:pt x="1872" y="1490"/>
                  </a:lnTo>
                  <a:lnTo>
                    <a:pt x="1866" y="1484"/>
                  </a:lnTo>
                  <a:lnTo>
                    <a:pt x="1860" y="1486"/>
                  </a:lnTo>
                  <a:lnTo>
                    <a:pt x="1856" y="1492"/>
                  </a:lnTo>
                  <a:lnTo>
                    <a:pt x="1854" y="1492"/>
                  </a:lnTo>
                  <a:lnTo>
                    <a:pt x="1850" y="1488"/>
                  </a:lnTo>
                  <a:lnTo>
                    <a:pt x="1852" y="1482"/>
                  </a:lnTo>
                  <a:lnTo>
                    <a:pt x="1846" y="1478"/>
                  </a:lnTo>
                  <a:lnTo>
                    <a:pt x="1848" y="1474"/>
                  </a:lnTo>
                  <a:lnTo>
                    <a:pt x="1842" y="1472"/>
                  </a:lnTo>
                  <a:lnTo>
                    <a:pt x="1836" y="1470"/>
                  </a:lnTo>
                  <a:lnTo>
                    <a:pt x="1830" y="1466"/>
                  </a:lnTo>
                  <a:lnTo>
                    <a:pt x="1824" y="1466"/>
                  </a:lnTo>
                  <a:lnTo>
                    <a:pt x="1818" y="1466"/>
                  </a:lnTo>
                  <a:lnTo>
                    <a:pt x="1812" y="1468"/>
                  </a:lnTo>
                  <a:lnTo>
                    <a:pt x="1810" y="1468"/>
                  </a:lnTo>
                  <a:lnTo>
                    <a:pt x="1802" y="1472"/>
                  </a:lnTo>
                  <a:lnTo>
                    <a:pt x="1796" y="1472"/>
                  </a:lnTo>
                  <a:lnTo>
                    <a:pt x="1792" y="1474"/>
                  </a:lnTo>
                  <a:lnTo>
                    <a:pt x="1784" y="1472"/>
                  </a:lnTo>
                  <a:lnTo>
                    <a:pt x="1786" y="1466"/>
                  </a:lnTo>
                  <a:lnTo>
                    <a:pt x="1780" y="1466"/>
                  </a:lnTo>
                  <a:lnTo>
                    <a:pt x="1774" y="1466"/>
                  </a:lnTo>
                  <a:lnTo>
                    <a:pt x="1768" y="1466"/>
                  </a:lnTo>
                  <a:lnTo>
                    <a:pt x="1762" y="1462"/>
                  </a:lnTo>
                  <a:lnTo>
                    <a:pt x="1756" y="1462"/>
                  </a:lnTo>
                  <a:lnTo>
                    <a:pt x="1750" y="1460"/>
                  </a:lnTo>
                  <a:lnTo>
                    <a:pt x="1746" y="1458"/>
                  </a:lnTo>
                  <a:lnTo>
                    <a:pt x="1748" y="1450"/>
                  </a:lnTo>
                  <a:lnTo>
                    <a:pt x="1750" y="1446"/>
                  </a:lnTo>
                  <a:lnTo>
                    <a:pt x="1752" y="1440"/>
                  </a:lnTo>
                  <a:lnTo>
                    <a:pt x="1754" y="1436"/>
                  </a:lnTo>
                  <a:lnTo>
                    <a:pt x="1756" y="1428"/>
                  </a:lnTo>
                  <a:lnTo>
                    <a:pt x="1758" y="1424"/>
                  </a:lnTo>
                  <a:lnTo>
                    <a:pt x="1756" y="1418"/>
                  </a:lnTo>
                  <a:lnTo>
                    <a:pt x="1752" y="1418"/>
                  </a:lnTo>
                  <a:lnTo>
                    <a:pt x="1748" y="1418"/>
                  </a:lnTo>
                  <a:lnTo>
                    <a:pt x="1744" y="1416"/>
                  </a:lnTo>
                  <a:lnTo>
                    <a:pt x="1740" y="1424"/>
                  </a:lnTo>
                  <a:lnTo>
                    <a:pt x="1736" y="1430"/>
                  </a:lnTo>
                  <a:lnTo>
                    <a:pt x="1734" y="1434"/>
                  </a:lnTo>
                  <a:lnTo>
                    <a:pt x="1730" y="1442"/>
                  </a:lnTo>
                  <a:lnTo>
                    <a:pt x="1724" y="1442"/>
                  </a:lnTo>
                  <a:lnTo>
                    <a:pt x="1718" y="1442"/>
                  </a:lnTo>
                  <a:lnTo>
                    <a:pt x="1714" y="1442"/>
                  </a:lnTo>
                  <a:lnTo>
                    <a:pt x="1706" y="1442"/>
                  </a:lnTo>
                  <a:lnTo>
                    <a:pt x="1700" y="1442"/>
                  </a:lnTo>
                  <a:lnTo>
                    <a:pt x="1692" y="1442"/>
                  </a:lnTo>
                  <a:lnTo>
                    <a:pt x="1684" y="1442"/>
                  </a:lnTo>
                  <a:lnTo>
                    <a:pt x="1678" y="1442"/>
                  </a:lnTo>
                  <a:lnTo>
                    <a:pt x="1670" y="1442"/>
                  </a:lnTo>
                  <a:lnTo>
                    <a:pt x="1664" y="1442"/>
                  </a:lnTo>
                  <a:lnTo>
                    <a:pt x="1656" y="1442"/>
                  </a:lnTo>
                  <a:lnTo>
                    <a:pt x="1648" y="1442"/>
                  </a:lnTo>
                  <a:lnTo>
                    <a:pt x="1642" y="1442"/>
                  </a:lnTo>
                  <a:lnTo>
                    <a:pt x="1634" y="1442"/>
                  </a:lnTo>
                  <a:lnTo>
                    <a:pt x="1628" y="1442"/>
                  </a:lnTo>
                  <a:lnTo>
                    <a:pt x="1622" y="1442"/>
                  </a:lnTo>
                  <a:lnTo>
                    <a:pt x="1620" y="1442"/>
                  </a:lnTo>
                  <a:lnTo>
                    <a:pt x="1618" y="1442"/>
                  </a:lnTo>
                  <a:lnTo>
                    <a:pt x="1614" y="1442"/>
                  </a:lnTo>
                  <a:lnTo>
                    <a:pt x="1606" y="1442"/>
                  </a:lnTo>
                  <a:lnTo>
                    <a:pt x="1600" y="1442"/>
                  </a:lnTo>
                  <a:lnTo>
                    <a:pt x="1592" y="1442"/>
                  </a:lnTo>
                  <a:lnTo>
                    <a:pt x="1584" y="1442"/>
                  </a:lnTo>
                  <a:lnTo>
                    <a:pt x="1578" y="1442"/>
                  </a:lnTo>
                  <a:lnTo>
                    <a:pt x="1572" y="1442"/>
                  </a:lnTo>
                  <a:lnTo>
                    <a:pt x="1566" y="1442"/>
                  </a:lnTo>
                  <a:lnTo>
                    <a:pt x="1564" y="1442"/>
                  </a:lnTo>
                  <a:lnTo>
                    <a:pt x="1556" y="1442"/>
                  </a:lnTo>
                  <a:lnTo>
                    <a:pt x="1550" y="1442"/>
                  </a:lnTo>
                  <a:lnTo>
                    <a:pt x="1542" y="1442"/>
                  </a:lnTo>
                  <a:lnTo>
                    <a:pt x="1534" y="1442"/>
                  </a:lnTo>
                  <a:lnTo>
                    <a:pt x="1528" y="1442"/>
                  </a:lnTo>
                  <a:lnTo>
                    <a:pt x="1522" y="1442"/>
                  </a:lnTo>
                  <a:lnTo>
                    <a:pt x="1514" y="1442"/>
                  </a:lnTo>
                  <a:lnTo>
                    <a:pt x="1506" y="1442"/>
                  </a:lnTo>
                  <a:lnTo>
                    <a:pt x="1500" y="1442"/>
                  </a:lnTo>
                  <a:lnTo>
                    <a:pt x="1492" y="1442"/>
                  </a:lnTo>
                  <a:lnTo>
                    <a:pt x="1486" y="1442"/>
                  </a:lnTo>
                  <a:lnTo>
                    <a:pt x="1478" y="1442"/>
                  </a:lnTo>
                  <a:lnTo>
                    <a:pt x="1470" y="1442"/>
                  </a:lnTo>
                  <a:lnTo>
                    <a:pt x="1462" y="1442"/>
                  </a:lnTo>
                  <a:lnTo>
                    <a:pt x="1454" y="1442"/>
                  </a:lnTo>
                  <a:lnTo>
                    <a:pt x="1448" y="1442"/>
                  </a:lnTo>
                  <a:lnTo>
                    <a:pt x="1440" y="1442"/>
                  </a:lnTo>
                  <a:lnTo>
                    <a:pt x="1434" y="1442"/>
                  </a:lnTo>
                  <a:lnTo>
                    <a:pt x="1426" y="1442"/>
                  </a:lnTo>
                  <a:lnTo>
                    <a:pt x="1420" y="1442"/>
                  </a:lnTo>
                  <a:lnTo>
                    <a:pt x="1412" y="1442"/>
                  </a:lnTo>
                  <a:lnTo>
                    <a:pt x="1406" y="1442"/>
                  </a:lnTo>
                  <a:lnTo>
                    <a:pt x="1398" y="1442"/>
                  </a:lnTo>
                  <a:lnTo>
                    <a:pt x="1394" y="1442"/>
                  </a:lnTo>
                  <a:lnTo>
                    <a:pt x="1388" y="1442"/>
                  </a:lnTo>
                  <a:lnTo>
                    <a:pt x="1380" y="1442"/>
                  </a:lnTo>
                  <a:lnTo>
                    <a:pt x="1372" y="1442"/>
                  </a:lnTo>
                  <a:lnTo>
                    <a:pt x="1366" y="1442"/>
                  </a:lnTo>
                  <a:lnTo>
                    <a:pt x="1364" y="1442"/>
                  </a:lnTo>
                  <a:lnTo>
                    <a:pt x="1356" y="1442"/>
                  </a:lnTo>
                  <a:lnTo>
                    <a:pt x="1350" y="1442"/>
                  </a:lnTo>
                  <a:lnTo>
                    <a:pt x="1348" y="1442"/>
                  </a:lnTo>
                  <a:lnTo>
                    <a:pt x="1340" y="1442"/>
                  </a:lnTo>
                  <a:lnTo>
                    <a:pt x="1334" y="1442"/>
                  </a:lnTo>
                  <a:lnTo>
                    <a:pt x="1326" y="1442"/>
                  </a:lnTo>
                  <a:lnTo>
                    <a:pt x="1320" y="1442"/>
                  </a:lnTo>
                  <a:lnTo>
                    <a:pt x="1312" y="1442"/>
                  </a:lnTo>
                  <a:lnTo>
                    <a:pt x="1306" y="1442"/>
                  </a:lnTo>
                  <a:lnTo>
                    <a:pt x="1298" y="1442"/>
                  </a:lnTo>
                  <a:lnTo>
                    <a:pt x="1292" y="1442"/>
                  </a:lnTo>
                  <a:lnTo>
                    <a:pt x="1284" y="1442"/>
                  </a:lnTo>
                  <a:lnTo>
                    <a:pt x="1276" y="1442"/>
                  </a:lnTo>
                  <a:lnTo>
                    <a:pt x="1270" y="1442"/>
                  </a:lnTo>
                  <a:lnTo>
                    <a:pt x="1262" y="1442"/>
                  </a:lnTo>
                  <a:lnTo>
                    <a:pt x="1256" y="1442"/>
                  </a:lnTo>
                  <a:lnTo>
                    <a:pt x="1254" y="1442"/>
                  </a:lnTo>
                  <a:lnTo>
                    <a:pt x="1246" y="1442"/>
                  </a:lnTo>
                  <a:lnTo>
                    <a:pt x="1240" y="1442"/>
                  </a:lnTo>
                  <a:lnTo>
                    <a:pt x="1232" y="1442"/>
                  </a:lnTo>
                  <a:lnTo>
                    <a:pt x="1226" y="1442"/>
                  </a:lnTo>
                  <a:lnTo>
                    <a:pt x="1218" y="1442"/>
                  </a:lnTo>
                  <a:lnTo>
                    <a:pt x="1212" y="1442"/>
                  </a:lnTo>
                  <a:lnTo>
                    <a:pt x="1204" y="1442"/>
                  </a:lnTo>
                  <a:lnTo>
                    <a:pt x="1198" y="1442"/>
                  </a:lnTo>
                  <a:lnTo>
                    <a:pt x="1192" y="1442"/>
                  </a:lnTo>
                  <a:lnTo>
                    <a:pt x="1184" y="1442"/>
                  </a:lnTo>
                  <a:lnTo>
                    <a:pt x="1178" y="1442"/>
                  </a:lnTo>
                  <a:lnTo>
                    <a:pt x="1170" y="1442"/>
                  </a:lnTo>
                  <a:lnTo>
                    <a:pt x="1162" y="1442"/>
                  </a:lnTo>
                  <a:lnTo>
                    <a:pt x="1156" y="1442"/>
                  </a:lnTo>
                  <a:lnTo>
                    <a:pt x="1148" y="1442"/>
                  </a:lnTo>
                  <a:lnTo>
                    <a:pt x="1142" y="1442"/>
                  </a:lnTo>
                  <a:lnTo>
                    <a:pt x="1134" y="1442"/>
                  </a:lnTo>
                  <a:lnTo>
                    <a:pt x="1128" y="1442"/>
                  </a:lnTo>
                  <a:lnTo>
                    <a:pt x="1120" y="1442"/>
                  </a:lnTo>
                  <a:lnTo>
                    <a:pt x="1114" y="1442"/>
                  </a:lnTo>
                  <a:lnTo>
                    <a:pt x="1110" y="1442"/>
                  </a:lnTo>
                  <a:lnTo>
                    <a:pt x="1102" y="1442"/>
                  </a:lnTo>
                  <a:lnTo>
                    <a:pt x="1096" y="1442"/>
                  </a:lnTo>
                  <a:lnTo>
                    <a:pt x="1088" y="1442"/>
                  </a:lnTo>
                  <a:lnTo>
                    <a:pt x="1082" y="1442"/>
                  </a:lnTo>
                  <a:lnTo>
                    <a:pt x="1080" y="1442"/>
                  </a:lnTo>
                  <a:lnTo>
                    <a:pt x="1072" y="1442"/>
                  </a:lnTo>
                  <a:lnTo>
                    <a:pt x="1064" y="1442"/>
                  </a:lnTo>
                  <a:lnTo>
                    <a:pt x="1058" y="1442"/>
                  </a:lnTo>
                  <a:lnTo>
                    <a:pt x="1052" y="1442"/>
                  </a:lnTo>
                  <a:lnTo>
                    <a:pt x="1044" y="1442"/>
                  </a:lnTo>
                  <a:lnTo>
                    <a:pt x="1036" y="1442"/>
                  </a:lnTo>
                  <a:lnTo>
                    <a:pt x="1030" y="1442"/>
                  </a:lnTo>
                  <a:lnTo>
                    <a:pt x="1022" y="1442"/>
                  </a:lnTo>
                  <a:lnTo>
                    <a:pt x="1016" y="1442"/>
                  </a:lnTo>
                  <a:lnTo>
                    <a:pt x="1008" y="1442"/>
                  </a:lnTo>
                  <a:lnTo>
                    <a:pt x="1000" y="1442"/>
                  </a:lnTo>
                  <a:lnTo>
                    <a:pt x="994" y="1442"/>
                  </a:lnTo>
                  <a:lnTo>
                    <a:pt x="986" y="1442"/>
                  </a:lnTo>
                  <a:lnTo>
                    <a:pt x="980" y="1442"/>
                  </a:lnTo>
                  <a:lnTo>
                    <a:pt x="972" y="1442"/>
                  </a:lnTo>
                  <a:lnTo>
                    <a:pt x="966" y="1442"/>
                  </a:lnTo>
                  <a:lnTo>
                    <a:pt x="958" y="1442"/>
                  </a:lnTo>
                  <a:lnTo>
                    <a:pt x="950" y="1442"/>
                  </a:lnTo>
                  <a:lnTo>
                    <a:pt x="944" y="1442"/>
                  </a:lnTo>
                  <a:lnTo>
                    <a:pt x="936" y="1442"/>
                  </a:lnTo>
                  <a:lnTo>
                    <a:pt x="928" y="1442"/>
                  </a:lnTo>
                  <a:lnTo>
                    <a:pt x="920" y="1442"/>
                  </a:lnTo>
                  <a:lnTo>
                    <a:pt x="914" y="1442"/>
                  </a:lnTo>
                  <a:lnTo>
                    <a:pt x="908" y="1442"/>
                  </a:lnTo>
                  <a:lnTo>
                    <a:pt x="906" y="1442"/>
                  </a:lnTo>
                  <a:lnTo>
                    <a:pt x="902" y="1442"/>
                  </a:lnTo>
                  <a:lnTo>
                    <a:pt x="896" y="1442"/>
                  </a:lnTo>
                  <a:lnTo>
                    <a:pt x="888" y="1442"/>
                  </a:lnTo>
                  <a:lnTo>
                    <a:pt x="882" y="1442"/>
                  </a:lnTo>
                  <a:lnTo>
                    <a:pt x="874" y="1442"/>
                  </a:lnTo>
                  <a:lnTo>
                    <a:pt x="868" y="1442"/>
                  </a:lnTo>
                  <a:lnTo>
                    <a:pt x="860" y="1442"/>
                  </a:lnTo>
                  <a:lnTo>
                    <a:pt x="852" y="1442"/>
                  </a:lnTo>
                  <a:lnTo>
                    <a:pt x="846" y="1442"/>
                  </a:lnTo>
                  <a:lnTo>
                    <a:pt x="840" y="1442"/>
                  </a:lnTo>
                  <a:lnTo>
                    <a:pt x="832" y="1442"/>
                  </a:lnTo>
                  <a:lnTo>
                    <a:pt x="828" y="1442"/>
                  </a:lnTo>
                  <a:lnTo>
                    <a:pt x="822" y="1442"/>
                  </a:lnTo>
                  <a:lnTo>
                    <a:pt x="814" y="1442"/>
                  </a:lnTo>
                  <a:lnTo>
                    <a:pt x="806" y="1442"/>
                  </a:lnTo>
                  <a:lnTo>
                    <a:pt x="800" y="1442"/>
                  </a:lnTo>
                  <a:lnTo>
                    <a:pt x="798" y="1442"/>
                  </a:lnTo>
                  <a:lnTo>
                    <a:pt x="790" y="1442"/>
                  </a:lnTo>
                  <a:lnTo>
                    <a:pt x="784" y="1442"/>
                  </a:lnTo>
                  <a:lnTo>
                    <a:pt x="776" y="1442"/>
                  </a:lnTo>
                  <a:lnTo>
                    <a:pt x="770" y="1442"/>
                  </a:lnTo>
                  <a:lnTo>
                    <a:pt x="762" y="1442"/>
                  </a:lnTo>
                  <a:lnTo>
                    <a:pt x="754" y="1442"/>
                  </a:lnTo>
                  <a:lnTo>
                    <a:pt x="748" y="1442"/>
                  </a:lnTo>
                  <a:lnTo>
                    <a:pt x="742" y="1442"/>
                  </a:lnTo>
                  <a:lnTo>
                    <a:pt x="734" y="1442"/>
                  </a:lnTo>
                  <a:lnTo>
                    <a:pt x="726" y="1442"/>
                  </a:lnTo>
                  <a:lnTo>
                    <a:pt x="720" y="1442"/>
                  </a:lnTo>
                  <a:lnTo>
                    <a:pt x="714" y="1442"/>
                  </a:lnTo>
                  <a:lnTo>
                    <a:pt x="708" y="1442"/>
                  </a:lnTo>
                  <a:lnTo>
                    <a:pt x="700" y="1442"/>
                  </a:lnTo>
                  <a:lnTo>
                    <a:pt x="698" y="1442"/>
                  </a:lnTo>
                  <a:lnTo>
                    <a:pt x="692" y="1442"/>
                  </a:lnTo>
                  <a:lnTo>
                    <a:pt x="684" y="1442"/>
                  </a:lnTo>
                  <a:lnTo>
                    <a:pt x="676" y="1442"/>
                  </a:lnTo>
                  <a:lnTo>
                    <a:pt x="670" y="1442"/>
                  </a:lnTo>
                  <a:lnTo>
                    <a:pt x="666" y="1442"/>
                  </a:lnTo>
                  <a:lnTo>
                    <a:pt x="660" y="1442"/>
                  </a:lnTo>
                  <a:lnTo>
                    <a:pt x="656" y="1442"/>
                  </a:lnTo>
                  <a:lnTo>
                    <a:pt x="648" y="1442"/>
                  </a:lnTo>
                  <a:lnTo>
                    <a:pt x="640" y="1442"/>
                  </a:lnTo>
                  <a:lnTo>
                    <a:pt x="634" y="1442"/>
                  </a:lnTo>
                  <a:lnTo>
                    <a:pt x="628" y="1442"/>
                  </a:lnTo>
                  <a:lnTo>
                    <a:pt x="620" y="1442"/>
                  </a:lnTo>
                  <a:lnTo>
                    <a:pt x="614" y="1442"/>
                  </a:lnTo>
                  <a:lnTo>
                    <a:pt x="612" y="1442"/>
                  </a:lnTo>
                  <a:lnTo>
                    <a:pt x="606" y="1442"/>
                  </a:lnTo>
                  <a:lnTo>
                    <a:pt x="604" y="1442"/>
                  </a:lnTo>
                  <a:lnTo>
                    <a:pt x="596" y="1442"/>
                  </a:lnTo>
                  <a:lnTo>
                    <a:pt x="590" y="1442"/>
                  </a:lnTo>
                  <a:lnTo>
                    <a:pt x="582" y="1442"/>
                  </a:lnTo>
                  <a:lnTo>
                    <a:pt x="576" y="1442"/>
                  </a:lnTo>
                  <a:lnTo>
                    <a:pt x="568" y="1442"/>
                  </a:lnTo>
                  <a:lnTo>
                    <a:pt x="560" y="1442"/>
                  </a:lnTo>
                  <a:lnTo>
                    <a:pt x="552" y="1442"/>
                  </a:lnTo>
                  <a:lnTo>
                    <a:pt x="546" y="1442"/>
                  </a:lnTo>
                  <a:lnTo>
                    <a:pt x="542" y="1442"/>
                  </a:lnTo>
                  <a:lnTo>
                    <a:pt x="536" y="1442"/>
                  </a:lnTo>
                  <a:lnTo>
                    <a:pt x="530" y="1442"/>
                  </a:lnTo>
                  <a:lnTo>
                    <a:pt x="526" y="1442"/>
                  </a:lnTo>
                  <a:lnTo>
                    <a:pt x="518" y="1442"/>
                  </a:lnTo>
                  <a:lnTo>
                    <a:pt x="512" y="1442"/>
                  </a:lnTo>
                  <a:lnTo>
                    <a:pt x="504" y="1442"/>
                  </a:lnTo>
                  <a:lnTo>
                    <a:pt x="496" y="1442"/>
                  </a:lnTo>
                  <a:lnTo>
                    <a:pt x="488" y="1442"/>
                  </a:lnTo>
                  <a:lnTo>
                    <a:pt x="480" y="1442"/>
                  </a:lnTo>
                  <a:lnTo>
                    <a:pt x="474" y="1442"/>
                  </a:lnTo>
                  <a:lnTo>
                    <a:pt x="466" y="1442"/>
                  </a:lnTo>
                  <a:lnTo>
                    <a:pt x="460" y="1442"/>
                  </a:lnTo>
                  <a:lnTo>
                    <a:pt x="452" y="1442"/>
                  </a:lnTo>
                  <a:lnTo>
                    <a:pt x="446" y="1442"/>
                  </a:lnTo>
                  <a:lnTo>
                    <a:pt x="438" y="1442"/>
                  </a:lnTo>
                  <a:lnTo>
                    <a:pt x="432" y="1442"/>
                  </a:lnTo>
                  <a:lnTo>
                    <a:pt x="424" y="1442"/>
                  </a:lnTo>
                  <a:lnTo>
                    <a:pt x="418" y="1442"/>
                  </a:lnTo>
                  <a:lnTo>
                    <a:pt x="416" y="1442"/>
                  </a:lnTo>
                  <a:lnTo>
                    <a:pt x="410" y="1442"/>
                  </a:lnTo>
                  <a:lnTo>
                    <a:pt x="402" y="1442"/>
                  </a:lnTo>
                  <a:lnTo>
                    <a:pt x="400" y="1442"/>
                  </a:lnTo>
                  <a:lnTo>
                    <a:pt x="394" y="1442"/>
                  </a:lnTo>
                  <a:lnTo>
                    <a:pt x="386" y="1442"/>
                  </a:lnTo>
                  <a:lnTo>
                    <a:pt x="380" y="1442"/>
                  </a:lnTo>
                  <a:lnTo>
                    <a:pt x="372" y="1442"/>
                  </a:lnTo>
                  <a:lnTo>
                    <a:pt x="366" y="1442"/>
                  </a:lnTo>
                  <a:lnTo>
                    <a:pt x="360" y="1442"/>
                  </a:lnTo>
                  <a:lnTo>
                    <a:pt x="352" y="1442"/>
                  </a:lnTo>
                  <a:lnTo>
                    <a:pt x="346" y="1442"/>
                  </a:lnTo>
                  <a:lnTo>
                    <a:pt x="344" y="1442"/>
                  </a:lnTo>
                  <a:lnTo>
                    <a:pt x="338" y="1442"/>
                  </a:lnTo>
                  <a:lnTo>
                    <a:pt x="332" y="1442"/>
                  </a:lnTo>
                  <a:lnTo>
                    <a:pt x="324" y="1442"/>
                  </a:lnTo>
                  <a:lnTo>
                    <a:pt x="318" y="1442"/>
                  </a:lnTo>
                  <a:lnTo>
                    <a:pt x="310" y="1442"/>
                  </a:lnTo>
                  <a:lnTo>
                    <a:pt x="302" y="1442"/>
                  </a:lnTo>
                  <a:lnTo>
                    <a:pt x="296" y="1442"/>
                  </a:lnTo>
                  <a:lnTo>
                    <a:pt x="288" y="1442"/>
                  </a:lnTo>
                  <a:lnTo>
                    <a:pt x="282" y="1442"/>
                  </a:lnTo>
                  <a:lnTo>
                    <a:pt x="278" y="1442"/>
                  </a:lnTo>
                  <a:lnTo>
                    <a:pt x="270" y="1442"/>
                  </a:lnTo>
                  <a:lnTo>
                    <a:pt x="264" y="1442"/>
                  </a:lnTo>
                  <a:lnTo>
                    <a:pt x="256" y="1442"/>
                  </a:lnTo>
                  <a:lnTo>
                    <a:pt x="254" y="1442"/>
                  </a:lnTo>
                  <a:lnTo>
                    <a:pt x="252" y="1436"/>
                  </a:lnTo>
                  <a:lnTo>
                    <a:pt x="246" y="1436"/>
                  </a:lnTo>
                  <a:lnTo>
                    <a:pt x="240" y="1440"/>
                  </a:lnTo>
                  <a:lnTo>
                    <a:pt x="240" y="1442"/>
                  </a:lnTo>
                  <a:lnTo>
                    <a:pt x="238" y="1442"/>
                  </a:lnTo>
                  <a:lnTo>
                    <a:pt x="242" y="1436"/>
                  </a:lnTo>
                  <a:lnTo>
                    <a:pt x="248" y="1432"/>
                  </a:lnTo>
                  <a:lnTo>
                    <a:pt x="246" y="1432"/>
                  </a:lnTo>
                  <a:lnTo>
                    <a:pt x="242" y="1434"/>
                  </a:lnTo>
                  <a:lnTo>
                    <a:pt x="240" y="1428"/>
                  </a:lnTo>
                  <a:lnTo>
                    <a:pt x="244" y="1428"/>
                  </a:lnTo>
                  <a:lnTo>
                    <a:pt x="248" y="1422"/>
                  </a:lnTo>
                  <a:lnTo>
                    <a:pt x="254" y="1422"/>
                  </a:lnTo>
                  <a:lnTo>
                    <a:pt x="256" y="1422"/>
                  </a:lnTo>
                  <a:lnTo>
                    <a:pt x="262" y="1420"/>
                  </a:lnTo>
                  <a:lnTo>
                    <a:pt x="268" y="1416"/>
                  </a:lnTo>
                  <a:lnTo>
                    <a:pt x="262" y="1420"/>
                  </a:lnTo>
                  <a:lnTo>
                    <a:pt x="256" y="1422"/>
                  </a:lnTo>
                  <a:lnTo>
                    <a:pt x="250" y="1420"/>
                  </a:lnTo>
                  <a:lnTo>
                    <a:pt x="250" y="1414"/>
                  </a:lnTo>
                  <a:lnTo>
                    <a:pt x="252" y="1408"/>
                  </a:lnTo>
                  <a:lnTo>
                    <a:pt x="258" y="1402"/>
                  </a:lnTo>
                  <a:lnTo>
                    <a:pt x="264" y="1396"/>
                  </a:lnTo>
                  <a:lnTo>
                    <a:pt x="258" y="1400"/>
                  </a:lnTo>
                  <a:lnTo>
                    <a:pt x="252" y="1402"/>
                  </a:lnTo>
                  <a:lnTo>
                    <a:pt x="246" y="1404"/>
                  </a:lnTo>
                  <a:lnTo>
                    <a:pt x="240" y="1406"/>
                  </a:lnTo>
                  <a:lnTo>
                    <a:pt x="238" y="1412"/>
                  </a:lnTo>
                  <a:lnTo>
                    <a:pt x="232" y="1416"/>
                  </a:lnTo>
                  <a:lnTo>
                    <a:pt x="226" y="1412"/>
                  </a:lnTo>
                  <a:lnTo>
                    <a:pt x="220" y="1410"/>
                  </a:lnTo>
                  <a:lnTo>
                    <a:pt x="216" y="1404"/>
                  </a:lnTo>
                  <a:lnTo>
                    <a:pt x="216" y="1398"/>
                  </a:lnTo>
                  <a:lnTo>
                    <a:pt x="222" y="1394"/>
                  </a:lnTo>
                  <a:lnTo>
                    <a:pt x="228" y="1396"/>
                  </a:lnTo>
                  <a:lnTo>
                    <a:pt x="226" y="1402"/>
                  </a:lnTo>
                  <a:lnTo>
                    <a:pt x="224" y="1408"/>
                  </a:lnTo>
                  <a:lnTo>
                    <a:pt x="230" y="1402"/>
                  </a:lnTo>
                  <a:lnTo>
                    <a:pt x="236" y="1398"/>
                  </a:lnTo>
                  <a:lnTo>
                    <a:pt x="242" y="1398"/>
                  </a:lnTo>
                  <a:lnTo>
                    <a:pt x="248" y="1394"/>
                  </a:lnTo>
                  <a:lnTo>
                    <a:pt x="242" y="1396"/>
                  </a:lnTo>
                  <a:lnTo>
                    <a:pt x="236" y="1398"/>
                  </a:lnTo>
                  <a:lnTo>
                    <a:pt x="230" y="1392"/>
                  </a:lnTo>
                  <a:lnTo>
                    <a:pt x="234" y="1386"/>
                  </a:lnTo>
                  <a:lnTo>
                    <a:pt x="238" y="1380"/>
                  </a:lnTo>
                  <a:lnTo>
                    <a:pt x="240" y="1374"/>
                  </a:lnTo>
                  <a:lnTo>
                    <a:pt x="246" y="1372"/>
                  </a:lnTo>
                  <a:lnTo>
                    <a:pt x="252" y="1370"/>
                  </a:lnTo>
                  <a:lnTo>
                    <a:pt x="254" y="1364"/>
                  </a:lnTo>
                  <a:lnTo>
                    <a:pt x="248" y="1360"/>
                  </a:lnTo>
                  <a:lnTo>
                    <a:pt x="252" y="1366"/>
                  </a:lnTo>
                  <a:lnTo>
                    <a:pt x="246" y="1372"/>
                  </a:lnTo>
                  <a:lnTo>
                    <a:pt x="238" y="1372"/>
                  </a:lnTo>
                  <a:lnTo>
                    <a:pt x="238" y="1374"/>
                  </a:lnTo>
                  <a:lnTo>
                    <a:pt x="234" y="1380"/>
                  </a:lnTo>
                  <a:lnTo>
                    <a:pt x="232" y="1386"/>
                  </a:lnTo>
                  <a:lnTo>
                    <a:pt x="232" y="1380"/>
                  </a:lnTo>
                  <a:lnTo>
                    <a:pt x="226" y="1386"/>
                  </a:lnTo>
                  <a:lnTo>
                    <a:pt x="220" y="1388"/>
                  </a:lnTo>
                  <a:lnTo>
                    <a:pt x="214" y="1390"/>
                  </a:lnTo>
                  <a:lnTo>
                    <a:pt x="208" y="1390"/>
                  </a:lnTo>
                  <a:lnTo>
                    <a:pt x="202" y="1388"/>
                  </a:lnTo>
                  <a:lnTo>
                    <a:pt x="200" y="1382"/>
                  </a:lnTo>
                  <a:lnTo>
                    <a:pt x="196" y="1378"/>
                  </a:lnTo>
                  <a:lnTo>
                    <a:pt x="196" y="1374"/>
                  </a:lnTo>
                  <a:lnTo>
                    <a:pt x="200" y="1374"/>
                  </a:lnTo>
                  <a:lnTo>
                    <a:pt x="204" y="1368"/>
                  </a:lnTo>
                  <a:lnTo>
                    <a:pt x="212" y="1364"/>
                  </a:lnTo>
                  <a:lnTo>
                    <a:pt x="216" y="1358"/>
                  </a:lnTo>
                  <a:lnTo>
                    <a:pt x="216" y="1352"/>
                  </a:lnTo>
                  <a:lnTo>
                    <a:pt x="222" y="1348"/>
                  </a:lnTo>
                  <a:lnTo>
                    <a:pt x="228" y="1348"/>
                  </a:lnTo>
                  <a:lnTo>
                    <a:pt x="234" y="1346"/>
                  </a:lnTo>
                  <a:lnTo>
                    <a:pt x="240" y="1344"/>
                  </a:lnTo>
                  <a:lnTo>
                    <a:pt x="234" y="1344"/>
                  </a:lnTo>
                  <a:lnTo>
                    <a:pt x="228" y="1346"/>
                  </a:lnTo>
                  <a:lnTo>
                    <a:pt x="222" y="1346"/>
                  </a:lnTo>
                  <a:lnTo>
                    <a:pt x="216" y="1350"/>
                  </a:lnTo>
                  <a:lnTo>
                    <a:pt x="210" y="1354"/>
                  </a:lnTo>
                  <a:lnTo>
                    <a:pt x="204" y="1352"/>
                  </a:lnTo>
                  <a:lnTo>
                    <a:pt x="206" y="1346"/>
                  </a:lnTo>
                  <a:lnTo>
                    <a:pt x="200" y="1352"/>
                  </a:lnTo>
                  <a:lnTo>
                    <a:pt x="204" y="1346"/>
                  </a:lnTo>
                  <a:lnTo>
                    <a:pt x="208" y="1342"/>
                  </a:lnTo>
                  <a:lnTo>
                    <a:pt x="216" y="1338"/>
                  </a:lnTo>
                  <a:lnTo>
                    <a:pt x="220" y="1336"/>
                  </a:lnTo>
                  <a:lnTo>
                    <a:pt x="226" y="1330"/>
                  </a:lnTo>
                  <a:lnTo>
                    <a:pt x="230" y="1324"/>
                  </a:lnTo>
                  <a:lnTo>
                    <a:pt x="236" y="1318"/>
                  </a:lnTo>
                  <a:lnTo>
                    <a:pt x="242" y="1314"/>
                  </a:lnTo>
                  <a:lnTo>
                    <a:pt x="240" y="1312"/>
                  </a:lnTo>
                  <a:lnTo>
                    <a:pt x="234" y="1316"/>
                  </a:lnTo>
                  <a:lnTo>
                    <a:pt x="228" y="1320"/>
                  </a:lnTo>
                  <a:lnTo>
                    <a:pt x="226" y="1326"/>
                  </a:lnTo>
                  <a:lnTo>
                    <a:pt x="222" y="1332"/>
                  </a:lnTo>
                  <a:lnTo>
                    <a:pt x="216" y="1334"/>
                  </a:lnTo>
                  <a:lnTo>
                    <a:pt x="210" y="1338"/>
                  </a:lnTo>
                  <a:lnTo>
                    <a:pt x="204" y="1342"/>
                  </a:lnTo>
                  <a:lnTo>
                    <a:pt x="198" y="1346"/>
                  </a:lnTo>
                  <a:lnTo>
                    <a:pt x="192" y="1344"/>
                  </a:lnTo>
                  <a:lnTo>
                    <a:pt x="186" y="1344"/>
                  </a:lnTo>
                  <a:lnTo>
                    <a:pt x="180" y="1344"/>
                  </a:lnTo>
                  <a:lnTo>
                    <a:pt x="184" y="1338"/>
                  </a:lnTo>
                  <a:lnTo>
                    <a:pt x="188" y="1332"/>
                  </a:lnTo>
                  <a:lnTo>
                    <a:pt x="196" y="1330"/>
                  </a:lnTo>
                  <a:lnTo>
                    <a:pt x="188" y="1330"/>
                  </a:lnTo>
                  <a:lnTo>
                    <a:pt x="182" y="1336"/>
                  </a:lnTo>
                  <a:lnTo>
                    <a:pt x="178" y="1340"/>
                  </a:lnTo>
                  <a:lnTo>
                    <a:pt x="170" y="1344"/>
                  </a:lnTo>
                  <a:lnTo>
                    <a:pt x="170" y="1340"/>
                  </a:lnTo>
                  <a:lnTo>
                    <a:pt x="162" y="1342"/>
                  </a:lnTo>
                  <a:lnTo>
                    <a:pt x="158" y="1344"/>
                  </a:lnTo>
                  <a:lnTo>
                    <a:pt x="150" y="1342"/>
                  </a:lnTo>
                  <a:lnTo>
                    <a:pt x="144" y="1342"/>
                  </a:lnTo>
                  <a:lnTo>
                    <a:pt x="150" y="1336"/>
                  </a:lnTo>
                  <a:lnTo>
                    <a:pt x="158" y="1334"/>
                  </a:lnTo>
                  <a:lnTo>
                    <a:pt x="164" y="1334"/>
                  </a:lnTo>
                  <a:lnTo>
                    <a:pt x="158" y="1334"/>
                  </a:lnTo>
                  <a:lnTo>
                    <a:pt x="152" y="1334"/>
                  </a:lnTo>
                  <a:lnTo>
                    <a:pt x="150" y="1332"/>
                  </a:lnTo>
                  <a:lnTo>
                    <a:pt x="156" y="1332"/>
                  </a:lnTo>
                  <a:lnTo>
                    <a:pt x="162" y="1330"/>
                  </a:lnTo>
                  <a:lnTo>
                    <a:pt x="168" y="1330"/>
                  </a:lnTo>
                  <a:lnTo>
                    <a:pt x="174" y="1330"/>
                  </a:lnTo>
                  <a:lnTo>
                    <a:pt x="180" y="1328"/>
                  </a:lnTo>
                  <a:lnTo>
                    <a:pt x="186" y="1326"/>
                  </a:lnTo>
                  <a:lnTo>
                    <a:pt x="192" y="1322"/>
                  </a:lnTo>
                  <a:lnTo>
                    <a:pt x="196" y="1318"/>
                  </a:lnTo>
                  <a:lnTo>
                    <a:pt x="200" y="1316"/>
                  </a:lnTo>
                  <a:lnTo>
                    <a:pt x="206" y="1310"/>
                  </a:lnTo>
                  <a:lnTo>
                    <a:pt x="208" y="1304"/>
                  </a:lnTo>
                  <a:lnTo>
                    <a:pt x="204" y="1310"/>
                  </a:lnTo>
                  <a:lnTo>
                    <a:pt x="196" y="1314"/>
                  </a:lnTo>
                  <a:lnTo>
                    <a:pt x="192" y="1318"/>
                  </a:lnTo>
                  <a:lnTo>
                    <a:pt x="184" y="1324"/>
                  </a:lnTo>
                  <a:lnTo>
                    <a:pt x="178" y="1326"/>
                  </a:lnTo>
                  <a:lnTo>
                    <a:pt x="172" y="1328"/>
                  </a:lnTo>
                  <a:lnTo>
                    <a:pt x="166" y="1328"/>
                  </a:lnTo>
                  <a:lnTo>
                    <a:pt x="160" y="1328"/>
                  </a:lnTo>
                  <a:lnTo>
                    <a:pt x="154" y="1330"/>
                  </a:lnTo>
                  <a:lnTo>
                    <a:pt x="160" y="1326"/>
                  </a:lnTo>
                  <a:lnTo>
                    <a:pt x="166" y="1322"/>
                  </a:lnTo>
                  <a:lnTo>
                    <a:pt x="166" y="1318"/>
                  </a:lnTo>
                  <a:lnTo>
                    <a:pt x="160" y="1318"/>
                  </a:lnTo>
                  <a:lnTo>
                    <a:pt x="154" y="1318"/>
                  </a:lnTo>
                  <a:lnTo>
                    <a:pt x="148" y="1320"/>
                  </a:lnTo>
                  <a:lnTo>
                    <a:pt x="150" y="1314"/>
                  </a:lnTo>
                  <a:lnTo>
                    <a:pt x="156" y="1314"/>
                  </a:lnTo>
                  <a:lnTo>
                    <a:pt x="162" y="1314"/>
                  </a:lnTo>
                  <a:lnTo>
                    <a:pt x="168" y="1314"/>
                  </a:lnTo>
                  <a:lnTo>
                    <a:pt x="162" y="1312"/>
                  </a:lnTo>
                  <a:lnTo>
                    <a:pt x="156" y="1312"/>
                  </a:lnTo>
                  <a:lnTo>
                    <a:pt x="158" y="1306"/>
                  </a:lnTo>
                  <a:lnTo>
                    <a:pt x="152" y="1310"/>
                  </a:lnTo>
                  <a:lnTo>
                    <a:pt x="146" y="1314"/>
                  </a:lnTo>
                  <a:lnTo>
                    <a:pt x="140" y="1316"/>
                  </a:lnTo>
                  <a:lnTo>
                    <a:pt x="134" y="1312"/>
                  </a:lnTo>
                  <a:lnTo>
                    <a:pt x="128" y="1314"/>
                  </a:lnTo>
                  <a:lnTo>
                    <a:pt x="122" y="1314"/>
                  </a:lnTo>
                  <a:lnTo>
                    <a:pt x="116" y="1312"/>
                  </a:lnTo>
                  <a:lnTo>
                    <a:pt x="124" y="1316"/>
                  </a:lnTo>
                  <a:lnTo>
                    <a:pt x="118" y="1318"/>
                  </a:lnTo>
                  <a:lnTo>
                    <a:pt x="110" y="1314"/>
                  </a:lnTo>
                  <a:lnTo>
                    <a:pt x="106" y="1312"/>
                  </a:lnTo>
                  <a:lnTo>
                    <a:pt x="102" y="1306"/>
                  </a:lnTo>
                  <a:lnTo>
                    <a:pt x="108" y="1300"/>
                  </a:lnTo>
                  <a:lnTo>
                    <a:pt x="116" y="1304"/>
                  </a:lnTo>
                  <a:lnTo>
                    <a:pt x="120" y="1306"/>
                  </a:lnTo>
                  <a:lnTo>
                    <a:pt x="126" y="1304"/>
                  </a:lnTo>
                  <a:lnTo>
                    <a:pt x="132" y="1304"/>
                  </a:lnTo>
                  <a:lnTo>
                    <a:pt x="138" y="1304"/>
                  </a:lnTo>
                  <a:lnTo>
                    <a:pt x="144" y="1304"/>
                  </a:lnTo>
                  <a:lnTo>
                    <a:pt x="150" y="1300"/>
                  </a:lnTo>
                  <a:lnTo>
                    <a:pt x="156" y="1298"/>
                  </a:lnTo>
                  <a:lnTo>
                    <a:pt x="150" y="1300"/>
                  </a:lnTo>
                  <a:lnTo>
                    <a:pt x="144" y="1302"/>
                  </a:lnTo>
                  <a:lnTo>
                    <a:pt x="138" y="1302"/>
                  </a:lnTo>
                  <a:lnTo>
                    <a:pt x="132" y="1302"/>
                  </a:lnTo>
                  <a:lnTo>
                    <a:pt x="126" y="1304"/>
                  </a:lnTo>
                  <a:lnTo>
                    <a:pt x="120" y="1304"/>
                  </a:lnTo>
                  <a:lnTo>
                    <a:pt x="114" y="1304"/>
                  </a:lnTo>
                  <a:lnTo>
                    <a:pt x="108" y="1300"/>
                  </a:lnTo>
                  <a:lnTo>
                    <a:pt x="102" y="1302"/>
                  </a:lnTo>
                  <a:lnTo>
                    <a:pt x="98" y="1296"/>
                  </a:lnTo>
                  <a:lnTo>
                    <a:pt x="104" y="1290"/>
                  </a:lnTo>
                  <a:lnTo>
                    <a:pt x="110" y="1290"/>
                  </a:lnTo>
                  <a:lnTo>
                    <a:pt x="116" y="1288"/>
                  </a:lnTo>
                  <a:lnTo>
                    <a:pt x="122" y="1288"/>
                  </a:lnTo>
                  <a:lnTo>
                    <a:pt x="128" y="1288"/>
                  </a:lnTo>
                  <a:lnTo>
                    <a:pt x="134" y="1288"/>
                  </a:lnTo>
                  <a:lnTo>
                    <a:pt x="140" y="1286"/>
                  </a:lnTo>
                  <a:lnTo>
                    <a:pt x="134" y="1286"/>
                  </a:lnTo>
                  <a:lnTo>
                    <a:pt x="128" y="1288"/>
                  </a:lnTo>
                  <a:lnTo>
                    <a:pt x="122" y="1286"/>
                  </a:lnTo>
                  <a:lnTo>
                    <a:pt x="116" y="1286"/>
                  </a:lnTo>
                  <a:lnTo>
                    <a:pt x="110" y="1286"/>
                  </a:lnTo>
                  <a:lnTo>
                    <a:pt x="116" y="1282"/>
                  </a:lnTo>
                  <a:lnTo>
                    <a:pt x="122" y="1278"/>
                  </a:lnTo>
                  <a:lnTo>
                    <a:pt x="128" y="1274"/>
                  </a:lnTo>
                  <a:lnTo>
                    <a:pt x="134" y="1270"/>
                  </a:lnTo>
                  <a:lnTo>
                    <a:pt x="140" y="1266"/>
                  </a:lnTo>
                  <a:lnTo>
                    <a:pt x="146" y="1264"/>
                  </a:lnTo>
                  <a:lnTo>
                    <a:pt x="152" y="1264"/>
                  </a:lnTo>
                  <a:lnTo>
                    <a:pt x="158" y="1264"/>
                  </a:lnTo>
                  <a:lnTo>
                    <a:pt x="164" y="1264"/>
                  </a:lnTo>
                  <a:lnTo>
                    <a:pt x="170" y="1264"/>
                  </a:lnTo>
                  <a:lnTo>
                    <a:pt x="176" y="1264"/>
                  </a:lnTo>
                  <a:lnTo>
                    <a:pt x="182" y="1264"/>
                  </a:lnTo>
                  <a:lnTo>
                    <a:pt x="188" y="1262"/>
                  </a:lnTo>
                  <a:lnTo>
                    <a:pt x="190" y="1256"/>
                  </a:lnTo>
                  <a:lnTo>
                    <a:pt x="186" y="1262"/>
                  </a:lnTo>
                  <a:lnTo>
                    <a:pt x="178" y="1262"/>
                  </a:lnTo>
                  <a:lnTo>
                    <a:pt x="174" y="1262"/>
                  </a:lnTo>
                  <a:lnTo>
                    <a:pt x="168" y="1262"/>
                  </a:lnTo>
                  <a:lnTo>
                    <a:pt x="162" y="1262"/>
                  </a:lnTo>
                  <a:lnTo>
                    <a:pt x="156" y="1262"/>
                  </a:lnTo>
                  <a:lnTo>
                    <a:pt x="150" y="1260"/>
                  </a:lnTo>
                  <a:lnTo>
                    <a:pt x="144" y="1262"/>
                  </a:lnTo>
                  <a:lnTo>
                    <a:pt x="148" y="1258"/>
                  </a:lnTo>
                  <a:lnTo>
                    <a:pt x="154" y="1254"/>
                  </a:lnTo>
                  <a:lnTo>
                    <a:pt x="148" y="1256"/>
                  </a:lnTo>
                  <a:lnTo>
                    <a:pt x="142" y="1260"/>
                  </a:lnTo>
                  <a:lnTo>
                    <a:pt x="136" y="1260"/>
                  </a:lnTo>
                  <a:lnTo>
                    <a:pt x="134" y="1266"/>
                  </a:lnTo>
                  <a:lnTo>
                    <a:pt x="130" y="1272"/>
                  </a:lnTo>
                  <a:lnTo>
                    <a:pt x="124" y="1276"/>
                  </a:lnTo>
                  <a:lnTo>
                    <a:pt x="118" y="1278"/>
                  </a:lnTo>
                  <a:lnTo>
                    <a:pt x="118" y="1272"/>
                  </a:lnTo>
                  <a:lnTo>
                    <a:pt x="120" y="1266"/>
                  </a:lnTo>
                  <a:lnTo>
                    <a:pt x="120" y="1264"/>
                  </a:lnTo>
                  <a:lnTo>
                    <a:pt x="124" y="1258"/>
                  </a:lnTo>
                  <a:lnTo>
                    <a:pt x="128" y="1254"/>
                  </a:lnTo>
                  <a:lnTo>
                    <a:pt x="134" y="1248"/>
                  </a:lnTo>
                  <a:lnTo>
                    <a:pt x="140" y="1246"/>
                  </a:lnTo>
                  <a:lnTo>
                    <a:pt x="144" y="1244"/>
                  </a:lnTo>
                  <a:lnTo>
                    <a:pt x="150" y="1240"/>
                  </a:lnTo>
                  <a:lnTo>
                    <a:pt x="158" y="1234"/>
                  </a:lnTo>
                  <a:lnTo>
                    <a:pt x="162" y="1232"/>
                  </a:lnTo>
                  <a:lnTo>
                    <a:pt x="158" y="1236"/>
                  </a:lnTo>
                  <a:lnTo>
                    <a:pt x="164" y="1236"/>
                  </a:lnTo>
                  <a:lnTo>
                    <a:pt x="170" y="1230"/>
                  </a:lnTo>
                  <a:lnTo>
                    <a:pt x="174" y="1228"/>
                  </a:lnTo>
                  <a:lnTo>
                    <a:pt x="180" y="1226"/>
                  </a:lnTo>
                  <a:lnTo>
                    <a:pt x="188" y="1222"/>
                  </a:lnTo>
                  <a:lnTo>
                    <a:pt x="192" y="1220"/>
                  </a:lnTo>
                  <a:lnTo>
                    <a:pt x="200" y="1220"/>
                  </a:lnTo>
                  <a:lnTo>
                    <a:pt x="198" y="1226"/>
                  </a:lnTo>
                  <a:lnTo>
                    <a:pt x="200" y="1232"/>
                  </a:lnTo>
                  <a:lnTo>
                    <a:pt x="200" y="1238"/>
                  </a:lnTo>
                  <a:lnTo>
                    <a:pt x="204" y="1232"/>
                  </a:lnTo>
                  <a:lnTo>
                    <a:pt x="200" y="1226"/>
                  </a:lnTo>
                  <a:lnTo>
                    <a:pt x="204" y="1220"/>
                  </a:lnTo>
                  <a:lnTo>
                    <a:pt x="210" y="1218"/>
                  </a:lnTo>
                  <a:lnTo>
                    <a:pt x="216" y="1216"/>
                  </a:lnTo>
                  <a:lnTo>
                    <a:pt x="212" y="1216"/>
                  </a:lnTo>
                  <a:lnTo>
                    <a:pt x="206" y="1216"/>
                  </a:lnTo>
                  <a:lnTo>
                    <a:pt x="200" y="1218"/>
                  </a:lnTo>
                  <a:lnTo>
                    <a:pt x="198" y="1212"/>
                  </a:lnTo>
                  <a:lnTo>
                    <a:pt x="200" y="1206"/>
                  </a:lnTo>
                  <a:lnTo>
                    <a:pt x="206" y="1204"/>
                  </a:lnTo>
                  <a:lnTo>
                    <a:pt x="212" y="1202"/>
                  </a:lnTo>
                  <a:lnTo>
                    <a:pt x="218" y="1200"/>
                  </a:lnTo>
                  <a:lnTo>
                    <a:pt x="224" y="1196"/>
                  </a:lnTo>
                  <a:lnTo>
                    <a:pt x="228" y="1190"/>
                  </a:lnTo>
                  <a:lnTo>
                    <a:pt x="230" y="1184"/>
                  </a:lnTo>
                  <a:lnTo>
                    <a:pt x="226" y="1190"/>
                  </a:lnTo>
                  <a:lnTo>
                    <a:pt x="220" y="1196"/>
                  </a:lnTo>
                  <a:lnTo>
                    <a:pt x="214" y="1198"/>
                  </a:lnTo>
                  <a:lnTo>
                    <a:pt x="208" y="1200"/>
                  </a:lnTo>
                  <a:lnTo>
                    <a:pt x="204" y="1204"/>
                  </a:lnTo>
                  <a:lnTo>
                    <a:pt x="198" y="1208"/>
                  </a:lnTo>
                  <a:lnTo>
                    <a:pt x="192" y="1212"/>
                  </a:lnTo>
                  <a:lnTo>
                    <a:pt x="186" y="1214"/>
                  </a:lnTo>
                  <a:lnTo>
                    <a:pt x="178" y="1216"/>
                  </a:lnTo>
                  <a:lnTo>
                    <a:pt x="172" y="1220"/>
                  </a:lnTo>
                  <a:lnTo>
                    <a:pt x="166" y="1222"/>
                  </a:lnTo>
                  <a:lnTo>
                    <a:pt x="162" y="1222"/>
                  </a:lnTo>
                  <a:lnTo>
                    <a:pt x="156" y="1224"/>
                  </a:lnTo>
                  <a:lnTo>
                    <a:pt x="150" y="1228"/>
                  </a:lnTo>
                  <a:lnTo>
                    <a:pt x="152" y="1222"/>
                  </a:lnTo>
                  <a:lnTo>
                    <a:pt x="158" y="1218"/>
                  </a:lnTo>
                  <a:lnTo>
                    <a:pt x="160" y="1212"/>
                  </a:lnTo>
                  <a:lnTo>
                    <a:pt x="166" y="1208"/>
                  </a:lnTo>
                  <a:lnTo>
                    <a:pt x="160" y="1212"/>
                  </a:lnTo>
                  <a:lnTo>
                    <a:pt x="156" y="1216"/>
                  </a:lnTo>
                  <a:lnTo>
                    <a:pt x="150" y="1220"/>
                  </a:lnTo>
                  <a:lnTo>
                    <a:pt x="152" y="1212"/>
                  </a:lnTo>
                  <a:lnTo>
                    <a:pt x="158" y="1208"/>
                  </a:lnTo>
                  <a:lnTo>
                    <a:pt x="162" y="1208"/>
                  </a:lnTo>
                  <a:lnTo>
                    <a:pt x="170" y="1204"/>
                  </a:lnTo>
                  <a:lnTo>
                    <a:pt x="164" y="1204"/>
                  </a:lnTo>
                  <a:lnTo>
                    <a:pt x="158" y="1206"/>
                  </a:lnTo>
                  <a:lnTo>
                    <a:pt x="152" y="1210"/>
                  </a:lnTo>
                  <a:lnTo>
                    <a:pt x="146" y="1214"/>
                  </a:lnTo>
                  <a:lnTo>
                    <a:pt x="140" y="1218"/>
                  </a:lnTo>
                  <a:lnTo>
                    <a:pt x="134" y="1222"/>
                  </a:lnTo>
                  <a:lnTo>
                    <a:pt x="128" y="1222"/>
                  </a:lnTo>
                  <a:lnTo>
                    <a:pt x="134" y="1218"/>
                  </a:lnTo>
                  <a:lnTo>
                    <a:pt x="140" y="1214"/>
                  </a:lnTo>
                  <a:lnTo>
                    <a:pt x="146" y="1210"/>
                  </a:lnTo>
                  <a:lnTo>
                    <a:pt x="148" y="1204"/>
                  </a:lnTo>
                  <a:lnTo>
                    <a:pt x="156" y="1200"/>
                  </a:lnTo>
                  <a:lnTo>
                    <a:pt x="162" y="1196"/>
                  </a:lnTo>
                  <a:lnTo>
                    <a:pt x="166" y="1190"/>
                  </a:lnTo>
                  <a:lnTo>
                    <a:pt x="170" y="1186"/>
                  </a:lnTo>
                  <a:lnTo>
                    <a:pt x="176" y="1182"/>
                  </a:lnTo>
                  <a:lnTo>
                    <a:pt x="170" y="1184"/>
                  </a:lnTo>
                  <a:lnTo>
                    <a:pt x="164" y="1188"/>
                  </a:lnTo>
                  <a:lnTo>
                    <a:pt x="158" y="1188"/>
                  </a:lnTo>
                  <a:lnTo>
                    <a:pt x="154" y="1182"/>
                  </a:lnTo>
                  <a:lnTo>
                    <a:pt x="160" y="1176"/>
                  </a:lnTo>
                  <a:lnTo>
                    <a:pt x="162" y="1170"/>
                  </a:lnTo>
                  <a:lnTo>
                    <a:pt x="168" y="1166"/>
                  </a:lnTo>
                  <a:lnTo>
                    <a:pt x="166" y="1160"/>
                  </a:lnTo>
                  <a:lnTo>
                    <a:pt x="162" y="1162"/>
                  </a:lnTo>
                  <a:lnTo>
                    <a:pt x="158" y="1156"/>
                  </a:lnTo>
                  <a:lnTo>
                    <a:pt x="164" y="1150"/>
                  </a:lnTo>
                  <a:lnTo>
                    <a:pt x="168" y="1144"/>
                  </a:lnTo>
                  <a:lnTo>
                    <a:pt x="168" y="1140"/>
                  </a:lnTo>
                  <a:lnTo>
                    <a:pt x="174" y="1140"/>
                  </a:lnTo>
                  <a:lnTo>
                    <a:pt x="178" y="1144"/>
                  </a:lnTo>
                  <a:lnTo>
                    <a:pt x="182" y="1152"/>
                  </a:lnTo>
                  <a:lnTo>
                    <a:pt x="188" y="1146"/>
                  </a:lnTo>
                  <a:lnTo>
                    <a:pt x="192" y="1146"/>
                  </a:lnTo>
                  <a:lnTo>
                    <a:pt x="200" y="1144"/>
                  </a:lnTo>
                  <a:lnTo>
                    <a:pt x="204" y="1144"/>
                  </a:lnTo>
                  <a:lnTo>
                    <a:pt x="202" y="1152"/>
                  </a:lnTo>
                  <a:lnTo>
                    <a:pt x="204" y="1156"/>
                  </a:lnTo>
                  <a:lnTo>
                    <a:pt x="208" y="1152"/>
                  </a:lnTo>
                  <a:lnTo>
                    <a:pt x="208" y="1144"/>
                  </a:lnTo>
                  <a:lnTo>
                    <a:pt x="202" y="1144"/>
                  </a:lnTo>
                  <a:lnTo>
                    <a:pt x="196" y="1142"/>
                  </a:lnTo>
                  <a:lnTo>
                    <a:pt x="190" y="1146"/>
                  </a:lnTo>
                  <a:lnTo>
                    <a:pt x="184" y="1146"/>
                  </a:lnTo>
                  <a:lnTo>
                    <a:pt x="180" y="1140"/>
                  </a:lnTo>
                  <a:lnTo>
                    <a:pt x="180" y="1134"/>
                  </a:lnTo>
                  <a:lnTo>
                    <a:pt x="186" y="1130"/>
                  </a:lnTo>
                  <a:lnTo>
                    <a:pt x="192" y="1124"/>
                  </a:lnTo>
                  <a:lnTo>
                    <a:pt x="198" y="1122"/>
                  </a:lnTo>
                  <a:lnTo>
                    <a:pt x="204" y="1118"/>
                  </a:lnTo>
                  <a:lnTo>
                    <a:pt x="210" y="1120"/>
                  </a:lnTo>
                  <a:lnTo>
                    <a:pt x="204" y="1118"/>
                  </a:lnTo>
                  <a:lnTo>
                    <a:pt x="210" y="1110"/>
                  </a:lnTo>
                  <a:lnTo>
                    <a:pt x="210" y="1108"/>
                  </a:lnTo>
                  <a:lnTo>
                    <a:pt x="204" y="1114"/>
                  </a:lnTo>
                  <a:lnTo>
                    <a:pt x="196" y="1116"/>
                  </a:lnTo>
                  <a:lnTo>
                    <a:pt x="192" y="1118"/>
                  </a:lnTo>
                  <a:lnTo>
                    <a:pt x="186" y="1122"/>
                  </a:lnTo>
                  <a:lnTo>
                    <a:pt x="188" y="1116"/>
                  </a:lnTo>
                  <a:lnTo>
                    <a:pt x="182" y="1122"/>
                  </a:lnTo>
                  <a:lnTo>
                    <a:pt x="176" y="1122"/>
                  </a:lnTo>
                  <a:lnTo>
                    <a:pt x="170" y="1128"/>
                  </a:lnTo>
                  <a:lnTo>
                    <a:pt x="166" y="1130"/>
                  </a:lnTo>
                  <a:lnTo>
                    <a:pt x="158" y="1134"/>
                  </a:lnTo>
                  <a:lnTo>
                    <a:pt x="154" y="1140"/>
                  </a:lnTo>
                  <a:lnTo>
                    <a:pt x="148" y="1146"/>
                  </a:lnTo>
                  <a:lnTo>
                    <a:pt x="142" y="1150"/>
                  </a:lnTo>
                  <a:lnTo>
                    <a:pt x="138" y="1144"/>
                  </a:lnTo>
                  <a:lnTo>
                    <a:pt x="136" y="1138"/>
                  </a:lnTo>
                  <a:lnTo>
                    <a:pt x="136" y="1132"/>
                  </a:lnTo>
                  <a:lnTo>
                    <a:pt x="136" y="1126"/>
                  </a:lnTo>
                  <a:lnTo>
                    <a:pt x="134" y="1120"/>
                  </a:lnTo>
                  <a:lnTo>
                    <a:pt x="134" y="1118"/>
                  </a:lnTo>
                  <a:lnTo>
                    <a:pt x="134" y="1112"/>
                  </a:lnTo>
                  <a:lnTo>
                    <a:pt x="140" y="1106"/>
                  </a:lnTo>
                  <a:lnTo>
                    <a:pt x="146" y="1100"/>
                  </a:lnTo>
                  <a:lnTo>
                    <a:pt x="150" y="1098"/>
                  </a:lnTo>
                  <a:lnTo>
                    <a:pt x="152" y="1106"/>
                  </a:lnTo>
                  <a:lnTo>
                    <a:pt x="152" y="1110"/>
                  </a:lnTo>
                  <a:lnTo>
                    <a:pt x="152" y="1106"/>
                  </a:lnTo>
                  <a:lnTo>
                    <a:pt x="154" y="1100"/>
                  </a:lnTo>
                  <a:lnTo>
                    <a:pt x="160" y="1096"/>
                  </a:lnTo>
                  <a:lnTo>
                    <a:pt x="166" y="1096"/>
                  </a:lnTo>
                  <a:lnTo>
                    <a:pt x="172" y="1098"/>
                  </a:lnTo>
                  <a:lnTo>
                    <a:pt x="178" y="1094"/>
                  </a:lnTo>
                  <a:lnTo>
                    <a:pt x="182" y="1094"/>
                  </a:lnTo>
                  <a:lnTo>
                    <a:pt x="176" y="1094"/>
                  </a:lnTo>
                  <a:lnTo>
                    <a:pt x="170" y="1094"/>
                  </a:lnTo>
                  <a:lnTo>
                    <a:pt x="164" y="1094"/>
                  </a:lnTo>
                  <a:lnTo>
                    <a:pt x="158" y="1094"/>
                  </a:lnTo>
                  <a:lnTo>
                    <a:pt x="152" y="1096"/>
                  </a:lnTo>
                  <a:lnTo>
                    <a:pt x="146" y="1098"/>
                  </a:lnTo>
                  <a:lnTo>
                    <a:pt x="140" y="1096"/>
                  </a:lnTo>
                  <a:lnTo>
                    <a:pt x="142" y="1094"/>
                  </a:lnTo>
                  <a:lnTo>
                    <a:pt x="148" y="1086"/>
                  </a:lnTo>
                  <a:lnTo>
                    <a:pt x="142" y="1088"/>
                  </a:lnTo>
                  <a:lnTo>
                    <a:pt x="142" y="1082"/>
                  </a:lnTo>
                  <a:lnTo>
                    <a:pt x="148" y="1080"/>
                  </a:lnTo>
                  <a:lnTo>
                    <a:pt x="150" y="1074"/>
                  </a:lnTo>
                  <a:lnTo>
                    <a:pt x="156" y="1068"/>
                  </a:lnTo>
                  <a:lnTo>
                    <a:pt x="158" y="1074"/>
                  </a:lnTo>
                  <a:lnTo>
                    <a:pt x="158" y="1080"/>
                  </a:lnTo>
                  <a:lnTo>
                    <a:pt x="158" y="1086"/>
                  </a:lnTo>
                  <a:lnTo>
                    <a:pt x="160" y="1088"/>
                  </a:lnTo>
                  <a:lnTo>
                    <a:pt x="162" y="1082"/>
                  </a:lnTo>
                  <a:lnTo>
                    <a:pt x="168" y="1076"/>
                  </a:lnTo>
                  <a:lnTo>
                    <a:pt x="170" y="1076"/>
                  </a:lnTo>
                  <a:lnTo>
                    <a:pt x="166" y="1078"/>
                  </a:lnTo>
                  <a:lnTo>
                    <a:pt x="160" y="1072"/>
                  </a:lnTo>
                  <a:lnTo>
                    <a:pt x="160" y="1066"/>
                  </a:lnTo>
                  <a:lnTo>
                    <a:pt x="166" y="1064"/>
                  </a:lnTo>
                  <a:lnTo>
                    <a:pt x="172" y="1062"/>
                  </a:lnTo>
                  <a:lnTo>
                    <a:pt x="178" y="1068"/>
                  </a:lnTo>
                  <a:lnTo>
                    <a:pt x="184" y="1068"/>
                  </a:lnTo>
                  <a:lnTo>
                    <a:pt x="178" y="1068"/>
                  </a:lnTo>
                  <a:lnTo>
                    <a:pt x="174" y="1062"/>
                  </a:lnTo>
                  <a:lnTo>
                    <a:pt x="180" y="1056"/>
                  </a:lnTo>
                  <a:lnTo>
                    <a:pt x="186" y="1054"/>
                  </a:lnTo>
                  <a:lnTo>
                    <a:pt x="192" y="1048"/>
                  </a:lnTo>
                  <a:lnTo>
                    <a:pt x="198" y="1046"/>
                  </a:lnTo>
                  <a:lnTo>
                    <a:pt x="204" y="1046"/>
                  </a:lnTo>
                  <a:lnTo>
                    <a:pt x="210" y="1046"/>
                  </a:lnTo>
                  <a:lnTo>
                    <a:pt x="216" y="1044"/>
                  </a:lnTo>
                  <a:lnTo>
                    <a:pt x="220" y="1042"/>
                  </a:lnTo>
                  <a:lnTo>
                    <a:pt x="214" y="1044"/>
                  </a:lnTo>
                  <a:lnTo>
                    <a:pt x="208" y="1042"/>
                  </a:lnTo>
                  <a:lnTo>
                    <a:pt x="202" y="1044"/>
                  </a:lnTo>
                  <a:lnTo>
                    <a:pt x="208" y="1038"/>
                  </a:lnTo>
                  <a:lnTo>
                    <a:pt x="214" y="1034"/>
                  </a:lnTo>
                  <a:lnTo>
                    <a:pt x="220" y="1030"/>
                  </a:lnTo>
                  <a:lnTo>
                    <a:pt x="226" y="1026"/>
                  </a:lnTo>
                  <a:lnTo>
                    <a:pt x="232" y="1022"/>
                  </a:lnTo>
                  <a:lnTo>
                    <a:pt x="238" y="1020"/>
                  </a:lnTo>
                  <a:lnTo>
                    <a:pt x="244" y="1014"/>
                  </a:lnTo>
                  <a:lnTo>
                    <a:pt x="250" y="1014"/>
                  </a:lnTo>
                  <a:lnTo>
                    <a:pt x="244" y="1014"/>
                  </a:lnTo>
                  <a:lnTo>
                    <a:pt x="244" y="1008"/>
                  </a:lnTo>
                  <a:lnTo>
                    <a:pt x="248" y="1002"/>
                  </a:lnTo>
                  <a:lnTo>
                    <a:pt x="242" y="1008"/>
                  </a:lnTo>
                  <a:lnTo>
                    <a:pt x="238" y="1014"/>
                  </a:lnTo>
                  <a:lnTo>
                    <a:pt x="232" y="1018"/>
                  </a:lnTo>
                  <a:lnTo>
                    <a:pt x="228" y="1024"/>
                  </a:lnTo>
                  <a:lnTo>
                    <a:pt x="222" y="1028"/>
                  </a:lnTo>
                  <a:lnTo>
                    <a:pt x="216" y="1032"/>
                  </a:lnTo>
                  <a:lnTo>
                    <a:pt x="210" y="1036"/>
                  </a:lnTo>
                  <a:lnTo>
                    <a:pt x="206" y="1038"/>
                  </a:lnTo>
                  <a:lnTo>
                    <a:pt x="200" y="1042"/>
                  </a:lnTo>
                  <a:lnTo>
                    <a:pt x="200" y="1036"/>
                  </a:lnTo>
                  <a:lnTo>
                    <a:pt x="206" y="1032"/>
                  </a:lnTo>
                  <a:lnTo>
                    <a:pt x="212" y="1028"/>
                  </a:lnTo>
                  <a:lnTo>
                    <a:pt x="214" y="1028"/>
                  </a:lnTo>
                  <a:lnTo>
                    <a:pt x="220" y="1024"/>
                  </a:lnTo>
                  <a:lnTo>
                    <a:pt x="220" y="1022"/>
                  </a:lnTo>
                  <a:lnTo>
                    <a:pt x="226" y="1014"/>
                  </a:lnTo>
                  <a:lnTo>
                    <a:pt x="228" y="1008"/>
                  </a:lnTo>
                  <a:lnTo>
                    <a:pt x="232" y="1002"/>
                  </a:lnTo>
                  <a:lnTo>
                    <a:pt x="236" y="996"/>
                  </a:lnTo>
                  <a:lnTo>
                    <a:pt x="242" y="992"/>
                  </a:lnTo>
                  <a:lnTo>
                    <a:pt x="248" y="988"/>
                  </a:lnTo>
                  <a:lnTo>
                    <a:pt x="254" y="986"/>
                  </a:lnTo>
                  <a:lnTo>
                    <a:pt x="256" y="984"/>
                  </a:lnTo>
                  <a:lnTo>
                    <a:pt x="254" y="984"/>
                  </a:lnTo>
                  <a:lnTo>
                    <a:pt x="260" y="978"/>
                  </a:lnTo>
                  <a:lnTo>
                    <a:pt x="262" y="972"/>
                  </a:lnTo>
                  <a:lnTo>
                    <a:pt x="256" y="972"/>
                  </a:lnTo>
                  <a:lnTo>
                    <a:pt x="250" y="970"/>
                  </a:lnTo>
                  <a:lnTo>
                    <a:pt x="250" y="964"/>
                  </a:lnTo>
                  <a:lnTo>
                    <a:pt x="244" y="962"/>
                  </a:lnTo>
                  <a:lnTo>
                    <a:pt x="244" y="956"/>
                  </a:lnTo>
                  <a:lnTo>
                    <a:pt x="238" y="954"/>
                  </a:lnTo>
                  <a:lnTo>
                    <a:pt x="232" y="952"/>
                  </a:lnTo>
                  <a:lnTo>
                    <a:pt x="226" y="946"/>
                  </a:lnTo>
                  <a:lnTo>
                    <a:pt x="220" y="942"/>
                  </a:lnTo>
                  <a:lnTo>
                    <a:pt x="214" y="940"/>
                  </a:lnTo>
                  <a:lnTo>
                    <a:pt x="208" y="940"/>
                  </a:lnTo>
                  <a:lnTo>
                    <a:pt x="208" y="936"/>
                  </a:lnTo>
                  <a:lnTo>
                    <a:pt x="210" y="930"/>
                  </a:lnTo>
                  <a:lnTo>
                    <a:pt x="212" y="924"/>
                  </a:lnTo>
                  <a:lnTo>
                    <a:pt x="212" y="918"/>
                  </a:lnTo>
                  <a:lnTo>
                    <a:pt x="220" y="912"/>
                  </a:lnTo>
                  <a:lnTo>
                    <a:pt x="214" y="908"/>
                  </a:lnTo>
                  <a:lnTo>
                    <a:pt x="218" y="902"/>
                  </a:lnTo>
                  <a:lnTo>
                    <a:pt x="224" y="898"/>
                  </a:lnTo>
                  <a:lnTo>
                    <a:pt x="226" y="890"/>
                  </a:lnTo>
                  <a:lnTo>
                    <a:pt x="226" y="886"/>
                  </a:lnTo>
                  <a:lnTo>
                    <a:pt x="226" y="880"/>
                  </a:lnTo>
                  <a:lnTo>
                    <a:pt x="228" y="874"/>
                  </a:lnTo>
                  <a:lnTo>
                    <a:pt x="228" y="868"/>
                  </a:lnTo>
                  <a:lnTo>
                    <a:pt x="230" y="862"/>
                  </a:lnTo>
                  <a:lnTo>
                    <a:pt x="232" y="856"/>
                  </a:lnTo>
                  <a:lnTo>
                    <a:pt x="232" y="850"/>
                  </a:lnTo>
                  <a:lnTo>
                    <a:pt x="234" y="844"/>
                  </a:lnTo>
                  <a:lnTo>
                    <a:pt x="236" y="838"/>
                  </a:lnTo>
                  <a:lnTo>
                    <a:pt x="236" y="832"/>
                  </a:lnTo>
                  <a:lnTo>
                    <a:pt x="236" y="826"/>
                  </a:lnTo>
                  <a:lnTo>
                    <a:pt x="242" y="822"/>
                  </a:lnTo>
                  <a:lnTo>
                    <a:pt x="242" y="816"/>
                  </a:lnTo>
                  <a:lnTo>
                    <a:pt x="240" y="812"/>
                  </a:lnTo>
                  <a:lnTo>
                    <a:pt x="240" y="806"/>
                  </a:lnTo>
                  <a:lnTo>
                    <a:pt x="236" y="800"/>
                  </a:lnTo>
                  <a:lnTo>
                    <a:pt x="230" y="796"/>
                  </a:lnTo>
                  <a:lnTo>
                    <a:pt x="230" y="790"/>
                  </a:lnTo>
                  <a:lnTo>
                    <a:pt x="232" y="784"/>
                  </a:lnTo>
                  <a:lnTo>
                    <a:pt x="236" y="778"/>
                  </a:lnTo>
                  <a:lnTo>
                    <a:pt x="230" y="772"/>
                  </a:lnTo>
                  <a:lnTo>
                    <a:pt x="226" y="768"/>
                  </a:lnTo>
                  <a:lnTo>
                    <a:pt x="224" y="762"/>
                  </a:lnTo>
                  <a:lnTo>
                    <a:pt x="228" y="756"/>
                  </a:lnTo>
                  <a:lnTo>
                    <a:pt x="234" y="752"/>
                  </a:lnTo>
                  <a:lnTo>
                    <a:pt x="238" y="746"/>
                  </a:lnTo>
                  <a:lnTo>
                    <a:pt x="236" y="746"/>
                  </a:lnTo>
                  <a:lnTo>
                    <a:pt x="234" y="740"/>
                  </a:lnTo>
                  <a:lnTo>
                    <a:pt x="226" y="734"/>
                  </a:lnTo>
                  <a:lnTo>
                    <a:pt x="220" y="736"/>
                  </a:lnTo>
                  <a:lnTo>
                    <a:pt x="214" y="738"/>
                  </a:lnTo>
                  <a:lnTo>
                    <a:pt x="208" y="740"/>
                  </a:lnTo>
                  <a:lnTo>
                    <a:pt x="202" y="742"/>
                  </a:lnTo>
                  <a:lnTo>
                    <a:pt x="196" y="742"/>
                  </a:lnTo>
                  <a:lnTo>
                    <a:pt x="188" y="744"/>
                  </a:lnTo>
                  <a:lnTo>
                    <a:pt x="182" y="744"/>
                  </a:lnTo>
                  <a:lnTo>
                    <a:pt x="176" y="746"/>
                  </a:lnTo>
                  <a:lnTo>
                    <a:pt x="174" y="752"/>
                  </a:lnTo>
                  <a:lnTo>
                    <a:pt x="166" y="756"/>
                  </a:lnTo>
                  <a:lnTo>
                    <a:pt x="160" y="754"/>
                  </a:lnTo>
                  <a:lnTo>
                    <a:pt x="154" y="762"/>
                  </a:lnTo>
                  <a:lnTo>
                    <a:pt x="148" y="766"/>
                  </a:lnTo>
                  <a:lnTo>
                    <a:pt x="140" y="770"/>
                  </a:lnTo>
                  <a:lnTo>
                    <a:pt x="136" y="774"/>
                  </a:lnTo>
                  <a:lnTo>
                    <a:pt x="128" y="774"/>
                  </a:lnTo>
                  <a:lnTo>
                    <a:pt x="120" y="776"/>
                  </a:lnTo>
                  <a:lnTo>
                    <a:pt x="114" y="778"/>
                  </a:lnTo>
                  <a:lnTo>
                    <a:pt x="108" y="780"/>
                  </a:lnTo>
                  <a:lnTo>
                    <a:pt x="102" y="782"/>
                  </a:lnTo>
                  <a:lnTo>
                    <a:pt x="94" y="784"/>
                  </a:lnTo>
                  <a:lnTo>
                    <a:pt x="88" y="786"/>
                  </a:lnTo>
                  <a:lnTo>
                    <a:pt x="82" y="788"/>
                  </a:lnTo>
                  <a:lnTo>
                    <a:pt x="76" y="790"/>
                  </a:lnTo>
                  <a:lnTo>
                    <a:pt x="80" y="784"/>
                  </a:lnTo>
                  <a:lnTo>
                    <a:pt x="84" y="778"/>
                  </a:lnTo>
                  <a:lnTo>
                    <a:pt x="88" y="772"/>
                  </a:lnTo>
                  <a:lnTo>
                    <a:pt x="88" y="766"/>
                  </a:lnTo>
                  <a:lnTo>
                    <a:pt x="86" y="758"/>
                  </a:lnTo>
                  <a:lnTo>
                    <a:pt x="84" y="756"/>
                  </a:lnTo>
                  <a:lnTo>
                    <a:pt x="82" y="750"/>
                  </a:lnTo>
                  <a:lnTo>
                    <a:pt x="78" y="744"/>
                  </a:lnTo>
                  <a:lnTo>
                    <a:pt x="76" y="738"/>
                  </a:lnTo>
                  <a:lnTo>
                    <a:pt x="78" y="730"/>
                  </a:lnTo>
                  <a:lnTo>
                    <a:pt x="76" y="724"/>
                  </a:lnTo>
                  <a:lnTo>
                    <a:pt x="70" y="722"/>
                  </a:lnTo>
                  <a:lnTo>
                    <a:pt x="70" y="720"/>
                  </a:lnTo>
                  <a:lnTo>
                    <a:pt x="70" y="714"/>
                  </a:lnTo>
                  <a:lnTo>
                    <a:pt x="76" y="710"/>
                  </a:lnTo>
                  <a:lnTo>
                    <a:pt x="84" y="706"/>
                  </a:lnTo>
                  <a:lnTo>
                    <a:pt x="92" y="700"/>
                  </a:lnTo>
                  <a:lnTo>
                    <a:pt x="86" y="700"/>
                  </a:lnTo>
                  <a:lnTo>
                    <a:pt x="78" y="700"/>
                  </a:lnTo>
                  <a:lnTo>
                    <a:pt x="70" y="700"/>
                  </a:lnTo>
                  <a:lnTo>
                    <a:pt x="64" y="700"/>
                  </a:lnTo>
                  <a:lnTo>
                    <a:pt x="56" y="702"/>
                  </a:lnTo>
                  <a:lnTo>
                    <a:pt x="52" y="704"/>
                  </a:lnTo>
                  <a:lnTo>
                    <a:pt x="46" y="706"/>
                  </a:lnTo>
                  <a:lnTo>
                    <a:pt x="38" y="708"/>
                  </a:lnTo>
                  <a:lnTo>
                    <a:pt x="36" y="7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5" name="Freeform 273"/>
            <p:cNvSpPr>
              <a:spLocks/>
            </p:cNvSpPr>
            <p:nvPr/>
          </p:nvSpPr>
          <p:spPr bwMode="auto">
            <a:xfrm>
              <a:off x="2106613" y="3927475"/>
              <a:ext cx="79375" cy="90488"/>
            </a:xfrm>
            <a:custGeom>
              <a:avLst/>
              <a:gdLst>
                <a:gd name="T0" fmla="*/ 2147483647 w 196"/>
                <a:gd name="T1" fmla="*/ 2147483647 h 220"/>
                <a:gd name="T2" fmla="*/ 2147483647 w 196"/>
                <a:gd name="T3" fmla="*/ 2147483647 h 220"/>
                <a:gd name="T4" fmla="*/ 2147483647 w 196"/>
                <a:gd name="T5" fmla="*/ 2147483647 h 220"/>
                <a:gd name="T6" fmla="*/ 2147483647 w 196"/>
                <a:gd name="T7" fmla="*/ 2147483647 h 220"/>
                <a:gd name="T8" fmla="*/ 2147483647 w 196"/>
                <a:gd name="T9" fmla="*/ 0 h 220"/>
                <a:gd name="T10" fmla="*/ 2147483647 w 196"/>
                <a:gd name="T11" fmla="*/ 2147483647 h 220"/>
                <a:gd name="T12" fmla="*/ 2147483647 w 196"/>
                <a:gd name="T13" fmla="*/ 2147483647 h 220"/>
                <a:gd name="T14" fmla="*/ 2147483647 w 196"/>
                <a:gd name="T15" fmla="*/ 2147483647 h 220"/>
                <a:gd name="T16" fmla="*/ 2147483647 w 196"/>
                <a:gd name="T17" fmla="*/ 2147483647 h 220"/>
                <a:gd name="T18" fmla="*/ 2147483647 w 196"/>
                <a:gd name="T19" fmla="*/ 2147483647 h 220"/>
                <a:gd name="T20" fmla="*/ 2147483647 w 196"/>
                <a:gd name="T21" fmla="*/ 2147483647 h 220"/>
                <a:gd name="T22" fmla="*/ 2147483647 w 196"/>
                <a:gd name="T23" fmla="*/ 2147483647 h 220"/>
                <a:gd name="T24" fmla="*/ 2147483647 w 196"/>
                <a:gd name="T25" fmla="*/ 2147483647 h 220"/>
                <a:gd name="T26" fmla="*/ 2147483647 w 196"/>
                <a:gd name="T27" fmla="*/ 2147483647 h 220"/>
                <a:gd name="T28" fmla="*/ 2147483647 w 196"/>
                <a:gd name="T29" fmla="*/ 2147483647 h 220"/>
                <a:gd name="T30" fmla="*/ 2147483647 w 196"/>
                <a:gd name="T31" fmla="*/ 2147483647 h 220"/>
                <a:gd name="T32" fmla="*/ 2147483647 w 196"/>
                <a:gd name="T33" fmla="*/ 2147483647 h 220"/>
                <a:gd name="T34" fmla="*/ 2147483647 w 196"/>
                <a:gd name="T35" fmla="*/ 2147483647 h 220"/>
                <a:gd name="T36" fmla="*/ 2147483647 w 196"/>
                <a:gd name="T37" fmla="*/ 2147483647 h 220"/>
                <a:gd name="T38" fmla="*/ 2147483647 w 196"/>
                <a:gd name="T39" fmla="*/ 2147483647 h 220"/>
                <a:gd name="T40" fmla="*/ 2147483647 w 196"/>
                <a:gd name="T41" fmla="*/ 2147483647 h 220"/>
                <a:gd name="T42" fmla="*/ 2147483647 w 196"/>
                <a:gd name="T43" fmla="*/ 2147483647 h 220"/>
                <a:gd name="T44" fmla="*/ 2147483647 w 196"/>
                <a:gd name="T45" fmla="*/ 2147483647 h 220"/>
                <a:gd name="T46" fmla="*/ 2147483647 w 196"/>
                <a:gd name="T47" fmla="*/ 2147483647 h 220"/>
                <a:gd name="T48" fmla="*/ 2147483647 w 196"/>
                <a:gd name="T49" fmla="*/ 2147483647 h 220"/>
                <a:gd name="T50" fmla="*/ 2147483647 w 196"/>
                <a:gd name="T51" fmla="*/ 2147483647 h 220"/>
                <a:gd name="T52" fmla="*/ 2147483647 w 196"/>
                <a:gd name="T53" fmla="*/ 2147483647 h 220"/>
                <a:gd name="T54" fmla="*/ 2147483647 w 196"/>
                <a:gd name="T55" fmla="*/ 2147483647 h 220"/>
                <a:gd name="T56" fmla="*/ 2147483647 w 196"/>
                <a:gd name="T57" fmla="*/ 2147483647 h 220"/>
                <a:gd name="T58" fmla="*/ 2147483647 w 196"/>
                <a:gd name="T59" fmla="*/ 2147483647 h 220"/>
                <a:gd name="T60" fmla="*/ 2147483647 w 196"/>
                <a:gd name="T61" fmla="*/ 2147483647 h 220"/>
                <a:gd name="T62" fmla="*/ 2147483647 w 196"/>
                <a:gd name="T63" fmla="*/ 2147483647 h 220"/>
                <a:gd name="T64" fmla="*/ 2147483647 w 196"/>
                <a:gd name="T65" fmla="*/ 2147483647 h 220"/>
                <a:gd name="T66" fmla="*/ 2147483647 w 196"/>
                <a:gd name="T67" fmla="*/ 2147483647 h 220"/>
                <a:gd name="T68" fmla="*/ 2147483647 w 196"/>
                <a:gd name="T69" fmla="*/ 2147483647 h 220"/>
                <a:gd name="T70" fmla="*/ 2147483647 w 196"/>
                <a:gd name="T71" fmla="*/ 2147483647 h 220"/>
                <a:gd name="T72" fmla="*/ 2147483647 w 196"/>
                <a:gd name="T73" fmla="*/ 2147483647 h 220"/>
                <a:gd name="T74" fmla="*/ 2147483647 w 196"/>
                <a:gd name="T75" fmla="*/ 2147483647 h 220"/>
                <a:gd name="T76" fmla="*/ 2147483647 w 196"/>
                <a:gd name="T77" fmla="*/ 2147483647 h 220"/>
                <a:gd name="T78" fmla="*/ 2147483647 w 196"/>
                <a:gd name="T79" fmla="*/ 2147483647 h 220"/>
                <a:gd name="T80" fmla="*/ 2147483647 w 196"/>
                <a:gd name="T81" fmla="*/ 2147483647 h 220"/>
                <a:gd name="T82" fmla="*/ 2147483647 w 196"/>
                <a:gd name="T83" fmla="*/ 2147483647 h 220"/>
                <a:gd name="T84" fmla="*/ 2147483647 w 196"/>
                <a:gd name="T85" fmla="*/ 2147483647 h 220"/>
                <a:gd name="T86" fmla="*/ 2147483647 w 196"/>
                <a:gd name="T87" fmla="*/ 2147483647 h 220"/>
                <a:gd name="T88" fmla="*/ 2147483647 w 196"/>
                <a:gd name="T89" fmla="*/ 2147483647 h 220"/>
                <a:gd name="T90" fmla="*/ 2147483647 w 196"/>
                <a:gd name="T91" fmla="*/ 2147483647 h 220"/>
                <a:gd name="T92" fmla="*/ 2147483647 w 196"/>
                <a:gd name="T93" fmla="*/ 2147483647 h 220"/>
                <a:gd name="T94" fmla="*/ 2147483647 w 196"/>
                <a:gd name="T95" fmla="*/ 2147483647 h 220"/>
                <a:gd name="T96" fmla="*/ 2147483647 w 196"/>
                <a:gd name="T97" fmla="*/ 2147483647 h 220"/>
                <a:gd name="T98" fmla="*/ 2147483647 w 196"/>
                <a:gd name="T99" fmla="*/ 2147483647 h 220"/>
                <a:gd name="T100" fmla="*/ 2147483647 w 196"/>
                <a:gd name="T101" fmla="*/ 2147483647 h 220"/>
                <a:gd name="T102" fmla="*/ 2147483647 w 196"/>
                <a:gd name="T103" fmla="*/ 2147483647 h 220"/>
                <a:gd name="T104" fmla="*/ 2147483647 w 196"/>
                <a:gd name="T105" fmla="*/ 2147483647 h 220"/>
                <a:gd name="T106" fmla="*/ 2147483647 w 196"/>
                <a:gd name="T107" fmla="*/ 2147483647 h 220"/>
                <a:gd name="T108" fmla="*/ 2147483647 w 196"/>
                <a:gd name="T109" fmla="*/ 2147483647 h 220"/>
                <a:gd name="T110" fmla="*/ 2147483647 w 196"/>
                <a:gd name="T111" fmla="*/ 2147483647 h 220"/>
                <a:gd name="T112" fmla="*/ 0 w 196"/>
                <a:gd name="T113" fmla="*/ 2147483647 h 220"/>
                <a:gd name="T114" fmla="*/ 0 w 196"/>
                <a:gd name="T115" fmla="*/ 2147483647 h 2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96"/>
                <a:gd name="T175" fmla="*/ 0 h 220"/>
                <a:gd name="T176" fmla="*/ 196 w 196"/>
                <a:gd name="T177" fmla="*/ 220 h 2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96" h="220">
                  <a:moveTo>
                    <a:pt x="0" y="58"/>
                  </a:moveTo>
                  <a:lnTo>
                    <a:pt x="6" y="52"/>
                  </a:lnTo>
                  <a:lnTo>
                    <a:pt x="6" y="46"/>
                  </a:lnTo>
                  <a:lnTo>
                    <a:pt x="12" y="44"/>
                  </a:lnTo>
                  <a:lnTo>
                    <a:pt x="12" y="38"/>
                  </a:lnTo>
                  <a:lnTo>
                    <a:pt x="14" y="32"/>
                  </a:lnTo>
                  <a:lnTo>
                    <a:pt x="8" y="28"/>
                  </a:lnTo>
                  <a:lnTo>
                    <a:pt x="2" y="24"/>
                  </a:lnTo>
                  <a:lnTo>
                    <a:pt x="4" y="18"/>
                  </a:lnTo>
                  <a:lnTo>
                    <a:pt x="10" y="18"/>
                  </a:lnTo>
                  <a:lnTo>
                    <a:pt x="10" y="12"/>
                  </a:lnTo>
                  <a:lnTo>
                    <a:pt x="14" y="8"/>
                  </a:lnTo>
                  <a:lnTo>
                    <a:pt x="18" y="4"/>
                  </a:lnTo>
                  <a:lnTo>
                    <a:pt x="18" y="0"/>
                  </a:lnTo>
                  <a:lnTo>
                    <a:pt x="20" y="0"/>
                  </a:lnTo>
                  <a:lnTo>
                    <a:pt x="26" y="4"/>
                  </a:lnTo>
                  <a:lnTo>
                    <a:pt x="32" y="6"/>
                  </a:lnTo>
                  <a:lnTo>
                    <a:pt x="38" y="8"/>
                  </a:lnTo>
                  <a:lnTo>
                    <a:pt x="42" y="10"/>
                  </a:lnTo>
                  <a:lnTo>
                    <a:pt x="46" y="12"/>
                  </a:lnTo>
                  <a:lnTo>
                    <a:pt x="52" y="14"/>
                  </a:lnTo>
                  <a:lnTo>
                    <a:pt x="56" y="16"/>
                  </a:lnTo>
                  <a:lnTo>
                    <a:pt x="60" y="18"/>
                  </a:lnTo>
                  <a:lnTo>
                    <a:pt x="68" y="14"/>
                  </a:lnTo>
                  <a:lnTo>
                    <a:pt x="72" y="12"/>
                  </a:lnTo>
                  <a:lnTo>
                    <a:pt x="78" y="10"/>
                  </a:lnTo>
                  <a:lnTo>
                    <a:pt x="84" y="12"/>
                  </a:lnTo>
                  <a:lnTo>
                    <a:pt x="90" y="18"/>
                  </a:lnTo>
                  <a:lnTo>
                    <a:pt x="94" y="14"/>
                  </a:lnTo>
                  <a:lnTo>
                    <a:pt x="98" y="20"/>
                  </a:lnTo>
                  <a:lnTo>
                    <a:pt x="102" y="26"/>
                  </a:lnTo>
                  <a:lnTo>
                    <a:pt x="104" y="30"/>
                  </a:lnTo>
                  <a:lnTo>
                    <a:pt x="106" y="30"/>
                  </a:lnTo>
                  <a:lnTo>
                    <a:pt x="112" y="30"/>
                  </a:lnTo>
                  <a:lnTo>
                    <a:pt x="118" y="32"/>
                  </a:lnTo>
                  <a:lnTo>
                    <a:pt x="120" y="34"/>
                  </a:lnTo>
                  <a:lnTo>
                    <a:pt x="124" y="32"/>
                  </a:lnTo>
                  <a:lnTo>
                    <a:pt x="130" y="30"/>
                  </a:lnTo>
                  <a:lnTo>
                    <a:pt x="136" y="30"/>
                  </a:lnTo>
                  <a:lnTo>
                    <a:pt x="136" y="22"/>
                  </a:lnTo>
                  <a:lnTo>
                    <a:pt x="138" y="20"/>
                  </a:lnTo>
                  <a:lnTo>
                    <a:pt x="140" y="26"/>
                  </a:lnTo>
                  <a:lnTo>
                    <a:pt x="140" y="32"/>
                  </a:lnTo>
                  <a:lnTo>
                    <a:pt x="136" y="34"/>
                  </a:lnTo>
                  <a:lnTo>
                    <a:pt x="142" y="40"/>
                  </a:lnTo>
                  <a:lnTo>
                    <a:pt x="144" y="44"/>
                  </a:lnTo>
                  <a:lnTo>
                    <a:pt x="144" y="46"/>
                  </a:lnTo>
                  <a:lnTo>
                    <a:pt x="146" y="50"/>
                  </a:lnTo>
                  <a:lnTo>
                    <a:pt x="150" y="56"/>
                  </a:lnTo>
                  <a:lnTo>
                    <a:pt x="152" y="62"/>
                  </a:lnTo>
                  <a:lnTo>
                    <a:pt x="154" y="64"/>
                  </a:lnTo>
                  <a:lnTo>
                    <a:pt x="158" y="70"/>
                  </a:lnTo>
                  <a:lnTo>
                    <a:pt x="160" y="76"/>
                  </a:lnTo>
                  <a:lnTo>
                    <a:pt x="164" y="82"/>
                  </a:lnTo>
                  <a:lnTo>
                    <a:pt x="166" y="84"/>
                  </a:lnTo>
                  <a:lnTo>
                    <a:pt x="168" y="84"/>
                  </a:lnTo>
                  <a:lnTo>
                    <a:pt x="170" y="84"/>
                  </a:lnTo>
                  <a:lnTo>
                    <a:pt x="172" y="90"/>
                  </a:lnTo>
                  <a:lnTo>
                    <a:pt x="176" y="96"/>
                  </a:lnTo>
                  <a:lnTo>
                    <a:pt x="178" y="98"/>
                  </a:lnTo>
                  <a:lnTo>
                    <a:pt x="182" y="104"/>
                  </a:lnTo>
                  <a:lnTo>
                    <a:pt x="188" y="110"/>
                  </a:lnTo>
                  <a:lnTo>
                    <a:pt x="194" y="112"/>
                  </a:lnTo>
                  <a:lnTo>
                    <a:pt x="196" y="114"/>
                  </a:lnTo>
                  <a:lnTo>
                    <a:pt x="194" y="118"/>
                  </a:lnTo>
                  <a:lnTo>
                    <a:pt x="188" y="118"/>
                  </a:lnTo>
                  <a:lnTo>
                    <a:pt x="184" y="112"/>
                  </a:lnTo>
                  <a:lnTo>
                    <a:pt x="178" y="114"/>
                  </a:lnTo>
                  <a:lnTo>
                    <a:pt x="180" y="118"/>
                  </a:lnTo>
                  <a:lnTo>
                    <a:pt x="178" y="118"/>
                  </a:lnTo>
                  <a:lnTo>
                    <a:pt x="174" y="124"/>
                  </a:lnTo>
                  <a:lnTo>
                    <a:pt x="172" y="130"/>
                  </a:lnTo>
                  <a:lnTo>
                    <a:pt x="172" y="136"/>
                  </a:lnTo>
                  <a:lnTo>
                    <a:pt x="172" y="142"/>
                  </a:lnTo>
                  <a:lnTo>
                    <a:pt x="172" y="146"/>
                  </a:lnTo>
                  <a:lnTo>
                    <a:pt x="172" y="148"/>
                  </a:lnTo>
                  <a:lnTo>
                    <a:pt x="178" y="150"/>
                  </a:lnTo>
                  <a:lnTo>
                    <a:pt x="184" y="156"/>
                  </a:lnTo>
                  <a:lnTo>
                    <a:pt x="184" y="160"/>
                  </a:lnTo>
                  <a:lnTo>
                    <a:pt x="178" y="162"/>
                  </a:lnTo>
                  <a:lnTo>
                    <a:pt x="178" y="164"/>
                  </a:lnTo>
                  <a:lnTo>
                    <a:pt x="172" y="168"/>
                  </a:lnTo>
                  <a:lnTo>
                    <a:pt x="174" y="176"/>
                  </a:lnTo>
                  <a:lnTo>
                    <a:pt x="176" y="182"/>
                  </a:lnTo>
                  <a:lnTo>
                    <a:pt x="176" y="184"/>
                  </a:lnTo>
                  <a:lnTo>
                    <a:pt x="176" y="188"/>
                  </a:lnTo>
                  <a:lnTo>
                    <a:pt x="176" y="190"/>
                  </a:lnTo>
                  <a:lnTo>
                    <a:pt x="174" y="190"/>
                  </a:lnTo>
                  <a:lnTo>
                    <a:pt x="170" y="194"/>
                  </a:lnTo>
                  <a:lnTo>
                    <a:pt x="166" y="198"/>
                  </a:lnTo>
                  <a:lnTo>
                    <a:pt x="164" y="202"/>
                  </a:lnTo>
                  <a:lnTo>
                    <a:pt x="166" y="202"/>
                  </a:lnTo>
                  <a:lnTo>
                    <a:pt x="170" y="208"/>
                  </a:lnTo>
                  <a:lnTo>
                    <a:pt x="170" y="214"/>
                  </a:lnTo>
                  <a:lnTo>
                    <a:pt x="170" y="220"/>
                  </a:lnTo>
                  <a:lnTo>
                    <a:pt x="170" y="214"/>
                  </a:lnTo>
                  <a:lnTo>
                    <a:pt x="168" y="208"/>
                  </a:lnTo>
                  <a:lnTo>
                    <a:pt x="162" y="202"/>
                  </a:lnTo>
                  <a:lnTo>
                    <a:pt x="156" y="198"/>
                  </a:lnTo>
                  <a:lnTo>
                    <a:pt x="158" y="192"/>
                  </a:lnTo>
                  <a:lnTo>
                    <a:pt x="158" y="186"/>
                  </a:lnTo>
                  <a:lnTo>
                    <a:pt x="154" y="180"/>
                  </a:lnTo>
                  <a:lnTo>
                    <a:pt x="150" y="178"/>
                  </a:lnTo>
                  <a:lnTo>
                    <a:pt x="144" y="172"/>
                  </a:lnTo>
                  <a:lnTo>
                    <a:pt x="142" y="172"/>
                  </a:lnTo>
                  <a:lnTo>
                    <a:pt x="136" y="174"/>
                  </a:lnTo>
                  <a:lnTo>
                    <a:pt x="140" y="178"/>
                  </a:lnTo>
                  <a:lnTo>
                    <a:pt x="144" y="184"/>
                  </a:lnTo>
                  <a:lnTo>
                    <a:pt x="148" y="190"/>
                  </a:lnTo>
                  <a:lnTo>
                    <a:pt x="148" y="194"/>
                  </a:lnTo>
                  <a:lnTo>
                    <a:pt x="148" y="196"/>
                  </a:lnTo>
                  <a:lnTo>
                    <a:pt x="140" y="194"/>
                  </a:lnTo>
                  <a:lnTo>
                    <a:pt x="136" y="192"/>
                  </a:lnTo>
                  <a:lnTo>
                    <a:pt x="130" y="190"/>
                  </a:lnTo>
                  <a:lnTo>
                    <a:pt x="126" y="186"/>
                  </a:lnTo>
                  <a:lnTo>
                    <a:pt x="120" y="180"/>
                  </a:lnTo>
                  <a:lnTo>
                    <a:pt x="124" y="174"/>
                  </a:lnTo>
                  <a:lnTo>
                    <a:pt x="128" y="168"/>
                  </a:lnTo>
                  <a:lnTo>
                    <a:pt x="130" y="164"/>
                  </a:lnTo>
                  <a:lnTo>
                    <a:pt x="132" y="160"/>
                  </a:lnTo>
                  <a:lnTo>
                    <a:pt x="130" y="156"/>
                  </a:lnTo>
                  <a:lnTo>
                    <a:pt x="128" y="150"/>
                  </a:lnTo>
                  <a:lnTo>
                    <a:pt x="124" y="144"/>
                  </a:lnTo>
                  <a:lnTo>
                    <a:pt x="118" y="138"/>
                  </a:lnTo>
                  <a:lnTo>
                    <a:pt x="112" y="132"/>
                  </a:lnTo>
                  <a:lnTo>
                    <a:pt x="106" y="130"/>
                  </a:lnTo>
                  <a:lnTo>
                    <a:pt x="106" y="128"/>
                  </a:lnTo>
                  <a:lnTo>
                    <a:pt x="100" y="126"/>
                  </a:lnTo>
                  <a:lnTo>
                    <a:pt x="96" y="120"/>
                  </a:lnTo>
                  <a:lnTo>
                    <a:pt x="90" y="120"/>
                  </a:lnTo>
                  <a:lnTo>
                    <a:pt x="88" y="118"/>
                  </a:lnTo>
                  <a:lnTo>
                    <a:pt x="82" y="118"/>
                  </a:lnTo>
                  <a:lnTo>
                    <a:pt x="76" y="118"/>
                  </a:lnTo>
                  <a:lnTo>
                    <a:pt x="72" y="110"/>
                  </a:lnTo>
                  <a:lnTo>
                    <a:pt x="68" y="106"/>
                  </a:lnTo>
                  <a:lnTo>
                    <a:pt x="72" y="100"/>
                  </a:lnTo>
                  <a:lnTo>
                    <a:pt x="72" y="98"/>
                  </a:lnTo>
                  <a:lnTo>
                    <a:pt x="68" y="92"/>
                  </a:lnTo>
                  <a:lnTo>
                    <a:pt x="66" y="88"/>
                  </a:lnTo>
                  <a:lnTo>
                    <a:pt x="60" y="86"/>
                  </a:lnTo>
                  <a:lnTo>
                    <a:pt x="58" y="84"/>
                  </a:lnTo>
                  <a:lnTo>
                    <a:pt x="52" y="78"/>
                  </a:lnTo>
                  <a:lnTo>
                    <a:pt x="50" y="78"/>
                  </a:lnTo>
                  <a:lnTo>
                    <a:pt x="46" y="72"/>
                  </a:lnTo>
                  <a:lnTo>
                    <a:pt x="40" y="72"/>
                  </a:lnTo>
                  <a:lnTo>
                    <a:pt x="38" y="70"/>
                  </a:lnTo>
                  <a:lnTo>
                    <a:pt x="36" y="66"/>
                  </a:lnTo>
                  <a:lnTo>
                    <a:pt x="34" y="64"/>
                  </a:lnTo>
                  <a:lnTo>
                    <a:pt x="36" y="70"/>
                  </a:lnTo>
                  <a:lnTo>
                    <a:pt x="36" y="76"/>
                  </a:lnTo>
                  <a:lnTo>
                    <a:pt x="40" y="80"/>
                  </a:lnTo>
                  <a:lnTo>
                    <a:pt x="40" y="82"/>
                  </a:lnTo>
                  <a:lnTo>
                    <a:pt x="42" y="84"/>
                  </a:lnTo>
                  <a:lnTo>
                    <a:pt x="48" y="86"/>
                  </a:lnTo>
                  <a:lnTo>
                    <a:pt x="52" y="88"/>
                  </a:lnTo>
                  <a:lnTo>
                    <a:pt x="56" y="94"/>
                  </a:lnTo>
                  <a:lnTo>
                    <a:pt x="54" y="100"/>
                  </a:lnTo>
                  <a:lnTo>
                    <a:pt x="48" y="106"/>
                  </a:lnTo>
                  <a:lnTo>
                    <a:pt x="44" y="112"/>
                  </a:lnTo>
                  <a:lnTo>
                    <a:pt x="38" y="108"/>
                  </a:lnTo>
                  <a:lnTo>
                    <a:pt x="34" y="102"/>
                  </a:lnTo>
                  <a:lnTo>
                    <a:pt x="28" y="96"/>
                  </a:lnTo>
                  <a:lnTo>
                    <a:pt x="22" y="94"/>
                  </a:lnTo>
                  <a:lnTo>
                    <a:pt x="18" y="92"/>
                  </a:lnTo>
                  <a:lnTo>
                    <a:pt x="12" y="92"/>
                  </a:lnTo>
                  <a:lnTo>
                    <a:pt x="8" y="84"/>
                  </a:lnTo>
                  <a:lnTo>
                    <a:pt x="6" y="84"/>
                  </a:lnTo>
                  <a:lnTo>
                    <a:pt x="2" y="78"/>
                  </a:lnTo>
                  <a:lnTo>
                    <a:pt x="0" y="72"/>
                  </a:lnTo>
                  <a:lnTo>
                    <a:pt x="0" y="66"/>
                  </a:lnTo>
                  <a:lnTo>
                    <a:pt x="0" y="60"/>
                  </a:lnTo>
                  <a:lnTo>
                    <a:pt x="0" y="5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6" name="Freeform 274"/>
            <p:cNvSpPr>
              <a:spLocks/>
            </p:cNvSpPr>
            <p:nvPr/>
          </p:nvSpPr>
          <p:spPr bwMode="auto">
            <a:xfrm>
              <a:off x="2711450" y="4795838"/>
              <a:ext cx="211138" cy="236537"/>
            </a:xfrm>
            <a:custGeom>
              <a:avLst/>
              <a:gdLst>
                <a:gd name="T0" fmla="*/ 2147483647 w 516"/>
                <a:gd name="T1" fmla="*/ 2147483647 h 576"/>
                <a:gd name="T2" fmla="*/ 2147483647 w 516"/>
                <a:gd name="T3" fmla="*/ 2147483647 h 576"/>
                <a:gd name="T4" fmla="*/ 2147483647 w 516"/>
                <a:gd name="T5" fmla="*/ 2147483647 h 576"/>
                <a:gd name="T6" fmla="*/ 2147483647 w 516"/>
                <a:gd name="T7" fmla="*/ 2147483647 h 576"/>
                <a:gd name="T8" fmla="*/ 2147483647 w 516"/>
                <a:gd name="T9" fmla="*/ 2147483647 h 576"/>
                <a:gd name="T10" fmla="*/ 2147483647 w 516"/>
                <a:gd name="T11" fmla="*/ 2147483647 h 576"/>
                <a:gd name="T12" fmla="*/ 2147483647 w 516"/>
                <a:gd name="T13" fmla="*/ 2147483647 h 576"/>
                <a:gd name="T14" fmla="*/ 2147483647 w 516"/>
                <a:gd name="T15" fmla="*/ 2147483647 h 576"/>
                <a:gd name="T16" fmla="*/ 2147483647 w 516"/>
                <a:gd name="T17" fmla="*/ 2147483647 h 576"/>
                <a:gd name="T18" fmla="*/ 2147483647 w 516"/>
                <a:gd name="T19" fmla="*/ 2147483647 h 576"/>
                <a:gd name="T20" fmla="*/ 2147483647 w 516"/>
                <a:gd name="T21" fmla="*/ 2147483647 h 576"/>
                <a:gd name="T22" fmla="*/ 2147483647 w 516"/>
                <a:gd name="T23" fmla="*/ 2147483647 h 576"/>
                <a:gd name="T24" fmla="*/ 2147483647 w 516"/>
                <a:gd name="T25" fmla="*/ 2147483647 h 576"/>
                <a:gd name="T26" fmla="*/ 2147483647 w 516"/>
                <a:gd name="T27" fmla="*/ 2147483647 h 576"/>
                <a:gd name="T28" fmla="*/ 2147483647 w 516"/>
                <a:gd name="T29" fmla="*/ 2147483647 h 576"/>
                <a:gd name="T30" fmla="*/ 2147483647 w 516"/>
                <a:gd name="T31" fmla="*/ 2147483647 h 576"/>
                <a:gd name="T32" fmla="*/ 2147483647 w 516"/>
                <a:gd name="T33" fmla="*/ 2147483647 h 576"/>
                <a:gd name="T34" fmla="*/ 2147483647 w 516"/>
                <a:gd name="T35" fmla="*/ 2147483647 h 576"/>
                <a:gd name="T36" fmla="*/ 2147483647 w 516"/>
                <a:gd name="T37" fmla="*/ 2147483647 h 576"/>
                <a:gd name="T38" fmla="*/ 2147483647 w 516"/>
                <a:gd name="T39" fmla="*/ 2147483647 h 576"/>
                <a:gd name="T40" fmla="*/ 2147483647 w 516"/>
                <a:gd name="T41" fmla="*/ 2147483647 h 576"/>
                <a:gd name="T42" fmla="*/ 2147483647 w 516"/>
                <a:gd name="T43" fmla="*/ 2147483647 h 576"/>
                <a:gd name="T44" fmla="*/ 2147483647 w 516"/>
                <a:gd name="T45" fmla="*/ 2147483647 h 576"/>
                <a:gd name="T46" fmla="*/ 2147483647 w 516"/>
                <a:gd name="T47" fmla="*/ 2147483647 h 576"/>
                <a:gd name="T48" fmla="*/ 2147483647 w 516"/>
                <a:gd name="T49" fmla="*/ 2147483647 h 576"/>
                <a:gd name="T50" fmla="*/ 2147483647 w 516"/>
                <a:gd name="T51" fmla="*/ 2147483647 h 576"/>
                <a:gd name="T52" fmla="*/ 2147483647 w 516"/>
                <a:gd name="T53" fmla="*/ 2147483647 h 576"/>
                <a:gd name="T54" fmla="*/ 2147483647 w 516"/>
                <a:gd name="T55" fmla="*/ 2147483647 h 576"/>
                <a:gd name="T56" fmla="*/ 2147483647 w 516"/>
                <a:gd name="T57" fmla="*/ 2147483647 h 576"/>
                <a:gd name="T58" fmla="*/ 2147483647 w 516"/>
                <a:gd name="T59" fmla="*/ 2147483647 h 576"/>
                <a:gd name="T60" fmla="*/ 2147483647 w 516"/>
                <a:gd name="T61" fmla="*/ 2147483647 h 576"/>
                <a:gd name="T62" fmla="*/ 2147483647 w 516"/>
                <a:gd name="T63" fmla="*/ 2147483647 h 576"/>
                <a:gd name="T64" fmla="*/ 2147483647 w 516"/>
                <a:gd name="T65" fmla="*/ 2147483647 h 576"/>
                <a:gd name="T66" fmla="*/ 2147483647 w 516"/>
                <a:gd name="T67" fmla="*/ 2147483647 h 576"/>
                <a:gd name="T68" fmla="*/ 2147483647 w 516"/>
                <a:gd name="T69" fmla="*/ 2147483647 h 576"/>
                <a:gd name="T70" fmla="*/ 2147483647 w 516"/>
                <a:gd name="T71" fmla="*/ 2147483647 h 576"/>
                <a:gd name="T72" fmla="*/ 2147483647 w 516"/>
                <a:gd name="T73" fmla="*/ 2147483647 h 576"/>
                <a:gd name="T74" fmla="*/ 2147483647 w 516"/>
                <a:gd name="T75" fmla="*/ 2147483647 h 576"/>
                <a:gd name="T76" fmla="*/ 2147483647 w 516"/>
                <a:gd name="T77" fmla="*/ 2147483647 h 576"/>
                <a:gd name="T78" fmla="*/ 2147483647 w 516"/>
                <a:gd name="T79" fmla="*/ 2147483647 h 576"/>
                <a:gd name="T80" fmla="*/ 2147483647 w 516"/>
                <a:gd name="T81" fmla="*/ 2147483647 h 576"/>
                <a:gd name="T82" fmla="*/ 2147483647 w 516"/>
                <a:gd name="T83" fmla="*/ 2147483647 h 576"/>
                <a:gd name="T84" fmla="*/ 2147483647 w 516"/>
                <a:gd name="T85" fmla="*/ 2147483647 h 576"/>
                <a:gd name="T86" fmla="*/ 2147483647 w 516"/>
                <a:gd name="T87" fmla="*/ 2147483647 h 576"/>
                <a:gd name="T88" fmla="*/ 2147483647 w 516"/>
                <a:gd name="T89" fmla="*/ 2147483647 h 576"/>
                <a:gd name="T90" fmla="*/ 2147483647 w 516"/>
                <a:gd name="T91" fmla="*/ 2147483647 h 576"/>
                <a:gd name="T92" fmla="*/ 2147483647 w 516"/>
                <a:gd name="T93" fmla="*/ 2147483647 h 576"/>
                <a:gd name="T94" fmla="*/ 2147483647 w 516"/>
                <a:gd name="T95" fmla="*/ 2147483647 h 576"/>
                <a:gd name="T96" fmla="*/ 2147483647 w 516"/>
                <a:gd name="T97" fmla="*/ 2147483647 h 576"/>
                <a:gd name="T98" fmla="*/ 2147483647 w 516"/>
                <a:gd name="T99" fmla="*/ 2147483647 h 576"/>
                <a:gd name="T100" fmla="*/ 2147483647 w 516"/>
                <a:gd name="T101" fmla="*/ 2147483647 h 576"/>
                <a:gd name="T102" fmla="*/ 2147483647 w 516"/>
                <a:gd name="T103" fmla="*/ 2147483647 h 576"/>
                <a:gd name="T104" fmla="*/ 2147483647 w 516"/>
                <a:gd name="T105" fmla="*/ 2147483647 h 576"/>
                <a:gd name="T106" fmla="*/ 2147483647 w 516"/>
                <a:gd name="T107" fmla="*/ 2147483647 h 576"/>
                <a:gd name="T108" fmla="*/ 0 w 516"/>
                <a:gd name="T109" fmla="*/ 2147483647 h 57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6"/>
                <a:gd name="T166" fmla="*/ 0 h 576"/>
                <a:gd name="T167" fmla="*/ 516 w 516"/>
                <a:gd name="T168" fmla="*/ 576 h 57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6" h="576">
                  <a:moveTo>
                    <a:pt x="0" y="206"/>
                  </a:moveTo>
                  <a:lnTo>
                    <a:pt x="0" y="200"/>
                  </a:lnTo>
                  <a:lnTo>
                    <a:pt x="0" y="194"/>
                  </a:lnTo>
                  <a:lnTo>
                    <a:pt x="2" y="188"/>
                  </a:lnTo>
                  <a:lnTo>
                    <a:pt x="4" y="182"/>
                  </a:lnTo>
                  <a:lnTo>
                    <a:pt x="4" y="176"/>
                  </a:lnTo>
                  <a:lnTo>
                    <a:pt x="4" y="170"/>
                  </a:lnTo>
                  <a:lnTo>
                    <a:pt x="6" y="168"/>
                  </a:lnTo>
                  <a:lnTo>
                    <a:pt x="6" y="166"/>
                  </a:lnTo>
                  <a:lnTo>
                    <a:pt x="6" y="160"/>
                  </a:lnTo>
                  <a:lnTo>
                    <a:pt x="8" y="154"/>
                  </a:lnTo>
                  <a:lnTo>
                    <a:pt x="8" y="148"/>
                  </a:lnTo>
                  <a:lnTo>
                    <a:pt x="10" y="142"/>
                  </a:lnTo>
                  <a:lnTo>
                    <a:pt x="10" y="138"/>
                  </a:lnTo>
                  <a:lnTo>
                    <a:pt x="12" y="132"/>
                  </a:lnTo>
                  <a:lnTo>
                    <a:pt x="12" y="126"/>
                  </a:lnTo>
                  <a:lnTo>
                    <a:pt x="12" y="120"/>
                  </a:lnTo>
                  <a:lnTo>
                    <a:pt x="12" y="114"/>
                  </a:lnTo>
                  <a:lnTo>
                    <a:pt x="10" y="108"/>
                  </a:lnTo>
                  <a:lnTo>
                    <a:pt x="10" y="102"/>
                  </a:lnTo>
                  <a:lnTo>
                    <a:pt x="8" y="96"/>
                  </a:lnTo>
                  <a:lnTo>
                    <a:pt x="8" y="90"/>
                  </a:lnTo>
                  <a:lnTo>
                    <a:pt x="8" y="88"/>
                  </a:lnTo>
                  <a:lnTo>
                    <a:pt x="12" y="84"/>
                  </a:lnTo>
                  <a:lnTo>
                    <a:pt x="14" y="78"/>
                  </a:lnTo>
                  <a:lnTo>
                    <a:pt x="18" y="70"/>
                  </a:lnTo>
                  <a:lnTo>
                    <a:pt x="20" y="66"/>
                  </a:lnTo>
                  <a:lnTo>
                    <a:pt x="24" y="60"/>
                  </a:lnTo>
                  <a:lnTo>
                    <a:pt x="26" y="56"/>
                  </a:lnTo>
                  <a:lnTo>
                    <a:pt x="28" y="50"/>
                  </a:lnTo>
                  <a:lnTo>
                    <a:pt x="28" y="44"/>
                  </a:lnTo>
                  <a:lnTo>
                    <a:pt x="30" y="38"/>
                  </a:lnTo>
                  <a:lnTo>
                    <a:pt x="32" y="32"/>
                  </a:lnTo>
                  <a:lnTo>
                    <a:pt x="32" y="26"/>
                  </a:lnTo>
                  <a:lnTo>
                    <a:pt x="40" y="24"/>
                  </a:lnTo>
                  <a:lnTo>
                    <a:pt x="46" y="24"/>
                  </a:lnTo>
                  <a:lnTo>
                    <a:pt x="52" y="22"/>
                  </a:lnTo>
                  <a:lnTo>
                    <a:pt x="58" y="20"/>
                  </a:lnTo>
                  <a:lnTo>
                    <a:pt x="66" y="20"/>
                  </a:lnTo>
                  <a:lnTo>
                    <a:pt x="72" y="18"/>
                  </a:lnTo>
                  <a:lnTo>
                    <a:pt x="78" y="16"/>
                  </a:lnTo>
                  <a:lnTo>
                    <a:pt x="84" y="16"/>
                  </a:lnTo>
                  <a:lnTo>
                    <a:pt x="90" y="14"/>
                  </a:lnTo>
                  <a:lnTo>
                    <a:pt x="96" y="14"/>
                  </a:lnTo>
                  <a:lnTo>
                    <a:pt x="100" y="12"/>
                  </a:lnTo>
                  <a:lnTo>
                    <a:pt x="106" y="10"/>
                  </a:lnTo>
                  <a:lnTo>
                    <a:pt x="112" y="8"/>
                  </a:lnTo>
                  <a:lnTo>
                    <a:pt x="118" y="6"/>
                  </a:lnTo>
                  <a:lnTo>
                    <a:pt x="126" y="4"/>
                  </a:lnTo>
                  <a:lnTo>
                    <a:pt x="132" y="2"/>
                  </a:lnTo>
                  <a:lnTo>
                    <a:pt x="136" y="2"/>
                  </a:lnTo>
                  <a:lnTo>
                    <a:pt x="140" y="2"/>
                  </a:lnTo>
                  <a:lnTo>
                    <a:pt x="154" y="2"/>
                  </a:lnTo>
                  <a:lnTo>
                    <a:pt x="162" y="2"/>
                  </a:lnTo>
                  <a:lnTo>
                    <a:pt x="174" y="2"/>
                  </a:lnTo>
                  <a:lnTo>
                    <a:pt x="184" y="0"/>
                  </a:lnTo>
                  <a:lnTo>
                    <a:pt x="190" y="0"/>
                  </a:lnTo>
                  <a:lnTo>
                    <a:pt x="192" y="2"/>
                  </a:lnTo>
                  <a:lnTo>
                    <a:pt x="208" y="12"/>
                  </a:lnTo>
                  <a:lnTo>
                    <a:pt x="210" y="14"/>
                  </a:lnTo>
                  <a:lnTo>
                    <a:pt x="218" y="18"/>
                  </a:lnTo>
                  <a:lnTo>
                    <a:pt x="226" y="24"/>
                  </a:lnTo>
                  <a:lnTo>
                    <a:pt x="236" y="28"/>
                  </a:lnTo>
                  <a:lnTo>
                    <a:pt x="250" y="38"/>
                  </a:lnTo>
                  <a:lnTo>
                    <a:pt x="250" y="44"/>
                  </a:lnTo>
                  <a:lnTo>
                    <a:pt x="252" y="50"/>
                  </a:lnTo>
                  <a:lnTo>
                    <a:pt x="254" y="56"/>
                  </a:lnTo>
                  <a:lnTo>
                    <a:pt x="252" y="62"/>
                  </a:lnTo>
                  <a:lnTo>
                    <a:pt x="252" y="68"/>
                  </a:lnTo>
                  <a:lnTo>
                    <a:pt x="258" y="74"/>
                  </a:lnTo>
                  <a:lnTo>
                    <a:pt x="262" y="80"/>
                  </a:lnTo>
                  <a:lnTo>
                    <a:pt x="264" y="86"/>
                  </a:lnTo>
                  <a:lnTo>
                    <a:pt x="264" y="92"/>
                  </a:lnTo>
                  <a:lnTo>
                    <a:pt x="266" y="98"/>
                  </a:lnTo>
                  <a:lnTo>
                    <a:pt x="272" y="100"/>
                  </a:lnTo>
                  <a:lnTo>
                    <a:pt x="270" y="106"/>
                  </a:lnTo>
                  <a:lnTo>
                    <a:pt x="272" y="112"/>
                  </a:lnTo>
                  <a:lnTo>
                    <a:pt x="278" y="118"/>
                  </a:lnTo>
                  <a:lnTo>
                    <a:pt x="276" y="122"/>
                  </a:lnTo>
                  <a:lnTo>
                    <a:pt x="278" y="130"/>
                  </a:lnTo>
                  <a:lnTo>
                    <a:pt x="278" y="134"/>
                  </a:lnTo>
                  <a:lnTo>
                    <a:pt x="276" y="140"/>
                  </a:lnTo>
                  <a:lnTo>
                    <a:pt x="276" y="146"/>
                  </a:lnTo>
                  <a:lnTo>
                    <a:pt x="274" y="152"/>
                  </a:lnTo>
                  <a:lnTo>
                    <a:pt x="276" y="158"/>
                  </a:lnTo>
                  <a:lnTo>
                    <a:pt x="276" y="160"/>
                  </a:lnTo>
                  <a:lnTo>
                    <a:pt x="278" y="166"/>
                  </a:lnTo>
                  <a:lnTo>
                    <a:pt x="280" y="168"/>
                  </a:lnTo>
                  <a:lnTo>
                    <a:pt x="278" y="172"/>
                  </a:lnTo>
                  <a:lnTo>
                    <a:pt x="278" y="176"/>
                  </a:lnTo>
                  <a:lnTo>
                    <a:pt x="278" y="182"/>
                  </a:lnTo>
                  <a:lnTo>
                    <a:pt x="276" y="188"/>
                  </a:lnTo>
                  <a:lnTo>
                    <a:pt x="276" y="194"/>
                  </a:lnTo>
                  <a:lnTo>
                    <a:pt x="280" y="196"/>
                  </a:lnTo>
                  <a:lnTo>
                    <a:pt x="286" y="198"/>
                  </a:lnTo>
                  <a:lnTo>
                    <a:pt x="292" y="196"/>
                  </a:lnTo>
                  <a:lnTo>
                    <a:pt x="296" y="196"/>
                  </a:lnTo>
                  <a:lnTo>
                    <a:pt x="304" y="200"/>
                  </a:lnTo>
                  <a:lnTo>
                    <a:pt x="308" y="202"/>
                  </a:lnTo>
                  <a:lnTo>
                    <a:pt x="312" y="202"/>
                  </a:lnTo>
                  <a:lnTo>
                    <a:pt x="318" y="202"/>
                  </a:lnTo>
                  <a:lnTo>
                    <a:pt x="324" y="202"/>
                  </a:lnTo>
                  <a:lnTo>
                    <a:pt x="330" y="206"/>
                  </a:lnTo>
                  <a:lnTo>
                    <a:pt x="336" y="204"/>
                  </a:lnTo>
                  <a:lnTo>
                    <a:pt x="342" y="206"/>
                  </a:lnTo>
                  <a:lnTo>
                    <a:pt x="346" y="210"/>
                  </a:lnTo>
                  <a:lnTo>
                    <a:pt x="352" y="206"/>
                  </a:lnTo>
                  <a:lnTo>
                    <a:pt x="358" y="204"/>
                  </a:lnTo>
                  <a:lnTo>
                    <a:pt x="364" y="198"/>
                  </a:lnTo>
                  <a:lnTo>
                    <a:pt x="364" y="196"/>
                  </a:lnTo>
                  <a:lnTo>
                    <a:pt x="366" y="194"/>
                  </a:lnTo>
                  <a:lnTo>
                    <a:pt x="372" y="194"/>
                  </a:lnTo>
                  <a:lnTo>
                    <a:pt x="376" y="200"/>
                  </a:lnTo>
                  <a:lnTo>
                    <a:pt x="382" y="204"/>
                  </a:lnTo>
                  <a:lnTo>
                    <a:pt x="388" y="208"/>
                  </a:lnTo>
                  <a:lnTo>
                    <a:pt x="394" y="208"/>
                  </a:lnTo>
                  <a:lnTo>
                    <a:pt x="400" y="210"/>
                  </a:lnTo>
                  <a:lnTo>
                    <a:pt x="406" y="210"/>
                  </a:lnTo>
                  <a:lnTo>
                    <a:pt x="410" y="214"/>
                  </a:lnTo>
                  <a:lnTo>
                    <a:pt x="414" y="220"/>
                  </a:lnTo>
                  <a:lnTo>
                    <a:pt x="414" y="226"/>
                  </a:lnTo>
                  <a:lnTo>
                    <a:pt x="420" y="232"/>
                  </a:lnTo>
                  <a:lnTo>
                    <a:pt x="424" y="238"/>
                  </a:lnTo>
                  <a:lnTo>
                    <a:pt x="422" y="244"/>
                  </a:lnTo>
                  <a:lnTo>
                    <a:pt x="422" y="248"/>
                  </a:lnTo>
                  <a:lnTo>
                    <a:pt x="424" y="256"/>
                  </a:lnTo>
                  <a:lnTo>
                    <a:pt x="428" y="262"/>
                  </a:lnTo>
                  <a:lnTo>
                    <a:pt x="428" y="266"/>
                  </a:lnTo>
                  <a:lnTo>
                    <a:pt x="432" y="272"/>
                  </a:lnTo>
                  <a:lnTo>
                    <a:pt x="432" y="274"/>
                  </a:lnTo>
                  <a:lnTo>
                    <a:pt x="432" y="280"/>
                  </a:lnTo>
                  <a:lnTo>
                    <a:pt x="434" y="286"/>
                  </a:lnTo>
                  <a:lnTo>
                    <a:pt x="434" y="292"/>
                  </a:lnTo>
                  <a:lnTo>
                    <a:pt x="434" y="294"/>
                  </a:lnTo>
                  <a:lnTo>
                    <a:pt x="436" y="300"/>
                  </a:lnTo>
                  <a:lnTo>
                    <a:pt x="440" y="306"/>
                  </a:lnTo>
                  <a:lnTo>
                    <a:pt x="442" y="312"/>
                  </a:lnTo>
                  <a:lnTo>
                    <a:pt x="444" y="318"/>
                  </a:lnTo>
                  <a:lnTo>
                    <a:pt x="444" y="324"/>
                  </a:lnTo>
                  <a:lnTo>
                    <a:pt x="450" y="326"/>
                  </a:lnTo>
                  <a:lnTo>
                    <a:pt x="456" y="328"/>
                  </a:lnTo>
                  <a:lnTo>
                    <a:pt x="462" y="328"/>
                  </a:lnTo>
                  <a:lnTo>
                    <a:pt x="468" y="326"/>
                  </a:lnTo>
                  <a:lnTo>
                    <a:pt x="470" y="326"/>
                  </a:lnTo>
                  <a:lnTo>
                    <a:pt x="474" y="324"/>
                  </a:lnTo>
                  <a:lnTo>
                    <a:pt x="480" y="318"/>
                  </a:lnTo>
                  <a:lnTo>
                    <a:pt x="486" y="316"/>
                  </a:lnTo>
                  <a:lnTo>
                    <a:pt x="492" y="316"/>
                  </a:lnTo>
                  <a:lnTo>
                    <a:pt x="498" y="318"/>
                  </a:lnTo>
                  <a:lnTo>
                    <a:pt x="504" y="322"/>
                  </a:lnTo>
                  <a:lnTo>
                    <a:pt x="510" y="328"/>
                  </a:lnTo>
                  <a:lnTo>
                    <a:pt x="514" y="330"/>
                  </a:lnTo>
                  <a:lnTo>
                    <a:pt x="510" y="336"/>
                  </a:lnTo>
                  <a:lnTo>
                    <a:pt x="512" y="342"/>
                  </a:lnTo>
                  <a:lnTo>
                    <a:pt x="516" y="348"/>
                  </a:lnTo>
                  <a:lnTo>
                    <a:pt x="516" y="354"/>
                  </a:lnTo>
                  <a:lnTo>
                    <a:pt x="512" y="360"/>
                  </a:lnTo>
                  <a:lnTo>
                    <a:pt x="514" y="368"/>
                  </a:lnTo>
                  <a:lnTo>
                    <a:pt x="514" y="372"/>
                  </a:lnTo>
                  <a:lnTo>
                    <a:pt x="514" y="378"/>
                  </a:lnTo>
                  <a:lnTo>
                    <a:pt x="512" y="384"/>
                  </a:lnTo>
                  <a:lnTo>
                    <a:pt x="512" y="390"/>
                  </a:lnTo>
                  <a:lnTo>
                    <a:pt x="510" y="396"/>
                  </a:lnTo>
                  <a:lnTo>
                    <a:pt x="510" y="402"/>
                  </a:lnTo>
                  <a:lnTo>
                    <a:pt x="512" y="408"/>
                  </a:lnTo>
                  <a:lnTo>
                    <a:pt x="510" y="414"/>
                  </a:lnTo>
                  <a:lnTo>
                    <a:pt x="506" y="420"/>
                  </a:lnTo>
                  <a:lnTo>
                    <a:pt x="504" y="426"/>
                  </a:lnTo>
                  <a:lnTo>
                    <a:pt x="504" y="430"/>
                  </a:lnTo>
                  <a:lnTo>
                    <a:pt x="506" y="432"/>
                  </a:lnTo>
                  <a:lnTo>
                    <a:pt x="506" y="436"/>
                  </a:lnTo>
                  <a:lnTo>
                    <a:pt x="504" y="442"/>
                  </a:lnTo>
                  <a:lnTo>
                    <a:pt x="506" y="448"/>
                  </a:lnTo>
                  <a:lnTo>
                    <a:pt x="508" y="454"/>
                  </a:lnTo>
                  <a:lnTo>
                    <a:pt x="508" y="460"/>
                  </a:lnTo>
                  <a:lnTo>
                    <a:pt x="506" y="466"/>
                  </a:lnTo>
                  <a:lnTo>
                    <a:pt x="508" y="472"/>
                  </a:lnTo>
                  <a:lnTo>
                    <a:pt x="508" y="478"/>
                  </a:lnTo>
                  <a:lnTo>
                    <a:pt x="508" y="482"/>
                  </a:lnTo>
                  <a:lnTo>
                    <a:pt x="508" y="488"/>
                  </a:lnTo>
                  <a:lnTo>
                    <a:pt x="508" y="494"/>
                  </a:lnTo>
                  <a:lnTo>
                    <a:pt x="506" y="500"/>
                  </a:lnTo>
                  <a:lnTo>
                    <a:pt x="504" y="506"/>
                  </a:lnTo>
                  <a:lnTo>
                    <a:pt x="504" y="512"/>
                  </a:lnTo>
                  <a:lnTo>
                    <a:pt x="498" y="512"/>
                  </a:lnTo>
                  <a:lnTo>
                    <a:pt x="496" y="518"/>
                  </a:lnTo>
                  <a:lnTo>
                    <a:pt x="494" y="520"/>
                  </a:lnTo>
                  <a:lnTo>
                    <a:pt x="488" y="524"/>
                  </a:lnTo>
                  <a:lnTo>
                    <a:pt x="488" y="530"/>
                  </a:lnTo>
                  <a:lnTo>
                    <a:pt x="482" y="532"/>
                  </a:lnTo>
                  <a:lnTo>
                    <a:pt x="482" y="530"/>
                  </a:lnTo>
                  <a:lnTo>
                    <a:pt x="474" y="532"/>
                  </a:lnTo>
                  <a:lnTo>
                    <a:pt x="470" y="538"/>
                  </a:lnTo>
                  <a:lnTo>
                    <a:pt x="464" y="544"/>
                  </a:lnTo>
                  <a:lnTo>
                    <a:pt x="464" y="550"/>
                  </a:lnTo>
                  <a:lnTo>
                    <a:pt x="464" y="556"/>
                  </a:lnTo>
                  <a:lnTo>
                    <a:pt x="458" y="562"/>
                  </a:lnTo>
                  <a:lnTo>
                    <a:pt x="454" y="564"/>
                  </a:lnTo>
                  <a:lnTo>
                    <a:pt x="448" y="558"/>
                  </a:lnTo>
                  <a:lnTo>
                    <a:pt x="442" y="558"/>
                  </a:lnTo>
                  <a:lnTo>
                    <a:pt x="436" y="556"/>
                  </a:lnTo>
                  <a:lnTo>
                    <a:pt x="430" y="558"/>
                  </a:lnTo>
                  <a:lnTo>
                    <a:pt x="424" y="564"/>
                  </a:lnTo>
                  <a:lnTo>
                    <a:pt x="424" y="570"/>
                  </a:lnTo>
                  <a:lnTo>
                    <a:pt x="422" y="576"/>
                  </a:lnTo>
                  <a:lnTo>
                    <a:pt x="414" y="572"/>
                  </a:lnTo>
                  <a:lnTo>
                    <a:pt x="410" y="566"/>
                  </a:lnTo>
                  <a:lnTo>
                    <a:pt x="404" y="566"/>
                  </a:lnTo>
                  <a:lnTo>
                    <a:pt x="398" y="570"/>
                  </a:lnTo>
                  <a:lnTo>
                    <a:pt x="394" y="566"/>
                  </a:lnTo>
                  <a:lnTo>
                    <a:pt x="388" y="564"/>
                  </a:lnTo>
                  <a:lnTo>
                    <a:pt x="382" y="566"/>
                  </a:lnTo>
                  <a:lnTo>
                    <a:pt x="376" y="568"/>
                  </a:lnTo>
                  <a:lnTo>
                    <a:pt x="370" y="566"/>
                  </a:lnTo>
                  <a:lnTo>
                    <a:pt x="364" y="564"/>
                  </a:lnTo>
                  <a:lnTo>
                    <a:pt x="358" y="564"/>
                  </a:lnTo>
                  <a:lnTo>
                    <a:pt x="352" y="562"/>
                  </a:lnTo>
                  <a:lnTo>
                    <a:pt x="346" y="560"/>
                  </a:lnTo>
                  <a:lnTo>
                    <a:pt x="340" y="558"/>
                  </a:lnTo>
                  <a:lnTo>
                    <a:pt x="334" y="554"/>
                  </a:lnTo>
                  <a:lnTo>
                    <a:pt x="328" y="554"/>
                  </a:lnTo>
                  <a:lnTo>
                    <a:pt x="322" y="554"/>
                  </a:lnTo>
                  <a:lnTo>
                    <a:pt x="316" y="554"/>
                  </a:lnTo>
                  <a:lnTo>
                    <a:pt x="310" y="554"/>
                  </a:lnTo>
                  <a:lnTo>
                    <a:pt x="304" y="554"/>
                  </a:lnTo>
                  <a:lnTo>
                    <a:pt x="298" y="554"/>
                  </a:lnTo>
                  <a:lnTo>
                    <a:pt x="292" y="554"/>
                  </a:lnTo>
                  <a:lnTo>
                    <a:pt x="286" y="556"/>
                  </a:lnTo>
                  <a:lnTo>
                    <a:pt x="286" y="554"/>
                  </a:lnTo>
                  <a:lnTo>
                    <a:pt x="282" y="548"/>
                  </a:lnTo>
                  <a:lnTo>
                    <a:pt x="286" y="542"/>
                  </a:lnTo>
                  <a:lnTo>
                    <a:pt x="288" y="536"/>
                  </a:lnTo>
                  <a:lnTo>
                    <a:pt x="290" y="530"/>
                  </a:lnTo>
                  <a:lnTo>
                    <a:pt x="296" y="526"/>
                  </a:lnTo>
                  <a:lnTo>
                    <a:pt x="298" y="526"/>
                  </a:lnTo>
                  <a:lnTo>
                    <a:pt x="298" y="520"/>
                  </a:lnTo>
                  <a:lnTo>
                    <a:pt x="300" y="514"/>
                  </a:lnTo>
                  <a:lnTo>
                    <a:pt x="304" y="506"/>
                  </a:lnTo>
                  <a:lnTo>
                    <a:pt x="300" y="500"/>
                  </a:lnTo>
                  <a:lnTo>
                    <a:pt x="300" y="494"/>
                  </a:lnTo>
                  <a:lnTo>
                    <a:pt x="302" y="488"/>
                  </a:lnTo>
                  <a:lnTo>
                    <a:pt x="304" y="482"/>
                  </a:lnTo>
                  <a:lnTo>
                    <a:pt x="304" y="476"/>
                  </a:lnTo>
                  <a:lnTo>
                    <a:pt x="308" y="472"/>
                  </a:lnTo>
                  <a:lnTo>
                    <a:pt x="316" y="466"/>
                  </a:lnTo>
                  <a:lnTo>
                    <a:pt x="316" y="460"/>
                  </a:lnTo>
                  <a:lnTo>
                    <a:pt x="318" y="456"/>
                  </a:lnTo>
                  <a:lnTo>
                    <a:pt x="318" y="454"/>
                  </a:lnTo>
                  <a:lnTo>
                    <a:pt x="320" y="448"/>
                  </a:lnTo>
                  <a:lnTo>
                    <a:pt x="322" y="442"/>
                  </a:lnTo>
                  <a:lnTo>
                    <a:pt x="326" y="440"/>
                  </a:lnTo>
                  <a:lnTo>
                    <a:pt x="330" y="434"/>
                  </a:lnTo>
                  <a:lnTo>
                    <a:pt x="330" y="428"/>
                  </a:lnTo>
                  <a:lnTo>
                    <a:pt x="324" y="422"/>
                  </a:lnTo>
                  <a:lnTo>
                    <a:pt x="322" y="416"/>
                  </a:lnTo>
                  <a:lnTo>
                    <a:pt x="318" y="414"/>
                  </a:lnTo>
                  <a:lnTo>
                    <a:pt x="314" y="408"/>
                  </a:lnTo>
                  <a:lnTo>
                    <a:pt x="308" y="404"/>
                  </a:lnTo>
                  <a:lnTo>
                    <a:pt x="302" y="402"/>
                  </a:lnTo>
                  <a:lnTo>
                    <a:pt x="296" y="400"/>
                  </a:lnTo>
                  <a:lnTo>
                    <a:pt x="290" y="396"/>
                  </a:lnTo>
                  <a:lnTo>
                    <a:pt x="284" y="392"/>
                  </a:lnTo>
                  <a:lnTo>
                    <a:pt x="278" y="396"/>
                  </a:lnTo>
                  <a:lnTo>
                    <a:pt x="274" y="390"/>
                  </a:lnTo>
                  <a:lnTo>
                    <a:pt x="268" y="386"/>
                  </a:lnTo>
                  <a:lnTo>
                    <a:pt x="262" y="384"/>
                  </a:lnTo>
                  <a:lnTo>
                    <a:pt x="256" y="382"/>
                  </a:lnTo>
                  <a:lnTo>
                    <a:pt x="250" y="382"/>
                  </a:lnTo>
                  <a:lnTo>
                    <a:pt x="244" y="378"/>
                  </a:lnTo>
                  <a:lnTo>
                    <a:pt x="238" y="372"/>
                  </a:lnTo>
                  <a:lnTo>
                    <a:pt x="232" y="368"/>
                  </a:lnTo>
                  <a:lnTo>
                    <a:pt x="226" y="368"/>
                  </a:lnTo>
                  <a:lnTo>
                    <a:pt x="220" y="362"/>
                  </a:lnTo>
                  <a:lnTo>
                    <a:pt x="218" y="362"/>
                  </a:lnTo>
                  <a:lnTo>
                    <a:pt x="212" y="358"/>
                  </a:lnTo>
                  <a:lnTo>
                    <a:pt x="206" y="352"/>
                  </a:lnTo>
                  <a:lnTo>
                    <a:pt x="200" y="348"/>
                  </a:lnTo>
                  <a:lnTo>
                    <a:pt x="194" y="344"/>
                  </a:lnTo>
                  <a:lnTo>
                    <a:pt x="190" y="342"/>
                  </a:lnTo>
                  <a:lnTo>
                    <a:pt x="184" y="338"/>
                  </a:lnTo>
                  <a:lnTo>
                    <a:pt x="178" y="334"/>
                  </a:lnTo>
                  <a:lnTo>
                    <a:pt x="172" y="330"/>
                  </a:lnTo>
                  <a:lnTo>
                    <a:pt x="172" y="328"/>
                  </a:lnTo>
                  <a:lnTo>
                    <a:pt x="164" y="328"/>
                  </a:lnTo>
                  <a:lnTo>
                    <a:pt x="158" y="330"/>
                  </a:lnTo>
                  <a:lnTo>
                    <a:pt x="152" y="328"/>
                  </a:lnTo>
                  <a:lnTo>
                    <a:pt x="146" y="326"/>
                  </a:lnTo>
                  <a:lnTo>
                    <a:pt x="140" y="324"/>
                  </a:lnTo>
                  <a:lnTo>
                    <a:pt x="136" y="320"/>
                  </a:lnTo>
                  <a:lnTo>
                    <a:pt x="130" y="320"/>
                  </a:lnTo>
                  <a:lnTo>
                    <a:pt x="124" y="318"/>
                  </a:lnTo>
                  <a:lnTo>
                    <a:pt x="120" y="318"/>
                  </a:lnTo>
                  <a:lnTo>
                    <a:pt x="114" y="314"/>
                  </a:lnTo>
                  <a:lnTo>
                    <a:pt x="108" y="312"/>
                  </a:lnTo>
                  <a:lnTo>
                    <a:pt x="102" y="306"/>
                  </a:lnTo>
                  <a:lnTo>
                    <a:pt x="102" y="300"/>
                  </a:lnTo>
                  <a:lnTo>
                    <a:pt x="100" y="298"/>
                  </a:lnTo>
                  <a:lnTo>
                    <a:pt x="94" y="296"/>
                  </a:lnTo>
                  <a:lnTo>
                    <a:pt x="88" y="290"/>
                  </a:lnTo>
                  <a:lnTo>
                    <a:pt x="86" y="290"/>
                  </a:lnTo>
                  <a:lnTo>
                    <a:pt x="80" y="286"/>
                  </a:lnTo>
                  <a:lnTo>
                    <a:pt x="74" y="282"/>
                  </a:lnTo>
                  <a:lnTo>
                    <a:pt x="68" y="278"/>
                  </a:lnTo>
                  <a:lnTo>
                    <a:pt x="62" y="276"/>
                  </a:lnTo>
                  <a:lnTo>
                    <a:pt x="58" y="270"/>
                  </a:lnTo>
                  <a:lnTo>
                    <a:pt x="54" y="264"/>
                  </a:lnTo>
                  <a:lnTo>
                    <a:pt x="46" y="260"/>
                  </a:lnTo>
                  <a:lnTo>
                    <a:pt x="42" y="254"/>
                  </a:lnTo>
                  <a:lnTo>
                    <a:pt x="40" y="248"/>
                  </a:lnTo>
                  <a:lnTo>
                    <a:pt x="34" y="242"/>
                  </a:lnTo>
                  <a:lnTo>
                    <a:pt x="30" y="236"/>
                  </a:lnTo>
                  <a:lnTo>
                    <a:pt x="26" y="232"/>
                  </a:lnTo>
                  <a:lnTo>
                    <a:pt x="24" y="226"/>
                  </a:lnTo>
                  <a:lnTo>
                    <a:pt x="18" y="222"/>
                  </a:lnTo>
                  <a:lnTo>
                    <a:pt x="16" y="220"/>
                  </a:lnTo>
                  <a:lnTo>
                    <a:pt x="10" y="214"/>
                  </a:lnTo>
                  <a:lnTo>
                    <a:pt x="4" y="210"/>
                  </a:lnTo>
                  <a:lnTo>
                    <a:pt x="0" y="20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7" name="Freeform 275"/>
            <p:cNvSpPr>
              <a:spLocks/>
            </p:cNvSpPr>
            <p:nvPr/>
          </p:nvSpPr>
          <p:spPr bwMode="auto">
            <a:xfrm>
              <a:off x="2706688" y="4003675"/>
              <a:ext cx="119062" cy="209550"/>
            </a:xfrm>
            <a:custGeom>
              <a:avLst/>
              <a:gdLst>
                <a:gd name="T0" fmla="*/ 2147483647 w 292"/>
                <a:gd name="T1" fmla="*/ 2147483647 h 508"/>
                <a:gd name="T2" fmla="*/ 2147483647 w 292"/>
                <a:gd name="T3" fmla="*/ 2147483647 h 508"/>
                <a:gd name="T4" fmla="*/ 2147483647 w 292"/>
                <a:gd name="T5" fmla="*/ 2147483647 h 508"/>
                <a:gd name="T6" fmla="*/ 2147483647 w 292"/>
                <a:gd name="T7" fmla="*/ 2147483647 h 508"/>
                <a:gd name="T8" fmla="*/ 2147483647 w 292"/>
                <a:gd name="T9" fmla="*/ 2147483647 h 508"/>
                <a:gd name="T10" fmla="*/ 2147483647 w 292"/>
                <a:gd name="T11" fmla="*/ 2147483647 h 508"/>
                <a:gd name="T12" fmla="*/ 2147483647 w 292"/>
                <a:gd name="T13" fmla="*/ 2147483647 h 508"/>
                <a:gd name="T14" fmla="*/ 2147483647 w 292"/>
                <a:gd name="T15" fmla="*/ 2147483647 h 508"/>
                <a:gd name="T16" fmla="*/ 2147483647 w 292"/>
                <a:gd name="T17" fmla="*/ 2147483647 h 508"/>
                <a:gd name="T18" fmla="*/ 2147483647 w 292"/>
                <a:gd name="T19" fmla="*/ 2147483647 h 508"/>
                <a:gd name="T20" fmla="*/ 2147483647 w 292"/>
                <a:gd name="T21" fmla="*/ 2147483647 h 508"/>
                <a:gd name="T22" fmla="*/ 2147483647 w 292"/>
                <a:gd name="T23" fmla="*/ 2147483647 h 508"/>
                <a:gd name="T24" fmla="*/ 2147483647 w 292"/>
                <a:gd name="T25" fmla="*/ 2147483647 h 508"/>
                <a:gd name="T26" fmla="*/ 2147483647 w 292"/>
                <a:gd name="T27" fmla="*/ 2147483647 h 508"/>
                <a:gd name="T28" fmla="*/ 2147483647 w 292"/>
                <a:gd name="T29" fmla="*/ 2147483647 h 508"/>
                <a:gd name="T30" fmla="*/ 2147483647 w 292"/>
                <a:gd name="T31" fmla="*/ 2147483647 h 508"/>
                <a:gd name="T32" fmla="*/ 2147483647 w 292"/>
                <a:gd name="T33" fmla="*/ 2147483647 h 508"/>
                <a:gd name="T34" fmla="*/ 2147483647 w 292"/>
                <a:gd name="T35" fmla="*/ 2147483647 h 508"/>
                <a:gd name="T36" fmla="*/ 2147483647 w 292"/>
                <a:gd name="T37" fmla="*/ 2147483647 h 508"/>
                <a:gd name="T38" fmla="*/ 2147483647 w 292"/>
                <a:gd name="T39" fmla="*/ 2147483647 h 508"/>
                <a:gd name="T40" fmla="*/ 2147483647 w 292"/>
                <a:gd name="T41" fmla="*/ 2147483647 h 508"/>
                <a:gd name="T42" fmla="*/ 2147483647 w 292"/>
                <a:gd name="T43" fmla="*/ 2147483647 h 508"/>
                <a:gd name="T44" fmla="*/ 2147483647 w 292"/>
                <a:gd name="T45" fmla="*/ 2147483647 h 508"/>
                <a:gd name="T46" fmla="*/ 2147483647 w 292"/>
                <a:gd name="T47" fmla="*/ 2147483647 h 508"/>
                <a:gd name="T48" fmla="*/ 2147483647 w 292"/>
                <a:gd name="T49" fmla="*/ 2147483647 h 508"/>
                <a:gd name="T50" fmla="*/ 2147483647 w 292"/>
                <a:gd name="T51" fmla="*/ 2147483647 h 508"/>
                <a:gd name="T52" fmla="*/ 2147483647 w 292"/>
                <a:gd name="T53" fmla="*/ 2147483647 h 508"/>
                <a:gd name="T54" fmla="*/ 2147483647 w 292"/>
                <a:gd name="T55" fmla="*/ 2147483647 h 508"/>
                <a:gd name="T56" fmla="*/ 2147483647 w 292"/>
                <a:gd name="T57" fmla="*/ 2147483647 h 508"/>
                <a:gd name="T58" fmla="*/ 2147483647 w 292"/>
                <a:gd name="T59" fmla="*/ 2147483647 h 508"/>
                <a:gd name="T60" fmla="*/ 2147483647 w 292"/>
                <a:gd name="T61" fmla="*/ 2147483647 h 508"/>
                <a:gd name="T62" fmla="*/ 2147483647 w 292"/>
                <a:gd name="T63" fmla="*/ 2147483647 h 508"/>
                <a:gd name="T64" fmla="*/ 2147483647 w 292"/>
                <a:gd name="T65" fmla="*/ 2147483647 h 508"/>
                <a:gd name="T66" fmla="*/ 2147483647 w 292"/>
                <a:gd name="T67" fmla="*/ 2147483647 h 508"/>
                <a:gd name="T68" fmla="*/ 2147483647 w 292"/>
                <a:gd name="T69" fmla="*/ 2147483647 h 508"/>
                <a:gd name="T70" fmla="*/ 2147483647 w 292"/>
                <a:gd name="T71" fmla="*/ 2147483647 h 508"/>
                <a:gd name="T72" fmla="*/ 2147483647 w 292"/>
                <a:gd name="T73" fmla="*/ 2147483647 h 508"/>
                <a:gd name="T74" fmla="*/ 2147483647 w 292"/>
                <a:gd name="T75" fmla="*/ 2147483647 h 508"/>
                <a:gd name="T76" fmla="*/ 2147483647 w 292"/>
                <a:gd name="T77" fmla="*/ 2147483647 h 508"/>
                <a:gd name="T78" fmla="*/ 2147483647 w 292"/>
                <a:gd name="T79" fmla="*/ 2147483647 h 508"/>
                <a:gd name="T80" fmla="*/ 2147483647 w 292"/>
                <a:gd name="T81" fmla="*/ 2147483647 h 508"/>
                <a:gd name="T82" fmla="*/ 2147483647 w 292"/>
                <a:gd name="T83" fmla="*/ 2147483647 h 508"/>
                <a:gd name="T84" fmla="*/ 2147483647 w 292"/>
                <a:gd name="T85" fmla="*/ 2147483647 h 508"/>
                <a:gd name="T86" fmla="*/ 2147483647 w 292"/>
                <a:gd name="T87" fmla="*/ 2147483647 h 508"/>
                <a:gd name="T88" fmla="*/ 2147483647 w 292"/>
                <a:gd name="T89" fmla="*/ 2147483647 h 508"/>
                <a:gd name="T90" fmla="*/ 2147483647 w 292"/>
                <a:gd name="T91" fmla="*/ 2147483647 h 508"/>
                <a:gd name="T92" fmla="*/ 2147483647 w 292"/>
                <a:gd name="T93" fmla="*/ 2147483647 h 508"/>
                <a:gd name="T94" fmla="*/ 2147483647 w 292"/>
                <a:gd name="T95" fmla="*/ 2147483647 h 508"/>
                <a:gd name="T96" fmla="*/ 2147483647 w 292"/>
                <a:gd name="T97" fmla="*/ 2147483647 h 508"/>
                <a:gd name="T98" fmla="*/ 2147483647 w 292"/>
                <a:gd name="T99" fmla="*/ 2147483647 h 508"/>
                <a:gd name="T100" fmla="*/ 2147483647 w 292"/>
                <a:gd name="T101" fmla="*/ 2147483647 h 508"/>
                <a:gd name="T102" fmla="*/ 2147483647 w 292"/>
                <a:gd name="T103" fmla="*/ 2147483647 h 508"/>
                <a:gd name="T104" fmla="*/ 2147483647 w 292"/>
                <a:gd name="T105" fmla="*/ 2147483647 h 508"/>
                <a:gd name="T106" fmla="*/ 2147483647 w 292"/>
                <a:gd name="T107" fmla="*/ 2147483647 h 508"/>
                <a:gd name="T108" fmla="*/ 2147483647 w 292"/>
                <a:gd name="T109" fmla="*/ 2147483647 h 508"/>
                <a:gd name="T110" fmla="*/ 0 w 292"/>
                <a:gd name="T111" fmla="*/ 2147483647 h 5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2"/>
                <a:gd name="T169" fmla="*/ 0 h 508"/>
                <a:gd name="T170" fmla="*/ 292 w 292"/>
                <a:gd name="T171" fmla="*/ 508 h 5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2" h="508">
                  <a:moveTo>
                    <a:pt x="0" y="178"/>
                  </a:moveTo>
                  <a:lnTo>
                    <a:pt x="4" y="172"/>
                  </a:lnTo>
                  <a:lnTo>
                    <a:pt x="6" y="170"/>
                  </a:lnTo>
                  <a:lnTo>
                    <a:pt x="12" y="164"/>
                  </a:lnTo>
                  <a:lnTo>
                    <a:pt x="16" y="160"/>
                  </a:lnTo>
                  <a:lnTo>
                    <a:pt x="16" y="154"/>
                  </a:lnTo>
                  <a:lnTo>
                    <a:pt x="16" y="148"/>
                  </a:lnTo>
                  <a:lnTo>
                    <a:pt x="16" y="142"/>
                  </a:lnTo>
                  <a:lnTo>
                    <a:pt x="12" y="136"/>
                  </a:lnTo>
                  <a:lnTo>
                    <a:pt x="14" y="130"/>
                  </a:lnTo>
                  <a:lnTo>
                    <a:pt x="16" y="126"/>
                  </a:lnTo>
                  <a:lnTo>
                    <a:pt x="22" y="124"/>
                  </a:lnTo>
                  <a:lnTo>
                    <a:pt x="28" y="124"/>
                  </a:lnTo>
                  <a:lnTo>
                    <a:pt x="30" y="118"/>
                  </a:lnTo>
                  <a:lnTo>
                    <a:pt x="36" y="120"/>
                  </a:lnTo>
                  <a:lnTo>
                    <a:pt x="42" y="122"/>
                  </a:lnTo>
                  <a:lnTo>
                    <a:pt x="48" y="116"/>
                  </a:lnTo>
                  <a:lnTo>
                    <a:pt x="54" y="114"/>
                  </a:lnTo>
                  <a:lnTo>
                    <a:pt x="60" y="110"/>
                  </a:lnTo>
                  <a:lnTo>
                    <a:pt x="64" y="110"/>
                  </a:lnTo>
                  <a:lnTo>
                    <a:pt x="66" y="104"/>
                  </a:lnTo>
                  <a:lnTo>
                    <a:pt x="70" y="98"/>
                  </a:lnTo>
                  <a:lnTo>
                    <a:pt x="66" y="94"/>
                  </a:lnTo>
                  <a:lnTo>
                    <a:pt x="60" y="92"/>
                  </a:lnTo>
                  <a:lnTo>
                    <a:pt x="54" y="96"/>
                  </a:lnTo>
                  <a:lnTo>
                    <a:pt x="50" y="90"/>
                  </a:lnTo>
                  <a:lnTo>
                    <a:pt x="50" y="84"/>
                  </a:lnTo>
                  <a:lnTo>
                    <a:pt x="50" y="78"/>
                  </a:lnTo>
                  <a:lnTo>
                    <a:pt x="46" y="72"/>
                  </a:lnTo>
                  <a:lnTo>
                    <a:pt x="46" y="66"/>
                  </a:lnTo>
                  <a:lnTo>
                    <a:pt x="52" y="62"/>
                  </a:lnTo>
                  <a:lnTo>
                    <a:pt x="54" y="56"/>
                  </a:lnTo>
                  <a:lnTo>
                    <a:pt x="56" y="50"/>
                  </a:lnTo>
                  <a:lnTo>
                    <a:pt x="62" y="48"/>
                  </a:lnTo>
                  <a:lnTo>
                    <a:pt x="68" y="48"/>
                  </a:lnTo>
                  <a:lnTo>
                    <a:pt x="68" y="46"/>
                  </a:lnTo>
                  <a:lnTo>
                    <a:pt x="74" y="42"/>
                  </a:lnTo>
                  <a:lnTo>
                    <a:pt x="80" y="38"/>
                  </a:lnTo>
                  <a:lnTo>
                    <a:pt x="84" y="34"/>
                  </a:lnTo>
                  <a:lnTo>
                    <a:pt x="90" y="30"/>
                  </a:lnTo>
                  <a:lnTo>
                    <a:pt x="92" y="24"/>
                  </a:lnTo>
                  <a:lnTo>
                    <a:pt x="94" y="22"/>
                  </a:lnTo>
                  <a:lnTo>
                    <a:pt x="100" y="20"/>
                  </a:lnTo>
                  <a:lnTo>
                    <a:pt x="102" y="16"/>
                  </a:lnTo>
                  <a:lnTo>
                    <a:pt x="98" y="10"/>
                  </a:lnTo>
                  <a:lnTo>
                    <a:pt x="94" y="4"/>
                  </a:lnTo>
                  <a:lnTo>
                    <a:pt x="92" y="0"/>
                  </a:lnTo>
                  <a:lnTo>
                    <a:pt x="96" y="4"/>
                  </a:lnTo>
                  <a:lnTo>
                    <a:pt x="100" y="10"/>
                  </a:lnTo>
                  <a:lnTo>
                    <a:pt x="104" y="12"/>
                  </a:lnTo>
                  <a:lnTo>
                    <a:pt x="110" y="16"/>
                  </a:lnTo>
                  <a:lnTo>
                    <a:pt x="116" y="20"/>
                  </a:lnTo>
                  <a:lnTo>
                    <a:pt x="122" y="24"/>
                  </a:lnTo>
                  <a:lnTo>
                    <a:pt x="124" y="26"/>
                  </a:lnTo>
                  <a:lnTo>
                    <a:pt x="120" y="20"/>
                  </a:lnTo>
                  <a:lnTo>
                    <a:pt x="114" y="18"/>
                  </a:lnTo>
                  <a:lnTo>
                    <a:pt x="108" y="14"/>
                  </a:lnTo>
                  <a:lnTo>
                    <a:pt x="104" y="8"/>
                  </a:lnTo>
                  <a:lnTo>
                    <a:pt x="110" y="12"/>
                  </a:lnTo>
                  <a:lnTo>
                    <a:pt x="116" y="16"/>
                  </a:lnTo>
                  <a:lnTo>
                    <a:pt x="122" y="20"/>
                  </a:lnTo>
                  <a:lnTo>
                    <a:pt x="128" y="24"/>
                  </a:lnTo>
                  <a:lnTo>
                    <a:pt x="134" y="28"/>
                  </a:lnTo>
                  <a:lnTo>
                    <a:pt x="140" y="32"/>
                  </a:lnTo>
                  <a:lnTo>
                    <a:pt x="146" y="38"/>
                  </a:lnTo>
                  <a:lnTo>
                    <a:pt x="150" y="42"/>
                  </a:lnTo>
                  <a:lnTo>
                    <a:pt x="156" y="48"/>
                  </a:lnTo>
                  <a:lnTo>
                    <a:pt x="160" y="54"/>
                  </a:lnTo>
                  <a:lnTo>
                    <a:pt x="164" y="58"/>
                  </a:lnTo>
                  <a:lnTo>
                    <a:pt x="166" y="64"/>
                  </a:lnTo>
                  <a:lnTo>
                    <a:pt x="172" y="68"/>
                  </a:lnTo>
                  <a:lnTo>
                    <a:pt x="176" y="74"/>
                  </a:lnTo>
                  <a:lnTo>
                    <a:pt x="180" y="80"/>
                  </a:lnTo>
                  <a:lnTo>
                    <a:pt x="180" y="86"/>
                  </a:lnTo>
                  <a:lnTo>
                    <a:pt x="180" y="92"/>
                  </a:lnTo>
                  <a:lnTo>
                    <a:pt x="180" y="96"/>
                  </a:lnTo>
                  <a:lnTo>
                    <a:pt x="180" y="102"/>
                  </a:lnTo>
                  <a:lnTo>
                    <a:pt x="178" y="106"/>
                  </a:lnTo>
                  <a:lnTo>
                    <a:pt x="174" y="112"/>
                  </a:lnTo>
                  <a:lnTo>
                    <a:pt x="172" y="118"/>
                  </a:lnTo>
                  <a:lnTo>
                    <a:pt x="172" y="124"/>
                  </a:lnTo>
                  <a:lnTo>
                    <a:pt x="170" y="132"/>
                  </a:lnTo>
                  <a:lnTo>
                    <a:pt x="170" y="136"/>
                  </a:lnTo>
                  <a:lnTo>
                    <a:pt x="170" y="140"/>
                  </a:lnTo>
                  <a:lnTo>
                    <a:pt x="166" y="146"/>
                  </a:lnTo>
                  <a:lnTo>
                    <a:pt x="166" y="148"/>
                  </a:lnTo>
                  <a:lnTo>
                    <a:pt x="170" y="146"/>
                  </a:lnTo>
                  <a:lnTo>
                    <a:pt x="172" y="142"/>
                  </a:lnTo>
                  <a:lnTo>
                    <a:pt x="172" y="136"/>
                  </a:lnTo>
                  <a:lnTo>
                    <a:pt x="174" y="130"/>
                  </a:lnTo>
                  <a:lnTo>
                    <a:pt x="176" y="124"/>
                  </a:lnTo>
                  <a:lnTo>
                    <a:pt x="180" y="118"/>
                  </a:lnTo>
                  <a:lnTo>
                    <a:pt x="186" y="114"/>
                  </a:lnTo>
                  <a:lnTo>
                    <a:pt x="192" y="114"/>
                  </a:lnTo>
                  <a:lnTo>
                    <a:pt x="198" y="118"/>
                  </a:lnTo>
                  <a:lnTo>
                    <a:pt x="204" y="118"/>
                  </a:lnTo>
                  <a:lnTo>
                    <a:pt x="210" y="120"/>
                  </a:lnTo>
                  <a:lnTo>
                    <a:pt x="214" y="126"/>
                  </a:lnTo>
                  <a:lnTo>
                    <a:pt x="220" y="132"/>
                  </a:lnTo>
                  <a:lnTo>
                    <a:pt x="224" y="136"/>
                  </a:lnTo>
                  <a:lnTo>
                    <a:pt x="230" y="142"/>
                  </a:lnTo>
                  <a:lnTo>
                    <a:pt x="232" y="148"/>
                  </a:lnTo>
                  <a:lnTo>
                    <a:pt x="236" y="152"/>
                  </a:lnTo>
                  <a:lnTo>
                    <a:pt x="236" y="156"/>
                  </a:lnTo>
                  <a:lnTo>
                    <a:pt x="242" y="152"/>
                  </a:lnTo>
                  <a:lnTo>
                    <a:pt x="248" y="156"/>
                  </a:lnTo>
                  <a:lnTo>
                    <a:pt x="254" y="162"/>
                  </a:lnTo>
                  <a:lnTo>
                    <a:pt x="258" y="168"/>
                  </a:lnTo>
                  <a:lnTo>
                    <a:pt x="258" y="174"/>
                  </a:lnTo>
                  <a:lnTo>
                    <a:pt x="258" y="180"/>
                  </a:lnTo>
                  <a:lnTo>
                    <a:pt x="258" y="186"/>
                  </a:lnTo>
                  <a:lnTo>
                    <a:pt x="256" y="192"/>
                  </a:lnTo>
                  <a:lnTo>
                    <a:pt x="256" y="198"/>
                  </a:lnTo>
                  <a:lnTo>
                    <a:pt x="254" y="204"/>
                  </a:lnTo>
                  <a:lnTo>
                    <a:pt x="250" y="210"/>
                  </a:lnTo>
                  <a:lnTo>
                    <a:pt x="250" y="216"/>
                  </a:lnTo>
                  <a:lnTo>
                    <a:pt x="246" y="222"/>
                  </a:lnTo>
                  <a:lnTo>
                    <a:pt x="252" y="226"/>
                  </a:lnTo>
                  <a:lnTo>
                    <a:pt x="252" y="228"/>
                  </a:lnTo>
                  <a:lnTo>
                    <a:pt x="252" y="232"/>
                  </a:lnTo>
                  <a:lnTo>
                    <a:pt x="246" y="236"/>
                  </a:lnTo>
                  <a:lnTo>
                    <a:pt x="248" y="242"/>
                  </a:lnTo>
                  <a:lnTo>
                    <a:pt x="244" y="242"/>
                  </a:lnTo>
                  <a:lnTo>
                    <a:pt x="238" y="244"/>
                  </a:lnTo>
                  <a:lnTo>
                    <a:pt x="232" y="242"/>
                  </a:lnTo>
                  <a:lnTo>
                    <a:pt x="226" y="244"/>
                  </a:lnTo>
                  <a:lnTo>
                    <a:pt x="220" y="246"/>
                  </a:lnTo>
                  <a:lnTo>
                    <a:pt x="214" y="248"/>
                  </a:lnTo>
                  <a:lnTo>
                    <a:pt x="210" y="254"/>
                  </a:lnTo>
                  <a:lnTo>
                    <a:pt x="210" y="260"/>
                  </a:lnTo>
                  <a:lnTo>
                    <a:pt x="214" y="266"/>
                  </a:lnTo>
                  <a:lnTo>
                    <a:pt x="212" y="272"/>
                  </a:lnTo>
                  <a:lnTo>
                    <a:pt x="210" y="278"/>
                  </a:lnTo>
                  <a:lnTo>
                    <a:pt x="206" y="284"/>
                  </a:lnTo>
                  <a:lnTo>
                    <a:pt x="206" y="290"/>
                  </a:lnTo>
                  <a:lnTo>
                    <a:pt x="202" y="296"/>
                  </a:lnTo>
                  <a:lnTo>
                    <a:pt x="198" y="302"/>
                  </a:lnTo>
                  <a:lnTo>
                    <a:pt x="200" y="308"/>
                  </a:lnTo>
                  <a:lnTo>
                    <a:pt x="200" y="314"/>
                  </a:lnTo>
                  <a:lnTo>
                    <a:pt x="206" y="320"/>
                  </a:lnTo>
                  <a:lnTo>
                    <a:pt x="208" y="326"/>
                  </a:lnTo>
                  <a:lnTo>
                    <a:pt x="210" y="332"/>
                  </a:lnTo>
                  <a:lnTo>
                    <a:pt x="212" y="338"/>
                  </a:lnTo>
                  <a:lnTo>
                    <a:pt x="220" y="342"/>
                  </a:lnTo>
                  <a:lnTo>
                    <a:pt x="222" y="346"/>
                  </a:lnTo>
                  <a:lnTo>
                    <a:pt x="224" y="352"/>
                  </a:lnTo>
                  <a:lnTo>
                    <a:pt x="224" y="358"/>
                  </a:lnTo>
                  <a:lnTo>
                    <a:pt x="226" y="358"/>
                  </a:lnTo>
                  <a:lnTo>
                    <a:pt x="232" y="358"/>
                  </a:lnTo>
                  <a:lnTo>
                    <a:pt x="238" y="356"/>
                  </a:lnTo>
                  <a:lnTo>
                    <a:pt x="244" y="356"/>
                  </a:lnTo>
                  <a:lnTo>
                    <a:pt x="244" y="362"/>
                  </a:lnTo>
                  <a:lnTo>
                    <a:pt x="244" y="368"/>
                  </a:lnTo>
                  <a:lnTo>
                    <a:pt x="246" y="374"/>
                  </a:lnTo>
                  <a:lnTo>
                    <a:pt x="248" y="380"/>
                  </a:lnTo>
                  <a:lnTo>
                    <a:pt x="248" y="386"/>
                  </a:lnTo>
                  <a:lnTo>
                    <a:pt x="248" y="392"/>
                  </a:lnTo>
                  <a:lnTo>
                    <a:pt x="252" y="398"/>
                  </a:lnTo>
                  <a:lnTo>
                    <a:pt x="258" y="404"/>
                  </a:lnTo>
                  <a:lnTo>
                    <a:pt x="260" y="410"/>
                  </a:lnTo>
                  <a:lnTo>
                    <a:pt x="262" y="416"/>
                  </a:lnTo>
                  <a:lnTo>
                    <a:pt x="266" y="422"/>
                  </a:lnTo>
                  <a:lnTo>
                    <a:pt x="268" y="428"/>
                  </a:lnTo>
                  <a:lnTo>
                    <a:pt x="268" y="432"/>
                  </a:lnTo>
                  <a:lnTo>
                    <a:pt x="272" y="436"/>
                  </a:lnTo>
                  <a:lnTo>
                    <a:pt x="276" y="444"/>
                  </a:lnTo>
                  <a:lnTo>
                    <a:pt x="280" y="450"/>
                  </a:lnTo>
                  <a:lnTo>
                    <a:pt x="286" y="450"/>
                  </a:lnTo>
                  <a:lnTo>
                    <a:pt x="292" y="456"/>
                  </a:lnTo>
                  <a:lnTo>
                    <a:pt x="290" y="458"/>
                  </a:lnTo>
                  <a:lnTo>
                    <a:pt x="288" y="458"/>
                  </a:lnTo>
                  <a:lnTo>
                    <a:pt x="282" y="456"/>
                  </a:lnTo>
                  <a:lnTo>
                    <a:pt x="276" y="458"/>
                  </a:lnTo>
                  <a:lnTo>
                    <a:pt x="270" y="460"/>
                  </a:lnTo>
                  <a:lnTo>
                    <a:pt x="266" y="456"/>
                  </a:lnTo>
                  <a:lnTo>
                    <a:pt x="260" y="456"/>
                  </a:lnTo>
                  <a:lnTo>
                    <a:pt x="256" y="450"/>
                  </a:lnTo>
                  <a:lnTo>
                    <a:pt x="250" y="452"/>
                  </a:lnTo>
                  <a:lnTo>
                    <a:pt x="244" y="452"/>
                  </a:lnTo>
                  <a:lnTo>
                    <a:pt x="238" y="456"/>
                  </a:lnTo>
                  <a:lnTo>
                    <a:pt x="234" y="462"/>
                  </a:lnTo>
                  <a:lnTo>
                    <a:pt x="230" y="468"/>
                  </a:lnTo>
                  <a:lnTo>
                    <a:pt x="224" y="472"/>
                  </a:lnTo>
                  <a:lnTo>
                    <a:pt x="218" y="472"/>
                  </a:lnTo>
                  <a:lnTo>
                    <a:pt x="212" y="472"/>
                  </a:lnTo>
                  <a:lnTo>
                    <a:pt x="206" y="474"/>
                  </a:lnTo>
                  <a:lnTo>
                    <a:pt x="200" y="478"/>
                  </a:lnTo>
                  <a:lnTo>
                    <a:pt x="196" y="484"/>
                  </a:lnTo>
                  <a:lnTo>
                    <a:pt x="190" y="482"/>
                  </a:lnTo>
                  <a:lnTo>
                    <a:pt x="184" y="482"/>
                  </a:lnTo>
                  <a:lnTo>
                    <a:pt x="178" y="482"/>
                  </a:lnTo>
                  <a:lnTo>
                    <a:pt x="174" y="488"/>
                  </a:lnTo>
                  <a:lnTo>
                    <a:pt x="168" y="490"/>
                  </a:lnTo>
                  <a:lnTo>
                    <a:pt x="170" y="496"/>
                  </a:lnTo>
                  <a:lnTo>
                    <a:pt x="168" y="502"/>
                  </a:lnTo>
                  <a:lnTo>
                    <a:pt x="160" y="502"/>
                  </a:lnTo>
                  <a:lnTo>
                    <a:pt x="156" y="504"/>
                  </a:lnTo>
                  <a:lnTo>
                    <a:pt x="150" y="508"/>
                  </a:lnTo>
                  <a:lnTo>
                    <a:pt x="144" y="504"/>
                  </a:lnTo>
                  <a:lnTo>
                    <a:pt x="140" y="498"/>
                  </a:lnTo>
                  <a:lnTo>
                    <a:pt x="138" y="498"/>
                  </a:lnTo>
                  <a:lnTo>
                    <a:pt x="132" y="498"/>
                  </a:lnTo>
                  <a:lnTo>
                    <a:pt x="126" y="496"/>
                  </a:lnTo>
                  <a:lnTo>
                    <a:pt x="120" y="492"/>
                  </a:lnTo>
                  <a:lnTo>
                    <a:pt x="118" y="484"/>
                  </a:lnTo>
                  <a:lnTo>
                    <a:pt x="112" y="482"/>
                  </a:lnTo>
                  <a:lnTo>
                    <a:pt x="108" y="476"/>
                  </a:lnTo>
                  <a:lnTo>
                    <a:pt x="102" y="470"/>
                  </a:lnTo>
                  <a:lnTo>
                    <a:pt x="96" y="468"/>
                  </a:lnTo>
                  <a:lnTo>
                    <a:pt x="100" y="462"/>
                  </a:lnTo>
                  <a:lnTo>
                    <a:pt x="98" y="462"/>
                  </a:lnTo>
                  <a:lnTo>
                    <a:pt x="92" y="460"/>
                  </a:lnTo>
                  <a:lnTo>
                    <a:pt x="92" y="454"/>
                  </a:lnTo>
                  <a:lnTo>
                    <a:pt x="94" y="448"/>
                  </a:lnTo>
                  <a:lnTo>
                    <a:pt x="94" y="442"/>
                  </a:lnTo>
                  <a:lnTo>
                    <a:pt x="94" y="436"/>
                  </a:lnTo>
                  <a:lnTo>
                    <a:pt x="90" y="430"/>
                  </a:lnTo>
                  <a:lnTo>
                    <a:pt x="84" y="426"/>
                  </a:lnTo>
                  <a:lnTo>
                    <a:pt x="84" y="420"/>
                  </a:lnTo>
                  <a:lnTo>
                    <a:pt x="82" y="414"/>
                  </a:lnTo>
                  <a:lnTo>
                    <a:pt x="80" y="408"/>
                  </a:lnTo>
                  <a:lnTo>
                    <a:pt x="78" y="402"/>
                  </a:lnTo>
                  <a:lnTo>
                    <a:pt x="80" y="396"/>
                  </a:lnTo>
                  <a:lnTo>
                    <a:pt x="80" y="390"/>
                  </a:lnTo>
                  <a:lnTo>
                    <a:pt x="80" y="384"/>
                  </a:lnTo>
                  <a:lnTo>
                    <a:pt x="82" y="378"/>
                  </a:lnTo>
                  <a:lnTo>
                    <a:pt x="84" y="372"/>
                  </a:lnTo>
                  <a:lnTo>
                    <a:pt x="86" y="366"/>
                  </a:lnTo>
                  <a:lnTo>
                    <a:pt x="88" y="360"/>
                  </a:lnTo>
                  <a:lnTo>
                    <a:pt x="90" y="354"/>
                  </a:lnTo>
                  <a:lnTo>
                    <a:pt x="90" y="348"/>
                  </a:lnTo>
                  <a:lnTo>
                    <a:pt x="88" y="342"/>
                  </a:lnTo>
                  <a:lnTo>
                    <a:pt x="94" y="338"/>
                  </a:lnTo>
                  <a:lnTo>
                    <a:pt x="100" y="334"/>
                  </a:lnTo>
                  <a:lnTo>
                    <a:pt x="100" y="328"/>
                  </a:lnTo>
                  <a:lnTo>
                    <a:pt x="104" y="322"/>
                  </a:lnTo>
                  <a:lnTo>
                    <a:pt x="108" y="316"/>
                  </a:lnTo>
                  <a:lnTo>
                    <a:pt x="104" y="310"/>
                  </a:lnTo>
                  <a:lnTo>
                    <a:pt x="102" y="304"/>
                  </a:lnTo>
                  <a:lnTo>
                    <a:pt x="96" y="298"/>
                  </a:lnTo>
                  <a:lnTo>
                    <a:pt x="96" y="292"/>
                  </a:lnTo>
                  <a:lnTo>
                    <a:pt x="100" y="288"/>
                  </a:lnTo>
                  <a:lnTo>
                    <a:pt x="98" y="284"/>
                  </a:lnTo>
                  <a:lnTo>
                    <a:pt x="92" y="282"/>
                  </a:lnTo>
                  <a:lnTo>
                    <a:pt x="86" y="280"/>
                  </a:lnTo>
                  <a:lnTo>
                    <a:pt x="80" y="278"/>
                  </a:lnTo>
                  <a:lnTo>
                    <a:pt x="78" y="278"/>
                  </a:lnTo>
                  <a:lnTo>
                    <a:pt x="74" y="272"/>
                  </a:lnTo>
                  <a:lnTo>
                    <a:pt x="78" y="266"/>
                  </a:lnTo>
                  <a:lnTo>
                    <a:pt x="80" y="260"/>
                  </a:lnTo>
                  <a:lnTo>
                    <a:pt x="82" y="254"/>
                  </a:lnTo>
                  <a:lnTo>
                    <a:pt x="82" y="250"/>
                  </a:lnTo>
                  <a:lnTo>
                    <a:pt x="82" y="248"/>
                  </a:lnTo>
                  <a:lnTo>
                    <a:pt x="84" y="242"/>
                  </a:lnTo>
                  <a:lnTo>
                    <a:pt x="82" y="236"/>
                  </a:lnTo>
                  <a:lnTo>
                    <a:pt x="78" y="232"/>
                  </a:lnTo>
                  <a:lnTo>
                    <a:pt x="76" y="228"/>
                  </a:lnTo>
                  <a:lnTo>
                    <a:pt x="70" y="224"/>
                  </a:lnTo>
                  <a:lnTo>
                    <a:pt x="64" y="228"/>
                  </a:lnTo>
                  <a:lnTo>
                    <a:pt x="58" y="228"/>
                  </a:lnTo>
                  <a:lnTo>
                    <a:pt x="52" y="230"/>
                  </a:lnTo>
                  <a:lnTo>
                    <a:pt x="46" y="230"/>
                  </a:lnTo>
                  <a:lnTo>
                    <a:pt x="40" y="228"/>
                  </a:lnTo>
                  <a:lnTo>
                    <a:pt x="38" y="230"/>
                  </a:lnTo>
                  <a:lnTo>
                    <a:pt x="32" y="224"/>
                  </a:lnTo>
                  <a:lnTo>
                    <a:pt x="28" y="218"/>
                  </a:lnTo>
                  <a:lnTo>
                    <a:pt x="24" y="212"/>
                  </a:lnTo>
                  <a:lnTo>
                    <a:pt x="20" y="204"/>
                  </a:lnTo>
                  <a:lnTo>
                    <a:pt x="14" y="198"/>
                  </a:lnTo>
                  <a:lnTo>
                    <a:pt x="10" y="192"/>
                  </a:lnTo>
                  <a:lnTo>
                    <a:pt x="4" y="186"/>
                  </a:lnTo>
                  <a:lnTo>
                    <a:pt x="0" y="180"/>
                  </a:lnTo>
                  <a:lnTo>
                    <a:pt x="0" y="17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8" name="Freeform 276"/>
            <p:cNvSpPr>
              <a:spLocks/>
            </p:cNvSpPr>
            <p:nvPr/>
          </p:nvSpPr>
          <p:spPr bwMode="auto">
            <a:xfrm>
              <a:off x="5359400" y="5173663"/>
              <a:ext cx="125413" cy="136525"/>
            </a:xfrm>
            <a:custGeom>
              <a:avLst/>
              <a:gdLst>
                <a:gd name="T0" fmla="*/ 2147483647 w 308"/>
                <a:gd name="T1" fmla="*/ 2147483647 h 334"/>
                <a:gd name="T2" fmla="*/ 2147483647 w 308"/>
                <a:gd name="T3" fmla="*/ 2147483647 h 334"/>
                <a:gd name="T4" fmla="*/ 2147483647 w 308"/>
                <a:gd name="T5" fmla="*/ 2147483647 h 334"/>
                <a:gd name="T6" fmla="*/ 2147483647 w 308"/>
                <a:gd name="T7" fmla="*/ 0 h 334"/>
                <a:gd name="T8" fmla="*/ 2147483647 w 308"/>
                <a:gd name="T9" fmla="*/ 2147483647 h 334"/>
                <a:gd name="T10" fmla="*/ 2147483647 w 308"/>
                <a:gd name="T11" fmla="*/ 2147483647 h 334"/>
                <a:gd name="T12" fmla="*/ 2147483647 w 308"/>
                <a:gd name="T13" fmla="*/ 2147483647 h 334"/>
                <a:gd name="T14" fmla="*/ 2147483647 w 308"/>
                <a:gd name="T15" fmla="*/ 2147483647 h 334"/>
                <a:gd name="T16" fmla="*/ 2147483647 w 308"/>
                <a:gd name="T17" fmla="*/ 2147483647 h 334"/>
                <a:gd name="T18" fmla="*/ 2147483647 w 308"/>
                <a:gd name="T19" fmla="*/ 2147483647 h 334"/>
                <a:gd name="T20" fmla="*/ 2147483647 w 308"/>
                <a:gd name="T21" fmla="*/ 2147483647 h 334"/>
                <a:gd name="T22" fmla="*/ 2147483647 w 308"/>
                <a:gd name="T23" fmla="*/ 2147483647 h 334"/>
                <a:gd name="T24" fmla="*/ 2147483647 w 308"/>
                <a:gd name="T25" fmla="*/ 2147483647 h 334"/>
                <a:gd name="T26" fmla="*/ 2147483647 w 308"/>
                <a:gd name="T27" fmla="*/ 2147483647 h 334"/>
                <a:gd name="T28" fmla="*/ 2147483647 w 308"/>
                <a:gd name="T29" fmla="*/ 2147483647 h 334"/>
                <a:gd name="T30" fmla="*/ 2147483647 w 308"/>
                <a:gd name="T31" fmla="*/ 2147483647 h 334"/>
                <a:gd name="T32" fmla="*/ 2147483647 w 308"/>
                <a:gd name="T33" fmla="*/ 2147483647 h 334"/>
                <a:gd name="T34" fmla="*/ 2147483647 w 308"/>
                <a:gd name="T35" fmla="*/ 2147483647 h 334"/>
                <a:gd name="T36" fmla="*/ 2147483647 w 308"/>
                <a:gd name="T37" fmla="*/ 2147483647 h 334"/>
                <a:gd name="T38" fmla="*/ 2147483647 w 308"/>
                <a:gd name="T39" fmla="*/ 2147483647 h 334"/>
                <a:gd name="T40" fmla="*/ 2147483647 w 308"/>
                <a:gd name="T41" fmla="*/ 2147483647 h 334"/>
                <a:gd name="T42" fmla="*/ 2147483647 w 308"/>
                <a:gd name="T43" fmla="*/ 2147483647 h 334"/>
                <a:gd name="T44" fmla="*/ 2147483647 w 308"/>
                <a:gd name="T45" fmla="*/ 2147483647 h 334"/>
                <a:gd name="T46" fmla="*/ 2147483647 w 308"/>
                <a:gd name="T47" fmla="*/ 2147483647 h 334"/>
                <a:gd name="T48" fmla="*/ 2147483647 w 308"/>
                <a:gd name="T49" fmla="*/ 2147483647 h 334"/>
                <a:gd name="T50" fmla="*/ 2147483647 w 308"/>
                <a:gd name="T51" fmla="*/ 2147483647 h 334"/>
                <a:gd name="T52" fmla="*/ 2147483647 w 308"/>
                <a:gd name="T53" fmla="*/ 2147483647 h 334"/>
                <a:gd name="T54" fmla="*/ 2147483647 w 308"/>
                <a:gd name="T55" fmla="*/ 2147483647 h 334"/>
                <a:gd name="T56" fmla="*/ 2147483647 w 308"/>
                <a:gd name="T57" fmla="*/ 2147483647 h 334"/>
                <a:gd name="T58" fmla="*/ 2147483647 w 308"/>
                <a:gd name="T59" fmla="*/ 2147483647 h 334"/>
                <a:gd name="T60" fmla="*/ 2147483647 w 308"/>
                <a:gd name="T61" fmla="*/ 2147483647 h 334"/>
                <a:gd name="T62" fmla="*/ 2147483647 w 308"/>
                <a:gd name="T63" fmla="*/ 2147483647 h 334"/>
                <a:gd name="T64" fmla="*/ 2147483647 w 308"/>
                <a:gd name="T65" fmla="*/ 2147483647 h 334"/>
                <a:gd name="T66" fmla="*/ 2147483647 w 308"/>
                <a:gd name="T67" fmla="*/ 2147483647 h 334"/>
                <a:gd name="T68" fmla="*/ 2147483647 w 308"/>
                <a:gd name="T69" fmla="*/ 2147483647 h 334"/>
                <a:gd name="T70" fmla="*/ 2147483647 w 308"/>
                <a:gd name="T71" fmla="*/ 2147483647 h 334"/>
                <a:gd name="T72" fmla="*/ 2147483647 w 308"/>
                <a:gd name="T73" fmla="*/ 2147483647 h 334"/>
                <a:gd name="T74" fmla="*/ 2147483647 w 308"/>
                <a:gd name="T75" fmla="*/ 2147483647 h 334"/>
                <a:gd name="T76" fmla="*/ 2147483647 w 308"/>
                <a:gd name="T77" fmla="*/ 2147483647 h 334"/>
                <a:gd name="T78" fmla="*/ 2147483647 w 308"/>
                <a:gd name="T79" fmla="*/ 2147483647 h 334"/>
                <a:gd name="T80" fmla="*/ 2147483647 w 308"/>
                <a:gd name="T81" fmla="*/ 2147483647 h 334"/>
                <a:gd name="T82" fmla="*/ 2147483647 w 308"/>
                <a:gd name="T83" fmla="*/ 2147483647 h 334"/>
                <a:gd name="T84" fmla="*/ 2147483647 w 308"/>
                <a:gd name="T85" fmla="*/ 2147483647 h 334"/>
                <a:gd name="T86" fmla="*/ 2147483647 w 308"/>
                <a:gd name="T87" fmla="*/ 2147483647 h 334"/>
                <a:gd name="T88" fmla="*/ 2147483647 w 308"/>
                <a:gd name="T89" fmla="*/ 2147483647 h 334"/>
                <a:gd name="T90" fmla="*/ 2147483647 w 308"/>
                <a:gd name="T91" fmla="*/ 2147483647 h 334"/>
                <a:gd name="T92" fmla="*/ 2147483647 w 308"/>
                <a:gd name="T93" fmla="*/ 2147483647 h 334"/>
                <a:gd name="T94" fmla="*/ 0 w 308"/>
                <a:gd name="T95" fmla="*/ 2147483647 h 33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08"/>
                <a:gd name="T145" fmla="*/ 0 h 334"/>
                <a:gd name="T146" fmla="*/ 308 w 308"/>
                <a:gd name="T147" fmla="*/ 334 h 33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08" h="334">
                  <a:moveTo>
                    <a:pt x="0" y="30"/>
                  </a:moveTo>
                  <a:lnTo>
                    <a:pt x="0" y="28"/>
                  </a:lnTo>
                  <a:lnTo>
                    <a:pt x="6" y="24"/>
                  </a:lnTo>
                  <a:lnTo>
                    <a:pt x="10" y="18"/>
                  </a:lnTo>
                  <a:lnTo>
                    <a:pt x="12" y="10"/>
                  </a:lnTo>
                  <a:lnTo>
                    <a:pt x="10" y="6"/>
                  </a:lnTo>
                  <a:lnTo>
                    <a:pt x="12" y="6"/>
                  </a:lnTo>
                  <a:lnTo>
                    <a:pt x="14" y="8"/>
                  </a:lnTo>
                  <a:lnTo>
                    <a:pt x="18" y="12"/>
                  </a:lnTo>
                  <a:lnTo>
                    <a:pt x="26" y="12"/>
                  </a:lnTo>
                  <a:lnTo>
                    <a:pt x="32" y="12"/>
                  </a:lnTo>
                  <a:lnTo>
                    <a:pt x="38" y="12"/>
                  </a:lnTo>
                  <a:lnTo>
                    <a:pt x="40" y="6"/>
                  </a:lnTo>
                  <a:lnTo>
                    <a:pt x="44" y="0"/>
                  </a:lnTo>
                  <a:lnTo>
                    <a:pt x="50" y="0"/>
                  </a:lnTo>
                  <a:lnTo>
                    <a:pt x="56" y="0"/>
                  </a:lnTo>
                  <a:lnTo>
                    <a:pt x="64" y="4"/>
                  </a:lnTo>
                  <a:lnTo>
                    <a:pt x="70" y="8"/>
                  </a:lnTo>
                  <a:lnTo>
                    <a:pt x="74" y="14"/>
                  </a:lnTo>
                  <a:lnTo>
                    <a:pt x="82" y="20"/>
                  </a:lnTo>
                  <a:lnTo>
                    <a:pt x="86" y="22"/>
                  </a:lnTo>
                  <a:lnTo>
                    <a:pt x="92" y="28"/>
                  </a:lnTo>
                  <a:lnTo>
                    <a:pt x="98" y="32"/>
                  </a:lnTo>
                  <a:lnTo>
                    <a:pt x="104" y="38"/>
                  </a:lnTo>
                  <a:lnTo>
                    <a:pt x="108" y="44"/>
                  </a:lnTo>
                  <a:lnTo>
                    <a:pt x="114" y="48"/>
                  </a:lnTo>
                  <a:lnTo>
                    <a:pt x="116" y="54"/>
                  </a:lnTo>
                  <a:lnTo>
                    <a:pt x="116" y="60"/>
                  </a:lnTo>
                  <a:lnTo>
                    <a:pt x="116" y="66"/>
                  </a:lnTo>
                  <a:lnTo>
                    <a:pt x="120" y="66"/>
                  </a:lnTo>
                  <a:lnTo>
                    <a:pt x="124" y="66"/>
                  </a:lnTo>
                  <a:lnTo>
                    <a:pt x="130" y="62"/>
                  </a:lnTo>
                  <a:lnTo>
                    <a:pt x="138" y="58"/>
                  </a:lnTo>
                  <a:lnTo>
                    <a:pt x="136" y="52"/>
                  </a:lnTo>
                  <a:lnTo>
                    <a:pt x="142" y="54"/>
                  </a:lnTo>
                  <a:lnTo>
                    <a:pt x="146" y="56"/>
                  </a:lnTo>
                  <a:lnTo>
                    <a:pt x="152" y="62"/>
                  </a:lnTo>
                  <a:lnTo>
                    <a:pt x="158" y="68"/>
                  </a:lnTo>
                  <a:lnTo>
                    <a:pt x="162" y="74"/>
                  </a:lnTo>
                  <a:lnTo>
                    <a:pt x="168" y="80"/>
                  </a:lnTo>
                  <a:lnTo>
                    <a:pt x="172" y="84"/>
                  </a:lnTo>
                  <a:lnTo>
                    <a:pt x="178" y="82"/>
                  </a:lnTo>
                  <a:lnTo>
                    <a:pt x="184" y="88"/>
                  </a:lnTo>
                  <a:lnTo>
                    <a:pt x="190" y="92"/>
                  </a:lnTo>
                  <a:lnTo>
                    <a:pt x="196" y="92"/>
                  </a:lnTo>
                  <a:lnTo>
                    <a:pt x="202" y="94"/>
                  </a:lnTo>
                  <a:lnTo>
                    <a:pt x="208" y="98"/>
                  </a:lnTo>
                  <a:lnTo>
                    <a:pt x="214" y="102"/>
                  </a:lnTo>
                  <a:lnTo>
                    <a:pt x="216" y="108"/>
                  </a:lnTo>
                  <a:lnTo>
                    <a:pt x="220" y="110"/>
                  </a:lnTo>
                  <a:lnTo>
                    <a:pt x="226" y="116"/>
                  </a:lnTo>
                  <a:lnTo>
                    <a:pt x="232" y="120"/>
                  </a:lnTo>
                  <a:lnTo>
                    <a:pt x="238" y="126"/>
                  </a:lnTo>
                  <a:lnTo>
                    <a:pt x="244" y="124"/>
                  </a:lnTo>
                  <a:lnTo>
                    <a:pt x="250" y="126"/>
                  </a:lnTo>
                  <a:lnTo>
                    <a:pt x="256" y="132"/>
                  </a:lnTo>
                  <a:lnTo>
                    <a:pt x="262" y="136"/>
                  </a:lnTo>
                  <a:lnTo>
                    <a:pt x="266" y="142"/>
                  </a:lnTo>
                  <a:lnTo>
                    <a:pt x="272" y="150"/>
                  </a:lnTo>
                  <a:lnTo>
                    <a:pt x="272" y="154"/>
                  </a:lnTo>
                  <a:lnTo>
                    <a:pt x="278" y="162"/>
                  </a:lnTo>
                  <a:lnTo>
                    <a:pt x="284" y="166"/>
                  </a:lnTo>
                  <a:lnTo>
                    <a:pt x="290" y="170"/>
                  </a:lnTo>
                  <a:lnTo>
                    <a:pt x="292" y="170"/>
                  </a:lnTo>
                  <a:lnTo>
                    <a:pt x="298" y="172"/>
                  </a:lnTo>
                  <a:lnTo>
                    <a:pt x="304" y="176"/>
                  </a:lnTo>
                  <a:lnTo>
                    <a:pt x="308" y="182"/>
                  </a:lnTo>
                  <a:lnTo>
                    <a:pt x="304" y="188"/>
                  </a:lnTo>
                  <a:lnTo>
                    <a:pt x="300" y="194"/>
                  </a:lnTo>
                  <a:lnTo>
                    <a:pt x="298" y="200"/>
                  </a:lnTo>
                  <a:lnTo>
                    <a:pt x="292" y="204"/>
                  </a:lnTo>
                  <a:lnTo>
                    <a:pt x="290" y="210"/>
                  </a:lnTo>
                  <a:lnTo>
                    <a:pt x="290" y="216"/>
                  </a:lnTo>
                  <a:lnTo>
                    <a:pt x="294" y="222"/>
                  </a:lnTo>
                  <a:lnTo>
                    <a:pt x="294" y="228"/>
                  </a:lnTo>
                  <a:lnTo>
                    <a:pt x="296" y="236"/>
                  </a:lnTo>
                  <a:lnTo>
                    <a:pt x="296" y="242"/>
                  </a:lnTo>
                  <a:lnTo>
                    <a:pt x="296" y="246"/>
                  </a:lnTo>
                  <a:lnTo>
                    <a:pt x="302" y="248"/>
                  </a:lnTo>
                  <a:lnTo>
                    <a:pt x="306" y="252"/>
                  </a:lnTo>
                  <a:lnTo>
                    <a:pt x="304" y="256"/>
                  </a:lnTo>
                  <a:lnTo>
                    <a:pt x="302" y="262"/>
                  </a:lnTo>
                  <a:lnTo>
                    <a:pt x="302" y="268"/>
                  </a:lnTo>
                  <a:lnTo>
                    <a:pt x="302" y="274"/>
                  </a:lnTo>
                  <a:lnTo>
                    <a:pt x="298" y="280"/>
                  </a:lnTo>
                  <a:lnTo>
                    <a:pt x="294" y="286"/>
                  </a:lnTo>
                  <a:lnTo>
                    <a:pt x="292" y="290"/>
                  </a:lnTo>
                  <a:lnTo>
                    <a:pt x="292" y="298"/>
                  </a:lnTo>
                  <a:lnTo>
                    <a:pt x="286" y="300"/>
                  </a:lnTo>
                  <a:lnTo>
                    <a:pt x="282" y="306"/>
                  </a:lnTo>
                  <a:lnTo>
                    <a:pt x="276" y="312"/>
                  </a:lnTo>
                  <a:lnTo>
                    <a:pt x="270" y="316"/>
                  </a:lnTo>
                  <a:lnTo>
                    <a:pt x="264" y="312"/>
                  </a:lnTo>
                  <a:lnTo>
                    <a:pt x="268" y="318"/>
                  </a:lnTo>
                  <a:lnTo>
                    <a:pt x="262" y="322"/>
                  </a:lnTo>
                  <a:lnTo>
                    <a:pt x="256" y="324"/>
                  </a:lnTo>
                  <a:lnTo>
                    <a:pt x="254" y="326"/>
                  </a:lnTo>
                  <a:lnTo>
                    <a:pt x="248" y="328"/>
                  </a:lnTo>
                  <a:lnTo>
                    <a:pt x="242" y="332"/>
                  </a:lnTo>
                  <a:lnTo>
                    <a:pt x="236" y="334"/>
                  </a:lnTo>
                  <a:lnTo>
                    <a:pt x="230" y="332"/>
                  </a:lnTo>
                  <a:lnTo>
                    <a:pt x="224" y="330"/>
                  </a:lnTo>
                  <a:lnTo>
                    <a:pt x="218" y="332"/>
                  </a:lnTo>
                  <a:lnTo>
                    <a:pt x="214" y="330"/>
                  </a:lnTo>
                  <a:lnTo>
                    <a:pt x="206" y="324"/>
                  </a:lnTo>
                  <a:lnTo>
                    <a:pt x="200" y="324"/>
                  </a:lnTo>
                  <a:lnTo>
                    <a:pt x="194" y="324"/>
                  </a:lnTo>
                  <a:lnTo>
                    <a:pt x="188" y="324"/>
                  </a:lnTo>
                  <a:lnTo>
                    <a:pt x="182" y="324"/>
                  </a:lnTo>
                  <a:lnTo>
                    <a:pt x="176" y="326"/>
                  </a:lnTo>
                  <a:lnTo>
                    <a:pt x="170" y="330"/>
                  </a:lnTo>
                  <a:lnTo>
                    <a:pt x="170" y="332"/>
                  </a:lnTo>
                  <a:lnTo>
                    <a:pt x="164" y="334"/>
                  </a:lnTo>
                  <a:lnTo>
                    <a:pt x="158" y="332"/>
                  </a:lnTo>
                  <a:lnTo>
                    <a:pt x="152" y="330"/>
                  </a:lnTo>
                  <a:lnTo>
                    <a:pt x="150" y="324"/>
                  </a:lnTo>
                  <a:lnTo>
                    <a:pt x="146" y="324"/>
                  </a:lnTo>
                  <a:lnTo>
                    <a:pt x="140" y="322"/>
                  </a:lnTo>
                  <a:lnTo>
                    <a:pt x="134" y="320"/>
                  </a:lnTo>
                  <a:lnTo>
                    <a:pt x="128" y="318"/>
                  </a:lnTo>
                  <a:lnTo>
                    <a:pt x="120" y="316"/>
                  </a:lnTo>
                  <a:lnTo>
                    <a:pt x="116" y="312"/>
                  </a:lnTo>
                  <a:lnTo>
                    <a:pt x="110" y="308"/>
                  </a:lnTo>
                  <a:lnTo>
                    <a:pt x="104" y="304"/>
                  </a:lnTo>
                  <a:lnTo>
                    <a:pt x="98" y="300"/>
                  </a:lnTo>
                  <a:lnTo>
                    <a:pt x="96" y="300"/>
                  </a:lnTo>
                  <a:lnTo>
                    <a:pt x="88" y="300"/>
                  </a:lnTo>
                  <a:lnTo>
                    <a:pt x="82" y="300"/>
                  </a:lnTo>
                  <a:lnTo>
                    <a:pt x="78" y="302"/>
                  </a:lnTo>
                  <a:lnTo>
                    <a:pt x="70" y="300"/>
                  </a:lnTo>
                  <a:lnTo>
                    <a:pt x="66" y="302"/>
                  </a:lnTo>
                  <a:lnTo>
                    <a:pt x="60" y="304"/>
                  </a:lnTo>
                  <a:lnTo>
                    <a:pt x="58" y="302"/>
                  </a:lnTo>
                  <a:lnTo>
                    <a:pt x="56" y="298"/>
                  </a:lnTo>
                  <a:lnTo>
                    <a:pt x="50" y="292"/>
                  </a:lnTo>
                  <a:lnTo>
                    <a:pt x="44" y="286"/>
                  </a:lnTo>
                  <a:lnTo>
                    <a:pt x="38" y="282"/>
                  </a:lnTo>
                  <a:lnTo>
                    <a:pt x="32" y="278"/>
                  </a:lnTo>
                  <a:lnTo>
                    <a:pt x="28" y="272"/>
                  </a:lnTo>
                  <a:lnTo>
                    <a:pt x="22" y="266"/>
                  </a:lnTo>
                  <a:lnTo>
                    <a:pt x="16" y="260"/>
                  </a:lnTo>
                  <a:lnTo>
                    <a:pt x="14" y="252"/>
                  </a:lnTo>
                  <a:lnTo>
                    <a:pt x="12" y="248"/>
                  </a:lnTo>
                  <a:lnTo>
                    <a:pt x="12" y="242"/>
                  </a:lnTo>
                  <a:lnTo>
                    <a:pt x="10" y="236"/>
                  </a:lnTo>
                  <a:lnTo>
                    <a:pt x="12" y="230"/>
                  </a:lnTo>
                  <a:lnTo>
                    <a:pt x="10" y="226"/>
                  </a:lnTo>
                  <a:lnTo>
                    <a:pt x="12" y="220"/>
                  </a:lnTo>
                  <a:lnTo>
                    <a:pt x="10" y="214"/>
                  </a:lnTo>
                  <a:lnTo>
                    <a:pt x="8" y="210"/>
                  </a:lnTo>
                  <a:lnTo>
                    <a:pt x="14" y="208"/>
                  </a:lnTo>
                  <a:lnTo>
                    <a:pt x="20" y="206"/>
                  </a:lnTo>
                  <a:lnTo>
                    <a:pt x="24" y="202"/>
                  </a:lnTo>
                  <a:lnTo>
                    <a:pt x="24" y="194"/>
                  </a:lnTo>
                  <a:lnTo>
                    <a:pt x="20" y="188"/>
                  </a:lnTo>
                  <a:lnTo>
                    <a:pt x="16" y="182"/>
                  </a:lnTo>
                  <a:lnTo>
                    <a:pt x="14" y="176"/>
                  </a:lnTo>
                  <a:lnTo>
                    <a:pt x="12" y="172"/>
                  </a:lnTo>
                  <a:lnTo>
                    <a:pt x="10" y="164"/>
                  </a:lnTo>
                  <a:lnTo>
                    <a:pt x="8" y="162"/>
                  </a:lnTo>
                  <a:lnTo>
                    <a:pt x="8" y="160"/>
                  </a:lnTo>
                  <a:lnTo>
                    <a:pt x="12" y="154"/>
                  </a:lnTo>
                  <a:lnTo>
                    <a:pt x="10" y="148"/>
                  </a:lnTo>
                  <a:lnTo>
                    <a:pt x="8" y="146"/>
                  </a:lnTo>
                  <a:lnTo>
                    <a:pt x="6" y="144"/>
                  </a:lnTo>
                  <a:lnTo>
                    <a:pt x="6" y="138"/>
                  </a:lnTo>
                  <a:lnTo>
                    <a:pt x="4" y="132"/>
                  </a:lnTo>
                  <a:lnTo>
                    <a:pt x="2" y="126"/>
                  </a:lnTo>
                  <a:lnTo>
                    <a:pt x="2" y="120"/>
                  </a:lnTo>
                  <a:lnTo>
                    <a:pt x="8" y="114"/>
                  </a:lnTo>
                  <a:lnTo>
                    <a:pt x="8" y="108"/>
                  </a:lnTo>
                  <a:lnTo>
                    <a:pt x="10" y="102"/>
                  </a:lnTo>
                  <a:lnTo>
                    <a:pt x="4" y="96"/>
                  </a:lnTo>
                  <a:lnTo>
                    <a:pt x="2" y="96"/>
                  </a:lnTo>
                  <a:lnTo>
                    <a:pt x="6" y="90"/>
                  </a:lnTo>
                  <a:lnTo>
                    <a:pt x="6" y="88"/>
                  </a:lnTo>
                  <a:lnTo>
                    <a:pt x="8" y="82"/>
                  </a:lnTo>
                  <a:lnTo>
                    <a:pt x="8" y="76"/>
                  </a:lnTo>
                  <a:lnTo>
                    <a:pt x="8" y="70"/>
                  </a:lnTo>
                  <a:lnTo>
                    <a:pt x="6" y="64"/>
                  </a:lnTo>
                  <a:lnTo>
                    <a:pt x="4" y="58"/>
                  </a:lnTo>
                  <a:lnTo>
                    <a:pt x="10" y="54"/>
                  </a:lnTo>
                  <a:lnTo>
                    <a:pt x="8" y="48"/>
                  </a:lnTo>
                  <a:lnTo>
                    <a:pt x="8" y="44"/>
                  </a:lnTo>
                  <a:lnTo>
                    <a:pt x="6" y="42"/>
                  </a:lnTo>
                  <a:lnTo>
                    <a:pt x="2" y="36"/>
                  </a:lnTo>
                  <a:lnTo>
                    <a:pt x="0" y="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59" name="Freeform 277"/>
            <p:cNvSpPr>
              <a:spLocks/>
            </p:cNvSpPr>
            <p:nvPr/>
          </p:nvSpPr>
          <p:spPr bwMode="auto">
            <a:xfrm>
              <a:off x="2030413" y="3790950"/>
              <a:ext cx="155575" cy="85725"/>
            </a:xfrm>
            <a:custGeom>
              <a:avLst/>
              <a:gdLst>
                <a:gd name="T0" fmla="*/ 2147483647 w 380"/>
                <a:gd name="T1" fmla="*/ 2147483647 h 208"/>
                <a:gd name="T2" fmla="*/ 2147483647 w 380"/>
                <a:gd name="T3" fmla="*/ 2147483647 h 208"/>
                <a:gd name="T4" fmla="*/ 2147483647 w 380"/>
                <a:gd name="T5" fmla="*/ 2147483647 h 208"/>
                <a:gd name="T6" fmla="*/ 2147483647 w 380"/>
                <a:gd name="T7" fmla="*/ 2147483647 h 208"/>
                <a:gd name="T8" fmla="*/ 2147483647 w 380"/>
                <a:gd name="T9" fmla="*/ 2147483647 h 208"/>
                <a:gd name="T10" fmla="*/ 2147483647 w 380"/>
                <a:gd name="T11" fmla="*/ 2147483647 h 208"/>
                <a:gd name="T12" fmla="*/ 2147483647 w 380"/>
                <a:gd name="T13" fmla="*/ 2147483647 h 208"/>
                <a:gd name="T14" fmla="*/ 2147483647 w 380"/>
                <a:gd name="T15" fmla="*/ 2147483647 h 208"/>
                <a:gd name="T16" fmla="*/ 2147483647 w 380"/>
                <a:gd name="T17" fmla="*/ 2147483647 h 208"/>
                <a:gd name="T18" fmla="*/ 2147483647 w 380"/>
                <a:gd name="T19" fmla="*/ 2147483647 h 208"/>
                <a:gd name="T20" fmla="*/ 2147483647 w 380"/>
                <a:gd name="T21" fmla="*/ 2147483647 h 208"/>
                <a:gd name="T22" fmla="*/ 2147483647 w 380"/>
                <a:gd name="T23" fmla="*/ 2147483647 h 208"/>
                <a:gd name="T24" fmla="*/ 2147483647 w 380"/>
                <a:gd name="T25" fmla="*/ 2147483647 h 208"/>
                <a:gd name="T26" fmla="*/ 2147483647 w 380"/>
                <a:gd name="T27" fmla="*/ 0 h 208"/>
                <a:gd name="T28" fmla="*/ 2147483647 w 380"/>
                <a:gd name="T29" fmla="*/ 2147483647 h 208"/>
                <a:gd name="T30" fmla="*/ 2147483647 w 380"/>
                <a:gd name="T31" fmla="*/ 2147483647 h 208"/>
                <a:gd name="T32" fmla="*/ 2147483647 w 380"/>
                <a:gd name="T33" fmla="*/ 2147483647 h 208"/>
                <a:gd name="T34" fmla="*/ 2147483647 w 380"/>
                <a:gd name="T35" fmla="*/ 2147483647 h 208"/>
                <a:gd name="T36" fmla="*/ 2147483647 w 380"/>
                <a:gd name="T37" fmla="*/ 2147483647 h 208"/>
                <a:gd name="T38" fmla="*/ 2147483647 w 380"/>
                <a:gd name="T39" fmla="*/ 2147483647 h 208"/>
                <a:gd name="T40" fmla="*/ 2147483647 w 380"/>
                <a:gd name="T41" fmla="*/ 2147483647 h 208"/>
                <a:gd name="T42" fmla="*/ 2147483647 w 380"/>
                <a:gd name="T43" fmla="*/ 2147483647 h 208"/>
                <a:gd name="T44" fmla="*/ 2147483647 w 380"/>
                <a:gd name="T45" fmla="*/ 2147483647 h 208"/>
                <a:gd name="T46" fmla="*/ 2147483647 w 380"/>
                <a:gd name="T47" fmla="*/ 2147483647 h 208"/>
                <a:gd name="T48" fmla="*/ 2147483647 w 380"/>
                <a:gd name="T49" fmla="*/ 2147483647 h 208"/>
                <a:gd name="T50" fmla="*/ 2147483647 w 380"/>
                <a:gd name="T51" fmla="*/ 2147483647 h 208"/>
                <a:gd name="T52" fmla="*/ 2147483647 w 380"/>
                <a:gd name="T53" fmla="*/ 2147483647 h 208"/>
                <a:gd name="T54" fmla="*/ 2147483647 w 380"/>
                <a:gd name="T55" fmla="*/ 2147483647 h 208"/>
                <a:gd name="T56" fmla="*/ 2147483647 w 380"/>
                <a:gd name="T57" fmla="*/ 2147483647 h 208"/>
                <a:gd name="T58" fmla="*/ 2147483647 w 380"/>
                <a:gd name="T59" fmla="*/ 2147483647 h 208"/>
                <a:gd name="T60" fmla="*/ 2147483647 w 380"/>
                <a:gd name="T61" fmla="*/ 2147483647 h 208"/>
                <a:gd name="T62" fmla="*/ 2147483647 w 380"/>
                <a:gd name="T63" fmla="*/ 2147483647 h 208"/>
                <a:gd name="T64" fmla="*/ 2147483647 w 380"/>
                <a:gd name="T65" fmla="*/ 2147483647 h 208"/>
                <a:gd name="T66" fmla="*/ 2147483647 w 380"/>
                <a:gd name="T67" fmla="*/ 2147483647 h 208"/>
                <a:gd name="T68" fmla="*/ 2147483647 w 380"/>
                <a:gd name="T69" fmla="*/ 2147483647 h 208"/>
                <a:gd name="T70" fmla="*/ 2147483647 w 380"/>
                <a:gd name="T71" fmla="*/ 2147483647 h 208"/>
                <a:gd name="T72" fmla="*/ 2147483647 w 380"/>
                <a:gd name="T73" fmla="*/ 2147483647 h 208"/>
                <a:gd name="T74" fmla="*/ 2147483647 w 380"/>
                <a:gd name="T75" fmla="*/ 2147483647 h 208"/>
                <a:gd name="T76" fmla="*/ 2147483647 w 380"/>
                <a:gd name="T77" fmla="*/ 2147483647 h 208"/>
                <a:gd name="T78" fmla="*/ 2147483647 w 380"/>
                <a:gd name="T79" fmla="*/ 2147483647 h 208"/>
                <a:gd name="T80" fmla="*/ 2147483647 w 380"/>
                <a:gd name="T81" fmla="*/ 2147483647 h 208"/>
                <a:gd name="T82" fmla="*/ 2147483647 w 380"/>
                <a:gd name="T83" fmla="*/ 2147483647 h 208"/>
                <a:gd name="T84" fmla="*/ 2147483647 w 380"/>
                <a:gd name="T85" fmla="*/ 2147483647 h 208"/>
                <a:gd name="T86" fmla="*/ 2147483647 w 380"/>
                <a:gd name="T87" fmla="*/ 2147483647 h 208"/>
                <a:gd name="T88" fmla="*/ 2147483647 w 380"/>
                <a:gd name="T89" fmla="*/ 2147483647 h 208"/>
                <a:gd name="T90" fmla="*/ 2147483647 w 380"/>
                <a:gd name="T91" fmla="*/ 2147483647 h 208"/>
                <a:gd name="T92" fmla="*/ 2147483647 w 380"/>
                <a:gd name="T93" fmla="*/ 2147483647 h 208"/>
                <a:gd name="T94" fmla="*/ 2147483647 w 380"/>
                <a:gd name="T95" fmla="*/ 2147483647 h 208"/>
                <a:gd name="T96" fmla="*/ 2147483647 w 380"/>
                <a:gd name="T97" fmla="*/ 2147483647 h 208"/>
                <a:gd name="T98" fmla="*/ 2147483647 w 380"/>
                <a:gd name="T99" fmla="*/ 2147483647 h 208"/>
                <a:gd name="T100" fmla="*/ 2147483647 w 380"/>
                <a:gd name="T101" fmla="*/ 2147483647 h 208"/>
                <a:gd name="T102" fmla="*/ 2147483647 w 380"/>
                <a:gd name="T103" fmla="*/ 2147483647 h 208"/>
                <a:gd name="T104" fmla="*/ 2147483647 w 380"/>
                <a:gd name="T105" fmla="*/ 2147483647 h 208"/>
                <a:gd name="T106" fmla="*/ 2147483647 w 380"/>
                <a:gd name="T107" fmla="*/ 2147483647 h 208"/>
                <a:gd name="T108" fmla="*/ 2147483647 w 380"/>
                <a:gd name="T109" fmla="*/ 2147483647 h 208"/>
                <a:gd name="T110" fmla="*/ 2147483647 w 380"/>
                <a:gd name="T111" fmla="*/ 2147483647 h 208"/>
                <a:gd name="T112" fmla="*/ 2147483647 w 380"/>
                <a:gd name="T113" fmla="*/ 2147483647 h 208"/>
                <a:gd name="T114" fmla="*/ 2147483647 w 380"/>
                <a:gd name="T115" fmla="*/ 2147483647 h 208"/>
                <a:gd name="T116" fmla="*/ 2147483647 w 380"/>
                <a:gd name="T117" fmla="*/ 2147483647 h 20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80"/>
                <a:gd name="T178" fmla="*/ 0 h 208"/>
                <a:gd name="T179" fmla="*/ 380 w 380"/>
                <a:gd name="T180" fmla="*/ 208 h 20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80" h="208">
                  <a:moveTo>
                    <a:pt x="0" y="108"/>
                  </a:moveTo>
                  <a:lnTo>
                    <a:pt x="0" y="108"/>
                  </a:lnTo>
                  <a:lnTo>
                    <a:pt x="4" y="102"/>
                  </a:lnTo>
                  <a:lnTo>
                    <a:pt x="6" y="100"/>
                  </a:lnTo>
                  <a:lnTo>
                    <a:pt x="8" y="98"/>
                  </a:lnTo>
                  <a:lnTo>
                    <a:pt x="14" y="94"/>
                  </a:lnTo>
                  <a:lnTo>
                    <a:pt x="16" y="90"/>
                  </a:lnTo>
                  <a:lnTo>
                    <a:pt x="14" y="86"/>
                  </a:lnTo>
                  <a:lnTo>
                    <a:pt x="10" y="80"/>
                  </a:lnTo>
                  <a:lnTo>
                    <a:pt x="14" y="76"/>
                  </a:lnTo>
                  <a:lnTo>
                    <a:pt x="14" y="70"/>
                  </a:lnTo>
                  <a:lnTo>
                    <a:pt x="18" y="64"/>
                  </a:lnTo>
                  <a:lnTo>
                    <a:pt x="24" y="62"/>
                  </a:lnTo>
                  <a:lnTo>
                    <a:pt x="30" y="58"/>
                  </a:lnTo>
                  <a:lnTo>
                    <a:pt x="36" y="52"/>
                  </a:lnTo>
                  <a:lnTo>
                    <a:pt x="42" y="48"/>
                  </a:lnTo>
                  <a:lnTo>
                    <a:pt x="48" y="44"/>
                  </a:lnTo>
                  <a:lnTo>
                    <a:pt x="54" y="40"/>
                  </a:lnTo>
                  <a:lnTo>
                    <a:pt x="60" y="34"/>
                  </a:lnTo>
                  <a:lnTo>
                    <a:pt x="62" y="34"/>
                  </a:lnTo>
                  <a:lnTo>
                    <a:pt x="68" y="30"/>
                  </a:lnTo>
                  <a:lnTo>
                    <a:pt x="72" y="22"/>
                  </a:lnTo>
                  <a:lnTo>
                    <a:pt x="78" y="20"/>
                  </a:lnTo>
                  <a:lnTo>
                    <a:pt x="84" y="22"/>
                  </a:lnTo>
                  <a:lnTo>
                    <a:pt x="90" y="16"/>
                  </a:lnTo>
                  <a:lnTo>
                    <a:pt x="96" y="14"/>
                  </a:lnTo>
                  <a:lnTo>
                    <a:pt x="102" y="8"/>
                  </a:lnTo>
                  <a:lnTo>
                    <a:pt x="106" y="8"/>
                  </a:lnTo>
                  <a:lnTo>
                    <a:pt x="110" y="6"/>
                  </a:lnTo>
                  <a:lnTo>
                    <a:pt x="116" y="8"/>
                  </a:lnTo>
                  <a:lnTo>
                    <a:pt x="122" y="14"/>
                  </a:lnTo>
                  <a:lnTo>
                    <a:pt x="128" y="14"/>
                  </a:lnTo>
                  <a:lnTo>
                    <a:pt x="134" y="12"/>
                  </a:lnTo>
                  <a:lnTo>
                    <a:pt x="138" y="12"/>
                  </a:lnTo>
                  <a:lnTo>
                    <a:pt x="144" y="14"/>
                  </a:lnTo>
                  <a:lnTo>
                    <a:pt x="148" y="16"/>
                  </a:lnTo>
                  <a:lnTo>
                    <a:pt x="154" y="18"/>
                  </a:lnTo>
                  <a:lnTo>
                    <a:pt x="162" y="16"/>
                  </a:lnTo>
                  <a:lnTo>
                    <a:pt x="166" y="14"/>
                  </a:lnTo>
                  <a:lnTo>
                    <a:pt x="172" y="14"/>
                  </a:lnTo>
                  <a:lnTo>
                    <a:pt x="178" y="14"/>
                  </a:lnTo>
                  <a:lnTo>
                    <a:pt x="184" y="14"/>
                  </a:lnTo>
                  <a:lnTo>
                    <a:pt x="188" y="16"/>
                  </a:lnTo>
                  <a:lnTo>
                    <a:pt x="190" y="16"/>
                  </a:lnTo>
                  <a:lnTo>
                    <a:pt x="196" y="14"/>
                  </a:lnTo>
                  <a:lnTo>
                    <a:pt x="202" y="8"/>
                  </a:lnTo>
                  <a:lnTo>
                    <a:pt x="208" y="8"/>
                  </a:lnTo>
                  <a:lnTo>
                    <a:pt x="214" y="8"/>
                  </a:lnTo>
                  <a:lnTo>
                    <a:pt x="220" y="4"/>
                  </a:lnTo>
                  <a:lnTo>
                    <a:pt x="220" y="2"/>
                  </a:lnTo>
                  <a:lnTo>
                    <a:pt x="214" y="0"/>
                  </a:lnTo>
                  <a:lnTo>
                    <a:pt x="220" y="0"/>
                  </a:lnTo>
                  <a:lnTo>
                    <a:pt x="226" y="0"/>
                  </a:lnTo>
                  <a:lnTo>
                    <a:pt x="232" y="2"/>
                  </a:lnTo>
                  <a:lnTo>
                    <a:pt x="234" y="4"/>
                  </a:lnTo>
                  <a:lnTo>
                    <a:pt x="240" y="6"/>
                  </a:lnTo>
                  <a:lnTo>
                    <a:pt x="246" y="8"/>
                  </a:lnTo>
                  <a:lnTo>
                    <a:pt x="252" y="8"/>
                  </a:lnTo>
                  <a:lnTo>
                    <a:pt x="258" y="8"/>
                  </a:lnTo>
                  <a:lnTo>
                    <a:pt x="264" y="6"/>
                  </a:lnTo>
                  <a:lnTo>
                    <a:pt x="270" y="4"/>
                  </a:lnTo>
                  <a:lnTo>
                    <a:pt x="276" y="2"/>
                  </a:lnTo>
                  <a:lnTo>
                    <a:pt x="282" y="2"/>
                  </a:lnTo>
                  <a:lnTo>
                    <a:pt x="284" y="4"/>
                  </a:lnTo>
                  <a:lnTo>
                    <a:pt x="290" y="6"/>
                  </a:lnTo>
                  <a:lnTo>
                    <a:pt x="296" y="8"/>
                  </a:lnTo>
                  <a:lnTo>
                    <a:pt x="298" y="14"/>
                  </a:lnTo>
                  <a:lnTo>
                    <a:pt x="302" y="14"/>
                  </a:lnTo>
                  <a:lnTo>
                    <a:pt x="304" y="14"/>
                  </a:lnTo>
                  <a:lnTo>
                    <a:pt x="310" y="12"/>
                  </a:lnTo>
                  <a:lnTo>
                    <a:pt x="316" y="12"/>
                  </a:lnTo>
                  <a:lnTo>
                    <a:pt x="320" y="14"/>
                  </a:lnTo>
                  <a:lnTo>
                    <a:pt x="324" y="20"/>
                  </a:lnTo>
                  <a:lnTo>
                    <a:pt x="326" y="20"/>
                  </a:lnTo>
                  <a:lnTo>
                    <a:pt x="330" y="26"/>
                  </a:lnTo>
                  <a:lnTo>
                    <a:pt x="336" y="32"/>
                  </a:lnTo>
                  <a:lnTo>
                    <a:pt x="340" y="38"/>
                  </a:lnTo>
                  <a:lnTo>
                    <a:pt x="346" y="40"/>
                  </a:lnTo>
                  <a:lnTo>
                    <a:pt x="346" y="44"/>
                  </a:lnTo>
                  <a:lnTo>
                    <a:pt x="340" y="40"/>
                  </a:lnTo>
                  <a:lnTo>
                    <a:pt x="336" y="34"/>
                  </a:lnTo>
                  <a:lnTo>
                    <a:pt x="328" y="34"/>
                  </a:lnTo>
                  <a:lnTo>
                    <a:pt x="326" y="34"/>
                  </a:lnTo>
                  <a:lnTo>
                    <a:pt x="320" y="32"/>
                  </a:lnTo>
                  <a:lnTo>
                    <a:pt x="326" y="38"/>
                  </a:lnTo>
                  <a:lnTo>
                    <a:pt x="324" y="44"/>
                  </a:lnTo>
                  <a:lnTo>
                    <a:pt x="330" y="46"/>
                  </a:lnTo>
                  <a:lnTo>
                    <a:pt x="334" y="52"/>
                  </a:lnTo>
                  <a:lnTo>
                    <a:pt x="336" y="52"/>
                  </a:lnTo>
                  <a:lnTo>
                    <a:pt x="336" y="48"/>
                  </a:lnTo>
                  <a:lnTo>
                    <a:pt x="330" y="44"/>
                  </a:lnTo>
                  <a:lnTo>
                    <a:pt x="334" y="42"/>
                  </a:lnTo>
                  <a:lnTo>
                    <a:pt x="340" y="46"/>
                  </a:lnTo>
                  <a:lnTo>
                    <a:pt x="344" y="52"/>
                  </a:lnTo>
                  <a:lnTo>
                    <a:pt x="350" y="52"/>
                  </a:lnTo>
                  <a:lnTo>
                    <a:pt x="356" y="50"/>
                  </a:lnTo>
                  <a:lnTo>
                    <a:pt x="358" y="56"/>
                  </a:lnTo>
                  <a:lnTo>
                    <a:pt x="356" y="58"/>
                  </a:lnTo>
                  <a:lnTo>
                    <a:pt x="360" y="56"/>
                  </a:lnTo>
                  <a:lnTo>
                    <a:pt x="360" y="50"/>
                  </a:lnTo>
                  <a:lnTo>
                    <a:pt x="356" y="48"/>
                  </a:lnTo>
                  <a:lnTo>
                    <a:pt x="350" y="46"/>
                  </a:lnTo>
                  <a:lnTo>
                    <a:pt x="356" y="48"/>
                  </a:lnTo>
                  <a:lnTo>
                    <a:pt x="362" y="50"/>
                  </a:lnTo>
                  <a:lnTo>
                    <a:pt x="368" y="54"/>
                  </a:lnTo>
                  <a:lnTo>
                    <a:pt x="370" y="60"/>
                  </a:lnTo>
                  <a:lnTo>
                    <a:pt x="372" y="64"/>
                  </a:lnTo>
                  <a:lnTo>
                    <a:pt x="378" y="68"/>
                  </a:lnTo>
                  <a:lnTo>
                    <a:pt x="380" y="70"/>
                  </a:lnTo>
                  <a:lnTo>
                    <a:pt x="374" y="70"/>
                  </a:lnTo>
                  <a:lnTo>
                    <a:pt x="368" y="70"/>
                  </a:lnTo>
                  <a:lnTo>
                    <a:pt x="362" y="70"/>
                  </a:lnTo>
                  <a:lnTo>
                    <a:pt x="360" y="70"/>
                  </a:lnTo>
                  <a:lnTo>
                    <a:pt x="356" y="74"/>
                  </a:lnTo>
                  <a:lnTo>
                    <a:pt x="350" y="78"/>
                  </a:lnTo>
                  <a:lnTo>
                    <a:pt x="344" y="80"/>
                  </a:lnTo>
                  <a:lnTo>
                    <a:pt x="338" y="84"/>
                  </a:lnTo>
                  <a:lnTo>
                    <a:pt x="332" y="84"/>
                  </a:lnTo>
                  <a:lnTo>
                    <a:pt x="326" y="86"/>
                  </a:lnTo>
                  <a:lnTo>
                    <a:pt x="320" y="88"/>
                  </a:lnTo>
                  <a:lnTo>
                    <a:pt x="316" y="90"/>
                  </a:lnTo>
                  <a:lnTo>
                    <a:pt x="310" y="86"/>
                  </a:lnTo>
                  <a:lnTo>
                    <a:pt x="304" y="90"/>
                  </a:lnTo>
                  <a:lnTo>
                    <a:pt x="298" y="94"/>
                  </a:lnTo>
                  <a:lnTo>
                    <a:pt x="292" y="94"/>
                  </a:lnTo>
                  <a:lnTo>
                    <a:pt x="288" y="92"/>
                  </a:lnTo>
                  <a:lnTo>
                    <a:pt x="280" y="88"/>
                  </a:lnTo>
                  <a:lnTo>
                    <a:pt x="278" y="82"/>
                  </a:lnTo>
                  <a:lnTo>
                    <a:pt x="272" y="82"/>
                  </a:lnTo>
                  <a:lnTo>
                    <a:pt x="266" y="88"/>
                  </a:lnTo>
                  <a:lnTo>
                    <a:pt x="264" y="92"/>
                  </a:lnTo>
                  <a:lnTo>
                    <a:pt x="264" y="98"/>
                  </a:lnTo>
                  <a:lnTo>
                    <a:pt x="262" y="100"/>
                  </a:lnTo>
                  <a:lnTo>
                    <a:pt x="260" y="100"/>
                  </a:lnTo>
                  <a:lnTo>
                    <a:pt x="254" y="104"/>
                  </a:lnTo>
                  <a:lnTo>
                    <a:pt x="252" y="110"/>
                  </a:lnTo>
                  <a:lnTo>
                    <a:pt x="254" y="116"/>
                  </a:lnTo>
                  <a:lnTo>
                    <a:pt x="250" y="118"/>
                  </a:lnTo>
                  <a:lnTo>
                    <a:pt x="244" y="120"/>
                  </a:lnTo>
                  <a:lnTo>
                    <a:pt x="238" y="124"/>
                  </a:lnTo>
                  <a:lnTo>
                    <a:pt x="234" y="130"/>
                  </a:lnTo>
                  <a:lnTo>
                    <a:pt x="228" y="136"/>
                  </a:lnTo>
                  <a:lnTo>
                    <a:pt x="226" y="136"/>
                  </a:lnTo>
                  <a:lnTo>
                    <a:pt x="220" y="140"/>
                  </a:lnTo>
                  <a:lnTo>
                    <a:pt x="214" y="146"/>
                  </a:lnTo>
                  <a:lnTo>
                    <a:pt x="214" y="150"/>
                  </a:lnTo>
                  <a:lnTo>
                    <a:pt x="212" y="150"/>
                  </a:lnTo>
                  <a:lnTo>
                    <a:pt x="206" y="144"/>
                  </a:lnTo>
                  <a:lnTo>
                    <a:pt x="200" y="140"/>
                  </a:lnTo>
                  <a:lnTo>
                    <a:pt x="194" y="136"/>
                  </a:lnTo>
                  <a:lnTo>
                    <a:pt x="192" y="138"/>
                  </a:lnTo>
                  <a:lnTo>
                    <a:pt x="186" y="144"/>
                  </a:lnTo>
                  <a:lnTo>
                    <a:pt x="182" y="150"/>
                  </a:lnTo>
                  <a:lnTo>
                    <a:pt x="176" y="156"/>
                  </a:lnTo>
                  <a:lnTo>
                    <a:pt x="170" y="154"/>
                  </a:lnTo>
                  <a:lnTo>
                    <a:pt x="164" y="154"/>
                  </a:lnTo>
                  <a:lnTo>
                    <a:pt x="158" y="154"/>
                  </a:lnTo>
                  <a:lnTo>
                    <a:pt x="152" y="156"/>
                  </a:lnTo>
                  <a:lnTo>
                    <a:pt x="152" y="158"/>
                  </a:lnTo>
                  <a:lnTo>
                    <a:pt x="152" y="164"/>
                  </a:lnTo>
                  <a:lnTo>
                    <a:pt x="152" y="170"/>
                  </a:lnTo>
                  <a:lnTo>
                    <a:pt x="152" y="176"/>
                  </a:lnTo>
                  <a:lnTo>
                    <a:pt x="152" y="178"/>
                  </a:lnTo>
                  <a:lnTo>
                    <a:pt x="154" y="184"/>
                  </a:lnTo>
                  <a:lnTo>
                    <a:pt x="150" y="188"/>
                  </a:lnTo>
                  <a:lnTo>
                    <a:pt x="148" y="190"/>
                  </a:lnTo>
                  <a:lnTo>
                    <a:pt x="144" y="188"/>
                  </a:lnTo>
                  <a:lnTo>
                    <a:pt x="140" y="192"/>
                  </a:lnTo>
                  <a:lnTo>
                    <a:pt x="138" y="196"/>
                  </a:lnTo>
                  <a:lnTo>
                    <a:pt x="136" y="202"/>
                  </a:lnTo>
                  <a:lnTo>
                    <a:pt x="136" y="204"/>
                  </a:lnTo>
                  <a:lnTo>
                    <a:pt x="134" y="206"/>
                  </a:lnTo>
                  <a:lnTo>
                    <a:pt x="128" y="208"/>
                  </a:lnTo>
                  <a:lnTo>
                    <a:pt x="126" y="208"/>
                  </a:lnTo>
                  <a:lnTo>
                    <a:pt x="120" y="208"/>
                  </a:lnTo>
                  <a:lnTo>
                    <a:pt x="114" y="208"/>
                  </a:lnTo>
                  <a:lnTo>
                    <a:pt x="116" y="206"/>
                  </a:lnTo>
                  <a:lnTo>
                    <a:pt x="112" y="200"/>
                  </a:lnTo>
                  <a:lnTo>
                    <a:pt x="110" y="200"/>
                  </a:lnTo>
                  <a:lnTo>
                    <a:pt x="108" y="198"/>
                  </a:lnTo>
                  <a:lnTo>
                    <a:pt x="106" y="192"/>
                  </a:lnTo>
                  <a:lnTo>
                    <a:pt x="106" y="186"/>
                  </a:lnTo>
                  <a:lnTo>
                    <a:pt x="112" y="182"/>
                  </a:lnTo>
                  <a:lnTo>
                    <a:pt x="106" y="184"/>
                  </a:lnTo>
                  <a:lnTo>
                    <a:pt x="100" y="182"/>
                  </a:lnTo>
                  <a:lnTo>
                    <a:pt x="98" y="176"/>
                  </a:lnTo>
                  <a:lnTo>
                    <a:pt x="94" y="182"/>
                  </a:lnTo>
                  <a:lnTo>
                    <a:pt x="92" y="184"/>
                  </a:lnTo>
                  <a:lnTo>
                    <a:pt x="86" y="180"/>
                  </a:lnTo>
                  <a:lnTo>
                    <a:pt x="86" y="178"/>
                  </a:lnTo>
                  <a:lnTo>
                    <a:pt x="90" y="178"/>
                  </a:lnTo>
                  <a:lnTo>
                    <a:pt x="92" y="176"/>
                  </a:lnTo>
                  <a:lnTo>
                    <a:pt x="90" y="170"/>
                  </a:lnTo>
                  <a:lnTo>
                    <a:pt x="90" y="168"/>
                  </a:lnTo>
                  <a:lnTo>
                    <a:pt x="92" y="162"/>
                  </a:lnTo>
                  <a:lnTo>
                    <a:pt x="94" y="156"/>
                  </a:lnTo>
                  <a:lnTo>
                    <a:pt x="96" y="152"/>
                  </a:lnTo>
                  <a:lnTo>
                    <a:pt x="92" y="148"/>
                  </a:lnTo>
                  <a:lnTo>
                    <a:pt x="86" y="146"/>
                  </a:lnTo>
                  <a:lnTo>
                    <a:pt x="84" y="146"/>
                  </a:lnTo>
                  <a:lnTo>
                    <a:pt x="80" y="146"/>
                  </a:lnTo>
                  <a:lnTo>
                    <a:pt x="76" y="148"/>
                  </a:lnTo>
                  <a:lnTo>
                    <a:pt x="76" y="144"/>
                  </a:lnTo>
                  <a:lnTo>
                    <a:pt x="72" y="140"/>
                  </a:lnTo>
                  <a:lnTo>
                    <a:pt x="66" y="140"/>
                  </a:lnTo>
                  <a:lnTo>
                    <a:pt x="62" y="146"/>
                  </a:lnTo>
                  <a:lnTo>
                    <a:pt x="58" y="146"/>
                  </a:lnTo>
                  <a:lnTo>
                    <a:pt x="56" y="148"/>
                  </a:lnTo>
                  <a:lnTo>
                    <a:pt x="54" y="146"/>
                  </a:lnTo>
                  <a:lnTo>
                    <a:pt x="48" y="148"/>
                  </a:lnTo>
                  <a:lnTo>
                    <a:pt x="48" y="146"/>
                  </a:lnTo>
                  <a:lnTo>
                    <a:pt x="48" y="140"/>
                  </a:lnTo>
                  <a:lnTo>
                    <a:pt x="42" y="138"/>
                  </a:lnTo>
                  <a:lnTo>
                    <a:pt x="38" y="138"/>
                  </a:lnTo>
                  <a:lnTo>
                    <a:pt x="36" y="136"/>
                  </a:lnTo>
                  <a:lnTo>
                    <a:pt x="34" y="130"/>
                  </a:lnTo>
                  <a:lnTo>
                    <a:pt x="28" y="130"/>
                  </a:lnTo>
                  <a:lnTo>
                    <a:pt x="28" y="128"/>
                  </a:lnTo>
                  <a:lnTo>
                    <a:pt x="22" y="124"/>
                  </a:lnTo>
                  <a:lnTo>
                    <a:pt x="22" y="122"/>
                  </a:lnTo>
                  <a:lnTo>
                    <a:pt x="18" y="116"/>
                  </a:lnTo>
                  <a:lnTo>
                    <a:pt x="14" y="116"/>
                  </a:lnTo>
                  <a:lnTo>
                    <a:pt x="8" y="112"/>
                  </a:lnTo>
                  <a:lnTo>
                    <a:pt x="2" y="112"/>
                  </a:lnTo>
                  <a:lnTo>
                    <a:pt x="0" y="10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0" name="Freeform 278"/>
            <p:cNvSpPr>
              <a:spLocks/>
            </p:cNvSpPr>
            <p:nvPr/>
          </p:nvSpPr>
          <p:spPr bwMode="auto">
            <a:xfrm>
              <a:off x="2066925" y="3819525"/>
              <a:ext cx="119063" cy="122238"/>
            </a:xfrm>
            <a:custGeom>
              <a:avLst/>
              <a:gdLst>
                <a:gd name="T0" fmla="*/ 2147483647 w 290"/>
                <a:gd name="T1" fmla="*/ 2147483647 h 296"/>
                <a:gd name="T2" fmla="*/ 2147483647 w 290"/>
                <a:gd name="T3" fmla="*/ 2147483647 h 296"/>
                <a:gd name="T4" fmla="*/ 2147483647 w 290"/>
                <a:gd name="T5" fmla="*/ 2147483647 h 296"/>
                <a:gd name="T6" fmla="*/ 2147483647 w 290"/>
                <a:gd name="T7" fmla="*/ 2147483647 h 296"/>
                <a:gd name="T8" fmla="*/ 2147483647 w 290"/>
                <a:gd name="T9" fmla="*/ 2147483647 h 296"/>
                <a:gd name="T10" fmla="*/ 2147483647 w 290"/>
                <a:gd name="T11" fmla="*/ 2147483647 h 296"/>
                <a:gd name="T12" fmla="*/ 2147483647 w 290"/>
                <a:gd name="T13" fmla="*/ 2147483647 h 296"/>
                <a:gd name="T14" fmla="*/ 2147483647 w 290"/>
                <a:gd name="T15" fmla="*/ 2147483647 h 296"/>
                <a:gd name="T16" fmla="*/ 2147483647 w 290"/>
                <a:gd name="T17" fmla="*/ 2147483647 h 296"/>
                <a:gd name="T18" fmla="*/ 2147483647 w 290"/>
                <a:gd name="T19" fmla="*/ 2147483647 h 296"/>
                <a:gd name="T20" fmla="*/ 2147483647 w 290"/>
                <a:gd name="T21" fmla="*/ 2147483647 h 296"/>
                <a:gd name="T22" fmla="*/ 2147483647 w 290"/>
                <a:gd name="T23" fmla="*/ 2147483647 h 296"/>
                <a:gd name="T24" fmla="*/ 2147483647 w 290"/>
                <a:gd name="T25" fmla="*/ 2147483647 h 296"/>
                <a:gd name="T26" fmla="*/ 2147483647 w 290"/>
                <a:gd name="T27" fmla="*/ 2147483647 h 296"/>
                <a:gd name="T28" fmla="*/ 2147483647 w 290"/>
                <a:gd name="T29" fmla="*/ 2147483647 h 296"/>
                <a:gd name="T30" fmla="*/ 2147483647 w 290"/>
                <a:gd name="T31" fmla="*/ 2147483647 h 296"/>
                <a:gd name="T32" fmla="*/ 2147483647 w 290"/>
                <a:gd name="T33" fmla="*/ 2147483647 h 296"/>
                <a:gd name="T34" fmla="*/ 2147483647 w 290"/>
                <a:gd name="T35" fmla="*/ 0 h 296"/>
                <a:gd name="T36" fmla="*/ 2147483647 w 290"/>
                <a:gd name="T37" fmla="*/ 0 h 296"/>
                <a:gd name="T38" fmla="*/ 2147483647 w 290"/>
                <a:gd name="T39" fmla="*/ 2147483647 h 296"/>
                <a:gd name="T40" fmla="*/ 2147483647 w 290"/>
                <a:gd name="T41" fmla="*/ 2147483647 h 296"/>
                <a:gd name="T42" fmla="*/ 2147483647 w 290"/>
                <a:gd name="T43" fmla="*/ 2147483647 h 296"/>
                <a:gd name="T44" fmla="*/ 2147483647 w 290"/>
                <a:gd name="T45" fmla="*/ 2147483647 h 296"/>
                <a:gd name="T46" fmla="*/ 2147483647 w 290"/>
                <a:gd name="T47" fmla="*/ 2147483647 h 296"/>
                <a:gd name="T48" fmla="*/ 2147483647 w 290"/>
                <a:gd name="T49" fmla="*/ 2147483647 h 296"/>
                <a:gd name="T50" fmla="*/ 2147483647 w 290"/>
                <a:gd name="T51" fmla="*/ 2147483647 h 296"/>
                <a:gd name="T52" fmla="*/ 2147483647 w 290"/>
                <a:gd name="T53" fmla="*/ 2147483647 h 296"/>
                <a:gd name="T54" fmla="*/ 2147483647 w 290"/>
                <a:gd name="T55" fmla="*/ 2147483647 h 296"/>
                <a:gd name="T56" fmla="*/ 2147483647 w 290"/>
                <a:gd name="T57" fmla="*/ 2147483647 h 296"/>
                <a:gd name="T58" fmla="*/ 2147483647 w 290"/>
                <a:gd name="T59" fmla="*/ 2147483647 h 296"/>
                <a:gd name="T60" fmla="*/ 2147483647 w 290"/>
                <a:gd name="T61" fmla="*/ 2147483647 h 296"/>
                <a:gd name="T62" fmla="*/ 2147483647 w 290"/>
                <a:gd name="T63" fmla="*/ 2147483647 h 296"/>
                <a:gd name="T64" fmla="*/ 2147483647 w 290"/>
                <a:gd name="T65" fmla="*/ 2147483647 h 296"/>
                <a:gd name="T66" fmla="*/ 2147483647 w 290"/>
                <a:gd name="T67" fmla="*/ 2147483647 h 296"/>
                <a:gd name="T68" fmla="*/ 2147483647 w 290"/>
                <a:gd name="T69" fmla="*/ 2147483647 h 296"/>
                <a:gd name="T70" fmla="*/ 2147483647 w 290"/>
                <a:gd name="T71" fmla="*/ 2147483647 h 296"/>
                <a:gd name="T72" fmla="*/ 2147483647 w 290"/>
                <a:gd name="T73" fmla="*/ 2147483647 h 296"/>
                <a:gd name="T74" fmla="*/ 2147483647 w 290"/>
                <a:gd name="T75" fmla="*/ 2147483647 h 296"/>
                <a:gd name="T76" fmla="*/ 2147483647 w 290"/>
                <a:gd name="T77" fmla="*/ 2147483647 h 296"/>
                <a:gd name="T78" fmla="*/ 2147483647 w 290"/>
                <a:gd name="T79" fmla="*/ 2147483647 h 296"/>
                <a:gd name="T80" fmla="*/ 2147483647 w 290"/>
                <a:gd name="T81" fmla="*/ 2147483647 h 296"/>
                <a:gd name="T82" fmla="*/ 2147483647 w 290"/>
                <a:gd name="T83" fmla="*/ 2147483647 h 296"/>
                <a:gd name="T84" fmla="*/ 2147483647 w 290"/>
                <a:gd name="T85" fmla="*/ 2147483647 h 296"/>
                <a:gd name="T86" fmla="*/ 2147483647 w 290"/>
                <a:gd name="T87" fmla="*/ 2147483647 h 296"/>
                <a:gd name="T88" fmla="*/ 2147483647 w 290"/>
                <a:gd name="T89" fmla="*/ 2147483647 h 296"/>
                <a:gd name="T90" fmla="*/ 2147483647 w 290"/>
                <a:gd name="T91" fmla="*/ 2147483647 h 296"/>
                <a:gd name="T92" fmla="*/ 2147483647 w 290"/>
                <a:gd name="T93" fmla="*/ 2147483647 h 296"/>
                <a:gd name="T94" fmla="*/ 2147483647 w 290"/>
                <a:gd name="T95" fmla="*/ 2147483647 h 296"/>
                <a:gd name="T96" fmla="*/ 2147483647 w 290"/>
                <a:gd name="T97" fmla="*/ 2147483647 h 296"/>
                <a:gd name="T98" fmla="*/ 2147483647 w 290"/>
                <a:gd name="T99" fmla="*/ 2147483647 h 296"/>
                <a:gd name="T100" fmla="*/ 2147483647 w 290"/>
                <a:gd name="T101" fmla="*/ 2147483647 h 296"/>
                <a:gd name="T102" fmla="*/ 2147483647 w 290"/>
                <a:gd name="T103" fmla="*/ 2147483647 h 296"/>
                <a:gd name="T104" fmla="*/ 0 w 290"/>
                <a:gd name="T105" fmla="*/ 2147483647 h 2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90"/>
                <a:gd name="T160" fmla="*/ 0 h 296"/>
                <a:gd name="T161" fmla="*/ 290 w 290"/>
                <a:gd name="T162" fmla="*/ 296 h 2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90" h="296">
                  <a:moveTo>
                    <a:pt x="8" y="134"/>
                  </a:moveTo>
                  <a:lnTo>
                    <a:pt x="12" y="136"/>
                  </a:lnTo>
                  <a:lnTo>
                    <a:pt x="14" y="142"/>
                  </a:lnTo>
                  <a:lnTo>
                    <a:pt x="20" y="144"/>
                  </a:lnTo>
                  <a:lnTo>
                    <a:pt x="24" y="144"/>
                  </a:lnTo>
                  <a:lnTo>
                    <a:pt x="24" y="138"/>
                  </a:lnTo>
                  <a:lnTo>
                    <a:pt x="30" y="138"/>
                  </a:lnTo>
                  <a:lnTo>
                    <a:pt x="36" y="138"/>
                  </a:lnTo>
                  <a:lnTo>
                    <a:pt x="38" y="138"/>
                  </a:lnTo>
                  <a:lnTo>
                    <a:pt x="44" y="136"/>
                  </a:lnTo>
                  <a:lnTo>
                    <a:pt x="46" y="134"/>
                  </a:lnTo>
                  <a:lnTo>
                    <a:pt x="46" y="132"/>
                  </a:lnTo>
                  <a:lnTo>
                    <a:pt x="48" y="126"/>
                  </a:lnTo>
                  <a:lnTo>
                    <a:pt x="50" y="122"/>
                  </a:lnTo>
                  <a:lnTo>
                    <a:pt x="54" y="118"/>
                  </a:lnTo>
                  <a:lnTo>
                    <a:pt x="58" y="120"/>
                  </a:lnTo>
                  <a:lnTo>
                    <a:pt x="60" y="118"/>
                  </a:lnTo>
                  <a:lnTo>
                    <a:pt x="64" y="114"/>
                  </a:lnTo>
                  <a:lnTo>
                    <a:pt x="62" y="108"/>
                  </a:lnTo>
                  <a:lnTo>
                    <a:pt x="62" y="106"/>
                  </a:lnTo>
                  <a:lnTo>
                    <a:pt x="62" y="100"/>
                  </a:lnTo>
                  <a:lnTo>
                    <a:pt x="62" y="94"/>
                  </a:lnTo>
                  <a:lnTo>
                    <a:pt x="62" y="88"/>
                  </a:lnTo>
                  <a:lnTo>
                    <a:pt x="62" y="86"/>
                  </a:lnTo>
                  <a:lnTo>
                    <a:pt x="68" y="84"/>
                  </a:lnTo>
                  <a:lnTo>
                    <a:pt x="74" y="84"/>
                  </a:lnTo>
                  <a:lnTo>
                    <a:pt x="80" y="84"/>
                  </a:lnTo>
                  <a:lnTo>
                    <a:pt x="86" y="86"/>
                  </a:lnTo>
                  <a:lnTo>
                    <a:pt x="92" y="80"/>
                  </a:lnTo>
                  <a:lnTo>
                    <a:pt x="96" y="74"/>
                  </a:lnTo>
                  <a:lnTo>
                    <a:pt x="102" y="68"/>
                  </a:lnTo>
                  <a:lnTo>
                    <a:pt x="104" y="66"/>
                  </a:lnTo>
                  <a:lnTo>
                    <a:pt x="110" y="70"/>
                  </a:lnTo>
                  <a:lnTo>
                    <a:pt x="116" y="74"/>
                  </a:lnTo>
                  <a:lnTo>
                    <a:pt x="122" y="80"/>
                  </a:lnTo>
                  <a:lnTo>
                    <a:pt x="124" y="80"/>
                  </a:lnTo>
                  <a:lnTo>
                    <a:pt x="124" y="76"/>
                  </a:lnTo>
                  <a:lnTo>
                    <a:pt x="130" y="70"/>
                  </a:lnTo>
                  <a:lnTo>
                    <a:pt x="136" y="66"/>
                  </a:lnTo>
                  <a:lnTo>
                    <a:pt x="138" y="66"/>
                  </a:lnTo>
                  <a:lnTo>
                    <a:pt x="144" y="60"/>
                  </a:lnTo>
                  <a:lnTo>
                    <a:pt x="148" y="54"/>
                  </a:lnTo>
                  <a:lnTo>
                    <a:pt x="154" y="50"/>
                  </a:lnTo>
                  <a:lnTo>
                    <a:pt x="160" y="48"/>
                  </a:lnTo>
                  <a:lnTo>
                    <a:pt x="164" y="46"/>
                  </a:lnTo>
                  <a:lnTo>
                    <a:pt x="162" y="40"/>
                  </a:lnTo>
                  <a:lnTo>
                    <a:pt x="164" y="34"/>
                  </a:lnTo>
                  <a:lnTo>
                    <a:pt x="170" y="30"/>
                  </a:lnTo>
                  <a:lnTo>
                    <a:pt x="172" y="30"/>
                  </a:lnTo>
                  <a:lnTo>
                    <a:pt x="174" y="28"/>
                  </a:lnTo>
                  <a:lnTo>
                    <a:pt x="174" y="22"/>
                  </a:lnTo>
                  <a:lnTo>
                    <a:pt x="176" y="18"/>
                  </a:lnTo>
                  <a:lnTo>
                    <a:pt x="182" y="12"/>
                  </a:lnTo>
                  <a:lnTo>
                    <a:pt x="188" y="12"/>
                  </a:lnTo>
                  <a:lnTo>
                    <a:pt x="190" y="18"/>
                  </a:lnTo>
                  <a:lnTo>
                    <a:pt x="198" y="22"/>
                  </a:lnTo>
                  <a:lnTo>
                    <a:pt x="202" y="24"/>
                  </a:lnTo>
                  <a:lnTo>
                    <a:pt x="208" y="24"/>
                  </a:lnTo>
                  <a:lnTo>
                    <a:pt x="214" y="20"/>
                  </a:lnTo>
                  <a:lnTo>
                    <a:pt x="220" y="16"/>
                  </a:lnTo>
                  <a:lnTo>
                    <a:pt x="226" y="20"/>
                  </a:lnTo>
                  <a:lnTo>
                    <a:pt x="230" y="18"/>
                  </a:lnTo>
                  <a:lnTo>
                    <a:pt x="236" y="16"/>
                  </a:lnTo>
                  <a:lnTo>
                    <a:pt x="242" y="14"/>
                  </a:lnTo>
                  <a:lnTo>
                    <a:pt x="248" y="14"/>
                  </a:lnTo>
                  <a:lnTo>
                    <a:pt x="254" y="10"/>
                  </a:lnTo>
                  <a:lnTo>
                    <a:pt x="260" y="8"/>
                  </a:lnTo>
                  <a:lnTo>
                    <a:pt x="266" y="4"/>
                  </a:lnTo>
                  <a:lnTo>
                    <a:pt x="270" y="0"/>
                  </a:lnTo>
                  <a:lnTo>
                    <a:pt x="272" y="0"/>
                  </a:lnTo>
                  <a:lnTo>
                    <a:pt x="278" y="0"/>
                  </a:lnTo>
                  <a:lnTo>
                    <a:pt x="284" y="0"/>
                  </a:lnTo>
                  <a:lnTo>
                    <a:pt x="290" y="0"/>
                  </a:lnTo>
                  <a:lnTo>
                    <a:pt x="284" y="4"/>
                  </a:lnTo>
                  <a:lnTo>
                    <a:pt x="282" y="10"/>
                  </a:lnTo>
                  <a:lnTo>
                    <a:pt x="276" y="8"/>
                  </a:lnTo>
                  <a:lnTo>
                    <a:pt x="274" y="14"/>
                  </a:lnTo>
                  <a:lnTo>
                    <a:pt x="276" y="18"/>
                  </a:lnTo>
                  <a:lnTo>
                    <a:pt x="280" y="24"/>
                  </a:lnTo>
                  <a:lnTo>
                    <a:pt x="280" y="28"/>
                  </a:lnTo>
                  <a:lnTo>
                    <a:pt x="282" y="34"/>
                  </a:lnTo>
                  <a:lnTo>
                    <a:pt x="282" y="36"/>
                  </a:lnTo>
                  <a:lnTo>
                    <a:pt x="282" y="38"/>
                  </a:lnTo>
                  <a:lnTo>
                    <a:pt x="282" y="40"/>
                  </a:lnTo>
                  <a:lnTo>
                    <a:pt x="282" y="46"/>
                  </a:lnTo>
                  <a:lnTo>
                    <a:pt x="280" y="52"/>
                  </a:lnTo>
                  <a:lnTo>
                    <a:pt x="276" y="58"/>
                  </a:lnTo>
                  <a:lnTo>
                    <a:pt x="274" y="58"/>
                  </a:lnTo>
                  <a:lnTo>
                    <a:pt x="272" y="64"/>
                  </a:lnTo>
                  <a:lnTo>
                    <a:pt x="266" y="70"/>
                  </a:lnTo>
                  <a:lnTo>
                    <a:pt x="264" y="76"/>
                  </a:lnTo>
                  <a:lnTo>
                    <a:pt x="262" y="82"/>
                  </a:lnTo>
                  <a:lnTo>
                    <a:pt x="260" y="88"/>
                  </a:lnTo>
                  <a:lnTo>
                    <a:pt x="258" y="94"/>
                  </a:lnTo>
                  <a:lnTo>
                    <a:pt x="258" y="100"/>
                  </a:lnTo>
                  <a:lnTo>
                    <a:pt x="254" y="106"/>
                  </a:lnTo>
                  <a:lnTo>
                    <a:pt x="254" y="110"/>
                  </a:lnTo>
                  <a:lnTo>
                    <a:pt x="252" y="116"/>
                  </a:lnTo>
                  <a:lnTo>
                    <a:pt x="252" y="122"/>
                  </a:lnTo>
                  <a:lnTo>
                    <a:pt x="252" y="128"/>
                  </a:lnTo>
                  <a:lnTo>
                    <a:pt x="252" y="134"/>
                  </a:lnTo>
                  <a:lnTo>
                    <a:pt x="254" y="140"/>
                  </a:lnTo>
                  <a:lnTo>
                    <a:pt x="254" y="144"/>
                  </a:lnTo>
                  <a:lnTo>
                    <a:pt x="252" y="150"/>
                  </a:lnTo>
                  <a:lnTo>
                    <a:pt x="250" y="156"/>
                  </a:lnTo>
                  <a:lnTo>
                    <a:pt x="250" y="162"/>
                  </a:lnTo>
                  <a:lnTo>
                    <a:pt x="250" y="168"/>
                  </a:lnTo>
                  <a:lnTo>
                    <a:pt x="252" y="174"/>
                  </a:lnTo>
                  <a:lnTo>
                    <a:pt x="252" y="180"/>
                  </a:lnTo>
                  <a:lnTo>
                    <a:pt x="246" y="180"/>
                  </a:lnTo>
                  <a:lnTo>
                    <a:pt x="244" y="182"/>
                  </a:lnTo>
                  <a:lnTo>
                    <a:pt x="244" y="176"/>
                  </a:lnTo>
                  <a:lnTo>
                    <a:pt x="244" y="170"/>
                  </a:lnTo>
                  <a:lnTo>
                    <a:pt x="246" y="168"/>
                  </a:lnTo>
                  <a:lnTo>
                    <a:pt x="248" y="162"/>
                  </a:lnTo>
                  <a:lnTo>
                    <a:pt x="250" y="156"/>
                  </a:lnTo>
                  <a:lnTo>
                    <a:pt x="248" y="152"/>
                  </a:lnTo>
                  <a:lnTo>
                    <a:pt x="244" y="152"/>
                  </a:lnTo>
                  <a:lnTo>
                    <a:pt x="246" y="158"/>
                  </a:lnTo>
                  <a:lnTo>
                    <a:pt x="246" y="164"/>
                  </a:lnTo>
                  <a:lnTo>
                    <a:pt x="240" y="168"/>
                  </a:lnTo>
                  <a:lnTo>
                    <a:pt x="234" y="170"/>
                  </a:lnTo>
                  <a:lnTo>
                    <a:pt x="238" y="176"/>
                  </a:lnTo>
                  <a:lnTo>
                    <a:pt x="236" y="182"/>
                  </a:lnTo>
                  <a:lnTo>
                    <a:pt x="240" y="186"/>
                  </a:lnTo>
                  <a:lnTo>
                    <a:pt x="240" y="190"/>
                  </a:lnTo>
                  <a:lnTo>
                    <a:pt x="238" y="196"/>
                  </a:lnTo>
                  <a:lnTo>
                    <a:pt x="238" y="202"/>
                  </a:lnTo>
                  <a:lnTo>
                    <a:pt x="238" y="208"/>
                  </a:lnTo>
                  <a:lnTo>
                    <a:pt x="236" y="202"/>
                  </a:lnTo>
                  <a:lnTo>
                    <a:pt x="236" y="196"/>
                  </a:lnTo>
                  <a:lnTo>
                    <a:pt x="234" y="202"/>
                  </a:lnTo>
                  <a:lnTo>
                    <a:pt x="232" y="208"/>
                  </a:lnTo>
                  <a:lnTo>
                    <a:pt x="230" y="214"/>
                  </a:lnTo>
                  <a:lnTo>
                    <a:pt x="230" y="220"/>
                  </a:lnTo>
                  <a:lnTo>
                    <a:pt x="236" y="220"/>
                  </a:lnTo>
                  <a:lnTo>
                    <a:pt x="236" y="224"/>
                  </a:lnTo>
                  <a:lnTo>
                    <a:pt x="236" y="230"/>
                  </a:lnTo>
                  <a:lnTo>
                    <a:pt x="232" y="236"/>
                  </a:lnTo>
                  <a:lnTo>
                    <a:pt x="228" y="242"/>
                  </a:lnTo>
                  <a:lnTo>
                    <a:pt x="224" y="248"/>
                  </a:lnTo>
                  <a:lnTo>
                    <a:pt x="222" y="254"/>
                  </a:lnTo>
                  <a:lnTo>
                    <a:pt x="222" y="260"/>
                  </a:lnTo>
                  <a:lnTo>
                    <a:pt x="222" y="266"/>
                  </a:lnTo>
                  <a:lnTo>
                    <a:pt x="224" y="272"/>
                  </a:lnTo>
                  <a:lnTo>
                    <a:pt x="226" y="274"/>
                  </a:lnTo>
                  <a:lnTo>
                    <a:pt x="228" y="280"/>
                  </a:lnTo>
                  <a:lnTo>
                    <a:pt x="234" y="282"/>
                  </a:lnTo>
                  <a:lnTo>
                    <a:pt x="232" y="284"/>
                  </a:lnTo>
                  <a:lnTo>
                    <a:pt x="232" y="292"/>
                  </a:lnTo>
                  <a:lnTo>
                    <a:pt x="226" y="292"/>
                  </a:lnTo>
                  <a:lnTo>
                    <a:pt x="220" y="294"/>
                  </a:lnTo>
                  <a:lnTo>
                    <a:pt x="216" y="296"/>
                  </a:lnTo>
                  <a:lnTo>
                    <a:pt x="214" y="294"/>
                  </a:lnTo>
                  <a:lnTo>
                    <a:pt x="208" y="292"/>
                  </a:lnTo>
                  <a:lnTo>
                    <a:pt x="202" y="292"/>
                  </a:lnTo>
                  <a:lnTo>
                    <a:pt x="200" y="292"/>
                  </a:lnTo>
                  <a:lnTo>
                    <a:pt x="198" y="288"/>
                  </a:lnTo>
                  <a:lnTo>
                    <a:pt x="194" y="282"/>
                  </a:lnTo>
                  <a:lnTo>
                    <a:pt x="190" y="276"/>
                  </a:lnTo>
                  <a:lnTo>
                    <a:pt x="186" y="280"/>
                  </a:lnTo>
                  <a:lnTo>
                    <a:pt x="180" y="274"/>
                  </a:lnTo>
                  <a:lnTo>
                    <a:pt x="174" y="272"/>
                  </a:lnTo>
                  <a:lnTo>
                    <a:pt x="168" y="274"/>
                  </a:lnTo>
                  <a:lnTo>
                    <a:pt x="164" y="276"/>
                  </a:lnTo>
                  <a:lnTo>
                    <a:pt x="156" y="280"/>
                  </a:lnTo>
                  <a:lnTo>
                    <a:pt x="152" y="278"/>
                  </a:lnTo>
                  <a:lnTo>
                    <a:pt x="148" y="276"/>
                  </a:lnTo>
                  <a:lnTo>
                    <a:pt x="142" y="274"/>
                  </a:lnTo>
                  <a:lnTo>
                    <a:pt x="138" y="272"/>
                  </a:lnTo>
                  <a:lnTo>
                    <a:pt x="134" y="270"/>
                  </a:lnTo>
                  <a:lnTo>
                    <a:pt x="128" y="268"/>
                  </a:lnTo>
                  <a:lnTo>
                    <a:pt x="122" y="266"/>
                  </a:lnTo>
                  <a:lnTo>
                    <a:pt x="116" y="262"/>
                  </a:lnTo>
                  <a:lnTo>
                    <a:pt x="114" y="262"/>
                  </a:lnTo>
                  <a:lnTo>
                    <a:pt x="114" y="266"/>
                  </a:lnTo>
                  <a:lnTo>
                    <a:pt x="110" y="270"/>
                  </a:lnTo>
                  <a:lnTo>
                    <a:pt x="104" y="268"/>
                  </a:lnTo>
                  <a:lnTo>
                    <a:pt x="102" y="262"/>
                  </a:lnTo>
                  <a:lnTo>
                    <a:pt x="98" y="256"/>
                  </a:lnTo>
                  <a:lnTo>
                    <a:pt x="92" y="252"/>
                  </a:lnTo>
                  <a:lnTo>
                    <a:pt x="88" y="246"/>
                  </a:lnTo>
                  <a:lnTo>
                    <a:pt x="82" y="240"/>
                  </a:lnTo>
                  <a:lnTo>
                    <a:pt x="76" y="236"/>
                  </a:lnTo>
                  <a:lnTo>
                    <a:pt x="72" y="232"/>
                  </a:lnTo>
                  <a:lnTo>
                    <a:pt x="68" y="228"/>
                  </a:lnTo>
                  <a:lnTo>
                    <a:pt x="64" y="224"/>
                  </a:lnTo>
                  <a:lnTo>
                    <a:pt x="62" y="218"/>
                  </a:lnTo>
                  <a:lnTo>
                    <a:pt x="58" y="214"/>
                  </a:lnTo>
                  <a:lnTo>
                    <a:pt x="56" y="208"/>
                  </a:lnTo>
                  <a:lnTo>
                    <a:pt x="56" y="206"/>
                  </a:lnTo>
                  <a:lnTo>
                    <a:pt x="54" y="202"/>
                  </a:lnTo>
                  <a:lnTo>
                    <a:pt x="52" y="196"/>
                  </a:lnTo>
                  <a:lnTo>
                    <a:pt x="50" y="194"/>
                  </a:lnTo>
                  <a:lnTo>
                    <a:pt x="46" y="190"/>
                  </a:lnTo>
                  <a:lnTo>
                    <a:pt x="40" y="184"/>
                  </a:lnTo>
                  <a:lnTo>
                    <a:pt x="34" y="180"/>
                  </a:lnTo>
                  <a:lnTo>
                    <a:pt x="32" y="178"/>
                  </a:lnTo>
                  <a:lnTo>
                    <a:pt x="32" y="176"/>
                  </a:lnTo>
                  <a:lnTo>
                    <a:pt x="28" y="174"/>
                  </a:lnTo>
                  <a:lnTo>
                    <a:pt x="24" y="168"/>
                  </a:lnTo>
                  <a:lnTo>
                    <a:pt x="18" y="162"/>
                  </a:lnTo>
                  <a:lnTo>
                    <a:pt x="14" y="156"/>
                  </a:lnTo>
                  <a:lnTo>
                    <a:pt x="10" y="152"/>
                  </a:lnTo>
                  <a:lnTo>
                    <a:pt x="4" y="148"/>
                  </a:lnTo>
                  <a:lnTo>
                    <a:pt x="0" y="142"/>
                  </a:lnTo>
                  <a:lnTo>
                    <a:pt x="4" y="136"/>
                  </a:lnTo>
                  <a:lnTo>
                    <a:pt x="8" y="1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1" name="Freeform 279"/>
            <p:cNvSpPr>
              <a:spLocks/>
            </p:cNvSpPr>
            <p:nvPr/>
          </p:nvSpPr>
          <p:spPr bwMode="auto">
            <a:xfrm>
              <a:off x="2509838" y="4745038"/>
              <a:ext cx="303212" cy="1025525"/>
            </a:xfrm>
            <a:custGeom>
              <a:avLst/>
              <a:gdLst>
                <a:gd name="T0" fmla="*/ 2147483647 w 746"/>
                <a:gd name="T1" fmla="*/ 2147483647 h 2492"/>
                <a:gd name="T2" fmla="*/ 2147483647 w 746"/>
                <a:gd name="T3" fmla="*/ 2147483647 h 2492"/>
                <a:gd name="T4" fmla="*/ 2147483647 w 746"/>
                <a:gd name="T5" fmla="*/ 2147483647 h 2492"/>
                <a:gd name="T6" fmla="*/ 2147483647 w 746"/>
                <a:gd name="T7" fmla="*/ 2147483647 h 2492"/>
                <a:gd name="T8" fmla="*/ 2147483647 w 746"/>
                <a:gd name="T9" fmla="*/ 2147483647 h 2492"/>
                <a:gd name="T10" fmla="*/ 2147483647 w 746"/>
                <a:gd name="T11" fmla="*/ 2147483647 h 2492"/>
                <a:gd name="T12" fmla="*/ 2147483647 w 746"/>
                <a:gd name="T13" fmla="*/ 2147483647 h 2492"/>
                <a:gd name="T14" fmla="*/ 2147483647 w 746"/>
                <a:gd name="T15" fmla="*/ 2147483647 h 2492"/>
                <a:gd name="T16" fmla="*/ 2147483647 w 746"/>
                <a:gd name="T17" fmla="*/ 2147483647 h 2492"/>
                <a:gd name="T18" fmla="*/ 2147483647 w 746"/>
                <a:gd name="T19" fmla="*/ 2147483647 h 2492"/>
                <a:gd name="T20" fmla="*/ 2147483647 w 746"/>
                <a:gd name="T21" fmla="*/ 2147483647 h 2492"/>
                <a:gd name="T22" fmla="*/ 2147483647 w 746"/>
                <a:gd name="T23" fmla="*/ 2147483647 h 2492"/>
                <a:gd name="T24" fmla="*/ 2147483647 w 746"/>
                <a:gd name="T25" fmla="*/ 2147483647 h 2492"/>
                <a:gd name="T26" fmla="*/ 2147483647 w 746"/>
                <a:gd name="T27" fmla="*/ 2147483647 h 2492"/>
                <a:gd name="T28" fmla="*/ 2147483647 w 746"/>
                <a:gd name="T29" fmla="*/ 2147483647 h 2492"/>
                <a:gd name="T30" fmla="*/ 2147483647 w 746"/>
                <a:gd name="T31" fmla="*/ 2147483647 h 2492"/>
                <a:gd name="T32" fmla="*/ 2147483647 w 746"/>
                <a:gd name="T33" fmla="*/ 2147483647 h 2492"/>
                <a:gd name="T34" fmla="*/ 2147483647 w 746"/>
                <a:gd name="T35" fmla="*/ 2147483647 h 2492"/>
                <a:gd name="T36" fmla="*/ 2147483647 w 746"/>
                <a:gd name="T37" fmla="*/ 2147483647 h 2492"/>
                <a:gd name="T38" fmla="*/ 2147483647 w 746"/>
                <a:gd name="T39" fmla="*/ 2147483647 h 2492"/>
                <a:gd name="T40" fmla="*/ 2147483647 w 746"/>
                <a:gd name="T41" fmla="*/ 2147483647 h 2492"/>
                <a:gd name="T42" fmla="*/ 2147483647 w 746"/>
                <a:gd name="T43" fmla="*/ 2147483647 h 2492"/>
                <a:gd name="T44" fmla="*/ 2147483647 w 746"/>
                <a:gd name="T45" fmla="*/ 2147483647 h 2492"/>
                <a:gd name="T46" fmla="*/ 2147483647 w 746"/>
                <a:gd name="T47" fmla="*/ 2147483647 h 2492"/>
                <a:gd name="T48" fmla="*/ 2147483647 w 746"/>
                <a:gd name="T49" fmla="*/ 2147483647 h 2492"/>
                <a:gd name="T50" fmla="*/ 2147483647 w 746"/>
                <a:gd name="T51" fmla="*/ 2147483647 h 2492"/>
                <a:gd name="T52" fmla="*/ 2147483647 w 746"/>
                <a:gd name="T53" fmla="*/ 2147483647 h 2492"/>
                <a:gd name="T54" fmla="*/ 2147483647 w 746"/>
                <a:gd name="T55" fmla="*/ 2147483647 h 2492"/>
                <a:gd name="T56" fmla="*/ 2147483647 w 746"/>
                <a:gd name="T57" fmla="*/ 2147483647 h 2492"/>
                <a:gd name="T58" fmla="*/ 2147483647 w 746"/>
                <a:gd name="T59" fmla="*/ 2147483647 h 2492"/>
                <a:gd name="T60" fmla="*/ 2147483647 w 746"/>
                <a:gd name="T61" fmla="*/ 2147483647 h 2492"/>
                <a:gd name="T62" fmla="*/ 2147483647 w 746"/>
                <a:gd name="T63" fmla="*/ 2147483647 h 2492"/>
                <a:gd name="T64" fmla="*/ 2147483647 w 746"/>
                <a:gd name="T65" fmla="*/ 2147483647 h 2492"/>
                <a:gd name="T66" fmla="*/ 2147483647 w 746"/>
                <a:gd name="T67" fmla="*/ 2147483647 h 2492"/>
                <a:gd name="T68" fmla="*/ 2147483647 w 746"/>
                <a:gd name="T69" fmla="*/ 2147483647 h 2492"/>
                <a:gd name="T70" fmla="*/ 2147483647 w 746"/>
                <a:gd name="T71" fmla="*/ 2147483647 h 2492"/>
                <a:gd name="T72" fmla="*/ 2147483647 w 746"/>
                <a:gd name="T73" fmla="*/ 2147483647 h 2492"/>
                <a:gd name="T74" fmla="*/ 2147483647 w 746"/>
                <a:gd name="T75" fmla="*/ 2147483647 h 2492"/>
                <a:gd name="T76" fmla="*/ 2147483647 w 746"/>
                <a:gd name="T77" fmla="*/ 2147483647 h 2492"/>
                <a:gd name="T78" fmla="*/ 2147483647 w 746"/>
                <a:gd name="T79" fmla="*/ 2147483647 h 2492"/>
                <a:gd name="T80" fmla="*/ 2147483647 w 746"/>
                <a:gd name="T81" fmla="*/ 2147483647 h 2492"/>
                <a:gd name="T82" fmla="*/ 2147483647 w 746"/>
                <a:gd name="T83" fmla="*/ 2147483647 h 2492"/>
                <a:gd name="T84" fmla="*/ 2147483647 w 746"/>
                <a:gd name="T85" fmla="*/ 2147483647 h 2492"/>
                <a:gd name="T86" fmla="*/ 2147483647 w 746"/>
                <a:gd name="T87" fmla="*/ 2147483647 h 2492"/>
                <a:gd name="T88" fmla="*/ 2147483647 w 746"/>
                <a:gd name="T89" fmla="*/ 2147483647 h 2492"/>
                <a:gd name="T90" fmla="*/ 2147483647 w 746"/>
                <a:gd name="T91" fmla="*/ 2147483647 h 2492"/>
                <a:gd name="T92" fmla="*/ 2147483647 w 746"/>
                <a:gd name="T93" fmla="*/ 2147483647 h 2492"/>
                <a:gd name="T94" fmla="*/ 2147483647 w 746"/>
                <a:gd name="T95" fmla="*/ 2147483647 h 2492"/>
                <a:gd name="T96" fmla="*/ 2147483647 w 746"/>
                <a:gd name="T97" fmla="*/ 2147483647 h 2492"/>
                <a:gd name="T98" fmla="*/ 2147483647 w 746"/>
                <a:gd name="T99" fmla="*/ 2147483647 h 2492"/>
                <a:gd name="T100" fmla="*/ 2147483647 w 746"/>
                <a:gd name="T101" fmla="*/ 2147483647 h 2492"/>
                <a:gd name="T102" fmla="*/ 2147483647 w 746"/>
                <a:gd name="T103" fmla="*/ 2147483647 h 2492"/>
                <a:gd name="T104" fmla="*/ 2147483647 w 746"/>
                <a:gd name="T105" fmla="*/ 2147483647 h 2492"/>
                <a:gd name="T106" fmla="*/ 2147483647 w 746"/>
                <a:gd name="T107" fmla="*/ 2147483647 h 2492"/>
                <a:gd name="T108" fmla="*/ 2147483647 w 746"/>
                <a:gd name="T109" fmla="*/ 2147483647 h 2492"/>
                <a:gd name="T110" fmla="*/ 2147483647 w 746"/>
                <a:gd name="T111" fmla="*/ 2147483647 h 2492"/>
                <a:gd name="T112" fmla="*/ 2147483647 w 746"/>
                <a:gd name="T113" fmla="*/ 2147483647 h 2492"/>
                <a:gd name="T114" fmla="*/ 2147483647 w 746"/>
                <a:gd name="T115" fmla="*/ 2147483647 h 2492"/>
                <a:gd name="T116" fmla="*/ 2147483647 w 746"/>
                <a:gd name="T117" fmla="*/ 2147483647 h 2492"/>
                <a:gd name="T118" fmla="*/ 2147483647 w 746"/>
                <a:gd name="T119" fmla="*/ 2147483647 h 2492"/>
                <a:gd name="T120" fmla="*/ 2147483647 w 746"/>
                <a:gd name="T121" fmla="*/ 2147483647 h 2492"/>
                <a:gd name="T122" fmla="*/ 2147483647 w 746"/>
                <a:gd name="T123" fmla="*/ 2147483647 h 2492"/>
                <a:gd name="T124" fmla="*/ 0 w 746"/>
                <a:gd name="T125" fmla="*/ 2147483647 h 24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46"/>
                <a:gd name="T190" fmla="*/ 0 h 2492"/>
                <a:gd name="T191" fmla="*/ 746 w 746"/>
                <a:gd name="T192" fmla="*/ 2492 h 24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46" h="2492">
                  <a:moveTo>
                    <a:pt x="0" y="58"/>
                  </a:moveTo>
                  <a:lnTo>
                    <a:pt x="4" y="56"/>
                  </a:lnTo>
                  <a:lnTo>
                    <a:pt x="6" y="56"/>
                  </a:lnTo>
                  <a:lnTo>
                    <a:pt x="12" y="56"/>
                  </a:lnTo>
                  <a:lnTo>
                    <a:pt x="18" y="54"/>
                  </a:lnTo>
                  <a:lnTo>
                    <a:pt x="24" y="52"/>
                  </a:lnTo>
                  <a:lnTo>
                    <a:pt x="26" y="52"/>
                  </a:lnTo>
                  <a:lnTo>
                    <a:pt x="30" y="46"/>
                  </a:lnTo>
                  <a:lnTo>
                    <a:pt x="32" y="40"/>
                  </a:lnTo>
                  <a:lnTo>
                    <a:pt x="34" y="34"/>
                  </a:lnTo>
                  <a:lnTo>
                    <a:pt x="32" y="28"/>
                  </a:lnTo>
                  <a:lnTo>
                    <a:pt x="32" y="22"/>
                  </a:lnTo>
                  <a:lnTo>
                    <a:pt x="28" y="16"/>
                  </a:lnTo>
                  <a:lnTo>
                    <a:pt x="32" y="10"/>
                  </a:lnTo>
                  <a:lnTo>
                    <a:pt x="38" y="10"/>
                  </a:lnTo>
                  <a:lnTo>
                    <a:pt x="44" y="4"/>
                  </a:lnTo>
                  <a:lnTo>
                    <a:pt x="48" y="0"/>
                  </a:lnTo>
                  <a:lnTo>
                    <a:pt x="48" y="2"/>
                  </a:lnTo>
                  <a:lnTo>
                    <a:pt x="48" y="6"/>
                  </a:lnTo>
                  <a:lnTo>
                    <a:pt x="54" y="12"/>
                  </a:lnTo>
                  <a:lnTo>
                    <a:pt x="60" y="18"/>
                  </a:lnTo>
                  <a:lnTo>
                    <a:pt x="62" y="24"/>
                  </a:lnTo>
                  <a:lnTo>
                    <a:pt x="62" y="30"/>
                  </a:lnTo>
                  <a:lnTo>
                    <a:pt x="68" y="34"/>
                  </a:lnTo>
                  <a:lnTo>
                    <a:pt x="74" y="36"/>
                  </a:lnTo>
                  <a:lnTo>
                    <a:pt x="78" y="36"/>
                  </a:lnTo>
                  <a:lnTo>
                    <a:pt x="74" y="42"/>
                  </a:lnTo>
                  <a:lnTo>
                    <a:pt x="76" y="48"/>
                  </a:lnTo>
                  <a:lnTo>
                    <a:pt x="78" y="52"/>
                  </a:lnTo>
                  <a:lnTo>
                    <a:pt x="80" y="60"/>
                  </a:lnTo>
                  <a:lnTo>
                    <a:pt x="82" y="66"/>
                  </a:lnTo>
                  <a:lnTo>
                    <a:pt x="84" y="72"/>
                  </a:lnTo>
                  <a:lnTo>
                    <a:pt x="84" y="74"/>
                  </a:lnTo>
                  <a:lnTo>
                    <a:pt x="86" y="80"/>
                  </a:lnTo>
                  <a:lnTo>
                    <a:pt x="88" y="86"/>
                  </a:lnTo>
                  <a:lnTo>
                    <a:pt x="90" y="92"/>
                  </a:lnTo>
                  <a:lnTo>
                    <a:pt x="90" y="100"/>
                  </a:lnTo>
                  <a:lnTo>
                    <a:pt x="94" y="104"/>
                  </a:lnTo>
                  <a:lnTo>
                    <a:pt x="96" y="106"/>
                  </a:lnTo>
                  <a:lnTo>
                    <a:pt x="100" y="110"/>
                  </a:lnTo>
                  <a:lnTo>
                    <a:pt x="108" y="116"/>
                  </a:lnTo>
                  <a:lnTo>
                    <a:pt x="112" y="122"/>
                  </a:lnTo>
                  <a:lnTo>
                    <a:pt x="118" y="124"/>
                  </a:lnTo>
                  <a:lnTo>
                    <a:pt x="124" y="130"/>
                  </a:lnTo>
                  <a:lnTo>
                    <a:pt x="124" y="136"/>
                  </a:lnTo>
                  <a:lnTo>
                    <a:pt x="120" y="142"/>
                  </a:lnTo>
                  <a:lnTo>
                    <a:pt x="116" y="148"/>
                  </a:lnTo>
                  <a:lnTo>
                    <a:pt x="114" y="154"/>
                  </a:lnTo>
                  <a:lnTo>
                    <a:pt x="120" y="158"/>
                  </a:lnTo>
                  <a:lnTo>
                    <a:pt x="122" y="160"/>
                  </a:lnTo>
                  <a:lnTo>
                    <a:pt x="126" y="166"/>
                  </a:lnTo>
                  <a:lnTo>
                    <a:pt x="124" y="172"/>
                  </a:lnTo>
                  <a:lnTo>
                    <a:pt x="124" y="176"/>
                  </a:lnTo>
                  <a:lnTo>
                    <a:pt x="118" y="176"/>
                  </a:lnTo>
                  <a:lnTo>
                    <a:pt x="112" y="180"/>
                  </a:lnTo>
                  <a:lnTo>
                    <a:pt x="116" y="186"/>
                  </a:lnTo>
                  <a:lnTo>
                    <a:pt x="118" y="192"/>
                  </a:lnTo>
                  <a:lnTo>
                    <a:pt x="116" y="200"/>
                  </a:lnTo>
                  <a:lnTo>
                    <a:pt x="118" y="206"/>
                  </a:lnTo>
                  <a:lnTo>
                    <a:pt x="124" y="210"/>
                  </a:lnTo>
                  <a:lnTo>
                    <a:pt x="130" y="212"/>
                  </a:lnTo>
                  <a:lnTo>
                    <a:pt x="134" y="218"/>
                  </a:lnTo>
                  <a:lnTo>
                    <a:pt x="130" y="224"/>
                  </a:lnTo>
                  <a:lnTo>
                    <a:pt x="130" y="230"/>
                  </a:lnTo>
                  <a:lnTo>
                    <a:pt x="134" y="236"/>
                  </a:lnTo>
                  <a:lnTo>
                    <a:pt x="138" y="238"/>
                  </a:lnTo>
                  <a:lnTo>
                    <a:pt x="142" y="240"/>
                  </a:lnTo>
                  <a:lnTo>
                    <a:pt x="146" y="248"/>
                  </a:lnTo>
                  <a:lnTo>
                    <a:pt x="150" y="252"/>
                  </a:lnTo>
                  <a:lnTo>
                    <a:pt x="154" y="256"/>
                  </a:lnTo>
                  <a:lnTo>
                    <a:pt x="154" y="258"/>
                  </a:lnTo>
                  <a:lnTo>
                    <a:pt x="158" y="262"/>
                  </a:lnTo>
                  <a:lnTo>
                    <a:pt x="158" y="268"/>
                  </a:lnTo>
                  <a:lnTo>
                    <a:pt x="158" y="274"/>
                  </a:lnTo>
                  <a:lnTo>
                    <a:pt x="160" y="280"/>
                  </a:lnTo>
                  <a:lnTo>
                    <a:pt x="162" y="286"/>
                  </a:lnTo>
                  <a:lnTo>
                    <a:pt x="166" y="292"/>
                  </a:lnTo>
                  <a:lnTo>
                    <a:pt x="168" y="298"/>
                  </a:lnTo>
                  <a:lnTo>
                    <a:pt x="168" y="304"/>
                  </a:lnTo>
                  <a:lnTo>
                    <a:pt x="170" y="310"/>
                  </a:lnTo>
                  <a:lnTo>
                    <a:pt x="176" y="316"/>
                  </a:lnTo>
                  <a:lnTo>
                    <a:pt x="178" y="320"/>
                  </a:lnTo>
                  <a:lnTo>
                    <a:pt x="182" y="328"/>
                  </a:lnTo>
                  <a:lnTo>
                    <a:pt x="180" y="332"/>
                  </a:lnTo>
                  <a:lnTo>
                    <a:pt x="184" y="338"/>
                  </a:lnTo>
                  <a:lnTo>
                    <a:pt x="186" y="346"/>
                  </a:lnTo>
                  <a:lnTo>
                    <a:pt x="188" y="350"/>
                  </a:lnTo>
                  <a:lnTo>
                    <a:pt x="188" y="356"/>
                  </a:lnTo>
                  <a:lnTo>
                    <a:pt x="188" y="362"/>
                  </a:lnTo>
                  <a:lnTo>
                    <a:pt x="192" y="370"/>
                  </a:lnTo>
                  <a:lnTo>
                    <a:pt x="198" y="372"/>
                  </a:lnTo>
                  <a:lnTo>
                    <a:pt x="204" y="372"/>
                  </a:lnTo>
                  <a:lnTo>
                    <a:pt x="210" y="372"/>
                  </a:lnTo>
                  <a:lnTo>
                    <a:pt x="218" y="370"/>
                  </a:lnTo>
                  <a:lnTo>
                    <a:pt x="224" y="370"/>
                  </a:lnTo>
                  <a:lnTo>
                    <a:pt x="230" y="368"/>
                  </a:lnTo>
                  <a:lnTo>
                    <a:pt x="232" y="370"/>
                  </a:lnTo>
                  <a:lnTo>
                    <a:pt x="238" y="376"/>
                  </a:lnTo>
                  <a:lnTo>
                    <a:pt x="242" y="382"/>
                  </a:lnTo>
                  <a:lnTo>
                    <a:pt x="242" y="388"/>
                  </a:lnTo>
                  <a:lnTo>
                    <a:pt x="240" y="392"/>
                  </a:lnTo>
                  <a:lnTo>
                    <a:pt x="240" y="398"/>
                  </a:lnTo>
                  <a:lnTo>
                    <a:pt x="238" y="404"/>
                  </a:lnTo>
                  <a:lnTo>
                    <a:pt x="238" y="410"/>
                  </a:lnTo>
                  <a:lnTo>
                    <a:pt x="236" y="418"/>
                  </a:lnTo>
                  <a:lnTo>
                    <a:pt x="236" y="424"/>
                  </a:lnTo>
                  <a:lnTo>
                    <a:pt x="234" y="430"/>
                  </a:lnTo>
                  <a:lnTo>
                    <a:pt x="234" y="432"/>
                  </a:lnTo>
                  <a:lnTo>
                    <a:pt x="234" y="438"/>
                  </a:lnTo>
                  <a:lnTo>
                    <a:pt x="232" y="444"/>
                  </a:lnTo>
                  <a:lnTo>
                    <a:pt x="230" y="450"/>
                  </a:lnTo>
                  <a:lnTo>
                    <a:pt x="226" y="454"/>
                  </a:lnTo>
                  <a:lnTo>
                    <a:pt x="218" y="458"/>
                  </a:lnTo>
                  <a:lnTo>
                    <a:pt x="216" y="460"/>
                  </a:lnTo>
                  <a:lnTo>
                    <a:pt x="214" y="460"/>
                  </a:lnTo>
                  <a:lnTo>
                    <a:pt x="208" y="462"/>
                  </a:lnTo>
                  <a:lnTo>
                    <a:pt x="202" y="466"/>
                  </a:lnTo>
                  <a:lnTo>
                    <a:pt x="196" y="468"/>
                  </a:lnTo>
                  <a:lnTo>
                    <a:pt x="192" y="472"/>
                  </a:lnTo>
                  <a:lnTo>
                    <a:pt x="186" y="474"/>
                  </a:lnTo>
                  <a:lnTo>
                    <a:pt x="180" y="480"/>
                  </a:lnTo>
                  <a:lnTo>
                    <a:pt x="178" y="482"/>
                  </a:lnTo>
                  <a:lnTo>
                    <a:pt x="174" y="486"/>
                  </a:lnTo>
                  <a:lnTo>
                    <a:pt x="168" y="492"/>
                  </a:lnTo>
                  <a:lnTo>
                    <a:pt x="168" y="498"/>
                  </a:lnTo>
                  <a:lnTo>
                    <a:pt x="166" y="504"/>
                  </a:lnTo>
                  <a:lnTo>
                    <a:pt x="168" y="510"/>
                  </a:lnTo>
                  <a:lnTo>
                    <a:pt x="174" y="512"/>
                  </a:lnTo>
                  <a:lnTo>
                    <a:pt x="176" y="518"/>
                  </a:lnTo>
                  <a:lnTo>
                    <a:pt x="178" y="522"/>
                  </a:lnTo>
                  <a:lnTo>
                    <a:pt x="180" y="528"/>
                  </a:lnTo>
                  <a:lnTo>
                    <a:pt x="174" y="530"/>
                  </a:lnTo>
                  <a:lnTo>
                    <a:pt x="174" y="532"/>
                  </a:lnTo>
                  <a:lnTo>
                    <a:pt x="172" y="538"/>
                  </a:lnTo>
                  <a:lnTo>
                    <a:pt x="172" y="542"/>
                  </a:lnTo>
                  <a:lnTo>
                    <a:pt x="172" y="548"/>
                  </a:lnTo>
                  <a:lnTo>
                    <a:pt x="172" y="554"/>
                  </a:lnTo>
                  <a:lnTo>
                    <a:pt x="176" y="560"/>
                  </a:lnTo>
                  <a:lnTo>
                    <a:pt x="178" y="566"/>
                  </a:lnTo>
                  <a:lnTo>
                    <a:pt x="182" y="572"/>
                  </a:lnTo>
                  <a:lnTo>
                    <a:pt x="184" y="578"/>
                  </a:lnTo>
                  <a:lnTo>
                    <a:pt x="186" y="584"/>
                  </a:lnTo>
                  <a:lnTo>
                    <a:pt x="188" y="590"/>
                  </a:lnTo>
                  <a:lnTo>
                    <a:pt x="190" y="596"/>
                  </a:lnTo>
                  <a:lnTo>
                    <a:pt x="188" y="602"/>
                  </a:lnTo>
                  <a:lnTo>
                    <a:pt x="182" y="608"/>
                  </a:lnTo>
                  <a:lnTo>
                    <a:pt x="182" y="614"/>
                  </a:lnTo>
                  <a:lnTo>
                    <a:pt x="184" y="620"/>
                  </a:lnTo>
                  <a:lnTo>
                    <a:pt x="184" y="624"/>
                  </a:lnTo>
                  <a:lnTo>
                    <a:pt x="190" y="632"/>
                  </a:lnTo>
                  <a:lnTo>
                    <a:pt x="196" y="638"/>
                  </a:lnTo>
                  <a:lnTo>
                    <a:pt x="200" y="642"/>
                  </a:lnTo>
                  <a:lnTo>
                    <a:pt x="206" y="648"/>
                  </a:lnTo>
                  <a:lnTo>
                    <a:pt x="206" y="650"/>
                  </a:lnTo>
                  <a:lnTo>
                    <a:pt x="206" y="656"/>
                  </a:lnTo>
                  <a:lnTo>
                    <a:pt x="200" y="662"/>
                  </a:lnTo>
                  <a:lnTo>
                    <a:pt x="194" y="662"/>
                  </a:lnTo>
                  <a:lnTo>
                    <a:pt x="188" y="666"/>
                  </a:lnTo>
                  <a:lnTo>
                    <a:pt x="182" y="664"/>
                  </a:lnTo>
                  <a:lnTo>
                    <a:pt x="176" y="668"/>
                  </a:lnTo>
                  <a:lnTo>
                    <a:pt x="176" y="674"/>
                  </a:lnTo>
                  <a:lnTo>
                    <a:pt x="176" y="680"/>
                  </a:lnTo>
                  <a:lnTo>
                    <a:pt x="172" y="686"/>
                  </a:lnTo>
                  <a:lnTo>
                    <a:pt x="172" y="692"/>
                  </a:lnTo>
                  <a:lnTo>
                    <a:pt x="170" y="698"/>
                  </a:lnTo>
                  <a:lnTo>
                    <a:pt x="170" y="704"/>
                  </a:lnTo>
                  <a:lnTo>
                    <a:pt x="168" y="710"/>
                  </a:lnTo>
                  <a:lnTo>
                    <a:pt x="168" y="712"/>
                  </a:lnTo>
                  <a:lnTo>
                    <a:pt x="168" y="718"/>
                  </a:lnTo>
                  <a:lnTo>
                    <a:pt x="162" y="724"/>
                  </a:lnTo>
                  <a:lnTo>
                    <a:pt x="158" y="730"/>
                  </a:lnTo>
                  <a:lnTo>
                    <a:pt x="158" y="736"/>
                  </a:lnTo>
                  <a:lnTo>
                    <a:pt x="152" y="742"/>
                  </a:lnTo>
                  <a:lnTo>
                    <a:pt x="150" y="748"/>
                  </a:lnTo>
                  <a:lnTo>
                    <a:pt x="144" y="754"/>
                  </a:lnTo>
                  <a:lnTo>
                    <a:pt x="144" y="756"/>
                  </a:lnTo>
                  <a:lnTo>
                    <a:pt x="146" y="762"/>
                  </a:lnTo>
                  <a:lnTo>
                    <a:pt x="144" y="768"/>
                  </a:lnTo>
                  <a:lnTo>
                    <a:pt x="142" y="774"/>
                  </a:lnTo>
                  <a:lnTo>
                    <a:pt x="146" y="780"/>
                  </a:lnTo>
                  <a:lnTo>
                    <a:pt x="144" y="786"/>
                  </a:lnTo>
                  <a:lnTo>
                    <a:pt x="144" y="792"/>
                  </a:lnTo>
                  <a:lnTo>
                    <a:pt x="146" y="798"/>
                  </a:lnTo>
                  <a:lnTo>
                    <a:pt x="144" y="804"/>
                  </a:lnTo>
                  <a:lnTo>
                    <a:pt x="138" y="808"/>
                  </a:lnTo>
                  <a:lnTo>
                    <a:pt x="136" y="814"/>
                  </a:lnTo>
                  <a:lnTo>
                    <a:pt x="134" y="814"/>
                  </a:lnTo>
                  <a:lnTo>
                    <a:pt x="136" y="820"/>
                  </a:lnTo>
                  <a:lnTo>
                    <a:pt x="138" y="826"/>
                  </a:lnTo>
                  <a:lnTo>
                    <a:pt x="142" y="832"/>
                  </a:lnTo>
                  <a:lnTo>
                    <a:pt x="142" y="838"/>
                  </a:lnTo>
                  <a:lnTo>
                    <a:pt x="146" y="844"/>
                  </a:lnTo>
                  <a:lnTo>
                    <a:pt x="148" y="846"/>
                  </a:lnTo>
                  <a:lnTo>
                    <a:pt x="150" y="852"/>
                  </a:lnTo>
                  <a:lnTo>
                    <a:pt x="150" y="858"/>
                  </a:lnTo>
                  <a:lnTo>
                    <a:pt x="150" y="864"/>
                  </a:lnTo>
                  <a:lnTo>
                    <a:pt x="152" y="870"/>
                  </a:lnTo>
                  <a:lnTo>
                    <a:pt x="158" y="874"/>
                  </a:lnTo>
                  <a:lnTo>
                    <a:pt x="156" y="880"/>
                  </a:lnTo>
                  <a:lnTo>
                    <a:pt x="158" y="886"/>
                  </a:lnTo>
                  <a:lnTo>
                    <a:pt x="152" y="892"/>
                  </a:lnTo>
                  <a:lnTo>
                    <a:pt x="148" y="892"/>
                  </a:lnTo>
                  <a:lnTo>
                    <a:pt x="142" y="890"/>
                  </a:lnTo>
                  <a:lnTo>
                    <a:pt x="146" y="896"/>
                  </a:lnTo>
                  <a:lnTo>
                    <a:pt x="142" y="902"/>
                  </a:lnTo>
                  <a:lnTo>
                    <a:pt x="142" y="908"/>
                  </a:lnTo>
                  <a:lnTo>
                    <a:pt x="142" y="914"/>
                  </a:lnTo>
                  <a:lnTo>
                    <a:pt x="140" y="920"/>
                  </a:lnTo>
                  <a:lnTo>
                    <a:pt x="140" y="926"/>
                  </a:lnTo>
                  <a:lnTo>
                    <a:pt x="142" y="932"/>
                  </a:lnTo>
                  <a:lnTo>
                    <a:pt x="142" y="938"/>
                  </a:lnTo>
                  <a:lnTo>
                    <a:pt x="142" y="942"/>
                  </a:lnTo>
                  <a:lnTo>
                    <a:pt x="136" y="942"/>
                  </a:lnTo>
                  <a:lnTo>
                    <a:pt x="134" y="946"/>
                  </a:lnTo>
                  <a:lnTo>
                    <a:pt x="134" y="954"/>
                  </a:lnTo>
                  <a:lnTo>
                    <a:pt x="136" y="960"/>
                  </a:lnTo>
                  <a:lnTo>
                    <a:pt x="136" y="964"/>
                  </a:lnTo>
                  <a:lnTo>
                    <a:pt x="136" y="970"/>
                  </a:lnTo>
                  <a:lnTo>
                    <a:pt x="138" y="976"/>
                  </a:lnTo>
                  <a:lnTo>
                    <a:pt x="144" y="982"/>
                  </a:lnTo>
                  <a:lnTo>
                    <a:pt x="146" y="988"/>
                  </a:lnTo>
                  <a:lnTo>
                    <a:pt x="152" y="994"/>
                  </a:lnTo>
                  <a:lnTo>
                    <a:pt x="158" y="994"/>
                  </a:lnTo>
                  <a:lnTo>
                    <a:pt x="164" y="1000"/>
                  </a:lnTo>
                  <a:lnTo>
                    <a:pt x="162" y="1006"/>
                  </a:lnTo>
                  <a:lnTo>
                    <a:pt x="156" y="1006"/>
                  </a:lnTo>
                  <a:lnTo>
                    <a:pt x="158" y="1012"/>
                  </a:lnTo>
                  <a:lnTo>
                    <a:pt x="162" y="1018"/>
                  </a:lnTo>
                  <a:lnTo>
                    <a:pt x="168" y="1024"/>
                  </a:lnTo>
                  <a:lnTo>
                    <a:pt x="170" y="1026"/>
                  </a:lnTo>
                  <a:lnTo>
                    <a:pt x="170" y="1032"/>
                  </a:lnTo>
                  <a:lnTo>
                    <a:pt x="176" y="1036"/>
                  </a:lnTo>
                  <a:lnTo>
                    <a:pt x="180" y="1042"/>
                  </a:lnTo>
                  <a:lnTo>
                    <a:pt x="178" y="1048"/>
                  </a:lnTo>
                  <a:lnTo>
                    <a:pt x="180" y="1052"/>
                  </a:lnTo>
                  <a:lnTo>
                    <a:pt x="186" y="1058"/>
                  </a:lnTo>
                  <a:lnTo>
                    <a:pt x="186" y="1060"/>
                  </a:lnTo>
                  <a:lnTo>
                    <a:pt x="192" y="1062"/>
                  </a:lnTo>
                  <a:lnTo>
                    <a:pt x="192" y="1066"/>
                  </a:lnTo>
                  <a:lnTo>
                    <a:pt x="192" y="1070"/>
                  </a:lnTo>
                  <a:lnTo>
                    <a:pt x="190" y="1076"/>
                  </a:lnTo>
                  <a:lnTo>
                    <a:pt x="192" y="1080"/>
                  </a:lnTo>
                  <a:lnTo>
                    <a:pt x="194" y="1086"/>
                  </a:lnTo>
                  <a:lnTo>
                    <a:pt x="200" y="1092"/>
                  </a:lnTo>
                  <a:lnTo>
                    <a:pt x="202" y="1092"/>
                  </a:lnTo>
                  <a:lnTo>
                    <a:pt x="206" y="1090"/>
                  </a:lnTo>
                  <a:lnTo>
                    <a:pt x="212" y="1096"/>
                  </a:lnTo>
                  <a:lnTo>
                    <a:pt x="214" y="1102"/>
                  </a:lnTo>
                  <a:lnTo>
                    <a:pt x="214" y="1108"/>
                  </a:lnTo>
                  <a:lnTo>
                    <a:pt x="212" y="1114"/>
                  </a:lnTo>
                  <a:lnTo>
                    <a:pt x="214" y="1120"/>
                  </a:lnTo>
                  <a:lnTo>
                    <a:pt x="214" y="1126"/>
                  </a:lnTo>
                  <a:lnTo>
                    <a:pt x="216" y="1132"/>
                  </a:lnTo>
                  <a:lnTo>
                    <a:pt x="216" y="1138"/>
                  </a:lnTo>
                  <a:lnTo>
                    <a:pt x="222" y="1142"/>
                  </a:lnTo>
                  <a:lnTo>
                    <a:pt x="222" y="1148"/>
                  </a:lnTo>
                  <a:lnTo>
                    <a:pt x="226" y="1154"/>
                  </a:lnTo>
                  <a:lnTo>
                    <a:pt x="224" y="1162"/>
                  </a:lnTo>
                  <a:lnTo>
                    <a:pt x="218" y="1160"/>
                  </a:lnTo>
                  <a:lnTo>
                    <a:pt x="214" y="1162"/>
                  </a:lnTo>
                  <a:lnTo>
                    <a:pt x="216" y="1166"/>
                  </a:lnTo>
                  <a:lnTo>
                    <a:pt x="214" y="1172"/>
                  </a:lnTo>
                  <a:lnTo>
                    <a:pt x="214" y="1178"/>
                  </a:lnTo>
                  <a:lnTo>
                    <a:pt x="210" y="1184"/>
                  </a:lnTo>
                  <a:lnTo>
                    <a:pt x="210" y="1190"/>
                  </a:lnTo>
                  <a:lnTo>
                    <a:pt x="210" y="1194"/>
                  </a:lnTo>
                  <a:lnTo>
                    <a:pt x="210" y="1200"/>
                  </a:lnTo>
                  <a:lnTo>
                    <a:pt x="210" y="1206"/>
                  </a:lnTo>
                  <a:lnTo>
                    <a:pt x="210" y="1212"/>
                  </a:lnTo>
                  <a:lnTo>
                    <a:pt x="212" y="1216"/>
                  </a:lnTo>
                  <a:lnTo>
                    <a:pt x="210" y="1222"/>
                  </a:lnTo>
                  <a:lnTo>
                    <a:pt x="206" y="1224"/>
                  </a:lnTo>
                  <a:lnTo>
                    <a:pt x="204" y="1230"/>
                  </a:lnTo>
                  <a:lnTo>
                    <a:pt x="210" y="1232"/>
                  </a:lnTo>
                  <a:lnTo>
                    <a:pt x="212" y="1238"/>
                  </a:lnTo>
                  <a:lnTo>
                    <a:pt x="216" y="1244"/>
                  </a:lnTo>
                  <a:lnTo>
                    <a:pt x="218" y="1250"/>
                  </a:lnTo>
                  <a:lnTo>
                    <a:pt x="220" y="1256"/>
                  </a:lnTo>
                  <a:lnTo>
                    <a:pt x="224" y="1262"/>
                  </a:lnTo>
                  <a:lnTo>
                    <a:pt x="226" y="1268"/>
                  </a:lnTo>
                  <a:lnTo>
                    <a:pt x="226" y="1274"/>
                  </a:lnTo>
                  <a:lnTo>
                    <a:pt x="228" y="1280"/>
                  </a:lnTo>
                  <a:lnTo>
                    <a:pt x="230" y="1282"/>
                  </a:lnTo>
                  <a:lnTo>
                    <a:pt x="228" y="1290"/>
                  </a:lnTo>
                  <a:lnTo>
                    <a:pt x="226" y="1290"/>
                  </a:lnTo>
                  <a:lnTo>
                    <a:pt x="220" y="1292"/>
                  </a:lnTo>
                  <a:lnTo>
                    <a:pt x="214" y="1298"/>
                  </a:lnTo>
                  <a:lnTo>
                    <a:pt x="216" y="1304"/>
                  </a:lnTo>
                  <a:lnTo>
                    <a:pt x="212" y="1310"/>
                  </a:lnTo>
                  <a:lnTo>
                    <a:pt x="206" y="1308"/>
                  </a:lnTo>
                  <a:lnTo>
                    <a:pt x="206" y="1312"/>
                  </a:lnTo>
                  <a:lnTo>
                    <a:pt x="200" y="1312"/>
                  </a:lnTo>
                  <a:lnTo>
                    <a:pt x="200" y="1318"/>
                  </a:lnTo>
                  <a:lnTo>
                    <a:pt x="202" y="1324"/>
                  </a:lnTo>
                  <a:lnTo>
                    <a:pt x="200" y="1330"/>
                  </a:lnTo>
                  <a:lnTo>
                    <a:pt x="200" y="1336"/>
                  </a:lnTo>
                  <a:lnTo>
                    <a:pt x="202" y="1342"/>
                  </a:lnTo>
                  <a:lnTo>
                    <a:pt x="204" y="1344"/>
                  </a:lnTo>
                  <a:lnTo>
                    <a:pt x="204" y="1346"/>
                  </a:lnTo>
                  <a:lnTo>
                    <a:pt x="206" y="1350"/>
                  </a:lnTo>
                  <a:lnTo>
                    <a:pt x="208" y="1356"/>
                  </a:lnTo>
                  <a:lnTo>
                    <a:pt x="210" y="1362"/>
                  </a:lnTo>
                  <a:lnTo>
                    <a:pt x="208" y="1368"/>
                  </a:lnTo>
                  <a:lnTo>
                    <a:pt x="210" y="1374"/>
                  </a:lnTo>
                  <a:lnTo>
                    <a:pt x="216" y="1380"/>
                  </a:lnTo>
                  <a:lnTo>
                    <a:pt x="216" y="1386"/>
                  </a:lnTo>
                  <a:lnTo>
                    <a:pt x="216" y="1392"/>
                  </a:lnTo>
                  <a:lnTo>
                    <a:pt x="218" y="1398"/>
                  </a:lnTo>
                  <a:lnTo>
                    <a:pt x="222" y="1404"/>
                  </a:lnTo>
                  <a:lnTo>
                    <a:pt x="226" y="1410"/>
                  </a:lnTo>
                  <a:lnTo>
                    <a:pt x="230" y="1416"/>
                  </a:lnTo>
                  <a:lnTo>
                    <a:pt x="234" y="1422"/>
                  </a:lnTo>
                  <a:lnTo>
                    <a:pt x="236" y="1428"/>
                  </a:lnTo>
                  <a:lnTo>
                    <a:pt x="238" y="1432"/>
                  </a:lnTo>
                  <a:lnTo>
                    <a:pt x="240" y="1438"/>
                  </a:lnTo>
                  <a:lnTo>
                    <a:pt x="244" y="1444"/>
                  </a:lnTo>
                  <a:lnTo>
                    <a:pt x="248" y="1450"/>
                  </a:lnTo>
                  <a:lnTo>
                    <a:pt x="254" y="1454"/>
                  </a:lnTo>
                  <a:lnTo>
                    <a:pt x="256" y="1458"/>
                  </a:lnTo>
                  <a:lnTo>
                    <a:pt x="256" y="1464"/>
                  </a:lnTo>
                  <a:lnTo>
                    <a:pt x="254" y="1468"/>
                  </a:lnTo>
                  <a:lnTo>
                    <a:pt x="248" y="1468"/>
                  </a:lnTo>
                  <a:lnTo>
                    <a:pt x="242" y="1472"/>
                  </a:lnTo>
                  <a:lnTo>
                    <a:pt x="236" y="1476"/>
                  </a:lnTo>
                  <a:lnTo>
                    <a:pt x="230" y="1480"/>
                  </a:lnTo>
                  <a:lnTo>
                    <a:pt x="232" y="1486"/>
                  </a:lnTo>
                  <a:lnTo>
                    <a:pt x="234" y="1492"/>
                  </a:lnTo>
                  <a:lnTo>
                    <a:pt x="236" y="1498"/>
                  </a:lnTo>
                  <a:lnTo>
                    <a:pt x="240" y="1504"/>
                  </a:lnTo>
                  <a:lnTo>
                    <a:pt x="240" y="1510"/>
                  </a:lnTo>
                  <a:lnTo>
                    <a:pt x="240" y="1516"/>
                  </a:lnTo>
                  <a:lnTo>
                    <a:pt x="238" y="1522"/>
                  </a:lnTo>
                  <a:lnTo>
                    <a:pt x="240" y="1528"/>
                  </a:lnTo>
                  <a:lnTo>
                    <a:pt x="238" y="1528"/>
                  </a:lnTo>
                  <a:lnTo>
                    <a:pt x="232" y="1526"/>
                  </a:lnTo>
                  <a:lnTo>
                    <a:pt x="230" y="1530"/>
                  </a:lnTo>
                  <a:lnTo>
                    <a:pt x="232" y="1536"/>
                  </a:lnTo>
                  <a:lnTo>
                    <a:pt x="234" y="1542"/>
                  </a:lnTo>
                  <a:lnTo>
                    <a:pt x="236" y="1544"/>
                  </a:lnTo>
                  <a:lnTo>
                    <a:pt x="242" y="1550"/>
                  </a:lnTo>
                  <a:lnTo>
                    <a:pt x="240" y="1556"/>
                  </a:lnTo>
                  <a:lnTo>
                    <a:pt x="240" y="1562"/>
                  </a:lnTo>
                  <a:lnTo>
                    <a:pt x="234" y="1562"/>
                  </a:lnTo>
                  <a:lnTo>
                    <a:pt x="236" y="1568"/>
                  </a:lnTo>
                  <a:lnTo>
                    <a:pt x="240" y="1574"/>
                  </a:lnTo>
                  <a:lnTo>
                    <a:pt x="246" y="1576"/>
                  </a:lnTo>
                  <a:lnTo>
                    <a:pt x="248" y="1582"/>
                  </a:lnTo>
                  <a:lnTo>
                    <a:pt x="244" y="1586"/>
                  </a:lnTo>
                  <a:lnTo>
                    <a:pt x="242" y="1592"/>
                  </a:lnTo>
                  <a:lnTo>
                    <a:pt x="244" y="1598"/>
                  </a:lnTo>
                  <a:lnTo>
                    <a:pt x="242" y="1606"/>
                  </a:lnTo>
                  <a:lnTo>
                    <a:pt x="242" y="1608"/>
                  </a:lnTo>
                  <a:lnTo>
                    <a:pt x="246" y="1612"/>
                  </a:lnTo>
                  <a:lnTo>
                    <a:pt x="252" y="1620"/>
                  </a:lnTo>
                  <a:lnTo>
                    <a:pt x="254" y="1624"/>
                  </a:lnTo>
                  <a:lnTo>
                    <a:pt x="256" y="1630"/>
                  </a:lnTo>
                  <a:lnTo>
                    <a:pt x="256" y="1632"/>
                  </a:lnTo>
                  <a:lnTo>
                    <a:pt x="256" y="1636"/>
                  </a:lnTo>
                  <a:lnTo>
                    <a:pt x="260" y="1644"/>
                  </a:lnTo>
                  <a:lnTo>
                    <a:pt x="260" y="1650"/>
                  </a:lnTo>
                  <a:lnTo>
                    <a:pt x="264" y="1656"/>
                  </a:lnTo>
                  <a:lnTo>
                    <a:pt x="266" y="1662"/>
                  </a:lnTo>
                  <a:lnTo>
                    <a:pt x="264" y="1666"/>
                  </a:lnTo>
                  <a:lnTo>
                    <a:pt x="270" y="1674"/>
                  </a:lnTo>
                  <a:lnTo>
                    <a:pt x="274" y="1680"/>
                  </a:lnTo>
                  <a:lnTo>
                    <a:pt x="280" y="1684"/>
                  </a:lnTo>
                  <a:lnTo>
                    <a:pt x="282" y="1692"/>
                  </a:lnTo>
                  <a:lnTo>
                    <a:pt x="284" y="1692"/>
                  </a:lnTo>
                  <a:lnTo>
                    <a:pt x="286" y="1698"/>
                  </a:lnTo>
                  <a:lnTo>
                    <a:pt x="282" y="1702"/>
                  </a:lnTo>
                  <a:lnTo>
                    <a:pt x="274" y="1702"/>
                  </a:lnTo>
                  <a:lnTo>
                    <a:pt x="272" y="1708"/>
                  </a:lnTo>
                  <a:lnTo>
                    <a:pt x="270" y="1714"/>
                  </a:lnTo>
                  <a:lnTo>
                    <a:pt x="276" y="1718"/>
                  </a:lnTo>
                  <a:lnTo>
                    <a:pt x="278" y="1722"/>
                  </a:lnTo>
                  <a:lnTo>
                    <a:pt x="278" y="1728"/>
                  </a:lnTo>
                  <a:lnTo>
                    <a:pt x="278" y="1734"/>
                  </a:lnTo>
                  <a:lnTo>
                    <a:pt x="282" y="1740"/>
                  </a:lnTo>
                  <a:lnTo>
                    <a:pt x="284" y="1746"/>
                  </a:lnTo>
                  <a:lnTo>
                    <a:pt x="286" y="1752"/>
                  </a:lnTo>
                  <a:lnTo>
                    <a:pt x="286" y="1758"/>
                  </a:lnTo>
                  <a:lnTo>
                    <a:pt x="290" y="1764"/>
                  </a:lnTo>
                  <a:lnTo>
                    <a:pt x="296" y="1768"/>
                  </a:lnTo>
                  <a:lnTo>
                    <a:pt x="302" y="1770"/>
                  </a:lnTo>
                  <a:lnTo>
                    <a:pt x="308" y="1770"/>
                  </a:lnTo>
                  <a:lnTo>
                    <a:pt x="314" y="1772"/>
                  </a:lnTo>
                  <a:lnTo>
                    <a:pt x="316" y="1780"/>
                  </a:lnTo>
                  <a:lnTo>
                    <a:pt x="312" y="1784"/>
                  </a:lnTo>
                  <a:lnTo>
                    <a:pt x="310" y="1790"/>
                  </a:lnTo>
                  <a:lnTo>
                    <a:pt x="316" y="1794"/>
                  </a:lnTo>
                  <a:lnTo>
                    <a:pt x="322" y="1798"/>
                  </a:lnTo>
                  <a:lnTo>
                    <a:pt x="324" y="1800"/>
                  </a:lnTo>
                  <a:lnTo>
                    <a:pt x="326" y="1802"/>
                  </a:lnTo>
                  <a:lnTo>
                    <a:pt x="330" y="1808"/>
                  </a:lnTo>
                  <a:lnTo>
                    <a:pt x="326" y="1814"/>
                  </a:lnTo>
                  <a:lnTo>
                    <a:pt x="332" y="1818"/>
                  </a:lnTo>
                  <a:lnTo>
                    <a:pt x="338" y="1824"/>
                  </a:lnTo>
                  <a:lnTo>
                    <a:pt x="340" y="1826"/>
                  </a:lnTo>
                  <a:lnTo>
                    <a:pt x="336" y="1832"/>
                  </a:lnTo>
                  <a:lnTo>
                    <a:pt x="334" y="1838"/>
                  </a:lnTo>
                  <a:lnTo>
                    <a:pt x="338" y="1844"/>
                  </a:lnTo>
                  <a:lnTo>
                    <a:pt x="340" y="1850"/>
                  </a:lnTo>
                  <a:lnTo>
                    <a:pt x="340" y="1856"/>
                  </a:lnTo>
                  <a:lnTo>
                    <a:pt x="346" y="1856"/>
                  </a:lnTo>
                  <a:lnTo>
                    <a:pt x="354" y="1858"/>
                  </a:lnTo>
                  <a:lnTo>
                    <a:pt x="360" y="1858"/>
                  </a:lnTo>
                  <a:lnTo>
                    <a:pt x="366" y="1856"/>
                  </a:lnTo>
                  <a:lnTo>
                    <a:pt x="370" y="1858"/>
                  </a:lnTo>
                  <a:lnTo>
                    <a:pt x="378" y="1858"/>
                  </a:lnTo>
                  <a:lnTo>
                    <a:pt x="384" y="1864"/>
                  </a:lnTo>
                  <a:lnTo>
                    <a:pt x="386" y="1866"/>
                  </a:lnTo>
                  <a:lnTo>
                    <a:pt x="382" y="1872"/>
                  </a:lnTo>
                  <a:lnTo>
                    <a:pt x="384" y="1878"/>
                  </a:lnTo>
                  <a:lnTo>
                    <a:pt x="378" y="1884"/>
                  </a:lnTo>
                  <a:lnTo>
                    <a:pt x="372" y="1882"/>
                  </a:lnTo>
                  <a:lnTo>
                    <a:pt x="366" y="1882"/>
                  </a:lnTo>
                  <a:lnTo>
                    <a:pt x="360" y="1882"/>
                  </a:lnTo>
                  <a:lnTo>
                    <a:pt x="354" y="1880"/>
                  </a:lnTo>
                  <a:lnTo>
                    <a:pt x="348" y="1882"/>
                  </a:lnTo>
                  <a:lnTo>
                    <a:pt x="342" y="1882"/>
                  </a:lnTo>
                  <a:lnTo>
                    <a:pt x="340" y="1888"/>
                  </a:lnTo>
                  <a:lnTo>
                    <a:pt x="348" y="1892"/>
                  </a:lnTo>
                  <a:lnTo>
                    <a:pt x="354" y="1894"/>
                  </a:lnTo>
                  <a:lnTo>
                    <a:pt x="360" y="1892"/>
                  </a:lnTo>
                  <a:lnTo>
                    <a:pt x="366" y="1896"/>
                  </a:lnTo>
                  <a:lnTo>
                    <a:pt x="372" y="1896"/>
                  </a:lnTo>
                  <a:lnTo>
                    <a:pt x="374" y="1898"/>
                  </a:lnTo>
                  <a:lnTo>
                    <a:pt x="378" y="1904"/>
                  </a:lnTo>
                  <a:lnTo>
                    <a:pt x="384" y="1908"/>
                  </a:lnTo>
                  <a:lnTo>
                    <a:pt x="390" y="1912"/>
                  </a:lnTo>
                  <a:lnTo>
                    <a:pt x="396" y="1918"/>
                  </a:lnTo>
                  <a:lnTo>
                    <a:pt x="390" y="1924"/>
                  </a:lnTo>
                  <a:lnTo>
                    <a:pt x="390" y="1930"/>
                  </a:lnTo>
                  <a:lnTo>
                    <a:pt x="388" y="1934"/>
                  </a:lnTo>
                  <a:lnTo>
                    <a:pt x="382" y="1934"/>
                  </a:lnTo>
                  <a:lnTo>
                    <a:pt x="378" y="1938"/>
                  </a:lnTo>
                  <a:lnTo>
                    <a:pt x="380" y="1946"/>
                  </a:lnTo>
                  <a:lnTo>
                    <a:pt x="384" y="1950"/>
                  </a:lnTo>
                  <a:lnTo>
                    <a:pt x="386" y="1956"/>
                  </a:lnTo>
                  <a:lnTo>
                    <a:pt x="392" y="1958"/>
                  </a:lnTo>
                  <a:lnTo>
                    <a:pt x="394" y="1958"/>
                  </a:lnTo>
                  <a:lnTo>
                    <a:pt x="396" y="1962"/>
                  </a:lnTo>
                  <a:lnTo>
                    <a:pt x="396" y="1966"/>
                  </a:lnTo>
                  <a:lnTo>
                    <a:pt x="394" y="1968"/>
                  </a:lnTo>
                  <a:lnTo>
                    <a:pt x="392" y="1972"/>
                  </a:lnTo>
                  <a:lnTo>
                    <a:pt x="386" y="1974"/>
                  </a:lnTo>
                  <a:lnTo>
                    <a:pt x="392" y="1980"/>
                  </a:lnTo>
                  <a:lnTo>
                    <a:pt x="398" y="1986"/>
                  </a:lnTo>
                  <a:lnTo>
                    <a:pt x="400" y="1988"/>
                  </a:lnTo>
                  <a:lnTo>
                    <a:pt x="402" y="1994"/>
                  </a:lnTo>
                  <a:lnTo>
                    <a:pt x="408" y="2000"/>
                  </a:lnTo>
                  <a:lnTo>
                    <a:pt x="408" y="2002"/>
                  </a:lnTo>
                  <a:lnTo>
                    <a:pt x="408" y="2004"/>
                  </a:lnTo>
                  <a:lnTo>
                    <a:pt x="412" y="2010"/>
                  </a:lnTo>
                  <a:lnTo>
                    <a:pt x="408" y="2016"/>
                  </a:lnTo>
                  <a:lnTo>
                    <a:pt x="404" y="2020"/>
                  </a:lnTo>
                  <a:lnTo>
                    <a:pt x="404" y="2026"/>
                  </a:lnTo>
                  <a:lnTo>
                    <a:pt x="406" y="2032"/>
                  </a:lnTo>
                  <a:lnTo>
                    <a:pt x="406" y="2038"/>
                  </a:lnTo>
                  <a:lnTo>
                    <a:pt x="412" y="2040"/>
                  </a:lnTo>
                  <a:lnTo>
                    <a:pt x="418" y="2046"/>
                  </a:lnTo>
                  <a:lnTo>
                    <a:pt x="418" y="2048"/>
                  </a:lnTo>
                  <a:lnTo>
                    <a:pt x="412" y="2048"/>
                  </a:lnTo>
                  <a:lnTo>
                    <a:pt x="410" y="2052"/>
                  </a:lnTo>
                  <a:lnTo>
                    <a:pt x="410" y="2054"/>
                  </a:lnTo>
                  <a:lnTo>
                    <a:pt x="408" y="2060"/>
                  </a:lnTo>
                  <a:lnTo>
                    <a:pt x="400" y="2060"/>
                  </a:lnTo>
                  <a:lnTo>
                    <a:pt x="400" y="2066"/>
                  </a:lnTo>
                  <a:lnTo>
                    <a:pt x="402" y="2074"/>
                  </a:lnTo>
                  <a:lnTo>
                    <a:pt x="402" y="2078"/>
                  </a:lnTo>
                  <a:lnTo>
                    <a:pt x="400" y="2086"/>
                  </a:lnTo>
                  <a:lnTo>
                    <a:pt x="402" y="2090"/>
                  </a:lnTo>
                  <a:lnTo>
                    <a:pt x="402" y="2098"/>
                  </a:lnTo>
                  <a:lnTo>
                    <a:pt x="408" y="2100"/>
                  </a:lnTo>
                  <a:lnTo>
                    <a:pt x="414" y="2104"/>
                  </a:lnTo>
                  <a:lnTo>
                    <a:pt x="420" y="2110"/>
                  </a:lnTo>
                  <a:lnTo>
                    <a:pt x="422" y="2116"/>
                  </a:lnTo>
                  <a:lnTo>
                    <a:pt x="426" y="2122"/>
                  </a:lnTo>
                  <a:lnTo>
                    <a:pt x="422" y="2128"/>
                  </a:lnTo>
                  <a:lnTo>
                    <a:pt x="416" y="2130"/>
                  </a:lnTo>
                  <a:lnTo>
                    <a:pt x="414" y="2134"/>
                  </a:lnTo>
                  <a:lnTo>
                    <a:pt x="418" y="2140"/>
                  </a:lnTo>
                  <a:lnTo>
                    <a:pt x="422" y="2146"/>
                  </a:lnTo>
                  <a:lnTo>
                    <a:pt x="424" y="2150"/>
                  </a:lnTo>
                  <a:lnTo>
                    <a:pt x="424" y="2156"/>
                  </a:lnTo>
                  <a:lnTo>
                    <a:pt x="422" y="2162"/>
                  </a:lnTo>
                  <a:lnTo>
                    <a:pt x="414" y="2164"/>
                  </a:lnTo>
                  <a:lnTo>
                    <a:pt x="408" y="2166"/>
                  </a:lnTo>
                  <a:lnTo>
                    <a:pt x="406" y="2172"/>
                  </a:lnTo>
                  <a:lnTo>
                    <a:pt x="406" y="2178"/>
                  </a:lnTo>
                  <a:lnTo>
                    <a:pt x="404" y="2184"/>
                  </a:lnTo>
                  <a:lnTo>
                    <a:pt x="406" y="2186"/>
                  </a:lnTo>
                  <a:lnTo>
                    <a:pt x="400" y="2188"/>
                  </a:lnTo>
                  <a:lnTo>
                    <a:pt x="394" y="2188"/>
                  </a:lnTo>
                  <a:lnTo>
                    <a:pt x="394" y="2196"/>
                  </a:lnTo>
                  <a:lnTo>
                    <a:pt x="394" y="2200"/>
                  </a:lnTo>
                  <a:lnTo>
                    <a:pt x="396" y="2206"/>
                  </a:lnTo>
                  <a:lnTo>
                    <a:pt x="400" y="2212"/>
                  </a:lnTo>
                  <a:lnTo>
                    <a:pt x="404" y="2218"/>
                  </a:lnTo>
                  <a:lnTo>
                    <a:pt x="406" y="2224"/>
                  </a:lnTo>
                  <a:lnTo>
                    <a:pt x="406" y="2230"/>
                  </a:lnTo>
                  <a:lnTo>
                    <a:pt x="412" y="2234"/>
                  </a:lnTo>
                  <a:lnTo>
                    <a:pt x="412" y="2236"/>
                  </a:lnTo>
                  <a:lnTo>
                    <a:pt x="412" y="2242"/>
                  </a:lnTo>
                  <a:lnTo>
                    <a:pt x="418" y="2246"/>
                  </a:lnTo>
                  <a:lnTo>
                    <a:pt x="424" y="2250"/>
                  </a:lnTo>
                  <a:lnTo>
                    <a:pt x="430" y="2254"/>
                  </a:lnTo>
                  <a:lnTo>
                    <a:pt x="436" y="2260"/>
                  </a:lnTo>
                  <a:lnTo>
                    <a:pt x="438" y="2266"/>
                  </a:lnTo>
                  <a:lnTo>
                    <a:pt x="442" y="2272"/>
                  </a:lnTo>
                  <a:lnTo>
                    <a:pt x="448" y="2278"/>
                  </a:lnTo>
                  <a:lnTo>
                    <a:pt x="450" y="2284"/>
                  </a:lnTo>
                  <a:lnTo>
                    <a:pt x="456" y="2286"/>
                  </a:lnTo>
                  <a:lnTo>
                    <a:pt x="462" y="2282"/>
                  </a:lnTo>
                  <a:lnTo>
                    <a:pt x="468" y="2278"/>
                  </a:lnTo>
                  <a:lnTo>
                    <a:pt x="474" y="2278"/>
                  </a:lnTo>
                  <a:lnTo>
                    <a:pt x="480" y="2280"/>
                  </a:lnTo>
                  <a:lnTo>
                    <a:pt x="486" y="2276"/>
                  </a:lnTo>
                  <a:lnTo>
                    <a:pt x="492" y="2278"/>
                  </a:lnTo>
                  <a:lnTo>
                    <a:pt x="496" y="2282"/>
                  </a:lnTo>
                  <a:lnTo>
                    <a:pt x="500" y="2288"/>
                  </a:lnTo>
                  <a:lnTo>
                    <a:pt x="506" y="2294"/>
                  </a:lnTo>
                  <a:lnTo>
                    <a:pt x="508" y="2300"/>
                  </a:lnTo>
                  <a:lnTo>
                    <a:pt x="506" y="2306"/>
                  </a:lnTo>
                  <a:lnTo>
                    <a:pt x="506" y="2312"/>
                  </a:lnTo>
                  <a:lnTo>
                    <a:pt x="512" y="2316"/>
                  </a:lnTo>
                  <a:lnTo>
                    <a:pt x="516" y="2320"/>
                  </a:lnTo>
                  <a:lnTo>
                    <a:pt x="516" y="2322"/>
                  </a:lnTo>
                  <a:lnTo>
                    <a:pt x="518" y="2328"/>
                  </a:lnTo>
                  <a:lnTo>
                    <a:pt x="518" y="2334"/>
                  </a:lnTo>
                  <a:lnTo>
                    <a:pt x="516" y="2340"/>
                  </a:lnTo>
                  <a:lnTo>
                    <a:pt x="522" y="2340"/>
                  </a:lnTo>
                  <a:lnTo>
                    <a:pt x="528" y="2348"/>
                  </a:lnTo>
                  <a:lnTo>
                    <a:pt x="530" y="2348"/>
                  </a:lnTo>
                  <a:lnTo>
                    <a:pt x="536" y="2350"/>
                  </a:lnTo>
                  <a:lnTo>
                    <a:pt x="542" y="2352"/>
                  </a:lnTo>
                  <a:lnTo>
                    <a:pt x="548" y="2356"/>
                  </a:lnTo>
                  <a:lnTo>
                    <a:pt x="552" y="2360"/>
                  </a:lnTo>
                  <a:lnTo>
                    <a:pt x="556" y="2366"/>
                  </a:lnTo>
                  <a:lnTo>
                    <a:pt x="558" y="2368"/>
                  </a:lnTo>
                  <a:lnTo>
                    <a:pt x="566" y="2368"/>
                  </a:lnTo>
                  <a:lnTo>
                    <a:pt x="572" y="2368"/>
                  </a:lnTo>
                  <a:lnTo>
                    <a:pt x="578" y="2368"/>
                  </a:lnTo>
                  <a:lnTo>
                    <a:pt x="582" y="2368"/>
                  </a:lnTo>
                  <a:lnTo>
                    <a:pt x="588" y="2368"/>
                  </a:lnTo>
                  <a:lnTo>
                    <a:pt x="590" y="2368"/>
                  </a:lnTo>
                  <a:lnTo>
                    <a:pt x="596" y="2368"/>
                  </a:lnTo>
                  <a:lnTo>
                    <a:pt x="602" y="2368"/>
                  </a:lnTo>
                  <a:lnTo>
                    <a:pt x="608" y="2368"/>
                  </a:lnTo>
                  <a:lnTo>
                    <a:pt x="614" y="2368"/>
                  </a:lnTo>
                  <a:lnTo>
                    <a:pt x="620" y="2368"/>
                  </a:lnTo>
                  <a:lnTo>
                    <a:pt x="628" y="2368"/>
                  </a:lnTo>
                  <a:lnTo>
                    <a:pt x="634" y="2368"/>
                  </a:lnTo>
                  <a:lnTo>
                    <a:pt x="640" y="2368"/>
                  </a:lnTo>
                  <a:lnTo>
                    <a:pt x="646" y="2368"/>
                  </a:lnTo>
                  <a:lnTo>
                    <a:pt x="652" y="2368"/>
                  </a:lnTo>
                  <a:lnTo>
                    <a:pt x="658" y="2368"/>
                  </a:lnTo>
                  <a:lnTo>
                    <a:pt x="664" y="2370"/>
                  </a:lnTo>
                  <a:lnTo>
                    <a:pt x="670" y="2372"/>
                  </a:lnTo>
                  <a:lnTo>
                    <a:pt x="676" y="2374"/>
                  </a:lnTo>
                  <a:lnTo>
                    <a:pt x="682" y="2376"/>
                  </a:lnTo>
                  <a:lnTo>
                    <a:pt x="686" y="2376"/>
                  </a:lnTo>
                  <a:lnTo>
                    <a:pt x="692" y="2378"/>
                  </a:lnTo>
                  <a:lnTo>
                    <a:pt x="698" y="2378"/>
                  </a:lnTo>
                  <a:lnTo>
                    <a:pt x="704" y="2378"/>
                  </a:lnTo>
                  <a:lnTo>
                    <a:pt x="710" y="2380"/>
                  </a:lnTo>
                  <a:lnTo>
                    <a:pt x="714" y="2380"/>
                  </a:lnTo>
                  <a:lnTo>
                    <a:pt x="720" y="2382"/>
                  </a:lnTo>
                  <a:lnTo>
                    <a:pt x="726" y="2386"/>
                  </a:lnTo>
                  <a:lnTo>
                    <a:pt x="730" y="2388"/>
                  </a:lnTo>
                  <a:lnTo>
                    <a:pt x="732" y="2388"/>
                  </a:lnTo>
                  <a:lnTo>
                    <a:pt x="738" y="2388"/>
                  </a:lnTo>
                  <a:lnTo>
                    <a:pt x="744" y="2390"/>
                  </a:lnTo>
                  <a:lnTo>
                    <a:pt x="746" y="2390"/>
                  </a:lnTo>
                  <a:lnTo>
                    <a:pt x="742" y="2390"/>
                  </a:lnTo>
                  <a:lnTo>
                    <a:pt x="736" y="2388"/>
                  </a:lnTo>
                  <a:lnTo>
                    <a:pt x="732" y="2388"/>
                  </a:lnTo>
                  <a:lnTo>
                    <a:pt x="726" y="2388"/>
                  </a:lnTo>
                  <a:lnTo>
                    <a:pt x="724" y="2388"/>
                  </a:lnTo>
                  <a:lnTo>
                    <a:pt x="718" y="2386"/>
                  </a:lnTo>
                  <a:lnTo>
                    <a:pt x="712" y="2382"/>
                  </a:lnTo>
                  <a:lnTo>
                    <a:pt x="708" y="2382"/>
                  </a:lnTo>
                  <a:lnTo>
                    <a:pt x="702" y="2382"/>
                  </a:lnTo>
                  <a:lnTo>
                    <a:pt x="696" y="2386"/>
                  </a:lnTo>
                  <a:lnTo>
                    <a:pt x="696" y="2390"/>
                  </a:lnTo>
                  <a:lnTo>
                    <a:pt x="696" y="2396"/>
                  </a:lnTo>
                  <a:lnTo>
                    <a:pt x="696" y="2398"/>
                  </a:lnTo>
                  <a:lnTo>
                    <a:pt x="696" y="2400"/>
                  </a:lnTo>
                  <a:lnTo>
                    <a:pt x="694" y="2402"/>
                  </a:lnTo>
                  <a:lnTo>
                    <a:pt x="688" y="2404"/>
                  </a:lnTo>
                  <a:lnTo>
                    <a:pt x="682" y="2400"/>
                  </a:lnTo>
                  <a:lnTo>
                    <a:pt x="676" y="2404"/>
                  </a:lnTo>
                  <a:lnTo>
                    <a:pt x="672" y="2406"/>
                  </a:lnTo>
                  <a:lnTo>
                    <a:pt x="668" y="2412"/>
                  </a:lnTo>
                  <a:lnTo>
                    <a:pt x="662" y="2412"/>
                  </a:lnTo>
                  <a:lnTo>
                    <a:pt x="656" y="2414"/>
                  </a:lnTo>
                  <a:lnTo>
                    <a:pt x="650" y="2414"/>
                  </a:lnTo>
                  <a:lnTo>
                    <a:pt x="644" y="2416"/>
                  </a:lnTo>
                  <a:lnTo>
                    <a:pt x="638" y="2418"/>
                  </a:lnTo>
                  <a:lnTo>
                    <a:pt x="642" y="2424"/>
                  </a:lnTo>
                  <a:lnTo>
                    <a:pt x="646" y="2428"/>
                  </a:lnTo>
                  <a:lnTo>
                    <a:pt x="648" y="2436"/>
                  </a:lnTo>
                  <a:lnTo>
                    <a:pt x="648" y="2442"/>
                  </a:lnTo>
                  <a:lnTo>
                    <a:pt x="648" y="2446"/>
                  </a:lnTo>
                  <a:lnTo>
                    <a:pt x="650" y="2454"/>
                  </a:lnTo>
                  <a:lnTo>
                    <a:pt x="652" y="2458"/>
                  </a:lnTo>
                  <a:lnTo>
                    <a:pt x="654" y="2466"/>
                  </a:lnTo>
                  <a:lnTo>
                    <a:pt x="660" y="2472"/>
                  </a:lnTo>
                  <a:lnTo>
                    <a:pt x="662" y="2478"/>
                  </a:lnTo>
                  <a:lnTo>
                    <a:pt x="664" y="2484"/>
                  </a:lnTo>
                  <a:lnTo>
                    <a:pt x="664" y="2490"/>
                  </a:lnTo>
                  <a:lnTo>
                    <a:pt x="658" y="2492"/>
                  </a:lnTo>
                  <a:lnTo>
                    <a:pt x="652" y="2492"/>
                  </a:lnTo>
                  <a:lnTo>
                    <a:pt x="646" y="2490"/>
                  </a:lnTo>
                  <a:lnTo>
                    <a:pt x="640" y="2490"/>
                  </a:lnTo>
                  <a:lnTo>
                    <a:pt x="634" y="2488"/>
                  </a:lnTo>
                  <a:lnTo>
                    <a:pt x="628" y="2488"/>
                  </a:lnTo>
                  <a:lnTo>
                    <a:pt x="622" y="2484"/>
                  </a:lnTo>
                  <a:lnTo>
                    <a:pt x="616" y="2482"/>
                  </a:lnTo>
                  <a:lnTo>
                    <a:pt x="610" y="2480"/>
                  </a:lnTo>
                  <a:lnTo>
                    <a:pt x="604" y="2480"/>
                  </a:lnTo>
                  <a:lnTo>
                    <a:pt x="598" y="2476"/>
                  </a:lnTo>
                  <a:lnTo>
                    <a:pt x="592" y="2474"/>
                  </a:lnTo>
                  <a:lnTo>
                    <a:pt x="586" y="2468"/>
                  </a:lnTo>
                  <a:lnTo>
                    <a:pt x="580" y="2464"/>
                  </a:lnTo>
                  <a:lnTo>
                    <a:pt x="578" y="2458"/>
                  </a:lnTo>
                  <a:lnTo>
                    <a:pt x="578" y="2452"/>
                  </a:lnTo>
                  <a:lnTo>
                    <a:pt x="584" y="2452"/>
                  </a:lnTo>
                  <a:lnTo>
                    <a:pt x="590" y="2452"/>
                  </a:lnTo>
                  <a:lnTo>
                    <a:pt x="594" y="2458"/>
                  </a:lnTo>
                  <a:lnTo>
                    <a:pt x="590" y="2464"/>
                  </a:lnTo>
                  <a:lnTo>
                    <a:pt x="598" y="2462"/>
                  </a:lnTo>
                  <a:lnTo>
                    <a:pt x="596" y="2456"/>
                  </a:lnTo>
                  <a:lnTo>
                    <a:pt x="600" y="2450"/>
                  </a:lnTo>
                  <a:lnTo>
                    <a:pt x="604" y="2452"/>
                  </a:lnTo>
                  <a:lnTo>
                    <a:pt x="608" y="2458"/>
                  </a:lnTo>
                  <a:lnTo>
                    <a:pt x="612" y="2464"/>
                  </a:lnTo>
                  <a:lnTo>
                    <a:pt x="610" y="2470"/>
                  </a:lnTo>
                  <a:lnTo>
                    <a:pt x="616" y="2466"/>
                  </a:lnTo>
                  <a:lnTo>
                    <a:pt x="612" y="2460"/>
                  </a:lnTo>
                  <a:lnTo>
                    <a:pt x="608" y="2454"/>
                  </a:lnTo>
                  <a:lnTo>
                    <a:pt x="612" y="2448"/>
                  </a:lnTo>
                  <a:lnTo>
                    <a:pt x="618" y="2444"/>
                  </a:lnTo>
                  <a:lnTo>
                    <a:pt x="624" y="2442"/>
                  </a:lnTo>
                  <a:lnTo>
                    <a:pt x="626" y="2436"/>
                  </a:lnTo>
                  <a:lnTo>
                    <a:pt x="626" y="2430"/>
                  </a:lnTo>
                  <a:lnTo>
                    <a:pt x="628" y="2424"/>
                  </a:lnTo>
                  <a:lnTo>
                    <a:pt x="622" y="2422"/>
                  </a:lnTo>
                  <a:lnTo>
                    <a:pt x="616" y="2420"/>
                  </a:lnTo>
                  <a:lnTo>
                    <a:pt x="610" y="2416"/>
                  </a:lnTo>
                  <a:lnTo>
                    <a:pt x="610" y="2418"/>
                  </a:lnTo>
                  <a:lnTo>
                    <a:pt x="606" y="2424"/>
                  </a:lnTo>
                  <a:lnTo>
                    <a:pt x="600" y="2428"/>
                  </a:lnTo>
                  <a:lnTo>
                    <a:pt x="594" y="2432"/>
                  </a:lnTo>
                  <a:lnTo>
                    <a:pt x="592" y="2438"/>
                  </a:lnTo>
                  <a:lnTo>
                    <a:pt x="586" y="2444"/>
                  </a:lnTo>
                  <a:lnTo>
                    <a:pt x="580" y="2440"/>
                  </a:lnTo>
                  <a:lnTo>
                    <a:pt x="574" y="2440"/>
                  </a:lnTo>
                  <a:lnTo>
                    <a:pt x="570" y="2438"/>
                  </a:lnTo>
                  <a:lnTo>
                    <a:pt x="562" y="2440"/>
                  </a:lnTo>
                  <a:lnTo>
                    <a:pt x="568" y="2440"/>
                  </a:lnTo>
                  <a:lnTo>
                    <a:pt x="574" y="2444"/>
                  </a:lnTo>
                  <a:lnTo>
                    <a:pt x="580" y="2448"/>
                  </a:lnTo>
                  <a:lnTo>
                    <a:pt x="574" y="2450"/>
                  </a:lnTo>
                  <a:lnTo>
                    <a:pt x="568" y="2448"/>
                  </a:lnTo>
                  <a:lnTo>
                    <a:pt x="570" y="2454"/>
                  </a:lnTo>
                  <a:lnTo>
                    <a:pt x="566" y="2460"/>
                  </a:lnTo>
                  <a:lnTo>
                    <a:pt x="574" y="2462"/>
                  </a:lnTo>
                  <a:lnTo>
                    <a:pt x="578" y="2466"/>
                  </a:lnTo>
                  <a:lnTo>
                    <a:pt x="584" y="2470"/>
                  </a:lnTo>
                  <a:lnTo>
                    <a:pt x="578" y="2472"/>
                  </a:lnTo>
                  <a:lnTo>
                    <a:pt x="574" y="2468"/>
                  </a:lnTo>
                  <a:lnTo>
                    <a:pt x="566" y="2466"/>
                  </a:lnTo>
                  <a:lnTo>
                    <a:pt x="560" y="2464"/>
                  </a:lnTo>
                  <a:lnTo>
                    <a:pt x="554" y="2460"/>
                  </a:lnTo>
                  <a:lnTo>
                    <a:pt x="548" y="2458"/>
                  </a:lnTo>
                  <a:lnTo>
                    <a:pt x="544" y="2454"/>
                  </a:lnTo>
                  <a:lnTo>
                    <a:pt x="536" y="2454"/>
                  </a:lnTo>
                  <a:lnTo>
                    <a:pt x="532" y="2450"/>
                  </a:lnTo>
                  <a:lnTo>
                    <a:pt x="526" y="2446"/>
                  </a:lnTo>
                  <a:lnTo>
                    <a:pt x="532" y="2446"/>
                  </a:lnTo>
                  <a:lnTo>
                    <a:pt x="538" y="2446"/>
                  </a:lnTo>
                  <a:lnTo>
                    <a:pt x="544" y="2446"/>
                  </a:lnTo>
                  <a:lnTo>
                    <a:pt x="548" y="2448"/>
                  </a:lnTo>
                  <a:lnTo>
                    <a:pt x="556" y="2448"/>
                  </a:lnTo>
                  <a:lnTo>
                    <a:pt x="554" y="2442"/>
                  </a:lnTo>
                  <a:lnTo>
                    <a:pt x="548" y="2444"/>
                  </a:lnTo>
                  <a:lnTo>
                    <a:pt x="542" y="2440"/>
                  </a:lnTo>
                  <a:lnTo>
                    <a:pt x="538" y="2434"/>
                  </a:lnTo>
                  <a:lnTo>
                    <a:pt x="536" y="2428"/>
                  </a:lnTo>
                  <a:lnTo>
                    <a:pt x="536" y="2420"/>
                  </a:lnTo>
                  <a:lnTo>
                    <a:pt x="540" y="2416"/>
                  </a:lnTo>
                  <a:lnTo>
                    <a:pt x="548" y="2418"/>
                  </a:lnTo>
                  <a:lnTo>
                    <a:pt x="548" y="2424"/>
                  </a:lnTo>
                  <a:lnTo>
                    <a:pt x="552" y="2422"/>
                  </a:lnTo>
                  <a:lnTo>
                    <a:pt x="558" y="2424"/>
                  </a:lnTo>
                  <a:lnTo>
                    <a:pt x="564" y="2418"/>
                  </a:lnTo>
                  <a:lnTo>
                    <a:pt x="566" y="2412"/>
                  </a:lnTo>
                  <a:lnTo>
                    <a:pt x="572" y="2412"/>
                  </a:lnTo>
                  <a:lnTo>
                    <a:pt x="578" y="2412"/>
                  </a:lnTo>
                  <a:lnTo>
                    <a:pt x="584" y="2414"/>
                  </a:lnTo>
                  <a:lnTo>
                    <a:pt x="590" y="2414"/>
                  </a:lnTo>
                  <a:lnTo>
                    <a:pt x="596" y="2414"/>
                  </a:lnTo>
                  <a:lnTo>
                    <a:pt x="602" y="2410"/>
                  </a:lnTo>
                  <a:lnTo>
                    <a:pt x="596" y="2406"/>
                  </a:lnTo>
                  <a:lnTo>
                    <a:pt x="590" y="2406"/>
                  </a:lnTo>
                  <a:lnTo>
                    <a:pt x="584" y="2404"/>
                  </a:lnTo>
                  <a:lnTo>
                    <a:pt x="578" y="2404"/>
                  </a:lnTo>
                  <a:lnTo>
                    <a:pt x="572" y="2404"/>
                  </a:lnTo>
                  <a:lnTo>
                    <a:pt x="566" y="2404"/>
                  </a:lnTo>
                  <a:lnTo>
                    <a:pt x="560" y="2404"/>
                  </a:lnTo>
                  <a:lnTo>
                    <a:pt x="554" y="2404"/>
                  </a:lnTo>
                  <a:lnTo>
                    <a:pt x="552" y="2410"/>
                  </a:lnTo>
                  <a:lnTo>
                    <a:pt x="544" y="2406"/>
                  </a:lnTo>
                  <a:lnTo>
                    <a:pt x="550" y="2402"/>
                  </a:lnTo>
                  <a:lnTo>
                    <a:pt x="544" y="2404"/>
                  </a:lnTo>
                  <a:lnTo>
                    <a:pt x="540" y="2404"/>
                  </a:lnTo>
                  <a:lnTo>
                    <a:pt x="532" y="2404"/>
                  </a:lnTo>
                  <a:lnTo>
                    <a:pt x="528" y="2408"/>
                  </a:lnTo>
                  <a:lnTo>
                    <a:pt x="528" y="2414"/>
                  </a:lnTo>
                  <a:lnTo>
                    <a:pt x="534" y="2410"/>
                  </a:lnTo>
                  <a:lnTo>
                    <a:pt x="540" y="2412"/>
                  </a:lnTo>
                  <a:lnTo>
                    <a:pt x="536" y="2418"/>
                  </a:lnTo>
                  <a:lnTo>
                    <a:pt x="530" y="2422"/>
                  </a:lnTo>
                  <a:lnTo>
                    <a:pt x="534" y="2428"/>
                  </a:lnTo>
                  <a:lnTo>
                    <a:pt x="538" y="2434"/>
                  </a:lnTo>
                  <a:lnTo>
                    <a:pt x="536" y="2440"/>
                  </a:lnTo>
                  <a:lnTo>
                    <a:pt x="530" y="2440"/>
                  </a:lnTo>
                  <a:lnTo>
                    <a:pt x="524" y="2440"/>
                  </a:lnTo>
                  <a:lnTo>
                    <a:pt x="518" y="2438"/>
                  </a:lnTo>
                  <a:lnTo>
                    <a:pt x="516" y="2432"/>
                  </a:lnTo>
                  <a:lnTo>
                    <a:pt x="522" y="2428"/>
                  </a:lnTo>
                  <a:lnTo>
                    <a:pt x="516" y="2428"/>
                  </a:lnTo>
                  <a:lnTo>
                    <a:pt x="510" y="2424"/>
                  </a:lnTo>
                  <a:lnTo>
                    <a:pt x="504" y="2420"/>
                  </a:lnTo>
                  <a:lnTo>
                    <a:pt x="510" y="2420"/>
                  </a:lnTo>
                  <a:lnTo>
                    <a:pt x="516" y="2420"/>
                  </a:lnTo>
                  <a:lnTo>
                    <a:pt x="510" y="2416"/>
                  </a:lnTo>
                  <a:lnTo>
                    <a:pt x="514" y="2412"/>
                  </a:lnTo>
                  <a:lnTo>
                    <a:pt x="514" y="2406"/>
                  </a:lnTo>
                  <a:lnTo>
                    <a:pt x="520" y="2406"/>
                  </a:lnTo>
                  <a:lnTo>
                    <a:pt x="514" y="2402"/>
                  </a:lnTo>
                  <a:lnTo>
                    <a:pt x="520" y="2402"/>
                  </a:lnTo>
                  <a:lnTo>
                    <a:pt x="514" y="2400"/>
                  </a:lnTo>
                  <a:lnTo>
                    <a:pt x="508" y="2402"/>
                  </a:lnTo>
                  <a:lnTo>
                    <a:pt x="512" y="2408"/>
                  </a:lnTo>
                  <a:lnTo>
                    <a:pt x="510" y="2414"/>
                  </a:lnTo>
                  <a:lnTo>
                    <a:pt x="506" y="2408"/>
                  </a:lnTo>
                  <a:lnTo>
                    <a:pt x="500" y="2406"/>
                  </a:lnTo>
                  <a:lnTo>
                    <a:pt x="498" y="2412"/>
                  </a:lnTo>
                  <a:lnTo>
                    <a:pt x="492" y="2416"/>
                  </a:lnTo>
                  <a:lnTo>
                    <a:pt x="494" y="2412"/>
                  </a:lnTo>
                  <a:lnTo>
                    <a:pt x="488" y="2410"/>
                  </a:lnTo>
                  <a:lnTo>
                    <a:pt x="492" y="2404"/>
                  </a:lnTo>
                  <a:lnTo>
                    <a:pt x="488" y="2398"/>
                  </a:lnTo>
                  <a:lnTo>
                    <a:pt x="484" y="2392"/>
                  </a:lnTo>
                  <a:lnTo>
                    <a:pt x="478" y="2386"/>
                  </a:lnTo>
                  <a:lnTo>
                    <a:pt x="474" y="2382"/>
                  </a:lnTo>
                  <a:lnTo>
                    <a:pt x="468" y="2376"/>
                  </a:lnTo>
                  <a:lnTo>
                    <a:pt x="466" y="2370"/>
                  </a:lnTo>
                  <a:lnTo>
                    <a:pt x="472" y="2376"/>
                  </a:lnTo>
                  <a:lnTo>
                    <a:pt x="478" y="2380"/>
                  </a:lnTo>
                  <a:lnTo>
                    <a:pt x="484" y="2378"/>
                  </a:lnTo>
                  <a:lnTo>
                    <a:pt x="490" y="2382"/>
                  </a:lnTo>
                  <a:lnTo>
                    <a:pt x="496" y="2380"/>
                  </a:lnTo>
                  <a:lnTo>
                    <a:pt x="500" y="2374"/>
                  </a:lnTo>
                  <a:lnTo>
                    <a:pt x="506" y="2378"/>
                  </a:lnTo>
                  <a:lnTo>
                    <a:pt x="506" y="2384"/>
                  </a:lnTo>
                  <a:lnTo>
                    <a:pt x="510" y="2382"/>
                  </a:lnTo>
                  <a:lnTo>
                    <a:pt x="514" y="2382"/>
                  </a:lnTo>
                  <a:lnTo>
                    <a:pt x="518" y="2382"/>
                  </a:lnTo>
                  <a:lnTo>
                    <a:pt x="514" y="2376"/>
                  </a:lnTo>
                  <a:lnTo>
                    <a:pt x="514" y="2382"/>
                  </a:lnTo>
                  <a:lnTo>
                    <a:pt x="508" y="2376"/>
                  </a:lnTo>
                  <a:lnTo>
                    <a:pt x="508" y="2370"/>
                  </a:lnTo>
                  <a:lnTo>
                    <a:pt x="508" y="2366"/>
                  </a:lnTo>
                  <a:lnTo>
                    <a:pt x="514" y="2366"/>
                  </a:lnTo>
                  <a:lnTo>
                    <a:pt x="518" y="2372"/>
                  </a:lnTo>
                  <a:lnTo>
                    <a:pt x="524" y="2376"/>
                  </a:lnTo>
                  <a:lnTo>
                    <a:pt x="530" y="2380"/>
                  </a:lnTo>
                  <a:lnTo>
                    <a:pt x="532" y="2386"/>
                  </a:lnTo>
                  <a:lnTo>
                    <a:pt x="528" y="2392"/>
                  </a:lnTo>
                  <a:lnTo>
                    <a:pt x="524" y="2398"/>
                  </a:lnTo>
                  <a:lnTo>
                    <a:pt x="530" y="2396"/>
                  </a:lnTo>
                  <a:lnTo>
                    <a:pt x="536" y="2396"/>
                  </a:lnTo>
                  <a:lnTo>
                    <a:pt x="542" y="2398"/>
                  </a:lnTo>
                  <a:lnTo>
                    <a:pt x="536" y="2392"/>
                  </a:lnTo>
                  <a:lnTo>
                    <a:pt x="538" y="2386"/>
                  </a:lnTo>
                  <a:lnTo>
                    <a:pt x="534" y="2380"/>
                  </a:lnTo>
                  <a:lnTo>
                    <a:pt x="528" y="2378"/>
                  </a:lnTo>
                  <a:lnTo>
                    <a:pt x="522" y="2372"/>
                  </a:lnTo>
                  <a:lnTo>
                    <a:pt x="522" y="2366"/>
                  </a:lnTo>
                  <a:lnTo>
                    <a:pt x="528" y="2364"/>
                  </a:lnTo>
                  <a:lnTo>
                    <a:pt x="522" y="2358"/>
                  </a:lnTo>
                  <a:lnTo>
                    <a:pt x="520" y="2352"/>
                  </a:lnTo>
                  <a:lnTo>
                    <a:pt x="514" y="2348"/>
                  </a:lnTo>
                  <a:lnTo>
                    <a:pt x="508" y="2344"/>
                  </a:lnTo>
                  <a:lnTo>
                    <a:pt x="502" y="2340"/>
                  </a:lnTo>
                  <a:lnTo>
                    <a:pt x="496" y="2340"/>
                  </a:lnTo>
                  <a:lnTo>
                    <a:pt x="490" y="2338"/>
                  </a:lnTo>
                  <a:lnTo>
                    <a:pt x="484" y="2336"/>
                  </a:lnTo>
                  <a:lnTo>
                    <a:pt x="478" y="2330"/>
                  </a:lnTo>
                  <a:lnTo>
                    <a:pt x="474" y="2336"/>
                  </a:lnTo>
                  <a:lnTo>
                    <a:pt x="480" y="2336"/>
                  </a:lnTo>
                  <a:lnTo>
                    <a:pt x="486" y="2338"/>
                  </a:lnTo>
                  <a:lnTo>
                    <a:pt x="494" y="2340"/>
                  </a:lnTo>
                  <a:lnTo>
                    <a:pt x="498" y="2342"/>
                  </a:lnTo>
                  <a:lnTo>
                    <a:pt x="504" y="2346"/>
                  </a:lnTo>
                  <a:lnTo>
                    <a:pt x="510" y="2348"/>
                  </a:lnTo>
                  <a:lnTo>
                    <a:pt x="516" y="2352"/>
                  </a:lnTo>
                  <a:lnTo>
                    <a:pt x="516" y="2356"/>
                  </a:lnTo>
                  <a:lnTo>
                    <a:pt x="510" y="2356"/>
                  </a:lnTo>
                  <a:lnTo>
                    <a:pt x="504" y="2354"/>
                  </a:lnTo>
                  <a:lnTo>
                    <a:pt x="498" y="2352"/>
                  </a:lnTo>
                  <a:lnTo>
                    <a:pt x="492" y="2350"/>
                  </a:lnTo>
                  <a:lnTo>
                    <a:pt x="486" y="2348"/>
                  </a:lnTo>
                  <a:lnTo>
                    <a:pt x="480" y="2344"/>
                  </a:lnTo>
                  <a:lnTo>
                    <a:pt x="474" y="2344"/>
                  </a:lnTo>
                  <a:lnTo>
                    <a:pt x="480" y="2350"/>
                  </a:lnTo>
                  <a:lnTo>
                    <a:pt x="486" y="2350"/>
                  </a:lnTo>
                  <a:lnTo>
                    <a:pt x="492" y="2354"/>
                  </a:lnTo>
                  <a:lnTo>
                    <a:pt x="490" y="2360"/>
                  </a:lnTo>
                  <a:lnTo>
                    <a:pt x="498" y="2362"/>
                  </a:lnTo>
                  <a:lnTo>
                    <a:pt x="494" y="2368"/>
                  </a:lnTo>
                  <a:lnTo>
                    <a:pt x="492" y="2374"/>
                  </a:lnTo>
                  <a:lnTo>
                    <a:pt x="488" y="2368"/>
                  </a:lnTo>
                  <a:lnTo>
                    <a:pt x="482" y="2362"/>
                  </a:lnTo>
                  <a:lnTo>
                    <a:pt x="480" y="2356"/>
                  </a:lnTo>
                  <a:lnTo>
                    <a:pt x="474" y="2350"/>
                  </a:lnTo>
                  <a:lnTo>
                    <a:pt x="478" y="2356"/>
                  </a:lnTo>
                  <a:lnTo>
                    <a:pt x="480" y="2362"/>
                  </a:lnTo>
                  <a:lnTo>
                    <a:pt x="484" y="2368"/>
                  </a:lnTo>
                  <a:lnTo>
                    <a:pt x="488" y="2374"/>
                  </a:lnTo>
                  <a:lnTo>
                    <a:pt x="490" y="2380"/>
                  </a:lnTo>
                  <a:lnTo>
                    <a:pt x="484" y="2376"/>
                  </a:lnTo>
                  <a:lnTo>
                    <a:pt x="476" y="2374"/>
                  </a:lnTo>
                  <a:lnTo>
                    <a:pt x="472" y="2368"/>
                  </a:lnTo>
                  <a:lnTo>
                    <a:pt x="466" y="2362"/>
                  </a:lnTo>
                  <a:lnTo>
                    <a:pt x="464" y="2356"/>
                  </a:lnTo>
                  <a:lnTo>
                    <a:pt x="470" y="2362"/>
                  </a:lnTo>
                  <a:lnTo>
                    <a:pt x="476" y="2366"/>
                  </a:lnTo>
                  <a:lnTo>
                    <a:pt x="472" y="2358"/>
                  </a:lnTo>
                  <a:lnTo>
                    <a:pt x="464" y="2354"/>
                  </a:lnTo>
                  <a:lnTo>
                    <a:pt x="464" y="2348"/>
                  </a:lnTo>
                  <a:lnTo>
                    <a:pt x="460" y="2348"/>
                  </a:lnTo>
                  <a:lnTo>
                    <a:pt x="454" y="2352"/>
                  </a:lnTo>
                  <a:lnTo>
                    <a:pt x="450" y="2344"/>
                  </a:lnTo>
                  <a:lnTo>
                    <a:pt x="444" y="2344"/>
                  </a:lnTo>
                  <a:lnTo>
                    <a:pt x="442" y="2338"/>
                  </a:lnTo>
                  <a:lnTo>
                    <a:pt x="436" y="2332"/>
                  </a:lnTo>
                  <a:lnTo>
                    <a:pt x="434" y="2326"/>
                  </a:lnTo>
                  <a:lnTo>
                    <a:pt x="440" y="2328"/>
                  </a:lnTo>
                  <a:lnTo>
                    <a:pt x="446" y="2332"/>
                  </a:lnTo>
                  <a:lnTo>
                    <a:pt x="452" y="2338"/>
                  </a:lnTo>
                  <a:lnTo>
                    <a:pt x="458" y="2344"/>
                  </a:lnTo>
                  <a:lnTo>
                    <a:pt x="454" y="2338"/>
                  </a:lnTo>
                  <a:lnTo>
                    <a:pt x="450" y="2332"/>
                  </a:lnTo>
                  <a:lnTo>
                    <a:pt x="444" y="2328"/>
                  </a:lnTo>
                  <a:lnTo>
                    <a:pt x="442" y="2322"/>
                  </a:lnTo>
                  <a:lnTo>
                    <a:pt x="436" y="2316"/>
                  </a:lnTo>
                  <a:lnTo>
                    <a:pt x="442" y="2320"/>
                  </a:lnTo>
                  <a:lnTo>
                    <a:pt x="440" y="2314"/>
                  </a:lnTo>
                  <a:lnTo>
                    <a:pt x="434" y="2312"/>
                  </a:lnTo>
                  <a:lnTo>
                    <a:pt x="432" y="2318"/>
                  </a:lnTo>
                  <a:lnTo>
                    <a:pt x="426" y="2314"/>
                  </a:lnTo>
                  <a:lnTo>
                    <a:pt x="418" y="2310"/>
                  </a:lnTo>
                  <a:lnTo>
                    <a:pt x="422" y="2316"/>
                  </a:lnTo>
                  <a:lnTo>
                    <a:pt x="414" y="2314"/>
                  </a:lnTo>
                  <a:lnTo>
                    <a:pt x="412" y="2308"/>
                  </a:lnTo>
                  <a:lnTo>
                    <a:pt x="410" y="2302"/>
                  </a:lnTo>
                  <a:lnTo>
                    <a:pt x="404" y="2300"/>
                  </a:lnTo>
                  <a:lnTo>
                    <a:pt x="404" y="2294"/>
                  </a:lnTo>
                  <a:lnTo>
                    <a:pt x="410" y="2294"/>
                  </a:lnTo>
                  <a:lnTo>
                    <a:pt x="416" y="2294"/>
                  </a:lnTo>
                  <a:lnTo>
                    <a:pt x="422" y="2294"/>
                  </a:lnTo>
                  <a:lnTo>
                    <a:pt x="418" y="2288"/>
                  </a:lnTo>
                  <a:lnTo>
                    <a:pt x="424" y="2290"/>
                  </a:lnTo>
                  <a:lnTo>
                    <a:pt x="420" y="2284"/>
                  </a:lnTo>
                  <a:lnTo>
                    <a:pt x="422" y="2278"/>
                  </a:lnTo>
                  <a:lnTo>
                    <a:pt x="428" y="2278"/>
                  </a:lnTo>
                  <a:lnTo>
                    <a:pt x="422" y="2276"/>
                  </a:lnTo>
                  <a:lnTo>
                    <a:pt x="416" y="2270"/>
                  </a:lnTo>
                  <a:lnTo>
                    <a:pt x="418" y="2264"/>
                  </a:lnTo>
                  <a:lnTo>
                    <a:pt x="414" y="2270"/>
                  </a:lnTo>
                  <a:lnTo>
                    <a:pt x="414" y="2276"/>
                  </a:lnTo>
                  <a:lnTo>
                    <a:pt x="416" y="2280"/>
                  </a:lnTo>
                  <a:lnTo>
                    <a:pt x="418" y="2288"/>
                  </a:lnTo>
                  <a:lnTo>
                    <a:pt x="412" y="2290"/>
                  </a:lnTo>
                  <a:lnTo>
                    <a:pt x="406" y="2288"/>
                  </a:lnTo>
                  <a:lnTo>
                    <a:pt x="400" y="2284"/>
                  </a:lnTo>
                  <a:lnTo>
                    <a:pt x="394" y="2278"/>
                  </a:lnTo>
                  <a:lnTo>
                    <a:pt x="390" y="2272"/>
                  </a:lnTo>
                  <a:lnTo>
                    <a:pt x="384" y="2268"/>
                  </a:lnTo>
                  <a:lnTo>
                    <a:pt x="390" y="2270"/>
                  </a:lnTo>
                  <a:lnTo>
                    <a:pt x="396" y="2274"/>
                  </a:lnTo>
                  <a:lnTo>
                    <a:pt x="392" y="2268"/>
                  </a:lnTo>
                  <a:lnTo>
                    <a:pt x="398" y="2270"/>
                  </a:lnTo>
                  <a:lnTo>
                    <a:pt x="404" y="2270"/>
                  </a:lnTo>
                  <a:lnTo>
                    <a:pt x="398" y="2266"/>
                  </a:lnTo>
                  <a:lnTo>
                    <a:pt x="392" y="2262"/>
                  </a:lnTo>
                  <a:lnTo>
                    <a:pt x="386" y="2262"/>
                  </a:lnTo>
                  <a:lnTo>
                    <a:pt x="380" y="2260"/>
                  </a:lnTo>
                  <a:lnTo>
                    <a:pt x="376" y="2254"/>
                  </a:lnTo>
                  <a:lnTo>
                    <a:pt x="376" y="2260"/>
                  </a:lnTo>
                  <a:lnTo>
                    <a:pt x="370" y="2258"/>
                  </a:lnTo>
                  <a:lnTo>
                    <a:pt x="366" y="2252"/>
                  </a:lnTo>
                  <a:lnTo>
                    <a:pt x="360" y="2248"/>
                  </a:lnTo>
                  <a:lnTo>
                    <a:pt x="354" y="2248"/>
                  </a:lnTo>
                  <a:lnTo>
                    <a:pt x="358" y="2242"/>
                  </a:lnTo>
                  <a:lnTo>
                    <a:pt x="366" y="2242"/>
                  </a:lnTo>
                  <a:lnTo>
                    <a:pt x="370" y="2242"/>
                  </a:lnTo>
                  <a:lnTo>
                    <a:pt x="378" y="2248"/>
                  </a:lnTo>
                  <a:lnTo>
                    <a:pt x="384" y="2252"/>
                  </a:lnTo>
                  <a:lnTo>
                    <a:pt x="388" y="2252"/>
                  </a:lnTo>
                  <a:lnTo>
                    <a:pt x="396" y="2254"/>
                  </a:lnTo>
                  <a:lnTo>
                    <a:pt x="400" y="2254"/>
                  </a:lnTo>
                  <a:lnTo>
                    <a:pt x="396" y="2252"/>
                  </a:lnTo>
                  <a:lnTo>
                    <a:pt x="388" y="2250"/>
                  </a:lnTo>
                  <a:lnTo>
                    <a:pt x="384" y="2250"/>
                  </a:lnTo>
                  <a:lnTo>
                    <a:pt x="378" y="2244"/>
                  </a:lnTo>
                  <a:lnTo>
                    <a:pt x="370" y="2240"/>
                  </a:lnTo>
                  <a:lnTo>
                    <a:pt x="366" y="2236"/>
                  </a:lnTo>
                  <a:lnTo>
                    <a:pt x="364" y="2230"/>
                  </a:lnTo>
                  <a:lnTo>
                    <a:pt x="370" y="2232"/>
                  </a:lnTo>
                  <a:lnTo>
                    <a:pt x="376" y="2236"/>
                  </a:lnTo>
                  <a:lnTo>
                    <a:pt x="378" y="2236"/>
                  </a:lnTo>
                  <a:lnTo>
                    <a:pt x="384" y="2238"/>
                  </a:lnTo>
                  <a:lnTo>
                    <a:pt x="390" y="2236"/>
                  </a:lnTo>
                  <a:lnTo>
                    <a:pt x="384" y="2236"/>
                  </a:lnTo>
                  <a:lnTo>
                    <a:pt x="384" y="2234"/>
                  </a:lnTo>
                  <a:lnTo>
                    <a:pt x="384" y="2228"/>
                  </a:lnTo>
                  <a:lnTo>
                    <a:pt x="380" y="2234"/>
                  </a:lnTo>
                  <a:lnTo>
                    <a:pt x="374" y="2230"/>
                  </a:lnTo>
                  <a:lnTo>
                    <a:pt x="368" y="2228"/>
                  </a:lnTo>
                  <a:lnTo>
                    <a:pt x="362" y="2226"/>
                  </a:lnTo>
                  <a:lnTo>
                    <a:pt x="364" y="2220"/>
                  </a:lnTo>
                  <a:lnTo>
                    <a:pt x="370" y="2216"/>
                  </a:lnTo>
                  <a:lnTo>
                    <a:pt x="364" y="2218"/>
                  </a:lnTo>
                  <a:lnTo>
                    <a:pt x="358" y="2216"/>
                  </a:lnTo>
                  <a:lnTo>
                    <a:pt x="356" y="2210"/>
                  </a:lnTo>
                  <a:lnTo>
                    <a:pt x="362" y="2206"/>
                  </a:lnTo>
                  <a:lnTo>
                    <a:pt x="368" y="2204"/>
                  </a:lnTo>
                  <a:lnTo>
                    <a:pt x="374" y="2206"/>
                  </a:lnTo>
                  <a:lnTo>
                    <a:pt x="378" y="2212"/>
                  </a:lnTo>
                  <a:lnTo>
                    <a:pt x="384" y="2214"/>
                  </a:lnTo>
                  <a:lnTo>
                    <a:pt x="392" y="2216"/>
                  </a:lnTo>
                  <a:lnTo>
                    <a:pt x="384" y="2212"/>
                  </a:lnTo>
                  <a:lnTo>
                    <a:pt x="378" y="2208"/>
                  </a:lnTo>
                  <a:lnTo>
                    <a:pt x="374" y="2202"/>
                  </a:lnTo>
                  <a:lnTo>
                    <a:pt x="368" y="2202"/>
                  </a:lnTo>
                  <a:lnTo>
                    <a:pt x="362" y="2200"/>
                  </a:lnTo>
                  <a:lnTo>
                    <a:pt x="360" y="2194"/>
                  </a:lnTo>
                  <a:lnTo>
                    <a:pt x="364" y="2188"/>
                  </a:lnTo>
                  <a:lnTo>
                    <a:pt x="370" y="2190"/>
                  </a:lnTo>
                  <a:lnTo>
                    <a:pt x="366" y="2188"/>
                  </a:lnTo>
                  <a:lnTo>
                    <a:pt x="360" y="2182"/>
                  </a:lnTo>
                  <a:lnTo>
                    <a:pt x="358" y="2176"/>
                  </a:lnTo>
                  <a:lnTo>
                    <a:pt x="358" y="2170"/>
                  </a:lnTo>
                  <a:lnTo>
                    <a:pt x="366" y="2170"/>
                  </a:lnTo>
                  <a:lnTo>
                    <a:pt x="360" y="2168"/>
                  </a:lnTo>
                  <a:lnTo>
                    <a:pt x="354" y="2172"/>
                  </a:lnTo>
                  <a:lnTo>
                    <a:pt x="356" y="2178"/>
                  </a:lnTo>
                  <a:lnTo>
                    <a:pt x="352" y="2184"/>
                  </a:lnTo>
                  <a:lnTo>
                    <a:pt x="356" y="2190"/>
                  </a:lnTo>
                  <a:lnTo>
                    <a:pt x="356" y="2196"/>
                  </a:lnTo>
                  <a:lnTo>
                    <a:pt x="354" y="2202"/>
                  </a:lnTo>
                  <a:lnTo>
                    <a:pt x="348" y="2196"/>
                  </a:lnTo>
                  <a:lnTo>
                    <a:pt x="342" y="2192"/>
                  </a:lnTo>
                  <a:lnTo>
                    <a:pt x="340" y="2186"/>
                  </a:lnTo>
                  <a:lnTo>
                    <a:pt x="340" y="2180"/>
                  </a:lnTo>
                  <a:lnTo>
                    <a:pt x="336" y="2174"/>
                  </a:lnTo>
                  <a:lnTo>
                    <a:pt x="332" y="2170"/>
                  </a:lnTo>
                  <a:lnTo>
                    <a:pt x="332" y="2164"/>
                  </a:lnTo>
                  <a:lnTo>
                    <a:pt x="326" y="2158"/>
                  </a:lnTo>
                  <a:lnTo>
                    <a:pt x="326" y="2152"/>
                  </a:lnTo>
                  <a:lnTo>
                    <a:pt x="332" y="2152"/>
                  </a:lnTo>
                  <a:lnTo>
                    <a:pt x="336" y="2150"/>
                  </a:lnTo>
                  <a:lnTo>
                    <a:pt x="344" y="2150"/>
                  </a:lnTo>
                  <a:lnTo>
                    <a:pt x="342" y="2150"/>
                  </a:lnTo>
                  <a:lnTo>
                    <a:pt x="336" y="2148"/>
                  </a:lnTo>
                  <a:lnTo>
                    <a:pt x="330" y="2150"/>
                  </a:lnTo>
                  <a:lnTo>
                    <a:pt x="324" y="2146"/>
                  </a:lnTo>
                  <a:lnTo>
                    <a:pt x="322" y="2140"/>
                  </a:lnTo>
                  <a:lnTo>
                    <a:pt x="326" y="2134"/>
                  </a:lnTo>
                  <a:lnTo>
                    <a:pt x="332" y="2134"/>
                  </a:lnTo>
                  <a:lnTo>
                    <a:pt x="338" y="2138"/>
                  </a:lnTo>
                  <a:lnTo>
                    <a:pt x="344" y="2140"/>
                  </a:lnTo>
                  <a:lnTo>
                    <a:pt x="338" y="2134"/>
                  </a:lnTo>
                  <a:lnTo>
                    <a:pt x="340" y="2128"/>
                  </a:lnTo>
                  <a:lnTo>
                    <a:pt x="334" y="2128"/>
                  </a:lnTo>
                  <a:lnTo>
                    <a:pt x="328" y="2126"/>
                  </a:lnTo>
                  <a:lnTo>
                    <a:pt x="322" y="2124"/>
                  </a:lnTo>
                  <a:lnTo>
                    <a:pt x="328" y="2122"/>
                  </a:lnTo>
                  <a:lnTo>
                    <a:pt x="322" y="2122"/>
                  </a:lnTo>
                  <a:lnTo>
                    <a:pt x="316" y="2118"/>
                  </a:lnTo>
                  <a:lnTo>
                    <a:pt x="310" y="2114"/>
                  </a:lnTo>
                  <a:lnTo>
                    <a:pt x="304" y="2112"/>
                  </a:lnTo>
                  <a:lnTo>
                    <a:pt x="298" y="2106"/>
                  </a:lnTo>
                  <a:lnTo>
                    <a:pt x="292" y="2106"/>
                  </a:lnTo>
                  <a:lnTo>
                    <a:pt x="292" y="2100"/>
                  </a:lnTo>
                  <a:lnTo>
                    <a:pt x="298" y="2100"/>
                  </a:lnTo>
                  <a:lnTo>
                    <a:pt x="304" y="2102"/>
                  </a:lnTo>
                  <a:lnTo>
                    <a:pt x="312" y="2106"/>
                  </a:lnTo>
                  <a:lnTo>
                    <a:pt x="316" y="2112"/>
                  </a:lnTo>
                  <a:lnTo>
                    <a:pt x="312" y="2106"/>
                  </a:lnTo>
                  <a:lnTo>
                    <a:pt x="308" y="2100"/>
                  </a:lnTo>
                  <a:lnTo>
                    <a:pt x="314" y="2100"/>
                  </a:lnTo>
                  <a:lnTo>
                    <a:pt x="320" y="2100"/>
                  </a:lnTo>
                  <a:lnTo>
                    <a:pt x="326" y="2104"/>
                  </a:lnTo>
                  <a:lnTo>
                    <a:pt x="332" y="2104"/>
                  </a:lnTo>
                  <a:lnTo>
                    <a:pt x="338" y="2108"/>
                  </a:lnTo>
                  <a:lnTo>
                    <a:pt x="344" y="2108"/>
                  </a:lnTo>
                  <a:lnTo>
                    <a:pt x="350" y="2110"/>
                  </a:lnTo>
                  <a:lnTo>
                    <a:pt x="354" y="2116"/>
                  </a:lnTo>
                  <a:lnTo>
                    <a:pt x="360" y="2112"/>
                  </a:lnTo>
                  <a:lnTo>
                    <a:pt x="366" y="2116"/>
                  </a:lnTo>
                  <a:lnTo>
                    <a:pt x="368" y="2112"/>
                  </a:lnTo>
                  <a:lnTo>
                    <a:pt x="364" y="2106"/>
                  </a:lnTo>
                  <a:lnTo>
                    <a:pt x="362" y="2112"/>
                  </a:lnTo>
                  <a:lnTo>
                    <a:pt x="356" y="2108"/>
                  </a:lnTo>
                  <a:lnTo>
                    <a:pt x="350" y="2104"/>
                  </a:lnTo>
                  <a:lnTo>
                    <a:pt x="344" y="2100"/>
                  </a:lnTo>
                  <a:lnTo>
                    <a:pt x="342" y="2094"/>
                  </a:lnTo>
                  <a:lnTo>
                    <a:pt x="348" y="2098"/>
                  </a:lnTo>
                  <a:lnTo>
                    <a:pt x="354" y="2100"/>
                  </a:lnTo>
                  <a:lnTo>
                    <a:pt x="360" y="2100"/>
                  </a:lnTo>
                  <a:lnTo>
                    <a:pt x="366" y="2100"/>
                  </a:lnTo>
                  <a:lnTo>
                    <a:pt x="360" y="2098"/>
                  </a:lnTo>
                  <a:lnTo>
                    <a:pt x="354" y="2098"/>
                  </a:lnTo>
                  <a:lnTo>
                    <a:pt x="348" y="2094"/>
                  </a:lnTo>
                  <a:lnTo>
                    <a:pt x="344" y="2088"/>
                  </a:lnTo>
                  <a:lnTo>
                    <a:pt x="342" y="2088"/>
                  </a:lnTo>
                  <a:lnTo>
                    <a:pt x="336" y="2088"/>
                  </a:lnTo>
                  <a:lnTo>
                    <a:pt x="330" y="2082"/>
                  </a:lnTo>
                  <a:lnTo>
                    <a:pt x="330" y="2076"/>
                  </a:lnTo>
                  <a:lnTo>
                    <a:pt x="326" y="2070"/>
                  </a:lnTo>
                  <a:lnTo>
                    <a:pt x="328" y="2076"/>
                  </a:lnTo>
                  <a:lnTo>
                    <a:pt x="328" y="2082"/>
                  </a:lnTo>
                  <a:lnTo>
                    <a:pt x="330" y="2088"/>
                  </a:lnTo>
                  <a:lnTo>
                    <a:pt x="324" y="2090"/>
                  </a:lnTo>
                  <a:lnTo>
                    <a:pt x="318" y="2090"/>
                  </a:lnTo>
                  <a:lnTo>
                    <a:pt x="312" y="2086"/>
                  </a:lnTo>
                  <a:lnTo>
                    <a:pt x="306" y="2086"/>
                  </a:lnTo>
                  <a:lnTo>
                    <a:pt x="300" y="2086"/>
                  </a:lnTo>
                  <a:lnTo>
                    <a:pt x="294" y="2084"/>
                  </a:lnTo>
                  <a:lnTo>
                    <a:pt x="288" y="2086"/>
                  </a:lnTo>
                  <a:lnTo>
                    <a:pt x="282" y="2084"/>
                  </a:lnTo>
                  <a:lnTo>
                    <a:pt x="276" y="2080"/>
                  </a:lnTo>
                  <a:lnTo>
                    <a:pt x="282" y="2078"/>
                  </a:lnTo>
                  <a:lnTo>
                    <a:pt x="280" y="2072"/>
                  </a:lnTo>
                  <a:lnTo>
                    <a:pt x="286" y="2070"/>
                  </a:lnTo>
                  <a:lnTo>
                    <a:pt x="292" y="2074"/>
                  </a:lnTo>
                  <a:lnTo>
                    <a:pt x="294" y="2078"/>
                  </a:lnTo>
                  <a:lnTo>
                    <a:pt x="300" y="2082"/>
                  </a:lnTo>
                  <a:lnTo>
                    <a:pt x="306" y="2084"/>
                  </a:lnTo>
                  <a:lnTo>
                    <a:pt x="300" y="2082"/>
                  </a:lnTo>
                  <a:lnTo>
                    <a:pt x="304" y="2076"/>
                  </a:lnTo>
                  <a:lnTo>
                    <a:pt x="310" y="2076"/>
                  </a:lnTo>
                  <a:lnTo>
                    <a:pt x="308" y="2070"/>
                  </a:lnTo>
                  <a:lnTo>
                    <a:pt x="302" y="2074"/>
                  </a:lnTo>
                  <a:lnTo>
                    <a:pt x="296" y="2074"/>
                  </a:lnTo>
                  <a:lnTo>
                    <a:pt x="290" y="2070"/>
                  </a:lnTo>
                  <a:lnTo>
                    <a:pt x="286" y="2064"/>
                  </a:lnTo>
                  <a:lnTo>
                    <a:pt x="282" y="2064"/>
                  </a:lnTo>
                  <a:lnTo>
                    <a:pt x="280" y="2058"/>
                  </a:lnTo>
                  <a:lnTo>
                    <a:pt x="284" y="2052"/>
                  </a:lnTo>
                  <a:lnTo>
                    <a:pt x="290" y="2048"/>
                  </a:lnTo>
                  <a:lnTo>
                    <a:pt x="296" y="2052"/>
                  </a:lnTo>
                  <a:lnTo>
                    <a:pt x="296" y="2046"/>
                  </a:lnTo>
                  <a:lnTo>
                    <a:pt x="302" y="2044"/>
                  </a:lnTo>
                  <a:lnTo>
                    <a:pt x="298" y="2040"/>
                  </a:lnTo>
                  <a:lnTo>
                    <a:pt x="298" y="2036"/>
                  </a:lnTo>
                  <a:lnTo>
                    <a:pt x="296" y="2042"/>
                  </a:lnTo>
                  <a:lnTo>
                    <a:pt x="292" y="2044"/>
                  </a:lnTo>
                  <a:lnTo>
                    <a:pt x="286" y="2040"/>
                  </a:lnTo>
                  <a:lnTo>
                    <a:pt x="292" y="2038"/>
                  </a:lnTo>
                  <a:lnTo>
                    <a:pt x="298" y="2036"/>
                  </a:lnTo>
                  <a:lnTo>
                    <a:pt x="296" y="2034"/>
                  </a:lnTo>
                  <a:lnTo>
                    <a:pt x="290" y="2032"/>
                  </a:lnTo>
                  <a:lnTo>
                    <a:pt x="284" y="2030"/>
                  </a:lnTo>
                  <a:lnTo>
                    <a:pt x="278" y="2024"/>
                  </a:lnTo>
                  <a:lnTo>
                    <a:pt x="274" y="2018"/>
                  </a:lnTo>
                  <a:lnTo>
                    <a:pt x="266" y="2018"/>
                  </a:lnTo>
                  <a:lnTo>
                    <a:pt x="260" y="2020"/>
                  </a:lnTo>
                  <a:lnTo>
                    <a:pt x="254" y="2022"/>
                  </a:lnTo>
                  <a:lnTo>
                    <a:pt x="260" y="2022"/>
                  </a:lnTo>
                  <a:lnTo>
                    <a:pt x="266" y="2026"/>
                  </a:lnTo>
                  <a:lnTo>
                    <a:pt x="260" y="2026"/>
                  </a:lnTo>
                  <a:lnTo>
                    <a:pt x="254" y="2026"/>
                  </a:lnTo>
                  <a:lnTo>
                    <a:pt x="248" y="2020"/>
                  </a:lnTo>
                  <a:lnTo>
                    <a:pt x="244" y="2020"/>
                  </a:lnTo>
                  <a:lnTo>
                    <a:pt x="236" y="2018"/>
                  </a:lnTo>
                  <a:lnTo>
                    <a:pt x="230" y="2014"/>
                  </a:lnTo>
                  <a:lnTo>
                    <a:pt x="226" y="2008"/>
                  </a:lnTo>
                  <a:lnTo>
                    <a:pt x="230" y="2002"/>
                  </a:lnTo>
                  <a:lnTo>
                    <a:pt x="228" y="1996"/>
                  </a:lnTo>
                  <a:lnTo>
                    <a:pt x="224" y="2002"/>
                  </a:lnTo>
                  <a:lnTo>
                    <a:pt x="220" y="2008"/>
                  </a:lnTo>
                  <a:lnTo>
                    <a:pt x="214" y="2010"/>
                  </a:lnTo>
                  <a:lnTo>
                    <a:pt x="208" y="2010"/>
                  </a:lnTo>
                  <a:lnTo>
                    <a:pt x="202" y="2012"/>
                  </a:lnTo>
                  <a:lnTo>
                    <a:pt x="200" y="2018"/>
                  </a:lnTo>
                  <a:lnTo>
                    <a:pt x="206" y="2014"/>
                  </a:lnTo>
                  <a:lnTo>
                    <a:pt x="212" y="2018"/>
                  </a:lnTo>
                  <a:lnTo>
                    <a:pt x="218" y="2024"/>
                  </a:lnTo>
                  <a:lnTo>
                    <a:pt x="216" y="2030"/>
                  </a:lnTo>
                  <a:lnTo>
                    <a:pt x="210" y="2030"/>
                  </a:lnTo>
                  <a:lnTo>
                    <a:pt x="204" y="2026"/>
                  </a:lnTo>
                  <a:lnTo>
                    <a:pt x="202" y="2024"/>
                  </a:lnTo>
                  <a:lnTo>
                    <a:pt x="198" y="2020"/>
                  </a:lnTo>
                  <a:lnTo>
                    <a:pt x="194" y="2014"/>
                  </a:lnTo>
                  <a:lnTo>
                    <a:pt x="192" y="2008"/>
                  </a:lnTo>
                  <a:lnTo>
                    <a:pt x="194" y="2006"/>
                  </a:lnTo>
                  <a:lnTo>
                    <a:pt x="198" y="2000"/>
                  </a:lnTo>
                  <a:lnTo>
                    <a:pt x="204" y="1996"/>
                  </a:lnTo>
                  <a:lnTo>
                    <a:pt x="208" y="1990"/>
                  </a:lnTo>
                  <a:lnTo>
                    <a:pt x="214" y="1988"/>
                  </a:lnTo>
                  <a:lnTo>
                    <a:pt x="220" y="1988"/>
                  </a:lnTo>
                  <a:lnTo>
                    <a:pt x="214" y="1986"/>
                  </a:lnTo>
                  <a:lnTo>
                    <a:pt x="216" y="1980"/>
                  </a:lnTo>
                  <a:lnTo>
                    <a:pt x="222" y="1982"/>
                  </a:lnTo>
                  <a:lnTo>
                    <a:pt x="224" y="1976"/>
                  </a:lnTo>
                  <a:lnTo>
                    <a:pt x="230" y="1980"/>
                  </a:lnTo>
                  <a:lnTo>
                    <a:pt x="226" y="1974"/>
                  </a:lnTo>
                  <a:lnTo>
                    <a:pt x="230" y="1968"/>
                  </a:lnTo>
                  <a:lnTo>
                    <a:pt x="224" y="1962"/>
                  </a:lnTo>
                  <a:lnTo>
                    <a:pt x="224" y="1968"/>
                  </a:lnTo>
                  <a:lnTo>
                    <a:pt x="218" y="1972"/>
                  </a:lnTo>
                  <a:lnTo>
                    <a:pt x="212" y="1972"/>
                  </a:lnTo>
                  <a:lnTo>
                    <a:pt x="212" y="1968"/>
                  </a:lnTo>
                  <a:lnTo>
                    <a:pt x="218" y="1966"/>
                  </a:lnTo>
                  <a:lnTo>
                    <a:pt x="212" y="1964"/>
                  </a:lnTo>
                  <a:lnTo>
                    <a:pt x="206" y="1962"/>
                  </a:lnTo>
                  <a:lnTo>
                    <a:pt x="204" y="1956"/>
                  </a:lnTo>
                  <a:lnTo>
                    <a:pt x="210" y="1958"/>
                  </a:lnTo>
                  <a:lnTo>
                    <a:pt x="216" y="1956"/>
                  </a:lnTo>
                  <a:lnTo>
                    <a:pt x="222" y="1952"/>
                  </a:lnTo>
                  <a:lnTo>
                    <a:pt x="228" y="1954"/>
                  </a:lnTo>
                  <a:lnTo>
                    <a:pt x="234" y="1954"/>
                  </a:lnTo>
                  <a:lnTo>
                    <a:pt x="238" y="1962"/>
                  </a:lnTo>
                  <a:lnTo>
                    <a:pt x="244" y="1962"/>
                  </a:lnTo>
                  <a:lnTo>
                    <a:pt x="238" y="1958"/>
                  </a:lnTo>
                  <a:lnTo>
                    <a:pt x="242" y="1952"/>
                  </a:lnTo>
                  <a:lnTo>
                    <a:pt x="244" y="1952"/>
                  </a:lnTo>
                  <a:lnTo>
                    <a:pt x="248" y="1952"/>
                  </a:lnTo>
                  <a:lnTo>
                    <a:pt x="254" y="1952"/>
                  </a:lnTo>
                  <a:lnTo>
                    <a:pt x="256" y="1958"/>
                  </a:lnTo>
                  <a:lnTo>
                    <a:pt x="262" y="1960"/>
                  </a:lnTo>
                  <a:lnTo>
                    <a:pt x="260" y="1968"/>
                  </a:lnTo>
                  <a:lnTo>
                    <a:pt x="266" y="1970"/>
                  </a:lnTo>
                  <a:lnTo>
                    <a:pt x="264" y="1964"/>
                  </a:lnTo>
                  <a:lnTo>
                    <a:pt x="270" y="1970"/>
                  </a:lnTo>
                  <a:lnTo>
                    <a:pt x="270" y="1976"/>
                  </a:lnTo>
                  <a:lnTo>
                    <a:pt x="264" y="1980"/>
                  </a:lnTo>
                  <a:lnTo>
                    <a:pt x="258" y="1982"/>
                  </a:lnTo>
                  <a:lnTo>
                    <a:pt x="252" y="1982"/>
                  </a:lnTo>
                  <a:lnTo>
                    <a:pt x="246" y="1980"/>
                  </a:lnTo>
                  <a:lnTo>
                    <a:pt x="252" y="1982"/>
                  </a:lnTo>
                  <a:lnTo>
                    <a:pt x="258" y="1982"/>
                  </a:lnTo>
                  <a:lnTo>
                    <a:pt x="264" y="1982"/>
                  </a:lnTo>
                  <a:lnTo>
                    <a:pt x="270" y="1982"/>
                  </a:lnTo>
                  <a:lnTo>
                    <a:pt x="276" y="1986"/>
                  </a:lnTo>
                  <a:lnTo>
                    <a:pt x="282" y="1986"/>
                  </a:lnTo>
                  <a:lnTo>
                    <a:pt x="276" y="1982"/>
                  </a:lnTo>
                  <a:lnTo>
                    <a:pt x="274" y="1976"/>
                  </a:lnTo>
                  <a:lnTo>
                    <a:pt x="280" y="1978"/>
                  </a:lnTo>
                  <a:lnTo>
                    <a:pt x="286" y="1982"/>
                  </a:lnTo>
                  <a:lnTo>
                    <a:pt x="288" y="1988"/>
                  </a:lnTo>
                  <a:lnTo>
                    <a:pt x="288" y="1994"/>
                  </a:lnTo>
                  <a:lnTo>
                    <a:pt x="286" y="2000"/>
                  </a:lnTo>
                  <a:lnTo>
                    <a:pt x="286" y="2006"/>
                  </a:lnTo>
                  <a:lnTo>
                    <a:pt x="292" y="2002"/>
                  </a:lnTo>
                  <a:lnTo>
                    <a:pt x="294" y="1996"/>
                  </a:lnTo>
                  <a:lnTo>
                    <a:pt x="294" y="1992"/>
                  </a:lnTo>
                  <a:lnTo>
                    <a:pt x="300" y="1986"/>
                  </a:lnTo>
                  <a:lnTo>
                    <a:pt x="298" y="1980"/>
                  </a:lnTo>
                  <a:lnTo>
                    <a:pt x="300" y="1974"/>
                  </a:lnTo>
                  <a:lnTo>
                    <a:pt x="300" y="1968"/>
                  </a:lnTo>
                  <a:lnTo>
                    <a:pt x="298" y="1974"/>
                  </a:lnTo>
                  <a:lnTo>
                    <a:pt x="296" y="1980"/>
                  </a:lnTo>
                  <a:lnTo>
                    <a:pt x="292" y="1986"/>
                  </a:lnTo>
                  <a:lnTo>
                    <a:pt x="292" y="1980"/>
                  </a:lnTo>
                  <a:lnTo>
                    <a:pt x="290" y="1974"/>
                  </a:lnTo>
                  <a:lnTo>
                    <a:pt x="286" y="1968"/>
                  </a:lnTo>
                  <a:lnTo>
                    <a:pt x="286" y="1962"/>
                  </a:lnTo>
                  <a:lnTo>
                    <a:pt x="286" y="1956"/>
                  </a:lnTo>
                  <a:lnTo>
                    <a:pt x="288" y="1950"/>
                  </a:lnTo>
                  <a:lnTo>
                    <a:pt x="294" y="1944"/>
                  </a:lnTo>
                  <a:lnTo>
                    <a:pt x="300" y="1942"/>
                  </a:lnTo>
                  <a:lnTo>
                    <a:pt x="294" y="1942"/>
                  </a:lnTo>
                  <a:lnTo>
                    <a:pt x="288" y="1944"/>
                  </a:lnTo>
                  <a:lnTo>
                    <a:pt x="282" y="1950"/>
                  </a:lnTo>
                  <a:lnTo>
                    <a:pt x="282" y="1944"/>
                  </a:lnTo>
                  <a:lnTo>
                    <a:pt x="280" y="1938"/>
                  </a:lnTo>
                  <a:lnTo>
                    <a:pt x="280" y="1932"/>
                  </a:lnTo>
                  <a:lnTo>
                    <a:pt x="282" y="1926"/>
                  </a:lnTo>
                  <a:lnTo>
                    <a:pt x="286" y="1924"/>
                  </a:lnTo>
                  <a:lnTo>
                    <a:pt x="290" y="1918"/>
                  </a:lnTo>
                  <a:lnTo>
                    <a:pt x="298" y="1924"/>
                  </a:lnTo>
                  <a:lnTo>
                    <a:pt x="302" y="1926"/>
                  </a:lnTo>
                  <a:lnTo>
                    <a:pt x="308" y="1930"/>
                  </a:lnTo>
                  <a:lnTo>
                    <a:pt x="314" y="1930"/>
                  </a:lnTo>
                  <a:lnTo>
                    <a:pt x="316" y="1926"/>
                  </a:lnTo>
                  <a:lnTo>
                    <a:pt x="312" y="1924"/>
                  </a:lnTo>
                  <a:lnTo>
                    <a:pt x="306" y="1924"/>
                  </a:lnTo>
                  <a:lnTo>
                    <a:pt x="300" y="1922"/>
                  </a:lnTo>
                  <a:lnTo>
                    <a:pt x="294" y="1918"/>
                  </a:lnTo>
                  <a:lnTo>
                    <a:pt x="288" y="1914"/>
                  </a:lnTo>
                  <a:lnTo>
                    <a:pt x="282" y="1918"/>
                  </a:lnTo>
                  <a:lnTo>
                    <a:pt x="276" y="1916"/>
                  </a:lnTo>
                  <a:lnTo>
                    <a:pt x="280" y="1910"/>
                  </a:lnTo>
                  <a:lnTo>
                    <a:pt x="276" y="1904"/>
                  </a:lnTo>
                  <a:lnTo>
                    <a:pt x="272" y="1898"/>
                  </a:lnTo>
                  <a:lnTo>
                    <a:pt x="274" y="1894"/>
                  </a:lnTo>
                  <a:lnTo>
                    <a:pt x="282" y="1896"/>
                  </a:lnTo>
                  <a:lnTo>
                    <a:pt x="286" y="1894"/>
                  </a:lnTo>
                  <a:lnTo>
                    <a:pt x="290" y="1888"/>
                  </a:lnTo>
                  <a:lnTo>
                    <a:pt x="296" y="1884"/>
                  </a:lnTo>
                  <a:lnTo>
                    <a:pt x="302" y="1878"/>
                  </a:lnTo>
                  <a:lnTo>
                    <a:pt x="300" y="1872"/>
                  </a:lnTo>
                  <a:lnTo>
                    <a:pt x="298" y="1866"/>
                  </a:lnTo>
                  <a:lnTo>
                    <a:pt x="300" y="1860"/>
                  </a:lnTo>
                  <a:lnTo>
                    <a:pt x="298" y="1854"/>
                  </a:lnTo>
                  <a:lnTo>
                    <a:pt x="292" y="1860"/>
                  </a:lnTo>
                  <a:lnTo>
                    <a:pt x="286" y="1858"/>
                  </a:lnTo>
                  <a:lnTo>
                    <a:pt x="280" y="1854"/>
                  </a:lnTo>
                  <a:lnTo>
                    <a:pt x="274" y="1850"/>
                  </a:lnTo>
                  <a:lnTo>
                    <a:pt x="268" y="1848"/>
                  </a:lnTo>
                  <a:lnTo>
                    <a:pt x="262" y="1844"/>
                  </a:lnTo>
                  <a:lnTo>
                    <a:pt x="260" y="1844"/>
                  </a:lnTo>
                  <a:lnTo>
                    <a:pt x="256" y="1840"/>
                  </a:lnTo>
                  <a:lnTo>
                    <a:pt x="256" y="1834"/>
                  </a:lnTo>
                  <a:lnTo>
                    <a:pt x="262" y="1836"/>
                  </a:lnTo>
                  <a:lnTo>
                    <a:pt x="258" y="1828"/>
                  </a:lnTo>
                  <a:lnTo>
                    <a:pt x="260" y="1822"/>
                  </a:lnTo>
                  <a:lnTo>
                    <a:pt x="262" y="1816"/>
                  </a:lnTo>
                  <a:lnTo>
                    <a:pt x="268" y="1814"/>
                  </a:lnTo>
                  <a:lnTo>
                    <a:pt x="266" y="1808"/>
                  </a:lnTo>
                  <a:lnTo>
                    <a:pt x="262" y="1814"/>
                  </a:lnTo>
                  <a:lnTo>
                    <a:pt x="256" y="1810"/>
                  </a:lnTo>
                  <a:lnTo>
                    <a:pt x="258" y="1808"/>
                  </a:lnTo>
                  <a:lnTo>
                    <a:pt x="258" y="1802"/>
                  </a:lnTo>
                  <a:lnTo>
                    <a:pt x="252" y="1798"/>
                  </a:lnTo>
                  <a:lnTo>
                    <a:pt x="246" y="1792"/>
                  </a:lnTo>
                  <a:lnTo>
                    <a:pt x="244" y="1786"/>
                  </a:lnTo>
                  <a:lnTo>
                    <a:pt x="246" y="1780"/>
                  </a:lnTo>
                  <a:lnTo>
                    <a:pt x="250" y="1774"/>
                  </a:lnTo>
                  <a:lnTo>
                    <a:pt x="246" y="1768"/>
                  </a:lnTo>
                  <a:lnTo>
                    <a:pt x="248" y="1762"/>
                  </a:lnTo>
                  <a:lnTo>
                    <a:pt x="254" y="1762"/>
                  </a:lnTo>
                  <a:lnTo>
                    <a:pt x="252" y="1756"/>
                  </a:lnTo>
                  <a:lnTo>
                    <a:pt x="250" y="1754"/>
                  </a:lnTo>
                  <a:lnTo>
                    <a:pt x="244" y="1750"/>
                  </a:lnTo>
                  <a:lnTo>
                    <a:pt x="240" y="1744"/>
                  </a:lnTo>
                  <a:lnTo>
                    <a:pt x="242" y="1738"/>
                  </a:lnTo>
                  <a:lnTo>
                    <a:pt x="236" y="1732"/>
                  </a:lnTo>
                  <a:lnTo>
                    <a:pt x="238" y="1726"/>
                  </a:lnTo>
                  <a:lnTo>
                    <a:pt x="244" y="1728"/>
                  </a:lnTo>
                  <a:lnTo>
                    <a:pt x="250" y="1730"/>
                  </a:lnTo>
                  <a:lnTo>
                    <a:pt x="252" y="1728"/>
                  </a:lnTo>
                  <a:lnTo>
                    <a:pt x="246" y="1726"/>
                  </a:lnTo>
                  <a:lnTo>
                    <a:pt x="240" y="1720"/>
                  </a:lnTo>
                  <a:lnTo>
                    <a:pt x="234" y="1716"/>
                  </a:lnTo>
                  <a:lnTo>
                    <a:pt x="232" y="1708"/>
                  </a:lnTo>
                  <a:lnTo>
                    <a:pt x="238" y="1708"/>
                  </a:lnTo>
                  <a:lnTo>
                    <a:pt x="244" y="1706"/>
                  </a:lnTo>
                  <a:lnTo>
                    <a:pt x="248" y="1712"/>
                  </a:lnTo>
                  <a:lnTo>
                    <a:pt x="252" y="1718"/>
                  </a:lnTo>
                  <a:lnTo>
                    <a:pt x="256" y="1724"/>
                  </a:lnTo>
                  <a:lnTo>
                    <a:pt x="258" y="1724"/>
                  </a:lnTo>
                  <a:lnTo>
                    <a:pt x="256" y="1720"/>
                  </a:lnTo>
                  <a:lnTo>
                    <a:pt x="252" y="1714"/>
                  </a:lnTo>
                  <a:lnTo>
                    <a:pt x="250" y="1708"/>
                  </a:lnTo>
                  <a:lnTo>
                    <a:pt x="248" y="1702"/>
                  </a:lnTo>
                  <a:lnTo>
                    <a:pt x="246" y="1702"/>
                  </a:lnTo>
                  <a:lnTo>
                    <a:pt x="244" y="1696"/>
                  </a:lnTo>
                  <a:lnTo>
                    <a:pt x="242" y="1690"/>
                  </a:lnTo>
                  <a:lnTo>
                    <a:pt x="234" y="1694"/>
                  </a:lnTo>
                  <a:lnTo>
                    <a:pt x="230" y="1694"/>
                  </a:lnTo>
                  <a:lnTo>
                    <a:pt x="224" y="1692"/>
                  </a:lnTo>
                  <a:lnTo>
                    <a:pt x="220" y="1686"/>
                  </a:lnTo>
                  <a:lnTo>
                    <a:pt x="222" y="1680"/>
                  </a:lnTo>
                  <a:lnTo>
                    <a:pt x="228" y="1674"/>
                  </a:lnTo>
                  <a:lnTo>
                    <a:pt x="234" y="1674"/>
                  </a:lnTo>
                  <a:lnTo>
                    <a:pt x="240" y="1670"/>
                  </a:lnTo>
                  <a:lnTo>
                    <a:pt x="240" y="1666"/>
                  </a:lnTo>
                  <a:lnTo>
                    <a:pt x="240" y="1660"/>
                  </a:lnTo>
                  <a:lnTo>
                    <a:pt x="236" y="1654"/>
                  </a:lnTo>
                  <a:lnTo>
                    <a:pt x="238" y="1660"/>
                  </a:lnTo>
                  <a:lnTo>
                    <a:pt x="238" y="1666"/>
                  </a:lnTo>
                  <a:lnTo>
                    <a:pt x="234" y="1670"/>
                  </a:lnTo>
                  <a:lnTo>
                    <a:pt x="230" y="1672"/>
                  </a:lnTo>
                  <a:lnTo>
                    <a:pt x="224" y="1670"/>
                  </a:lnTo>
                  <a:lnTo>
                    <a:pt x="218" y="1664"/>
                  </a:lnTo>
                  <a:lnTo>
                    <a:pt x="216" y="1662"/>
                  </a:lnTo>
                  <a:lnTo>
                    <a:pt x="210" y="1658"/>
                  </a:lnTo>
                  <a:lnTo>
                    <a:pt x="206" y="1658"/>
                  </a:lnTo>
                  <a:lnTo>
                    <a:pt x="198" y="1660"/>
                  </a:lnTo>
                  <a:lnTo>
                    <a:pt x="198" y="1666"/>
                  </a:lnTo>
                  <a:lnTo>
                    <a:pt x="202" y="1672"/>
                  </a:lnTo>
                  <a:lnTo>
                    <a:pt x="198" y="1678"/>
                  </a:lnTo>
                  <a:lnTo>
                    <a:pt x="192" y="1678"/>
                  </a:lnTo>
                  <a:lnTo>
                    <a:pt x="186" y="1680"/>
                  </a:lnTo>
                  <a:lnTo>
                    <a:pt x="180" y="1680"/>
                  </a:lnTo>
                  <a:lnTo>
                    <a:pt x="178" y="1678"/>
                  </a:lnTo>
                  <a:lnTo>
                    <a:pt x="172" y="1676"/>
                  </a:lnTo>
                  <a:lnTo>
                    <a:pt x="166" y="1676"/>
                  </a:lnTo>
                  <a:lnTo>
                    <a:pt x="166" y="1670"/>
                  </a:lnTo>
                  <a:lnTo>
                    <a:pt x="172" y="1666"/>
                  </a:lnTo>
                  <a:lnTo>
                    <a:pt x="168" y="1664"/>
                  </a:lnTo>
                  <a:lnTo>
                    <a:pt x="162" y="1664"/>
                  </a:lnTo>
                  <a:lnTo>
                    <a:pt x="154" y="1658"/>
                  </a:lnTo>
                  <a:lnTo>
                    <a:pt x="152" y="1654"/>
                  </a:lnTo>
                  <a:lnTo>
                    <a:pt x="150" y="1646"/>
                  </a:lnTo>
                  <a:lnTo>
                    <a:pt x="144" y="1642"/>
                  </a:lnTo>
                  <a:lnTo>
                    <a:pt x="140" y="1636"/>
                  </a:lnTo>
                  <a:lnTo>
                    <a:pt x="136" y="1628"/>
                  </a:lnTo>
                  <a:lnTo>
                    <a:pt x="134" y="1624"/>
                  </a:lnTo>
                  <a:lnTo>
                    <a:pt x="136" y="1618"/>
                  </a:lnTo>
                  <a:lnTo>
                    <a:pt x="134" y="1612"/>
                  </a:lnTo>
                  <a:lnTo>
                    <a:pt x="134" y="1606"/>
                  </a:lnTo>
                  <a:lnTo>
                    <a:pt x="132" y="1600"/>
                  </a:lnTo>
                  <a:lnTo>
                    <a:pt x="134" y="1594"/>
                  </a:lnTo>
                  <a:lnTo>
                    <a:pt x="134" y="1588"/>
                  </a:lnTo>
                  <a:lnTo>
                    <a:pt x="132" y="1582"/>
                  </a:lnTo>
                  <a:lnTo>
                    <a:pt x="130" y="1576"/>
                  </a:lnTo>
                  <a:lnTo>
                    <a:pt x="130" y="1570"/>
                  </a:lnTo>
                  <a:lnTo>
                    <a:pt x="128" y="1568"/>
                  </a:lnTo>
                  <a:lnTo>
                    <a:pt x="130" y="1560"/>
                  </a:lnTo>
                  <a:lnTo>
                    <a:pt x="126" y="1556"/>
                  </a:lnTo>
                  <a:lnTo>
                    <a:pt x="128" y="1552"/>
                  </a:lnTo>
                  <a:lnTo>
                    <a:pt x="134" y="1548"/>
                  </a:lnTo>
                  <a:lnTo>
                    <a:pt x="140" y="1544"/>
                  </a:lnTo>
                  <a:lnTo>
                    <a:pt x="138" y="1544"/>
                  </a:lnTo>
                  <a:lnTo>
                    <a:pt x="138" y="1538"/>
                  </a:lnTo>
                  <a:lnTo>
                    <a:pt x="138" y="1532"/>
                  </a:lnTo>
                  <a:lnTo>
                    <a:pt x="138" y="1526"/>
                  </a:lnTo>
                  <a:lnTo>
                    <a:pt x="138" y="1518"/>
                  </a:lnTo>
                  <a:lnTo>
                    <a:pt x="138" y="1514"/>
                  </a:lnTo>
                  <a:lnTo>
                    <a:pt x="138" y="1512"/>
                  </a:lnTo>
                  <a:lnTo>
                    <a:pt x="136" y="1506"/>
                  </a:lnTo>
                  <a:lnTo>
                    <a:pt x="134" y="1500"/>
                  </a:lnTo>
                  <a:lnTo>
                    <a:pt x="134" y="1502"/>
                  </a:lnTo>
                  <a:lnTo>
                    <a:pt x="130" y="1496"/>
                  </a:lnTo>
                  <a:lnTo>
                    <a:pt x="126" y="1490"/>
                  </a:lnTo>
                  <a:lnTo>
                    <a:pt x="122" y="1484"/>
                  </a:lnTo>
                  <a:lnTo>
                    <a:pt x="118" y="1478"/>
                  </a:lnTo>
                  <a:lnTo>
                    <a:pt x="116" y="1472"/>
                  </a:lnTo>
                  <a:lnTo>
                    <a:pt x="112" y="1468"/>
                  </a:lnTo>
                  <a:lnTo>
                    <a:pt x="110" y="1468"/>
                  </a:lnTo>
                  <a:lnTo>
                    <a:pt x="108" y="1462"/>
                  </a:lnTo>
                  <a:lnTo>
                    <a:pt x="104" y="1456"/>
                  </a:lnTo>
                  <a:lnTo>
                    <a:pt x="100" y="1450"/>
                  </a:lnTo>
                  <a:lnTo>
                    <a:pt x="100" y="1448"/>
                  </a:lnTo>
                  <a:lnTo>
                    <a:pt x="98" y="1442"/>
                  </a:lnTo>
                  <a:lnTo>
                    <a:pt x="96" y="1436"/>
                  </a:lnTo>
                  <a:lnTo>
                    <a:pt x="98" y="1430"/>
                  </a:lnTo>
                  <a:lnTo>
                    <a:pt x="96" y="1426"/>
                  </a:lnTo>
                  <a:lnTo>
                    <a:pt x="94" y="1418"/>
                  </a:lnTo>
                  <a:lnTo>
                    <a:pt x="90" y="1412"/>
                  </a:lnTo>
                  <a:lnTo>
                    <a:pt x="84" y="1406"/>
                  </a:lnTo>
                  <a:lnTo>
                    <a:pt x="78" y="1400"/>
                  </a:lnTo>
                  <a:lnTo>
                    <a:pt x="74" y="1394"/>
                  </a:lnTo>
                  <a:lnTo>
                    <a:pt x="72" y="1388"/>
                  </a:lnTo>
                  <a:lnTo>
                    <a:pt x="74" y="1382"/>
                  </a:lnTo>
                  <a:lnTo>
                    <a:pt x="72" y="1378"/>
                  </a:lnTo>
                  <a:lnTo>
                    <a:pt x="66" y="1370"/>
                  </a:lnTo>
                  <a:lnTo>
                    <a:pt x="66" y="1366"/>
                  </a:lnTo>
                  <a:lnTo>
                    <a:pt x="68" y="1360"/>
                  </a:lnTo>
                  <a:lnTo>
                    <a:pt x="74" y="1362"/>
                  </a:lnTo>
                  <a:lnTo>
                    <a:pt x="78" y="1364"/>
                  </a:lnTo>
                  <a:lnTo>
                    <a:pt x="86" y="1364"/>
                  </a:lnTo>
                  <a:lnTo>
                    <a:pt x="90" y="1358"/>
                  </a:lnTo>
                  <a:lnTo>
                    <a:pt x="90" y="1352"/>
                  </a:lnTo>
                  <a:lnTo>
                    <a:pt x="88" y="1346"/>
                  </a:lnTo>
                  <a:lnTo>
                    <a:pt x="88" y="1340"/>
                  </a:lnTo>
                  <a:lnTo>
                    <a:pt x="84" y="1334"/>
                  </a:lnTo>
                  <a:lnTo>
                    <a:pt x="82" y="1334"/>
                  </a:lnTo>
                  <a:lnTo>
                    <a:pt x="84" y="1328"/>
                  </a:lnTo>
                  <a:lnTo>
                    <a:pt x="86" y="1322"/>
                  </a:lnTo>
                  <a:lnTo>
                    <a:pt x="86" y="1328"/>
                  </a:lnTo>
                  <a:lnTo>
                    <a:pt x="92" y="1328"/>
                  </a:lnTo>
                  <a:lnTo>
                    <a:pt x="92" y="1324"/>
                  </a:lnTo>
                  <a:lnTo>
                    <a:pt x="90" y="1318"/>
                  </a:lnTo>
                  <a:lnTo>
                    <a:pt x="92" y="1310"/>
                  </a:lnTo>
                  <a:lnTo>
                    <a:pt x="92" y="1306"/>
                  </a:lnTo>
                  <a:lnTo>
                    <a:pt x="94" y="1302"/>
                  </a:lnTo>
                  <a:lnTo>
                    <a:pt x="92" y="1296"/>
                  </a:lnTo>
                  <a:lnTo>
                    <a:pt x="92" y="1290"/>
                  </a:lnTo>
                  <a:lnTo>
                    <a:pt x="90" y="1284"/>
                  </a:lnTo>
                  <a:lnTo>
                    <a:pt x="90" y="1282"/>
                  </a:lnTo>
                  <a:lnTo>
                    <a:pt x="90" y="1274"/>
                  </a:lnTo>
                  <a:lnTo>
                    <a:pt x="94" y="1268"/>
                  </a:lnTo>
                  <a:lnTo>
                    <a:pt x="98" y="1264"/>
                  </a:lnTo>
                  <a:lnTo>
                    <a:pt x="94" y="1258"/>
                  </a:lnTo>
                  <a:lnTo>
                    <a:pt x="90" y="1252"/>
                  </a:lnTo>
                  <a:lnTo>
                    <a:pt x="94" y="1246"/>
                  </a:lnTo>
                  <a:lnTo>
                    <a:pt x="96" y="1240"/>
                  </a:lnTo>
                  <a:lnTo>
                    <a:pt x="98" y="1234"/>
                  </a:lnTo>
                  <a:lnTo>
                    <a:pt x="98" y="1232"/>
                  </a:lnTo>
                  <a:lnTo>
                    <a:pt x="96" y="1230"/>
                  </a:lnTo>
                  <a:lnTo>
                    <a:pt x="100" y="1224"/>
                  </a:lnTo>
                  <a:lnTo>
                    <a:pt x="104" y="1218"/>
                  </a:lnTo>
                  <a:lnTo>
                    <a:pt x="104" y="1212"/>
                  </a:lnTo>
                  <a:lnTo>
                    <a:pt x="104" y="1206"/>
                  </a:lnTo>
                  <a:lnTo>
                    <a:pt x="104" y="1200"/>
                  </a:lnTo>
                  <a:lnTo>
                    <a:pt x="104" y="1194"/>
                  </a:lnTo>
                  <a:lnTo>
                    <a:pt x="106" y="1192"/>
                  </a:lnTo>
                  <a:lnTo>
                    <a:pt x="106" y="1186"/>
                  </a:lnTo>
                  <a:lnTo>
                    <a:pt x="104" y="1180"/>
                  </a:lnTo>
                  <a:lnTo>
                    <a:pt x="104" y="1174"/>
                  </a:lnTo>
                  <a:lnTo>
                    <a:pt x="102" y="1168"/>
                  </a:lnTo>
                  <a:lnTo>
                    <a:pt x="104" y="1166"/>
                  </a:lnTo>
                  <a:lnTo>
                    <a:pt x="102" y="1160"/>
                  </a:lnTo>
                  <a:lnTo>
                    <a:pt x="100" y="1154"/>
                  </a:lnTo>
                  <a:lnTo>
                    <a:pt x="100" y="1148"/>
                  </a:lnTo>
                  <a:lnTo>
                    <a:pt x="102" y="1142"/>
                  </a:lnTo>
                  <a:lnTo>
                    <a:pt x="102" y="1136"/>
                  </a:lnTo>
                  <a:lnTo>
                    <a:pt x="104" y="1132"/>
                  </a:lnTo>
                  <a:lnTo>
                    <a:pt x="104" y="1124"/>
                  </a:lnTo>
                  <a:lnTo>
                    <a:pt x="110" y="1120"/>
                  </a:lnTo>
                  <a:lnTo>
                    <a:pt x="110" y="1116"/>
                  </a:lnTo>
                  <a:lnTo>
                    <a:pt x="110" y="1114"/>
                  </a:lnTo>
                  <a:lnTo>
                    <a:pt x="108" y="1108"/>
                  </a:lnTo>
                  <a:lnTo>
                    <a:pt x="104" y="1102"/>
                  </a:lnTo>
                  <a:lnTo>
                    <a:pt x="104" y="1096"/>
                  </a:lnTo>
                  <a:lnTo>
                    <a:pt x="100" y="1090"/>
                  </a:lnTo>
                  <a:lnTo>
                    <a:pt x="98" y="1084"/>
                  </a:lnTo>
                  <a:lnTo>
                    <a:pt x="98" y="1078"/>
                  </a:lnTo>
                  <a:lnTo>
                    <a:pt x="104" y="1072"/>
                  </a:lnTo>
                  <a:lnTo>
                    <a:pt x="104" y="1066"/>
                  </a:lnTo>
                  <a:lnTo>
                    <a:pt x="104" y="1064"/>
                  </a:lnTo>
                  <a:lnTo>
                    <a:pt x="102" y="1058"/>
                  </a:lnTo>
                  <a:lnTo>
                    <a:pt x="104" y="1052"/>
                  </a:lnTo>
                  <a:lnTo>
                    <a:pt x="104" y="1046"/>
                  </a:lnTo>
                  <a:lnTo>
                    <a:pt x="100" y="1040"/>
                  </a:lnTo>
                  <a:lnTo>
                    <a:pt x="102" y="1034"/>
                  </a:lnTo>
                  <a:lnTo>
                    <a:pt x="100" y="1028"/>
                  </a:lnTo>
                  <a:lnTo>
                    <a:pt x="96" y="1022"/>
                  </a:lnTo>
                  <a:lnTo>
                    <a:pt x="90" y="1016"/>
                  </a:lnTo>
                  <a:lnTo>
                    <a:pt x="90" y="1012"/>
                  </a:lnTo>
                  <a:lnTo>
                    <a:pt x="90" y="1006"/>
                  </a:lnTo>
                  <a:lnTo>
                    <a:pt x="88" y="1000"/>
                  </a:lnTo>
                  <a:lnTo>
                    <a:pt x="88" y="994"/>
                  </a:lnTo>
                  <a:lnTo>
                    <a:pt x="86" y="988"/>
                  </a:lnTo>
                  <a:lnTo>
                    <a:pt x="82" y="982"/>
                  </a:lnTo>
                  <a:lnTo>
                    <a:pt x="80" y="976"/>
                  </a:lnTo>
                  <a:lnTo>
                    <a:pt x="78" y="974"/>
                  </a:lnTo>
                  <a:lnTo>
                    <a:pt x="78" y="968"/>
                  </a:lnTo>
                  <a:lnTo>
                    <a:pt x="74" y="962"/>
                  </a:lnTo>
                  <a:lnTo>
                    <a:pt x="72" y="956"/>
                  </a:lnTo>
                  <a:lnTo>
                    <a:pt x="70" y="950"/>
                  </a:lnTo>
                  <a:lnTo>
                    <a:pt x="66" y="944"/>
                  </a:lnTo>
                  <a:lnTo>
                    <a:pt x="66" y="938"/>
                  </a:lnTo>
                  <a:lnTo>
                    <a:pt x="64" y="932"/>
                  </a:lnTo>
                  <a:lnTo>
                    <a:pt x="62" y="926"/>
                  </a:lnTo>
                  <a:lnTo>
                    <a:pt x="58" y="920"/>
                  </a:lnTo>
                  <a:lnTo>
                    <a:pt x="58" y="914"/>
                  </a:lnTo>
                  <a:lnTo>
                    <a:pt x="58" y="912"/>
                  </a:lnTo>
                  <a:lnTo>
                    <a:pt x="56" y="908"/>
                  </a:lnTo>
                  <a:lnTo>
                    <a:pt x="54" y="900"/>
                  </a:lnTo>
                  <a:lnTo>
                    <a:pt x="54" y="896"/>
                  </a:lnTo>
                  <a:lnTo>
                    <a:pt x="52" y="890"/>
                  </a:lnTo>
                  <a:lnTo>
                    <a:pt x="56" y="882"/>
                  </a:lnTo>
                  <a:lnTo>
                    <a:pt x="62" y="882"/>
                  </a:lnTo>
                  <a:lnTo>
                    <a:pt x="66" y="876"/>
                  </a:lnTo>
                  <a:lnTo>
                    <a:pt x="66" y="870"/>
                  </a:lnTo>
                  <a:lnTo>
                    <a:pt x="64" y="864"/>
                  </a:lnTo>
                  <a:lnTo>
                    <a:pt x="64" y="862"/>
                  </a:lnTo>
                  <a:lnTo>
                    <a:pt x="70" y="856"/>
                  </a:lnTo>
                  <a:lnTo>
                    <a:pt x="68" y="856"/>
                  </a:lnTo>
                  <a:lnTo>
                    <a:pt x="66" y="850"/>
                  </a:lnTo>
                  <a:lnTo>
                    <a:pt x="64" y="844"/>
                  </a:lnTo>
                  <a:lnTo>
                    <a:pt x="64" y="838"/>
                  </a:lnTo>
                  <a:lnTo>
                    <a:pt x="62" y="832"/>
                  </a:lnTo>
                  <a:lnTo>
                    <a:pt x="62" y="826"/>
                  </a:lnTo>
                  <a:lnTo>
                    <a:pt x="58" y="820"/>
                  </a:lnTo>
                  <a:lnTo>
                    <a:pt x="54" y="814"/>
                  </a:lnTo>
                  <a:lnTo>
                    <a:pt x="48" y="810"/>
                  </a:lnTo>
                  <a:lnTo>
                    <a:pt x="46" y="804"/>
                  </a:lnTo>
                  <a:lnTo>
                    <a:pt x="44" y="798"/>
                  </a:lnTo>
                  <a:lnTo>
                    <a:pt x="42" y="792"/>
                  </a:lnTo>
                  <a:lnTo>
                    <a:pt x="42" y="786"/>
                  </a:lnTo>
                  <a:lnTo>
                    <a:pt x="48" y="780"/>
                  </a:lnTo>
                  <a:lnTo>
                    <a:pt x="50" y="774"/>
                  </a:lnTo>
                  <a:lnTo>
                    <a:pt x="50" y="768"/>
                  </a:lnTo>
                  <a:lnTo>
                    <a:pt x="52" y="762"/>
                  </a:lnTo>
                  <a:lnTo>
                    <a:pt x="54" y="756"/>
                  </a:lnTo>
                  <a:lnTo>
                    <a:pt x="54" y="754"/>
                  </a:lnTo>
                  <a:lnTo>
                    <a:pt x="54" y="750"/>
                  </a:lnTo>
                  <a:lnTo>
                    <a:pt x="52" y="744"/>
                  </a:lnTo>
                  <a:lnTo>
                    <a:pt x="52" y="738"/>
                  </a:lnTo>
                  <a:lnTo>
                    <a:pt x="50" y="732"/>
                  </a:lnTo>
                  <a:lnTo>
                    <a:pt x="52" y="726"/>
                  </a:lnTo>
                  <a:lnTo>
                    <a:pt x="52" y="720"/>
                  </a:lnTo>
                  <a:lnTo>
                    <a:pt x="52" y="714"/>
                  </a:lnTo>
                  <a:lnTo>
                    <a:pt x="52" y="708"/>
                  </a:lnTo>
                  <a:lnTo>
                    <a:pt x="58" y="702"/>
                  </a:lnTo>
                  <a:lnTo>
                    <a:pt x="58" y="696"/>
                  </a:lnTo>
                  <a:lnTo>
                    <a:pt x="60" y="690"/>
                  </a:lnTo>
                  <a:lnTo>
                    <a:pt x="56" y="684"/>
                  </a:lnTo>
                  <a:lnTo>
                    <a:pt x="54" y="680"/>
                  </a:lnTo>
                  <a:lnTo>
                    <a:pt x="54" y="678"/>
                  </a:lnTo>
                  <a:lnTo>
                    <a:pt x="52" y="672"/>
                  </a:lnTo>
                  <a:lnTo>
                    <a:pt x="56" y="666"/>
                  </a:lnTo>
                  <a:lnTo>
                    <a:pt x="58" y="660"/>
                  </a:lnTo>
                  <a:lnTo>
                    <a:pt x="58" y="658"/>
                  </a:lnTo>
                  <a:lnTo>
                    <a:pt x="58" y="654"/>
                  </a:lnTo>
                  <a:lnTo>
                    <a:pt x="56" y="648"/>
                  </a:lnTo>
                  <a:lnTo>
                    <a:pt x="58" y="642"/>
                  </a:lnTo>
                  <a:lnTo>
                    <a:pt x="58" y="636"/>
                  </a:lnTo>
                  <a:lnTo>
                    <a:pt x="60" y="630"/>
                  </a:lnTo>
                  <a:lnTo>
                    <a:pt x="58" y="624"/>
                  </a:lnTo>
                  <a:lnTo>
                    <a:pt x="58" y="618"/>
                  </a:lnTo>
                  <a:lnTo>
                    <a:pt x="60" y="612"/>
                  </a:lnTo>
                  <a:lnTo>
                    <a:pt x="58" y="608"/>
                  </a:lnTo>
                  <a:lnTo>
                    <a:pt x="56" y="602"/>
                  </a:lnTo>
                  <a:lnTo>
                    <a:pt x="56" y="594"/>
                  </a:lnTo>
                  <a:lnTo>
                    <a:pt x="58" y="590"/>
                  </a:lnTo>
                  <a:lnTo>
                    <a:pt x="56" y="584"/>
                  </a:lnTo>
                  <a:lnTo>
                    <a:pt x="50" y="578"/>
                  </a:lnTo>
                  <a:lnTo>
                    <a:pt x="48" y="572"/>
                  </a:lnTo>
                  <a:lnTo>
                    <a:pt x="50" y="566"/>
                  </a:lnTo>
                  <a:lnTo>
                    <a:pt x="50" y="560"/>
                  </a:lnTo>
                  <a:lnTo>
                    <a:pt x="50" y="554"/>
                  </a:lnTo>
                  <a:lnTo>
                    <a:pt x="56" y="550"/>
                  </a:lnTo>
                  <a:lnTo>
                    <a:pt x="60" y="544"/>
                  </a:lnTo>
                  <a:lnTo>
                    <a:pt x="60" y="540"/>
                  </a:lnTo>
                  <a:lnTo>
                    <a:pt x="60" y="532"/>
                  </a:lnTo>
                  <a:lnTo>
                    <a:pt x="56" y="528"/>
                  </a:lnTo>
                  <a:lnTo>
                    <a:pt x="54" y="522"/>
                  </a:lnTo>
                  <a:lnTo>
                    <a:pt x="52" y="514"/>
                  </a:lnTo>
                  <a:lnTo>
                    <a:pt x="50" y="510"/>
                  </a:lnTo>
                  <a:lnTo>
                    <a:pt x="48" y="504"/>
                  </a:lnTo>
                  <a:lnTo>
                    <a:pt x="46" y="498"/>
                  </a:lnTo>
                  <a:lnTo>
                    <a:pt x="46" y="492"/>
                  </a:lnTo>
                  <a:lnTo>
                    <a:pt x="44" y="486"/>
                  </a:lnTo>
                  <a:lnTo>
                    <a:pt x="44" y="480"/>
                  </a:lnTo>
                  <a:lnTo>
                    <a:pt x="44" y="474"/>
                  </a:lnTo>
                  <a:lnTo>
                    <a:pt x="44" y="468"/>
                  </a:lnTo>
                  <a:lnTo>
                    <a:pt x="44" y="462"/>
                  </a:lnTo>
                  <a:lnTo>
                    <a:pt x="44" y="456"/>
                  </a:lnTo>
                  <a:lnTo>
                    <a:pt x="42" y="450"/>
                  </a:lnTo>
                  <a:lnTo>
                    <a:pt x="42" y="444"/>
                  </a:lnTo>
                  <a:lnTo>
                    <a:pt x="42" y="438"/>
                  </a:lnTo>
                  <a:lnTo>
                    <a:pt x="42" y="432"/>
                  </a:lnTo>
                  <a:lnTo>
                    <a:pt x="46" y="426"/>
                  </a:lnTo>
                  <a:lnTo>
                    <a:pt x="46" y="420"/>
                  </a:lnTo>
                  <a:lnTo>
                    <a:pt x="44" y="414"/>
                  </a:lnTo>
                  <a:lnTo>
                    <a:pt x="38" y="412"/>
                  </a:lnTo>
                  <a:lnTo>
                    <a:pt x="32" y="412"/>
                  </a:lnTo>
                  <a:lnTo>
                    <a:pt x="32" y="406"/>
                  </a:lnTo>
                  <a:lnTo>
                    <a:pt x="32" y="400"/>
                  </a:lnTo>
                  <a:lnTo>
                    <a:pt x="32" y="394"/>
                  </a:lnTo>
                  <a:lnTo>
                    <a:pt x="32" y="388"/>
                  </a:lnTo>
                  <a:lnTo>
                    <a:pt x="32" y="382"/>
                  </a:lnTo>
                  <a:lnTo>
                    <a:pt x="38" y="384"/>
                  </a:lnTo>
                  <a:lnTo>
                    <a:pt x="44" y="380"/>
                  </a:lnTo>
                  <a:lnTo>
                    <a:pt x="46" y="374"/>
                  </a:lnTo>
                  <a:lnTo>
                    <a:pt x="44" y="368"/>
                  </a:lnTo>
                  <a:lnTo>
                    <a:pt x="44" y="362"/>
                  </a:lnTo>
                  <a:lnTo>
                    <a:pt x="44" y="356"/>
                  </a:lnTo>
                  <a:lnTo>
                    <a:pt x="44" y="350"/>
                  </a:lnTo>
                  <a:lnTo>
                    <a:pt x="44" y="344"/>
                  </a:lnTo>
                  <a:lnTo>
                    <a:pt x="44" y="338"/>
                  </a:lnTo>
                  <a:lnTo>
                    <a:pt x="44" y="332"/>
                  </a:lnTo>
                  <a:lnTo>
                    <a:pt x="44" y="326"/>
                  </a:lnTo>
                  <a:lnTo>
                    <a:pt x="44" y="320"/>
                  </a:lnTo>
                  <a:lnTo>
                    <a:pt x="44" y="314"/>
                  </a:lnTo>
                  <a:lnTo>
                    <a:pt x="44" y="308"/>
                  </a:lnTo>
                  <a:lnTo>
                    <a:pt x="44" y="302"/>
                  </a:lnTo>
                  <a:lnTo>
                    <a:pt x="44" y="296"/>
                  </a:lnTo>
                  <a:lnTo>
                    <a:pt x="44" y="290"/>
                  </a:lnTo>
                  <a:lnTo>
                    <a:pt x="44" y="284"/>
                  </a:lnTo>
                  <a:lnTo>
                    <a:pt x="46" y="278"/>
                  </a:lnTo>
                  <a:lnTo>
                    <a:pt x="46" y="272"/>
                  </a:lnTo>
                  <a:lnTo>
                    <a:pt x="46" y="270"/>
                  </a:lnTo>
                  <a:lnTo>
                    <a:pt x="46" y="268"/>
                  </a:lnTo>
                  <a:lnTo>
                    <a:pt x="44" y="262"/>
                  </a:lnTo>
                  <a:lnTo>
                    <a:pt x="44" y="256"/>
                  </a:lnTo>
                  <a:lnTo>
                    <a:pt x="40" y="252"/>
                  </a:lnTo>
                  <a:lnTo>
                    <a:pt x="38" y="246"/>
                  </a:lnTo>
                  <a:lnTo>
                    <a:pt x="36" y="240"/>
                  </a:lnTo>
                  <a:lnTo>
                    <a:pt x="36" y="234"/>
                  </a:lnTo>
                  <a:lnTo>
                    <a:pt x="32" y="228"/>
                  </a:lnTo>
                  <a:lnTo>
                    <a:pt x="32" y="222"/>
                  </a:lnTo>
                  <a:lnTo>
                    <a:pt x="32" y="216"/>
                  </a:lnTo>
                  <a:lnTo>
                    <a:pt x="30" y="210"/>
                  </a:lnTo>
                  <a:lnTo>
                    <a:pt x="32" y="204"/>
                  </a:lnTo>
                  <a:lnTo>
                    <a:pt x="30" y="198"/>
                  </a:lnTo>
                  <a:lnTo>
                    <a:pt x="32" y="192"/>
                  </a:lnTo>
                  <a:lnTo>
                    <a:pt x="30" y="186"/>
                  </a:lnTo>
                  <a:lnTo>
                    <a:pt x="30" y="184"/>
                  </a:lnTo>
                  <a:lnTo>
                    <a:pt x="30" y="178"/>
                  </a:lnTo>
                  <a:lnTo>
                    <a:pt x="30" y="172"/>
                  </a:lnTo>
                  <a:lnTo>
                    <a:pt x="30" y="170"/>
                  </a:lnTo>
                  <a:lnTo>
                    <a:pt x="28" y="164"/>
                  </a:lnTo>
                  <a:lnTo>
                    <a:pt x="26" y="158"/>
                  </a:lnTo>
                  <a:lnTo>
                    <a:pt x="26" y="152"/>
                  </a:lnTo>
                  <a:lnTo>
                    <a:pt x="24" y="146"/>
                  </a:lnTo>
                  <a:lnTo>
                    <a:pt x="22" y="140"/>
                  </a:lnTo>
                  <a:lnTo>
                    <a:pt x="22" y="138"/>
                  </a:lnTo>
                  <a:lnTo>
                    <a:pt x="20" y="132"/>
                  </a:lnTo>
                  <a:lnTo>
                    <a:pt x="16" y="126"/>
                  </a:lnTo>
                  <a:lnTo>
                    <a:pt x="14" y="120"/>
                  </a:lnTo>
                  <a:lnTo>
                    <a:pt x="14" y="114"/>
                  </a:lnTo>
                  <a:lnTo>
                    <a:pt x="12" y="108"/>
                  </a:lnTo>
                  <a:lnTo>
                    <a:pt x="10" y="102"/>
                  </a:lnTo>
                  <a:lnTo>
                    <a:pt x="10" y="96"/>
                  </a:lnTo>
                  <a:lnTo>
                    <a:pt x="6" y="90"/>
                  </a:lnTo>
                  <a:lnTo>
                    <a:pt x="6" y="86"/>
                  </a:lnTo>
                  <a:lnTo>
                    <a:pt x="6" y="78"/>
                  </a:lnTo>
                  <a:lnTo>
                    <a:pt x="6" y="74"/>
                  </a:lnTo>
                  <a:lnTo>
                    <a:pt x="6" y="68"/>
                  </a:lnTo>
                  <a:lnTo>
                    <a:pt x="6" y="66"/>
                  </a:lnTo>
                  <a:lnTo>
                    <a:pt x="6" y="64"/>
                  </a:lnTo>
                  <a:lnTo>
                    <a:pt x="6" y="62"/>
                  </a:lnTo>
                  <a:lnTo>
                    <a:pt x="0" y="5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2" name="Freeform 280"/>
            <p:cNvSpPr>
              <a:spLocks/>
            </p:cNvSpPr>
            <p:nvPr/>
          </p:nvSpPr>
          <p:spPr bwMode="auto">
            <a:xfrm>
              <a:off x="2217738" y="4205288"/>
              <a:ext cx="141287" cy="184150"/>
            </a:xfrm>
            <a:custGeom>
              <a:avLst/>
              <a:gdLst>
                <a:gd name="T0" fmla="*/ 2147483647 w 350"/>
                <a:gd name="T1" fmla="*/ 2147483647 h 446"/>
                <a:gd name="T2" fmla="*/ 2147483647 w 350"/>
                <a:gd name="T3" fmla="*/ 2147483647 h 446"/>
                <a:gd name="T4" fmla="*/ 2147483647 w 350"/>
                <a:gd name="T5" fmla="*/ 2147483647 h 446"/>
                <a:gd name="T6" fmla="*/ 2147483647 w 350"/>
                <a:gd name="T7" fmla="*/ 2147483647 h 446"/>
                <a:gd name="T8" fmla="*/ 2147483647 w 350"/>
                <a:gd name="T9" fmla="*/ 2147483647 h 446"/>
                <a:gd name="T10" fmla="*/ 2147483647 w 350"/>
                <a:gd name="T11" fmla="*/ 2147483647 h 446"/>
                <a:gd name="T12" fmla="*/ 2147483647 w 350"/>
                <a:gd name="T13" fmla="*/ 2147483647 h 446"/>
                <a:gd name="T14" fmla="*/ 2147483647 w 350"/>
                <a:gd name="T15" fmla="*/ 2147483647 h 446"/>
                <a:gd name="T16" fmla="*/ 2147483647 w 350"/>
                <a:gd name="T17" fmla="*/ 2147483647 h 446"/>
                <a:gd name="T18" fmla="*/ 2147483647 w 350"/>
                <a:gd name="T19" fmla="*/ 2147483647 h 446"/>
                <a:gd name="T20" fmla="*/ 2147483647 w 350"/>
                <a:gd name="T21" fmla="*/ 2147483647 h 446"/>
                <a:gd name="T22" fmla="*/ 2147483647 w 350"/>
                <a:gd name="T23" fmla="*/ 2147483647 h 446"/>
                <a:gd name="T24" fmla="*/ 2147483647 w 350"/>
                <a:gd name="T25" fmla="*/ 2147483647 h 446"/>
                <a:gd name="T26" fmla="*/ 2147483647 w 350"/>
                <a:gd name="T27" fmla="*/ 2147483647 h 446"/>
                <a:gd name="T28" fmla="*/ 2147483647 w 350"/>
                <a:gd name="T29" fmla="*/ 2147483647 h 446"/>
                <a:gd name="T30" fmla="*/ 2147483647 w 350"/>
                <a:gd name="T31" fmla="*/ 2147483647 h 446"/>
                <a:gd name="T32" fmla="*/ 2147483647 w 350"/>
                <a:gd name="T33" fmla="*/ 2147483647 h 446"/>
                <a:gd name="T34" fmla="*/ 2147483647 w 350"/>
                <a:gd name="T35" fmla="*/ 2147483647 h 446"/>
                <a:gd name="T36" fmla="*/ 2147483647 w 350"/>
                <a:gd name="T37" fmla="*/ 2147483647 h 446"/>
                <a:gd name="T38" fmla="*/ 2147483647 w 350"/>
                <a:gd name="T39" fmla="*/ 2147483647 h 446"/>
                <a:gd name="T40" fmla="*/ 2147483647 w 350"/>
                <a:gd name="T41" fmla="*/ 2147483647 h 446"/>
                <a:gd name="T42" fmla="*/ 2147483647 w 350"/>
                <a:gd name="T43" fmla="*/ 2147483647 h 446"/>
                <a:gd name="T44" fmla="*/ 2147483647 w 350"/>
                <a:gd name="T45" fmla="*/ 2147483647 h 446"/>
                <a:gd name="T46" fmla="*/ 2147483647 w 350"/>
                <a:gd name="T47" fmla="*/ 2147483647 h 446"/>
                <a:gd name="T48" fmla="*/ 2147483647 w 350"/>
                <a:gd name="T49" fmla="*/ 2147483647 h 446"/>
                <a:gd name="T50" fmla="*/ 2147483647 w 350"/>
                <a:gd name="T51" fmla="*/ 2147483647 h 446"/>
                <a:gd name="T52" fmla="*/ 2147483647 w 350"/>
                <a:gd name="T53" fmla="*/ 2147483647 h 446"/>
                <a:gd name="T54" fmla="*/ 2147483647 w 350"/>
                <a:gd name="T55" fmla="*/ 2147483647 h 446"/>
                <a:gd name="T56" fmla="*/ 2147483647 w 350"/>
                <a:gd name="T57" fmla="*/ 2147483647 h 446"/>
                <a:gd name="T58" fmla="*/ 2147483647 w 350"/>
                <a:gd name="T59" fmla="*/ 2147483647 h 446"/>
                <a:gd name="T60" fmla="*/ 2147483647 w 350"/>
                <a:gd name="T61" fmla="*/ 2147483647 h 446"/>
                <a:gd name="T62" fmla="*/ 2147483647 w 350"/>
                <a:gd name="T63" fmla="*/ 2147483647 h 446"/>
                <a:gd name="T64" fmla="*/ 2147483647 w 350"/>
                <a:gd name="T65" fmla="*/ 2147483647 h 446"/>
                <a:gd name="T66" fmla="*/ 2147483647 w 350"/>
                <a:gd name="T67" fmla="*/ 2147483647 h 446"/>
                <a:gd name="T68" fmla="*/ 2147483647 w 350"/>
                <a:gd name="T69" fmla="*/ 2147483647 h 446"/>
                <a:gd name="T70" fmla="*/ 2147483647 w 350"/>
                <a:gd name="T71" fmla="*/ 2147483647 h 446"/>
                <a:gd name="T72" fmla="*/ 2147483647 w 350"/>
                <a:gd name="T73" fmla="*/ 2147483647 h 446"/>
                <a:gd name="T74" fmla="*/ 2147483647 w 350"/>
                <a:gd name="T75" fmla="*/ 2147483647 h 446"/>
                <a:gd name="T76" fmla="*/ 2147483647 w 350"/>
                <a:gd name="T77" fmla="*/ 2147483647 h 446"/>
                <a:gd name="T78" fmla="*/ 2147483647 w 350"/>
                <a:gd name="T79" fmla="*/ 2147483647 h 446"/>
                <a:gd name="T80" fmla="*/ 2147483647 w 350"/>
                <a:gd name="T81" fmla="*/ 2147483647 h 446"/>
                <a:gd name="T82" fmla="*/ 2147483647 w 350"/>
                <a:gd name="T83" fmla="*/ 2147483647 h 446"/>
                <a:gd name="T84" fmla="*/ 2147483647 w 350"/>
                <a:gd name="T85" fmla="*/ 2147483647 h 446"/>
                <a:gd name="T86" fmla="*/ 2147483647 w 350"/>
                <a:gd name="T87" fmla="*/ 2147483647 h 446"/>
                <a:gd name="T88" fmla="*/ 2147483647 w 350"/>
                <a:gd name="T89" fmla="*/ 2147483647 h 446"/>
                <a:gd name="T90" fmla="*/ 2147483647 w 350"/>
                <a:gd name="T91" fmla="*/ 2147483647 h 446"/>
                <a:gd name="T92" fmla="*/ 2147483647 w 350"/>
                <a:gd name="T93" fmla="*/ 2147483647 h 446"/>
                <a:gd name="T94" fmla="*/ 2147483647 w 350"/>
                <a:gd name="T95" fmla="*/ 2147483647 h 446"/>
                <a:gd name="T96" fmla="*/ 2147483647 w 350"/>
                <a:gd name="T97" fmla="*/ 2147483647 h 446"/>
                <a:gd name="T98" fmla="*/ 2147483647 w 350"/>
                <a:gd name="T99" fmla="*/ 2147483647 h 446"/>
                <a:gd name="T100" fmla="*/ 2147483647 w 350"/>
                <a:gd name="T101" fmla="*/ 2147483647 h 446"/>
                <a:gd name="T102" fmla="*/ 2147483647 w 350"/>
                <a:gd name="T103" fmla="*/ 2147483647 h 446"/>
                <a:gd name="T104" fmla="*/ 2147483647 w 350"/>
                <a:gd name="T105" fmla="*/ 2147483647 h 446"/>
                <a:gd name="T106" fmla="*/ 2147483647 w 350"/>
                <a:gd name="T107" fmla="*/ 2147483647 h 446"/>
                <a:gd name="T108" fmla="*/ 2147483647 w 350"/>
                <a:gd name="T109" fmla="*/ 2147483647 h 446"/>
                <a:gd name="T110" fmla="*/ 2147483647 w 350"/>
                <a:gd name="T111" fmla="*/ 2147483647 h 446"/>
                <a:gd name="T112" fmla="*/ 2147483647 w 350"/>
                <a:gd name="T113" fmla="*/ 2147483647 h 446"/>
                <a:gd name="T114" fmla="*/ 2147483647 w 350"/>
                <a:gd name="T115" fmla="*/ 2147483647 h 446"/>
                <a:gd name="T116" fmla="*/ 2147483647 w 350"/>
                <a:gd name="T117" fmla="*/ 2147483647 h 446"/>
                <a:gd name="T118" fmla="*/ 2147483647 w 350"/>
                <a:gd name="T119" fmla="*/ 2147483647 h 44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50"/>
                <a:gd name="T181" fmla="*/ 0 h 446"/>
                <a:gd name="T182" fmla="*/ 350 w 350"/>
                <a:gd name="T183" fmla="*/ 446 h 44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50" h="446">
                  <a:moveTo>
                    <a:pt x="0" y="252"/>
                  </a:moveTo>
                  <a:lnTo>
                    <a:pt x="2" y="252"/>
                  </a:lnTo>
                  <a:lnTo>
                    <a:pt x="6" y="250"/>
                  </a:lnTo>
                  <a:lnTo>
                    <a:pt x="12" y="246"/>
                  </a:lnTo>
                  <a:lnTo>
                    <a:pt x="12" y="240"/>
                  </a:lnTo>
                  <a:lnTo>
                    <a:pt x="14" y="234"/>
                  </a:lnTo>
                  <a:lnTo>
                    <a:pt x="12" y="228"/>
                  </a:lnTo>
                  <a:lnTo>
                    <a:pt x="10" y="222"/>
                  </a:lnTo>
                  <a:lnTo>
                    <a:pt x="8" y="216"/>
                  </a:lnTo>
                  <a:lnTo>
                    <a:pt x="8" y="214"/>
                  </a:lnTo>
                  <a:lnTo>
                    <a:pt x="6" y="208"/>
                  </a:lnTo>
                  <a:lnTo>
                    <a:pt x="8" y="202"/>
                  </a:lnTo>
                  <a:lnTo>
                    <a:pt x="10" y="196"/>
                  </a:lnTo>
                  <a:lnTo>
                    <a:pt x="12" y="192"/>
                  </a:lnTo>
                  <a:lnTo>
                    <a:pt x="8" y="184"/>
                  </a:lnTo>
                  <a:lnTo>
                    <a:pt x="4" y="178"/>
                  </a:lnTo>
                  <a:lnTo>
                    <a:pt x="2" y="174"/>
                  </a:lnTo>
                  <a:lnTo>
                    <a:pt x="4" y="168"/>
                  </a:lnTo>
                  <a:lnTo>
                    <a:pt x="10" y="164"/>
                  </a:lnTo>
                  <a:lnTo>
                    <a:pt x="16" y="162"/>
                  </a:lnTo>
                  <a:lnTo>
                    <a:pt x="22" y="162"/>
                  </a:lnTo>
                  <a:lnTo>
                    <a:pt x="26" y="154"/>
                  </a:lnTo>
                  <a:lnTo>
                    <a:pt x="26" y="150"/>
                  </a:lnTo>
                  <a:lnTo>
                    <a:pt x="28" y="144"/>
                  </a:lnTo>
                  <a:lnTo>
                    <a:pt x="34" y="144"/>
                  </a:lnTo>
                  <a:lnTo>
                    <a:pt x="40" y="144"/>
                  </a:lnTo>
                  <a:lnTo>
                    <a:pt x="40" y="142"/>
                  </a:lnTo>
                  <a:lnTo>
                    <a:pt x="34" y="140"/>
                  </a:lnTo>
                  <a:lnTo>
                    <a:pt x="30" y="134"/>
                  </a:lnTo>
                  <a:lnTo>
                    <a:pt x="28" y="128"/>
                  </a:lnTo>
                  <a:lnTo>
                    <a:pt x="30" y="124"/>
                  </a:lnTo>
                  <a:lnTo>
                    <a:pt x="34" y="118"/>
                  </a:lnTo>
                  <a:lnTo>
                    <a:pt x="38" y="112"/>
                  </a:lnTo>
                  <a:lnTo>
                    <a:pt x="44" y="106"/>
                  </a:lnTo>
                  <a:lnTo>
                    <a:pt x="50" y="100"/>
                  </a:lnTo>
                  <a:lnTo>
                    <a:pt x="54" y="94"/>
                  </a:lnTo>
                  <a:lnTo>
                    <a:pt x="56" y="88"/>
                  </a:lnTo>
                  <a:lnTo>
                    <a:pt x="54" y="82"/>
                  </a:lnTo>
                  <a:lnTo>
                    <a:pt x="56" y="76"/>
                  </a:lnTo>
                  <a:lnTo>
                    <a:pt x="58" y="76"/>
                  </a:lnTo>
                  <a:lnTo>
                    <a:pt x="58" y="74"/>
                  </a:lnTo>
                  <a:lnTo>
                    <a:pt x="56" y="70"/>
                  </a:lnTo>
                  <a:lnTo>
                    <a:pt x="56" y="64"/>
                  </a:lnTo>
                  <a:lnTo>
                    <a:pt x="56" y="58"/>
                  </a:lnTo>
                  <a:lnTo>
                    <a:pt x="50" y="52"/>
                  </a:lnTo>
                  <a:lnTo>
                    <a:pt x="52" y="46"/>
                  </a:lnTo>
                  <a:lnTo>
                    <a:pt x="58" y="42"/>
                  </a:lnTo>
                  <a:lnTo>
                    <a:pt x="60" y="40"/>
                  </a:lnTo>
                  <a:lnTo>
                    <a:pt x="66" y="40"/>
                  </a:lnTo>
                  <a:lnTo>
                    <a:pt x="72" y="34"/>
                  </a:lnTo>
                  <a:lnTo>
                    <a:pt x="78" y="34"/>
                  </a:lnTo>
                  <a:lnTo>
                    <a:pt x="80" y="38"/>
                  </a:lnTo>
                  <a:lnTo>
                    <a:pt x="80" y="40"/>
                  </a:lnTo>
                  <a:lnTo>
                    <a:pt x="80" y="42"/>
                  </a:lnTo>
                  <a:lnTo>
                    <a:pt x="80" y="40"/>
                  </a:lnTo>
                  <a:lnTo>
                    <a:pt x="80" y="38"/>
                  </a:lnTo>
                  <a:lnTo>
                    <a:pt x="82" y="32"/>
                  </a:lnTo>
                  <a:lnTo>
                    <a:pt x="88" y="30"/>
                  </a:lnTo>
                  <a:lnTo>
                    <a:pt x="94" y="26"/>
                  </a:lnTo>
                  <a:lnTo>
                    <a:pt x="100" y="24"/>
                  </a:lnTo>
                  <a:lnTo>
                    <a:pt x="106" y="24"/>
                  </a:lnTo>
                  <a:lnTo>
                    <a:pt x="112" y="22"/>
                  </a:lnTo>
                  <a:lnTo>
                    <a:pt x="118" y="16"/>
                  </a:lnTo>
                  <a:lnTo>
                    <a:pt x="120" y="22"/>
                  </a:lnTo>
                  <a:lnTo>
                    <a:pt x="122" y="18"/>
                  </a:lnTo>
                  <a:lnTo>
                    <a:pt x="126" y="12"/>
                  </a:lnTo>
                  <a:lnTo>
                    <a:pt x="128" y="6"/>
                  </a:lnTo>
                  <a:lnTo>
                    <a:pt x="130" y="0"/>
                  </a:lnTo>
                  <a:lnTo>
                    <a:pt x="136" y="6"/>
                  </a:lnTo>
                  <a:lnTo>
                    <a:pt x="140" y="12"/>
                  </a:lnTo>
                  <a:lnTo>
                    <a:pt x="142" y="12"/>
                  </a:lnTo>
                  <a:lnTo>
                    <a:pt x="144" y="12"/>
                  </a:lnTo>
                  <a:lnTo>
                    <a:pt x="146" y="16"/>
                  </a:lnTo>
                  <a:lnTo>
                    <a:pt x="152" y="18"/>
                  </a:lnTo>
                  <a:lnTo>
                    <a:pt x="156" y="22"/>
                  </a:lnTo>
                  <a:lnTo>
                    <a:pt x="162" y="28"/>
                  </a:lnTo>
                  <a:lnTo>
                    <a:pt x="168" y="32"/>
                  </a:lnTo>
                  <a:lnTo>
                    <a:pt x="174" y="36"/>
                  </a:lnTo>
                  <a:lnTo>
                    <a:pt x="180" y="38"/>
                  </a:lnTo>
                  <a:lnTo>
                    <a:pt x="184" y="40"/>
                  </a:lnTo>
                  <a:lnTo>
                    <a:pt x="190" y="44"/>
                  </a:lnTo>
                  <a:lnTo>
                    <a:pt x="196" y="42"/>
                  </a:lnTo>
                  <a:lnTo>
                    <a:pt x="200" y="44"/>
                  </a:lnTo>
                  <a:lnTo>
                    <a:pt x="202" y="50"/>
                  </a:lnTo>
                  <a:lnTo>
                    <a:pt x="206" y="52"/>
                  </a:lnTo>
                  <a:lnTo>
                    <a:pt x="212" y="54"/>
                  </a:lnTo>
                  <a:lnTo>
                    <a:pt x="214" y="60"/>
                  </a:lnTo>
                  <a:lnTo>
                    <a:pt x="214" y="66"/>
                  </a:lnTo>
                  <a:lnTo>
                    <a:pt x="216" y="72"/>
                  </a:lnTo>
                  <a:lnTo>
                    <a:pt x="222" y="74"/>
                  </a:lnTo>
                  <a:lnTo>
                    <a:pt x="226" y="76"/>
                  </a:lnTo>
                  <a:lnTo>
                    <a:pt x="232" y="76"/>
                  </a:lnTo>
                  <a:lnTo>
                    <a:pt x="236" y="74"/>
                  </a:lnTo>
                  <a:lnTo>
                    <a:pt x="242" y="80"/>
                  </a:lnTo>
                  <a:lnTo>
                    <a:pt x="246" y="80"/>
                  </a:lnTo>
                  <a:lnTo>
                    <a:pt x="252" y="82"/>
                  </a:lnTo>
                  <a:lnTo>
                    <a:pt x="258" y="84"/>
                  </a:lnTo>
                  <a:lnTo>
                    <a:pt x="264" y="82"/>
                  </a:lnTo>
                  <a:lnTo>
                    <a:pt x="270" y="84"/>
                  </a:lnTo>
                  <a:lnTo>
                    <a:pt x="276" y="82"/>
                  </a:lnTo>
                  <a:lnTo>
                    <a:pt x="278" y="82"/>
                  </a:lnTo>
                  <a:lnTo>
                    <a:pt x="276" y="76"/>
                  </a:lnTo>
                  <a:lnTo>
                    <a:pt x="276" y="72"/>
                  </a:lnTo>
                  <a:lnTo>
                    <a:pt x="284" y="72"/>
                  </a:lnTo>
                  <a:lnTo>
                    <a:pt x="288" y="74"/>
                  </a:lnTo>
                  <a:lnTo>
                    <a:pt x="294" y="74"/>
                  </a:lnTo>
                  <a:lnTo>
                    <a:pt x="300" y="78"/>
                  </a:lnTo>
                  <a:lnTo>
                    <a:pt x="304" y="84"/>
                  </a:lnTo>
                  <a:lnTo>
                    <a:pt x="310" y="90"/>
                  </a:lnTo>
                  <a:lnTo>
                    <a:pt x="312" y="92"/>
                  </a:lnTo>
                  <a:lnTo>
                    <a:pt x="318" y="98"/>
                  </a:lnTo>
                  <a:lnTo>
                    <a:pt x="324" y="98"/>
                  </a:lnTo>
                  <a:lnTo>
                    <a:pt x="330" y="98"/>
                  </a:lnTo>
                  <a:lnTo>
                    <a:pt x="330" y="100"/>
                  </a:lnTo>
                  <a:lnTo>
                    <a:pt x="336" y="104"/>
                  </a:lnTo>
                  <a:lnTo>
                    <a:pt x="342" y="106"/>
                  </a:lnTo>
                  <a:lnTo>
                    <a:pt x="346" y="108"/>
                  </a:lnTo>
                  <a:lnTo>
                    <a:pt x="338" y="110"/>
                  </a:lnTo>
                  <a:lnTo>
                    <a:pt x="334" y="110"/>
                  </a:lnTo>
                  <a:lnTo>
                    <a:pt x="326" y="108"/>
                  </a:lnTo>
                  <a:lnTo>
                    <a:pt x="324" y="108"/>
                  </a:lnTo>
                  <a:lnTo>
                    <a:pt x="324" y="112"/>
                  </a:lnTo>
                  <a:lnTo>
                    <a:pt x="330" y="114"/>
                  </a:lnTo>
                  <a:lnTo>
                    <a:pt x="334" y="120"/>
                  </a:lnTo>
                  <a:lnTo>
                    <a:pt x="336" y="126"/>
                  </a:lnTo>
                  <a:lnTo>
                    <a:pt x="342" y="132"/>
                  </a:lnTo>
                  <a:lnTo>
                    <a:pt x="348" y="138"/>
                  </a:lnTo>
                  <a:lnTo>
                    <a:pt x="348" y="144"/>
                  </a:lnTo>
                  <a:lnTo>
                    <a:pt x="346" y="146"/>
                  </a:lnTo>
                  <a:lnTo>
                    <a:pt x="346" y="150"/>
                  </a:lnTo>
                  <a:lnTo>
                    <a:pt x="348" y="156"/>
                  </a:lnTo>
                  <a:lnTo>
                    <a:pt x="348" y="162"/>
                  </a:lnTo>
                  <a:lnTo>
                    <a:pt x="350" y="168"/>
                  </a:lnTo>
                  <a:lnTo>
                    <a:pt x="344" y="168"/>
                  </a:lnTo>
                  <a:lnTo>
                    <a:pt x="338" y="164"/>
                  </a:lnTo>
                  <a:lnTo>
                    <a:pt x="338" y="170"/>
                  </a:lnTo>
                  <a:lnTo>
                    <a:pt x="336" y="176"/>
                  </a:lnTo>
                  <a:lnTo>
                    <a:pt x="334" y="182"/>
                  </a:lnTo>
                  <a:lnTo>
                    <a:pt x="334" y="188"/>
                  </a:lnTo>
                  <a:lnTo>
                    <a:pt x="332" y="194"/>
                  </a:lnTo>
                  <a:lnTo>
                    <a:pt x="330" y="200"/>
                  </a:lnTo>
                  <a:lnTo>
                    <a:pt x="328" y="206"/>
                  </a:lnTo>
                  <a:lnTo>
                    <a:pt x="328" y="208"/>
                  </a:lnTo>
                  <a:lnTo>
                    <a:pt x="326" y="210"/>
                  </a:lnTo>
                  <a:lnTo>
                    <a:pt x="322" y="216"/>
                  </a:lnTo>
                  <a:lnTo>
                    <a:pt x="318" y="222"/>
                  </a:lnTo>
                  <a:lnTo>
                    <a:pt x="312" y="228"/>
                  </a:lnTo>
                  <a:lnTo>
                    <a:pt x="308" y="234"/>
                  </a:lnTo>
                  <a:lnTo>
                    <a:pt x="304" y="240"/>
                  </a:lnTo>
                  <a:lnTo>
                    <a:pt x="300" y="246"/>
                  </a:lnTo>
                  <a:lnTo>
                    <a:pt x="298" y="246"/>
                  </a:lnTo>
                  <a:lnTo>
                    <a:pt x="292" y="252"/>
                  </a:lnTo>
                  <a:lnTo>
                    <a:pt x="288" y="258"/>
                  </a:lnTo>
                  <a:lnTo>
                    <a:pt x="282" y="262"/>
                  </a:lnTo>
                  <a:lnTo>
                    <a:pt x="278" y="266"/>
                  </a:lnTo>
                  <a:lnTo>
                    <a:pt x="272" y="272"/>
                  </a:lnTo>
                  <a:lnTo>
                    <a:pt x="266" y="276"/>
                  </a:lnTo>
                  <a:lnTo>
                    <a:pt x="264" y="278"/>
                  </a:lnTo>
                  <a:lnTo>
                    <a:pt x="258" y="280"/>
                  </a:lnTo>
                  <a:lnTo>
                    <a:pt x="252" y="282"/>
                  </a:lnTo>
                  <a:lnTo>
                    <a:pt x="246" y="284"/>
                  </a:lnTo>
                  <a:lnTo>
                    <a:pt x="240" y="288"/>
                  </a:lnTo>
                  <a:lnTo>
                    <a:pt x="234" y="290"/>
                  </a:lnTo>
                  <a:lnTo>
                    <a:pt x="232" y="290"/>
                  </a:lnTo>
                  <a:lnTo>
                    <a:pt x="226" y="292"/>
                  </a:lnTo>
                  <a:lnTo>
                    <a:pt x="220" y="294"/>
                  </a:lnTo>
                  <a:lnTo>
                    <a:pt x="214" y="298"/>
                  </a:lnTo>
                  <a:lnTo>
                    <a:pt x="208" y="300"/>
                  </a:lnTo>
                  <a:lnTo>
                    <a:pt x="202" y="302"/>
                  </a:lnTo>
                  <a:lnTo>
                    <a:pt x="198" y="304"/>
                  </a:lnTo>
                  <a:lnTo>
                    <a:pt x="194" y="306"/>
                  </a:lnTo>
                  <a:lnTo>
                    <a:pt x="190" y="308"/>
                  </a:lnTo>
                  <a:lnTo>
                    <a:pt x="186" y="314"/>
                  </a:lnTo>
                  <a:lnTo>
                    <a:pt x="180" y="318"/>
                  </a:lnTo>
                  <a:lnTo>
                    <a:pt x="176" y="324"/>
                  </a:lnTo>
                  <a:lnTo>
                    <a:pt x="170" y="330"/>
                  </a:lnTo>
                  <a:lnTo>
                    <a:pt x="172" y="336"/>
                  </a:lnTo>
                  <a:lnTo>
                    <a:pt x="170" y="342"/>
                  </a:lnTo>
                  <a:lnTo>
                    <a:pt x="166" y="336"/>
                  </a:lnTo>
                  <a:lnTo>
                    <a:pt x="160" y="340"/>
                  </a:lnTo>
                  <a:lnTo>
                    <a:pt x="160" y="348"/>
                  </a:lnTo>
                  <a:lnTo>
                    <a:pt x="160" y="352"/>
                  </a:lnTo>
                  <a:lnTo>
                    <a:pt x="160" y="358"/>
                  </a:lnTo>
                  <a:lnTo>
                    <a:pt x="158" y="362"/>
                  </a:lnTo>
                  <a:lnTo>
                    <a:pt x="154" y="368"/>
                  </a:lnTo>
                  <a:lnTo>
                    <a:pt x="150" y="374"/>
                  </a:lnTo>
                  <a:lnTo>
                    <a:pt x="150" y="380"/>
                  </a:lnTo>
                  <a:lnTo>
                    <a:pt x="148" y="386"/>
                  </a:lnTo>
                  <a:lnTo>
                    <a:pt x="146" y="392"/>
                  </a:lnTo>
                  <a:lnTo>
                    <a:pt x="144" y="398"/>
                  </a:lnTo>
                  <a:lnTo>
                    <a:pt x="144" y="404"/>
                  </a:lnTo>
                  <a:lnTo>
                    <a:pt x="144" y="406"/>
                  </a:lnTo>
                  <a:lnTo>
                    <a:pt x="144" y="412"/>
                  </a:lnTo>
                  <a:lnTo>
                    <a:pt x="144" y="416"/>
                  </a:lnTo>
                  <a:lnTo>
                    <a:pt x="142" y="416"/>
                  </a:lnTo>
                  <a:lnTo>
                    <a:pt x="136" y="420"/>
                  </a:lnTo>
                  <a:lnTo>
                    <a:pt x="132" y="426"/>
                  </a:lnTo>
                  <a:lnTo>
                    <a:pt x="130" y="432"/>
                  </a:lnTo>
                  <a:lnTo>
                    <a:pt x="128" y="438"/>
                  </a:lnTo>
                  <a:lnTo>
                    <a:pt x="126" y="444"/>
                  </a:lnTo>
                  <a:lnTo>
                    <a:pt x="122" y="446"/>
                  </a:lnTo>
                  <a:lnTo>
                    <a:pt x="120" y="444"/>
                  </a:lnTo>
                  <a:lnTo>
                    <a:pt x="114" y="444"/>
                  </a:lnTo>
                  <a:lnTo>
                    <a:pt x="112" y="444"/>
                  </a:lnTo>
                  <a:lnTo>
                    <a:pt x="106" y="440"/>
                  </a:lnTo>
                  <a:lnTo>
                    <a:pt x="100" y="434"/>
                  </a:lnTo>
                  <a:lnTo>
                    <a:pt x="98" y="430"/>
                  </a:lnTo>
                  <a:lnTo>
                    <a:pt x="96" y="424"/>
                  </a:lnTo>
                  <a:lnTo>
                    <a:pt x="94" y="418"/>
                  </a:lnTo>
                  <a:lnTo>
                    <a:pt x="94" y="416"/>
                  </a:lnTo>
                  <a:lnTo>
                    <a:pt x="88" y="410"/>
                  </a:lnTo>
                  <a:lnTo>
                    <a:pt x="82" y="408"/>
                  </a:lnTo>
                  <a:lnTo>
                    <a:pt x="76" y="410"/>
                  </a:lnTo>
                  <a:lnTo>
                    <a:pt x="70" y="406"/>
                  </a:lnTo>
                  <a:lnTo>
                    <a:pt x="66" y="404"/>
                  </a:lnTo>
                  <a:lnTo>
                    <a:pt x="64" y="402"/>
                  </a:lnTo>
                  <a:lnTo>
                    <a:pt x="58" y="398"/>
                  </a:lnTo>
                  <a:lnTo>
                    <a:pt x="56" y="396"/>
                  </a:lnTo>
                  <a:lnTo>
                    <a:pt x="50" y="402"/>
                  </a:lnTo>
                  <a:lnTo>
                    <a:pt x="44" y="408"/>
                  </a:lnTo>
                  <a:lnTo>
                    <a:pt x="40" y="410"/>
                  </a:lnTo>
                  <a:lnTo>
                    <a:pt x="34" y="406"/>
                  </a:lnTo>
                  <a:lnTo>
                    <a:pt x="36" y="400"/>
                  </a:lnTo>
                  <a:lnTo>
                    <a:pt x="40" y="394"/>
                  </a:lnTo>
                  <a:lnTo>
                    <a:pt x="34" y="390"/>
                  </a:lnTo>
                  <a:lnTo>
                    <a:pt x="34" y="386"/>
                  </a:lnTo>
                  <a:lnTo>
                    <a:pt x="32" y="380"/>
                  </a:lnTo>
                  <a:lnTo>
                    <a:pt x="38" y="376"/>
                  </a:lnTo>
                  <a:lnTo>
                    <a:pt x="44" y="378"/>
                  </a:lnTo>
                  <a:lnTo>
                    <a:pt x="50" y="372"/>
                  </a:lnTo>
                  <a:lnTo>
                    <a:pt x="52" y="368"/>
                  </a:lnTo>
                  <a:lnTo>
                    <a:pt x="50" y="362"/>
                  </a:lnTo>
                  <a:lnTo>
                    <a:pt x="48" y="356"/>
                  </a:lnTo>
                  <a:lnTo>
                    <a:pt x="48" y="352"/>
                  </a:lnTo>
                  <a:lnTo>
                    <a:pt x="46" y="346"/>
                  </a:lnTo>
                  <a:lnTo>
                    <a:pt x="46" y="342"/>
                  </a:lnTo>
                  <a:lnTo>
                    <a:pt x="46" y="336"/>
                  </a:lnTo>
                  <a:lnTo>
                    <a:pt x="44" y="336"/>
                  </a:lnTo>
                  <a:lnTo>
                    <a:pt x="42" y="336"/>
                  </a:lnTo>
                  <a:lnTo>
                    <a:pt x="40" y="334"/>
                  </a:lnTo>
                  <a:lnTo>
                    <a:pt x="42" y="332"/>
                  </a:lnTo>
                  <a:lnTo>
                    <a:pt x="46" y="332"/>
                  </a:lnTo>
                  <a:lnTo>
                    <a:pt x="48" y="332"/>
                  </a:lnTo>
                  <a:lnTo>
                    <a:pt x="52" y="330"/>
                  </a:lnTo>
                  <a:lnTo>
                    <a:pt x="58" y="328"/>
                  </a:lnTo>
                  <a:lnTo>
                    <a:pt x="60" y="324"/>
                  </a:lnTo>
                  <a:lnTo>
                    <a:pt x="62" y="322"/>
                  </a:lnTo>
                  <a:lnTo>
                    <a:pt x="64" y="318"/>
                  </a:lnTo>
                  <a:lnTo>
                    <a:pt x="66" y="312"/>
                  </a:lnTo>
                  <a:lnTo>
                    <a:pt x="68" y="306"/>
                  </a:lnTo>
                  <a:lnTo>
                    <a:pt x="68" y="298"/>
                  </a:lnTo>
                  <a:lnTo>
                    <a:pt x="70" y="294"/>
                  </a:lnTo>
                  <a:lnTo>
                    <a:pt x="72" y="288"/>
                  </a:lnTo>
                  <a:lnTo>
                    <a:pt x="76" y="280"/>
                  </a:lnTo>
                  <a:lnTo>
                    <a:pt x="76" y="276"/>
                  </a:lnTo>
                  <a:lnTo>
                    <a:pt x="70" y="268"/>
                  </a:lnTo>
                  <a:lnTo>
                    <a:pt x="68" y="262"/>
                  </a:lnTo>
                  <a:lnTo>
                    <a:pt x="68" y="256"/>
                  </a:lnTo>
                  <a:lnTo>
                    <a:pt x="66" y="250"/>
                  </a:lnTo>
                  <a:lnTo>
                    <a:pt x="68" y="244"/>
                  </a:lnTo>
                  <a:lnTo>
                    <a:pt x="72" y="238"/>
                  </a:lnTo>
                  <a:lnTo>
                    <a:pt x="70" y="240"/>
                  </a:lnTo>
                  <a:lnTo>
                    <a:pt x="66" y="246"/>
                  </a:lnTo>
                  <a:lnTo>
                    <a:pt x="64" y="250"/>
                  </a:lnTo>
                  <a:lnTo>
                    <a:pt x="64" y="252"/>
                  </a:lnTo>
                  <a:lnTo>
                    <a:pt x="68" y="258"/>
                  </a:lnTo>
                  <a:lnTo>
                    <a:pt x="68" y="266"/>
                  </a:lnTo>
                  <a:lnTo>
                    <a:pt x="66" y="272"/>
                  </a:lnTo>
                  <a:lnTo>
                    <a:pt x="64" y="278"/>
                  </a:lnTo>
                  <a:lnTo>
                    <a:pt x="62" y="280"/>
                  </a:lnTo>
                  <a:lnTo>
                    <a:pt x="60" y="280"/>
                  </a:lnTo>
                  <a:lnTo>
                    <a:pt x="56" y="278"/>
                  </a:lnTo>
                  <a:lnTo>
                    <a:pt x="60" y="272"/>
                  </a:lnTo>
                  <a:lnTo>
                    <a:pt x="64" y="272"/>
                  </a:lnTo>
                  <a:lnTo>
                    <a:pt x="60" y="270"/>
                  </a:lnTo>
                  <a:lnTo>
                    <a:pt x="58" y="268"/>
                  </a:lnTo>
                  <a:lnTo>
                    <a:pt x="58" y="266"/>
                  </a:lnTo>
                  <a:lnTo>
                    <a:pt x="60" y="264"/>
                  </a:lnTo>
                  <a:lnTo>
                    <a:pt x="60" y="260"/>
                  </a:lnTo>
                  <a:lnTo>
                    <a:pt x="58" y="262"/>
                  </a:lnTo>
                  <a:lnTo>
                    <a:pt x="56" y="268"/>
                  </a:lnTo>
                  <a:lnTo>
                    <a:pt x="52" y="274"/>
                  </a:lnTo>
                  <a:lnTo>
                    <a:pt x="48" y="280"/>
                  </a:lnTo>
                  <a:lnTo>
                    <a:pt x="42" y="282"/>
                  </a:lnTo>
                  <a:lnTo>
                    <a:pt x="44" y="290"/>
                  </a:lnTo>
                  <a:lnTo>
                    <a:pt x="38" y="284"/>
                  </a:lnTo>
                  <a:lnTo>
                    <a:pt x="30" y="282"/>
                  </a:lnTo>
                  <a:lnTo>
                    <a:pt x="26" y="276"/>
                  </a:lnTo>
                  <a:lnTo>
                    <a:pt x="22" y="270"/>
                  </a:lnTo>
                  <a:lnTo>
                    <a:pt x="16" y="264"/>
                  </a:lnTo>
                  <a:lnTo>
                    <a:pt x="10" y="264"/>
                  </a:lnTo>
                  <a:lnTo>
                    <a:pt x="6" y="262"/>
                  </a:lnTo>
                  <a:lnTo>
                    <a:pt x="2" y="258"/>
                  </a:lnTo>
                  <a:lnTo>
                    <a:pt x="0" y="2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3" name="Freeform 281"/>
            <p:cNvSpPr>
              <a:spLocks/>
            </p:cNvSpPr>
            <p:nvPr/>
          </p:nvSpPr>
          <p:spPr bwMode="auto">
            <a:xfrm>
              <a:off x="2038350" y="3719513"/>
              <a:ext cx="36513" cy="74612"/>
            </a:xfrm>
            <a:custGeom>
              <a:avLst/>
              <a:gdLst>
                <a:gd name="T0" fmla="*/ 0 w 88"/>
                <a:gd name="T1" fmla="*/ 2147483647 h 180"/>
                <a:gd name="T2" fmla="*/ 2147483647 w 88"/>
                <a:gd name="T3" fmla="*/ 2147483647 h 180"/>
                <a:gd name="T4" fmla="*/ 2147483647 w 88"/>
                <a:gd name="T5" fmla="*/ 2147483647 h 180"/>
                <a:gd name="T6" fmla="*/ 2147483647 w 88"/>
                <a:gd name="T7" fmla="*/ 2147483647 h 180"/>
                <a:gd name="T8" fmla="*/ 2147483647 w 88"/>
                <a:gd name="T9" fmla="*/ 2147483647 h 180"/>
                <a:gd name="T10" fmla="*/ 2147483647 w 88"/>
                <a:gd name="T11" fmla="*/ 2147483647 h 180"/>
                <a:gd name="T12" fmla="*/ 2147483647 w 88"/>
                <a:gd name="T13" fmla="*/ 2147483647 h 180"/>
                <a:gd name="T14" fmla="*/ 2147483647 w 88"/>
                <a:gd name="T15" fmla="*/ 2147483647 h 180"/>
                <a:gd name="T16" fmla="*/ 2147483647 w 88"/>
                <a:gd name="T17" fmla="*/ 2147483647 h 180"/>
                <a:gd name="T18" fmla="*/ 2147483647 w 88"/>
                <a:gd name="T19" fmla="*/ 2147483647 h 180"/>
                <a:gd name="T20" fmla="*/ 2147483647 w 88"/>
                <a:gd name="T21" fmla="*/ 2147483647 h 180"/>
                <a:gd name="T22" fmla="*/ 2147483647 w 88"/>
                <a:gd name="T23" fmla="*/ 2147483647 h 180"/>
                <a:gd name="T24" fmla="*/ 2147483647 w 88"/>
                <a:gd name="T25" fmla="*/ 2147483647 h 180"/>
                <a:gd name="T26" fmla="*/ 2147483647 w 88"/>
                <a:gd name="T27" fmla="*/ 2147483647 h 180"/>
                <a:gd name="T28" fmla="*/ 2147483647 w 88"/>
                <a:gd name="T29" fmla="*/ 2147483647 h 180"/>
                <a:gd name="T30" fmla="*/ 2147483647 w 88"/>
                <a:gd name="T31" fmla="*/ 2147483647 h 180"/>
                <a:gd name="T32" fmla="*/ 2147483647 w 88"/>
                <a:gd name="T33" fmla="*/ 2147483647 h 180"/>
                <a:gd name="T34" fmla="*/ 2147483647 w 88"/>
                <a:gd name="T35" fmla="*/ 2147483647 h 180"/>
                <a:gd name="T36" fmla="*/ 2147483647 w 88"/>
                <a:gd name="T37" fmla="*/ 2147483647 h 180"/>
                <a:gd name="T38" fmla="*/ 2147483647 w 88"/>
                <a:gd name="T39" fmla="*/ 2147483647 h 180"/>
                <a:gd name="T40" fmla="*/ 2147483647 w 88"/>
                <a:gd name="T41" fmla="*/ 2147483647 h 180"/>
                <a:gd name="T42" fmla="*/ 2147483647 w 88"/>
                <a:gd name="T43" fmla="*/ 0 h 180"/>
                <a:gd name="T44" fmla="*/ 2147483647 w 88"/>
                <a:gd name="T45" fmla="*/ 2147483647 h 180"/>
                <a:gd name="T46" fmla="*/ 2147483647 w 88"/>
                <a:gd name="T47" fmla="*/ 2147483647 h 180"/>
                <a:gd name="T48" fmla="*/ 2147483647 w 88"/>
                <a:gd name="T49" fmla="*/ 2147483647 h 180"/>
                <a:gd name="T50" fmla="*/ 2147483647 w 88"/>
                <a:gd name="T51" fmla="*/ 2147483647 h 180"/>
                <a:gd name="T52" fmla="*/ 2147483647 w 88"/>
                <a:gd name="T53" fmla="*/ 2147483647 h 180"/>
                <a:gd name="T54" fmla="*/ 2147483647 w 88"/>
                <a:gd name="T55" fmla="*/ 2147483647 h 180"/>
                <a:gd name="T56" fmla="*/ 2147483647 w 88"/>
                <a:gd name="T57" fmla="*/ 2147483647 h 180"/>
                <a:gd name="T58" fmla="*/ 2147483647 w 88"/>
                <a:gd name="T59" fmla="*/ 2147483647 h 180"/>
                <a:gd name="T60" fmla="*/ 2147483647 w 88"/>
                <a:gd name="T61" fmla="*/ 2147483647 h 180"/>
                <a:gd name="T62" fmla="*/ 2147483647 w 88"/>
                <a:gd name="T63" fmla="*/ 2147483647 h 180"/>
                <a:gd name="T64" fmla="*/ 2147483647 w 88"/>
                <a:gd name="T65" fmla="*/ 2147483647 h 180"/>
                <a:gd name="T66" fmla="*/ 2147483647 w 88"/>
                <a:gd name="T67" fmla="*/ 2147483647 h 180"/>
                <a:gd name="T68" fmla="*/ 2147483647 w 88"/>
                <a:gd name="T69" fmla="*/ 2147483647 h 180"/>
                <a:gd name="T70" fmla="*/ 2147483647 w 88"/>
                <a:gd name="T71" fmla="*/ 2147483647 h 180"/>
                <a:gd name="T72" fmla="*/ 2147483647 w 88"/>
                <a:gd name="T73" fmla="*/ 2147483647 h 180"/>
                <a:gd name="T74" fmla="*/ 2147483647 w 88"/>
                <a:gd name="T75" fmla="*/ 2147483647 h 180"/>
                <a:gd name="T76" fmla="*/ 2147483647 w 88"/>
                <a:gd name="T77" fmla="*/ 2147483647 h 180"/>
                <a:gd name="T78" fmla="*/ 2147483647 w 88"/>
                <a:gd name="T79" fmla="*/ 2147483647 h 180"/>
                <a:gd name="T80" fmla="*/ 2147483647 w 88"/>
                <a:gd name="T81" fmla="*/ 2147483647 h 180"/>
                <a:gd name="T82" fmla="*/ 2147483647 w 88"/>
                <a:gd name="T83" fmla="*/ 2147483647 h 180"/>
                <a:gd name="T84" fmla="*/ 2147483647 w 88"/>
                <a:gd name="T85" fmla="*/ 2147483647 h 180"/>
                <a:gd name="T86" fmla="*/ 0 w 88"/>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8"/>
                <a:gd name="T133" fmla="*/ 0 h 180"/>
                <a:gd name="T134" fmla="*/ 88 w 88"/>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8" h="180">
                  <a:moveTo>
                    <a:pt x="0" y="180"/>
                  </a:moveTo>
                  <a:lnTo>
                    <a:pt x="0" y="174"/>
                  </a:lnTo>
                  <a:lnTo>
                    <a:pt x="2" y="168"/>
                  </a:lnTo>
                  <a:lnTo>
                    <a:pt x="2" y="162"/>
                  </a:lnTo>
                  <a:lnTo>
                    <a:pt x="4" y="156"/>
                  </a:lnTo>
                  <a:lnTo>
                    <a:pt x="6" y="150"/>
                  </a:lnTo>
                  <a:lnTo>
                    <a:pt x="6" y="144"/>
                  </a:lnTo>
                  <a:lnTo>
                    <a:pt x="6" y="142"/>
                  </a:lnTo>
                  <a:lnTo>
                    <a:pt x="8" y="136"/>
                  </a:lnTo>
                  <a:lnTo>
                    <a:pt x="8" y="130"/>
                  </a:lnTo>
                  <a:lnTo>
                    <a:pt x="10" y="124"/>
                  </a:lnTo>
                  <a:lnTo>
                    <a:pt x="10" y="118"/>
                  </a:lnTo>
                  <a:lnTo>
                    <a:pt x="12" y="112"/>
                  </a:lnTo>
                  <a:lnTo>
                    <a:pt x="14" y="106"/>
                  </a:lnTo>
                  <a:lnTo>
                    <a:pt x="14" y="100"/>
                  </a:lnTo>
                  <a:lnTo>
                    <a:pt x="14" y="96"/>
                  </a:lnTo>
                  <a:lnTo>
                    <a:pt x="16" y="92"/>
                  </a:lnTo>
                  <a:lnTo>
                    <a:pt x="16" y="86"/>
                  </a:lnTo>
                  <a:lnTo>
                    <a:pt x="18" y="80"/>
                  </a:lnTo>
                  <a:lnTo>
                    <a:pt x="18" y="76"/>
                  </a:lnTo>
                  <a:lnTo>
                    <a:pt x="18" y="70"/>
                  </a:lnTo>
                  <a:lnTo>
                    <a:pt x="18" y="64"/>
                  </a:lnTo>
                  <a:lnTo>
                    <a:pt x="20" y="58"/>
                  </a:lnTo>
                  <a:lnTo>
                    <a:pt x="20" y="52"/>
                  </a:lnTo>
                  <a:lnTo>
                    <a:pt x="22" y="46"/>
                  </a:lnTo>
                  <a:lnTo>
                    <a:pt x="22" y="40"/>
                  </a:lnTo>
                  <a:lnTo>
                    <a:pt x="22" y="38"/>
                  </a:lnTo>
                  <a:lnTo>
                    <a:pt x="28" y="34"/>
                  </a:lnTo>
                  <a:lnTo>
                    <a:pt x="34" y="36"/>
                  </a:lnTo>
                  <a:lnTo>
                    <a:pt x="40" y="42"/>
                  </a:lnTo>
                  <a:lnTo>
                    <a:pt x="40" y="40"/>
                  </a:lnTo>
                  <a:lnTo>
                    <a:pt x="46" y="34"/>
                  </a:lnTo>
                  <a:lnTo>
                    <a:pt x="48" y="30"/>
                  </a:lnTo>
                  <a:lnTo>
                    <a:pt x="50" y="30"/>
                  </a:lnTo>
                  <a:lnTo>
                    <a:pt x="52" y="24"/>
                  </a:lnTo>
                  <a:lnTo>
                    <a:pt x="56" y="18"/>
                  </a:lnTo>
                  <a:lnTo>
                    <a:pt x="58" y="18"/>
                  </a:lnTo>
                  <a:lnTo>
                    <a:pt x="62" y="12"/>
                  </a:lnTo>
                  <a:lnTo>
                    <a:pt x="64" y="6"/>
                  </a:lnTo>
                  <a:lnTo>
                    <a:pt x="70" y="0"/>
                  </a:lnTo>
                  <a:lnTo>
                    <a:pt x="74" y="0"/>
                  </a:lnTo>
                  <a:lnTo>
                    <a:pt x="78" y="0"/>
                  </a:lnTo>
                  <a:lnTo>
                    <a:pt x="74" y="6"/>
                  </a:lnTo>
                  <a:lnTo>
                    <a:pt x="74" y="12"/>
                  </a:lnTo>
                  <a:lnTo>
                    <a:pt x="80" y="10"/>
                  </a:lnTo>
                  <a:lnTo>
                    <a:pt x="86" y="10"/>
                  </a:lnTo>
                  <a:lnTo>
                    <a:pt x="88" y="16"/>
                  </a:lnTo>
                  <a:lnTo>
                    <a:pt x="88" y="22"/>
                  </a:lnTo>
                  <a:lnTo>
                    <a:pt x="86" y="28"/>
                  </a:lnTo>
                  <a:lnTo>
                    <a:pt x="82" y="34"/>
                  </a:lnTo>
                  <a:lnTo>
                    <a:pt x="82" y="38"/>
                  </a:lnTo>
                  <a:lnTo>
                    <a:pt x="78" y="42"/>
                  </a:lnTo>
                  <a:lnTo>
                    <a:pt x="78" y="50"/>
                  </a:lnTo>
                  <a:lnTo>
                    <a:pt x="76" y="54"/>
                  </a:lnTo>
                  <a:lnTo>
                    <a:pt x="72" y="60"/>
                  </a:lnTo>
                  <a:lnTo>
                    <a:pt x="74" y="66"/>
                  </a:lnTo>
                  <a:lnTo>
                    <a:pt x="72" y="72"/>
                  </a:lnTo>
                  <a:lnTo>
                    <a:pt x="70" y="78"/>
                  </a:lnTo>
                  <a:lnTo>
                    <a:pt x="68" y="84"/>
                  </a:lnTo>
                  <a:lnTo>
                    <a:pt x="66" y="90"/>
                  </a:lnTo>
                  <a:lnTo>
                    <a:pt x="66" y="94"/>
                  </a:lnTo>
                  <a:lnTo>
                    <a:pt x="66" y="96"/>
                  </a:lnTo>
                  <a:lnTo>
                    <a:pt x="70" y="102"/>
                  </a:lnTo>
                  <a:lnTo>
                    <a:pt x="66" y="108"/>
                  </a:lnTo>
                  <a:lnTo>
                    <a:pt x="66" y="114"/>
                  </a:lnTo>
                  <a:lnTo>
                    <a:pt x="62" y="120"/>
                  </a:lnTo>
                  <a:lnTo>
                    <a:pt x="62" y="124"/>
                  </a:lnTo>
                  <a:lnTo>
                    <a:pt x="60" y="130"/>
                  </a:lnTo>
                  <a:lnTo>
                    <a:pt x="58" y="136"/>
                  </a:lnTo>
                  <a:lnTo>
                    <a:pt x="58" y="130"/>
                  </a:lnTo>
                  <a:lnTo>
                    <a:pt x="54" y="134"/>
                  </a:lnTo>
                  <a:lnTo>
                    <a:pt x="52" y="140"/>
                  </a:lnTo>
                  <a:lnTo>
                    <a:pt x="48" y="146"/>
                  </a:lnTo>
                  <a:lnTo>
                    <a:pt x="44" y="152"/>
                  </a:lnTo>
                  <a:lnTo>
                    <a:pt x="38" y="152"/>
                  </a:lnTo>
                  <a:lnTo>
                    <a:pt x="32" y="156"/>
                  </a:lnTo>
                  <a:lnTo>
                    <a:pt x="32" y="160"/>
                  </a:lnTo>
                  <a:lnTo>
                    <a:pt x="26" y="166"/>
                  </a:lnTo>
                  <a:lnTo>
                    <a:pt x="20" y="172"/>
                  </a:lnTo>
                  <a:lnTo>
                    <a:pt x="18" y="178"/>
                  </a:lnTo>
                  <a:lnTo>
                    <a:pt x="18" y="180"/>
                  </a:lnTo>
                  <a:lnTo>
                    <a:pt x="12" y="178"/>
                  </a:lnTo>
                  <a:lnTo>
                    <a:pt x="6" y="180"/>
                  </a:lnTo>
                  <a:lnTo>
                    <a:pt x="0" y="18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4" name="Freeform 282"/>
            <p:cNvSpPr>
              <a:spLocks/>
            </p:cNvSpPr>
            <p:nvPr/>
          </p:nvSpPr>
          <p:spPr bwMode="auto">
            <a:xfrm>
              <a:off x="2967038" y="4248150"/>
              <a:ext cx="60325" cy="50800"/>
            </a:xfrm>
            <a:custGeom>
              <a:avLst/>
              <a:gdLst>
                <a:gd name="T0" fmla="*/ 2147483647 w 148"/>
                <a:gd name="T1" fmla="*/ 2147483647 h 120"/>
                <a:gd name="T2" fmla="*/ 2147483647 w 148"/>
                <a:gd name="T3" fmla="*/ 2147483647 h 120"/>
                <a:gd name="T4" fmla="*/ 2147483647 w 148"/>
                <a:gd name="T5" fmla="*/ 2147483647 h 120"/>
                <a:gd name="T6" fmla="*/ 2147483647 w 148"/>
                <a:gd name="T7" fmla="*/ 2147483647 h 120"/>
                <a:gd name="T8" fmla="*/ 2147483647 w 148"/>
                <a:gd name="T9" fmla="*/ 2147483647 h 120"/>
                <a:gd name="T10" fmla="*/ 2147483647 w 148"/>
                <a:gd name="T11" fmla="*/ 2147483647 h 120"/>
                <a:gd name="T12" fmla="*/ 2147483647 w 148"/>
                <a:gd name="T13" fmla="*/ 2147483647 h 120"/>
                <a:gd name="T14" fmla="*/ 2147483647 w 148"/>
                <a:gd name="T15" fmla="*/ 2147483647 h 120"/>
                <a:gd name="T16" fmla="*/ 2147483647 w 148"/>
                <a:gd name="T17" fmla="*/ 2147483647 h 120"/>
                <a:gd name="T18" fmla="*/ 2147483647 w 148"/>
                <a:gd name="T19" fmla="*/ 2147483647 h 120"/>
                <a:gd name="T20" fmla="*/ 2147483647 w 148"/>
                <a:gd name="T21" fmla="*/ 2147483647 h 120"/>
                <a:gd name="T22" fmla="*/ 2147483647 w 148"/>
                <a:gd name="T23" fmla="*/ 2147483647 h 120"/>
                <a:gd name="T24" fmla="*/ 2147483647 w 148"/>
                <a:gd name="T25" fmla="*/ 2147483647 h 120"/>
                <a:gd name="T26" fmla="*/ 2147483647 w 148"/>
                <a:gd name="T27" fmla="*/ 2147483647 h 120"/>
                <a:gd name="T28" fmla="*/ 2147483647 w 148"/>
                <a:gd name="T29" fmla="*/ 2147483647 h 120"/>
                <a:gd name="T30" fmla="*/ 2147483647 w 148"/>
                <a:gd name="T31" fmla="*/ 2147483647 h 120"/>
                <a:gd name="T32" fmla="*/ 2147483647 w 148"/>
                <a:gd name="T33" fmla="*/ 2147483647 h 120"/>
                <a:gd name="T34" fmla="*/ 2147483647 w 148"/>
                <a:gd name="T35" fmla="*/ 2147483647 h 120"/>
                <a:gd name="T36" fmla="*/ 2147483647 w 148"/>
                <a:gd name="T37" fmla="*/ 2147483647 h 120"/>
                <a:gd name="T38" fmla="*/ 2147483647 w 148"/>
                <a:gd name="T39" fmla="*/ 2147483647 h 120"/>
                <a:gd name="T40" fmla="*/ 2147483647 w 148"/>
                <a:gd name="T41" fmla="*/ 2147483647 h 120"/>
                <a:gd name="T42" fmla="*/ 2147483647 w 148"/>
                <a:gd name="T43" fmla="*/ 2147483647 h 120"/>
                <a:gd name="T44" fmla="*/ 2147483647 w 148"/>
                <a:gd name="T45" fmla="*/ 2147483647 h 120"/>
                <a:gd name="T46" fmla="*/ 2147483647 w 148"/>
                <a:gd name="T47" fmla="*/ 2147483647 h 120"/>
                <a:gd name="T48" fmla="*/ 2147483647 w 148"/>
                <a:gd name="T49" fmla="*/ 2147483647 h 120"/>
                <a:gd name="T50" fmla="*/ 2147483647 w 148"/>
                <a:gd name="T51" fmla="*/ 2147483647 h 120"/>
                <a:gd name="T52" fmla="*/ 2147483647 w 148"/>
                <a:gd name="T53" fmla="*/ 2147483647 h 120"/>
                <a:gd name="T54" fmla="*/ 2147483647 w 148"/>
                <a:gd name="T55" fmla="*/ 2147483647 h 120"/>
                <a:gd name="T56" fmla="*/ 2147483647 w 148"/>
                <a:gd name="T57" fmla="*/ 2147483647 h 120"/>
                <a:gd name="T58" fmla="*/ 2147483647 w 148"/>
                <a:gd name="T59" fmla="*/ 2147483647 h 120"/>
                <a:gd name="T60" fmla="*/ 2147483647 w 148"/>
                <a:gd name="T61" fmla="*/ 2147483647 h 120"/>
                <a:gd name="T62" fmla="*/ 2147483647 w 148"/>
                <a:gd name="T63" fmla="*/ 2147483647 h 120"/>
                <a:gd name="T64" fmla="*/ 2147483647 w 148"/>
                <a:gd name="T65" fmla="*/ 2147483647 h 120"/>
                <a:gd name="T66" fmla="*/ 2147483647 w 148"/>
                <a:gd name="T67" fmla="*/ 2147483647 h 120"/>
                <a:gd name="T68" fmla="*/ 2147483647 w 148"/>
                <a:gd name="T69" fmla="*/ 2147483647 h 120"/>
                <a:gd name="T70" fmla="*/ 2147483647 w 148"/>
                <a:gd name="T71" fmla="*/ 2147483647 h 120"/>
                <a:gd name="T72" fmla="*/ 2147483647 w 148"/>
                <a:gd name="T73" fmla="*/ 2147483647 h 120"/>
                <a:gd name="T74" fmla="*/ 2147483647 w 148"/>
                <a:gd name="T75" fmla="*/ 2147483647 h 120"/>
                <a:gd name="T76" fmla="*/ 2147483647 w 148"/>
                <a:gd name="T77" fmla="*/ 2147483647 h 120"/>
                <a:gd name="T78" fmla="*/ 2147483647 w 148"/>
                <a:gd name="T79" fmla="*/ 2147483647 h 120"/>
                <a:gd name="T80" fmla="*/ 2147483647 w 148"/>
                <a:gd name="T81" fmla="*/ 2147483647 h 120"/>
                <a:gd name="T82" fmla="*/ 2147483647 w 148"/>
                <a:gd name="T83" fmla="*/ 2147483647 h 120"/>
                <a:gd name="T84" fmla="*/ 2147483647 w 148"/>
                <a:gd name="T85" fmla="*/ 2147483647 h 120"/>
                <a:gd name="T86" fmla="*/ 2147483647 w 148"/>
                <a:gd name="T87" fmla="*/ 2147483647 h 120"/>
                <a:gd name="T88" fmla="*/ 0 w 148"/>
                <a:gd name="T89" fmla="*/ 2147483647 h 120"/>
                <a:gd name="T90" fmla="*/ 0 w 148"/>
                <a:gd name="T91" fmla="*/ 2147483647 h 120"/>
                <a:gd name="T92" fmla="*/ 2147483647 w 148"/>
                <a:gd name="T93" fmla="*/ 2147483647 h 1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8"/>
                <a:gd name="T142" fmla="*/ 0 h 120"/>
                <a:gd name="T143" fmla="*/ 148 w 148"/>
                <a:gd name="T144" fmla="*/ 120 h 12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8" h="120">
                  <a:moveTo>
                    <a:pt x="2" y="96"/>
                  </a:moveTo>
                  <a:lnTo>
                    <a:pt x="6" y="102"/>
                  </a:lnTo>
                  <a:lnTo>
                    <a:pt x="10" y="108"/>
                  </a:lnTo>
                  <a:lnTo>
                    <a:pt x="14" y="118"/>
                  </a:lnTo>
                  <a:lnTo>
                    <a:pt x="20" y="120"/>
                  </a:lnTo>
                  <a:lnTo>
                    <a:pt x="26" y="120"/>
                  </a:lnTo>
                  <a:lnTo>
                    <a:pt x="32" y="120"/>
                  </a:lnTo>
                  <a:lnTo>
                    <a:pt x="28" y="116"/>
                  </a:lnTo>
                  <a:lnTo>
                    <a:pt x="32" y="116"/>
                  </a:lnTo>
                  <a:lnTo>
                    <a:pt x="38" y="116"/>
                  </a:lnTo>
                  <a:lnTo>
                    <a:pt x="44" y="114"/>
                  </a:lnTo>
                  <a:lnTo>
                    <a:pt x="50" y="116"/>
                  </a:lnTo>
                  <a:lnTo>
                    <a:pt x="52" y="114"/>
                  </a:lnTo>
                  <a:lnTo>
                    <a:pt x="58" y="118"/>
                  </a:lnTo>
                  <a:lnTo>
                    <a:pt x="64" y="118"/>
                  </a:lnTo>
                  <a:lnTo>
                    <a:pt x="66" y="112"/>
                  </a:lnTo>
                  <a:lnTo>
                    <a:pt x="70" y="118"/>
                  </a:lnTo>
                  <a:lnTo>
                    <a:pt x="76" y="112"/>
                  </a:lnTo>
                  <a:lnTo>
                    <a:pt x="80" y="106"/>
                  </a:lnTo>
                  <a:lnTo>
                    <a:pt x="80" y="100"/>
                  </a:lnTo>
                  <a:lnTo>
                    <a:pt x="86" y="106"/>
                  </a:lnTo>
                  <a:lnTo>
                    <a:pt x="90" y="106"/>
                  </a:lnTo>
                  <a:lnTo>
                    <a:pt x="96" y="106"/>
                  </a:lnTo>
                  <a:lnTo>
                    <a:pt x="102" y="102"/>
                  </a:lnTo>
                  <a:lnTo>
                    <a:pt x="108" y="102"/>
                  </a:lnTo>
                  <a:lnTo>
                    <a:pt x="114" y="98"/>
                  </a:lnTo>
                  <a:lnTo>
                    <a:pt x="120" y="94"/>
                  </a:lnTo>
                  <a:lnTo>
                    <a:pt x="122" y="90"/>
                  </a:lnTo>
                  <a:lnTo>
                    <a:pt x="124" y="82"/>
                  </a:lnTo>
                  <a:lnTo>
                    <a:pt x="124" y="78"/>
                  </a:lnTo>
                  <a:lnTo>
                    <a:pt x="124" y="76"/>
                  </a:lnTo>
                  <a:lnTo>
                    <a:pt x="130" y="72"/>
                  </a:lnTo>
                  <a:lnTo>
                    <a:pt x="134" y="64"/>
                  </a:lnTo>
                  <a:lnTo>
                    <a:pt x="134" y="60"/>
                  </a:lnTo>
                  <a:lnTo>
                    <a:pt x="140" y="54"/>
                  </a:lnTo>
                  <a:lnTo>
                    <a:pt x="140" y="48"/>
                  </a:lnTo>
                  <a:lnTo>
                    <a:pt x="142" y="42"/>
                  </a:lnTo>
                  <a:lnTo>
                    <a:pt x="142" y="36"/>
                  </a:lnTo>
                  <a:lnTo>
                    <a:pt x="144" y="30"/>
                  </a:lnTo>
                  <a:lnTo>
                    <a:pt x="146" y="24"/>
                  </a:lnTo>
                  <a:lnTo>
                    <a:pt x="148" y="18"/>
                  </a:lnTo>
                  <a:lnTo>
                    <a:pt x="144" y="12"/>
                  </a:lnTo>
                  <a:lnTo>
                    <a:pt x="140" y="12"/>
                  </a:lnTo>
                  <a:lnTo>
                    <a:pt x="132" y="10"/>
                  </a:lnTo>
                  <a:lnTo>
                    <a:pt x="128" y="10"/>
                  </a:lnTo>
                  <a:lnTo>
                    <a:pt x="120" y="8"/>
                  </a:lnTo>
                  <a:lnTo>
                    <a:pt x="114" y="8"/>
                  </a:lnTo>
                  <a:lnTo>
                    <a:pt x="108" y="6"/>
                  </a:lnTo>
                  <a:lnTo>
                    <a:pt x="102" y="4"/>
                  </a:lnTo>
                  <a:lnTo>
                    <a:pt x="102" y="2"/>
                  </a:lnTo>
                  <a:lnTo>
                    <a:pt x="94" y="4"/>
                  </a:lnTo>
                  <a:lnTo>
                    <a:pt x="90" y="6"/>
                  </a:lnTo>
                  <a:lnTo>
                    <a:pt x="86" y="12"/>
                  </a:lnTo>
                  <a:lnTo>
                    <a:pt x="80" y="10"/>
                  </a:lnTo>
                  <a:lnTo>
                    <a:pt x="74" y="10"/>
                  </a:lnTo>
                  <a:lnTo>
                    <a:pt x="68" y="10"/>
                  </a:lnTo>
                  <a:lnTo>
                    <a:pt x="62" y="8"/>
                  </a:lnTo>
                  <a:lnTo>
                    <a:pt x="56" y="6"/>
                  </a:lnTo>
                  <a:lnTo>
                    <a:pt x="50" y="6"/>
                  </a:lnTo>
                  <a:lnTo>
                    <a:pt x="44" y="4"/>
                  </a:lnTo>
                  <a:lnTo>
                    <a:pt x="38" y="2"/>
                  </a:lnTo>
                  <a:lnTo>
                    <a:pt x="32" y="2"/>
                  </a:lnTo>
                  <a:lnTo>
                    <a:pt x="26" y="0"/>
                  </a:lnTo>
                  <a:lnTo>
                    <a:pt x="20" y="4"/>
                  </a:lnTo>
                  <a:lnTo>
                    <a:pt x="14" y="8"/>
                  </a:lnTo>
                  <a:lnTo>
                    <a:pt x="8" y="14"/>
                  </a:lnTo>
                  <a:lnTo>
                    <a:pt x="6" y="20"/>
                  </a:lnTo>
                  <a:lnTo>
                    <a:pt x="6" y="26"/>
                  </a:lnTo>
                  <a:lnTo>
                    <a:pt x="6" y="32"/>
                  </a:lnTo>
                  <a:lnTo>
                    <a:pt x="10" y="38"/>
                  </a:lnTo>
                  <a:lnTo>
                    <a:pt x="16" y="42"/>
                  </a:lnTo>
                  <a:lnTo>
                    <a:pt x="14" y="42"/>
                  </a:lnTo>
                  <a:lnTo>
                    <a:pt x="8" y="40"/>
                  </a:lnTo>
                  <a:lnTo>
                    <a:pt x="2" y="38"/>
                  </a:lnTo>
                  <a:lnTo>
                    <a:pt x="2" y="44"/>
                  </a:lnTo>
                  <a:lnTo>
                    <a:pt x="4" y="50"/>
                  </a:lnTo>
                  <a:lnTo>
                    <a:pt x="2" y="52"/>
                  </a:lnTo>
                  <a:lnTo>
                    <a:pt x="0" y="58"/>
                  </a:lnTo>
                  <a:lnTo>
                    <a:pt x="2" y="64"/>
                  </a:lnTo>
                  <a:lnTo>
                    <a:pt x="4" y="70"/>
                  </a:lnTo>
                  <a:lnTo>
                    <a:pt x="6" y="70"/>
                  </a:lnTo>
                  <a:lnTo>
                    <a:pt x="12" y="68"/>
                  </a:lnTo>
                  <a:lnTo>
                    <a:pt x="18" y="64"/>
                  </a:lnTo>
                  <a:lnTo>
                    <a:pt x="20" y="66"/>
                  </a:lnTo>
                  <a:lnTo>
                    <a:pt x="18" y="68"/>
                  </a:lnTo>
                  <a:lnTo>
                    <a:pt x="16" y="76"/>
                  </a:lnTo>
                  <a:lnTo>
                    <a:pt x="12" y="74"/>
                  </a:lnTo>
                  <a:lnTo>
                    <a:pt x="6" y="72"/>
                  </a:lnTo>
                  <a:lnTo>
                    <a:pt x="0" y="72"/>
                  </a:lnTo>
                  <a:lnTo>
                    <a:pt x="2" y="78"/>
                  </a:lnTo>
                  <a:lnTo>
                    <a:pt x="0" y="84"/>
                  </a:lnTo>
                  <a:lnTo>
                    <a:pt x="2" y="90"/>
                  </a:lnTo>
                  <a:lnTo>
                    <a:pt x="2" y="9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5" name="Freeform 283"/>
            <p:cNvSpPr>
              <a:spLocks/>
            </p:cNvSpPr>
            <p:nvPr/>
          </p:nvSpPr>
          <p:spPr bwMode="auto">
            <a:xfrm>
              <a:off x="2586038" y="3719513"/>
              <a:ext cx="39687" cy="15875"/>
            </a:xfrm>
            <a:custGeom>
              <a:avLst/>
              <a:gdLst>
                <a:gd name="T0" fmla="*/ 2147483647 w 98"/>
                <a:gd name="T1" fmla="*/ 2147483647 h 40"/>
                <a:gd name="T2" fmla="*/ 2147483647 w 98"/>
                <a:gd name="T3" fmla="*/ 2147483647 h 40"/>
                <a:gd name="T4" fmla="*/ 2147483647 w 98"/>
                <a:gd name="T5" fmla="*/ 2147483647 h 40"/>
                <a:gd name="T6" fmla="*/ 2147483647 w 98"/>
                <a:gd name="T7" fmla="*/ 2147483647 h 40"/>
                <a:gd name="T8" fmla="*/ 2147483647 w 98"/>
                <a:gd name="T9" fmla="*/ 2147483647 h 40"/>
                <a:gd name="T10" fmla="*/ 2147483647 w 98"/>
                <a:gd name="T11" fmla="*/ 2147483647 h 40"/>
                <a:gd name="T12" fmla="*/ 2147483647 w 98"/>
                <a:gd name="T13" fmla="*/ 2147483647 h 40"/>
                <a:gd name="T14" fmla="*/ 2147483647 w 98"/>
                <a:gd name="T15" fmla="*/ 2147483647 h 40"/>
                <a:gd name="T16" fmla="*/ 2147483647 w 98"/>
                <a:gd name="T17" fmla="*/ 2147483647 h 40"/>
                <a:gd name="T18" fmla="*/ 2147483647 w 98"/>
                <a:gd name="T19" fmla="*/ 2147483647 h 40"/>
                <a:gd name="T20" fmla="*/ 2147483647 w 98"/>
                <a:gd name="T21" fmla="*/ 2147483647 h 40"/>
                <a:gd name="T22" fmla="*/ 2147483647 w 98"/>
                <a:gd name="T23" fmla="*/ 2147483647 h 40"/>
                <a:gd name="T24" fmla="*/ 2147483647 w 98"/>
                <a:gd name="T25" fmla="*/ 2147483647 h 40"/>
                <a:gd name="T26" fmla="*/ 2147483647 w 98"/>
                <a:gd name="T27" fmla="*/ 2147483647 h 40"/>
                <a:gd name="T28" fmla="*/ 2147483647 w 98"/>
                <a:gd name="T29" fmla="*/ 2147483647 h 40"/>
                <a:gd name="T30" fmla="*/ 2147483647 w 98"/>
                <a:gd name="T31" fmla="*/ 2147483647 h 40"/>
                <a:gd name="T32" fmla="*/ 2147483647 w 98"/>
                <a:gd name="T33" fmla="*/ 2147483647 h 40"/>
                <a:gd name="T34" fmla="*/ 0 w 98"/>
                <a:gd name="T35" fmla="*/ 2147483647 h 40"/>
                <a:gd name="T36" fmla="*/ 2147483647 w 98"/>
                <a:gd name="T37" fmla="*/ 2147483647 h 40"/>
                <a:gd name="T38" fmla="*/ 2147483647 w 98"/>
                <a:gd name="T39" fmla="*/ 2147483647 h 40"/>
                <a:gd name="T40" fmla="*/ 2147483647 w 98"/>
                <a:gd name="T41" fmla="*/ 0 h 40"/>
                <a:gd name="T42" fmla="*/ 2147483647 w 98"/>
                <a:gd name="T43" fmla="*/ 2147483647 h 40"/>
                <a:gd name="T44" fmla="*/ 2147483647 w 98"/>
                <a:gd name="T45" fmla="*/ 2147483647 h 40"/>
                <a:gd name="T46" fmla="*/ 2147483647 w 98"/>
                <a:gd name="T47" fmla="*/ 2147483647 h 40"/>
                <a:gd name="T48" fmla="*/ 2147483647 w 98"/>
                <a:gd name="T49" fmla="*/ 2147483647 h 40"/>
                <a:gd name="T50" fmla="*/ 2147483647 w 98"/>
                <a:gd name="T51" fmla="*/ 2147483647 h 40"/>
                <a:gd name="T52" fmla="*/ 2147483647 w 98"/>
                <a:gd name="T53" fmla="*/ 2147483647 h 40"/>
                <a:gd name="T54" fmla="*/ 2147483647 w 98"/>
                <a:gd name="T55" fmla="*/ 2147483647 h 40"/>
                <a:gd name="T56" fmla="*/ 2147483647 w 98"/>
                <a:gd name="T57" fmla="*/ 2147483647 h 40"/>
                <a:gd name="T58" fmla="*/ 2147483647 w 98"/>
                <a:gd name="T59" fmla="*/ 2147483647 h 40"/>
                <a:gd name="T60" fmla="*/ 2147483647 w 98"/>
                <a:gd name="T61" fmla="*/ 2147483647 h 40"/>
                <a:gd name="T62" fmla="*/ 2147483647 w 98"/>
                <a:gd name="T63" fmla="*/ 2147483647 h 40"/>
                <a:gd name="T64" fmla="*/ 2147483647 w 98"/>
                <a:gd name="T65" fmla="*/ 2147483647 h 40"/>
                <a:gd name="T66" fmla="*/ 2147483647 w 98"/>
                <a:gd name="T67" fmla="*/ 2147483647 h 40"/>
                <a:gd name="T68" fmla="*/ 2147483647 w 98"/>
                <a:gd name="T69" fmla="*/ 2147483647 h 40"/>
                <a:gd name="T70" fmla="*/ 2147483647 w 98"/>
                <a:gd name="T71" fmla="*/ 2147483647 h 40"/>
                <a:gd name="T72" fmla="*/ 2147483647 w 98"/>
                <a:gd name="T73" fmla="*/ 2147483647 h 40"/>
                <a:gd name="T74" fmla="*/ 2147483647 w 98"/>
                <a:gd name="T75" fmla="*/ 2147483647 h 40"/>
                <a:gd name="T76" fmla="*/ 2147483647 w 98"/>
                <a:gd name="T77" fmla="*/ 2147483647 h 40"/>
                <a:gd name="T78" fmla="*/ 2147483647 w 98"/>
                <a:gd name="T79" fmla="*/ 2147483647 h 40"/>
                <a:gd name="T80" fmla="*/ 2147483647 w 98"/>
                <a:gd name="T81" fmla="*/ 2147483647 h 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
                <a:gd name="T124" fmla="*/ 0 h 40"/>
                <a:gd name="T125" fmla="*/ 98 w 98"/>
                <a:gd name="T126" fmla="*/ 40 h 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 h="40">
                  <a:moveTo>
                    <a:pt x="76" y="38"/>
                  </a:moveTo>
                  <a:lnTo>
                    <a:pt x="72" y="38"/>
                  </a:lnTo>
                  <a:lnTo>
                    <a:pt x="64" y="40"/>
                  </a:lnTo>
                  <a:lnTo>
                    <a:pt x="60" y="40"/>
                  </a:lnTo>
                  <a:lnTo>
                    <a:pt x="54" y="38"/>
                  </a:lnTo>
                  <a:lnTo>
                    <a:pt x="48" y="38"/>
                  </a:lnTo>
                  <a:lnTo>
                    <a:pt x="42" y="38"/>
                  </a:lnTo>
                  <a:lnTo>
                    <a:pt x="36" y="38"/>
                  </a:lnTo>
                  <a:lnTo>
                    <a:pt x="30" y="38"/>
                  </a:lnTo>
                  <a:lnTo>
                    <a:pt x="24" y="40"/>
                  </a:lnTo>
                  <a:lnTo>
                    <a:pt x="18" y="40"/>
                  </a:lnTo>
                  <a:lnTo>
                    <a:pt x="12" y="38"/>
                  </a:lnTo>
                  <a:lnTo>
                    <a:pt x="6" y="40"/>
                  </a:lnTo>
                  <a:lnTo>
                    <a:pt x="4" y="34"/>
                  </a:lnTo>
                  <a:lnTo>
                    <a:pt x="4" y="28"/>
                  </a:lnTo>
                  <a:lnTo>
                    <a:pt x="6" y="22"/>
                  </a:lnTo>
                  <a:lnTo>
                    <a:pt x="2" y="16"/>
                  </a:lnTo>
                  <a:lnTo>
                    <a:pt x="0" y="10"/>
                  </a:lnTo>
                  <a:lnTo>
                    <a:pt x="6" y="8"/>
                  </a:lnTo>
                  <a:lnTo>
                    <a:pt x="8" y="2"/>
                  </a:lnTo>
                  <a:lnTo>
                    <a:pt x="14" y="0"/>
                  </a:lnTo>
                  <a:lnTo>
                    <a:pt x="20" y="2"/>
                  </a:lnTo>
                  <a:lnTo>
                    <a:pt x="26" y="2"/>
                  </a:lnTo>
                  <a:lnTo>
                    <a:pt x="32" y="2"/>
                  </a:lnTo>
                  <a:lnTo>
                    <a:pt x="38" y="2"/>
                  </a:lnTo>
                  <a:lnTo>
                    <a:pt x="44" y="2"/>
                  </a:lnTo>
                  <a:lnTo>
                    <a:pt x="50" y="2"/>
                  </a:lnTo>
                  <a:lnTo>
                    <a:pt x="56" y="2"/>
                  </a:lnTo>
                  <a:lnTo>
                    <a:pt x="62" y="2"/>
                  </a:lnTo>
                  <a:lnTo>
                    <a:pt x="68" y="4"/>
                  </a:lnTo>
                  <a:lnTo>
                    <a:pt x="74" y="6"/>
                  </a:lnTo>
                  <a:lnTo>
                    <a:pt x="80" y="4"/>
                  </a:lnTo>
                  <a:lnTo>
                    <a:pt x="86" y="6"/>
                  </a:lnTo>
                  <a:lnTo>
                    <a:pt x="92" y="8"/>
                  </a:lnTo>
                  <a:lnTo>
                    <a:pt x="98" y="10"/>
                  </a:lnTo>
                  <a:lnTo>
                    <a:pt x="98" y="16"/>
                  </a:lnTo>
                  <a:lnTo>
                    <a:pt x="96" y="22"/>
                  </a:lnTo>
                  <a:lnTo>
                    <a:pt x="90" y="24"/>
                  </a:lnTo>
                  <a:lnTo>
                    <a:pt x="86" y="30"/>
                  </a:lnTo>
                  <a:lnTo>
                    <a:pt x="82" y="36"/>
                  </a:lnTo>
                  <a:lnTo>
                    <a:pt x="76" y="3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6" name="Freeform 284"/>
            <p:cNvSpPr>
              <a:spLocks/>
            </p:cNvSpPr>
            <p:nvPr/>
          </p:nvSpPr>
          <p:spPr bwMode="auto">
            <a:xfrm>
              <a:off x="3154363" y="2025650"/>
              <a:ext cx="995362" cy="534988"/>
            </a:xfrm>
            <a:custGeom>
              <a:avLst/>
              <a:gdLst>
                <a:gd name="T0" fmla="*/ 2147483647 w 2444"/>
                <a:gd name="T1" fmla="*/ 2147483647 h 1302"/>
                <a:gd name="T2" fmla="*/ 2147483647 w 2444"/>
                <a:gd name="T3" fmla="*/ 2147483647 h 1302"/>
                <a:gd name="T4" fmla="*/ 2147483647 w 2444"/>
                <a:gd name="T5" fmla="*/ 2147483647 h 1302"/>
                <a:gd name="T6" fmla="*/ 2147483647 w 2444"/>
                <a:gd name="T7" fmla="*/ 2147483647 h 1302"/>
                <a:gd name="T8" fmla="*/ 2147483647 w 2444"/>
                <a:gd name="T9" fmla="*/ 2147483647 h 1302"/>
                <a:gd name="T10" fmla="*/ 2147483647 w 2444"/>
                <a:gd name="T11" fmla="*/ 2147483647 h 1302"/>
                <a:gd name="T12" fmla="*/ 2147483647 w 2444"/>
                <a:gd name="T13" fmla="*/ 2147483647 h 1302"/>
                <a:gd name="T14" fmla="*/ 2147483647 w 2444"/>
                <a:gd name="T15" fmla="*/ 2147483647 h 1302"/>
                <a:gd name="T16" fmla="*/ 2147483647 w 2444"/>
                <a:gd name="T17" fmla="*/ 2147483647 h 1302"/>
                <a:gd name="T18" fmla="*/ 2147483647 w 2444"/>
                <a:gd name="T19" fmla="*/ 2147483647 h 1302"/>
                <a:gd name="T20" fmla="*/ 2147483647 w 2444"/>
                <a:gd name="T21" fmla="*/ 2147483647 h 1302"/>
                <a:gd name="T22" fmla="*/ 2147483647 w 2444"/>
                <a:gd name="T23" fmla="*/ 2147483647 h 1302"/>
                <a:gd name="T24" fmla="*/ 2147483647 w 2444"/>
                <a:gd name="T25" fmla="*/ 2147483647 h 1302"/>
                <a:gd name="T26" fmla="*/ 2147483647 w 2444"/>
                <a:gd name="T27" fmla="*/ 2147483647 h 1302"/>
                <a:gd name="T28" fmla="*/ 2147483647 w 2444"/>
                <a:gd name="T29" fmla="*/ 2147483647 h 1302"/>
                <a:gd name="T30" fmla="*/ 2147483647 w 2444"/>
                <a:gd name="T31" fmla="*/ 2147483647 h 1302"/>
                <a:gd name="T32" fmla="*/ 2147483647 w 2444"/>
                <a:gd name="T33" fmla="*/ 2147483647 h 1302"/>
                <a:gd name="T34" fmla="*/ 2147483647 w 2444"/>
                <a:gd name="T35" fmla="*/ 2147483647 h 1302"/>
                <a:gd name="T36" fmla="*/ 2147483647 w 2444"/>
                <a:gd name="T37" fmla="*/ 2147483647 h 1302"/>
                <a:gd name="T38" fmla="*/ 2147483647 w 2444"/>
                <a:gd name="T39" fmla="*/ 2147483647 h 1302"/>
                <a:gd name="T40" fmla="*/ 2147483647 w 2444"/>
                <a:gd name="T41" fmla="*/ 2147483647 h 1302"/>
                <a:gd name="T42" fmla="*/ 2147483647 w 2444"/>
                <a:gd name="T43" fmla="*/ 2147483647 h 1302"/>
                <a:gd name="T44" fmla="*/ 2147483647 w 2444"/>
                <a:gd name="T45" fmla="*/ 2147483647 h 1302"/>
                <a:gd name="T46" fmla="*/ 2147483647 w 2444"/>
                <a:gd name="T47" fmla="*/ 2147483647 h 1302"/>
                <a:gd name="T48" fmla="*/ 2147483647 w 2444"/>
                <a:gd name="T49" fmla="*/ 2147483647 h 1302"/>
                <a:gd name="T50" fmla="*/ 2147483647 w 2444"/>
                <a:gd name="T51" fmla="*/ 2147483647 h 1302"/>
                <a:gd name="T52" fmla="*/ 2147483647 w 2444"/>
                <a:gd name="T53" fmla="*/ 2147483647 h 1302"/>
                <a:gd name="T54" fmla="*/ 2147483647 w 2444"/>
                <a:gd name="T55" fmla="*/ 2147483647 h 1302"/>
                <a:gd name="T56" fmla="*/ 2147483647 w 2444"/>
                <a:gd name="T57" fmla="*/ 2147483647 h 1302"/>
                <a:gd name="T58" fmla="*/ 2147483647 w 2444"/>
                <a:gd name="T59" fmla="*/ 2147483647 h 1302"/>
                <a:gd name="T60" fmla="*/ 2147483647 w 2444"/>
                <a:gd name="T61" fmla="*/ 2147483647 h 1302"/>
                <a:gd name="T62" fmla="*/ 2147483647 w 2444"/>
                <a:gd name="T63" fmla="*/ 2147483647 h 1302"/>
                <a:gd name="T64" fmla="*/ 2147483647 w 2444"/>
                <a:gd name="T65" fmla="*/ 2147483647 h 1302"/>
                <a:gd name="T66" fmla="*/ 2147483647 w 2444"/>
                <a:gd name="T67" fmla="*/ 2147483647 h 1302"/>
                <a:gd name="T68" fmla="*/ 2147483647 w 2444"/>
                <a:gd name="T69" fmla="*/ 2147483647 h 1302"/>
                <a:gd name="T70" fmla="*/ 2147483647 w 2444"/>
                <a:gd name="T71" fmla="*/ 2147483647 h 1302"/>
                <a:gd name="T72" fmla="*/ 2147483647 w 2444"/>
                <a:gd name="T73" fmla="*/ 2147483647 h 1302"/>
                <a:gd name="T74" fmla="*/ 2147483647 w 2444"/>
                <a:gd name="T75" fmla="*/ 2147483647 h 1302"/>
                <a:gd name="T76" fmla="*/ 2147483647 w 2444"/>
                <a:gd name="T77" fmla="*/ 2147483647 h 1302"/>
                <a:gd name="T78" fmla="*/ 2147483647 w 2444"/>
                <a:gd name="T79" fmla="*/ 2147483647 h 1302"/>
                <a:gd name="T80" fmla="*/ 2147483647 w 2444"/>
                <a:gd name="T81" fmla="*/ 2147483647 h 1302"/>
                <a:gd name="T82" fmla="*/ 2147483647 w 2444"/>
                <a:gd name="T83" fmla="*/ 2147483647 h 1302"/>
                <a:gd name="T84" fmla="*/ 2147483647 w 2444"/>
                <a:gd name="T85" fmla="*/ 2147483647 h 1302"/>
                <a:gd name="T86" fmla="*/ 2147483647 w 2444"/>
                <a:gd name="T87" fmla="*/ 2147483647 h 1302"/>
                <a:gd name="T88" fmla="*/ 2147483647 w 2444"/>
                <a:gd name="T89" fmla="*/ 2147483647 h 1302"/>
                <a:gd name="T90" fmla="*/ 2147483647 w 2444"/>
                <a:gd name="T91" fmla="*/ 2147483647 h 1302"/>
                <a:gd name="T92" fmla="*/ 2147483647 w 2444"/>
                <a:gd name="T93" fmla="*/ 2147483647 h 1302"/>
                <a:gd name="T94" fmla="*/ 2147483647 w 2444"/>
                <a:gd name="T95" fmla="*/ 2147483647 h 1302"/>
                <a:gd name="T96" fmla="*/ 2147483647 w 2444"/>
                <a:gd name="T97" fmla="*/ 2147483647 h 1302"/>
                <a:gd name="T98" fmla="*/ 2147483647 w 2444"/>
                <a:gd name="T99" fmla="*/ 2147483647 h 1302"/>
                <a:gd name="T100" fmla="*/ 2147483647 w 2444"/>
                <a:gd name="T101" fmla="*/ 2147483647 h 1302"/>
                <a:gd name="T102" fmla="*/ 2147483647 w 2444"/>
                <a:gd name="T103" fmla="*/ 2147483647 h 1302"/>
                <a:gd name="T104" fmla="*/ 2147483647 w 2444"/>
                <a:gd name="T105" fmla="*/ 2147483647 h 1302"/>
                <a:gd name="T106" fmla="*/ 2147483647 w 2444"/>
                <a:gd name="T107" fmla="*/ 2147483647 h 1302"/>
                <a:gd name="T108" fmla="*/ 2147483647 w 2444"/>
                <a:gd name="T109" fmla="*/ 2147483647 h 1302"/>
                <a:gd name="T110" fmla="*/ 2147483647 w 2444"/>
                <a:gd name="T111" fmla="*/ 2147483647 h 1302"/>
                <a:gd name="T112" fmla="*/ 2147483647 w 2444"/>
                <a:gd name="T113" fmla="*/ 2147483647 h 1302"/>
                <a:gd name="T114" fmla="*/ 2147483647 w 2444"/>
                <a:gd name="T115" fmla="*/ 2147483647 h 1302"/>
                <a:gd name="T116" fmla="*/ 2147483647 w 2444"/>
                <a:gd name="T117" fmla="*/ 2147483647 h 1302"/>
                <a:gd name="T118" fmla="*/ 2147483647 w 2444"/>
                <a:gd name="T119" fmla="*/ 2147483647 h 1302"/>
                <a:gd name="T120" fmla="*/ 2147483647 w 2444"/>
                <a:gd name="T121" fmla="*/ 2147483647 h 1302"/>
                <a:gd name="T122" fmla="*/ 2147483647 w 2444"/>
                <a:gd name="T123" fmla="*/ 2147483647 h 1302"/>
                <a:gd name="T124" fmla="*/ 2147483647 w 244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444"/>
                <a:gd name="T190" fmla="*/ 0 h 1302"/>
                <a:gd name="T191" fmla="*/ 2444 w 244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444" h="1302">
                  <a:moveTo>
                    <a:pt x="50" y="316"/>
                  </a:moveTo>
                  <a:lnTo>
                    <a:pt x="56" y="318"/>
                  </a:lnTo>
                  <a:lnTo>
                    <a:pt x="62" y="318"/>
                  </a:lnTo>
                  <a:lnTo>
                    <a:pt x="68" y="320"/>
                  </a:lnTo>
                  <a:lnTo>
                    <a:pt x="74" y="322"/>
                  </a:lnTo>
                  <a:lnTo>
                    <a:pt x="80" y="322"/>
                  </a:lnTo>
                  <a:lnTo>
                    <a:pt x="86" y="322"/>
                  </a:lnTo>
                  <a:lnTo>
                    <a:pt x="92" y="322"/>
                  </a:lnTo>
                  <a:lnTo>
                    <a:pt x="98" y="322"/>
                  </a:lnTo>
                  <a:lnTo>
                    <a:pt x="106" y="322"/>
                  </a:lnTo>
                  <a:lnTo>
                    <a:pt x="112" y="322"/>
                  </a:lnTo>
                  <a:lnTo>
                    <a:pt x="118" y="320"/>
                  </a:lnTo>
                  <a:lnTo>
                    <a:pt x="122" y="320"/>
                  </a:lnTo>
                  <a:lnTo>
                    <a:pt x="120" y="326"/>
                  </a:lnTo>
                  <a:lnTo>
                    <a:pt x="114" y="326"/>
                  </a:lnTo>
                  <a:lnTo>
                    <a:pt x="108" y="326"/>
                  </a:lnTo>
                  <a:lnTo>
                    <a:pt x="102" y="326"/>
                  </a:lnTo>
                  <a:lnTo>
                    <a:pt x="94" y="326"/>
                  </a:lnTo>
                  <a:lnTo>
                    <a:pt x="88" y="326"/>
                  </a:lnTo>
                  <a:lnTo>
                    <a:pt x="82" y="328"/>
                  </a:lnTo>
                  <a:lnTo>
                    <a:pt x="76" y="330"/>
                  </a:lnTo>
                  <a:lnTo>
                    <a:pt x="70" y="332"/>
                  </a:lnTo>
                  <a:lnTo>
                    <a:pt x="64" y="332"/>
                  </a:lnTo>
                  <a:lnTo>
                    <a:pt x="58" y="334"/>
                  </a:lnTo>
                  <a:lnTo>
                    <a:pt x="52" y="334"/>
                  </a:lnTo>
                  <a:lnTo>
                    <a:pt x="46" y="336"/>
                  </a:lnTo>
                  <a:lnTo>
                    <a:pt x="52" y="340"/>
                  </a:lnTo>
                  <a:lnTo>
                    <a:pt x="58" y="342"/>
                  </a:lnTo>
                  <a:lnTo>
                    <a:pt x="64" y="342"/>
                  </a:lnTo>
                  <a:lnTo>
                    <a:pt x="70" y="346"/>
                  </a:lnTo>
                  <a:lnTo>
                    <a:pt x="76" y="348"/>
                  </a:lnTo>
                  <a:lnTo>
                    <a:pt x="82" y="348"/>
                  </a:lnTo>
                  <a:lnTo>
                    <a:pt x="76" y="350"/>
                  </a:lnTo>
                  <a:lnTo>
                    <a:pt x="80" y="352"/>
                  </a:lnTo>
                  <a:lnTo>
                    <a:pt x="84" y="352"/>
                  </a:lnTo>
                  <a:lnTo>
                    <a:pt x="92" y="354"/>
                  </a:lnTo>
                  <a:lnTo>
                    <a:pt x="98" y="354"/>
                  </a:lnTo>
                  <a:lnTo>
                    <a:pt x="104" y="356"/>
                  </a:lnTo>
                  <a:lnTo>
                    <a:pt x="110" y="356"/>
                  </a:lnTo>
                  <a:lnTo>
                    <a:pt x="118" y="356"/>
                  </a:lnTo>
                  <a:lnTo>
                    <a:pt x="124" y="356"/>
                  </a:lnTo>
                  <a:lnTo>
                    <a:pt x="130" y="358"/>
                  </a:lnTo>
                  <a:lnTo>
                    <a:pt x="136" y="358"/>
                  </a:lnTo>
                  <a:lnTo>
                    <a:pt x="142" y="360"/>
                  </a:lnTo>
                  <a:lnTo>
                    <a:pt x="148" y="358"/>
                  </a:lnTo>
                  <a:lnTo>
                    <a:pt x="142" y="354"/>
                  </a:lnTo>
                  <a:lnTo>
                    <a:pt x="136" y="348"/>
                  </a:lnTo>
                  <a:lnTo>
                    <a:pt x="130" y="348"/>
                  </a:lnTo>
                  <a:lnTo>
                    <a:pt x="136" y="346"/>
                  </a:lnTo>
                  <a:lnTo>
                    <a:pt x="142" y="344"/>
                  </a:lnTo>
                  <a:lnTo>
                    <a:pt x="148" y="344"/>
                  </a:lnTo>
                  <a:lnTo>
                    <a:pt x="154" y="348"/>
                  </a:lnTo>
                  <a:lnTo>
                    <a:pt x="160" y="352"/>
                  </a:lnTo>
                  <a:lnTo>
                    <a:pt x="166" y="348"/>
                  </a:lnTo>
                  <a:lnTo>
                    <a:pt x="172" y="346"/>
                  </a:lnTo>
                  <a:lnTo>
                    <a:pt x="178" y="342"/>
                  </a:lnTo>
                  <a:lnTo>
                    <a:pt x="184" y="344"/>
                  </a:lnTo>
                  <a:lnTo>
                    <a:pt x="190" y="342"/>
                  </a:lnTo>
                  <a:lnTo>
                    <a:pt x="198" y="344"/>
                  </a:lnTo>
                  <a:lnTo>
                    <a:pt x="190" y="348"/>
                  </a:lnTo>
                  <a:lnTo>
                    <a:pt x="186" y="352"/>
                  </a:lnTo>
                  <a:lnTo>
                    <a:pt x="190" y="356"/>
                  </a:lnTo>
                  <a:lnTo>
                    <a:pt x="198" y="356"/>
                  </a:lnTo>
                  <a:lnTo>
                    <a:pt x="204" y="354"/>
                  </a:lnTo>
                  <a:lnTo>
                    <a:pt x="208" y="348"/>
                  </a:lnTo>
                  <a:lnTo>
                    <a:pt x="214" y="350"/>
                  </a:lnTo>
                  <a:lnTo>
                    <a:pt x="220" y="350"/>
                  </a:lnTo>
                  <a:lnTo>
                    <a:pt x="222" y="348"/>
                  </a:lnTo>
                  <a:lnTo>
                    <a:pt x="228" y="348"/>
                  </a:lnTo>
                  <a:lnTo>
                    <a:pt x="234" y="348"/>
                  </a:lnTo>
                  <a:lnTo>
                    <a:pt x="240" y="342"/>
                  </a:lnTo>
                  <a:lnTo>
                    <a:pt x="246" y="344"/>
                  </a:lnTo>
                  <a:lnTo>
                    <a:pt x="252" y="342"/>
                  </a:lnTo>
                  <a:lnTo>
                    <a:pt x="258" y="344"/>
                  </a:lnTo>
                  <a:lnTo>
                    <a:pt x="258" y="348"/>
                  </a:lnTo>
                  <a:lnTo>
                    <a:pt x="262" y="348"/>
                  </a:lnTo>
                  <a:lnTo>
                    <a:pt x="270" y="348"/>
                  </a:lnTo>
                  <a:lnTo>
                    <a:pt x="276" y="346"/>
                  </a:lnTo>
                  <a:lnTo>
                    <a:pt x="282" y="344"/>
                  </a:lnTo>
                  <a:lnTo>
                    <a:pt x="288" y="340"/>
                  </a:lnTo>
                  <a:lnTo>
                    <a:pt x="294" y="336"/>
                  </a:lnTo>
                  <a:lnTo>
                    <a:pt x="300" y="338"/>
                  </a:lnTo>
                  <a:lnTo>
                    <a:pt x="306" y="340"/>
                  </a:lnTo>
                  <a:lnTo>
                    <a:pt x="314" y="340"/>
                  </a:lnTo>
                  <a:lnTo>
                    <a:pt x="314" y="346"/>
                  </a:lnTo>
                  <a:lnTo>
                    <a:pt x="320" y="344"/>
                  </a:lnTo>
                  <a:lnTo>
                    <a:pt x="326" y="344"/>
                  </a:lnTo>
                  <a:lnTo>
                    <a:pt x="332" y="344"/>
                  </a:lnTo>
                  <a:lnTo>
                    <a:pt x="338" y="344"/>
                  </a:lnTo>
                  <a:lnTo>
                    <a:pt x="344" y="344"/>
                  </a:lnTo>
                  <a:lnTo>
                    <a:pt x="350" y="346"/>
                  </a:lnTo>
                  <a:lnTo>
                    <a:pt x="356" y="348"/>
                  </a:lnTo>
                  <a:lnTo>
                    <a:pt x="364" y="348"/>
                  </a:lnTo>
                  <a:lnTo>
                    <a:pt x="370" y="348"/>
                  </a:lnTo>
                  <a:lnTo>
                    <a:pt x="376" y="348"/>
                  </a:lnTo>
                  <a:lnTo>
                    <a:pt x="382" y="348"/>
                  </a:lnTo>
                  <a:lnTo>
                    <a:pt x="388" y="350"/>
                  </a:lnTo>
                  <a:lnTo>
                    <a:pt x="386" y="356"/>
                  </a:lnTo>
                  <a:lnTo>
                    <a:pt x="390" y="356"/>
                  </a:lnTo>
                  <a:lnTo>
                    <a:pt x="398" y="354"/>
                  </a:lnTo>
                  <a:lnTo>
                    <a:pt x="402" y="354"/>
                  </a:lnTo>
                  <a:lnTo>
                    <a:pt x="408" y="354"/>
                  </a:lnTo>
                  <a:lnTo>
                    <a:pt x="416" y="358"/>
                  </a:lnTo>
                  <a:lnTo>
                    <a:pt x="416" y="360"/>
                  </a:lnTo>
                  <a:lnTo>
                    <a:pt x="414" y="360"/>
                  </a:lnTo>
                  <a:lnTo>
                    <a:pt x="420" y="360"/>
                  </a:lnTo>
                  <a:lnTo>
                    <a:pt x="426" y="358"/>
                  </a:lnTo>
                  <a:lnTo>
                    <a:pt x="420" y="364"/>
                  </a:lnTo>
                  <a:lnTo>
                    <a:pt x="426" y="364"/>
                  </a:lnTo>
                  <a:lnTo>
                    <a:pt x="432" y="364"/>
                  </a:lnTo>
                  <a:lnTo>
                    <a:pt x="440" y="364"/>
                  </a:lnTo>
                  <a:lnTo>
                    <a:pt x="446" y="364"/>
                  </a:lnTo>
                  <a:lnTo>
                    <a:pt x="440" y="366"/>
                  </a:lnTo>
                  <a:lnTo>
                    <a:pt x="442" y="372"/>
                  </a:lnTo>
                  <a:lnTo>
                    <a:pt x="448" y="372"/>
                  </a:lnTo>
                  <a:lnTo>
                    <a:pt x="454" y="372"/>
                  </a:lnTo>
                  <a:lnTo>
                    <a:pt x="460" y="370"/>
                  </a:lnTo>
                  <a:lnTo>
                    <a:pt x="466" y="370"/>
                  </a:lnTo>
                  <a:lnTo>
                    <a:pt x="460" y="374"/>
                  </a:lnTo>
                  <a:lnTo>
                    <a:pt x="466" y="376"/>
                  </a:lnTo>
                  <a:lnTo>
                    <a:pt x="468" y="382"/>
                  </a:lnTo>
                  <a:lnTo>
                    <a:pt x="462" y="386"/>
                  </a:lnTo>
                  <a:lnTo>
                    <a:pt x="456" y="388"/>
                  </a:lnTo>
                  <a:lnTo>
                    <a:pt x="450" y="388"/>
                  </a:lnTo>
                  <a:lnTo>
                    <a:pt x="444" y="390"/>
                  </a:lnTo>
                  <a:lnTo>
                    <a:pt x="450" y="392"/>
                  </a:lnTo>
                  <a:lnTo>
                    <a:pt x="456" y="388"/>
                  </a:lnTo>
                  <a:lnTo>
                    <a:pt x="462" y="388"/>
                  </a:lnTo>
                  <a:lnTo>
                    <a:pt x="456" y="392"/>
                  </a:lnTo>
                  <a:lnTo>
                    <a:pt x="456" y="398"/>
                  </a:lnTo>
                  <a:lnTo>
                    <a:pt x="462" y="400"/>
                  </a:lnTo>
                  <a:lnTo>
                    <a:pt x="456" y="404"/>
                  </a:lnTo>
                  <a:lnTo>
                    <a:pt x="462" y="408"/>
                  </a:lnTo>
                  <a:lnTo>
                    <a:pt x="468" y="408"/>
                  </a:lnTo>
                  <a:lnTo>
                    <a:pt x="474" y="410"/>
                  </a:lnTo>
                  <a:lnTo>
                    <a:pt x="474" y="412"/>
                  </a:lnTo>
                  <a:lnTo>
                    <a:pt x="480" y="414"/>
                  </a:lnTo>
                  <a:lnTo>
                    <a:pt x="488" y="414"/>
                  </a:lnTo>
                  <a:lnTo>
                    <a:pt x="492" y="414"/>
                  </a:lnTo>
                  <a:lnTo>
                    <a:pt x="498" y="418"/>
                  </a:lnTo>
                  <a:lnTo>
                    <a:pt x="492" y="422"/>
                  </a:lnTo>
                  <a:lnTo>
                    <a:pt x="486" y="422"/>
                  </a:lnTo>
                  <a:lnTo>
                    <a:pt x="486" y="428"/>
                  </a:lnTo>
                  <a:lnTo>
                    <a:pt x="492" y="426"/>
                  </a:lnTo>
                  <a:lnTo>
                    <a:pt x="498" y="428"/>
                  </a:lnTo>
                  <a:lnTo>
                    <a:pt x="504" y="428"/>
                  </a:lnTo>
                  <a:lnTo>
                    <a:pt x="506" y="434"/>
                  </a:lnTo>
                  <a:lnTo>
                    <a:pt x="512" y="434"/>
                  </a:lnTo>
                  <a:lnTo>
                    <a:pt x="506" y="438"/>
                  </a:lnTo>
                  <a:lnTo>
                    <a:pt x="500" y="438"/>
                  </a:lnTo>
                  <a:lnTo>
                    <a:pt x="494" y="440"/>
                  </a:lnTo>
                  <a:lnTo>
                    <a:pt x="488" y="440"/>
                  </a:lnTo>
                  <a:lnTo>
                    <a:pt x="494" y="442"/>
                  </a:lnTo>
                  <a:lnTo>
                    <a:pt x="500" y="442"/>
                  </a:lnTo>
                  <a:lnTo>
                    <a:pt x="506" y="442"/>
                  </a:lnTo>
                  <a:lnTo>
                    <a:pt x="500" y="444"/>
                  </a:lnTo>
                  <a:lnTo>
                    <a:pt x="494" y="444"/>
                  </a:lnTo>
                  <a:lnTo>
                    <a:pt x="488" y="446"/>
                  </a:lnTo>
                  <a:lnTo>
                    <a:pt x="494" y="448"/>
                  </a:lnTo>
                  <a:lnTo>
                    <a:pt x="500" y="448"/>
                  </a:lnTo>
                  <a:lnTo>
                    <a:pt x="494" y="450"/>
                  </a:lnTo>
                  <a:lnTo>
                    <a:pt x="488" y="450"/>
                  </a:lnTo>
                  <a:lnTo>
                    <a:pt x="482" y="452"/>
                  </a:lnTo>
                  <a:lnTo>
                    <a:pt x="476" y="454"/>
                  </a:lnTo>
                  <a:lnTo>
                    <a:pt x="470" y="454"/>
                  </a:lnTo>
                  <a:lnTo>
                    <a:pt x="464" y="456"/>
                  </a:lnTo>
                  <a:lnTo>
                    <a:pt x="458" y="456"/>
                  </a:lnTo>
                  <a:lnTo>
                    <a:pt x="452" y="458"/>
                  </a:lnTo>
                  <a:lnTo>
                    <a:pt x="458" y="458"/>
                  </a:lnTo>
                  <a:lnTo>
                    <a:pt x="464" y="458"/>
                  </a:lnTo>
                  <a:lnTo>
                    <a:pt x="470" y="456"/>
                  </a:lnTo>
                  <a:lnTo>
                    <a:pt x="476" y="456"/>
                  </a:lnTo>
                  <a:lnTo>
                    <a:pt x="482" y="456"/>
                  </a:lnTo>
                  <a:lnTo>
                    <a:pt x="488" y="454"/>
                  </a:lnTo>
                  <a:lnTo>
                    <a:pt x="496" y="452"/>
                  </a:lnTo>
                  <a:lnTo>
                    <a:pt x="502" y="450"/>
                  </a:lnTo>
                  <a:lnTo>
                    <a:pt x="496" y="456"/>
                  </a:lnTo>
                  <a:lnTo>
                    <a:pt x="490" y="460"/>
                  </a:lnTo>
                  <a:lnTo>
                    <a:pt x="496" y="462"/>
                  </a:lnTo>
                  <a:lnTo>
                    <a:pt x="502" y="462"/>
                  </a:lnTo>
                  <a:lnTo>
                    <a:pt x="496" y="464"/>
                  </a:lnTo>
                  <a:lnTo>
                    <a:pt x="502" y="468"/>
                  </a:lnTo>
                  <a:lnTo>
                    <a:pt x="508" y="470"/>
                  </a:lnTo>
                  <a:lnTo>
                    <a:pt x="502" y="472"/>
                  </a:lnTo>
                  <a:lnTo>
                    <a:pt x="502" y="478"/>
                  </a:lnTo>
                  <a:lnTo>
                    <a:pt x="508" y="480"/>
                  </a:lnTo>
                  <a:lnTo>
                    <a:pt x="500" y="480"/>
                  </a:lnTo>
                  <a:lnTo>
                    <a:pt x="494" y="478"/>
                  </a:lnTo>
                  <a:lnTo>
                    <a:pt x="488" y="480"/>
                  </a:lnTo>
                  <a:lnTo>
                    <a:pt x="494" y="482"/>
                  </a:lnTo>
                  <a:lnTo>
                    <a:pt x="488" y="484"/>
                  </a:lnTo>
                  <a:lnTo>
                    <a:pt x="494" y="486"/>
                  </a:lnTo>
                  <a:lnTo>
                    <a:pt x="500" y="488"/>
                  </a:lnTo>
                  <a:lnTo>
                    <a:pt x="502" y="494"/>
                  </a:lnTo>
                  <a:lnTo>
                    <a:pt x="508" y="496"/>
                  </a:lnTo>
                  <a:lnTo>
                    <a:pt x="514" y="496"/>
                  </a:lnTo>
                  <a:lnTo>
                    <a:pt x="516" y="500"/>
                  </a:lnTo>
                  <a:lnTo>
                    <a:pt x="510" y="498"/>
                  </a:lnTo>
                  <a:lnTo>
                    <a:pt x="504" y="500"/>
                  </a:lnTo>
                  <a:lnTo>
                    <a:pt x="496" y="504"/>
                  </a:lnTo>
                  <a:lnTo>
                    <a:pt x="502" y="506"/>
                  </a:lnTo>
                  <a:lnTo>
                    <a:pt x="496" y="508"/>
                  </a:lnTo>
                  <a:lnTo>
                    <a:pt x="490" y="514"/>
                  </a:lnTo>
                  <a:lnTo>
                    <a:pt x="482" y="512"/>
                  </a:lnTo>
                  <a:lnTo>
                    <a:pt x="490" y="516"/>
                  </a:lnTo>
                  <a:lnTo>
                    <a:pt x="496" y="518"/>
                  </a:lnTo>
                  <a:lnTo>
                    <a:pt x="500" y="518"/>
                  </a:lnTo>
                  <a:lnTo>
                    <a:pt x="508" y="516"/>
                  </a:lnTo>
                  <a:lnTo>
                    <a:pt x="514" y="518"/>
                  </a:lnTo>
                  <a:lnTo>
                    <a:pt x="516" y="524"/>
                  </a:lnTo>
                  <a:lnTo>
                    <a:pt x="508" y="530"/>
                  </a:lnTo>
                  <a:lnTo>
                    <a:pt x="504" y="532"/>
                  </a:lnTo>
                  <a:lnTo>
                    <a:pt x="508" y="534"/>
                  </a:lnTo>
                  <a:lnTo>
                    <a:pt x="516" y="530"/>
                  </a:lnTo>
                  <a:lnTo>
                    <a:pt x="508" y="534"/>
                  </a:lnTo>
                  <a:lnTo>
                    <a:pt x="504" y="538"/>
                  </a:lnTo>
                  <a:lnTo>
                    <a:pt x="498" y="542"/>
                  </a:lnTo>
                  <a:lnTo>
                    <a:pt x="492" y="544"/>
                  </a:lnTo>
                  <a:lnTo>
                    <a:pt x="496" y="546"/>
                  </a:lnTo>
                  <a:lnTo>
                    <a:pt x="504" y="548"/>
                  </a:lnTo>
                  <a:lnTo>
                    <a:pt x="510" y="548"/>
                  </a:lnTo>
                  <a:lnTo>
                    <a:pt x="516" y="548"/>
                  </a:lnTo>
                  <a:lnTo>
                    <a:pt x="508" y="548"/>
                  </a:lnTo>
                  <a:lnTo>
                    <a:pt x="502" y="548"/>
                  </a:lnTo>
                  <a:lnTo>
                    <a:pt x="496" y="548"/>
                  </a:lnTo>
                  <a:lnTo>
                    <a:pt x="490" y="548"/>
                  </a:lnTo>
                  <a:lnTo>
                    <a:pt x="484" y="548"/>
                  </a:lnTo>
                  <a:lnTo>
                    <a:pt x="478" y="548"/>
                  </a:lnTo>
                  <a:lnTo>
                    <a:pt x="472" y="548"/>
                  </a:lnTo>
                  <a:lnTo>
                    <a:pt x="466" y="548"/>
                  </a:lnTo>
                  <a:lnTo>
                    <a:pt x="460" y="550"/>
                  </a:lnTo>
                  <a:lnTo>
                    <a:pt x="466" y="554"/>
                  </a:lnTo>
                  <a:lnTo>
                    <a:pt x="472" y="550"/>
                  </a:lnTo>
                  <a:lnTo>
                    <a:pt x="478" y="554"/>
                  </a:lnTo>
                  <a:lnTo>
                    <a:pt x="484" y="552"/>
                  </a:lnTo>
                  <a:lnTo>
                    <a:pt x="490" y="552"/>
                  </a:lnTo>
                  <a:lnTo>
                    <a:pt x="496" y="554"/>
                  </a:lnTo>
                  <a:lnTo>
                    <a:pt x="490" y="556"/>
                  </a:lnTo>
                  <a:lnTo>
                    <a:pt x="484" y="558"/>
                  </a:lnTo>
                  <a:lnTo>
                    <a:pt x="478" y="562"/>
                  </a:lnTo>
                  <a:lnTo>
                    <a:pt x="474" y="564"/>
                  </a:lnTo>
                  <a:lnTo>
                    <a:pt x="472" y="566"/>
                  </a:lnTo>
                  <a:lnTo>
                    <a:pt x="466" y="568"/>
                  </a:lnTo>
                  <a:lnTo>
                    <a:pt x="460" y="572"/>
                  </a:lnTo>
                  <a:lnTo>
                    <a:pt x="454" y="572"/>
                  </a:lnTo>
                  <a:lnTo>
                    <a:pt x="448" y="576"/>
                  </a:lnTo>
                  <a:lnTo>
                    <a:pt x="454" y="578"/>
                  </a:lnTo>
                  <a:lnTo>
                    <a:pt x="458" y="580"/>
                  </a:lnTo>
                  <a:lnTo>
                    <a:pt x="466" y="580"/>
                  </a:lnTo>
                  <a:lnTo>
                    <a:pt x="472" y="580"/>
                  </a:lnTo>
                  <a:lnTo>
                    <a:pt x="478" y="578"/>
                  </a:lnTo>
                  <a:lnTo>
                    <a:pt x="482" y="574"/>
                  </a:lnTo>
                  <a:lnTo>
                    <a:pt x="490" y="570"/>
                  </a:lnTo>
                  <a:lnTo>
                    <a:pt x="496" y="566"/>
                  </a:lnTo>
                  <a:lnTo>
                    <a:pt x="502" y="564"/>
                  </a:lnTo>
                  <a:lnTo>
                    <a:pt x="496" y="568"/>
                  </a:lnTo>
                  <a:lnTo>
                    <a:pt x="490" y="574"/>
                  </a:lnTo>
                  <a:lnTo>
                    <a:pt x="482" y="576"/>
                  </a:lnTo>
                  <a:lnTo>
                    <a:pt x="478" y="578"/>
                  </a:lnTo>
                  <a:lnTo>
                    <a:pt x="472" y="580"/>
                  </a:lnTo>
                  <a:lnTo>
                    <a:pt x="464" y="582"/>
                  </a:lnTo>
                  <a:lnTo>
                    <a:pt x="458" y="582"/>
                  </a:lnTo>
                  <a:lnTo>
                    <a:pt x="452" y="582"/>
                  </a:lnTo>
                  <a:lnTo>
                    <a:pt x="446" y="586"/>
                  </a:lnTo>
                  <a:lnTo>
                    <a:pt x="440" y="588"/>
                  </a:lnTo>
                  <a:lnTo>
                    <a:pt x="434" y="590"/>
                  </a:lnTo>
                  <a:lnTo>
                    <a:pt x="428" y="590"/>
                  </a:lnTo>
                  <a:lnTo>
                    <a:pt x="422" y="594"/>
                  </a:lnTo>
                  <a:lnTo>
                    <a:pt x="428" y="596"/>
                  </a:lnTo>
                  <a:lnTo>
                    <a:pt x="428" y="602"/>
                  </a:lnTo>
                  <a:lnTo>
                    <a:pt x="432" y="608"/>
                  </a:lnTo>
                  <a:lnTo>
                    <a:pt x="438" y="610"/>
                  </a:lnTo>
                  <a:lnTo>
                    <a:pt x="444" y="610"/>
                  </a:lnTo>
                  <a:lnTo>
                    <a:pt x="440" y="604"/>
                  </a:lnTo>
                  <a:lnTo>
                    <a:pt x="446" y="608"/>
                  </a:lnTo>
                  <a:lnTo>
                    <a:pt x="452" y="610"/>
                  </a:lnTo>
                  <a:lnTo>
                    <a:pt x="458" y="612"/>
                  </a:lnTo>
                  <a:lnTo>
                    <a:pt x="466" y="612"/>
                  </a:lnTo>
                  <a:lnTo>
                    <a:pt x="470" y="612"/>
                  </a:lnTo>
                  <a:lnTo>
                    <a:pt x="478" y="610"/>
                  </a:lnTo>
                  <a:lnTo>
                    <a:pt x="484" y="610"/>
                  </a:lnTo>
                  <a:lnTo>
                    <a:pt x="490" y="608"/>
                  </a:lnTo>
                  <a:lnTo>
                    <a:pt x="496" y="606"/>
                  </a:lnTo>
                  <a:lnTo>
                    <a:pt x="502" y="602"/>
                  </a:lnTo>
                  <a:lnTo>
                    <a:pt x="498" y="598"/>
                  </a:lnTo>
                  <a:lnTo>
                    <a:pt x="500" y="592"/>
                  </a:lnTo>
                  <a:lnTo>
                    <a:pt x="506" y="596"/>
                  </a:lnTo>
                  <a:lnTo>
                    <a:pt x="512" y="596"/>
                  </a:lnTo>
                  <a:lnTo>
                    <a:pt x="508" y="590"/>
                  </a:lnTo>
                  <a:lnTo>
                    <a:pt x="516" y="590"/>
                  </a:lnTo>
                  <a:lnTo>
                    <a:pt x="522" y="590"/>
                  </a:lnTo>
                  <a:lnTo>
                    <a:pt x="528" y="588"/>
                  </a:lnTo>
                  <a:lnTo>
                    <a:pt x="534" y="584"/>
                  </a:lnTo>
                  <a:lnTo>
                    <a:pt x="534" y="578"/>
                  </a:lnTo>
                  <a:lnTo>
                    <a:pt x="532" y="572"/>
                  </a:lnTo>
                  <a:lnTo>
                    <a:pt x="526" y="568"/>
                  </a:lnTo>
                  <a:lnTo>
                    <a:pt x="528" y="562"/>
                  </a:lnTo>
                  <a:lnTo>
                    <a:pt x="530" y="556"/>
                  </a:lnTo>
                  <a:lnTo>
                    <a:pt x="538" y="556"/>
                  </a:lnTo>
                  <a:lnTo>
                    <a:pt x="544" y="556"/>
                  </a:lnTo>
                  <a:lnTo>
                    <a:pt x="538" y="556"/>
                  </a:lnTo>
                  <a:lnTo>
                    <a:pt x="530" y="558"/>
                  </a:lnTo>
                  <a:lnTo>
                    <a:pt x="530" y="564"/>
                  </a:lnTo>
                  <a:lnTo>
                    <a:pt x="534" y="570"/>
                  </a:lnTo>
                  <a:lnTo>
                    <a:pt x="538" y="576"/>
                  </a:lnTo>
                  <a:lnTo>
                    <a:pt x="536" y="582"/>
                  </a:lnTo>
                  <a:lnTo>
                    <a:pt x="534" y="588"/>
                  </a:lnTo>
                  <a:lnTo>
                    <a:pt x="542" y="586"/>
                  </a:lnTo>
                  <a:lnTo>
                    <a:pt x="548" y="586"/>
                  </a:lnTo>
                  <a:lnTo>
                    <a:pt x="554" y="580"/>
                  </a:lnTo>
                  <a:lnTo>
                    <a:pt x="560" y="578"/>
                  </a:lnTo>
                  <a:lnTo>
                    <a:pt x="566" y="576"/>
                  </a:lnTo>
                  <a:lnTo>
                    <a:pt x="560" y="580"/>
                  </a:lnTo>
                  <a:lnTo>
                    <a:pt x="554" y="586"/>
                  </a:lnTo>
                  <a:lnTo>
                    <a:pt x="548" y="586"/>
                  </a:lnTo>
                  <a:lnTo>
                    <a:pt x="542" y="588"/>
                  </a:lnTo>
                  <a:lnTo>
                    <a:pt x="536" y="592"/>
                  </a:lnTo>
                  <a:lnTo>
                    <a:pt x="542" y="594"/>
                  </a:lnTo>
                  <a:lnTo>
                    <a:pt x="548" y="594"/>
                  </a:lnTo>
                  <a:lnTo>
                    <a:pt x="554" y="594"/>
                  </a:lnTo>
                  <a:lnTo>
                    <a:pt x="560" y="594"/>
                  </a:lnTo>
                  <a:lnTo>
                    <a:pt x="568" y="596"/>
                  </a:lnTo>
                  <a:lnTo>
                    <a:pt x="574" y="598"/>
                  </a:lnTo>
                  <a:lnTo>
                    <a:pt x="580" y="598"/>
                  </a:lnTo>
                  <a:lnTo>
                    <a:pt x="586" y="596"/>
                  </a:lnTo>
                  <a:lnTo>
                    <a:pt x="592" y="594"/>
                  </a:lnTo>
                  <a:lnTo>
                    <a:pt x="598" y="592"/>
                  </a:lnTo>
                  <a:lnTo>
                    <a:pt x="604" y="592"/>
                  </a:lnTo>
                  <a:lnTo>
                    <a:pt x="598" y="596"/>
                  </a:lnTo>
                  <a:lnTo>
                    <a:pt x="592" y="598"/>
                  </a:lnTo>
                  <a:lnTo>
                    <a:pt x="586" y="598"/>
                  </a:lnTo>
                  <a:lnTo>
                    <a:pt x="580" y="600"/>
                  </a:lnTo>
                  <a:lnTo>
                    <a:pt x="574" y="600"/>
                  </a:lnTo>
                  <a:lnTo>
                    <a:pt x="568" y="600"/>
                  </a:lnTo>
                  <a:lnTo>
                    <a:pt x="562" y="600"/>
                  </a:lnTo>
                  <a:lnTo>
                    <a:pt x="554" y="602"/>
                  </a:lnTo>
                  <a:lnTo>
                    <a:pt x="550" y="604"/>
                  </a:lnTo>
                  <a:lnTo>
                    <a:pt x="542" y="606"/>
                  </a:lnTo>
                  <a:lnTo>
                    <a:pt x="538" y="608"/>
                  </a:lnTo>
                  <a:lnTo>
                    <a:pt x="542" y="610"/>
                  </a:lnTo>
                  <a:lnTo>
                    <a:pt x="548" y="610"/>
                  </a:lnTo>
                  <a:lnTo>
                    <a:pt x="554" y="610"/>
                  </a:lnTo>
                  <a:lnTo>
                    <a:pt x="562" y="610"/>
                  </a:lnTo>
                  <a:lnTo>
                    <a:pt x="568" y="610"/>
                  </a:lnTo>
                  <a:lnTo>
                    <a:pt x="572" y="608"/>
                  </a:lnTo>
                  <a:lnTo>
                    <a:pt x="580" y="606"/>
                  </a:lnTo>
                  <a:lnTo>
                    <a:pt x="586" y="606"/>
                  </a:lnTo>
                  <a:lnTo>
                    <a:pt x="592" y="604"/>
                  </a:lnTo>
                  <a:lnTo>
                    <a:pt x="598" y="604"/>
                  </a:lnTo>
                  <a:lnTo>
                    <a:pt x="604" y="604"/>
                  </a:lnTo>
                  <a:lnTo>
                    <a:pt x="610" y="604"/>
                  </a:lnTo>
                  <a:lnTo>
                    <a:pt x="604" y="606"/>
                  </a:lnTo>
                  <a:lnTo>
                    <a:pt x="598" y="606"/>
                  </a:lnTo>
                  <a:lnTo>
                    <a:pt x="592" y="606"/>
                  </a:lnTo>
                  <a:lnTo>
                    <a:pt x="586" y="608"/>
                  </a:lnTo>
                  <a:lnTo>
                    <a:pt x="580" y="608"/>
                  </a:lnTo>
                  <a:lnTo>
                    <a:pt x="572" y="610"/>
                  </a:lnTo>
                  <a:lnTo>
                    <a:pt x="568" y="612"/>
                  </a:lnTo>
                  <a:lnTo>
                    <a:pt x="562" y="618"/>
                  </a:lnTo>
                  <a:lnTo>
                    <a:pt x="556" y="620"/>
                  </a:lnTo>
                  <a:lnTo>
                    <a:pt x="550" y="620"/>
                  </a:lnTo>
                  <a:lnTo>
                    <a:pt x="556" y="622"/>
                  </a:lnTo>
                  <a:lnTo>
                    <a:pt x="562" y="622"/>
                  </a:lnTo>
                  <a:lnTo>
                    <a:pt x="568" y="620"/>
                  </a:lnTo>
                  <a:lnTo>
                    <a:pt x="574" y="618"/>
                  </a:lnTo>
                  <a:lnTo>
                    <a:pt x="580" y="614"/>
                  </a:lnTo>
                  <a:lnTo>
                    <a:pt x="586" y="612"/>
                  </a:lnTo>
                  <a:lnTo>
                    <a:pt x="592" y="612"/>
                  </a:lnTo>
                  <a:lnTo>
                    <a:pt x="592" y="618"/>
                  </a:lnTo>
                  <a:lnTo>
                    <a:pt x="586" y="618"/>
                  </a:lnTo>
                  <a:lnTo>
                    <a:pt x="580" y="618"/>
                  </a:lnTo>
                  <a:lnTo>
                    <a:pt x="574" y="620"/>
                  </a:lnTo>
                  <a:lnTo>
                    <a:pt x="568" y="622"/>
                  </a:lnTo>
                  <a:lnTo>
                    <a:pt x="562" y="624"/>
                  </a:lnTo>
                  <a:lnTo>
                    <a:pt x="568" y="626"/>
                  </a:lnTo>
                  <a:lnTo>
                    <a:pt x="574" y="624"/>
                  </a:lnTo>
                  <a:lnTo>
                    <a:pt x="580" y="624"/>
                  </a:lnTo>
                  <a:lnTo>
                    <a:pt x="588" y="626"/>
                  </a:lnTo>
                  <a:lnTo>
                    <a:pt x="594" y="624"/>
                  </a:lnTo>
                  <a:lnTo>
                    <a:pt x="600" y="624"/>
                  </a:lnTo>
                  <a:lnTo>
                    <a:pt x="594" y="628"/>
                  </a:lnTo>
                  <a:lnTo>
                    <a:pt x="600" y="632"/>
                  </a:lnTo>
                  <a:lnTo>
                    <a:pt x="606" y="632"/>
                  </a:lnTo>
                  <a:lnTo>
                    <a:pt x="612" y="630"/>
                  </a:lnTo>
                  <a:lnTo>
                    <a:pt x="606" y="634"/>
                  </a:lnTo>
                  <a:lnTo>
                    <a:pt x="600" y="634"/>
                  </a:lnTo>
                  <a:lnTo>
                    <a:pt x="594" y="632"/>
                  </a:lnTo>
                  <a:lnTo>
                    <a:pt x="586" y="632"/>
                  </a:lnTo>
                  <a:lnTo>
                    <a:pt x="580" y="630"/>
                  </a:lnTo>
                  <a:lnTo>
                    <a:pt x="576" y="628"/>
                  </a:lnTo>
                  <a:lnTo>
                    <a:pt x="568" y="630"/>
                  </a:lnTo>
                  <a:lnTo>
                    <a:pt x="574" y="632"/>
                  </a:lnTo>
                  <a:lnTo>
                    <a:pt x="580" y="636"/>
                  </a:lnTo>
                  <a:lnTo>
                    <a:pt x="588" y="638"/>
                  </a:lnTo>
                  <a:lnTo>
                    <a:pt x="592" y="638"/>
                  </a:lnTo>
                  <a:lnTo>
                    <a:pt x="598" y="640"/>
                  </a:lnTo>
                  <a:lnTo>
                    <a:pt x="606" y="640"/>
                  </a:lnTo>
                  <a:lnTo>
                    <a:pt x="610" y="640"/>
                  </a:lnTo>
                  <a:lnTo>
                    <a:pt x="612" y="644"/>
                  </a:lnTo>
                  <a:lnTo>
                    <a:pt x="606" y="648"/>
                  </a:lnTo>
                  <a:lnTo>
                    <a:pt x="600" y="644"/>
                  </a:lnTo>
                  <a:lnTo>
                    <a:pt x="594" y="644"/>
                  </a:lnTo>
                  <a:lnTo>
                    <a:pt x="588" y="646"/>
                  </a:lnTo>
                  <a:lnTo>
                    <a:pt x="582" y="646"/>
                  </a:lnTo>
                  <a:lnTo>
                    <a:pt x="588" y="650"/>
                  </a:lnTo>
                  <a:lnTo>
                    <a:pt x="594" y="648"/>
                  </a:lnTo>
                  <a:lnTo>
                    <a:pt x="600" y="650"/>
                  </a:lnTo>
                  <a:lnTo>
                    <a:pt x="606" y="650"/>
                  </a:lnTo>
                  <a:lnTo>
                    <a:pt x="612" y="652"/>
                  </a:lnTo>
                  <a:lnTo>
                    <a:pt x="606" y="652"/>
                  </a:lnTo>
                  <a:lnTo>
                    <a:pt x="600" y="652"/>
                  </a:lnTo>
                  <a:lnTo>
                    <a:pt x="606" y="658"/>
                  </a:lnTo>
                  <a:lnTo>
                    <a:pt x="598" y="656"/>
                  </a:lnTo>
                  <a:lnTo>
                    <a:pt x="592" y="658"/>
                  </a:lnTo>
                  <a:lnTo>
                    <a:pt x="588" y="656"/>
                  </a:lnTo>
                  <a:lnTo>
                    <a:pt x="582" y="656"/>
                  </a:lnTo>
                  <a:lnTo>
                    <a:pt x="588" y="660"/>
                  </a:lnTo>
                  <a:lnTo>
                    <a:pt x="594" y="662"/>
                  </a:lnTo>
                  <a:lnTo>
                    <a:pt x="588" y="662"/>
                  </a:lnTo>
                  <a:lnTo>
                    <a:pt x="594" y="666"/>
                  </a:lnTo>
                  <a:lnTo>
                    <a:pt x="600" y="666"/>
                  </a:lnTo>
                  <a:lnTo>
                    <a:pt x="606" y="662"/>
                  </a:lnTo>
                  <a:lnTo>
                    <a:pt x="612" y="658"/>
                  </a:lnTo>
                  <a:lnTo>
                    <a:pt x="606" y="664"/>
                  </a:lnTo>
                  <a:lnTo>
                    <a:pt x="604" y="670"/>
                  </a:lnTo>
                  <a:lnTo>
                    <a:pt x="598" y="670"/>
                  </a:lnTo>
                  <a:lnTo>
                    <a:pt x="592" y="670"/>
                  </a:lnTo>
                  <a:lnTo>
                    <a:pt x="588" y="668"/>
                  </a:lnTo>
                  <a:lnTo>
                    <a:pt x="580" y="666"/>
                  </a:lnTo>
                  <a:lnTo>
                    <a:pt x="576" y="666"/>
                  </a:lnTo>
                  <a:lnTo>
                    <a:pt x="568" y="666"/>
                  </a:lnTo>
                  <a:lnTo>
                    <a:pt x="564" y="662"/>
                  </a:lnTo>
                  <a:lnTo>
                    <a:pt x="556" y="662"/>
                  </a:lnTo>
                  <a:lnTo>
                    <a:pt x="550" y="658"/>
                  </a:lnTo>
                  <a:lnTo>
                    <a:pt x="544" y="654"/>
                  </a:lnTo>
                  <a:lnTo>
                    <a:pt x="538" y="652"/>
                  </a:lnTo>
                  <a:lnTo>
                    <a:pt x="534" y="648"/>
                  </a:lnTo>
                  <a:lnTo>
                    <a:pt x="526" y="646"/>
                  </a:lnTo>
                  <a:lnTo>
                    <a:pt x="520" y="646"/>
                  </a:lnTo>
                  <a:lnTo>
                    <a:pt x="514" y="646"/>
                  </a:lnTo>
                  <a:lnTo>
                    <a:pt x="508" y="644"/>
                  </a:lnTo>
                  <a:lnTo>
                    <a:pt x="502" y="646"/>
                  </a:lnTo>
                  <a:lnTo>
                    <a:pt x="496" y="646"/>
                  </a:lnTo>
                  <a:lnTo>
                    <a:pt x="490" y="646"/>
                  </a:lnTo>
                  <a:lnTo>
                    <a:pt x="482" y="644"/>
                  </a:lnTo>
                  <a:lnTo>
                    <a:pt x="478" y="644"/>
                  </a:lnTo>
                  <a:lnTo>
                    <a:pt x="472" y="642"/>
                  </a:lnTo>
                  <a:lnTo>
                    <a:pt x="466" y="642"/>
                  </a:lnTo>
                  <a:lnTo>
                    <a:pt x="460" y="644"/>
                  </a:lnTo>
                  <a:lnTo>
                    <a:pt x="454" y="646"/>
                  </a:lnTo>
                  <a:lnTo>
                    <a:pt x="446" y="648"/>
                  </a:lnTo>
                  <a:lnTo>
                    <a:pt x="440" y="650"/>
                  </a:lnTo>
                  <a:lnTo>
                    <a:pt x="446" y="656"/>
                  </a:lnTo>
                  <a:lnTo>
                    <a:pt x="452" y="662"/>
                  </a:lnTo>
                  <a:lnTo>
                    <a:pt x="458" y="666"/>
                  </a:lnTo>
                  <a:lnTo>
                    <a:pt x="464" y="668"/>
                  </a:lnTo>
                  <a:lnTo>
                    <a:pt x="470" y="668"/>
                  </a:lnTo>
                  <a:lnTo>
                    <a:pt x="476" y="668"/>
                  </a:lnTo>
                  <a:lnTo>
                    <a:pt x="482" y="670"/>
                  </a:lnTo>
                  <a:lnTo>
                    <a:pt x="490" y="670"/>
                  </a:lnTo>
                  <a:lnTo>
                    <a:pt x="496" y="672"/>
                  </a:lnTo>
                  <a:lnTo>
                    <a:pt x="502" y="674"/>
                  </a:lnTo>
                  <a:lnTo>
                    <a:pt x="508" y="676"/>
                  </a:lnTo>
                  <a:lnTo>
                    <a:pt x="514" y="680"/>
                  </a:lnTo>
                  <a:lnTo>
                    <a:pt x="520" y="686"/>
                  </a:lnTo>
                  <a:lnTo>
                    <a:pt x="526" y="688"/>
                  </a:lnTo>
                  <a:lnTo>
                    <a:pt x="532" y="686"/>
                  </a:lnTo>
                  <a:lnTo>
                    <a:pt x="538" y="688"/>
                  </a:lnTo>
                  <a:lnTo>
                    <a:pt x="544" y="688"/>
                  </a:lnTo>
                  <a:lnTo>
                    <a:pt x="550" y="688"/>
                  </a:lnTo>
                  <a:lnTo>
                    <a:pt x="552" y="690"/>
                  </a:lnTo>
                  <a:lnTo>
                    <a:pt x="554" y="692"/>
                  </a:lnTo>
                  <a:lnTo>
                    <a:pt x="560" y="690"/>
                  </a:lnTo>
                  <a:lnTo>
                    <a:pt x="566" y="686"/>
                  </a:lnTo>
                  <a:lnTo>
                    <a:pt x="572" y="686"/>
                  </a:lnTo>
                  <a:lnTo>
                    <a:pt x="576" y="688"/>
                  </a:lnTo>
                  <a:lnTo>
                    <a:pt x="570" y="690"/>
                  </a:lnTo>
                  <a:lnTo>
                    <a:pt x="564" y="692"/>
                  </a:lnTo>
                  <a:lnTo>
                    <a:pt x="570" y="692"/>
                  </a:lnTo>
                  <a:lnTo>
                    <a:pt x="576" y="692"/>
                  </a:lnTo>
                  <a:lnTo>
                    <a:pt x="582" y="690"/>
                  </a:lnTo>
                  <a:lnTo>
                    <a:pt x="588" y="690"/>
                  </a:lnTo>
                  <a:lnTo>
                    <a:pt x="590" y="690"/>
                  </a:lnTo>
                  <a:lnTo>
                    <a:pt x="598" y="688"/>
                  </a:lnTo>
                  <a:lnTo>
                    <a:pt x="604" y="686"/>
                  </a:lnTo>
                  <a:lnTo>
                    <a:pt x="610" y="686"/>
                  </a:lnTo>
                  <a:lnTo>
                    <a:pt x="610" y="690"/>
                  </a:lnTo>
                  <a:lnTo>
                    <a:pt x="608" y="690"/>
                  </a:lnTo>
                  <a:lnTo>
                    <a:pt x="602" y="692"/>
                  </a:lnTo>
                  <a:lnTo>
                    <a:pt x="596" y="696"/>
                  </a:lnTo>
                  <a:lnTo>
                    <a:pt x="602" y="698"/>
                  </a:lnTo>
                  <a:lnTo>
                    <a:pt x="602" y="704"/>
                  </a:lnTo>
                  <a:lnTo>
                    <a:pt x="596" y="704"/>
                  </a:lnTo>
                  <a:lnTo>
                    <a:pt x="590" y="702"/>
                  </a:lnTo>
                  <a:lnTo>
                    <a:pt x="584" y="704"/>
                  </a:lnTo>
                  <a:lnTo>
                    <a:pt x="578" y="708"/>
                  </a:lnTo>
                  <a:lnTo>
                    <a:pt x="584" y="708"/>
                  </a:lnTo>
                  <a:lnTo>
                    <a:pt x="590" y="712"/>
                  </a:lnTo>
                  <a:lnTo>
                    <a:pt x="584" y="712"/>
                  </a:lnTo>
                  <a:lnTo>
                    <a:pt x="578" y="710"/>
                  </a:lnTo>
                  <a:lnTo>
                    <a:pt x="572" y="712"/>
                  </a:lnTo>
                  <a:lnTo>
                    <a:pt x="570" y="718"/>
                  </a:lnTo>
                  <a:lnTo>
                    <a:pt x="576" y="718"/>
                  </a:lnTo>
                  <a:lnTo>
                    <a:pt x="582" y="718"/>
                  </a:lnTo>
                  <a:lnTo>
                    <a:pt x="588" y="716"/>
                  </a:lnTo>
                  <a:lnTo>
                    <a:pt x="592" y="718"/>
                  </a:lnTo>
                  <a:lnTo>
                    <a:pt x="586" y="718"/>
                  </a:lnTo>
                  <a:lnTo>
                    <a:pt x="580" y="722"/>
                  </a:lnTo>
                  <a:lnTo>
                    <a:pt x="574" y="720"/>
                  </a:lnTo>
                  <a:lnTo>
                    <a:pt x="568" y="720"/>
                  </a:lnTo>
                  <a:lnTo>
                    <a:pt x="562" y="724"/>
                  </a:lnTo>
                  <a:lnTo>
                    <a:pt x="560" y="730"/>
                  </a:lnTo>
                  <a:lnTo>
                    <a:pt x="554" y="732"/>
                  </a:lnTo>
                  <a:lnTo>
                    <a:pt x="548" y="736"/>
                  </a:lnTo>
                  <a:lnTo>
                    <a:pt x="554" y="738"/>
                  </a:lnTo>
                  <a:lnTo>
                    <a:pt x="560" y="736"/>
                  </a:lnTo>
                  <a:lnTo>
                    <a:pt x="564" y="734"/>
                  </a:lnTo>
                  <a:lnTo>
                    <a:pt x="572" y="732"/>
                  </a:lnTo>
                  <a:lnTo>
                    <a:pt x="578" y="730"/>
                  </a:lnTo>
                  <a:lnTo>
                    <a:pt x="580" y="736"/>
                  </a:lnTo>
                  <a:lnTo>
                    <a:pt x="584" y="738"/>
                  </a:lnTo>
                  <a:lnTo>
                    <a:pt x="580" y="740"/>
                  </a:lnTo>
                  <a:lnTo>
                    <a:pt x="574" y="740"/>
                  </a:lnTo>
                  <a:lnTo>
                    <a:pt x="568" y="744"/>
                  </a:lnTo>
                  <a:lnTo>
                    <a:pt x="574" y="744"/>
                  </a:lnTo>
                  <a:lnTo>
                    <a:pt x="580" y="748"/>
                  </a:lnTo>
                  <a:lnTo>
                    <a:pt x="574" y="748"/>
                  </a:lnTo>
                  <a:lnTo>
                    <a:pt x="568" y="752"/>
                  </a:lnTo>
                  <a:lnTo>
                    <a:pt x="566" y="746"/>
                  </a:lnTo>
                  <a:lnTo>
                    <a:pt x="560" y="744"/>
                  </a:lnTo>
                  <a:lnTo>
                    <a:pt x="554" y="744"/>
                  </a:lnTo>
                  <a:lnTo>
                    <a:pt x="548" y="746"/>
                  </a:lnTo>
                  <a:lnTo>
                    <a:pt x="554" y="740"/>
                  </a:lnTo>
                  <a:lnTo>
                    <a:pt x="548" y="740"/>
                  </a:lnTo>
                  <a:lnTo>
                    <a:pt x="542" y="742"/>
                  </a:lnTo>
                  <a:lnTo>
                    <a:pt x="540" y="748"/>
                  </a:lnTo>
                  <a:lnTo>
                    <a:pt x="538" y="754"/>
                  </a:lnTo>
                  <a:lnTo>
                    <a:pt x="536" y="754"/>
                  </a:lnTo>
                  <a:lnTo>
                    <a:pt x="530" y="756"/>
                  </a:lnTo>
                  <a:lnTo>
                    <a:pt x="526" y="762"/>
                  </a:lnTo>
                  <a:lnTo>
                    <a:pt x="532" y="764"/>
                  </a:lnTo>
                  <a:lnTo>
                    <a:pt x="538" y="762"/>
                  </a:lnTo>
                  <a:lnTo>
                    <a:pt x="544" y="760"/>
                  </a:lnTo>
                  <a:lnTo>
                    <a:pt x="550" y="758"/>
                  </a:lnTo>
                  <a:lnTo>
                    <a:pt x="542" y="762"/>
                  </a:lnTo>
                  <a:lnTo>
                    <a:pt x="536" y="764"/>
                  </a:lnTo>
                  <a:lnTo>
                    <a:pt x="538" y="770"/>
                  </a:lnTo>
                  <a:lnTo>
                    <a:pt x="532" y="770"/>
                  </a:lnTo>
                  <a:lnTo>
                    <a:pt x="526" y="772"/>
                  </a:lnTo>
                  <a:lnTo>
                    <a:pt x="520" y="772"/>
                  </a:lnTo>
                  <a:lnTo>
                    <a:pt x="514" y="774"/>
                  </a:lnTo>
                  <a:lnTo>
                    <a:pt x="508" y="774"/>
                  </a:lnTo>
                  <a:lnTo>
                    <a:pt x="502" y="776"/>
                  </a:lnTo>
                  <a:lnTo>
                    <a:pt x="496" y="776"/>
                  </a:lnTo>
                  <a:lnTo>
                    <a:pt x="490" y="772"/>
                  </a:lnTo>
                  <a:lnTo>
                    <a:pt x="484" y="772"/>
                  </a:lnTo>
                  <a:lnTo>
                    <a:pt x="490" y="772"/>
                  </a:lnTo>
                  <a:lnTo>
                    <a:pt x="496" y="768"/>
                  </a:lnTo>
                  <a:lnTo>
                    <a:pt x="490" y="770"/>
                  </a:lnTo>
                  <a:lnTo>
                    <a:pt x="484" y="768"/>
                  </a:lnTo>
                  <a:lnTo>
                    <a:pt x="478" y="770"/>
                  </a:lnTo>
                  <a:lnTo>
                    <a:pt x="470" y="772"/>
                  </a:lnTo>
                  <a:lnTo>
                    <a:pt x="478" y="772"/>
                  </a:lnTo>
                  <a:lnTo>
                    <a:pt x="484" y="772"/>
                  </a:lnTo>
                  <a:lnTo>
                    <a:pt x="478" y="772"/>
                  </a:lnTo>
                  <a:lnTo>
                    <a:pt x="472" y="774"/>
                  </a:lnTo>
                  <a:lnTo>
                    <a:pt x="466" y="774"/>
                  </a:lnTo>
                  <a:lnTo>
                    <a:pt x="458" y="776"/>
                  </a:lnTo>
                  <a:lnTo>
                    <a:pt x="464" y="776"/>
                  </a:lnTo>
                  <a:lnTo>
                    <a:pt x="458" y="780"/>
                  </a:lnTo>
                  <a:lnTo>
                    <a:pt x="452" y="780"/>
                  </a:lnTo>
                  <a:lnTo>
                    <a:pt x="446" y="782"/>
                  </a:lnTo>
                  <a:lnTo>
                    <a:pt x="440" y="784"/>
                  </a:lnTo>
                  <a:lnTo>
                    <a:pt x="434" y="786"/>
                  </a:lnTo>
                  <a:lnTo>
                    <a:pt x="428" y="788"/>
                  </a:lnTo>
                  <a:lnTo>
                    <a:pt x="422" y="790"/>
                  </a:lnTo>
                  <a:lnTo>
                    <a:pt x="428" y="790"/>
                  </a:lnTo>
                  <a:lnTo>
                    <a:pt x="432" y="788"/>
                  </a:lnTo>
                  <a:lnTo>
                    <a:pt x="440" y="788"/>
                  </a:lnTo>
                  <a:lnTo>
                    <a:pt x="444" y="786"/>
                  </a:lnTo>
                  <a:lnTo>
                    <a:pt x="452" y="788"/>
                  </a:lnTo>
                  <a:lnTo>
                    <a:pt x="444" y="788"/>
                  </a:lnTo>
                  <a:lnTo>
                    <a:pt x="440" y="794"/>
                  </a:lnTo>
                  <a:lnTo>
                    <a:pt x="444" y="790"/>
                  </a:lnTo>
                  <a:lnTo>
                    <a:pt x="452" y="792"/>
                  </a:lnTo>
                  <a:lnTo>
                    <a:pt x="458" y="796"/>
                  </a:lnTo>
                  <a:lnTo>
                    <a:pt x="464" y="794"/>
                  </a:lnTo>
                  <a:lnTo>
                    <a:pt x="470" y="794"/>
                  </a:lnTo>
                  <a:lnTo>
                    <a:pt x="476" y="792"/>
                  </a:lnTo>
                  <a:lnTo>
                    <a:pt x="482" y="792"/>
                  </a:lnTo>
                  <a:lnTo>
                    <a:pt x="488" y="792"/>
                  </a:lnTo>
                  <a:lnTo>
                    <a:pt x="494" y="790"/>
                  </a:lnTo>
                  <a:lnTo>
                    <a:pt x="500" y="790"/>
                  </a:lnTo>
                  <a:lnTo>
                    <a:pt x="506" y="790"/>
                  </a:lnTo>
                  <a:lnTo>
                    <a:pt x="512" y="786"/>
                  </a:lnTo>
                  <a:lnTo>
                    <a:pt x="504" y="786"/>
                  </a:lnTo>
                  <a:lnTo>
                    <a:pt x="500" y="782"/>
                  </a:lnTo>
                  <a:lnTo>
                    <a:pt x="506" y="782"/>
                  </a:lnTo>
                  <a:lnTo>
                    <a:pt x="512" y="782"/>
                  </a:lnTo>
                  <a:lnTo>
                    <a:pt x="518" y="782"/>
                  </a:lnTo>
                  <a:lnTo>
                    <a:pt x="524" y="780"/>
                  </a:lnTo>
                  <a:lnTo>
                    <a:pt x="530" y="778"/>
                  </a:lnTo>
                  <a:lnTo>
                    <a:pt x="536" y="778"/>
                  </a:lnTo>
                  <a:lnTo>
                    <a:pt x="530" y="780"/>
                  </a:lnTo>
                  <a:lnTo>
                    <a:pt x="524" y="780"/>
                  </a:lnTo>
                  <a:lnTo>
                    <a:pt x="518" y="784"/>
                  </a:lnTo>
                  <a:lnTo>
                    <a:pt x="514" y="790"/>
                  </a:lnTo>
                  <a:lnTo>
                    <a:pt x="508" y="792"/>
                  </a:lnTo>
                  <a:lnTo>
                    <a:pt x="514" y="794"/>
                  </a:lnTo>
                  <a:lnTo>
                    <a:pt x="520" y="796"/>
                  </a:lnTo>
                  <a:lnTo>
                    <a:pt x="514" y="796"/>
                  </a:lnTo>
                  <a:lnTo>
                    <a:pt x="508" y="794"/>
                  </a:lnTo>
                  <a:lnTo>
                    <a:pt x="502" y="796"/>
                  </a:lnTo>
                  <a:lnTo>
                    <a:pt x="508" y="798"/>
                  </a:lnTo>
                  <a:lnTo>
                    <a:pt x="514" y="800"/>
                  </a:lnTo>
                  <a:lnTo>
                    <a:pt x="520" y="804"/>
                  </a:lnTo>
                  <a:lnTo>
                    <a:pt x="526" y="804"/>
                  </a:lnTo>
                  <a:lnTo>
                    <a:pt x="532" y="806"/>
                  </a:lnTo>
                  <a:lnTo>
                    <a:pt x="538" y="810"/>
                  </a:lnTo>
                  <a:lnTo>
                    <a:pt x="542" y="810"/>
                  </a:lnTo>
                  <a:lnTo>
                    <a:pt x="550" y="810"/>
                  </a:lnTo>
                  <a:lnTo>
                    <a:pt x="542" y="812"/>
                  </a:lnTo>
                  <a:lnTo>
                    <a:pt x="536" y="810"/>
                  </a:lnTo>
                  <a:lnTo>
                    <a:pt x="530" y="812"/>
                  </a:lnTo>
                  <a:lnTo>
                    <a:pt x="524" y="810"/>
                  </a:lnTo>
                  <a:lnTo>
                    <a:pt x="518" y="808"/>
                  </a:lnTo>
                  <a:lnTo>
                    <a:pt x="512" y="806"/>
                  </a:lnTo>
                  <a:lnTo>
                    <a:pt x="506" y="802"/>
                  </a:lnTo>
                  <a:lnTo>
                    <a:pt x="500" y="802"/>
                  </a:lnTo>
                  <a:lnTo>
                    <a:pt x="494" y="804"/>
                  </a:lnTo>
                  <a:lnTo>
                    <a:pt x="488" y="802"/>
                  </a:lnTo>
                  <a:lnTo>
                    <a:pt x="482" y="804"/>
                  </a:lnTo>
                  <a:lnTo>
                    <a:pt x="476" y="804"/>
                  </a:lnTo>
                  <a:lnTo>
                    <a:pt x="470" y="802"/>
                  </a:lnTo>
                  <a:lnTo>
                    <a:pt x="464" y="802"/>
                  </a:lnTo>
                  <a:lnTo>
                    <a:pt x="458" y="798"/>
                  </a:lnTo>
                  <a:lnTo>
                    <a:pt x="452" y="796"/>
                  </a:lnTo>
                  <a:lnTo>
                    <a:pt x="446" y="796"/>
                  </a:lnTo>
                  <a:lnTo>
                    <a:pt x="440" y="796"/>
                  </a:lnTo>
                  <a:lnTo>
                    <a:pt x="446" y="798"/>
                  </a:lnTo>
                  <a:lnTo>
                    <a:pt x="452" y="802"/>
                  </a:lnTo>
                  <a:lnTo>
                    <a:pt x="446" y="802"/>
                  </a:lnTo>
                  <a:lnTo>
                    <a:pt x="440" y="800"/>
                  </a:lnTo>
                  <a:lnTo>
                    <a:pt x="434" y="798"/>
                  </a:lnTo>
                  <a:lnTo>
                    <a:pt x="428" y="796"/>
                  </a:lnTo>
                  <a:lnTo>
                    <a:pt x="424" y="794"/>
                  </a:lnTo>
                  <a:lnTo>
                    <a:pt x="416" y="796"/>
                  </a:lnTo>
                  <a:lnTo>
                    <a:pt x="410" y="796"/>
                  </a:lnTo>
                  <a:lnTo>
                    <a:pt x="416" y="796"/>
                  </a:lnTo>
                  <a:lnTo>
                    <a:pt x="424" y="796"/>
                  </a:lnTo>
                  <a:lnTo>
                    <a:pt x="426" y="802"/>
                  </a:lnTo>
                  <a:lnTo>
                    <a:pt x="432" y="806"/>
                  </a:lnTo>
                  <a:lnTo>
                    <a:pt x="438" y="808"/>
                  </a:lnTo>
                  <a:lnTo>
                    <a:pt x="444" y="808"/>
                  </a:lnTo>
                  <a:lnTo>
                    <a:pt x="448" y="808"/>
                  </a:lnTo>
                  <a:lnTo>
                    <a:pt x="456" y="810"/>
                  </a:lnTo>
                  <a:lnTo>
                    <a:pt x="462" y="810"/>
                  </a:lnTo>
                  <a:lnTo>
                    <a:pt x="454" y="810"/>
                  </a:lnTo>
                  <a:lnTo>
                    <a:pt x="448" y="810"/>
                  </a:lnTo>
                  <a:lnTo>
                    <a:pt x="444" y="810"/>
                  </a:lnTo>
                  <a:lnTo>
                    <a:pt x="436" y="810"/>
                  </a:lnTo>
                  <a:lnTo>
                    <a:pt x="432" y="806"/>
                  </a:lnTo>
                  <a:lnTo>
                    <a:pt x="424" y="804"/>
                  </a:lnTo>
                  <a:lnTo>
                    <a:pt x="420" y="804"/>
                  </a:lnTo>
                  <a:lnTo>
                    <a:pt x="412" y="806"/>
                  </a:lnTo>
                  <a:lnTo>
                    <a:pt x="420" y="806"/>
                  </a:lnTo>
                  <a:lnTo>
                    <a:pt x="424" y="806"/>
                  </a:lnTo>
                  <a:lnTo>
                    <a:pt x="420" y="808"/>
                  </a:lnTo>
                  <a:lnTo>
                    <a:pt x="412" y="810"/>
                  </a:lnTo>
                  <a:lnTo>
                    <a:pt x="406" y="812"/>
                  </a:lnTo>
                  <a:lnTo>
                    <a:pt x="414" y="812"/>
                  </a:lnTo>
                  <a:lnTo>
                    <a:pt x="408" y="814"/>
                  </a:lnTo>
                  <a:lnTo>
                    <a:pt x="402" y="812"/>
                  </a:lnTo>
                  <a:lnTo>
                    <a:pt x="404" y="818"/>
                  </a:lnTo>
                  <a:lnTo>
                    <a:pt x="398" y="818"/>
                  </a:lnTo>
                  <a:lnTo>
                    <a:pt x="392" y="816"/>
                  </a:lnTo>
                  <a:lnTo>
                    <a:pt x="386" y="818"/>
                  </a:lnTo>
                  <a:lnTo>
                    <a:pt x="388" y="820"/>
                  </a:lnTo>
                  <a:lnTo>
                    <a:pt x="382" y="820"/>
                  </a:lnTo>
                  <a:lnTo>
                    <a:pt x="382" y="826"/>
                  </a:lnTo>
                  <a:lnTo>
                    <a:pt x="388" y="820"/>
                  </a:lnTo>
                  <a:lnTo>
                    <a:pt x="390" y="824"/>
                  </a:lnTo>
                  <a:lnTo>
                    <a:pt x="384" y="826"/>
                  </a:lnTo>
                  <a:lnTo>
                    <a:pt x="378" y="830"/>
                  </a:lnTo>
                  <a:lnTo>
                    <a:pt x="376" y="836"/>
                  </a:lnTo>
                  <a:lnTo>
                    <a:pt x="384" y="836"/>
                  </a:lnTo>
                  <a:lnTo>
                    <a:pt x="390" y="832"/>
                  </a:lnTo>
                  <a:lnTo>
                    <a:pt x="396" y="830"/>
                  </a:lnTo>
                  <a:lnTo>
                    <a:pt x="402" y="828"/>
                  </a:lnTo>
                  <a:lnTo>
                    <a:pt x="408" y="824"/>
                  </a:lnTo>
                  <a:lnTo>
                    <a:pt x="414" y="822"/>
                  </a:lnTo>
                  <a:lnTo>
                    <a:pt x="420" y="820"/>
                  </a:lnTo>
                  <a:lnTo>
                    <a:pt x="426" y="818"/>
                  </a:lnTo>
                  <a:lnTo>
                    <a:pt x="432" y="818"/>
                  </a:lnTo>
                  <a:lnTo>
                    <a:pt x="438" y="818"/>
                  </a:lnTo>
                  <a:lnTo>
                    <a:pt x="444" y="816"/>
                  </a:lnTo>
                  <a:lnTo>
                    <a:pt x="450" y="814"/>
                  </a:lnTo>
                  <a:lnTo>
                    <a:pt x="456" y="812"/>
                  </a:lnTo>
                  <a:lnTo>
                    <a:pt x="462" y="812"/>
                  </a:lnTo>
                  <a:lnTo>
                    <a:pt x="468" y="812"/>
                  </a:lnTo>
                  <a:lnTo>
                    <a:pt x="474" y="810"/>
                  </a:lnTo>
                  <a:lnTo>
                    <a:pt x="480" y="810"/>
                  </a:lnTo>
                  <a:lnTo>
                    <a:pt x="486" y="808"/>
                  </a:lnTo>
                  <a:lnTo>
                    <a:pt x="480" y="810"/>
                  </a:lnTo>
                  <a:lnTo>
                    <a:pt x="474" y="812"/>
                  </a:lnTo>
                  <a:lnTo>
                    <a:pt x="468" y="814"/>
                  </a:lnTo>
                  <a:lnTo>
                    <a:pt x="462" y="814"/>
                  </a:lnTo>
                  <a:lnTo>
                    <a:pt x="456" y="814"/>
                  </a:lnTo>
                  <a:lnTo>
                    <a:pt x="450" y="816"/>
                  </a:lnTo>
                  <a:lnTo>
                    <a:pt x="456" y="820"/>
                  </a:lnTo>
                  <a:lnTo>
                    <a:pt x="462" y="822"/>
                  </a:lnTo>
                  <a:lnTo>
                    <a:pt x="468" y="820"/>
                  </a:lnTo>
                  <a:lnTo>
                    <a:pt x="474" y="818"/>
                  </a:lnTo>
                  <a:lnTo>
                    <a:pt x="468" y="822"/>
                  </a:lnTo>
                  <a:lnTo>
                    <a:pt x="474" y="824"/>
                  </a:lnTo>
                  <a:lnTo>
                    <a:pt x="480" y="822"/>
                  </a:lnTo>
                  <a:lnTo>
                    <a:pt x="486" y="822"/>
                  </a:lnTo>
                  <a:lnTo>
                    <a:pt x="492" y="818"/>
                  </a:lnTo>
                  <a:lnTo>
                    <a:pt x="488" y="812"/>
                  </a:lnTo>
                  <a:lnTo>
                    <a:pt x="494" y="812"/>
                  </a:lnTo>
                  <a:lnTo>
                    <a:pt x="500" y="810"/>
                  </a:lnTo>
                  <a:lnTo>
                    <a:pt x="506" y="808"/>
                  </a:lnTo>
                  <a:lnTo>
                    <a:pt x="512" y="810"/>
                  </a:lnTo>
                  <a:lnTo>
                    <a:pt x="506" y="812"/>
                  </a:lnTo>
                  <a:lnTo>
                    <a:pt x="500" y="812"/>
                  </a:lnTo>
                  <a:lnTo>
                    <a:pt x="494" y="814"/>
                  </a:lnTo>
                  <a:lnTo>
                    <a:pt x="496" y="820"/>
                  </a:lnTo>
                  <a:lnTo>
                    <a:pt x="502" y="820"/>
                  </a:lnTo>
                  <a:lnTo>
                    <a:pt x="508" y="818"/>
                  </a:lnTo>
                  <a:lnTo>
                    <a:pt x="514" y="818"/>
                  </a:lnTo>
                  <a:lnTo>
                    <a:pt x="520" y="818"/>
                  </a:lnTo>
                  <a:lnTo>
                    <a:pt x="514" y="816"/>
                  </a:lnTo>
                  <a:lnTo>
                    <a:pt x="520" y="812"/>
                  </a:lnTo>
                  <a:lnTo>
                    <a:pt x="526" y="814"/>
                  </a:lnTo>
                  <a:lnTo>
                    <a:pt x="532" y="814"/>
                  </a:lnTo>
                  <a:lnTo>
                    <a:pt x="538" y="816"/>
                  </a:lnTo>
                  <a:lnTo>
                    <a:pt x="534" y="818"/>
                  </a:lnTo>
                  <a:lnTo>
                    <a:pt x="528" y="818"/>
                  </a:lnTo>
                  <a:lnTo>
                    <a:pt x="520" y="818"/>
                  </a:lnTo>
                  <a:lnTo>
                    <a:pt x="514" y="820"/>
                  </a:lnTo>
                  <a:lnTo>
                    <a:pt x="508" y="822"/>
                  </a:lnTo>
                  <a:lnTo>
                    <a:pt x="502" y="822"/>
                  </a:lnTo>
                  <a:lnTo>
                    <a:pt x="496" y="822"/>
                  </a:lnTo>
                  <a:lnTo>
                    <a:pt x="492" y="822"/>
                  </a:lnTo>
                  <a:lnTo>
                    <a:pt x="496" y="826"/>
                  </a:lnTo>
                  <a:lnTo>
                    <a:pt x="502" y="826"/>
                  </a:lnTo>
                  <a:lnTo>
                    <a:pt x="508" y="828"/>
                  </a:lnTo>
                  <a:lnTo>
                    <a:pt x="514" y="828"/>
                  </a:lnTo>
                  <a:lnTo>
                    <a:pt x="520" y="826"/>
                  </a:lnTo>
                  <a:lnTo>
                    <a:pt x="526" y="824"/>
                  </a:lnTo>
                  <a:lnTo>
                    <a:pt x="532" y="822"/>
                  </a:lnTo>
                  <a:lnTo>
                    <a:pt x="538" y="822"/>
                  </a:lnTo>
                  <a:lnTo>
                    <a:pt x="530" y="824"/>
                  </a:lnTo>
                  <a:lnTo>
                    <a:pt x="524" y="826"/>
                  </a:lnTo>
                  <a:lnTo>
                    <a:pt x="518" y="828"/>
                  </a:lnTo>
                  <a:lnTo>
                    <a:pt x="512" y="828"/>
                  </a:lnTo>
                  <a:lnTo>
                    <a:pt x="506" y="830"/>
                  </a:lnTo>
                  <a:lnTo>
                    <a:pt x="512" y="834"/>
                  </a:lnTo>
                  <a:lnTo>
                    <a:pt x="518" y="836"/>
                  </a:lnTo>
                  <a:lnTo>
                    <a:pt x="524" y="836"/>
                  </a:lnTo>
                  <a:lnTo>
                    <a:pt x="530" y="836"/>
                  </a:lnTo>
                  <a:lnTo>
                    <a:pt x="536" y="836"/>
                  </a:lnTo>
                  <a:lnTo>
                    <a:pt x="530" y="838"/>
                  </a:lnTo>
                  <a:lnTo>
                    <a:pt x="524" y="836"/>
                  </a:lnTo>
                  <a:lnTo>
                    <a:pt x="518" y="838"/>
                  </a:lnTo>
                  <a:lnTo>
                    <a:pt x="512" y="836"/>
                  </a:lnTo>
                  <a:lnTo>
                    <a:pt x="506" y="832"/>
                  </a:lnTo>
                  <a:lnTo>
                    <a:pt x="500" y="830"/>
                  </a:lnTo>
                  <a:lnTo>
                    <a:pt x="494" y="828"/>
                  </a:lnTo>
                  <a:lnTo>
                    <a:pt x="488" y="826"/>
                  </a:lnTo>
                  <a:lnTo>
                    <a:pt x="482" y="826"/>
                  </a:lnTo>
                  <a:lnTo>
                    <a:pt x="476" y="828"/>
                  </a:lnTo>
                  <a:lnTo>
                    <a:pt x="470" y="828"/>
                  </a:lnTo>
                  <a:lnTo>
                    <a:pt x="462" y="828"/>
                  </a:lnTo>
                  <a:lnTo>
                    <a:pt x="458" y="824"/>
                  </a:lnTo>
                  <a:lnTo>
                    <a:pt x="452" y="822"/>
                  </a:lnTo>
                  <a:lnTo>
                    <a:pt x="444" y="822"/>
                  </a:lnTo>
                  <a:lnTo>
                    <a:pt x="440" y="820"/>
                  </a:lnTo>
                  <a:lnTo>
                    <a:pt x="432" y="822"/>
                  </a:lnTo>
                  <a:lnTo>
                    <a:pt x="428" y="822"/>
                  </a:lnTo>
                  <a:lnTo>
                    <a:pt x="434" y="822"/>
                  </a:lnTo>
                  <a:lnTo>
                    <a:pt x="428" y="824"/>
                  </a:lnTo>
                  <a:lnTo>
                    <a:pt x="422" y="822"/>
                  </a:lnTo>
                  <a:lnTo>
                    <a:pt x="416" y="824"/>
                  </a:lnTo>
                  <a:lnTo>
                    <a:pt x="410" y="826"/>
                  </a:lnTo>
                  <a:lnTo>
                    <a:pt x="416" y="826"/>
                  </a:lnTo>
                  <a:lnTo>
                    <a:pt x="410" y="828"/>
                  </a:lnTo>
                  <a:lnTo>
                    <a:pt x="404" y="830"/>
                  </a:lnTo>
                  <a:lnTo>
                    <a:pt x="398" y="832"/>
                  </a:lnTo>
                  <a:lnTo>
                    <a:pt x="392" y="834"/>
                  </a:lnTo>
                  <a:lnTo>
                    <a:pt x="386" y="836"/>
                  </a:lnTo>
                  <a:lnTo>
                    <a:pt x="380" y="838"/>
                  </a:lnTo>
                  <a:lnTo>
                    <a:pt x="374" y="840"/>
                  </a:lnTo>
                  <a:lnTo>
                    <a:pt x="368" y="842"/>
                  </a:lnTo>
                  <a:lnTo>
                    <a:pt x="362" y="848"/>
                  </a:lnTo>
                  <a:lnTo>
                    <a:pt x="362" y="854"/>
                  </a:lnTo>
                  <a:lnTo>
                    <a:pt x="368" y="852"/>
                  </a:lnTo>
                  <a:lnTo>
                    <a:pt x="374" y="850"/>
                  </a:lnTo>
                  <a:lnTo>
                    <a:pt x="380" y="850"/>
                  </a:lnTo>
                  <a:lnTo>
                    <a:pt x="386" y="848"/>
                  </a:lnTo>
                  <a:lnTo>
                    <a:pt x="392" y="846"/>
                  </a:lnTo>
                  <a:lnTo>
                    <a:pt x="398" y="848"/>
                  </a:lnTo>
                  <a:lnTo>
                    <a:pt x="404" y="848"/>
                  </a:lnTo>
                  <a:lnTo>
                    <a:pt x="410" y="846"/>
                  </a:lnTo>
                  <a:lnTo>
                    <a:pt x="416" y="846"/>
                  </a:lnTo>
                  <a:lnTo>
                    <a:pt x="424" y="844"/>
                  </a:lnTo>
                  <a:lnTo>
                    <a:pt x="430" y="844"/>
                  </a:lnTo>
                  <a:lnTo>
                    <a:pt x="436" y="844"/>
                  </a:lnTo>
                  <a:lnTo>
                    <a:pt x="440" y="842"/>
                  </a:lnTo>
                  <a:lnTo>
                    <a:pt x="448" y="844"/>
                  </a:lnTo>
                  <a:lnTo>
                    <a:pt x="454" y="844"/>
                  </a:lnTo>
                  <a:lnTo>
                    <a:pt x="460" y="844"/>
                  </a:lnTo>
                  <a:lnTo>
                    <a:pt x="466" y="844"/>
                  </a:lnTo>
                  <a:lnTo>
                    <a:pt x="470" y="844"/>
                  </a:lnTo>
                  <a:lnTo>
                    <a:pt x="476" y="842"/>
                  </a:lnTo>
                  <a:lnTo>
                    <a:pt x="482" y="842"/>
                  </a:lnTo>
                  <a:lnTo>
                    <a:pt x="488" y="840"/>
                  </a:lnTo>
                  <a:lnTo>
                    <a:pt x="482" y="842"/>
                  </a:lnTo>
                  <a:lnTo>
                    <a:pt x="478" y="844"/>
                  </a:lnTo>
                  <a:lnTo>
                    <a:pt x="470" y="844"/>
                  </a:lnTo>
                  <a:lnTo>
                    <a:pt x="474" y="850"/>
                  </a:lnTo>
                  <a:lnTo>
                    <a:pt x="478" y="856"/>
                  </a:lnTo>
                  <a:lnTo>
                    <a:pt x="482" y="858"/>
                  </a:lnTo>
                  <a:lnTo>
                    <a:pt x="488" y="856"/>
                  </a:lnTo>
                  <a:lnTo>
                    <a:pt x="496" y="854"/>
                  </a:lnTo>
                  <a:lnTo>
                    <a:pt x="500" y="854"/>
                  </a:lnTo>
                  <a:lnTo>
                    <a:pt x="508" y="852"/>
                  </a:lnTo>
                  <a:lnTo>
                    <a:pt x="514" y="854"/>
                  </a:lnTo>
                  <a:lnTo>
                    <a:pt x="508" y="854"/>
                  </a:lnTo>
                  <a:lnTo>
                    <a:pt x="500" y="854"/>
                  </a:lnTo>
                  <a:lnTo>
                    <a:pt x="496" y="856"/>
                  </a:lnTo>
                  <a:lnTo>
                    <a:pt x="488" y="856"/>
                  </a:lnTo>
                  <a:lnTo>
                    <a:pt x="482" y="858"/>
                  </a:lnTo>
                  <a:lnTo>
                    <a:pt x="476" y="858"/>
                  </a:lnTo>
                  <a:lnTo>
                    <a:pt x="472" y="852"/>
                  </a:lnTo>
                  <a:lnTo>
                    <a:pt x="468" y="846"/>
                  </a:lnTo>
                  <a:lnTo>
                    <a:pt x="462" y="846"/>
                  </a:lnTo>
                  <a:lnTo>
                    <a:pt x="456" y="846"/>
                  </a:lnTo>
                  <a:lnTo>
                    <a:pt x="450" y="846"/>
                  </a:lnTo>
                  <a:lnTo>
                    <a:pt x="444" y="846"/>
                  </a:lnTo>
                  <a:lnTo>
                    <a:pt x="438" y="844"/>
                  </a:lnTo>
                  <a:lnTo>
                    <a:pt x="432" y="846"/>
                  </a:lnTo>
                  <a:lnTo>
                    <a:pt x="426" y="848"/>
                  </a:lnTo>
                  <a:lnTo>
                    <a:pt x="420" y="846"/>
                  </a:lnTo>
                  <a:lnTo>
                    <a:pt x="414" y="848"/>
                  </a:lnTo>
                  <a:lnTo>
                    <a:pt x="408" y="848"/>
                  </a:lnTo>
                  <a:lnTo>
                    <a:pt x="402" y="850"/>
                  </a:lnTo>
                  <a:lnTo>
                    <a:pt x="396" y="852"/>
                  </a:lnTo>
                  <a:lnTo>
                    <a:pt x="390" y="850"/>
                  </a:lnTo>
                  <a:lnTo>
                    <a:pt x="384" y="852"/>
                  </a:lnTo>
                  <a:lnTo>
                    <a:pt x="378" y="852"/>
                  </a:lnTo>
                  <a:lnTo>
                    <a:pt x="372" y="852"/>
                  </a:lnTo>
                  <a:lnTo>
                    <a:pt x="378" y="854"/>
                  </a:lnTo>
                  <a:lnTo>
                    <a:pt x="372" y="854"/>
                  </a:lnTo>
                  <a:lnTo>
                    <a:pt x="366" y="854"/>
                  </a:lnTo>
                  <a:lnTo>
                    <a:pt x="360" y="856"/>
                  </a:lnTo>
                  <a:lnTo>
                    <a:pt x="354" y="858"/>
                  </a:lnTo>
                  <a:lnTo>
                    <a:pt x="360" y="860"/>
                  </a:lnTo>
                  <a:lnTo>
                    <a:pt x="366" y="860"/>
                  </a:lnTo>
                  <a:lnTo>
                    <a:pt x="372" y="860"/>
                  </a:lnTo>
                  <a:lnTo>
                    <a:pt x="378" y="860"/>
                  </a:lnTo>
                  <a:lnTo>
                    <a:pt x="372" y="860"/>
                  </a:lnTo>
                  <a:lnTo>
                    <a:pt x="366" y="862"/>
                  </a:lnTo>
                  <a:lnTo>
                    <a:pt x="360" y="862"/>
                  </a:lnTo>
                  <a:lnTo>
                    <a:pt x="366" y="864"/>
                  </a:lnTo>
                  <a:lnTo>
                    <a:pt x="372" y="864"/>
                  </a:lnTo>
                  <a:lnTo>
                    <a:pt x="378" y="866"/>
                  </a:lnTo>
                  <a:lnTo>
                    <a:pt x="372" y="866"/>
                  </a:lnTo>
                  <a:lnTo>
                    <a:pt x="366" y="866"/>
                  </a:lnTo>
                  <a:lnTo>
                    <a:pt x="360" y="866"/>
                  </a:lnTo>
                  <a:lnTo>
                    <a:pt x="354" y="866"/>
                  </a:lnTo>
                  <a:lnTo>
                    <a:pt x="360" y="868"/>
                  </a:lnTo>
                  <a:lnTo>
                    <a:pt x="366" y="872"/>
                  </a:lnTo>
                  <a:lnTo>
                    <a:pt x="372" y="872"/>
                  </a:lnTo>
                  <a:lnTo>
                    <a:pt x="378" y="870"/>
                  </a:lnTo>
                  <a:lnTo>
                    <a:pt x="384" y="870"/>
                  </a:lnTo>
                  <a:lnTo>
                    <a:pt x="390" y="872"/>
                  </a:lnTo>
                  <a:lnTo>
                    <a:pt x="394" y="872"/>
                  </a:lnTo>
                  <a:lnTo>
                    <a:pt x="388" y="872"/>
                  </a:lnTo>
                  <a:lnTo>
                    <a:pt x="382" y="872"/>
                  </a:lnTo>
                  <a:lnTo>
                    <a:pt x="376" y="872"/>
                  </a:lnTo>
                  <a:lnTo>
                    <a:pt x="370" y="874"/>
                  </a:lnTo>
                  <a:lnTo>
                    <a:pt x="364" y="878"/>
                  </a:lnTo>
                  <a:lnTo>
                    <a:pt x="370" y="876"/>
                  </a:lnTo>
                  <a:lnTo>
                    <a:pt x="376" y="876"/>
                  </a:lnTo>
                  <a:lnTo>
                    <a:pt x="382" y="874"/>
                  </a:lnTo>
                  <a:lnTo>
                    <a:pt x="388" y="872"/>
                  </a:lnTo>
                  <a:lnTo>
                    <a:pt x="394" y="872"/>
                  </a:lnTo>
                  <a:lnTo>
                    <a:pt x="396" y="872"/>
                  </a:lnTo>
                  <a:lnTo>
                    <a:pt x="402" y="872"/>
                  </a:lnTo>
                  <a:lnTo>
                    <a:pt x="408" y="870"/>
                  </a:lnTo>
                  <a:lnTo>
                    <a:pt x="416" y="868"/>
                  </a:lnTo>
                  <a:lnTo>
                    <a:pt x="420" y="870"/>
                  </a:lnTo>
                  <a:lnTo>
                    <a:pt x="416" y="872"/>
                  </a:lnTo>
                  <a:lnTo>
                    <a:pt x="422" y="876"/>
                  </a:lnTo>
                  <a:lnTo>
                    <a:pt x="416" y="878"/>
                  </a:lnTo>
                  <a:lnTo>
                    <a:pt x="410" y="874"/>
                  </a:lnTo>
                  <a:lnTo>
                    <a:pt x="402" y="874"/>
                  </a:lnTo>
                  <a:lnTo>
                    <a:pt x="398" y="874"/>
                  </a:lnTo>
                  <a:lnTo>
                    <a:pt x="392" y="876"/>
                  </a:lnTo>
                  <a:lnTo>
                    <a:pt x="386" y="876"/>
                  </a:lnTo>
                  <a:lnTo>
                    <a:pt x="392" y="876"/>
                  </a:lnTo>
                  <a:lnTo>
                    <a:pt x="398" y="878"/>
                  </a:lnTo>
                  <a:lnTo>
                    <a:pt x="392" y="880"/>
                  </a:lnTo>
                  <a:lnTo>
                    <a:pt x="386" y="880"/>
                  </a:lnTo>
                  <a:lnTo>
                    <a:pt x="380" y="882"/>
                  </a:lnTo>
                  <a:lnTo>
                    <a:pt x="386" y="884"/>
                  </a:lnTo>
                  <a:lnTo>
                    <a:pt x="392" y="882"/>
                  </a:lnTo>
                  <a:lnTo>
                    <a:pt x="398" y="882"/>
                  </a:lnTo>
                  <a:lnTo>
                    <a:pt x="392" y="884"/>
                  </a:lnTo>
                  <a:lnTo>
                    <a:pt x="386" y="886"/>
                  </a:lnTo>
                  <a:lnTo>
                    <a:pt x="380" y="886"/>
                  </a:lnTo>
                  <a:lnTo>
                    <a:pt x="374" y="884"/>
                  </a:lnTo>
                  <a:lnTo>
                    <a:pt x="368" y="886"/>
                  </a:lnTo>
                  <a:lnTo>
                    <a:pt x="360" y="886"/>
                  </a:lnTo>
                  <a:lnTo>
                    <a:pt x="368" y="892"/>
                  </a:lnTo>
                  <a:lnTo>
                    <a:pt x="372" y="892"/>
                  </a:lnTo>
                  <a:lnTo>
                    <a:pt x="380" y="892"/>
                  </a:lnTo>
                  <a:lnTo>
                    <a:pt x="386" y="892"/>
                  </a:lnTo>
                  <a:lnTo>
                    <a:pt x="392" y="892"/>
                  </a:lnTo>
                  <a:lnTo>
                    <a:pt x="398" y="894"/>
                  </a:lnTo>
                  <a:lnTo>
                    <a:pt x="404" y="892"/>
                  </a:lnTo>
                  <a:lnTo>
                    <a:pt x="398" y="894"/>
                  </a:lnTo>
                  <a:lnTo>
                    <a:pt x="392" y="894"/>
                  </a:lnTo>
                  <a:lnTo>
                    <a:pt x="386" y="894"/>
                  </a:lnTo>
                  <a:lnTo>
                    <a:pt x="380" y="894"/>
                  </a:lnTo>
                  <a:lnTo>
                    <a:pt x="374" y="896"/>
                  </a:lnTo>
                  <a:lnTo>
                    <a:pt x="368" y="896"/>
                  </a:lnTo>
                  <a:lnTo>
                    <a:pt x="362" y="894"/>
                  </a:lnTo>
                  <a:lnTo>
                    <a:pt x="368" y="894"/>
                  </a:lnTo>
                  <a:lnTo>
                    <a:pt x="360" y="894"/>
                  </a:lnTo>
                  <a:lnTo>
                    <a:pt x="356" y="894"/>
                  </a:lnTo>
                  <a:lnTo>
                    <a:pt x="348" y="896"/>
                  </a:lnTo>
                  <a:lnTo>
                    <a:pt x="346" y="902"/>
                  </a:lnTo>
                  <a:lnTo>
                    <a:pt x="338" y="906"/>
                  </a:lnTo>
                  <a:lnTo>
                    <a:pt x="340" y="912"/>
                  </a:lnTo>
                  <a:lnTo>
                    <a:pt x="346" y="910"/>
                  </a:lnTo>
                  <a:lnTo>
                    <a:pt x="352" y="910"/>
                  </a:lnTo>
                  <a:lnTo>
                    <a:pt x="358" y="910"/>
                  </a:lnTo>
                  <a:lnTo>
                    <a:pt x="364" y="908"/>
                  </a:lnTo>
                  <a:lnTo>
                    <a:pt x="358" y="910"/>
                  </a:lnTo>
                  <a:lnTo>
                    <a:pt x="352" y="912"/>
                  </a:lnTo>
                  <a:lnTo>
                    <a:pt x="346" y="912"/>
                  </a:lnTo>
                  <a:lnTo>
                    <a:pt x="340" y="914"/>
                  </a:lnTo>
                  <a:lnTo>
                    <a:pt x="336" y="918"/>
                  </a:lnTo>
                  <a:lnTo>
                    <a:pt x="342" y="920"/>
                  </a:lnTo>
                  <a:lnTo>
                    <a:pt x="348" y="920"/>
                  </a:lnTo>
                  <a:lnTo>
                    <a:pt x="354" y="918"/>
                  </a:lnTo>
                  <a:lnTo>
                    <a:pt x="360" y="916"/>
                  </a:lnTo>
                  <a:lnTo>
                    <a:pt x="366" y="914"/>
                  </a:lnTo>
                  <a:lnTo>
                    <a:pt x="372" y="912"/>
                  </a:lnTo>
                  <a:lnTo>
                    <a:pt x="378" y="908"/>
                  </a:lnTo>
                  <a:lnTo>
                    <a:pt x="384" y="904"/>
                  </a:lnTo>
                  <a:lnTo>
                    <a:pt x="390" y="902"/>
                  </a:lnTo>
                  <a:lnTo>
                    <a:pt x="396" y="900"/>
                  </a:lnTo>
                  <a:lnTo>
                    <a:pt x="402" y="898"/>
                  </a:lnTo>
                  <a:lnTo>
                    <a:pt x="408" y="898"/>
                  </a:lnTo>
                  <a:lnTo>
                    <a:pt x="414" y="896"/>
                  </a:lnTo>
                  <a:lnTo>
                    <a:pt x="420" y="892"/>
                  </a:lnTo>
                  <a:lnTo>
                    <a:pt x="426" y="886"/>
                  </a:lnTo>
                  <a:lnTo>
                    <a:pt x="432" y="886"/>
                  </a:lnTo>
                  <a:lnTo>
                    <a:pt x="438" y="884"/>
                  </a:lnTo>
                  <a:lnTo>
                    <a:pt x="444" y="882"/>
                  </a:lnTo>
                  <a:lnTo>
                    <a:pt x="450" y="878"/>
                  </a:lnTo>
                  <a:lnTo>
                    <a:pt x="456" y="876"/>
                  </a:lnTo>
                  <a:lnTo>
                    <a:pt x="462" y="874"/>
                  </a:lnTo>
                  <a:lnTo>
                    <a:pt x="470" y="872"/>
                  </a:lnTo>
                  <a:lnTo>
                    <a:pt x="474" y="870"/>
                  </a:lnTo>
                  <a:lnTo>
                    <a:pt x="480" y="868"/>
                  </a:lnTo>
                  <a:lnTo>
                    <a:pt x="488" y="866"/>
                  </a:lnTo>
                  <a:lnTo>
                    <a:pt x="494" y="866"/>
                  </a:lnTo>
                  <a:lnTo>
                    <a:pt x="500" y="864"/>
                  </a:lnTo>
                  <a:lnTo>
                    <a:pt x="506" y="862"/>
                  </a:lnTo>
                  <a:lnTo>
                    <a:pt x="512" y="862"/>
                  </a:lnTo>
                  <a:lnTo>
                    <a:pt x="518" y="862"/>
                  </a:lnTo>
                  <a:lnTo>
                    <a:pt x="512" y="864"/>
                  </a:lnTo>
                  <a:lnTo>
                    <a:pt x="506" y="864"/>
                  </a:lnTo>
                  <a:lnTo>
                    <a:pt x="512" y="866"/>
                  </a:lnTo>
                  <a:lnTo>
                    <a:pt x="518" y="866"/>
                  </a:lnTo>
                  <a:lnTo>
                    <a:pt x="524" y="866"/>
                  </a:lnTo>
                  <a:lnTo>
                    <a:pt x="518" y="868"/>
                  </a:lnTo>
                  <a:lnTo>
                    <a:pt x="512" y="866"/>
                  </a:lnTo>
                  <a:lnTo>
                    <a:pt x="506" y="866"/>
                  </a:lnTo>
                  <a:lnTo>
                    <a:pt x="500" y="866"/>
                  </a:lnTo>
                  <a:lnTo>
                    <a:pt x="494" y="866"/>
                  </a:lnTo>
                  <a:lnTo>
                    <a:pt x="488" y="868"/>
                  </a:lnTo>
                  <a:lnTo>
                    <a:pt x="482" y="870"/>
                  </a:lnTo>
                  <a:lnTo>
                    <a:pt x="488" y="874"/>
                  </a:lnTo>
                  <a:lnTo>
                    <a:pt x="494" y="874"/>
                  </a:lnTo>
                  <a:lnTo>
                    <a:pt x="500" y="874"/>
                  </a:lnTo>
                  <a:lnTo>
                    <a:pt x="506" y="874"/>
                  </a:lnTo>
                  <a:lnTo>
                    <a:pt x="500" y="876"/>
                  </a:lnTo>
                  <a:lnTo>
                    <a:pt x="494" y="874"/>
                  </a:lnTo>
                  <a:lnTo>
                    <a:pt x="488" y="876"/>
                  </a:lnTo>
                  <a:lnTo>
                    <a:pt x="482" y="876"/>
                  </a:lnTo>
                  <a:lnTo>
                    <a:pt x="476" y="874"/>
                  </a:lnTo>
                  <a:lnTo>
                    <a:pt x="470" y="874"/>
                  </a:lnTo>
                  <a:lnTo>
                    <a:pt x="464" y="876"/>
                  </a:lnTo>
                  <a:lnTo>
                    <a:pt x="458" y="878"/>
                  </a:lnTo>
                  <a:lnTo>
                    <a:pt x="452" y="882"/>
                  </a:lnTo>
                  <a:lnTo>
                    <a:pt x="446" y="884"/>
                  </a:lnTo>
                  <a:lnTo>
                    <a:pt x="440" y="886"/>
                  </a:lnTo>
                  <a:lnTo>
                    <a:pt x="434" y="886"/>
                  </a:lnTo>
                  <a:lnTo>
                    <a:pt x="428" y="890"/>
                  </a:lnTo>
                  <a:lnTo>
                    <a:pt x="422" y="894"/>
                  </a:lnTo>
                  <a:lnTo>
                    <a:pt x="416" y="898"/>
                  </a:lnTo>
                  <a:lnTo>
                    <a:pt x="410" y="898"/>
                  </a:lnTo>
                  <a:lnTo>
                    <a:pt x="402" y="900"/>
                  </a:lnTo>
                  <a:lnTo>
                    <a:pt x="398" y="902"/>
                  </a:lnTo>
                  <a:lnTo>
                    <a:pt x="390" y="904"/>
                  </a:lnTo>
                  <a:lnTo>
                    <a:pt x="386" y="906"/>
                  </a:lnTo>
                  <a:lnTo>
                    <a:pt x="380" y="912"/>
                  </a:lnTo>
                  <a:lnTo>
                    <a:pt x="372" y="914"/>
                  </a:lnTo>
                  <a:lnTo>
                    <a:pt x="368" y="916"/>
                  </a:lnTo>
                  <a:lnTo>
                    <a:pt x="360" y="916"/>
                  </a:lnTo>
                  <a:lnTo>
                    <a:pt x="354" y="918"/>
                  </a:lnTo>
                  <a:lnTo>
                    <a:pt x="348" y="920"/>
                  </a:lnTo>
                  <a:lnTo>
                    <a:pt x="342" y="922"/>
                  </a:lnTo>
                  <a:lnTo>
                    <a:pt x="348" y="924"/>
                  </a:lnTo>
                  <a:lnTo>
                    <a:pt x="354" y="924"/>
                  </a:lnTo>
                  <a:lnTo>
                    <a:pt x="348" y="926"/>
                  </a:lnTo>
                  <a:lnTo>
                    <a:pt x="342" y="926"/>
                  </a:lnTo>
                  <a:lnTo>
                    <a:pt x="348" y="930"/>
                  </a:lnTo>
                  <a:lnTo>
                    <a:pt x="354" y="928"/>
                  </a:lnTo>
                  <a:lnTo>
                    <a:pt x="360" y="926"/>
                  </a:lnTo>
                  <a:lnTo>
                    <a:pt x="364" y="924"/>
                  </a:lnTo>
                  <a:lnTo>
                    <a:pt x="360" y="926"/>
                  </a:lnTo>
                  <a:lnTo>
                    <a:pt x="352" y="928"/>
                  </a:lnTo>
                  <a:lnTo>
                    <a:pt x="348" y="930"/>
                  </a:lnTo>
                  <a:lnTo>
                    <a:pt x="352" y="934"/>
                  </a:lnTo>
                  <a:lnTo>
                    <a:pt x="358" y="932"/>
                  </a:lnTo>
                  <a:lnTo>
                    <a:pt x="364" y="930"/>
                  </a:lnTo>
                  <a:lnTo>
                    <a:pt x="370" y="926"/>
                  </a:lnTo>
                  <a:lnTo>
                    <a:pt x="376" y="928"/>
                  </a:lnTo>
                  <a:lnTo>
                    <a:pt x="382" y="926"/>
                  </a:lnTo>
                  <a:lnTo>
                    <a:pt x="388" y="932"/>
                  </a:lnTo>
                  <a:lnTo>
                    <a:pt x="394" y="928"/>
                  </a:lnTo>
                  <a:lnTo>
                    <a:pt x="400" y="926"/>
                  </a:lnTo>
                  <a:lnTo>
                    <a:pt x="406" y="924"/>
                  </a:lnTo>
                  <a:lnTo>
                    <a:pt x="412" y="924"/>
                  </a:lnTo>
                  <a:lnTo>
                    <a:pt x="418" y="922"/>
                  </a:lnTo>
                  <a:lnTo>
                    <a:pt x="416" y="928"/>
                  </a:lnTo>
                  <a:lnTo>
                    <a:pt x="410" y="926"/>
                  </a:lnTo>
                  <a:lnTo>
                    <a:pt x="406" y="926"/>
                  </a:lnTo>
                  <a:lnTo>
                    <a:pt x="400" y="928"/>
                  </a:lnTo>
                  <a:lnTo>
                    <a:pt x="394" y="930"/>
                  </a:lnTo>
                  <a:lnTo>
                    <a:pt x="388" y="936"/>
                  </a:lnTo>
                  <a:lnTo>
                    <a:pt x="382" y="932"/>
                  </a:lnTo>
                  <a:lnTo>
                    <a:pt x="376" y="932"/>
                  </a:lnTo>
                  <a:lnTo>
                    <a:pt x="370" y="930"/>
                  </a:lnTo>
                  <a:lnTo>
                    <a:pt x="364" y="932"/>
                  </a:lnTo>
                  <a:lnTo>
                    <a:pt x="358" y="934"/>
                  </a:lnTo>
                  <a:lnTo>
                    <a:pt x="352" y="936"/>
                  </a:lnTo>
                  <a:lnTo>
                    <a:pt x="346" y="940"/>
                  </a:lnTo>
                  <a:lnTo>
                    <a:pt x="352" y="940"/>
                  </a:lnTo>
                  <a:lnTo>
                    <a:pt x="358" y="938"/>
                  </a:lnTo>
                  <a:lnTo>
                    <a:pt x="352" y="942"/>
                  </a:lnTo>
                  <a:lnTo>
                    <a:pt x="346" y="942"/>
                  </a:lnTo>
                  <a:lnTo>
                    <a:pt x="352" y="946"/>
                  </a:lnTo>
                  <a:lnTo>
                    <a:pt x="358" y="946"/>
                  </a:lnTo>
                  <a:lnTo>
                    <a:pt x="364" y="942"/>
                  </a:lnTo>
                  <a:lnTo>
                    <a:pt x="368" y="938"/>
                  </a:lnTo>
                  <a:lnTo>
                    <a:pt x="368" y="944"/>
                  </a:lnTo>
                  <a:lnTo>
                    <a:pt x="362" y="946"/>
                  </a:lnTo>
                  <a:lnTo>
                    <a:pt x="368" y="946"/>
                  </a:lnTo>
                  <a:lnTo>
                    <a:pt x="362" y="948"/>
                  </a:lnTo>
                  <a:lnTo>
                    <a:pt x="356" y="952"/>
                  </a:lnTo>
                  <a:lnTo>
                    <a:pt x="362" y="954"/>
                  </a:lnTo>
                  <a:lnTo>
                    <a:pt x="368" y="950"/>
                  </a:lnTo>
                  <a:lnTo>
                    <a:pt x="374" y="946"/>
                  </a:lnTo>
                  <a:lnTo>
                    <a:pt x="368" y="952"/>
                  </a:lnTo>
                  <a:lnTo>
                    <a:pt x="362" y="956"/>
                  </a:lnTo>
                  <a:lnTo>
                    <a:pt x="368" y="956"/>
                  </a:lnTo>
                  <a:lnTo>
                    <a:pt x="364" y="962"/>
                  </a:lnTo>
                  <a:lnTo>
                    <a:pt x="372" y="960"/>
                  </a:lnTo>
                  <a:lnTo>
                    <a:pt x="376" y="960"/>
                  </a:lnTo>
                  <a:lnTo>
                    <a:pt x="382" y="956"/>
                  </a:lnTo>
                  <a:lnTo>
                    <a:pt x="390" y="956"/>
                  </a:lnTo>
                  <a:lnTo>
                    <a:pt x="394" y="954"/>
                  </a:lnTo>
                  <a:lnTo>
                    <a:pt x="398" y="948"/>
                  </a:lnTo>
                  <a:lnTo>
                    <a:pt x="404" y="946"/>
                  </a:lnTo>
                  <a:lnTo>
                    <a:pt x="410" y="944"/>
                  </a:lnTo>
                  <a:lnTo>
                    <a:pt x="416" y="942"/>
                  </a:lnTo>
                  <a:lnTo>
                    <a:pt x="422" y="940"/>
                  </a:lnTo>
                  <a:lnTo>
                    <a:pt x="428" y="940"/>
                  </a:lnTo>
                  <a:lnTo>
                    <a:pt x="434" y="938"/>
                  </a:lnTo>
                  <a:lnTo>
                    <a:pt x="440" y="938"/>
                  </a:lnTo>
                  <a:lnTo>
                    <a:pt x="446" y="938"/>
                  </a:lnTo>
                  <a:lnTo>
                    <a:pt x="452" y="942"/>
                  </a:lnTo>
                  <a:lnTo>
                    <a:pt x="458" y="940"/>
                  </a:lnTo>
                  <a:lnTo>
                    <a:pt x="460" y="940"/>
                  </a:lnTo>
                  <a:lnTo>
                    <a:pt x="458" y="944"/>
                  </a:lnTo>
                  <a:lnTo>
                    <a:pt x="462" y="946"/>
                  </a:lnTo>
                  <a:lnTo>
                    <a:pt x="456" y="946"/>
                  </a:lnTo>
                  <a:lnTo>
                    <a:pt x="450" y="942"/>
                  </a:lnTo>
                  <a:lnTo>
                    <a:pt x="444" y="940"/>
                  </a:lnTo>
                  <a:lnTo>
                    <a:pt x="438" y="940"/>
                  </a:lnTo>
                  <a:lnTo>
                    <a:pt x="432" y="940"/>
                  </a:lnTo>
                  <a:lnTo>
                    <a:pt x="426" y="940"/>
                  </a:lnTo>
                  <a:lnTo>
                    <a:pt x="420" y="942"/>
                  </a:lnTo>
                  <a:lnTo>
                    <a:pt x="414" y="944"/>
                  </a:lnTo>
                  <a:lnTo>
                    <a:pt x="408" y="946"/>
                  </a:lnTo>
                  <a:lnTo>
                    <a:pt x="402" y="952"/>
                  </a:lnTo>
                  <a:lnTo>
                    <a:pt x="396" y="954"/>
                  </a:lnTo>
                  <a:lnTo>
                    <a:pt x="390" y="956"/>
                  </a:lnTo>
                  <a:lnTo>
                    <a:pt x="384" y="958"/>
                  </a:lnTo>
                  <a:lnTo>
                    <a:pt x="378" y="962"/>
                  </a:lnTo>
                  <a:lnTo>
                    <a:pt x="372" y="962"/>
                  </a:lnTo>
                  <a:lnTo>
                    <a:pt x="366" y="964"/>
                  </a:lnTo>
                  <a:lnTo>
                    <a:pt x="364" y="970"/>
                  </a:lnTo>
                  <a:lnTo>
                    <a:pt x="358" y="974"/>
                  </a:lnTo>
                  <a:lnTo>
                    <a:pt x="364" y="972"/>
                  </a:lnTo>
                  <a:lnTo>
                    <a:pt x="370" y="966"/>
                  </a:lnTo>
                  <a:lnTo>
                    <a:pt x="376" y="968"/>
                  </a:lnTo>
                  <a:lnTo>
                    <a:pt x="372" y="974"/>
                  </a:lnTo>
                  <a:lnTo>
                    <a:pt x="376" y="972"/>
                  </a:lnTo>
                  <a:lnTo>
                    <a:pt x="382" y="968"/>
                  </a:lnTo>
                  <a:lnTo>
                    <a:pt x="376" y="972"/>
                  </a:lnTo>
                  <a:lnTo>
                    <a:pt x="372" y="978"/>
                  </a:lnTo>
                  <a:lnTo>
                    <a:pt x="370" y="984"/>
                  </a:lnTo>
                  <a:lnTo>
                    <a:pt x="372" y="990"/>
                  </a:lnTo>
                  <a:lnTo>
                    <a:pt x="366" y="992"/>
                  </a:lnTo>
                  <a:lnTo>
                    <a:pt x="366" y="996"/>
                  </a:lnTo>
                  <a:lnTo>
                    <a:pt x="372" y="996"/>
                  </a:lnTo>
                  <a:lnTo>
                    <a:pt x="366" y="1000"/>
                  </a:lnTo>
                  <a:lnTo>
                    <a:pt x="372" y="998"/>
                  </a:lnTo>
                  <a:lnTo>
                    <a:pt x="378" y="994"/>
                  </a:lnTo>
                  <a:lnTo>
                    <a:pt x="384" y="990"/>
                  </a:lnTo>
                  <a:lnTo>
                    <a:pt x="390" y="986"/>
                  </a:lnTo>
                  <a:lnTo>
                    <a:pt x="396" y="988"/>
                  </a:lnTo>
                  <a:lnTo>
                    <a:pt x="390" y="992"/>
                  </a:lnTo>
                  <a:lnTo>
                    <a:pt x="396" y="990"/>
                  </a:lnTo>
                  <a:lnTo>
                    <a:pt x="402" y="988"/>
                  </a:lnTo>
                  <a:lnTo>
                    <a:pt x="408" y="988"/>
                  </a:lnTo>
                  <a:lnTo>
                    <a:pt x="402" y="990"/>
                  </a:lnTo>
                  <a:lnTo>
                    <a:pt x="396" y="992"/>
                  </a:lnTo>
                  <a:lnTo>
                    <a:pt x="390" y="994"/>
                  </a:lnTo>
                  <a:lnTo>
                    <a:pt x="384" y="996"/>
                  </a:lnTo>
                  <a:lnTo>
                    <a:pt x="378" y="996"/>
                  </a:lnTo>
                  <a:lnTo>
                    <a:pt x="372" y="1000"/>
                  </a:lnTo>
                  <a:lnTo>
                    <a:pt x="366" y="1002"/>
                  </a:lnTo>
                  <a:lnTo>
                    <a:pt x="360" y="1006"/>
                  </a:lnTo>
                  <a:lnTo>
                    <a:pt x="362" y="1012"/>
                  </a:lnTo>
                  <a:lnTo>
                    <a:pt x="360" y="1018"/>
                  </a:lnTo>
                  <a:lnTo>
                    <a:pt x="356" y="1022"/>
                  </a:lnTo>
                  <a:lnTo>
                    <a:pt x="354" y="1028"/>
                  </a:lnTo>
                  <a:lnTo>
                    <a:pt x="354" y="1034"/>
                  </a:lnTo>
                  <a:lnTo>
                    <a:pt x="360" y="1034"/>
                  </a:lnTo>
                  <a:lnTo>
                    <a:pt x="366" y="1030"/>
                  </a:lnTo>
                  <a:lnTo>
                    <a:pt x="372" y="1024"/>
                  </a:lnTo>
                  <a:lnTo>
                    <a:pt x="378" y="1022"/>
                  </a:lnTo>
                  <a:lnTo>
                    <a:pt x="384" y="1018"/>
                  </a:lnTo>
                  <a:lnTo>
                    <a:pt x="390" y="1014"/>
                  </a:lnTo>
                  <a:lnTo>
                    <a:pt x="394" y="1008"/>
                  </a:lnTo>
                  <a:lnTo>
                    <a:pt x="400" y="1002"/>
                  </a:lnTo>
                  <a:lnTo>
                    <a:pt x="406" y="1000"/>
                  </a:lnTo>
                  <a:lnTo>
                    <a:pt x="412" y="1002"/>
                  </a:lnTo>
                  <a:lnTo>
                    <a:pt x="406" y="1004"/>
                  </a:lnTo>
                  <a:lnTo>
                    <a:pt x="402" y="1010"/>
                  </a:lnTo>
                  <a:lnTo>
                    <a:pt x="408" y="1010"/>
                  </a:lnTo>
                  <a:lnTo>
                    <a:pt x="414" y="1006"/>
                  </a:lnTo>
                  <a:lnTo>
                    <a:pt x="420" y="1004"/>
                  </a:lnTo>
                  <a:lnTo>
                    <a:pt x="426" y="1002"/>
                  </a:lnTo>
                  <a:lnTo>
                    <a:pt x="432" y="998"/>
                  </a:lnTo>
                  <a:lnTo>
                    <a:pt x="434" y="992"/>
                  </a:lnTo>
                  <a:lnTo>
                    <a:pt x="434" y="986"/>
                  </a:lnTo>
                  <a:lnTo>
                    <a:pt x="428" y="984"/>
                  </a:lnTo>
                  <a:lnTo>
                    <a:pt x="430" y="980"/>
                  </a:lnTo>
                  <a:lnTo>
                    <a:pt x="430" y="972"/>
                  </a:lnTo>
                  <a:lnTo>
                    <a:pt x="436" y="976"/>
                  </a:lnTo>
                  <a:lnTo>
                    <a:pt x="442" y="974"/>
                  </a:lnTo>
                  <a:lnTo>
                    <a:pt x="436" y="976"/>
                  </a:lnTo>
                  <a:lnTo>
                    <a:pt x="434" y="984"/>
                  </a:lnTo>
                  <a:lnTo>
                    <a:pt x="436" y="988"/>
                  </a:lnTo>
                  <a:lnTo>
                    <a:pt x="436" y="996"/>
                  </a:lnTo>
                  <a:lnTo>
                    <a:pt x="440" y="1000"/>
                  </a:lnTo>
                  <a:lnTo>
                    <a:pt x="448" y="1002"/>
                  </a:lnTo>
                  <a:lnTo>
                    <a:pt x="454" y="998"/>
                  </a:lnTo>
                  <a:lnTo>
                    <a:pt x="458" y="996"/>
                  </a:lnTo>
                  <a:lnTo>
                    <a:pt x="466" y="994"/>
                  </a:lnTo>
                  <a:lnTo>
                    <a:pt x="462" y="996"/>
                  </a:lnTo>
                  <a:lnTo>
                    <a:pt x="456" y="1000"/>
                  </a:lnTo>
                  <a:lnTo>
                    <a:pt x="454" y="1004"/>
                  </a:lnTo>
                  <a:lnTo>
                    <a:pt x="460" y="1004"/>
                  </a:lnTo>
                  <a:lnTo>
                    <a:pt x="460" y="1006"/>
                  </a:lnTo>
                  <a:lnTo>
                    <a:pt x="458" y="1006"/>
                  </a:lnTo>
                  <a:lnTo>
                    <a:pt x="452" y="1010"/>
                  </a:lnTo>
                  <a:lnTo>
                    <a:pt x="454" y="1016"/>
                  </a:lnTo>
                  <a:lnTo>
                    <a:pt x="460" y="1020"/>
                  </a:lnTo>
                  <a:lnTo>
                    <a:pt x="466" y="1022"/>
                  </a:lnTo>
                  <a:lnTo>
                    <a:pt x="468" y="1028"/>
                  </a:lnTo>
                  <a:lnTo>
                    <a:pt x="462" y="1026"/>
                  </a:lnTo>
                  <a:lnTo>
                    <a:pt x="456" y="1022"/>
                  </a:lnTo>
                  <a:lnTo>
                    <a:pt x="452" y="1020"/>
                  </a:lnTo>
                  <a:lnTo>
                    <a:pt x="446" y="1018"/>
                  </a:lnTo>
                  <a:lnTo>
                    <a:pt x="446" y="1012"/>
                  </a:lnTo>
                  <a:lnTo>
                    <a:pt x="444" y="1006"/>
                  </a:lnTo>
                  <a:lnTo>
                    <a:pt x="438" y="1004"/>
                  </a:lnTo>
                  <a:lnTo>
                    <a:pt x="432" y="1004"/>
                  </a:lnTo>
                  <a:lnTo>
                    <a:pt x="436" y="1006"/>
                  </a:lnTo>
                  <a:lnTo>
                    <a:pt x="432" y="1008"/>
                  </a:lnTo>
                  <a:lnTo>
                    <a:pt x="424" y="1008"/>
                  </a:lnTo>
                  <a:lnTo>
                    <a:pt x="420" y="1008"/>
                  </a:lnTo>
                  <a:lnTo>
                    <a:pt x="426" y="1012"/>
                  </a:lnTo>
                  <a:lnTo>
                    <a:pt x="432" y="1014"/>
                  </a:lnTo>
                  <a:lnTo>
                    <a:pt x="426" y="1018"/>
                  </a:lnTo>
                  <a:lnTo>
                    <a:pt x="432" y="1022"/>
                  </a:lnTo>
                  <a:lnTo>
                    <a:pt x="438" y="1020"/>
                  </a:lnTo>
                  <a:lnTo>
                    <a:pt x="444" y="1018"/>
                  </a:lnTo>
                  <a:lnTo>
                    <a:pt x="438" y="1024"/>
                  </a:lnTo>
                  <a:lnTo>
                    <a:pt x="432" y="1024"/>
                  </a:lnTo>
                  <a:lnTo>
                    <a:pt x="426" y="1022"/>
                  </a:lnTo>
                  <a:lnTo>
                    <a:pt x="420" y="1022"/>
                  </a:lnTo>
                  <a:lnTo>
                    <a:pt x="414" y="1022"/>
                  </a:lnTo>
                  <a:lnTo>
                    <a:pt x="406" y="1024"/>
                  </a:lnTo>
                  <a:lnTo>
                    <a:pt x="402" y="1030"/>
                  </a:lnTo>
                  <a:lnTo>
                    <a:pt x="406" y="1032"/>
                  </a:lnTo>
                  <a:lnTo>
                    <a:pt x="402" y="1034"/>
                  </a:lnTo>
                  <a:lnTo>
                    <a:pt x="396" y="1034"/>
                  </a:lnTo>
                  <a:lnTo>
                    <a:pt x="390" y="1036"/>
                  </a:lnTo>
                  <a:lnTo>
                    <a:pt x="384" y="1036"/>
                  </a:lnTo>
                  <a:lnTo>
                    <a:pt x="378" y="1034"/>
                  </a:lnTo>
                  <a:lnTo>
                    <a:pt x="372" y="1034"/>
                  </a:lnTo>
                  <a:lnTo>
                    <a:pt x="366" y="1036"/>
                  </a:lnTo>
                  <a:lnTo>
                    <a:pt x="372" y="1036"/>
                  </a:lnTo>
                  <a:lnTo>
                    <a:pt x="378" y="1036"/>
                  </a:lnTo>
                  <a:lnTo>
                    <a:pt x="372" y="1038"/>
                  </a:lnTo>
                  <a:lnTo>
                    <a:pt x="366" y="1040"/>
                  </a:lnTo>
                  <a:lnTo>
                    <a:pt x="372" y="1042"/>
                  </a:lnTo>
                  <a:lnTo>
                    <a:pt x="378" y="1042"/>
                  </a:lnTo>
                  <a:lnTo>
                    <a:pt x="384" y="1042"/>
                  </a:lnTo>
                  <a:lnTo>
                    <a:pt x="390" y="1040"/>
                  </a:lnTo>
                  <a:lnTo>
                    <a:pt x="396" y="1040"/>
                  </a:lnTo>
                  <a:lnTo>
                    <a:pt x="402" y="1038"/>
                  </a:lnTo>
                  <a:lnTo>
                    <a:pt x="408" y="1036"/>
                  </a:lnTo>
                  <a:lnTo>
                    <a:pt x="414" y="1034"/>
                  </a:lnTo>
                  <a:lnTo>
                    <a:pt x="420" y="1032"/>
                  </a:lnTo>
                  <a:lnTo>
                    <a:pt x="426" y="1030"/>
                  </a:lnTo>
                  <a:lnTo>
                    <a:pt x="432" y="1026"/>
                  </a:lnTo>
                  <a:lnTo>
                    <a:pt x="426" y="1030"/>
                  </a:lnTo>
                  <a:lnTo>
                    <a:pt x="420" y="1034"/>
                  </a:lnTo>
                  <a:lnTo>
                    <a:pt x="426" y="1036"/>
                  </a:lnTo>
                  <a:lnTo>
                    <a:pt x="432" y="1034"/>
                  </a:lnTo>
                  <a:lnTo>
                    <a:pt x="438" y="1034"/>
                  </a:lnTo>
                  <a:lnTo>
                    <a:pt x="440" y="1038"/>
                  </a:lnTo>
                  <a:lnTo>
                    <a:pt x="434" y="1036"/>
                  </a:lnTo>
                  <a:lnTo>
                    <a:pt x="428" y="1038"/>
                  </a:lnTo>
                  <a:lnTo>
                    <a:pt x="422" y="1040"/>
                  </a:lnTo>
                  <a:lnTo>
                    <a:pt x="416" y="1038"/>
                  </a:lnTo>
                  <a:lnTo>
                    <a:pt x="410" y="1038"/>
                  </a:lnTo>
                  <a:lnTo>
                    <a:pt x="404" y="1040"/>
                  </a:lnTo>
                  <a:lnTo>
                    <a:pt x="398" y="1042"/>
                  </a:lnTo>
                  <a:lnTo>
                    <a:pt x="392" y="1042"/>
                  </a:lnTo>
                  <a:lnTo>
                    <a:pt x="386" y="1042"/>
                  </a:lnTo>
                  <a:lnTo>
                    <a:pt x="380" y="1044"/>
                  </a:lnTo>
                  <a:lnTo>
                    <a:pt x="374" y="1046"/>
                  </a:lnTo>
                  <a:lnTo>
                    <a:pt x="368" y="1044"/>
                  </a:lnTo>
                  <a:lnTo>
                    <a:pt x="374" y="1048"/>
                  </a:lnTo>
                  <a:lnTo>
                    <a:pt x="370" y="1054"/>
                  </a:lnTo>
                  <a:lnTo>
                    <a:pt x="376" y="1056"/>
                  </a:lnTo>
                  <a:lnTo>
                    <a:pt x="382" y="1054"/>
                  </a:lnTo>
                  <a:lnTo>
                    <a:pt x="388" y="1054"/>
                  </a:lnTo>
                  <a:lnTo>
                    <a:pt x="394" y="1052"/>
                  </a:lnTo>
                  <a:lnTo>
                    <a:pt x="388" y="1054"/>
                  </a:lnTo>
                  <a:lnTo>
                    <a:pt x="382" y="1056"/>
                  </a:lnTo>
                  <a:lnTo>
                    <a:pt x="376" y="1060"/>
                  </a:lnTo>
                  <a:lnTo>
                    <a:pt x="370" y="1060"/>
                  </a:lnTo>
                  <a:lnTo>
                    <a:pt x="364" y="1062"/>
                  </a:lnTo>
                  <a:lnTo>
                    <a:pt x="358" y="1064"/>
                  </a:lnTo>
                  <a:lnTo>
                    <a:pt x="364" y="1064"/>
                  </a:lnTo>
                  <a:lnTo>
                    <a:pt x="358" y="1066"/>
                  </a:lnTo>
                  <a:lnTo>
                    <a:pt x="364" y="1072"/>
                  </a:lnTo>
                  <a:lnTo>
                    <a:pt x="370" y="1076"/>
                  </a:lnTo>
                  <a:lnTo>
                    <a:pt x="372" y="1072"/>
                  </a:lnTo>
                  <a:lnTo>
                    <a:pt x="378" y="1068"/>
                  </a:lnTo>
                  <a:lnTo>
                    <a:pt x="384" y="1070"/>
                  </a:lnTo>
                  <a:lnTo>
                    <a:pt x="390" y="1070"/>
                  </a:lnTo>
                  <a:lnTo>
                    <a:pt x="396" y="1068"/>
                  </a:lnTo>
                  <a:lnTo>
                    <a:pt x="402" y="1068"/>
                  </a:lnTo>
                  <a:lnTo>
                    <a:pt x="396" y="1070"/>
                  </a:lnTo>
                  <a:lnTo>
                    <a:pt x="390" y="1070"/>
                  </a:lnTo>
                  <a:lnTo>
                    <a:pt x="384" y="1070"/>
                  </a:lnTo>
                  <a:lnTo>
                    <a:pt x="378" y="1070"/>
                  </a:lnTo>
                  <a:lnTo>
                    <a:pt x="374" y="1076"/>
                  </a:lnTo>
                  <a:lnTo>
                    <a:pt x="380" y="1076"/>
                  </a:lnTo>
                  <a:lnTo>
                    <a:pt x="386" y="1076"/>
                  </a:lnTo>
                  <a:lnTo>
                    <a:pt x="392" y="1076"/>
                  </a:lnTo>
                  <a:lnTo>
                    <a:pt x="386" y="1076"/>
                  </a:lnTo>
                  <a:lnTo>
                    <a:pt x="380" y="1078"/>
                  </a:lnTo>
                  <a:lnTo>
                    <a:pt x="374" y="1080"/>
                  </a:lnTo>
                  <a:lnTo>
                    <a:pt x="368" y="1082"/>
                  </a:lnTo>
                  <a:lnTo>
                    <a:pt x="374" y="1082"/>
                  </a:lnTo>
                  <a:lnTo>
                    <a:pt x="380" y="1086"/>
                  </a:lnTo>
                  <a:lnTo>
                    <a:pt x="386" y="1086"/>
                  </a:lnTo>
                  <a:lnTo>
                    <a:pt x="392" y="1086"/>
                  </a:lnTo>
                  <a:lnTo>
                    <a:pt x="398" y="1084"/>
                  </a:lnTo>
                  <a:lnTo>
                    <a:pt x="404" y="1084"/>
                  </a:lnTo>
                  <a:lnTo>
                    <a:pt x="398" y="1086"/>
                  </a:lnTo>
                  <a:lnTo>
                    <a:pt x="392" y="1086"/>
                  </a:lnTo>
                  <a:lnTo>
                    <a:pt x="386" y="1086"/>
                  </a:lnTo>
                  <a:lnTo>
                    <a:pt x="380" y="1088"/>
                  </a:lnTo>
                  <a:lnTo>
                    <a:pt x="374" y="1088"/>
                  </a:lnTo>
                  <a:lnTo>
                    <a:pt x="368" y="1088"/>
                  </a:lnTo>
                  <a:lnTo>
                    <a:pt x="368" y="1094"/>
                  </a:lnTo>
                  <a:lnTo>
                    <a:pt x="374" y="1096"/>
                  </a:lnTo>
                  <a:lnTo>
                    <a:pt x="380" y="1094"/>
                  </a:lnTo>
                  <a:lnTo>
                    <a:pt x="374" y="1098"/>
                  </a:lnTo>
                  <a:lnTo>
                    <a:pt x="380" y="1096"/>
                  </a:lnTo>
                  <a:lnTo>
                    <a:pt x="386" y="1096"/>
                  </a:lnTo>
                  <a:lnTo>
                    <a:pt x="392" y="1096"/>
                  </a:lnTo>
                  <a:lnTo>
                    <a:pt x="398" y="1098"/>
                  </a:lnTo>
                  <a:lnTo>
                    <a:pt x="402" y="1096"/>
                  </a:lnTo>
                  <a:lnTo>
                    <a:pt x="410" y="1094"/>
                  </a:lnTo>
                  <a:lnTo>
                    <a:pt x="404" y="1096"/>
                  </a:lnTo>
                  <a:lnTo>
                    <a:pt x="398" y="1098"/>
                  </a:lnTo>
                  <a:lnTo>
                    <a:pt x="392" y="1102"/>
                  </a:lnTo>
                  <a:lnTo>
                    <a:pt x="386" y="1104"/>
                  </a:lnTo>
                  <a:lnTo>
                    <a:pt x="386" y="1110"/>
                  </a:lnTo>
                  <a:lnTo>
                    <a:pt x="392" y="1112"/>
                  </a:lnTo>
                  <a:lnTo>
                    <a:pt x="398" y="1108"/>
                  </a:lnTo>
                  <a:lnTo>
                    <a:pt x="392" y="1114"/>
                  </a:lnTo>
                  <a:lnTo>
                    <a:pt x="388" y="1120"/>
                  </a:lnTo>
                  <a:lnTo>
                    <a:pt x="394" y="1116"/>
                  </a:lnTo>
                  <a:lnTo>
                    <a:pt x="400" y="1112"/>
                  </a:lnTo>
                  <a:lnTo>
                    <a:pt x="406" y="1112"/>
                  </a:lnTo>
                  <a:lnTo>
                    <a:pt x="400" y="1116"/>
                  </a:lnTo>
                  <a:lnTo>
                    <a:pt x="394" y="1120"/>
                  </a:lnTo>
                  <a:lnTo>
                    <a:pt x="388" y="1126"/>
                  </a:lnTo>
                  <a:lnTo>
                    <a:pt x="394" y="1124"/>
                  </a:lnTo>
                  <a:lnTo>
                    <a:pt x="400" y="1122"/>
                  </a:lnTo>
                  <a:lnTo>
                    <a:pt x="406" y="1120"/>
                  </a:lnTo>
                  <a:lnTo>
                    <a:pt x="412" y="1116"/>
                  </a:lnTo>
                  <a:lnTo>
                    <a:pt x="406" y="1120"/>
                  </a:lnTo>
                  <a:lnTo>
                    <a:pt x="406" y="1122"/>
                  </a:lnTo>
                  <a:lnTo>
                    <a:pt x="404" y="1122"/>
                  </a:lnTo>
                  <a:lnTo>
                    <a:pt x="398" y="1126"/>
                  </a:lnTo>
                  <a:lnTo>
                    <a:pt x="392" y="1128"/>
                  </a:lnTo>
                  <a:lnTo>
                    <a:pt x="386" y="1134"/>
                  </a:lnTo>
                  <a:lnTo>
                    <a:pt x="382" y="1140"/>
                  </a:lnTo>
                  <a:lnTo>
                    <a:pt x="386" y="1146"/>
                  </a:lnTo>
                  <a:lnTo>
                    <a:pt x="390" y="1152"/>
                  </a:lnTo>
                  <a:lnTo>
                    <a:pt x="398" y="1150"/>
                  </a:lnTo>
                  <a:lnTo>
                    <a:pt x="400" y="1156"/>
                  </a:lnTo>
                  <a:lnTo>
                    <a:pt x="406" y="1156"/>
                  </a:lnTo>
                  <a:lnTo>
                    <a:pt x="412" y="1156"/>
                  </a:lnTo>
                  <a:lnTo>
                    <a:pt x="418" y="1156"/>
                  </a:lnTo>
                  <a:lnTo>
                    <a:pt x="412" y="1156"/>
                  </a:lnTo>
                  <a:lnTo>
                    <a:pt x="406" y="1162"/>
                  </a:lnTo>
                  <a:lnTo>
                    <a:pt x="412" y="1162"/>
                  </a:lnTo>
                  <a:lnTo>
                    <a:pt x="418" y="1164"/>
                  </a:lnTo>
                  <a:lnTo>
                    <a:pt x="412" y="1166"/>
                  </a:lnTo>
                  <a:lnTo>
                    <a:pt x="406" y="1164"/>
                  </a:lnTo>
                  <a:lnTo>
                    <a:pt x="400" y="1166"/>
                  </a:lnTo>
                  <a:lnTo>
                    <a:pt x="406" y="1168"/>
                  </a:lnTo>
                  <a:lnTo>
                    <a:pt x="400" y="1172"/>
                  </a:lnTo>
                  <a:lnTo>
                    <a:pt x="406" y="1170"/>
                  </a:lnTo>
                  <a:lnTo>
                    <a:pt x="412" y="1172"/>
                  </a:lnTo>
                  <a:lnTo>
                    <a:pt x="418" y="1170"/>
                  </a:lnTo>
                  <a:lnTo>
                    <a:pt x="424" y="1170"/>
                  </a:lnTo>
                  <a:lnTo>
                    <a:pt x="428" y="1164"/>
                  </a:lnTo>
                  <a:lnTo>
                    <a:pt x="434" y="1160"/>
                  </a:lnTo>
                  <a:lnTo>
                    <a:pt x="434" y="1166"/>
                  </a:lnTo>
                  <a:lnTo>
                    <a:pt x="440" y="1168"/>
                  </a:lnTo>
                  <a:lnTo>
                    <a:pt x="434" y="1168"/>
                  </a:lnTo>
                  <a:lnTo>
                    <a:pt x="428" y="1170"/>
                  </a:lnTo>
                  <a:lnTo>
                    <a:pt x="420" y="1174"/>
                  </a:lnTo>
                  <a:lnTo>
                    <a:pt x="416" y="1174"/>
                  </a:lnTo>
                  <a:lnTo>
                    <a:pt x="410" y="1178"/>
                  </a:lnTo>
                  <a:lnTo>
                    <a:pt x="406" y="1184"/>
                  </a:lnTo>
                  <a:lnTo>
                    <a:pt x="414" y="1182"/>
                  </a:lnTo>
                  <a:lnTo>
                    <a:pt x="410" y="1188"/>
                  </a:lnTo>
                  <a:lnTo>
                    <a:pt x="416" y="1186"/>
                  </a:lnTo>
                  <a:lnTo>
                    <a:pt x="420" y="1180"/>
                  </a:lnTo>
                  <a:lnTo>
                    <a:pt x="426" y="1178"/>
                  </a:lnTo>
                  <a:lnTo>
                    <a:pt x="432" y="1174"/>
                  </a:lnTo>
                  <a:lnTo>
                    <a:pt x="438" y="1174"/>
                  </a:lnTo>
                  <a:lnTo>
                    <a:pt x="432" y="1176"/>
                  </a:lnTo>
                  <a:lnTo>
                    <a:pt x="426" y="1182"/>
                  </a:lnTo>
                  <a:lnTo>
                    <a:pt x="420" y="1182"/>
                  </a:lnTo>
                  <a:lnTo>
                    <a:pt x="416" y="1188"/>
                  </a:lnTo>
                  <a:lnTo>
                    <a:pt x="424" y="1188"/>
                  </a:lnTo>
                  <a:lnTo>
                    <a:pt x="430" y="1186"/>
                  </a:lnTo>
                  <a:lnTo>
                    <a:pt x="424" y="1190"/>
                  </a:lnTo>
                  <a:lnTo>
                    <a:pt x="418" y="1196"/>
                  </a:lnTo>
                  <a:lnTo>
                    <a:pt x="424" y="1196"/>
                  </a:lnTo>
                  <a:lnTo>
                    <a:pt x="430" y="1196"/>
                  </a:lnTo>
                  <a:lnTo>
                    <a:pt x="436" y="1196"/>
                  </a:lnTo>
                  <a:lnTo>
                    <a:pt x="430" y="1196"/>
                  </a:lnTo>
                  <a:lnTo>
                    <a:pt x="424" y="1198"/>
                  </a:lnTo>
                  <a:lnTo>
                    <a:pt x="418" y="1198"/>
                  </a:lnTo>
                  <a:lnTo>
                    <a:pt x="412" y="1196"/>
                  </a:lnTo>
                  <a:lnTo>
                    <a:pt x="406" y="1200"/>
                  </a:lnTo>
                  <a:lnTo>
                    <a:pt x="412" y="1204"/>
                  </a:lnTo>
                  <a:lnTo>
                    <a:pt x="420" y="1204"/>
                  </a:lnTo>
                  <a:lnTo>
                    <a:pt x="424" y="1204"/>
                  </a:lnTo>
                  <a:lnTo>
                    <a:pt x="432" y="1202"/>
                  </a:lnTo>
                  <a:lnTo>
                    <a:pt x="436" y="1200"/>
                  </a:lnTo>
                  <a:lnTo>
                    <a:pt x="444" y="1200"/>
                  </a:lnTo>
                  <a:lnTo>
                    <a:pt x="448" y="1200"/>
                  </a:lnTo>
                  <a:lnTo>
                    <a:pt x="444" y="1200"/>
                  </a:lnTo>
                  <a:lnTo>
                    <a:pt x="448" y="1202"/>
                  </a:lnTo>
                  <a:lnTo>
                    <a:pt x="444" y="1202"/>
                  </a:lnTo>
                  <a:lnTo>
                    <a:pt x="438" y="1202"/>
                  </a:lnTo>
                  <a:lnTo>
                    <a:pt x="432" y="1204"/>
                  </a:lnTo>
                  <a:lnTo>
                    <a:pt x="426" y="1204"/>
                  </a:lnTo>
                  <a:lnTo>
                    <a:pt x="420" y="1206"/>
                  </a:lnTo>
                  <a:lnTo>
                    <a:pt x="414" y="1212"/>
                  </a:lnTo>
                  <a:lnTo>
                    <a:pt x="420" y="1208"/>
                  </a:lnTo>
                  <a:lnTo>
                    <a:pt x="424" y="1210"/>
                  </a:lnTo>
                  <a:lnTo>
                    <a:pt x="430" y="1210"/>
                  </a:lnTo>
                  <a:lnTo>
                    <a:pt x="436" y="1210"/>
                  </a:lnTo>
                  <a:lnTo>
                    <a:pt x="442" y="1212"/>
                  </a:lnTo>
                  <a:lnTo>
                    <a:pt x="436" y="1216"/>
                  </a:lnTo>
                  <a:lnTo>
                    <a:pt x="430" y="1216"/>
                  </a:lnTo>
                  <a:lnTo>
                    <a:pt x="430" y="1222"/>
                  </a:lnTo>
                  <a:lnTo>
                    <a:pt x="436" y="1222"/>
                  </a:lnTo>
                  <a:lnTo>
                    <a:pt x="442" y="1220"/>
                  </a:lnTo>
                  <a:lnTo>
                    <a:pt x="438" y="1226"/>
                  </a:lnTo>
                  <a:lnTo>
                    <a:pt x="444" y="1224"/>
                  </a:lnTo>
                  <a:lnTo>
                    <a:pt x="444" y="1220"/>
                  </a:lnTo>
                  <a:lnTo>
                    <a:pt x="452" y="1214"/>
                  </a:lnTo>
                  <a:lnTo>
                    <a:pt x="458" y="1214"/>
                  </a:lnTo>
                  <a:lnTo>
                    <a:pt x="464" y="1214"/>
                  </a:lnTo>
                  <a:lnTo>
                    <a:pt x="458" y="1216"/>
                  </a:lnTo>
                  <a:lnTo>
                    <a:pt x="452" y="1220"/>
                  </a:lnTo>
                  <a:lnTo>
                    <a:pt x="446" y="1222"/>
                  </a:lnTo>
                  <a:lnTo>
                    <a:pt x="450" y="1228"/>
                  </a:lnTo>
                  <a:lnTo>
                    <a:pt x="456" y="1228"/>
                  </a:lnTo>
                  <a:lnTo>
                    <a:pt x="462" y="1226"/>
                  </a:lnTo>
                  <a:lnTo>
                    <a:pt x="460" y="1232"/>
                  </a:lnTo>
                  <a:lnTo>
                    <a:pt x="454" y="1232"/>
                  </a:lnTo>
                  <a:lnTo>
                    <a:pt x="448" y="1232"/>
                  </a:lnTo>
                  <a:lnTo>
                    <a:pt x="440" y="1234"/>
                  </a:lnTo>
                  <a:lnTo>
                    <a:pt x="436" y="1236"/>
                  </a:lnTo>
                  <a:lnTo>
                    <a:pt x="440" y="1236"/>
                  </a:lnTo>
                  <a:lnTo>
                    <a:pt x="448" y="1236"/>
                  </a:lnTo>
                  <a:lnTo>
                    <a:pt x="454" y="1234"/>
                  </a:lnTo>
                  <a:lnTo>
                    <a:pt x="458" y="1234"/>
                  </a:lnTo>
                  <a:lnTo>
                    <a:pt x="464" y="1234"/>
                  </a:lnTo>
                  <a:lnTo>
                    <a:pt x="458" y="1236"/>
                  </a:lnTo>
                  <a:lnTo>
                    <a:pt x="452" y="1238"/>
                  </a:lnTo>
                  <a:lnTo>
                    <a:pt x="446" y="1240"/>
                  </a:lnTo>
                  <a:lnTo>
                    <a:pt x="440" y="1242"/>
                  </a:lnTo>
                  <a:lnTo>
                    <a:pt x="434" y="1246"/>
                  </a:lnTo>
                  <a:lnTo>
                    <a:pt x="440" y="1246"/>
                  </a:lnTo>
                  <a:lnTo>
                    <a:pt x="446" y="1244"/>
                  </a:lnTo>
                  <a:lnTo>
                    <a:pt x="452" y="1244"/>
                  </a:lnTo>
                  <a:lnTo>
                    <a:pt x="458" y="1244"/>
                  </a:lnTo>
                  <a:lnTo>
                    <a:pt x="464" y="1246"/>
                  </a:lnTo>
                  <a:lnTo>
                    <a:pt x="470" y="1246"/>
                  </a:lnTo>
                  <a:lnTo>
                    <a:pt x="476" y="1242"/>
                  </a:lnTo>
                  <a:lnTo>
                    <a:pt x="470" y="1242"/>
                  </a:lnTo>
                  <a:lnTo>
                    <a:pt x="464" y="1242"/>
                  </a:lnTo>
                  <a:lnTo>
                    <a:pt x="458" y="1240"/>
                  </a:lnTo>
                  <a:lnTo>
                    <a:pt x="464" y="1240"/>
                  </a:lnTo>
                  <a:lnTo>
                    <a:pt x="470" y="1240"/>
                  </a:lnTo>
                  <a:lnTo>
                    <a:pt x="478" y="1238"/>
                  </a:lnTo>
                  <a:lnTo>
                    <a:pt x="482" y="1238"/>
                  </a:lnTo>
                  <a:lnTo>
                    <a:pt x="488" y="1238"/>
                  </a:lnTo>
                  <a:lnTo>
                    <a:pt x="496" y="1238"/>
                  </a:lnTo>
                  <a:lnTo>
                    <a:pt x="500" y="1238"/>
                  </a:lnTo>
                  <a:lnTo>
                    <a:pt x="494" y="1244"/>
                  </a:lnTo>
                  <a:lnTo>
                    <a:pt x="500" y="1246"/>
                  </a:lnTo>
                  <a:lnTo>
                    <a:pt x="506" y="1244"/>
                  </a:lnTo>
                  <a:lnTo>
                    <a:pt x="506" y="1238"/>
                  </a:lnTo>
                  <a:lnTo>
                    <a:pt x="512" y="1238"/>
                  </a:lnTo>
                  <a:lnTo>
                    <a:pt x="518" y="1238"/>
                  </a:lnTo>
                  <a:lnTo>
                    <a:pt x="520" y="1234"/>
                  </a:lnTo>
                  <a:lnTo>
                    <a:pt x="526" y="1230"/>
                  </a:lnTo>
                  <a:lnTo>
                    <a:pt x="534" y="1230"/>
                  </a:lnTo>
                  <a:lnTo>
                    <a:pt x="536" y="1236"/>
                  </a:lnTo>
                  <a:lnTo>
                    <a:pt x="542" y="1232"/>
                  </a:lnTo>
                  <a:lnTo>
                    <a:pt x="536" y="1228"/>
                  </a:lnTo>
                  <a:lnTo>
                    <a:pt x="542" y="1230"/>
                  </a:lnTo>
                  <a:lnTo>
                    <a:pt x="548" y="1230"/>
                  </a:lnTo>
                  <a:lnTo>
                    <a:pt x="554" y="1228"/>
                  </a:lnTo>
                  <a:lnTo>
                    <a:pt x="554" y="1222"/>
                  </a:lnTo>
                  <a:lnTo>
                    <a:pt x="550" y="1218"/>
                  </a:lnTo>
                  <a:lnTo>
                    <a:pt x="554" y="1220"/>
                  </a:lnTo>
                  <a:lnTo>
                    <a:pt x="560" y="1216"/>
                  </a:lnTo>
                  <a:lnTo>
                    <a:pt x="568" y="1216"/>
                  </a:lnTo>
                  <a:lnTo>
                    <a:pt x="560" y="1220"/>
                  </a:lnTo>
                  <a:lnTo>
                    <a:pt x="566" y="1224"/>
                  </a:lnTo>
                  <a:lnTo>
                    <a:pt x="560" y="1230"/>
                  </a:lnTo>
                  <a:lnTo>
                    <a:pt x="554" y="1232"/>
                  </a:lnTo>
                  <a:lnTo>
                    <a:pt x="548" y="1234"/>
                  </a:lnTo>
                  <a:lnTo>
                    <a:pt x="546" y="1240"/>
                  </a:lnTo>
                  <a:lnTo>
                    <a:pt x="552" y="1238"/>
                  </a:lnTo>
                  <a:lnTo>
                    <a:pt x="558" y="1236"/>
                  </a:lnTo>
                  <a:lnTo>
                    <a:pt x="564" y="1234"/>
                  </a:lnTo>
                  <a:lnTo>
                    <a:pt x="570" y="1230"/>
                  </a:lnTo>
                  <a:lnTo>
                    <a:pt x="576" y="1226"/>
                  </a:lnTo>
                  <a:lnTo>
                    <a:pt x="580" y="1220"/>
                  </a:lnTo>
                  <a:lnTo>
                    <a:pt x="580" y="1226"/>
                  </a:lnTo>
                  <a:lnTo>
                    <a:pt x="586" y="1224"/>
                  </a:lnTo>
                  <a:lnTo>
                    <a:pt x="592" y="1222"/>
                  </a:lnTo>
                  <a:lnTo>
                    <a:pt x="586" y="1228"/>
                  </a:lnTo>
                  <a:lnTo>
                    <a:pt x="580" y="1230"/>
                  </a:lnTo>
                  <a:lnTo>
                    <a:pt x="574" y="1234"/>
                  </a:lnTo>
                  <a:lnTo>
                    <a:pt x="568" y="1236"/>
                  </a:lnTo>
                  <a:lnTo>
                    <a:pt x="562" y="1238"/>
                  </a:lnTo>
                  <a:lnTo>
                    <a:pt x="556" y="1238"/>
                  </a:lnTo>
                  <a:lnTo>
                    <a:pt x="550" y="1240"/>
                  </a:lnTo>
                  <a:lnTo>
                    <a:pt x="544" y="1242"/>
                  </a:lnTo>
                  <a:lnTo>
                    <a:pt x="538" y="1246"/>
                  </a:lnTo>
                  <a:lnTo>
                    <a:pt x="544" y="1242"/>
                  </a:lnTo>
                  <a:lnTo>
                    <a:pt x="550" y="1242"/>
                  </a:lnTo>
                  <a:lnTo>
                    <a:pt x="542" y="1246"/>
                  </a:lnTo>
                  <a:lnTo>
                    <a:pt x="538" y="1246"/>
                  </a:lnTo>
                  <a:lnTo>
                    <a:pt x="532" y="1250"/>
                  </a:lnTo>
                  <a:lnTo>
                    <a:pt x="538" y="1252"/>
                  </a:lnTo>
                  <a:lnTo>
                    <a:pt x="542" y="1246"/>
                  </a:lnTo>
                  <a:lnTo>
                    <a:pt x="548" y="1244"/>
                  </a:lnTo>
                  <a:lnTo>
                    <a:pt x="554" y="1246"/>
                  </a:lnTo>
                  <a:lnTo>
                    <a:pt x="548" y="1250"/>
                  </a:lnTo>
                  <a:lnTo>
                    <a:pt x="554" y="1250"/>
                  </a:lnTo>
                  <a:lnTo>
                    <a:pt x="560" y="1246"/>
                  </a:lnTo>
                  <a:lnTo>
                    <a:pt x="568" y="1242"/>
                  </a:lnTo>
                  <a:lnTo>
                    <a:pt x="572" y="1238"/>
                  </a:lnTo>
                  <a:lnTo>
                    <a:pt x="578" y="1234"/>
                  </a:lnTo>
                  <a:lnTo>
                    <a:pt x="580" y="1240"/>
                  </a:lnTo>
                  <a:lnTo>
                    <a:pt x="574" y="1242"/>
                  </a:lnTo>
                  <a:lnTo>
                    <a:pt x="568" y="1244"/>
                  </a:lnTo>
                  <a:lnTo>
                    <a:pt x="562" y="1246"/>
                  </a:lnTo>
                  <a:lnTo>
                    <a:pt x="556" y="1250"/>
                  </a:lnTo>
                  <a:lnTo>
                    <a:pt x="550" y="1254"/>
                  </a:lnTo>
                  <a:lnTo>
                    <a:pt x="556" y="1254"/>
                  </a:lnTo>
                  <a:lnTo>
                    <a:pt x="550" y="1256"/>
                  </a:lnTo>
                  <a:lnTo>
                    <a:pt x="544" y="1258"/>
                  </a:lnTo>
                  <a:lnTo>
                    <a:pt x="538" y="1262"/>
                  </a:lnTo>
                  <a:lnTo>
                    <a:pt x="544" y="1262"/>
                  </a:lnTo>
                  <a:lnTo>
                    <a:pt x="550" y="1258"/>
                  </a:lnTo>
                  <a:lnTo>
                    <a:pt x="556" y="1256"/>
                  </a:lnTo>
                  <a:lnTo>
                    <a:pt x="550" y="1260"/>
                  </a:lnTo>
                  <a:lnTo>
                    <a:pt x="556" y="1260"/>
                  </a:lnTo>
                  <a:lnTo>
                    <a:pt x="556" y="1266"/>
                  </a:lnTo>
                  <a:lnTo>
                    <a:pt x="562" y="1262"/>
                  </a:lnTo>
                  <a:lnTo>
                    <a:pt x="568" y="1256"/>
                  </a:lnTo>
                  <a:lnTo>
                    <a:pt x="572" y="1254"/>
                  </a:lnTo>
                  <a:lnTo>
                    <a:pt x="578" y="1254"/>
                  </a:lnTo>
                  <a:lnTo>
                    <a:pt x="572" y="1256"/>
                  </a:lnTo>
                  <a:lnTo>
                    <a:pt x="568" y="1260"/>
                  </a:lnTo>
                  <a:lnTo>
                    <a:pt x="562" y="1266"/>
                  </a:lnTo>
                  <a:lnTo>
                    <a:pt x="568" y="1264"/>
                  </a:lnTo>
                  <a:lnTo>
                    <a:pt x="574" y="1260"/>
                  </a:lnTo>
                  <a:lnTo>
                    <a:pt x="580" y="1258"/>
                  </a:lnTo>
                  <a:lnTo>
                    <a:pt x="574" y="1262"/>
                  </a:lnTo>
                  <a:lnTo>
                    <a:pt x="568" y="1268"/>
                  </a:lnTo>
                  <a:lnTo>
                    <a:pt x="574" y="1268"/>
                  </a:lnTo>
                  <a:lnTo>
                    <a:pt x="580" y="1268"/>
                  </a:lnTo>
                  <a:lnTo>
                    <a:pt x="586" y="1264"/>
                  </a:lnTo>
                  <a:lnTo>
                    <a:pt x="592" y="1260"/>
                  </a:lnTo>
                  <a:lnTo>
                    <a:pt x="598" y="1254"/>
                  </a:lnTo>
                  <a:lnTo>
                    <a:pt x="604" y="1252"/>
                  </a:lnTo>
                  <a:lnTo>
                    <a:pt x="598" y="1256"/>
                  </a:lnTo>
                  <a:lnTo>
                    <a:pt x="592" y="1262"/>
                  </a:lnTo>
                  <a:lnTo>
                    <a:pt x="588" y="1268"/>
                  </a:lnTo>
                  <a:lnTo>
                    <a:pt x="582" y="1274"/>
                  </a:lnTo>
                  <a:lnTo>
                    <a:pt x="576" y="1278"/>
                  </a:lnTo>
                  <a:lnTo>
                    <a:pt x="572" y="1280"/>
                  </a:lnTo>
                  <a:lnTo>
                    <a:pt x="568" y="1288"/>
                  </a:lnTo>
                  <a:lnTo>
                    <a:pt x="574" y="1284"/>
                  </a:lnTo>
                  <a:lnTo>
                    <a:pt x="580" y="1284"/>
                  </a:lnTo>
                  <a:lnTo>
                    <a:pt x="586" y="1280"/>
                  </a:lnTo>
                  <a:lnTo>
                    <a:pt x="592" y="1276"/>
                  </a:lnTo>
                  <a:lnTo>
                    <a:pt x="598" y="1272"/>
                  </a:lnTo>
                  <a:lnTo>
                    <a:pt x="604" y="1268"/>
                  </a:lnTo>
                  <a:lnTo>
                    <a:pt x="610" y="1264"/>
                  </a:lnTo>
                  <a:lnTo>
                    <a:pt x="604" y="1270"/>
                  </a:lnTo>
                  <a:lnTo>
                    <a:pt x="598" y="1274"/>
                  </a:lnTo>
                  <a:lnTo>
                    <a:pt x="590" y="1280"/>
                  </a:lnTo>
                  <a:lnTo>
                    <a:pt x="584" y="1284"/>
                  </a:lnTo>
                  <a:lnTo>
                    <a:pt x="580" y="1286"/>
                  </a:lnTo>
                  <a:lnTo>
                    <a:pt x="574" y="1288"/>
                  </a:lnTo>
                  <a:lnTo>
                    <a:pt x="568" y="1290"/>
                  </a:lnTo>
                  <a:lnTo>
                    <a:pt x="574" y="1296"/>
                  </a:lnTo>
                  <a:lnTo>
                    <a:pt x="580" y="1292"/>
                  </a:lnTo>
                  <a:lnTo>
                    <a:pt x="582" y="1296"/>
                  </a:lnTo>
                  <a:lnTo>
                    <a:pt x="584" y="1296"/>
                  </a:lnTo>
                  <a:lnTo>
                    <a:pt x="588" y="1292"/>
                  </a:lnTo>
                  <a:lnTo>
                    <a:pt x="588" y="1296"/>
                  </a:lnTo>
                  <a:lnTo>
                    <a:pt x="592" y="1296"/>
                  </a:lnTo>
                  <a:lnTo>
                    <a:pt x="596" y="1292"/>
                  </a:lnTo>
                  <a:lnTo>
                    <a:pt x="602" y="1288"/>
                  </a:lnTo>
                  <a:lnTo>
                    <a:pt x="608" y="1288"/>
                  </a:lnTo>
                  <a:lnTo>
                    <a:pt x="614" y="1282"/>
                  </a:lnTo>
                  <a:lnTo>
                    <a:pt x="616" y="1276"/>
                  </a:lnTo>
                  <a:lnTo>
                    <a:pt x="622" y="1280"/>
                  </a:lnTo>
                  <a:lnTo>
                    <a:pt x="626" y="1274"/>
                  </a:lnTo>
                  <a:lnTo>
                    <a:pt x="624" y="1280"/>
                  </a:lnTo>
                  <a:lnTo>
                    <a:pt x="618" y="1286"/>
                  </a:lnTo>
                  <a:lnTo>
                    <a:pt x="624" y="1286"/>
                  </a:lnTo>
                  <a:lnTo>
                    <a:pt x="630" y="1288"/>
                  </a:lnTo>
                  <a:lnTo>
                    <a:pt x="624" y="1286"/>
                  </a:lnTo>
                  <a:lnTo>
                    <a:pt x="618" y="1290"/>
                  </a:lnTo>
                  <a:lnTo>
                    <a:pt x="624" y="1294"/>
                  </a:lnTo>
                  <a:lnTo>
                    <a:pt x="630" y="1294"/>
                  </a:lnTo>
                  <a:lnTo>
                    <a:pt x="624" y="1296"/>
                  </a:lnTo>
                  <a:lnTo>
                    <a:pt x="626" y="1298"/>
                  </a:lnTo>
                  <a:lnTo>
                    <a:pt x="632" y="1300"/>
                  </a:lnTo>
                  <a:lnTo>
                    <a:pt x="638" y="1302"/>
                  </a:lnTo>
                  <a:lnTo>
                    <a:pt x="644" y="1296"/>
                  </a:lnTo>
                  <a:lnTo>
                    <a:pt x="644" y="1292"/>
                  </a:lnTo>
                  <a:lnTo>
                    <a:pt x="650" y="1294"/>
                  </a:lnTo>
                  <a:lnTo>
                    <a:pt x="656" y="1296"/>
                  </a:lnTo>
                  <a:lnTo>
                    <a:pt x="660" y="1296"/>
                  </a:lnTo>
                  <a:lnTo>
                    <a:pt x="660" y="1292"/>
                  </a:lnTo>
                  <a:lnTo>
                    <a:pt x="654" y="1292"/>
                  </a:lnTo>
                  <a:lnTo>
                    <a:pt x="648" y="1290"/>
                  </a:lnTo>
                  <a:lnTo>
                    <a:pt x="642" y="1290"/>
                  </a:lnTo>
                  <a:lnTo>
                    <a:pt x="636" y="1288"/>
                  </a:lnTo>
                  <a:lnTo>
                    <a:pt x="630" y="1288"/>
                  </a:lnTo>
                  <a:lnTo>
                    <a:pt x="636" y="1286"/>
                  </a:lnTo>
                  <a:lnTo>
                    <a:pt x="642" y="1288"/>
                  </a:lnTo>
                  <a:lnTo>
                    <a:pt x="648" y="1290"/>
                  </a:lnTo>
                  <a:lnTo>
                    <a:pt x="654" y="1292"/>
                  </a:lnTo>
                  <a:lnTo>
                    <a:pt x="660" y="1292"/>
                  </a:lnTo>
                  <a:lnTo>
                    <a:pt x="666" y="1290"/>
                  </a:lnTo>
                  <a:lnTo>
                    <a:pt x="664" y="1284"/>
                  </a:lnTo>
                  <a:lnTo>
                    <a:pt x="658" y="1284"/>
                  </a:lnTo>
                  <a:lnTo>
                    <a:pt x="664" y="1282"/>
                  </a:lnTo>
                  <a:lnTo>
                    <a:pt x="670" y="1282"/>
                  </a:lnTo>
                  <a:lnTo>
                    <a:pt x="666" y="1276"/>
                  </a:lnTo>
                  <a:lnTo>
                    <a:pt x="660" y="1274"/>
                  </a:lnTo>
                  <a:lnTo>
                    <a:pt x="666" y="1272"/>
                  </a:lnTo>
                  <a:lnTo>
                    <a:pt x="660" y="1272"/>
                  </a:lnTo>
                  <a:lnTo>
                    <a:pt x="654" y="1276"/>
                  </a:lnTo>
                  <a:lnTo>
                    <a:pt x="648" y="1276"/>
                  </a:lnTo>
                  <a:lnTo>
                    <a:pt x="654" y="1272"/>
                  </a:lnTo>
                  <a:lnTo>
                    <a:pt x="658" y="1268"/>
                  </a:lnTo>
                  <a:lnTo>
                    <a:pt x="652" y="1266"/>
                  </a:lnTo>
                  <a:lnTo>
                    <a:pt x="646" y="1264"/>
                  </a:lnTo>
                  <a:lnTo>
                    <a:pt x="640" y="1264"/>
                  </a:lnTo>
                  <a:lnTo>
                    <a:pt x="636" y="1262"/>
                  </a:lnTo>
                  <a:lnTo>
                    <a:pt x="628" y="1258"/>
                  </a:lnTo>
                  <a:lnTo>
                    <a:pt x="634" y="1260"/>
                  </a:lnTo>
                  <a:lnTo>
                    <a:pt x="640" y="1260"/>
                  </a:lnTo>
                  <a:lnTo>
                    <a:pt x="646" y="1262"/>
                  </a:lnTo>
                  <a:lnTo>
                    <a:pt x="652" y="1258"/>
                  </a:lnTo>
                  <a:lnTo>
                    <a:pt x="654" y="1262"/>
                  </a:lnTo>
                  <a:lnTo>
                    <a:pt x="660" y="1264"/>
                  </a:lnTo>
                  <a:lnTo>
                    <a:pt x="666" y="1268"/>
                  </a:lnTo>
                  <a:lnTo>
                    <a:pt x="672" y="1266"/>
                  </a:lnTo>
                  <a:lnTo>
                    <a:pt x="666" y="1262"/>
                  </a:lnTo>
                  <a:lnTo>
                    <a:pt x="672" y="1264"/>
                  </a:lnTo>
                  <a:lnTo>
                    <a:pt x="678" y="1262"/>
                  </a:lnTo>
                  <a:lnTo>
                    <a:pt x="684" y="1262"/>
                  </a:lnTo>
                  <a:lnTo>
                    <a:pt x="690" y="1260"/>
                  </a:lnTo>
                  <a:lnTo>
                    <a:pt x="684" y="1260"/>
                  </a:lnTo>
                  <a:lnTo>
                    <a:pt x="678" y="1258"/>
                  </a:lnTo>
                  <a:lnTo>
                    <a:pt x="684" y="1260"/>
                  </a:lnTo>
                  <a:lnTo>
                    <a:pt x="690" y="1258"/>
                  </a:lnTo>
                  <a:lnTo>
                    <a:pt x="696" y="1254"/>
                  </a:lnTo>
                  <a:lnTo>
                    <a:pt x="690" y="1256"/>
                  </a:lnTo>
                  <a:lnTo>
                    <a:pt x="684" y="1258"/>
                  </a:lnTo>
                  <a:lnTo>
                    <a:pt x="678" y="1256"/>
                  </a:lnTo>
                  <a:lnTo>
                    <a:pt x="672" y="1254"/>
                  </a:lnTo>
                  <a:lnTo>
                    <a:pt x="678" y="1256"/>
                  </a:lnTo>
                  <a:lnTo>
                    <a:pt x="684" y="1256"/>
                  </a:lnTo>
                  <a:lnTo>
                    <a:pt x="690" y="1256"/>
                  </a:lnTo>
                  <a:lnTo>
                    <a:pt x="692" y="1250"/>
                  </a:lnTo>
                  <a:lnTo>
                    <a:pt x="686" y="1248"/>
                  </a:lnTo>
                  <a:lnTo>
                    <a:pt x="680" y="1248"/>
                  </a:lnTo>
                  <a:lnTo>
                    <a:pt x="674" y="1246"/>
                  </a:lnTo>
                  <a:lnTo>
                    <a:pt x="670" y="1244"/>
                  </a:lnTo>
                  <a:lnTo>
                    <a:pt x="674" y="1246"/>
                  </a:lnTo>
                  <a:lnTo>
                    <a:pt x="680" y="1246"/>
                  </a:lnTo>
                  <a:lnTo>
                    <a:pt x="686" y="1246"/>
                  </a:lnTo>
                  <a:lnTo>
                    <a:pt x="692" y="1248"/>
                  </a:lnTo>
                  <a:lnTo>
                    <a:pt x="698" y="1246"/>
                  </a:lnTo>
                  <a:lnTo>
                    <a:pt x="694" y="1244"/>
                  </a:lnTo>
                  <a:lnTo>
                    <a:pt x="686" y="1244"/>
                  </a:lnTo>
                  <a:lnTo>
                    <a:pt x="682" y="1242"/>
                  </a:lnTo>
                  <a:lnTo>
                    <a:pt x="676" y="1240"/>
                  </a:lnTo>
                  <a:lnTo>
                    <a:pt x="670" y="1238"/>
                  </a:lnTo>
                  <a:lnTo>
                    <a:pt x="676" y="1240"/>
                  </a:lnTo>
                  <a:lnTo>
                    <a:pt x="682" y="1240"/>
                  </a:lnTo>
                  <a:lnTo>
                    <a:pt x="686" y="1242"/>
                  </a:lnTo>
                  <a:lnTo>
                    <a:pt x="694" y="1240"/>
                  </a:lnTo>
                  <a:lnTo>
                    <a:pt x="700" y="1240"/>
                  </a:lnTo>
                  <a:lnTo>
                    <a:pt x="702" y="1234"/>
                  </a:lnTo>
                  <a:lnTo>
                    <a:pt x="708" y="1230"/>
                  </a:lnTo>
                  <a:lnTo>
                    <a:pt x="702" y="1230"/>
                  </a:lnTo>
                  <a:lnTo>
                    <a:pt x="696" y="1230"/>
                  </a:lnTo>
                  <a:lnTo>
                    <a:pt x="690" y="1228"/>
                  </a:lnTo>
                  <a:lnTo>
                    <a:pt x="686" y="1228"/>
                  </a:lnTo>
                  <a:lnTo>
                    <a:pt x="680" y="1228"/>
                  </a:lnTo>
                  <a:lnTo>
                    <a:pt x="674" y="1228"/>
                  </a:lnTo>
                  <a:lnTo>
                    <a:pt x="668" y="1226"/>
                  </a:lnTo>
                  <a:lnTo>
                    <a:pt x="674" y="1226"/>
                  </a:lnTo>
                  <a:lnTo>
                    <a:pt x="680" y="1226"/>
                  </a:lnTo>
                  <a:lnTo>
                    <a:pt x="686" y="1226"/>
                  </a:lnTo>
                  <a:lnTo>
                    <a:pt x="692" y="1226"/>
                  </a:lnTo>
                  <a:lnTo>
                    <a:pt x="698" y="1228"/>
                  </a:lnTo>
                  <a:lnTo>
                    <a:pt x="704" y="1228"/>
                  </a:lnTo>
                  <a:lnTo>
                    <a:pt x="710" y="1224"/>
                  </a:lnTo>
                  <a:lnTo>
                    <a:pt x="704" y="1224"/>
                  </a:lnTo>
                  <a:lnTo>
                    <a:pt x="698" y="1222"/>
                  </a:lnTo>
                  <a:lnTo>
                    <a:pt x="690" y="1220"/>
                  </a:lnTo>
                  <a:lnTo>
                    <a:pt x="698" y="1220"/>
                  </a:lnTo>
                  <a:lnTo>
                    <a:pt x="704" y="1220"/>
                  </a:lnTo>
                  <a:lnTo>
                    <a:pt x="710" y="1222"/>
                  </a:lnTo>
                  <a:lnTo>
                    <a:pt x="716" y="1218"/>
                  </a:lnTo>
                  <a:lnTo>
                    <a:pt x="710" y="1218"/>
                  </a:lnTo>
                  <a:lnTo>
                    <a:pt x="704" y="1218"/>
                  </a:lnTo>
                  <a:lnTo>
                    <a:pt x="710" y="1216"/>
                  </a:lnTo>
                  <a:lnTo>
                    <a:pt x="704" y="1214"/>
                  </a:lnTo>
                  <a:lnTo>
                    <a:pt x="698" y="1214"/>
                  </a:lnTo>
                  <a:lnTo>
                    <a:pt x="692" y="1212"/>
                  </a:lnTo>
                  <a:lnTo>
                    <a:pt x="698" y="1212"/>
                  </a:lnTo>
                  <a:lnTo>
                    <a:pt x="704" y="1214"/>
                  </a:lnTo>
                  <a:lnTo>
                    <a:pt x="710" y="1214"/>
                  </a:lnTo>
                  <a:lnTo>
                    <a:pt x="716" y="1214"/>
                  </a:lnTo>
                  <a:lnTo>
                    <a:pt x="720" y="1212"/>
                  </a:lnTo>
                  <a:lnTo>
                    <a:pt x="726" y="1208"/>
                  </a:lnTo>
                  <a:lnTo>
                    <a:pt x="728" y="1200"/>
                  </a:lnTo>
                  <a:lnTo>
                    <a:pt x="722" y="1200"/>
                  </a:lnTo>
                  <a:lnTo>
                    <a:pt x="716" y="1200"/>
                  </a:lnTo>
                  <a:lnTo>
                    <a:pt x="710" y="1200"/>
                  </a:lnTo>
                  <a:lnTo>
                    <a:pt x="704" y="1196"/>
                  </a:lnTo>
                  <a:lnTo>
                    <a:pt x="710" y="1198"/>
                  </a:lnTo>
                  <a:lnTo>
                    <a:pt x="716" y="1200"/>
                  </a:lnTo>
                  <a:lnTo>
                    <a:pt x="722" y="1200"/>
                  </a:lnTo>
                  <a:lnTo>
                    <a:pt x="728" y="1200"/>
                  </a:lnTo>
                  <a:lnTo>
                    <a:pt x="734" y="1198"/>
                  </a:lnTo>
                  <a:lnTo>
                    <a:pt x="738" y="1192"/>
                  </a:lnTo>
                  <a:lnTo>
                    <a:pt x="744" y="1188"/>
                  </a:lnTo>
                  <a:lnTo>
                    <a:pt x="738" y="1190"/>
                  </a:lnTo>
                  <a:lnTo>
                    <a:pt x="732" y="1190"/>
                  </a:lnTo>
                  <a:lnTo>
                    <a:pt x="726" y="1188"/>
                  </a:lnTo>
                  <a:lnTo>
                    <a:pt x="720" y="1184"/>
                  </a:lnTo>
                  <a:lnTo>
                    <a:pt x="726" y="1186"/>
                  </a:lnTo>
                  <a:lnTo>
                    <a:pt x="732" y="1188"/>
                  </a:lnTo>
                  <a:lnTo>
                    <a:pt x="738" y="1186"/>
                  </a:lnTo>
                  <a:lnTo>
                    <a:pt x="744" y="1186"/>
                  </a:lnTo>
                  <a:lnTo>
                    <a:pt x="750" y="1182"/>
                  </a:lnTo>
                  <a:lnTo>
                    <a:pt x="748" y="1176"/>
                  </a:lnTo>
                  <a:lnTo>
                    <a:pt x="754" y="1176"/>
                  </a:lnTo>
                  <a:lnTo>
                    <a:pt x="754" y="1170"/>
                  </a:lnTo>
                  <a:lnTo>
                    <a:pt x="748" y="1170"/>
                  </a:lnTo>
                  <a:lnTo>
                    <a:pt x="742" y="1174"/>
                  </a:lnTo>
                  <a:lnTo>
                    <a:pt x="740" y="1174"/>
                  </a:lnTo>
                  <a:lnTo>
                    <a:pt x="746" y="1168"/>
                  </a:lnTo>
                  <a:lnTo>
                    <a:pt x="754" y="1162"/>
                  </a:lnTo>
                  <a:lnTo>
                    <a:pt x="758" y="1156"/>
                  </a:lnTo>
                  <a:lnTo>
                    <a:pt x="756" y="1152"/>
                  </a:lnTo>
                  <a:lnTo>
                    <a:pt x="750" y="1150"/>
                  </a:lnTo>
                  <a:lnTo>
                    <a:pt x="744" y="1148"/>
                  </a:lnTo>
                  <a:lnTo>
                    <a:pt x="738" y="1144"/>
                  </a:lnTo>
                  <a:lnTo>
                    <a:pt x="732" y="1140"/>
                  </a:lnTo>
                  <a:lnTo>
                    <a:pt x="738" y="1140"/>
                  </a:lnTo>
                  <a:lnTo>
                    <a:pt x="744" y="1140"/>
                  </a:lnTo>
                  <a:lnTo>
                    <a:pt x="750" y="1144"/>
                  </a:lnTo>
                  <a:lnTo>
                    <a:pt x="756" y="1146"/>
                  </a:lnTo>
                  <a:lnTo>
                    <a:pt x="762" y="1148"/>
                  </a:lnTo>
                  <a:lnTo>
                    <a:pt x="766" y="1148"/>
                  </a:lnTo>
                  <a:lnTo>
                    <a:pt x="762" y="1144"/>
                  </a:lnTo>
                  <a:lnTo>
                    <a:pt x="756" y="1140"/>
                  </a:lnTo>
                  <a:lnTo>
                    <a:pt x="762" y="1142"/>
                  </a:lnTo>
                  <a:lnTo>
                    <a:pt x="760" y="1136"/>
                  </a:lnTo>
                  <a:lnTo>
                    <a:pt x="754" y="1132"/>
                  </a:lnTo>
                  <a:lnTo>
                    <a:pt x="748" y="1136"/>
                  </a:lnTo>
                  <a:lnTo>
                    <a:pt x="742" y="1130"/>
                  </a:lnTo>
                  <a:lnTo>
                    <a:pt x="736" y="1128"/>
                  </a:lnTo>
                  <a:lnTo>
                    <a:pt x="730" y="1124"/>
                  </a:lnTo>
                  <a:lnTo>
                    <a:pt x="736" y="1126"/>
                  </a:lnTo>
                  <a:lnTo>
                    <a:pt x="742" y="1128"/>
                  </a:lnTo>
                  <a:lnTo>
                    <a:pt x="748" y="1128"/>
                  </a:lnTo>
                  <a:lnTo>
                    <a:pt x="754" y="1128"/>
                  </a:lnTo>
                  <a:lnTo>
                    <a:pt x="760" y="1126"/>
                  </a:lnTo>
                  <a:lnTo>
                    <a:pt x="758" y="1120"/>
                  </a:lnTo>
                  <a:lnTo>
                    <a:pt x="764" y="1120"/>
                  </a:lnTo>
                  <a:lnTo>
                    <a:pt x="758" y="1118"/>
                  </a:lnTo>
                  <a:lnTo>
                    <a:pt x="764" y="1118"/>
                  </a:lnTo>
                  <a:lnTo>
                    <a:pt x="770" y="1116"/>
                  </a:lnTo>
                  <a:lnTo>
                    <a:pt x="776" y="1122"/>
                  </a:lnTo>
                  <a:lnTo>
                    <a:pt x="780" y="1122"/>
                  </a:lnTo>
                  <a:lnTo>
                    <a:pt x="772" y="1122"/>
                  </a:lnTo>
                  <a:lnTo>
                    <a:pt x="766" y="1122"/>
                  </a:lnTo>
                  <a:lnTo>
                    <a:pt x="764" y="1128"/>
                  </a:lnTo>
                  <a:lnTo>
                    <a:pt x="766" y="1128"/>
                  </a:lnTo>
                  <a:lnTo>
                    <a:pt x="772" y="1128"/>
                  </a:lnTo>
                  <a:lnTo>
                    <a:pt x="778" y="1126"/>
                  </a:lnTo>
                  <a:lnTo>
                    <a:pt x="784" y="1124"/>
                  </a:lnTo>
                  <a:lnTo>
                    <a:pt x="782" y="1122"/>
                  </a:lnTo>
                  <a:lnTo>
                    <a:pt x="788" y="1118"/>
                  </a:lnTo>
                  <a:lnTo>
                    <a:pt x="794" y="1120"/>
                  </a:lnTo>
                  <a:lnTo>
                    <a:pt x="798" y="1114"/>
                  </a:lnTo>
                  <a:lnTo>
                    <a:pt x="804" y="1114"/>
                  </a:lnTo>
                  <a:lnTo>
                    <a:pt x="804" y="1108"/>
                  </a:lnTo>
                  <a:lnTo>
                    <a:pt x="798" y="1108"/>
                  </a:lnTo>
                  <a:lnTo>
                    <a:pt x="792" y="1108"/>
                  </a:lnTo>
                  <a:lnTo>
                    <a:pt x="786" y="1104"/>
                  </a:lnTo>
                  <a:lnTo>
                    <a:pt x="788" y="1098"/>
                  </a:lnTo>
                  <a:lnTo>
                    <a:pt x="792" y="1104"/>
                  </a:lnTo>
                  <a:lnTo>
                    <a:pt x="798" y="1104"/>
                  </a:lnTo>
                  <a:lnTo>
                    <a:pt x="804" y="1108"/>
                  </a:lnTo>
                  <a:lnTo>
                    <a:pt x="810" y="1106"/>
                  </a:lnTo>
                  <a:lnTo>
                    <a:pt x="808" y="1102"/>
                  </a:lnTo>
                  <a:lnTo>
                    <a:pt x="800" y="1098"/>
                  </a:lnTo>
                  <a:lnTo>
                    <a:pt x="808" y="1098"/>
                  </a:lnTo>
                  <a:lnTo>
                    <a:pt x="814" y="1104"/>
                  </a:lnTo>
                  <a:lnTo>
                    <a:pt x="820" y="1102"/>
                  </a:lnTo>
                  <a:lnTo>
                    <a:pt x="820" y="1096"/>
                  </a:lnTo>
                  <a:lnTo>
                    <a:pt x="816" y="1090"/>
                  </a:lnTo>
                  <a:lnTo>
                    <a:pt x="808" y="1090"/>
                  </a:lnTo>
                  <a:lnTo>
                    <a:pt x="808" y="1084"/>
                  </a:lnTo>
                  <a:lnTo>
                    <a:pt x="808" y="1082"/>
                  </a:lnTo>
                  <a:lnTo>
                    <a:pt x="814" y="1086"/>
                  </a:lnTo>
                  <a:lnTo>
                    <a:pt x="820" y="1090"/>
                  </a:lnTo>
                  <a:lnTo>
                    <a:pt x="826" y="1096"/>
                  </a:lnTo>
                  <a:lnTo>
                    <a:pt x="832" y="1096"/>
                  </a:lnTo>
                  <a:lnTo>
                    <a:pt x="838" y="1096"/>
                  </a:lnTo>
                  <a:lnTo>
                    <a:pt x="838" y="1092"/>
                  </a:lnTo>
                  <a:lnTo>
                    <a:pt x="832" y="1088"/>
                  </a:lnTo>
                  <a:lnTo>
                    <a:pt x="826" y="1084"/>
                  </a:lnTo>
                  <a:lnTo>
                    <a:pt x="822" y="1080"/>
                  </a:lnTo>
                  <a:lnTo>
                    <a:pt x="826" y="1084"/>
                  </a:lnTo>
                  <a:lnTo>
                    <a:pt x="832" y="1086"/>
                  </a:lnTo>
                  <a:lnTo>
                    <a:pt x="838" y="1090"/>
                  </a:lnTo>
                  <a:lnTo>
                    <a:pt x="832" y="1084"/>
                  </a:lnTo>
                  <a:lnTo>
                    <a:pt x="826" y="1082"/>
                  </a:lnTo>
                  <a:lnTo>
                    <a:pt x="832" y="1084"/>
                  </a:lnTo>
                  <a:lnTo>
                    <a:pt x="832" y="1078"/>
                  </a:lnTo>
                  <a:lnTo>
                    <a:pt x="838" y="1082"/>
                  </a:lnTo>
                  <a:lnTo>
                    <a:pt x="844" y="1084"/>
                  </a:lnTo>
                  <a:lnTo>
                    <a:pt x="840" y="1078"/>
                  </a:lnTo>
                  <a:lnTo>
                    <a:pt x="846" y="1082"/>
                  </a:lnTo>
                  <a:lnTo>
                    <a:pt x="850" y="1076"/>
                  </a:lnTo>
                  <a:lnTo>
                    <a:pt x="856" y="1078"/>
                  </a:lnTo>
                  <a:lnTo>
                    <a:pt x="862" y="1078"/>
                  </a:lnTo>
                  <a:lnTo>
                    <a:pt x="860" y="1072"/>
                  </a:lnTo>
                  <a:lnTo>
                    <a:pt x="854" y="1068"/>
                  </a:lnTo>
                  <a:lnTo>
                    <a:pt x="852" y="1068"/>
                  </a:lnTo>
                  <a:lnTo>
                    <a:pt x="846" y="1066"/>
                  </a:lnTo>
                  <a:lnTo>
                    <a:pt x="840" y="1064"/>
                  </a:lnTo>
                  <a:lnTo>
                    <a:pt x="834" y="1062"/>
                  </a:lnTo>
                  <a:lnTo>
                    <a:pt x="828" y="1062"/>
                  </a:lnTo>
                  <a:lnTo>
                    <a:pt x="834" y="1058"/>
                  </a:lnTo>
                  <a:lnTo>
                    <a:pt x="840" y="1062"/>
                  </a:lnTo>
                  <a:lnTo>
                    <a:pt x="846" y="1064"/>
                  </a:lnTo>
                  <a:lnTo>
                    <a:pt x="852" y="1064"/>
                  </a:lnTo>
                  <a:lnTo>
                    <a:pt x="858" y="1066"/>
                  </a:lnTo>
                  <a:lnTo>
                    <a:pt x="864" y="1068"/>
                  </a:lnTo>
                  <a:lnTo>
                    <a:pt x="870" y="1066"/>
                  </a:lnTo>
                  <a:lnTo>
                    <a:pt x="876" y="1066"/>
                  </a:lnTo>
                  <a:lnTo>
                    <a:pt x="876" y="1060"/>
                  </a:lnTo>
                  <a:lnTo>
                    <a:pt x="878" y="1056"/>
                  </a:lnTo>
                  <a:lnTo>
                    <a:pt x="872" y="1052"/>
                  </a:lnTo>
                  <a:lnTo>
                    <a:pt x="878" y="1050"/>
                  </a:lnTo>
                  <a:lnTo>
                    <a:pt x="884" y="1044"/>
                  </a:lnTo>
                  <a:lnTo>
                    <a:pt x="880" y="1038"/>
                  </a:lnTo>
                  <a:lnTo>
                    <a:pt x="874" y="1038"/>
                  </a:lnTo>
                  <a:lnTo>
                    <a:pt x="868" y="1038"/>
                  </a:lnTo>
                  <a:lnTo>
                    <a:pt x="862" y="1038"/>
                  </a:lnTo>
                  <a:lnTo>
                    <a:pt x="856" y="1038"/>
                  </a:lnTo>
                  <a:lnTo>
                    <a:pt x="852" y="1038"/>
                  </a:lnTo>
                  <a:lnTo>
                    <a:pt x="844" y="1032"/>
                  </a:lnTo>
                  <a:lnTo>
                    <a:pt x="852" y="1028"/>
                  </a:lnTo>
                  <a:lnTo>
                    <a:pt x="856" y="1028"/>
                  </a:lnTo>
                  <a:lnTo>
                    <a:pt x="864" y="1028"/>
                  </a:lnTo>
                  <a:lnTo>
                    <a:pt x="870" y="1028"/>
                  </a:lnTo>
                  <a:lnTo>
                    <a:pt x="876" y="1026"/>
                  </a:lnTo>
                  <a:lnTo>
                    <a:pt x="880" y="1024"/>
                  </a:lnTo>
                  <a:lnTo>
                    <a:pt x="886" y="1024"/>
                  </a:lnTo>
                  <a:lnTo>
                    <a:pt x="894" y="1028"/>
                  </a:lnTo>
                  <a:lnTo>
                    <a:pt x="898" y="1026"/>
                  </a:lnTo>
                  <a:lnTo>
                    <a:pt x="898" y="1022"/>
                  </a:lnTo>
                  <a:lnTo>
                    <a:pt x="892" y="1020"/>
                  </a:lnTo>
                  <a:lnTo>
                    <a:pt x="896" y="1014"/>
                  </a:lnTo>
                  <a:lnTo>
                    <a:pt x="898" y="1008"/>
                  </a:lnTo>
                  <a:lnTo>
                    <a:pt x="892" y="1002"/>
                  </a:lnTo>
                  <a:lnTo>
                    <a:pt x="886" y="998"/>
                  </a:lnTo>
                  <a:lnTo>
                    <a:pt x="880" y="992"/>
                  </a:lnTo>
                  <a:lnTo>
                    <a:pt x="886" y="988"/>
                  </a:lnTo>
                  <a:lnTo>
                    <a:pt x="886" y="984"/>
                  </a:lnTo>
                  <a:lnTo>
                    <a:pt x="892" y="982"/>
                  </a:lnTo>
                  <a:lnTo>
                    <a:pt x="898" y="982"/>
                  </a:lnTo>
                  <a:lnTo>
                    <a:pt x="904" y="982"/>
                  </a:lnTo>
                  <a:lnTo>
                    <a:pt x="910" y="980"/>
                  </a:lnTo>
                  <a:lnTo>
                    <a:pt x="916" y="984"/>
                  </a:lnTo>
                  <a:lnTo>
                    <a:pt x="922" y="986"/>
                  </a:lnTo>
                  <a:lnTo>
                    <a:pt x="928" y="984"/>
                  </a:lnTo>
                  <a:lnTo>
                    <a:pt x="934" y="980"/>
                  </a:lnTo>
                  <a:lnTo>
                    <a:pt x="936" y="980"/>
                  </a:lnTo>
                  <a:lnTo>
                    <a:pt x="932" y="978"/>
                  </a:lnTo>
                  <a:lnTo>
                    <a:pt x="936" y="978"/>
                  </a:lnTo>
                  <a:lnTo>
                    <a:pt x="938" y="976"/>
                  </a:lnTo>
                  <a:lnTo>
                    <a:pt x="938" y="974"/>
                  </a:lnTo>
                  <a:lnTo>
                    <a:pt x="944" y="970"/>
                  </a:lnTo>
                  <a:lnTo>
                    <a:pt x="950" y="972"/>
                  </a:lnTo>
                  <a:lnTo>
                    <a:pt x="946" y="966"/>
                  </a:lnTo>
                  <a:lnTo>
                    <a:pt x="952" y="962"/>
                  </a:lnTo>
                  <a:lnTo>
                    <a:pt x="946" y="960"/>
                  </a:lnTo>
                  <a:lnTo>
                    <a:pt x="944" y="960"/>
                  </a:lnTo>
                  <a:lnTo>
                    <a:pt x="938" y="958"/>
                  </a:lnTo>
                  <a:lnTo>
                    <a:pt x="942" y="952"/>
                  </a:lnTo>
                  <a:lnTo>
                    <a:pt x="948" y="952"/>
                  </a:lnTo>
                  <a:lnTo>
                    <a:pt x="948" y="954"/>
                  </a:lnTo>
                  <a:lnTo>
                    <a:pt x="954" y="956"/>
                  </a:lnTo>
                  <a:lnTo>
                    <a:pt x="958" y="950"/>
                  </a:lnTo>
                  <a:lnTo>
                    <a:pt x="964" y="946"/>
                  </a:lnTo>
                  <a:lnTo>
                    <a:pt x="970" y="948"/>
                  </a:lnTo>
                  <a:lnTo>
                    <a:pt x="974" y="954"/>
                  </a:lnTo>
                  <a:lnTo>
                    <a:pt x="978" y="952"/>
                  </a:lnTo>
                  <a:lnTo>
                    <a:pt x="984" y="950"/>
                  </a:lnTo>
                  <a:lnTo>
                    <a:pt x="982" y="944"/>
                  </a:lnTo>
                  <a:lnTo>
                    <a:pt x="988" y="946"/>
                  </a:lnTo>
                  <a:lnTo>
                    <a:pt x="996" y="950"/>
                  </a:lnTo>
                  <a:lnTo>
                    <a:pt x="1000" y="950"/>
                  </a:lnTo>
                  <a:lnTo>
                    <a:pt x="1006" y="950"/>
                  </a:lnTo>
                  <a:lnTo>
                    <a:pt x="1012" y="950"/>
                  </a:lnTo>
                  <a:lnTo>
                    <a:pt x="1008" y="946"/>
                  </a:lnTo>
                  <a:lnTo>
                    <a:pt x="1012" y="946"/>
                  </a:lnTo>
                  <a:lnTo>
                    <a:pt x="1018" y="944"/>
                  </a:lnTo>
                  <a:lnTo>
                    <a:pt x="1018" y="950"/>
                  </a:lnTo>
                  <a:lnTo>
                    <a:pt x="1024" y="946"/>
                  </a:lnTo>
                  <a:lnTo>
                    <a:pt x="1030" y="948"/>
                  </a:lnTo>
                  <a:lnTo>
                    <a:pt x="1036" y="942"/>
                  </a:lnTo>
                  <a:lnTo>
                    <a:pt x="1038" y="936"/>
                  </a:lnTo>
                  <a:lnTo>
                    <a:pt x="1034" y="934"/>
                  </a:lnTo>
                  <a:lnTo>
                    <a:pt x="1028" y="930"/>
                  </a:lnTo>
                  <a:lnTo>
                    <a:pt x="1030" y="924"/>
                  </a:lnTo>
                  <a:lnTo>
                    <a:pt x="1032" y="930"/>
                  </a:lnTo>
                  <a:lnTo>
                    <a:pt x="1038" y="932"/>
                  </a:lnTo>
                  <a:lnTo>
                    <a:pt x="1044" y="932"/>
                  </a:lnTo>
                  <a:lnTo>
                    <a:pt x="1050" y="926"/>
                  </a:lnTo>
                  <a:lnTo>
                    <a:pt x="1050" y="920"/>
                  </a:lnTo>
                  <a:lnTo>
                    <a:pt x="1056" y="918"/>
                  </a:lnTo>
                  <a:lnTo>
                    <a:pt x="1058" y="912"/>
                  </a:lnTo>
                  <a:lnTo>
                    <a:pt x="1066" y="908"/>
                  </a:lnTo>
                  <a:lnTo>
                    <a:pt x="1060" y="906"/>
                  </a:lnTo>
                  <a:lnTo>
                    <a:pt x="1054" y="902"/>
                  </a:lnTo>
                  <a:lnTo>
                    <a:pt x="1058" y="902"/>
                  </a:lnTo>
                  <a:lnTo>
                    <a:pt x="1066" y="904"/>
                  </a:lnTo>
                  <a:lnTo>
                    <a:pt x="1072" y="904"/>
                  </a:lnTo>
                  <a:lnTo>
                    <a:pt x="1076" y="906"/>
                  </a:lnTo>
                  <a:lnTo>
                    <a:pt x="1078" y="906"/>
                  </a:lnTo>
                  <a:lnTo>
                    <a:pt x="1084" y="904"/>
                  </a:lnTo>
                  <a:lnTo>
                    <a:pt x="1088" y="906"/>
                  </a:lnTo>
                  <a:lnTo>
                    <a:pt x="1096" y="908"/>
                  </a:lnTo>
                  <a:lnTo>
                    <a:pt x="1088" y="908"/>
                  </a:lnTo>
                  <a:lnTo>
                    <a:pt x="1084" y="912"/>
                  </a:lnTo>
                  <a:lnTo>
                    <a:pt x="1076" y="914"/>
                  </a:lnTo>
                  <a:lnTo>
                    <a:pt x="1072" y="920"/>
                  </a:lnTo>
                  <a:lnTo>
                    <a:pt x="1066" y="922"/>
                  </a:lnTo>
                  <a:lnTo>
                    <a:pt x="1060" y="926"/>
                  </a:lnTo>
                  <a:lnTo>
                    <a:pt x="1058" y="932"/>
                  </a:lnTo>
                  <a:lnTo>
                    <a:pt x="1064" y="930"/>
                  </a:lnTo>
                  <a:lnTo>
                    <a:pt x="1070" y="932"/>
                  </a:lnTo>
                  <a:lnTo>
                    <a:pt x="1076" y="936"/>
                  </a:lnTo>
                  <a:lnTo>
                    <a:pt x="1080" y="936"/>
                  </a:lnTo>
                  <a:lnTo>
                    <a:pt x="1088" y="936"/>
                  </a:lnTo>
                  <a:lnTo>
                    <a:pt x="1088" y="930"/>
                  </a:lnTo>
                  <a:lnTo>
                    <a:pt x="1088" y="924"/>
                  </a:lnTo>
                  <a:lnTo>
                    <a:pt x="1096" y="924"/>
                  </a:lnTo>
                  <a:lnTo>
                    <a:pt x="1090" y="930"/>
                  </a:lnTo>
                  <a:lnTo>
                    <a:pt x="1092" y="936"/>
                  </a:lnTo>
                  <a:lnTo>
                    <a:pt x="1098" y="930"/>
                  </a:lnTo>
                  <a:lnTo>
                    <a:pt x="1106" y="930"/>
                  </a:lnTo>
                  <a:lnTo>
                    <a:pt x="1110" y="928"/>
                  </a:lnTo>
                  <a:lnTo>
                    <a:pt x="1116" y="926"/>
                  </a:lnTo>
                  <a:lnTo>
                    <a:pt x="1118" y="920"/>
                  </a:lnTo>
                  <a:lnTo>
                    <a:pt x="1124" y="924"/>
                  </a:lnTo>
                  <a:lnTo>
                    <a:pt x="1122" y="932"/>
                  </a:lnTo>
                  <a:lnTo>
                    <a:pt x="1128" y="928"/>
                  </a:lnTo>
                  <a:lnTo>
                    <a:pt x="1136" y="930"/>
                  </a:lnTo>
                  <a:lnTo>
                    <a:pt x="1140" y="928"/>
                  </a:lnTo>
                  <a:lnTo>
                    <a:pt x="1148" y="922"/>
                  </a:lnTo>
                  <a:lnTo>
                    <a:pt x="1152" y="918"/>
                  </a:lnTo>
                  <a:lnTo>
                    <a:pt x="1158" y="918"/>
                  </a:lnTo>
                  <a:lnTo>
                    <a:pt x="1164" y="918"/>
                  </a:lnTo>
                  <a:lnTo>
                    <a:pt x="1162" y="912"/>
                  </a:lnTo>
                  <a:lnTo>
                    <a:pt x="1164" y="906"/>
                  </a:lnTo>
                  <a:lnTo>
                    <a:pt x="1158" y="902"/>
                  </a:lnTo>
                  <a:lnTo>
                    <a:pt x="1164" y="900"/>
                  </a:lnTo>
                  <a:lnTo>
                    <a:pt x="1166" y="906"/>
                  </a:lnTo>
                  <a:lnTo>
                    <a:pt x="1172" y="908"/>
                  </a:lnTo>
                  <a:lnTo>
                    <a:pt x="1178" y="908"/>
                  </a:lnTo>
                  <a:lnTo>
                    <a:pt x="1184" y="912"/>
                  </a:lnTo>
                  <a:lnTo>
                    <a:pt x="1190" y="912"/>
                  </a:lnTo>
                  <a:lnTo>
                    <a:pt x="1186" y="906"/>
                  </a:lnTo>
                  <a:lnTo>
                    <a:pt x="1190" y="900"/>
                  </a:lnTo>
                  <a:lnTo>
                    <a:pt x="1192" y="908"/>
                  </a:lnTo>
                  <a:lnTo>
                    <a:pt x="1198" y="908"/>
                  </a:lnTo>
                  <a:lnTo>
                    <a:pt x="1204" y="904"/>
                  </a:lnTo>
                  <a:lnTo>
                    <a:pt x="1210" y="902"/>
                  </a:lnTo>
                  <a:lnTo>
                    <a:pt x="1216" y="900"/>
                  </a:lnTo>
                  <a:lnTo>
                    <a:pt x="1222" y="894"/>
                  </a:lnTo>
                  <a:lnTo>
                    <a:pt x="1228" y="894"/>
                  </a:lnTo>
                  <a:lnTo>
                    <a:pt x="1224" y="888"/>
                  </a:lnTo>
                  <a:lnTo>
                    <a:pt x="1230" y="882"/>
                  </a:lnTo>
                  <a:lnTo>
                    <a:pt x="1230" y="888"/>
                  </a:lnTo>
                  <a:lnTo>
                    <a:pt x="1236" y="886"/>
                  </a:lnTo>
                  <a:lnTo>
                    <a:pt x="1232" y="890"/>
                  </a:lnTo>
                  <a:lnTo>
                    <a:pt x="1238" y="888"/>
                  </a:lnTo>
                  <a:lnTo>
                    <a:pt x="1244" y="884"/>
                  </a:lnTo>
                  <a:lnTo>
                    <a:pt x="1248" y="878"/>
                  </a:lnTo>
                  <a:lnTo>
                    <a:pt x="1254" y="880"/>
                  </a:lnTo>
                  <a:lnTo>
                    <a:pt x="1252" y="874"/>
                  </a:lnTo>
                  <a:lnTo>
                    <a:pt x="1254" y="868"/>
                  </a:lnTo>
                  <a:lnTo>
                    <a:pt x="1262" y="868"/>
                  </a:lnTo>
                  <a:lnTo>
                    <a:pt x="1258" y="866"/>
                  </a:lnTo>
                  <a:lnTo>
                    <a:pt x="1262" y="864"/>
                  </a:lnTo>
                  <a:lnTo>
                    <a:pt x="1268" y="864"/>
                  </a:lnTo>
                  <a:lnTo>
                    <a:pt x="1274" y="860"/>
                  </a:lnTo>
                  <a:lnTo>
                    <a:pt x="1280" y="858"/>
                  </a:lnTo>
                  <a:lnTo>
                    <a:pt x="1280" y="852"/>
                  </a:lnTo>
                  <a:lnTo>
                    <a:pt x="1288" y="850"/>
                  </a:lnTo>
                  <a:lnTo>
                    <a:pt x="1286" y="844"/>
                  </a:lnTo>
                  <a:lnTo>
                    <a:pt x="1292" y="844"/>
                  </a:lnTo>
                  <a:lnTo>
                    <a:pt x="1296" y="840"/>
                  </a:lnTo>
                  <a:lnTo>
                    <a:pt x="1296" y="834"/>
                  </a:lnTo>
                  <a:lnTo>
                    <a:pt x="1302" y="834"/>
                  </a:lnTo>
                  <a:lnTo>
                    <a:pt x="1308" y="830"/>
                  </a:lnTo>
                  <a:lnTo>
                    <a:pt x="1312" y="824"/>
                  </a:lnTo>
                  <a:lnTo>
                    <a:pt x="1318" y="824"/>
                  </a:lnTo>
                  <a:lnTo>
                    <a:pt x="1324" y="824"/>
                  </a:lnTo>
                  <a:lnTo>
                    <a:pt x="1330" y="822"/>
                  </a:lnTo>
                  <a:lnTo>
                    <a:pt x="1336" y="818"/>
                  </a:lnTo>
                  <a:lnTo>
                    <a:pt x="1340" y="814"/>
                  </a:lnTo>
                  <a:lnTo>
                    <a:pt x="1346" y="814"/>
                  </a:lnTo>
                  <a:lnTo>
                    <a:pt x="1352" y="814"/>
                  </a:lnTo>
                  <a:lnTo>
                    <a:pt x="1358" y="816"/>
                  </a:lnTo>
                  <a:lnTo>
                    <a:pt x="1362" y="810"/>
                  </a:lnTo>
                  <a:lnTo>
                    <a:pt x="1364" y="804"/>
                  </a:lnTo>
                  <a:lnTo>
                    <a:pt x="1368" y="804"/>
                  </a:lnTo>
                  <a:lnTo>
                    <a:pt x="1366" y="796"/>
                  </a:lnTo>
                  <a:lnTo>
                    <a:pt x="1360" y="796"/>
                  </a:lnTo>
                  <a:lnTo>
                    <a:pt x="1354" y="792"/>
                  </a:lnTo>
                  <a:lnTo>
                    <a:pt x="1360" y="794"/>
                  </a:lnTo>
                  <a:lnTo>
                    <a:pt x="1366" y="792"/>
                  </a:lnTo>
                  <a:lnTo>
                    <a:pt x="1360" y="786"/>
                  </a:lnTo>
                  <a:lnTo>
                    <a:pt x="1356" y="784"/>
                  </a:lnTo>
                  <a:lnTo>
                    <a:pt x="1354" y="776"/>
                  </a:lnTo>
                  <a:lnTo>
                    <a:pt x="1360" y="776"/>
                  </a:lnTo>
                  <a:lnTo>
                    <a:pt x="1362" y="770"/>
                  </a:lnTo>
                  <a:lnTo>
                    <a:pt x="1364" y="776"/>
                  </a:lnTo>
                  <a:lnTo>
                    <a:pt x="1366" y="782"/>
                  </a:lnTo>
                  <a:lnTo>
                    <a:pt x="1372" y="780"/>
                  </a:lnTo>
                  <a:lnTo>
                    <a:pt x="1372" y="784"/>
                  </a:lnTo>
                  <a:lnTo>
                    <a:pt x="1374" y="792"/>
                  </a:lnTo>
                  <a:lnTo>
                    <a:pt x="1380" y="790"/>
                  </a:lnTo>
                  <a:lnTo>
                    <a:pt x="1386" y="792"/>
                  </a:lnTo>
                  <a:lnTo>
                    <a:pt x="1392" y="792"/>
                  </a:lnTo>
                  <a:lnTo>
                    <a:pt x="1386" y="796"/>
                  </a:lnTo>
                  <a:lnTo>
                    <a:pt x="1386" y="802"/>
                  </a:lnTo>
                  <a:lnTo>
                    <a:pt x="1392" y="802"/>
                  </a:lnTo>
                  <a:lnTo>
                    <a:pt x="1398" y="800"/>
                  </a:lnTo>
                  <a:lnTo>
                    <a:pt x="1404" y="802"/>
                  </a:lnTo>
                  <a:lnTo>
                    <a:pt x="1410" y="802"/>
                  </a:lnTo>
                  <a:lnTo>
                    <a:pt x="1416" y="804"/>
                  </a:lnTo>
                  <a:lnTo>
                    <a:pt x="1422" y="802"/>
                  </a:lnTo>
                  <a:lnTo>
                    <a:pt x="1428" y="802"/>
                  </a:lnTo>
                  <a:lnTo>
                    <a:pt x="1434" y="802"/>
                  </a:lnTo>
                  <a:lnTo>
                    <a:pt x="1440" y="800"/>
                  </a:lnTo>
                  <a:lnTo>
                    <a:pt x="1436" y="794"/>
                  </a:lnTo>
                  <a:lnTo>
                    <a:pt x="1430" y="792"/>
                  </a:lnTo>
                  <a:lnTo>
                    <a:pt x="1436" y="792"/>
                  </a:lnTo>
                  <a:lnTo>
                    <a:pt x="1442" y="798"/>
                  </a:lnTo>
                  <a:lnTo>
                    <a:pt x="1448" y="802"/>
                  </a:lnTo>
                  <a:lnTo>
                    <a:pt x="1454" y="800"/>
                  </a:lnTo>
                  <a:lnTo>
                    <a:pt x="1460" y="800"/>
                  </a:lnTo>
                  <a:lnTo>
                    <a:pt x="1456" y="792"/>
                  </a:lnTo>
                  <a:lnTo>
                    <a:pt x="1450" y="792"/>
                  </a:lnTo>
                  <a:lnTo>
                    <a:pt x="1456" y="790"/>
                  </a:lnTo>
                  <a:lnTo>
                    <a:pt x="1462" y="792"/>
                  </a:lnTo>
                  <a:lnTo>
                    <a:pt x="1464" y="790"/>
                  </a:lnTo>
                  <a:lnTo>
                    <a:pt x="1466" y="784"/>
                  </a:lnTo>
                  <a:lnTo>
                    <a:pt x="1468" y="784"/>
                  </a:lnTo>
                  <a:lnTo>
                    <a:pt x="1474" y="788"/>
                  </a:lnTo>
                  <a:lnTo>
                    <a:pt x="1480" y="792"/>
                  </a:lnTo>
                  <a:lnTo>
                    <a:pt x="1486" y="794"/>
                  </a:lnTo>
                  <a:lnTo>
                    <a:pt x="1492" y="792"/>
                  </a:lnTo>
                  <a:lnTo>
                    <a:pt x="1498" y="788"/>
                  </a:lnTo>
                  <a:lnTo>
                    <a:pt x="1504" y="788"/>
                  </a:lnTo>
                  <a:lnTo>
                    <a:pt x="1504" y="784"/>
                  </a:lnTo>
                  <a:lnTo>
                    <a:pt x="1510" y="786"/>
                  </a:lnTo>
                  <a:lnTo>
                    <a:pt x="1516" y="788"/>
                  </a:lnTo>
                  <a:lnTo>
                    <a:pt x="1520" y="784"/>
                  </a:lnTo>
                  <a:lnTo>
                    <a:pt x="1526" y="784"/>
                  </a:lnTo>
                  <a:lnTo>
                    <a:pt x="1532" y="782"/>
                  </a:lnTo>
                  <a:lnTo>
                    <a:pt x="1538" y="780"/>
                  </a:lnTo>
                  <a:lnTo>
                    <a:pt x="1544" y="776"/>
                  </a:lnTo>
                  <a:lnTo>
                    <a:pt x="1550" y="780"/>
                  </a:lnTo>
                  <a:lnTo>
                    <a:pt x="1556" y="780"/>
                  </a:lnTo>
                  <a:lnTo>
                    <a:pt x="1558" y="772"/>
                  </a:lnTo>
                  <a:lnTo>
                    <a:pt x="1564" y="778"/>
                  </a:lnTo>
                  <a:lnTo>
                    <a:pt x="1572" y="774"/>
                  </a:lnTo>
                  <a:lnTo>
                    <a:pt x="1576" y="772"/>
                  </a:lnTo>
                  <a:lnTo>
                    <a:pt x="1582" y="774"/>
                  </a:lnTo>
                  <a:lnTo>
                    <a:pt x="1588" y="772"/>
                  </a:lnTo>
                  <a:lnTo>
                    <a:pt x="1594" y="772"/>
                  </a:lnTo>
                  <a:lnTo>
                    <a:pt x="1600" y="772"/>
                  </a:lnTo>
                  <a:lnTo>
                    <a:pt x="1606" y="768"/>
                  </a:lnTo>
                  <a:lnTo>
                    <a:pt x="1612" y="768"/>
                  </a:lnTo>
                  <a:lnTo>
                    <a:pt x="1618" y="768"/>
                  </a:lnTo>
                  <a:lnTo>
                    <a:pt x="1624" y="768"/>
                  </a:lnTo>
                  <a:lnTo>
                    <a:pt x="1630" y="768"/>
                  </a:lnTo>
                  <a:lnTo>
                    <a:pt x="1638" y="766"/>
                  </a:lnTo>
                  <a:lnTo>
                    <a:pt x="1642" y="760"/>
                  </a:lnTo>
                  <a:lnTo>
                    <a:pt x="1648" y="760"/>
                  </a:lnTo>
                  <a:lnTo>
                    <a:pt x="1654" y="760"/>
                  </a:lnTo>
                  <a:lnTo>
                    <a:pt x="1660" y="756"/>
                  </a:lnTo>
                  <a:lnTo>
                    <a:pt x="1666" y="754"/>
                  </a:lnTo>
                  <a:lnTo>
                    <a:pt x="1672" y="750"/>
                  </a:lnTo>
                  <a:lnTo>
                    <a:pt x="1678" y="748"/>
                  </a:lnTo>
                  <a:lnTo>
                    <a:pt x="1672" y="746"/>
                  </a:lnTo>
                  <a:lnTo>
                    <a:pt x="1678" y="744"/>
                  </a:lnTo>
                  <a:lnTo>
                    <a:pt x="1684" y="744"/>
                  </a:lnTo>
                  <a:lnTo>
                    <a:pt x="1690" y="746"/>
                  </a:lnTo>
                  <a:lnTo>
                    <a:pt x="1688" y="740"/>
                  </a:lnTo>
                  <a:lnTo>
                    <a:pt x="1694" y="742"/>
                  </a:lnTo>
                  <a:lnTo>
                    <a:pt x="1700" y="740"/>
                  </a:lnTo>
                  <a:lnTo>
                    <a:pt x="1704" y="734"/>
                  </a:lnTo>
                  <a:lnTo>
                    <a:pt x="1698" y="734"/>
                  </a:lnTo>
                  <a:lnTo>
                    <a:pt x="1704" y="730"/>
                  </a:lnTo>
                  <a:lnTo>
                    <a:pt x="1710" y="732"/>
                  </a:lnTo>
                  <a:lnTo>
                    <a:pt x="1716" y="734"/>
                  </a:lnTo>
                  <a:lnTo>
                    <a:pt x="1722" y="732"/>
                  </a:lnTo>
                  <a:lnTo>
                    <a:pt x="1716" y="730"/>
                  </a:lnTo>
                  <a:lnTo>
                    <a:pt x="1722" y="730"/>
                  </a:lnTo>
                  <a:lnTo>
                    <a:pt x="1720" y="724"/>
                  </a:lnTo>
                  <a:lnTo>
                    <a:pt x="1726" y="724"/>
                  </a:lnTo>
                  <a:lnTo>
                    <a:pt x="1732" y="726"/>
                  </a:lnTo>
                  <a:lnTo>
                    <a:pt x="1736" y="722"/>
                  </a:lnTo>
                  <a:lnTo>
                    <a:pt x="1740" y="722"/>
                  </a:lnTo>
                  <a:lnTo>
                    <a:pt x="1746" y="724"/>
                  </a:lnTo>
                  <a:lnTo>
                    <a:pt x="1750" y="718"/>
                  </a:lnTo>
                  <a:lnTo>
                    <a:pt x="1744" y="714"/>
                  </a:lnTo>
                  <a:lnTo>
                    <a:pt x="1750" y="714"/>
                  </a:lnTo>
                  <a:lnTo>
                    <a:pt x="1756" y="714"/>
                  </a:lnTo>
                  <a:lnTo>
                    <a:pt x="1762" y="718"/>
                  </a:lnTo>
                  <a:lnTo>
                    <a:pt x="1768" y="716"/>
                  </a:lnTo>
                  <a:lnTo>
                    <a:pt x="1774" y="712"/>
                  </a:lnTo>
                  <a:lnTo>
                    <a:pt x="1770" y="706"/>
                  </a:lnTo>
                  <a:lnTo>
                    <a:pt x="1764" y="704"/>
                  </a:lnTo>
                  <a:lnTo>
                    <a:pt x="1770" y="704"/>
                  </a:lnTo>
                  <a:lnTo>
                    <a:pt x="1776" y="706"/>
                  </a:lnTo>
                  <a:lnTo>
                    <a:pt x="1782" y="704"/>
                  </a:lnTo>
                  <a:lnTo>
                    <a:pt x="1788" y="704"/>
                  </a:lnTo>
                  <a:lnTo>
                    <a:pt x="1788" y="698"/>
                  </a:lnTo>
                  <a:lnTo>
                    <a:pt x="1794" y="700"/>
                  </a:lnTo>
                  <a:lnTo>
                    <a:pt x="1800" y="704"/>
                  </a:lnTo>
                  <a:lnTo>
                    <a:pt x="1806" y="702"/>
                  </a:lnTo>
                  <a:lnTo>
                    <a:pt x="1800" y="698"/>
                  </a:lnTo>
                  <a:lnTo>
                    <a:pt x="1794" y="698"/>
                  </a:lnTo>
                  <a:lnTo>
                    <a:pt x="1800" y="696"/>
                  </a:lnTo>
                  <a:lnTo>
                    <a:pt x="1806" y="694"/>
                  </a:lnTo>
                  <a:lnTo>
                    <a:pt x="1812" y="696"/>
                  </a:lnTo>
                  <a:lnTo>
                    <a:pt x="1818" y="692"/>
                  </a:lnTo>
                  <a:lnTo>
                    <a:pt x="1824" y="692"/>
                  </a:lnTo>
                  <a:lnTo>
                    <a:pt x="1830" y="690"/>
                  </a:lnTo>
                  <a:lnTo>
                    <a:pt x="1832" y="690"/>
                  </a:lnTo>
                  <a:lnTo>
                    <a:pt x="1838" y="690"/>
                  </a:lnTo>
                  <a:lnTo>
                    <a:pt x="1842" y="686"/>
                  </a:lnTo>
                  <a:lnTo>
                    <a:pt x="1838" y="682"/>
                  </a:lnTo>
                  <a:lnTo>
                    <a:pt x="1830" y="684"/>
                  </a:lnTo>
                  <a:lnTo>
                    <a:pt x="1824" y="684"/>
                  </a:lnTo>
                  <a:lnTo>
                    <a:pt x="1818" y="684"/>
                  </a:lnTo>
                  <a:lnTo>
                    <a:pt x="1812" y="684"/>
                  </a:lnTo>
                  <a:lnTo>
                    <a:pt x="1806" y="684"/>
                  </a:lnTo>
                  <a:lnTo>
                    <a:pt x="1800" y="684"/>
                  </a:lnTo>
                  <a:lnTo>
                    <a:pt x="1794" y="684"/>
                  </a:lnTo>
                  <a:lnTo>
                    <a:pt x="1788" y="684"/>
                  </a:lnTo>
                  <a:lnTo>
                    <a:pt x="1782" y="682"/>
                  </a:lnTo>
                  <a:lnTo>
                    <a:pt x="1776" y="682"/>
                  </a:lnTo>
                  <a:lnTo>
                    <a:pt x="1770" y="682"/>
                  </a:lnTo>
                  <a:lnTo>
                    <a:pt x="1764" y="678"/>
                  </a:lnTo>
                  <a:lnTo>
                    <a:pt x="1758" y="678"/>
                  </a:lnTo>
                  <a:lnTo>
                    <a:pt x="1752" y="676"/>
                  </a:lnTo>
                  <a:lnTo>
                    <a:pt x="1746" y="676"/>
                  </a:lnTo>
                  <a:lnTo>
                    <a:pt x="1740" y="674"/>
                  </a:lnTo>
                  <a:lnTo>
                    <a:pt x="1734" y="672"/>
                  </a:lnTo>
                  <a:lnTo>
                    <a:pt x="1728" y="670"/>
                  </a:lnTo>
                  <a:lnTo>
                    <a:pt x="1722" y="670"/>
                  </a:lnTo>
                  <a:lnTo>
                    <a:pt x="1716" y="672"/>
                  </a:lnTo>
                  <a:lnTo>
                    <a:pt x="1710" y="674"/>
                  </a:lnTo>
                  <a:lnTo>
                    <a:pt x="1714" y="668"/>
                  </a:lnTo>
                  <a:lnTo>
                    <a:pt x="1708" y="666"/>
                  </a:lnTo>
                  <a:lnTo>
                    <a:pt x="1702" y="668"/>
                  </a:lnTo>
                  <a:lnTo>
                    <a:pt x="1696" y="670"/>
                  </a:lnTo>
                  <a:lnTo>
                    <a:pt x="1690" y="670"/>
                  </a:lnTo>
                  <a:lnTo>
                    <a:pt x="1684" y="672"/>
                  </a:lnTo>
                  <a:lnTo>
                    <a:pt x="1678" y="674"/>
                  </a:lnTo>
                  <a:lnTo>
                    <a:pt x="1672" y="676"/>
                  </a:lnTo>
                  <a:lnTo>
                    <a:pt x="1666" y="678"/>
                  </a:lnTo>
                  <a:lnTo>
                    <a:pt x="1660" y="678"/>
                  </a:lnTo>
                  <a:lnTo>
                    <a:pt x="1654" y="678"/>
                  </a:lnTo>
                  <a:lnTo>
                    <a:pt x="1648" y="674"/>
                  </a:lnTo>
                  <a:lnTo>
                    <a:pt x="1642" y="674"/>
                  </a:lnTo>
                  <a:lnTo>
                    <a:pt x="1634" y="678"/>
                  </a:lnTo>
                  <a:lnTo>
                    <a:pt x="1630" y="678"/>
                  </a:lnTo>
                  <a:lnTo>
                    <a:pt x="1624" y="684"/>
                  </a:lnTo>
                  <a:lnTo>
                    <a:pt x="1618" y="690"/>
                  </a:lnTo>
                  <a:lnTo>
                    <a:pt x="1612" y="692"/>
                  </a:lnTo>
                  <a:lnTo>
                    <a:pt x="1608" y="690"/>
                  </a:lnTo>
                  <a:lnTo>
                    <a:pt x="1606" y="686"/>
                  </a:lnTo>
                  <a:lnTo>
                    <a:pt x="1600" y="686"/>
                  </a:lnTo>
                  <a:lnTo>
                    <a:pt x="1594" y="688"/>
                  </a:lnTo>
                  <a:lnTo>
                    <a:pt x="1588" y="688"/>
                  </a:lnTo>
                  <a:lnTo>
                    <a:pt x="1582" y="686"/>
                  </a:lnTo>
                  <a:lnTo>
                    <a:pt x="1576" y="686"/>
                  </a:lnTo>
                  <a:lnTo>
                    <a:pt x="1570" y="686"/>
                  </a:lnTo>
                  <a:lnTo>
                    <a:pt x="1564" y="684"/>
                  </a:lnTo>
                  <a:lnTo>
                    <a:pt x="1570" y="684"/>
                  </a:lnTo>
                  <a:lnTo>
                    <a:pt x="1576" y="682"/>
                  </a:lnTo>
                  <a:lnTo>
                    <a:pt x="1582" y="682"/>
                  </a:lnTo>
                  <a:lnTo>
                    <a:pt x="1588" y="682"/>
                  </a:lnTo>
                  <a:lnTo>
                    <a:pt x="1594" y="684"/>
                  </a:lnTo>
                  <a:lnTo>
                    <a:pt x="1600" y="682"/>
                  </a:lnTo>
                  <a:lnTo>
                    <a:pt x="1606" y="682"/>
                  </a:lnTo>
                  <a:lnTo>
                    <a:pt x="1612" y="680"/>
                  </a:lnTo>
                  <a:lnTo>
                    <a:pt x="1618" y="678"/>
                  </a:lnTo>
                  <a:lnTo>
                    <a:pt x="1624" y="674"/>
                  </a:lnTo>
                  <a:lnTo>
                    <a:pt x="1630" y="674"/>
                  </a:lnTo>
                  <a:lnTo>
                    <a:pt x="1636" y="672"/>
                  </a:lnTo>
                  <a:lnTo>
                    <a:pt x="1642" y="672"/>
                  </a:lnTo>
                  <a:lnTo>
                    <a:pt x="1648" y="672"/>
                  </a:lnTo>
                  <a:lnTo>
                    <a:pt x="1654" y="672"/>
                  </a:lnTo>
                  <a:lnTo>
                    <a:pt x="1660" y="670"/>
                  </a:lnTo>
                  <a:lnTo>
                    <a:pt x="1666" y="666"/>
                  </a:lnTo>
                  <a:lnTo>
                    <a:pt x="1660" y="662"/>
                  </a:lnTo>
                  <a:lnTo>
                    <a:pt x="1654" y="662"/>
                  </a:lnTo>
                  <a:lnTo>
                    <a:pt x="1648" y="662"/>
                  </a:lnTo>
                  <a:lnTo>
                    <a:pt x="1642" y="664"/>
                  </a:lnTo>
                  <a:lnTo>
                    <a:pt x="1636" y="664"/>
                  </a:lnTo>
                  <a:lnTo>
                    <a:pt x="1630" y="664"/>
                  </a:lnTo>
                  <a:lnTo>
                    <a:pt x="1624" y="664"/>
                  </a:lnTo>
                  <a:lnTo>
                    <a:pt x="1618" y="664"/>
                  </a:lnTo>
                  <a:lnTo>
                    <a:pt x="1612" y="666"/>
                  </a:lnTo>
                  <a:lnTo>
                    <a:pt x="1606" y="666"/>
                  </a:lnTo>
                  <a:lnTo>
                    <a:pt x="1600" y="666"/>
                  </a:lnTo>
                  <a:lnTo>
                    <a:pt x="1592" y="668"/>
                  </a:lnTo>
                  <a:lnTo>
                    <a:pt x="1588" y="668"/>
                  </a:lnTo>
                  <a:lnTo>
                    <a:pt x="1582" y="666"/>
                  </a:lnTo>
                  <a:lnTo>
                    <a:pt x="1580" y="660"/>
                  </a:lnTo>
                  <a:lnTo>
                    <a:pt x="1572" y="662"/>
                  </a:lnTo>
                  <a:lnTo>
                    <a:pt x="1566" y="662"/>
                  </a:lnTo>
                  <a:lnTo>
                    <a:pt x="1560" y="662"/>
                  </a:lnTo>
                  <a:lnTo>
                    <a:pt x="1554" y="664"/>
                  </a:lnTo>
                  <a:lnTo>
                    <a:pt x="1548" y="666"/>
                  </a:lnTo>
                  <a:lnTo>
                    <a:pt x="1542" y="662"/>
                  </a:lnTo>
                  <a:lnTo>
                    <a:pt x="1548" y="662"/>
                  </a:lnTo>
                  <a:lnTo>
                    <a:pt x="1554" y="662"/>
                  </a:lnTo>
                  <a:lnTo>
                    <a:pt x="1560" y="660"/>
                  </a:lnTo>
                  <a:lnTo>
                    <a:pt x="1566" y="660"/>
                  </a:lnTo>
                  <a:lnTo>
                    <a:pt x="1572" y="658"/>
                  </a:lnTo>
                  <a:lnTo>
                    <a:pt x="1580" y="658"/>
                  </a:lnTo>
                  <a:lnTo>
                    <a:pt x="1586" y="654"/>
                  </a:lnTo>
                  <a:lnTo>
                    <a:pt x="1592" y="652"/>
                  </a:lnTo>
                  <a:lnTo>
                    <a:pt x="1598" y="650"/>
                  </a:lnTo>
                  <a:lnTo>
                    <a:pt x="1604" y="644"/>
                  </a:lnTo>
                  <a:lnTo>
                    <a:pt x="1604" y="638"/>
                  </a:lnTo>
                  <a:lnTo>
                    <a:pt x="1596" y="636"/>
                  </a:lnTo>
                  <a:lnTo>
                    <a:pt x="1592" y="632"/>
                  </a:lnTo>
                  <a:lnTo>
                    <a:pt x="1596" y="634"/>
                  </a:lnTo>
                  <a:lnTo>
                    <a:pt x="1604" y="632"/>
                  </a:lnTo>
                  <a:lnTo>
                    <a:pt x="1610" y="634"/>
                  </a:lnTo>
                  <a:lnTo>
                    <a:pt x="1616" y="634"/>
                  </a:lnTo>
                  <a:lnTo>
                    <a:pt x="1622" y="634"/>
                  </a:lnTo>
                  <a:lnTo>
                    <a:pt x="1616" y="630"/>
                  </a:lnTo>
                  <a:lnTo>
                    <a:pt x="1614" y="624"/>
                  </a:lnTo>
                  <a:lnTo>
                    <a:pt x="1620" y="624"/>
                  </a:lnTo>
                  <a:lnTo>
                    <a:pt x="1624" y="630"/>
                  </a:lnTo>
                  <a:lnTo>
                    <a:pt x="1630" y="636"/>
                  </a:lnTo>
                  <a:lnTo>
                    <a:pt x="1636" y="636"/>
                  </a:lnTo>
                  <a:lnTo>
                    <a:pt x="1642" y="636"/>
                  </a:lnTo>
                  <a:lnTo>
                    <a:pt x="1648" y="636"/>
                  </a:lnTo>
                  <a:lnTo>
                    <a:pt x="1654" y="636"/>
                  </a:lnTo>
                  <a:lnTo>
                    <a:pt x="1660" y="636"/>
                  </a:lnTo>
                  <a:lnTo>
                    <a:pt x="1666" y="634"/>
                  </a:lnTo>
                  <a:lnTo>
                    <a:pt x="1672" y="634"/>
                  </a:lnTo>
                  <a:lnTo>
                    <a:pt x="1678" y="632"/>
                  </a:lnTo>
                  <a:lnTo>
                    <a:pt x="1686" y="630"/>
                  </a:lnTo>
                  <a:lnTo>
                    <a:pt x="1690" y="628"/>
                  </a:lnTo>
                  <a:lnTo>
                    <a:pt x="1696" y="628"/>
                  </a:lnTo>
                  <a:lnTo>
                    <a:pt x="1702" y="626"/>
                  </a:lnTo>
                  <a:lnTo>
                    <a:pt x="1704" y="626"/>
                  </a:lnTo>
                  <a:lnTo>
                    <a:pt x="1710" y="624"/>
                  </a:lnTo>
                  <a:lnTo>
                    <a:pt x="1712" y="618"/>
                  </a:lnTo>
                  <a:lnTo>
                    <a:pt x="1718" y="620"/>
                  </a:lnTo>
                  <a:lnTo>
                    <a:pt x="1724" y="616"/>
                  </a:lnTo>
                  <a:lnTo>
                    <a:pt x="1724" y="610"/>
                  </a:lnTo>
                  <a:lnTo>
                    <a:pt x="1716" y="606"/>
                  </a:lnTo>
                  <a:lnTo>
                    <a:pt x="1712" y="604"/>
                  </a:lnTo>
                  <a:lnTo>
                    <a:pt x="1704" y="604"/>
                  </a:lnTo>
                  <a:lnTo>
                    <a:pt x="1698" y="604"/>
                  </a:lnTo>
                  <a:lnTo>
                    <a:pt x="1692" y="604"/>
                  </a:lnTo>
                  <a:lnTo>
                    <a:pt x="1686" y="604"/>
                  </a:lnTo>
                  <a:lnTo>
                    <a:pt x="1680" y="604"/>
                  </a:lnTo>
                  <a:lnTo>
                    <a:pt x="1674" y="606"/>
                  </a:lnTo>
                  <a:lnTo>
                    <a:pt x="1668" y="604"/>
                  </a:lnTo>
                  <a:lnTo>
                    <a:pt x="1662" y="602"/>
                  </a:lnTo>
                  <a:lnTo>
                    <a:pt x="1656" y="602"/>
                  </a:lnTo>
                  <a:lnTo>
                    <a:pt x="1650" y="602"/>
                  </a:lnTo>
                  <a:lnTo>
                    <a:pt x="1656" y="600"/>
                  </a:lnTo>
                  <a:lnTo>
                    <a:pt x="1650" y="600"/>
                  </a:lnTo>
                  <a:lnTo>
                    <a:pt x="1644" y="598"/>
                  </a:lnTo>
                  <a:lnTo>
                    <a:pt x="1638" y="598"/>
                  </a:lnTo>
                  <a:lnTo>
                    <a:pt x="1630" y="598"/>
                  </a:lnTo>
                  <a:lnTo>
                    <a:pt x="1626" y="598"/>
                  </a:lnTo>
                  <a:lnTo>
                    <a:pt x="1620" y="600"/>
                  </a:lnTo>
                  <a:lnTo>
                    <a:pt x="1614" y="600"/>
                  </a:lnTo>
                  <a:lnTo>
                    <a:pt x="1608" y="602"/>
                  </a:lnTo>
                  <a:lnTo>
                    <a:pt x="1602" y="600"/>
                  </a:lnTo>
                  <a:lnTo>
                    <a:pt x="1608" y="600"/>
                  </a:lnTo>
                  <a:lnTo>
                    <a:pt x="1614" y="600"/>
                  </a:lnTo>
                  <a:lnTo>
                    <a:pt x="1620" y="596"/>
                  </a:lnTo>
                  <a:lnTo>
                    <a:pt x="1626" y="598"/>
                  </a:lnTo>
                  <a:lnTo>
                    <a:pt x="1632" y="596"/>
                  </a:lnTo>
                  <a:lnTo>
                    <a:pt x="1638" y="596"/>
                  </a:lnTo>
                  <a:lnTo>
                    <a:pt x="1644" y="596"/>
                  </a:lnTo>
                  <a:lnTo>
                    <a:pt x="1650" y="592"/>
                  </a:lnTo>
                  <a:lnTo>
                    <a:pt x="1644" y="590"/>
                  </a:lnTo>
                  <a:lnTo>
                    <a:pt x="1638" y="588"/>
                  </a:lnTo>
                  <a:lnTo>
                    <a:pt x="1632" y="586"/>
                  </a:lnTo>
                  <a:lnTo>
                    <a:pt x="1626" y="580"/>
                  </a:lnTo>
                  <a:lnTo>
                    <a:pt x="1632" y="580"/>
                  </a:lnTo>
                  <a:lnTo>
                    <a:pt x="1626" y="580"/>
                  </a:lnTo>
                  <a:lnTo>
                    <a:pt x="1620" y="580"/>
                  </a:lnTo>
                  <a:lnTo>
                    <a:pt x="1614" y="580"/>
                  </a:lnTo>
                  <a:lnTo>
                    <a:pt x="1608" y="580"/>
                  </a:lnTo>
                  <a:lnTo>
                    <a:pt x="1610" y="572"/>
                  </a:lnTo>
                  <a:lnTo>
                    <a:pt x="1606" y="568"/>
                  </a:lnTo>
                  <a:lnTo>
                    <a:pt x="1612" y="572"/>
                  </a:lnTo>
                  <a:lnTo>
                    <a:pt x="1618" y="574"/>
                  </a:lnTo>
                  <a:lnTo>
                    <a:pt x="1622" y="576"/>
                  </a:lnTo>
                  <a:lnTo>
                    <a:pt x="1630" y="576"/>
                  </a:lnTo>
                  <a:lnTo>
                    <a:pt x="1634" y="578"/>
                  </a:lnTo>
                  <a:lnTo>
                    <a:pt x="1640" y="582"/>
                  </a:lnTo>
                  <a:lnTo>
                    <a:pt x="1646" y="586"/>
                  </a:lnTo>
                  <a:lnTo>
                    <a:pt x="1652" y="588"/>
                  </a:lnTo>
                  <a:lnTo>
                    <a:pt x="1656" y="594"/>
                  </a:lnTo>
                  <a:lnTo>
                    <a:pt x="1662" y="598"/>
                  </a:lnTo>
                  <a:lnTo>
                    <a:pt x="1668" y="600"/>
                  </a:lnTo>
                  <a:lnTo>
                    <a:pt x="1674" y="602"/>
                  </a:lnTo>
                  <a:lnTo>
                    <a:pt x="1680" y="600"/>
                  </a:lnTo>
                  <a:lnTo>
                    <a:pt x="1686" y="596"/>
                  </a:lnTo>
                  <a:lnTo>
                    <a:pt x="1692" y="600"/>
                  </a:lnTo>
                  <a:lnTo>
                    <a:pt x="1698" y="600"/>
                  </a:lnTo>
                  <a:lnTo>
                    <a:pt x="1704" y="600"/>
                  </a:lnTo>
                  <a:lnTo>
                    <a:pt x="1710" y="600"/>
                  </a:lnTo>
                  <a:lnTo>
                    <a:pt x="1716" y="602"/>
                  </a:lnTo>
                  <a:lnTo>
                    <a:pt x="1718" y="602"/>
                  </a:lnTo>
                  <a:lnTo>
                    <a:pt x="1724" y="604"/>
                  </a:lnTo>
                  <a:lnTo>
                    <a:pt x="1730" y="608"/>
                  </a:lnTo>
                  <a:lnTo>
                    <a:pt x="1736" y="612"/>
                  </a:lnTo>
                  <a:lnTo>
                    <a:pt x="1742" y="614"/>
                  </a:lnTo>
                  <a:lnTo>
                    <a:pt x="1748" y="614"/>
                  </a:lnTo>
                  <a:lnTo>
                    <a:pt x="1754" y="614"/>
                  </a:lnTo>
                  <a:lnTo>
                    <a:pt x="1760" y="616"/>
                  </a:lnTo>
                  <a:lnTo>
                    <a:pt x="1764" y="624"/>
                  </a:lnTo>
                  <a:lnTo>
                    <a:pt x="1770" y="628"/>
                  </a:lnTo>
                  <a:lnTo>
                    <a:pt x="1770" y="634"/>
                  </a:lnTo>
                  <a:lnTo>
                    <a:pt x="1770" y="640"/>
                  </a:lnTo>
                  <a:lnTo>
                    <a:pt x="1770" y="646"/>
                  </a:lnTo>
                  <a:lnTo>
                    <a:pt x="1774" y="652"/>
                  </a:lnTo>
                  <a:lnTo>
                    <a:pt x="1778" y="656"/>
                  </a:lnTo>
                  <a:lnTo>
                    <a:pt x="1784" y="658"/>
                  </a:lnTo>
                  <a:lnTo>
                    <a:pt x="1792" y="662"/>
                  </a:lnTo>
                  <a:lnTo>
                    <a:pt x="1796" y="664"/>
                  </a:lnTo>
                  <a:lnTo>
                    <a:pt x="1804" y="664"/>
                  </a:lnTo>
                  <a:lnTo>
                    <a:pt x="1810" y="666"/>
                  </a:lnTo>
                  <a:lnTo>
                    <a:pt x="1816" y="664"/>
                  </a:lnTo>
                  <a:lnTo>
                    <a:pt x="1822" y="664"/>
                  </a:lnTo>
                  <a:lnTo>
                    <a:pt x="1828" y="664"/>
                  </a:lnTo>
                  <a:lnTo>
                    <a:pt x="1834" y="660"/>
                  </a:lnTo>
                  <a:lnTo>
                    <a:pt x="1834" y="654"/>
                  </a:lnTo>
                  <a:lnTo>
                    <a:pt x="1834" y="648"/>
                  </a:lnTo>
                  <a:lnTo>
                    <a:pt x="1838" y="642"/>
                  </a:lnTo>
                  <a:lnTo>
                    <a:pt x="1844" y="644"/>
                  </a:lnTo>
                  <a:lnTo>
                    <a:pt x="1844" y="646"/>
                  </a:lnTo>
                  <a:lnTo>
                    <a:pt x="1840" y="652"/>
                  </a:lnTo>
                  <a:lnTo>
                    <a:pt x="1842" y="658"/>
                  </a:lnTo>
                  <a:lnTo>
                    <a:pt x="1846" y="664"/>
                  </a:lnTo>
                  <a:lnTo>
                    <a:pt x="1850" y="662"/>
                  </a:lnTo>
                  <a:lnTo>
                    <a:pt x="1858" y="660"/>
                  </a:lnTo>
                  <a:lnTo>
                    <a:pt x="1860" y="666"/>
                  </a:lnTo>
                  <a:lnTo>
                    <a:pt x="1866" y="664"/>
                  </a:lnTo>
                  <a:lnTo>
                    <a:pt x="1872" y="664"/>
                  </a:lnTo>
                  <a:lnTo>
                    <a:pt x="1878" y="662"/>
                  </a:lnTo>
                  <a:lnTo>
                    <a:pt x="1876" y="656"/>
                  </a:lnTo>
                  <a:lnTo>
                    <a:pt x="1872" y="654"/>
                  </a:lnTo>
                  <a:lnTo>
                    <a:pt x="1874" y="648"/>
                  </a:lnTo>
                  <a:lnTo>
                    <a:pt x="1880" y="648"/>
                  </a:lnTo>
                  <a:lnTo>
                    <a:pt x="1874" y="644"/>
                  </a:lnTo>
                  <a:lnTo>
                    <a:pt x="1868" y="642"/>
                  </a:lnTo>
                  <a:lnTo>
                    <a:pt x="1874" y="644"/>
                  </a:lnTo>
                  <a:lnTo>
                    <a:pt x="1878" y="638"/>
                  </a:lnTo>
                  <a:lnTo>
                    <a:pt x="1884" y="634"/>
                  </a:lnTo>
                  <a:lnTo>
                    <a:pt x="1878" y="632"/>
                  </a:lnTo>
                  <a:lnTo>
                    <a:pt x="1872" y="634"/>
                  </a:lnTo>
                  <a:lnTo>
                    <a:pt x="1878" y="628"/>
                  </a:lnTo>
                  <a:lnTo>
                    <a:pt x="1872" y="628"/>
                  </a:lnTo>
                  <a:lnTo>
                    <a:pt x="1866" y="628"/>
                  </a:lnTo>
                  <a:lnTo>
                    <a:pt x="1860" y="628"/>
                  </a:lnTo>
                  <a:lnTo>
                    <a:pt x="1866" y="628"/>
                  </a:lnTo>
                  <a:lnTo>
                    <a:pt x="1872" y="628"/>
                  </a:lnTo>
                  <a:lnTo>
                    <a:pt x="1878" y="622"/>
                  </a:lnTo>
                  <a:lnTo>
                    <a:pt x="1884" y="624"/>
                  </a:lnTo>
                  <a:lnTo>
                    <a:pt x="1882" y="618"/>
                  </a:lnTo>
                  <a:lnTo>
                    <a:pt x="1876" y="616"/>
                  </a:lnTo>
                  <a:lnTo>
                    <a:pt x="1882" y="616"/>
                  </a:lnTo>
                  <a:lnTo>
                    <a:pt x="1888" y="614"/>
                  </a:lnTo>
                  <a:lnTo>
                    <a:pt x="1882" y="610"/>
                  </a:lnTo>
                  <a:lnTo>
                    <a:pt x="1888" y="608"/>
                  </a:lnTo>
                  <a:lnTo>
                    <a:pt x="1882" y="606"/>
                  </a:lnTo>
                  <a:lnTo>
                    <a:pt x="1876" y="604"/>
                  </a:lnTo>
                  <a:lnTo>
                    <a:pt x="1870" y="604"/>
                  </a:lnTo>
                  <a:lnTo>
                    <a:pt x="1864" y="608"/>
                  </a:lnTo>
                  <a:lnTo>
                    <a:pt x="1858" y="612"/>
                  </a:lnTo>
                  <a:lnTo>
                    <a:pt x="1852" y="618"/>
                  </a:lnTo>
                  <a:lnTo>
                    <a:pt x="1852" y="612"/>
                  </a:lnTo>
                  <a:lnTo>
                    <a:pt x="1852" y="606"/>
                  </a:lnTo>
                  <a:lnTo>
                    <a:pt x="1858" y="600"/>
                  </a:lnTo>
                  <a:lnTo>
                    <a:pt x="1864" y="598"/>
                  </a:lnTo>
                  <a:lnTo>
                    <a:pt x="1870" y="598"/>
                  </a:lnTo>
                  <a:lnTo>
                    <a:pt x="1876" y="594"/>
                  </a:lnTo>
                  <a:lnTo>
                    <a:pt x="1882" y="592"/>
                  </a:lnTo>
                  <a:lnTo>
                    <a:pt x="1876" y="592"/>
                  </a:lnTo>
                  <a:lnTo>
                    <a:pt x="1870" y="590"/>
                  </a:lnTo>
                  <a:lnTo>
                    <a:pt x="1864" y="594"/>
                  </a:lnTo>
                  <a:lnTo>
                    <a:pt x="1858" y="596"/>
                  </a:lnTo>
                  <a:lnTo>
                    <a:pt x="1852" y="600"/>
                  </a:lnTo>
                  <a:lnTo>
                    <a:pt x="1852" y="594"/>
                  </a:lnTo>
                  <a:lnTo>
                    <a:pt x="1858" y="590"/>
                  </a:lnTo>
                  <a:lnTo>
                    <a:pt x="1852" y="590"/>
                  </a:lnTo>
                  <a:lnTo>
                    <a:pt x="1846" y="592"/>
                  </a:lnTo>
                  <a:lnTo>
                    <a:pt x="1840" y="594"/>
                  </a:lnTo>
                  <a:lnTo>
                    <a:pt x="1834" y="596"/>
                  </a:lnTo>
                  <a:lnTo>
                    <a:pt x="1838" y="590"/>
                  </a:lnTo>
                  <a:lnTo>
                    <a:pt x="1844" y="588"/>
                  </a:lnTo>
                  <a:lnTo>
                    <a:pt x="1850" y="586"/>
                  </a:lnTo>
                  <a:lnTo>
                    <a:pt x="1856" y="584"/>
                  </a:lnTo>
                  <a:lnTo>
                    <a:pt x="1860" y="582"/>
                  </a:lnTo>
                  <a:lnTo>
                    <a:pt x="1856" y="578"/>
                  </a:lnTo>
                  <a:lnTo>
                    <a:pt x="1848" y="576"/>
                  </a:lnTo>
                  <a:lnTo>
                    <a:pt x="1842" y="576"/>
                  </a:lnTo>
                  <a:lnTo>
                    <a:pt x="1836" y="576"/>
                  </a:lnTo>
                  <a:lnTo>
                    <a:pt x="1832" y="570"/>
                  </a:lnTo>
                  <a:lnTo>
                    <a:pt x="1826" y="568"/>
                  </a:lnTo>
                  <a:lnTo>
                    <a:pt x="1820" y="568"/>
                  </a:lnTo>
                  <a:lnTo>
                    <a:pt x="1814" y="568"/>
                  </a:lnTo>
                  <a:lnTo>
                    <a:pt x="1814" y="562"/>
                  </a:lnTo>
                  <a:lnTo>
                    <a:pt x="1808" y="564"/>
                  </a:lnTo>
                  <a:lnTo>
                    <a:pt x="1802" y="560"/>
                  </a:lnTo>
                  <a:lnTo>
                    <a:pt x="1796" y="558"/>
                  </a:lnTo>
                  <a:lnTo>
                    <a:pt x="1790" y="556"/>
                  </a:lnTo>
                  <a:lnTo>
                    <a:pt x="1784" y="552"/>
                  </a:lnTo>
                  <a:lnTo>
                    <a:pt x="1778" y="552"/>
                  </a:lnTo>
                  <a:lnTo>
                    <a:pt x="1772" y="552"/>
                  </a:lnTo>
                  <a:lnTo>
                    <a:pt x="1766" y="554"/>
                  </a:lnTo>
                  <a:lnTo>
                    <a:pt x="1762" y="554"/>
                  </a:lnTo>
                  <a:lnTo>
                    <a:pt x="1758" y="554"/>
                  </a:lnTo>
                  <a:lnTo>
                    <a:pt x="1750" y="558"/>
                  </a:lnTo>
                  <a:lnTo>
                    <a:pt x="1744" y="562"/>
                  </a:lnTo>
                  <a:lnTo>
                    <a:pt x="1738" y="564"/>
                  </a:lnTo>
                  <a:lnTo>
                    <a:pt x="1744" y="560"/>
                  </a:lnTo>
                  <a:lnTo>
                    <a:pt x="1748" y="552"/>
                  </a:lnTo>
                  <a:lnTo>
                    <a:pt x="1740" y="552"/>
                  </a:lnTo>
                  <a:lnTo>
                    <a:pt x="1734" y="554"/>
                  </a:lnTo>
                  <a:lnTo>
                    <a:pt x="1728" y="552"/>
                  </a:lnTo>
                  <a:lnTo>
                    <a:pt x="1736" y="552"/>
                  </a:lnTo>
                  <a:lnTo>
                    <a:pt x="1742" y="552"/>
                  </a:lnTo>
                  <a:lnTo>
                    <a:pt x="1748" y="552"/>
                  </a:lnTo>
                  <a:lnTo>
                    <a:pt x="1754" y="552"/>
                  </a:lnTo>
                  <a:lnTo>
                    <a:pt x="1760" y="552"/>
                  </a:lnTo>
                  <a:lnTo>
                    <a:pt x="1766" y="550"/>
                  </a:lnTo>
                  <a:lnTo>
                    <a:pt x="1772" y="548"/>
                  </a:lnTo>
                  <a:lnTo>
                    <a:pt x="1778" y="548"/>
                  </a:lnTo>
                  <a:lnTo>
                    <a:pt x="1780" y="542"/>
                  </a:lnTo>
                  <a:lnTo>
                    <a:pt x="1778" y="536"/>
                  </a:lnTo>
                  <a:lnTo>
                    <a:pt x="1772" y="534"/>
                  </a:lnTo>
                  <a:lnTo>
                    <a:pt x="1766" y="534"/>
                  </a:lnTo>
                  <a:lnTo>
                    <a:pt x="1758" y="530"/>
                  </a:lnTo>
                  <a:lnTo>
                    <a:pt x="1752" y="530"/>
                  </a:lnTo>
                  <a:lnTo>
                    <a:pt x="1746" y="530"/>
                  </a:lnTo>
                  <a:lnTo>
                    <a:pt x="1740" y="532"/>
                  </a:lnTo>
                  <a:lnTo>
                    <a:pt x="1734" y="534"/>
                  </a:lnTo>
                  <a:lnTo>
                    <a:pt x="1728" y="534"/>
                  </a:lnTo>
                  <a:lnTo>
                    <a:pt x="1722" y="536"/>
                  </a:lnTo>
                  <a:lnTo>
                    <a:pt x="1716" y="538"/>
                  </a:lnTo>
                  <a:lnTo>
                    <a:pt x="1710" y="540"/>
                  </a:lnTo>
                  <a:lnTo>
                    <a:pt x="1716" y="534"/>
                  </a:lnTo>
                  <a:lnTo>
                    <a:pt x="1708" y="534"/>
                  </a:lnTo>
                  <a:lnTo>
                    <a:pt x="1702" y="534"/>
                  </a:lnTo>
                  <a:lnTo>
                    <a:pt x="1696" y="534"/>
                  </a:lnTo>
                  <a:lnTo>
                    <a:pt x="1702" y="534"/>
                  </a:lnTo>
                  <a:lnTo>
                    <a:pt x="1708" y="532"/>
                  </a:lnTo>
                  <a:lnTo>
                    <a:pt x="1702" y="530"/>
                  </a:lnTo>
                  <a:lnTo>
                    <a:pt x="1696" y="530"/>
                  </a:lnTo>
                  <a:lnTo>
                    <a:pt x="1690" y="530"/>
                  </a:lnTo>
                  <a:lnTo>
                    <a:pt x="1684" y="530"/>
                  </a:lnTo>
                  <a:lnTo>
                    <a:pt x="1678" y="530"/>
                  </a:lnTo>
                  <a:lnTo>
                    <a:pt x="1672" y="528"/>
                  </a:lnTo>
                  <a:lnTo>
                    <a:pt x="1678" y="528"/>
                  </a:lnTo>
                  <a:lnTo>
                    <a:pt x="1684" y="530"/>
                  </a:lnTo>
                  <a:lnTo>
                    <a:pt x="1690" y="528"/>
                  </a:lnTo>
                  <a:lnTo>
                    <a:pt x="1696" y="526"/>
                  </a:lnTo>
                  <a:lnTo>
                    <a:pt x="1702" y="526"/>
                  </a:lnTo>
                  <a:lnTo>
                    <a:pt x="1708" y="530"/>
                  </a:lnTo>
                  <a:lnTo>
                    <a:pt x="1714" y="530"/>
                  </a:lnTo>
                  <a:lnTo>
                    <a:pt x="1720" y="532"/>
                  </a:lnTo>
                  <a:lnTo>
                    <a:pt x="1728" y="532"/>
                  </a:lnTo>
                  <a:lnTo>
                    <a:pt x="1732" y="530"/>
                  </a:lnTo>
                  <a:lnTo>
                    <a:pt x="1738" y="526"/>
                  </a:lnTo>
                  <a:lnTo>
                    <a:pt x="1744" y="526"/>
                  </a:lnTo>
                  <a:lnTo>
                    <a:pt x="1750" y="526"/>
                  </a:lnTo>
                  <a:lnTo>
                    <a:pt x="1758" y="526"/>
                  </a:lnTo>
                  <a:lnTo>
                    <a:pt x="1764" y="524"/>
                  </a:lnTo>
                  <a:lnTo>
                    <a:pt x="1770" y="522"/>
                  </a:lnTo>
                  <a:lnTo>
                    <a:pt x="1776" y="518"/>
                  </a:lnTo>
                  <a:lnTo>
                    <a:pt x="1770" y="514"/>
                  </a:lnTo>
                  <a:lnTo>
                    <a:pt x="1764" y="514"/>
                  </a:lnTo>
                  <a:lnTo>
                    <a:pt x="1758" y="514"/>
                  </a:lnTo>
                  <a:lnTo>
                    <a:pt x="1752" y="514"/>
                  </a:lnTo>
                  <a:lnTo>
                    <a:pt x="1744" y="510"/>
                  </a:lnTo>
                  <a:lnTo>
                    <a:pt x="1740" y="508"/>
                  </a:lnTo>
                  <a:lnTo>
                    <a:pt x="1734" y="508"/>
                  </a:lnTo>
                  <a:lnTo>
                    <a:pt x="1728" y="508"/>
                  </a:lnTo>
                  <a:lnTo>
                    <a:pt x="1722" y="508"/>
                  </a:lnTo>
                  <a:lnTo>
                    <a:pt x="1716" y="510"/>
                  </a:lnTo>
                  <a:lnTo>
                    <a:pt x="1710" y="514"/>
                  </a:lnTo>
                  <a:lnTo>
                    <a:pt x="1704" y="514"/>
                  </a:lnTo>
                  <a:lnTo>
                    <a:pt x="1698" y="514"/>
                  </a:lnTo>
                  <a:lnTo>
                    <a:pt x="1692" y="512"/>
                  </a:lnTo>
                  <a:lnTo>
                    <a:pt x="1686" y="512"/>
                  </a:lnTo>
                  <a:lnTo>
                    <a:pt x="1680" y="516"/>
                  </a:lnTo>
                  <a:lnTo>
                    <a:pt x="1674" y="522"/>
                  </a:lnTo>
                  <a:lnTo>
                    <a:pt x="1668" y="522"/>
                  </a:lnTo>
                  <a:lnTo>
                    <a:pt x="1676" y="518"/>
                  </a:lnTo>
                  <a:lnTo>
                    <a:pt x="1674" y="512"/>
                  </a:lnTo>
                  <a:lnTo>
                    <a:pt x="1668" y="510"/>
                  </a:lnTo>
                  <a:lnTo>
                    <a:pt x="1674" y="510"/>
                  </a:lnTo>
                  <a:lnTo>
                    <a:pt x="1680" y="510"/>
                  </a:lnTo>
                  <a:lnTo>
                    <a:pt x="1686" y="508"/>
                  </a:lnTo>
                  <a:lnTo>
                    <a:pt x="1692" y="508"/>
                  </a:lnTo>
                  <a:lnTo>
                    <a:pt x="1698" y="510"/>
                  </a:lnTo>
                  <a:lnTo>
                    <a:pt x="1706" y="512"/>
                  </a:lnTo>
                  <a:lnTo>
                    <a:pt x="1712" y="508"/>
                  </a:lnTo>
                  <a:lnTo>
                    <a:pt x="1716" y="504"/>
                  </a:lnTo>
                  <a:lnTo>
                    <a:pt x="1712" y="504"/>
                  </a:lnTo>
                  <a:lnTo>
                    <a:pt x="1706" y="502"/>
                  </a:lnTo>
                  <a:lnTo>
                    <a:pt x="1698" y="500"/>
                  </a:lnTo>
                  <a:lnTo>
                    <a:pt x="1694" y="500"/>
                  </a:lnTo>
                  <a:lnTo>
                    <a:pt x="1688" y="496"/>
                  </a:lnTo>
                  <a:lnTo>
                    <a:pt x="1682" y="494"/>
                  </a:lnTo>
                  <a:lnTo>
                    <a:pt x="1688" y="492"/>
                  </a:lnTo>
                  <a:lnTo>
                    <a:pt x="1694" y="496"/>
                  </a:lnTo>
                  <a:lnTo>
                    <a:pt x="1700" y="498"/>
                  </a:lnTo>
                  <a:lnTo>
                    <a:pt x="1706" y="500"/>
                  </a:lnTo>
                  <a:lnTo>
                    <a:pt x="1712" y="502"/>
                  </a:lnTo>
                  <a:lnTo>
                    <a:pt x="1718" y="500"/>
                  </a:lnTo>
                  <a:lnTo>
                    <a:pt x="1724" y="502"/>
                  </a:lnTo>
                  <a:lnTo>
                    <a:pt x="1730" y="506"/>
                  </a:lnTo>
                  <a:lnTo>
                    <a:pt x="1736" y="506"/>
                  </a:lnTo>
                  <a:lnTo>
                    <a:pt x="1744" y="506"/>
                  </a:lnTo>
                  <a:lnTo>
                    <a:pt x="1750" y="504"/>
                  </a:lnTo>
                  <a:lnTo>
                    <a:pt x="1756" y="502"/>
                  </a:lnTo>
                  <a:lnTo>
                    <a:pt x="1762" y="500"/>
                  </a:lnTo>
                  <a:lnTo>
                    <a:pt x="1768" y="494"/>
                  </a:lnTo>
                  <a:lnTo>
                    <a:pt x="1774" y="494"/>
                  </a:lnTo>
                  <a:lnTo>
                    <a:pt x="1780" y="494"/>
                  </a:lnTo>
                  <a:lnTo>
                    <a:pt x="1786" y="492"/>
                  </a:lnTo>
                  <a:lnTo>
                    <a:pt x="1792" y="492"/>
                  </a:lnTo>
                  <a:lnTo>
                    <a:pt x="1798" y="492"/>
                  </a:lnTo>
                  <a:lnTo>
                    <a:pt x="1792" y="488"/>
                  </a:lnTo>
                  <a:lnTo>
                    <a:pt x="1786" y="486"/>
                  </a:lnTo>
                  <a:lnTo>
                    <a:pt x="1784" y="480"/>
                  </a:lnTo>
                  <a:lnTo>
                    <a:pt x="1778" y="478"/>
                  </a:lnTo>
                  <a:lnTo>
                    <a:pt x="1770" y="476"/>
                  </a:lnTo>
                  <a:lnTo>
                    <a:pt x="1764" y="470"/>
                  </a:lnTo>
                  <a:lnTo>
                    <a:pt x="1770" y="468"/>
                  </a:lnTo>
                  <a:lnTo>
                    <a:pt x="1776" y="474"/>
                  </a:lnTo>
                  <a:lnTo>
                    <a:pt x="1782" y="478"/>
                  </a:lnTo>
                  <a:lnTo>
                    <a:pt x="1788" y="480"/>
                  </a:lnTo>
                  <a:lnTo>
                    <a:pt x="1788" y="486"/>
                  </a:lnTo>
                  <a:lnTo>
                    <a:pt x="1796" y="488"/>
                  </a:lnTo>
                  <a:lnTo>
                    <a:pt x="1800" y="488"/>
                  </a:lnTo>
                  <a:lnTo>
                    <a:pt x="1808" y="488"/>
                  </a:lnTo>
                  <a:lnTo>
                    <a:pt x="1810" y="484"/>
                  </a:lnTo>
                  <a:lnTo>
                    <a:pt x="1818" y="478"/>
                  </a:lnTo>
                  <a:lnTo>
                    <a:pt x="1824" y="476"/>
                  </a:lnTo>
                  <a:lnTo>
                    <a:pt x="1830" y="476"/>
                  </a:lnTo>
                  <a:lnTo>
                    <a:pt x="1836" y="478"/>
                  </a:lnTo>
                  <a:lnTo>
                    <a:pt x="1842" y="480"/>
                  </a:lnTo>
                  <a:lnTo>
                    <a:pt x="1848" y="480"/>
                  </a:lnTo>
                  <a:lnTo>
                    <a:pt x="1854" y="480"/>
                  </a:lnTo>
                  <a:lnTo>
                    <a:pt x="1860" y="482"/>
                  </a:lnTo>
                  <a:lnTo>
                    <a:pt x="1866" y="484"/>
                  </a:lnTo>
                  <a:lnTo>
                    <a:pt x="1872" y="484"/>
                  </a:lnTo>
                  <a:lnTo>
                    <a:pt x="1878" y="488"/>
                  </a:lnTo>
                  <a:lnTo>
                    <a:pt x="1884" y="488"/>
                  </a:lnTo>
                  <a:lnTo>
                    <a:pt x="1890" y="488"/>
                  </a:lnTo>
                  <a:lnTo>
                    <a:pt x="1896" y="486"/>
                  </a:lnTo>
                  <a:lnTo>
                    <a:pt x="1902" y="484"/>
                  </a:lnTo>
                  <a:lnTo>
                    <a:pt x="1896" y="486"/>
                  </a:lnTo>
                  <a:lnTo>
                    <a:pt x="1890" y="488"/>
                  </a:lnTo>
                  <a:lnTo>
                    <a:pt x="1884" y="488"/>
                  </a:lnTo>
                  <a:lnTo>
                    <a:pt x="1878" y="488"/>
                  </a:lnTo>
                  <a:lnTo>
                    <a:pt x="1872" y="488"/>
                  </a:lnTo>
                  <a:lnTo>
                    <a:pt x="1866" y="484"/>
                  </a:lnTo>
                  <a:lnTo>
                    <a:pt x="1860" y="484"/>
                  </a:lnTo>
                  <a:lnTo>
                    <a:pt x="1854" y="480"/>
                  </a:lnTo>
                  <a:lnTo>
                    <a:pt x="1846" y="480"/>
                  </a:lnTo>
                  <a:lnTo>
                    <a:pt x="1840" y="480"/>
                  </a:lnTo>
                  <a:lnTo>
                    <a:pt x="1834" y="480"/>
                  </a:lnTo>
                  <a:lnTo>
                    <a:pt x="1830" y="486"/>
                  </a:lnTo>
                  <a:lnTo>
                    <a:pt x="1836" y="488"/>
                  </a:lnTo>
                  <a:lnTo>
                    <a:pt x="1842" y="492"/>
                  </a:lnTo>
                  <a:lnTo>
                    <a:pt x="1846" y="494"/>
                  </a:lnTo>
                  <a:lnTo>
                    <a:pt x="1854" y="496"/>
                  </a:lnTo>
                  <a:lnTo>
                    <a:pt x="1860" y="498"/>
                  </a:lnTo>
                  <a:lnTo>
                    <a:pt x="1866" y="500"/>
                  </a:lnTo>
                  <a:lnTo>
                    <a:pt x="1872" y="502"/>
                  </a:lnTo>
                  <a:lnTo>
                    <a:pt x="1878" y="502"/>
                  </a:lnTo>
                  <a:lnTo>
                    <a:pt x="1884" y="504"/>
                  </a:lnTo>
                  <a:lnTo>
                    <a:pt x="1890" y="506"/>
                  </a:lnTo>
                  <a:lnTo>
                    <a:pt x="1896" y="506"/>
                  </a:lnTo>
                  <a:lnTo>
                    <a:pt x="1902" y="504"/>
                  </a:lnTo>
                  <a:lnTo>
                    <a:pt x="1908" y="502"/>
                  </a:lnTo>
                  <a:lnTo>
                    <a:pt x="1916" y="500"/>
                  </a:lnTo>
                  <a:lnTo>
                    <a:pt x="1922" y="498"/>
                  </a:lnTo>
                  <a:lnTo>
                    <a:pt x="1928" y="498"/>
                  </a:lnTo>
                  <a:lnTo>
                    <a:pt x="1934" y="492"/>
                  </a:lnTo>
                  <a:lnTo>
                    <a:pt x="1940" y="494"/>
                  </a:lnTo>
                  <a:lnTo>
                    <a:pt x="1946" y="494"/>
                  </a:lnTo>
                  <a:lnTo>
                    <a:pt x="1952" y="494"/>
                  </a:lnTo>
                  <a:lnTo>
                    <a:pt x="1958" y="494"/>
                  </a:lnTo>
                  <a:lnTo>
                    <a:pt x="1964" y="494"/>
                  </a:lnTo>
                  <a:lnTo>
                    <a:pt x="1970" y="494"/>
                  </a:lnTo>
                  <a:lnTo>
                    <a:pt x="1976" y="494"/>
                  </a:lnTo>
                  <a:lnTo>
                    <a:pt x="1974" y="488"/>
                  </a:lnTo>
                  <a:lnTo>
                    <a:pt x="1978" y="484"/>
                  </a:lnTo>
                  <a:lnTo>
                    <a:pt x="1980" y="478"/>
                  </a:lnTo>
                  <a:lnTo>
                    <a:pt x="1986" y="476"/>
                  </a:lnTo>
                  <a:lnTo>
                    <a:pt x="1988" y="470"/>
                  </a:lnTo>
                  <a:lnTo>
                    <a:pt x="1982" y="470"/>
                  </a:lnTo>
                  <a:lnTo>
                    <a:pt x="1976" y="470"/>
                  </a:lnTo>
                  <a:lnTo>
                    <a:pt x="1970" y="470"/>
                  </a:lnTo>
                  <a:lnTo>
                    <a:pt x="1964" y="468"/>
                  </a:lnTo>
                  <a:lnTo>
                    <a:pt x="1958" y="468"/>
                  </a:lnTo>
                  <a:lnTo>
                    <a:pt x="1952" y="466"/>
                  </a:lnTo>
                  <a:lnTo>
                    <a:pt x="1946" y="464"/>
                  </a:lnTo>
                  <a:lnTo>
                    <a:pt x="1940" y="462"/>
                  </a:lnTo>
                  <a:lnTo>
                    <a:pt x="1934" y="460"/>
                  </a:lnTo>
                  <a:lnTo>
                    <a:pt x="1928" y="462"/>
                  </a:lnTo>
                  <a:lnTo>
                    <a:pt x="1924" y="468"/>
                  </a:lnTo>
                  <a:lnTo>
                    <a:pt x="1928" y="474"/>
                  </a:lnTo>
                  <a:lnTo>
                    <a:pt x="1928" y="480"/>
                  </a:lnTo>
                  <a:lnTo>
                    <a:pt x="1922" y="484"/>
                  </a:lnTo>
                  <a:lnTo>
                    <a:pt x="1922" y="478"/>
                  </a:lnTo>
                  <a:lnTo>
                    <a:pt x="1926" y="472"/>
                  </a:lnTo>
                  <a:lnTo>
                    <a:pt x="1920" y="466"/>
                  </a:lnTo>
                  <a:lnTo>
                    <a:pt x="1914" y="462"/>
                  </a:lnTo>
                  <a:lnTo>
                    <a:pt x="1908" y="462"/>
                  </a:lnTo>
                  <a:lnTo>
                    <a:pt x="1902" y="460"/>
                  </a:lnTo>
                  <a:lnTo>
                    <a:pt x="1908" y="458"/>
                  </a:lnTo>
                  <a:lnTo>
                    <a:pt x="1914" y="458"/>
                  </a:lnTo>
                  <a:lnTo>
                    <a:pt x="1918" y="454"/>
                  </a:lnTo>
                  <a:lnTo>
                    <a:pt x="1912" y="448"/>
                  </a:lnTo>
                  <a:lnTo>
                    <a:pt x="1906" y="448"/>
                  </a:lnTo>
                  <a:lnTo>
                    <a:pt x="1912" y="448"/>
                  </a:lnTo>
                  <a:lnTo>
                    <a:pt x="1918" y="446"/>
                  </a:lnTo>
                  <a:lnTo>
                    <a:pt x="1924" y="446"/>
                  </a:lnTo>
                  <a:lnTo>
                    <a:pt x="1932" y="446"/>
                  </a:lnTo>
                  <a:lnTo>
                    <a:pt x="1936" y="442"/>
                  </a:lnTo>
                  <a:lnTo>
                    <a:pt x="1934" y="436"/>
                  </a:lnTo>
                  <a:lnTo>
                    <a:pt x="1928" y="432"/>
                  </a:lnTo>
                  <a:lnTo>
                    <a:pt x="1934" y="432"/>
                  </a:lnTo>
                  <a:lnTo>
                    <a:pt x="1940" y="438"/>
                  </a:lnTo>
                  <a:lnTo>
                    <a:pt x="1946" y="440"/>
                  </a:lnTo>
                  <a:lnTo>
                    <a:pt x="1952" y="440"/>
                  </a:lnTo>
                  <a:lnTo>
                    <a:pt x="1958" y="438"/>
                  </a:lnTo>
                  <a:lnTo>
                    <a:pt x="1964" y="438"/>
                  </a:lnTo>
                  <a:lnTo>
                    <a:pt x="1970" y="438"/>
                  </a:lnTo>
                  <a:lnTo>
                    <a:pt x="1976" y="440"/>
                  </a:lnTo>
                  <a:lnTo>
                    <a:pt x="1982" y="440"/>
                  </a:lnTo>
                  <a:lnTo>
                    <a:pt x="1990" y="440"/>
                  </a:lnTo>
                  <a:lnTo>
                    <a:pt x="1996" y="440"/>
                  </a:lnTo>
                  <a:lnTo>
                    <a:pt x="2000" y="446"/>
                  </a:lnTo>
                  <a:lnTo>
                    <a:pt x="2006" y="450"/>
                  </a:lnTo>
                  <a:lnTo>
                    <a:pt x="2008" y="450"/>
                  </a:lnTo>
                  <a:lnTo>
                    <a:pt x="2012" y="450"/>
                  </a:lnTo>
                  <a:lnTo>
                    <a:pt x="2020" y="450"/>
                  </a:lnTo>
                  <a:lnTo>
                    <a:pt x="2026" y="452"/>
                  </a:lnTo>
                  <a:lnTo>
                    <a:pt x="2032" y="450"/>
                  </a:lnTo>
                  <a:lnTo>
                    <a:pt x="2038" y="450"/>
                  </a:lnTo>
                  <a:lnTo>
                    <a:pt x="2044" y="446"/>
                  </a:lnTo>
                  <a:lnTo>
                    <a:pt x="2050" y="442"/>
                  </a:lnTo>
                  <a:lnTo>
                    <a:pt x="2056" y="438"/>
                  </a:lnTo>
                  <a:lnTo>
                    <a:pt x="2050" y="436"/>
                  </a:lnTo>
                  <a:lnTo>
                    <a:pt x="2044" y="432"/>
                  </a:lnTo>
                  <a:lnTo>
                    <a:pt x="2044" y="428"/>
                  </a:lnTo>
                  <a:lnTo>
                    <a:pt x="2038" y="428"/>
                  </a:lnTo>
                  <a:lnTo>
                    <a:pt x="2032" y="430"/>
                  </a:lnTo>
                  <a:lnTo>
                    <a:pt x="2026" y="432"/>
                  </a:lnTo>
                  <a:lnTo>
                    <a:pt x="2020" y="430"/>
                  </a:lnTo>
                  <a:lnTo>
                    <a:pt x="2014" y="430"/>
                  </a:lnTo>
                  <a:lnTo>
                    <a:pt x="2008" y="428"/>
                  </a:lnTo>
                  <a:lnTo>
                    <a:pt x="2002" y="428"/>
                  </a:lnTo>
                  <a:lnTo>
                    <a:pt x="1996" y="428"/>
                  </a:lnTo>
                  <a:lnTo>
                    <a:pt x="1990" y="428"/>
                  </a:lnTo>
                  <a:lnTo>
                    <a:pt x="1984" y="428"/>
                  </a:lnTo>
                  <a:lnTo>
                    <a:pt x="1978" y="430"/>
                  </a:lnTo>
                  <a:lnTo>
                    <a:pt x="1972" y="428"/>
                  </a:lnTo>
                  <a:lnTo>
                    <a:pt x="1978" y="428"/>
                  </a:lnTo>
                  <a:lnTo>
                    <a:pt x="1986" y="428"/>
                  </a:lnTo>
                  <a:lnTo>
                    <a:pt x="1990" y="424"/>
                  </a:lnTo>
                  <a:lnTo>
                    <a:pt x="1986" y="418"/>
                  </a:lnTo>
                  <a:lnTo>
                    <a:pt x="1990" y="412"/>
                  </a:lnTo>
                  <a:lnTo>
                    <a:pt x="1996" y="406"/>
                  </a:lnTo>
                  <a:lnTo>
                    <a:pt x="1990" y="406"/>
                  </a:lnTo>
                  <a:lnTo>
                    <a:pt x="1984" y="406"/>
                  </a:lnTo>
                  <a:lnTo>
                    <a:pt x="1978" y="404"/>
                  </a:lnTo>
                  <a:lnTo>
                    <a:pt x="1970" y="408"/>
                  </a:lnTo>
                  <a:lnTo>
                    <a:pt x="1964" y="410"/>
                  </a:lnTo>
                  <a:lnTo>
                    <a:pt x="1958" y="412"/>
                  </a:lnTo>
                  <a:lnTo>
                    <a:pt x="1952" y="412"/>
                  </a:lnTo>
                  <a:lnTo>
                    <a:pt x="1946" y="412"/>
                  </a:lnTo>
                  <a:lnTo>
                    <a:pt x="1940" y="410"/>
                  </a:lnTo>
                  <a:lnTo>
                    <a:pt x="1934" y="404"/>
                  </a:lnTo>
                  <a:lnTo>
                    <a:pt x="1928" y="402"/>
                  </a:lnTo>
                  <a:lnTo>
                    <a:pt x="1934" y="402"/>
                  </a:lnTo>
                  <a:lnTo>
                    <a:pt x="1940" y="404"/>
                  </a:lnTo>
                  <a:lnTo>
                    <a:pt x="1946" y="410"/>
                  </a:lnTo>
                  <a:lnTo>
                    <a:pt x="1952" y="410"/>
                  </a:lnTo>
                  <a:lnTo>
                    <a:pt x="1958" y="408"/>
                  </a:lnTo>
                  <a:lnTo>
                    <a:pt x="1964" y="406"/>
                  </a:lnTo>
                  <a:lnTo>
                    <a:pt x="1970" y="404"/>
                  </a:lnTo>
                  <a:lnTo>
                    <a:pt x="1978" y="404"/>
                  </a:lnTo>
                  <a:lnTo>
                    <a:pt x="1984" y="402"/>
                  </a:lnTo>
                  <a:lnTo>
                    <a:pt x="1990" y="402"/>
                  </a:lnTo>
                  <a:lnTo>
                    <a:pt x="1996" y="404"/>
                  </a:lnTo>
                  <a:lnTo>
                    <a:pt x="2002" y="402"/>
                  </a:lnTo>
                  <a:lnTo>
                    <a:pt x="1996" y="398"/>
                  </a:lnTo>
                  <a:lnTo>
                    <a:pt x="1990" y="394"/>
                  </a:lnTo>
                  <a:lnTo>
                    <a:pt x="1984" y="392"/>
                  </a:lnTo>
                  <a:lnTo>
                    <a:pt x="1978" y="390"/>
                  </a:lnTo>
                  <a:lnTo>
                    <a:pt x="1972" y="388"/>
                  </a:lnTo>
                  <a:lnTo>
                    <a:pt x="1966" y="386"/>
                  </a:lnTo>
                  <a:lnTo>
                    <a:pt x="1960" y="386"/>
                  </a:lnTo>
                  <a:lnTo>
                    <a:pt x="1954" y="386"/>
                  </a:lnTo>
                  <a:lnTo>
                    <a:pt x="1948" y="386"/>
                  </a:lnTo>
                  <a:lnTo>
                    <a:pt x="1942" y="384"/>
                  </a:lnTo>
                  <a:lnTo>
                    <a:pt x="1948" y="384"/>
                  </a:lnTo>
                  <a:lnTo>
                    <a:pt x="1954" y="384"/>
                  </a:lnTo>
                  <a:lnTo>
                    <a:pt x="1960" y="384"/>
                  </a:lnTo>
                  <a:lnTo>
                    <a:pt x="1966" y="386"/>
                  </a:lnTo>
                  <a:lnTo>
                    <a:pt x="1960" y="380"/>
                  </a:lnTo>
                  <a:lnTo>
                    <a:pt x="1954" y="378"/>
                  </a:lnTo>
                  <a:lnTo>
                    <a:pt x="1948" y="378"/>
                  </a:lnTo>
                  <a:lnTo>
                    <a:pt x="1942" y="376"/>
                  </a:lnTo>
                  <a:lnTo>
                    <a:pt x="1948" y="374"/>
                  </a:lnTo>
                  <a:lnTo>
                    <a:pt x="1956" y="378"/>
                  </a:lnTo>
                  <a:lnTo>
                    <a:pt x="1962" y="378"/>
                  </a:lnTo>
                  <a:lnTo>
                    <a:pt x="1968" y="380"/>
                  </a:lnTo>
                  <a:lnTo>
                    <a:pt x="1974" y="382"/>
                  </a:lnTo>
                  <a:lnTo>
                    <a:pt x="1980" y="388"/>
                  </a:lnTo>
                  <a:lnTo>
                    <a:pt x="1986" y="390"/>
                  </a:lnTo>
                  <a:lnTo>
                    <a:pt x="1994" y="392"/>
                  </a:lnTo>
                  <a:lnTo>
                    <a:pt x="2000" y="394"/>
                  </a:lnTo>
                  <a:lnTo>
                    <a:pt x="2006" y="394"/>
                  </a:lnTo>
                  <a:lnTo>
                    <a:pt x="2012" y="392"/>
                  </a:lnTo>
                  <a:lnTo>
                    <a:pt x="2018" y="392"/>
                  </a:lnTo>
                  <a:lnTo>
                    <a:pt x="2024" y="392"/>
                  </a:lnTo>
                  <a:lnTo>
                    <a:pt x="2026" y="394"/>
                  </a:lnTo>
                  <a:lnTo>
                    <a:pt x="2026" y="396"/>
                  </a:lnTo>
                  <a:lnTo>
                    <a:pt x="2024" y="400"/>
                  </a:lnTo>
                  <a:lnTo>
                    <a:pt x="2030" y="402"/>
                  </a:lnTo>
                  <a:lnTo>
                    <a:pt x="2036" y="402"/>
                  </a:lnTo>
                  <a:lnTo>
                    <a:pt x="2042" y="400"/>
                  </a:lnTo>
                  <a:lnTo>
                    <a:pt x="2050" y="398"/>
                  </a:lnTo>
                  <a:lnTo>
                    <a:pt x="2054" y="392"/>
                  </a:lnTo>
                  <a:lnTo>
                    <a:pt x="2056" y="386"/>
                  </a:lnTo>
                  <a:lnTo>
                    <a:pt x="2056" y="380"/>
                  </a:lnTo>
                  <a:lnTo>
                    <a:pt x="2050" y="374"/>
                  </a:lnTo>
                  <a:lnTo>
                    <a:pt x="2056" y="370"/>
                  </a:lnTo>
                  <a:lnTo>
                    <a:pt x="2050" y="366"/>
                  </a:lnTo>
                  <a:lnTo>
                    <a:pt x="2044" y="360"/>
                  </a:lnTo>
                  <a:lnTo>
                    <a:pt x="2038" y="360"/>
                  </a:lnTo>
                  <a:lnTo>
                    <a:pt x="2032" y="360"/>
                  </a:lnTo>
                  <a:lnTo>
                    <a:pt x="2026" y="360"/>
                  </a:lnTo>
                  <a:lnTo>
                    <a:pt x="2018" y="360"/>
                  </a:lnTo>
                  <a:lnTo>
                    <a:pt x="2012" y="358"/>
                  </a:lnTo>
                  <a:lnTo>
                    <a:pt x="2008" y="358"/>
                  </a:lnTo>
                  <a:lnTo>
                    <a:pt x="2000" y="358"/>
                  </a:lnTo>
                  <a:lnTo>
                    <a:pt x="1994" y="358"/>
                  </a:lnTo>
                  <a:lnTo>
                    <a:pt x="1988" y="358"/>
                  </a:lnTo>
                  <a:lnTo>
                    <a:pt x="1982" y="358"/>
                  </a:lnTo>
                  <a:lnTo>
                    <a:pt x="1976" y="358"/>
                  </a:lnTo>
                  <a:lnTo>
                    <a:pt x="1970" y="358"/>
                  </a:lnTo>
                  <a:lnTo>
                    <a:pt x="1964" y="358"/>
                  </a:lnTo>
                  <a:lnTo>
                    <a:pt x="1970" y="358"/>
                  </a:lnTo>
                  <a:lnTo>
                    <a:pt x="1976" y="358"/>
                  </a:lnTo>
                  <a:lnTo>
                    <a:pt x="1982" y="358"/>
                  </a:lnTo>
                  <a:lnTo>
                    <a:pt x="1988" y="356"/>
                  </a:lnTo>
                  <a:lnTo>
                    <a:pt x="1994" y="356"/>
                  </a:lnTo>
                  <a:lnTo>
                    <a:pt x="2000" y="356"/>
                  </a:lnTo>
                  <a:lnTo>
                    <a:pt x="2006" y="356"/>
                  </a:lnTo>
                  <a:lnTo>
                    <a:pt x="2012" y="356"/>
                  </a:lnTo>
                  <a:lnTo>
                    <a:pt x="2020" y="358"/>
                  </a:lnTo>
                  <a:lnTo>
                    <a:pt x="2024" y="358"/>
                  </a:lnTo>
                  <a:lnTo>
                    <a:pt x="2032" y="356"/>
                  </a:lnTo>
                  <a:lnTo>
                    <a:pt x="2038" y="354"/>
                  </a:lnTo>
                  <a:lnTo>
                    <a:pt x="2040" y="354"/>
                  </a:lnTo>
                  <a:lnTo>
                    <a:pt x="2046" y="354"/>
                  </a:lnTo>
                  <a:lnTo>
                    <a:pt x="2052" y="354"/>
                  </a:lnTo>
                  <a:lnTo>
                    <a:pt x="2054" y="348"/>
                  </a:lnTo>
                  <a:lnTo>
                    <a:pt x="2046" y="344"/>
                  </a:lnTo>
                  <a:lnTo>
                    <a:pt x="2044" y="344"/>
                  </a:lnTo>
                  <a:lnTo>
                    <a:pt x="2038" y="344"/>
                  </a:lnTo>
                  <a:lnTo>
                    <a:pt x="2032" y="344"/>
                  </a:lnTo>
                  <a:lnTo>
                    <a:pt x="2024" y="344"/>
                  </a:lnTo>
                  <a:lnTo>
                    <a:pt x="2018" y="344"/>
                  </a:lnTo>
                  <a:lnTo>
                    <a:pt x="2012" y="342"/>
                  </a:lnTo>
                  <a:lnTo>
                    <a:pt x="2006" y="340"/>
                  </a:lnTo>
                  <a:lnTo>
                    <a:pt x="2000" y="340"/>
                  </a:lnTo>
                  <a:lnTo>
                    <a:pt x="2008" y="342"/>
                  </a:lnTo>
                  <a:lnTo>
                    <a:pt x="2012" y="346"/>
                  </a:lnTo>
                  <a:lnTo>
                    <a:pt x="2018" y="348"/>
                  </a:lnTo>
                  <a:lnTo>
                    <a:pt x="2024" y="350"/>
                  </a:lnTo>
                  <a:lnTo>
                    <a:pt x="2020" y="350"/>
                  </a:lnTo>
                  <a:lnTo>
                    <a:pt x="2014" y="348"/>
                  </a:lnTo>
                  <a:lnTo>
                    <a:pt x="2008" y="346"/>
                  </a:lnTo>
                  <a:lnTo>
                    <a:pt x="2002" y="342"/>
                  </a:lnTo>
                  <a:lnTo>
                    <a:pt x="1994" y="342"/>
                  </a:lnTo>
                  <a:lnTo>
                    <a:pt x="1988" y="344"/>
                  </a:lnTo>
                  <a:lnTo>
                    <a:pt x="1982" y="344"/>
                  </a:lnTo>
                  <a:lnTo>
                    <a:pt x="1976" y="344"/>
                  </a:lnTo>
                  <a:lnTo>
                    <a:pt x="1982" y="338"/>
                  </a:lnTo>
                  <a:lnTo>
                    <a:pt x="1974" y="334"/>
                  </a:lnTo>
                  <a:lnTo>
                    <a:pt x="1968" y="334"/>
                  </a:lnTo>
                  <a:lnTo>
                    <a:pt x="1962" y="336"/>
                  </a:lnTo>
                  <a:lnTo>
                    <a:pt x="1956" y="334"/>
                  </a:lnTo>
                  <a:lnTo>
                    <a:pt x="1950" y="334"/>
                  </a:lnTo>
                  <a:lnTo>
                    <a:pt x="1956" y="332"/>
                  </a:lnTo>
                  <a:lnTo>
                    <a:pt x="1962" y="334"/>
                  </a:lnTo>
                  <a:lnTo>
                    <a:pt x="1968" y="334"/>
                  </a:lnTo>
                  <a:lnTo>
                    <a:pt x="1974" y="334"/>
                  </a:lnTo>
                  <a:lnTo>
                    <a:pt x="1980" y="332"/>
                  </a:lnTo>
                  <a:lnTo>
                    <a:pt x="1974" y="332"/>
                  </a:lnTo>
                  <a:lnTo>
                    <a:pt x="1968" y="332"/>
                  </a:lnTo>
                  <a:lnTo>
                    <a:pt x="1974" y="332"/>
                  </a:lnTo>
                  <a:lnTo>
                    <a:pt x="1980" y="330"/>
                  </a:lnTo>
                  <a:lnTo>
                    <a:pt x="1974" y="328"/>
                  </a:lnTo>
                  <a:lnTo>
                    <a:pt x="1968" y="328"/>
                  </a:lnTo>
                  <a:lnTo>
                    <a:pt x="1974" y="326"/>
                  </a:lnTo>
                  <a:lnTo>
                    <a:pt x="1968" y="324"/>
                  </a:lnTo>
                  <a:lnTo>
                    <a:pt x="1962" y="324"/>
                  </a:lnTo>
                  <a:lnTo>
                    <a:pt x="1956" y="330"/>
                  </a:lnTo>
                  <a:lnTo>
                    <a:pt x="1952" y="324"/>
                  </a:lnTo>
                  <a:lnTo>
                    <a:pt x="1946" y="322"/>
                  </a:lnTo>
                  <a:lnTo>
                    <a:pt x="1952" y="318"/>
                  </a:lnTo>
                  <a:lnTo>
                    <a:pt x="1958" y="318"/>
                  </a:lnTo>
                  <a:lnTo>
                    <a:pt x="1962" y="312"/>
                  </a:lnTo>
                  <a:lnTo>
                    <a:pt x="1970" y="312"/>
                  </a:lnTo>
                  <a:lnTo>
                    <a:pt x="1976" y="316"/>
                  </a:lnTo>
                  <a:lnTo>
                    <a:pt x="1982" y="322"/>
                  </a:lnTo>
                  <a:lnTo>
                    <a:pt x="1988" y="322"/>
                  </a:lnTo>
                  <a:lnTo>
                    <a:pt x="1994" y="320"/>
                  </a:lnTo>
                  <a:lnTo>
                    <a:pt x="2000" y="318"/>
                  </a:lnTo>
                  <a:lnTo>
                    <a:pt x="2006" y="316"/>
                  </a:lnTo>
                  <a:lnTo>
                    <a:pt x="2012" y="316"/>
                  </a:lnTo>
                  <a:lnTo>
                    <a:pt x="2018" y="314"/>
                  </a:lnTo>
                  <a:lnTo>
                    <a:pt x="2012" y="312"/>
                  </a:lnTo>
                  <a:lnTo>
                    <a:pt x="2006" y="312"/>
                  </a:lnTo>
                  <a:lnTo>
                    <a:pt x="2000" y="312"/>
                  </a:lnTo>
                  <a:lnTo>
                    <a:pt x="1994" y="312"/>
                  </a:lnTo>
                  <a:lnTo>
                    <a:pt x="1988" y="310"/>
                  </a:lnTo>
                  <a:lnTo>
                    <a:pt x="1994" y="310"/>
                  </a:lnTo>
                  <a:lnTo>
                    <a:pt x="2000" y="310"/>
                  </a:lnTo>
                  <a:lnTo>
                    <a:pt x="2006" y="310"/>
                  </a:lnTo>
                  <a:lnTo>
                    <a:pt x="2012" y="310"/>
                  </a:lnTo>
                  <a:lnTo>
                    <a:pt x="2018" y="310"/>
                  </a:lnTo>
                  <a:lnTo>
                    <a:pt x="2024" y="312"/>
                  </a:lnTo>
                  <a:lnTo>
                    <a:pt x="2030" y="310"/>
                  </a:lnTo>
                  <a:lnTo>
                    <a:pt x="2024" y="306"/>
                  </a:lnTo>
                  <a:lnTo>
                    <a:pt x="2018" y="308"/>
                  </a:lnTo>
                  <a:lnTo>
                    <a:pt x="2024" y="306"/>
                  </a:lnTo>
                  <a:lnTo>
                    <a:pt x="2032" y="306"/>
                  </a:lnTo>
                  <a:lnTo>
                    <a:pt x="2038" y="306"/>
                  </a:lnTo>
                  <a:lnTo>
                    <a:pt x="2042" y="306"/>
                  </a:lnTo>
                  <a:lnTo>
                    <a:pt x="2050" y="308"/>
                  </a:lnTo>
                  <a:lnTo>
                    <a:pt x="2056" y="306"/>
                  </a:lnTo>
                  <a:lnTo>
                    <a:pt x="2058" y="306"/>
                  </a:lnTo>
                  <a:lnTo>
                    <a:pt x="2062" y="306"/>
                  </a:lnTo>
                  <a:lnTo>
                    <a:pt x="2068" y="308"/>
                  </a:lnTo>
                  <a:lnTo>
                    <a:pt x="2074" y="310"/>
                  </a:lnTo>
                  <a:lnTo>
                    <a:pt x="2082" y="312"/>
                  </a:lnTo>
                  <a:lnTo>
                    <a:pt x="2088" y="312"/>
                  </a:lnTo>
                  <a:lnTo>
                    <a:pt x="2094" y="312"/>
                  </a:lnTo>
                  <a:lnTo>
                    <a:pt x="2100" y="312"/>
                  </a:lnTo>
                  <a:lnTo>
                    <a:pt x="2106" y="314"/>
                  </a:lnTo>
                  <a:lnTo>
                    <a:pt x="2112" y="314"/>
                  </a:lnTo>
                  <a:lnTo>
                    <a:pt x="2118" y="314"/>
                  </a:lnTo>
                  <a:lnTo>
                    <a:pt x="2122" y="312"/>
                  </a:lnTo>
                  <a:lnTo>
                    <a:pt x="2130" y="310"/>
                  </a:lnTo>
                  <a:lnTo>
                    <a:pt x="2132" y="304"/>
                  </a:lnTo>
                  <a:lnTo>
                    <a:pt x="2134" y="298"/>
                  </a:lnTo>
                  <a:lnTo>
                    <a:pt x="2134" y="292"/>
                  </a:lnTo>
                  <a:lnTo>
                    <a:pt x="2128" y="286"/>
                  </a:lnTo>
                  <a:lnTo>
                    <a:pt x="2122" y="286"/>
                  </a:lnTo>
                  <a:lnTo>
                    <a:pt x="2116" y="286"/>
                  </a:lnTo>
                  <a:lnTo>
                    <a:pt x="2110" y="286"/>
                  </a:lnTo>
                  <a:lnTo>
                    <a:pt x="2104" y="286"/>
                  </a:lnTo>
                  <a:lnTo>
                    <a:pt x="2098" y="292"/>
                  </a:lnTo>
                  <a:lnTo>
                    <a:pt x="2092" y="292"/>
                  </a:lnTo>
                  <a:lnTo>
                    <a:pt x="2084" y="292"/>
                  </a:lnTo>
                  <a:lnTo>
                    <a:pt x="2082" y="286"/>
                  </a:lnTo>
                  <a:lnTo>
                    <a:pt x="2076" y="284"/>
                  </a:lnTo>
                  <a:lnTo>
                    <a:pt x="2072" y="284"/>
                  </a:lnTo>
                  <a:lnTo>
                    <a:pt x="2066" y="284"/>
                  </a:lnTo>
                  <a:lnTo>
                    <a:pt x="2060" y="284"/>
                  </a:lnTo>
                  <a:lnTo>
                    <a:pt x="2054" y="284"/>
                  </a:lnTo>
                  <a:lnTo>
                    <a:pt x="2048" y="284"/>
                  </a:lnTo>
                  <a:lnTo>
                    <a:pt x="2040" y="284"/>
                  </a:lnTo>
                  <a:lnTo>
                    <a:pt x="2046" y="282"/>
                  </a:lnTo>
                  <a:lnTo>
                    <a:pt x="2052" y="284"/>
                  </a:lnTo>
                  <a:lnTo>
                    <a:pt x="2058" y="284"/>
                  </a:lnTo>
                  <a:lnTo>
                    <a:pt x="2066" y="282"/>
                  </a:lnTo>
                  <a:lnTo>
                    <a:pt x="2060" y="280"/>
                  </a:lnTo>
                  <a:lnTo>
                    <a:pt x="2052" y="280"/>
                  </a:lnTo>
                  <a:lnTo>
                    <a:pt x="2046" y="280"/>
                  </a:lnTo>
                  <a:lnTo>
                    <a:pt x="2040" y="280"/>
                  </a:lnTo>
                  <a:lnTo>
                    <a:pt x="2034" y="278"/>
                  </a:lnTo>
                  <a:lnTo>
                    <a:pt x="2028" y="276"/>
                  </a:lnTo>
                  <a:lnTo>
                    <a:pt x="2034" y="276"/>
                  </a:lnTo>
                  <a:lnTo>
                    <a:pt x="2040" y="278"/>
                  </a:lnTo>
                  <a:lnTo>
                    <a:pt x="2046" y="278"/>
                  </a:lnTo>
                  <a:lnTo>
                    <a:pt x="2052" y="278"/>
                  </a:lnTo>
                  <a:lnTo>
                    <a:pt x="2046" y="276"/>
                  </a:lnTo>
                  <a:lnTo>
                    <a:pt x="2052" y="276"/>
                  </a:lnTo>
                  <a:lnTo>
                    <a:pt x="2058" y="276"/>
                  </a:lnTo>
                  <a:lnTo>
                    <a:pt x="2054" y="272"/>
                  </a:lnTo>
                  <a:lnTo>
                    <a:pt x="2046" y="272"/>
                  </a:lnTo>
                  <a:lnTo>
                    <a:pt x="2040" y="270"/>
                  </a:lnTo>
                  <a:lnTo>
                    <a:pt x="2034" y="270"/>
                  </a:lnTo>
                  <a:lnTo>
                    <a:pt x="2040" y="268"/>
                  </a:lnTo>
                  <a:lnTo>
                    <a:pt x="2046" y="268"/>
                  </a:lnTo>
                  <a:lnTo>
                    <a:pt x="2054" y="268"/>
                  </a:lnTo>
                  <a:lnTo>
                    <a:pt x="2058" y="268"/>
                  </a:lnTo>
                  <a:lnTo>
                    <a:pt x="2064" y="268"/>
                  </a:lnTo>
                  <a:lnTo>
                    <a:pt x="2072" y="268"/>
                  </a:lnTo>
                  <a:lnTo>
                    <a:pt x="2078" y="270"/>
                  </a:lnTo>
                  <a:lnTo>
                    <a:pt x="2084" y="272"/>
                  </a:lnTo>
                  <a:lnTo>
                    <a:pt x="2090" y="274"/>
                  </a:lnTo>
                  <a:lnTo>
                    <a:pt x="2096" y="274"/>
                  </a:lnTo>
                  <a:lnTo>
                    <a:pt x="2102" y="274"/>
                  </a:lnTo>
                  <a:lnTo>
                    <a:pt x="2108" y="272"/>
                  </a:lnTo>
                  <a:lnTo>
                    <a:pt x="2104" y="268"/>
                  </a:lnTo>
                  <a:lnTo>
                    <a:pt x="2100" y="264"/>
                  </a:lnTo>
                  <a:lnTo>
                    <a:pt x="2092" y="264"/>
                  </a:lnTo>
                  <a:lnTo>
                    <a:pt x="2086" y="264"/>
                  </a:lnTo>
                  <a:lnTo>
                    <a:pt x="2080" y="264"/>
                  </a:lnTo>
                  <a:lnTo>
                    <a:pt x="2074" y="262"/>
                  </a:lnTo>
                  <a:lnTo>
                    <a:pt x="2066" y="260"/>
                  </a:lnTo>
                  <a:lnTo>
                    <a:pt x="2062" y="260"/>
                  </a:lnTo>
                  <a:lnTo>
                    <a:pt x="2054" y="258"/>
                  </a:lnTo>
                  <a:lnTo>
                    <a:pt x="2050" y="254"/>
                  </a:lnTo>
                  <a:lnTo>
                    <a:pt x="2044" y="252"/>
                  </a:lnTo>
                  <a:lnTo>
                    <a:pt x="2038" y="254"/>
                  </a:lnTo>
                  <a:lnTo>
                    <a:pt x="2032" y="256"/>
                  </a:lnTo>
                  <a:lnTo>
                    <a:pt x="2024" y="260"/>
                  </a:lnTo>
                  <a:lnTo>
                    <a:pt x="2020" y="264"/>
                  </a:lnTo>
                  <a:lnTo>
                    <a:pt x="2016" y="268"/>
                  </a:lnTo>
                  <a:lnTo>
                    <a:pt x="2010" y="274"/>
                  </a:lnTo>
                  <a:lnTo>
                    <a:pt x="2004" y="276"/>
                  </a:lnTo>
                  <a:lnTo>
                    <a:pt x="2008" y="272"/>
                  </a:lnTo>
                  <a:lnTo>
                    <a:pt x="2002" y="270"/>
                  </a:lnTo>
                  <a:lnTo>
                    <a:pt x="1996" y="270"/>
                  </a:lnTo>
                  <a:lnTo>
                    <a:pt x="1990" y="270"/>
                  </a:lnTo>
                  <a:lnTo>
                    <a:pt x="1996" y="264"/>
                  </a:lnTo>
                  <a:lnTo>
                    <a:pt x="2002" y="262"/>
                  </a:lnTo>
                  <a:lnTo>
                    <a:pt x="2008" y="258"/>
                  </a:lnTo>
                  <a:lnTo>
                    <a:pt x="2012" y="252"/>
                  </a:lnTo>
                  <a:lnTo>
                    <a:pt x="2016" y="250"/>
                  </a:lnTo>
                  <a:lnTo>
                    <a:pt x="2024" y="248"/>
                  </a:lnTo>
                  <a:lnTo>
                    <a:pt x="2018" y="248"/>
                  </a:lnTo>
                  <a:lnTo>
                    <a:pt x="2012" y="246"/>
                  </a:lnTo>
                  <a:lnTo>
                    <a:pt x="2018" y="246"/>
                  </a:lnTo>
                  <a:lnTo>
                    <a:pt x="2024" y="246"/>
                  </a:lnTo>
                  <a:lnTo>
                    <a:pt x="2030" y="242"/>
                  </a:lnTo>
                  <a:lnTo>
                    <a:pt x="2032" y="236"/>
                  </a:lnTo>
                  <a:lnTo>
                    <a:pt x="2038" y="232"/>
                  </a:lnTo>
                  <a:lnTo>
                    <a:pt x="2042" y="228"/>
                  </a:lnTo>
                  <a:lnTo>
                    <a:pt x="2048" y="224"/>
                  </a:lnTo>
                  <a:lnTo>
                    <a:pt x="2042" y="220"/>
                  </a:lnTo>
                  <a:lnTo>
                    <a:pt x="2036" y="222"/>
                  </a:lnTo>
                  <a:lnTo>
                    <a:pt x="2042" y="220"/>
                  </a:lnTo>
                  <a:lnTo>
                    <a:pt x="2050" y="220"/>
                  </a:lnTo>
                  <a:lnTo>
                    <a:pt x="2052" y="214"/>
                  </a:lnTo>
                  <a:lnTo>
                    <a:pt x="2046" y="212"/>
                  </a:lnTo>
                  <a:lnTo>
                    <a:pt x="2054" y="212"/>
                  </a:lnTo>
                  <a:lnTo>
                    <a:pt x="2060" y="212"/>
                  </a:lnTo>
                  <a:lnTo>
                    <a:pt x="2066" y="210"/>
                  </a:lnTo>
                  <a:lnTo>
                    <a:pt x="2072" y="208"/>
                  </a:lnTo>
                  <a:lnTo>
                    <a:pt x="2078" y="210"/>
                  </a:lnTo>
                  <a:lnTo>
                    <a:pt x="2084" y="210"/>
                  </a:lnTo>
                  <a:lnTo>
                    <a:pt x="2092" y="210"/>
                  </a:lnTo>
                  <a:lnTo>
                    <a:pt x="2094" y="208"/>
                  </a:lnTo>
                  <a:lnTo>
                    <a:pt x="2098" y="204"/>
                  </a:lnTo>
                  <a:lnTo>
                    <a:pt x="2096" y="202"/>
                  </a:lnTo>
                  <a:lnTo>
                    <a:pt x="2098" y="198"/>
                  </a:lnTo>
                  <a:lnTo>
                    <a:pt x="2100" y="198"/>
                  </a:lnTo>
                  <a:lnTo>
                    <a:pt x="2108" y="198"/>
                  </a:lnTo>
                  <a:lnTo>
                    <a:pt x="2114" y="198"/>
                  </a:lnTo>
                  <a:lnTo>
                    <a:pt x="2120" y="192"/>
                  </a:lnTo>
                  <a:lnTo>
                    <a:pt x="2126" y="190"/>
                  </a:lnTo>
                  <a:lnTo>
                    <a:pt x="2132" y="192"/>
                  </a:lnTo>
                  <a:lnTo>
                    <a:pt x="2138" y="188"/>
                  </a:lnTo>
                  <a:lnTo>
                    <a:pt x="2134" y="188"/>
                  </a:lnTo>
                  <a:lnTo>
                    <a:pt x="2126" y="188"/>
                  </a:lnTo>
                  <a:lnTo>
                    <a:pt x="2120" y="188"/>
                  </a:lnTo>
                  <a:lnTo>
                    <a:pt x="2114" y="192"/>
                  </a:lnTo>
                  <a:lnTo>
                    <a:pt x="2108" y="192"/>
                  </a:lnTo>
                  <a:lnTo>
                    <a:pt x="2114" y="188"/>
                  </a:lnTo>
                  <a:lnTo>
                    <a:pt x="2120" y="182"/>
                  </a:lnTo>
                  <a:lnTo>
                    <a:pt x="2120" y="178"/>
                  </a:lnTo>
                  <a:lnTo>
                    <a:pt x="2126" y="174"/>
                  </a:lnTo>
                  <a:lnTo>
                    <a:pt x="2130" y="168"/>
                  </a:lnTo>
                  <a:lnTo>
                    <a:pt x="2136" y="166"/>
                  </a:lnTo>
                  <a:lnTo>
                    <a:pt x="2142" y="164"/>
                  </a:lnTo>
                  <a:lnTo>
                    <a:pt x="2148" y="164"/>
                  </a:lnTo>
                  <a:lnTo>
                    <a:pt x="2154" y="164"/>
                  </a:lnTo>
                  <a:lnTo>
                    <a:pt x="2160" y="166"/>
                  </a:lnTo>
                  <a:lnTo>
                    <a:pt x="2166" y="166"/>
                  </a:lnTo>
                  <a:lnTo>
                    <a:pt x="2172" y="166"/>
                  </a:lnTo>
                  <a:lnTo>
                    <a:pt x="2180" y="166"/>
                  </a:lnTo>
                  <a:lnTo>
                    <a:pt x="2186" y="164"/>
                  </a:lnTo>
                  <a:lnTo>
                    <a:pt x="2192" y="162"/>
                  </a:lnTo>
                  <a:lnTo>
                    <a:pt x="2198" y="160"/>
                  </a:lnTo>
                  <a:lnTo>
                    <a:pt x="2204" y="158"/>
                  </a:lnTo>
                  <a:lnTo>
                    <a:pt x="2210" y="154"/>
                  </a:lnTo>
                  <a:lnTo>
                    <a:pt x="2216" y="152"/>
                  </a:lnTo>
                  <a:lnTo>
                    <a:pt x="2210" y="148"/>
                  </a:lnTo>
                  <a:lnTo>
                    <a:pt x="2204" y="148"/>
                  </a:lnTo>
                  <a:lnTo>
                    <a:pt x="2198" y="148"/>
                  </a:lnTo>
                  <a:lnTo>
                    <a:pt x="2190" y="148"/>
                  </a:lnTo>
                  <a:lnTo>
                    <a:pt x="2184" y="148"/>
                  </a:lnTo>
                  <a:lnTo>
                    <a:pt x="2178" y="148"/>
                  </a:lnTo>
                  <a:lnTo>
                    <a:pt x="2172" y="148"/>
                  </a:lnTo>
                  <a:lnTo>
                    <a:pt x="2166" y="150"/>
                  </a:lnTo>
                  <a:lnTo>
                    <a:pt x="2160" y="150"/>
                  </a:lnTo>
                  <a:lnTo>
                    <a:pt x="2152" y="150"/>
                  </a:lnTo>
                  <a:lnTo>
                    <a:pt x="2148" y="148"/>
                  </a:lnTo>
                  <a:lnTo>
                    <a:pt x="2140" y="150"/>
                  </a:lnTo>
                  <a:lnTo>
                    <a:pt x="2134" y="152"/>
                  </a:lnTo>
                  <a:lnTo>
                    <a:pt x="2126" y="154"/>
                  </a:lnTo>
                  <a:lnTo>
                    <a:pt x="2120" y="154"/>
                  </a:lnTo>
                  <a:lnTo>
                    <a:pt x="2118" y="154"/>
                  </a:lnTo>
                  <a:lnTo>
                    <a:pt x="2116" y="154"/>
                  </a:lnTo>
                  <a:lnTo>
                    <a:pt x="2112" y="158"/>
                  </a:lnTo>
                  <a:lnTo>
                    <a:pt x="2108" y="162"/>
                  </a:lnTo>
                  <a:lnTo>
                    <a:pt x="2114" y="162"/>
                  </a:lnTo>
                  <a:lnTo>
                    <a:pt x="2106" y="164"/>
                  </a:lnTo>
                  <a:lnTo>
                    <a:pt x="2100" y="166"/>
                  </a:lnTo>
                  <a:lnTo>
                    <a:pt x="2094" y="162"/>
                  </a:lnTo>
                  <a:lnTo>
                    <a:pt x="2088" y="160"/>
                  </a:lnTo>
                  <a:lnTo>
                    <a:pt x="2094" y="156"/>
                  </a:lnTo>
                  <a:lnTo>
                    <a:pt x="2098" y="154"/>
                  </a:lnTo>
                  <a:lnTo>
                    <a:pt x="2100" y="152"/>
                  </a:lnTo>
                  <a:lnTo>
                    <a:pt x="2104" y="150"/>
                  </a:lnTo>
                  <a:lnTo>
                    <a:pt x="2100" y="148"/>
                  </a:lnTo>
                  <a:lnTo>
                    <a:pt x="2104" y="148"/>
                  </a:lnTo>
                  <a:lnTo>
                    <a:pt x="2110" y="148"/>
                  </a:lnTo>
                  <a:lnTo>
                    <a:pt x="2118" y="144"/>
                  </a:lnTo>
                  <a:lnTo>
                    <a:pt x="2124" y="142"/>
                  </a:lnTo>
                  <a:lnTo>
                    <a:pt x="2130" y="140"/>
                  </a:lnTo>
                  <a:lnTo>
                    <a:pt x="2136" y="140"/>
                  </a:lnTo>
                  <a:lnTo>
                    <a:pt x="2142" y="140"/>
                  </a:lnTo>
                  <a:lnTo>
                    <a:pt x="2148" y="142"/>
                  </a:lnTo>
                  <a:lnTo>
                    <a:pt x="2154" y="142"/>
                  </a:lnTo>
                  <a:lnTo>
                    <a:pt x="2160" y="144"/>
                  </a:lnTo>
                  <a:lnTo>
                    <a:pt x="2168" y="144"/>
                  </a:lnTo>
                  <a:lnTo>
                    <a:pt x="2174" y="144"/>
                  </a:lnTo>
                  <a:lnTo>
                    <a:pt x="2182" y="144"/>
                  </a:lnTo>
                  <a:lnTo>
                    <a:pt x="2188" y="144"/>
                  </a:lnTo>
                  <a:lnTo>
                    <a:pt x="2194" y="144"/>
                  </a:lnTo>
                  <a:lnTo>
                    <a:pt x="2200" y="144"/>
                  </a:lnTo>
                  <a:lnTo>
                    <a:pt x="2206" y="144"/>
                  </a:lnTo>
                  <a:lnTo>
                    <a:pt x="2212" y="144"/>
                  </a:lnTo>
                  <a:lnTo>
                    <a:pt x="2220" y="144"/>
                  </a:lnTo>
                  <a:lnTo>
                    <a:pt x="2226" y="144"/>
                  </a:lnTo>
                  <a:lnTo>
                    <a:pt x="2232" y="144"/>
                  </a:lnTo>
                  <a:lnTo>
                    <a:pt x="2238" y="142"/>
                  </a:lnTo>
                  <a:lnTo>
                    <a:pt x="2244" y="142"/>
                  </a:lnTo>
                  <a:lnTo>
                    <a:pt x="2250" y="136"/>
                  </a:lnTo>
                  <a:lnTo>
                    <a:pt x="2258" y="136"/>
                  </a:lnTo>
                  <a:lnTo>
                    <a:pt x="2264" y="134"/>
                  </a:lnTo>
                  <a:lnTo>
                    <a:pt x="2270" y="132"/>
                  </a:lnTo>
                  <a:lnTo>
                    <a:pt x="2276" y="130"/>
                  </a:lnTo>
                  <a:lnTo>
                    <a:pt x="2270" y="130"/>
                  </a:lnTo>
                  <a:lnTo>
                    <a:pt x="2264" y="128"/>
                  </a:lnTo>
                  <a:lnTo>
                    <a:pt x="2256" y="128"/>
                  </a:lnTo>
                  <a:lnTo>
                    <a:pt x="2250" y="128"/>
                  </a:lnTo>
                  <a:lnTo>
                    <a:pt x="2244" y="128"/>
                  </a:lnTo>
                  <a:lnTo>
                    <a:pt x="2236" y="128"/>
                  </a:lnTo>
                  <a:lnTo>
                    <a:pt x="2230" y="126"/>
                  </a:lnTo>
                  <a:lnTo>
                    <a:pt x="2224" y="126"/>
                  </a:lnTo>
                  <a:lnTo>
                    <a:pt x="2218" y="126"/>
                  </a:lnTo>
                  <a:lnTo>
                    <a:pt x="2212" y="128"/>
                  </a:lnTo>
                  <a:lnTo>
                    <a:pt x="2206" y="128"/>
                  </a:lnTo>
                  <a:lnTo>
                    <a:pt x="2198" y="128"/>
                  </a:lnTo>
                  <a:lnTo>
                    <a:pt x="2192" y="128"/>
                  </a:lnTo>
                  <a:lnTo>
                    <a:pt x="2186" y="130"/>
                  </a:lnTo>
                  <a:lnTo>
                    <a:pt x="2180" y="128"/>
                  </a:lnTo>
                  <a:lnTo>
                    <a:pt x="2174" y="128"/>
                  </a:lnTo>
                  <a:lnTo>
                    <a:pt x="2168" y="128"/>
                  </a:lnTo>
                  <a:lnTo>
                    <a:pt x="2162" y="128"/>
                  </a:lnTo>
                  <a:lnTo>
                    <a:pt x="2154" y="128"/>
                  </a:lnTo>
                  <a:lnTo>
                    <a:pt x="2148" y="126"/>
                  </a:lnTo>
                  <a:lnTo>
                    <a:pt x="2142" y="126"/>
                  </a:lnTo>
                  <a:lnTo>
                    <a:pt x="2136" y="124"/>
                  </a:lnTo>
                  <a:lnTo>
                    <a:pt x="2130" y="124"/>
                  </a:lnTo>
                  <a:lnTo>
                    <a:pt x="2122" y="126"/>
                  </a:lnTo>
                  <a:lnTo>
                    <a:pt x="2118" y="128"/>
                  </a:lnTo>
                  <a:lnTo>
                    <a:pt x="2110" y="128"/>
                  </a:lnTo>
                  <a:lnTo>
                    <a:pt x="2104" y="128"/>
                  </a:lnTo>
                  <a:lnTo>
                    <a:pt x="2098" y="132"/>
                  </a:lnTo>
                  <a:lnTo>
                    <a:pt x="2092" y="128"/>
                  </a:lnTo>
                  <a:lnTo>
                    <a:pt x="2086" y="128"/>
                  </a:lnTo>
                  <a:lnTo>
                    <a:pt x="2080" y="128"/>
                  </a:lnTo>
                  <a:lnTo>
                    <a:pt x="2086" y="128"/>
                  </a:lnTo>
                  <a:lnTo>
                    <a:pt x="2092" y="128"/>
                  </a:lnTo>
                  <a:lnTo>
                    <a:pt x="2100" y="128"/>
                  </a:lnTo>
                  <a:lnTo>
                    <a:pt x="2106" y="128"/>
                  </a:lnTo>
                  <a:lnTo>
                    <a:pt x="2112" y="126"/>
                  </a:lnTo>
                  <a:lnTo>
                    <a:pt x="2118" y="124"/>
                  </a:lnTo>
                  <a:lnTo>
                    <a:pt x="2124" y="124"/>
                  </a:lnTo>
                  <a:lnTo>
                    <a:pt x="2130" y="124"/>
                  </a:lnTo>
                  <a:lnTo>
                    <a:pt x="2136" y="124"/>
                  </a:lnTo>
                  <a:lnTo>
                    <a:pt x="2144" y="124"/>
                  </a:lnTo>
                  <a:lnTo>
                    <a:pt x="2150" y="124"/>
                  </a:lnTo>
                  <a:lnTo>
                    <a:pt x="2156" y="124"/>
                  </a:lnTo>
                  <a:lnTo>
                    <a:pt x="2164" y="124"/>
                  </a:lnTo>
                  <a:lnTo>
                    <a:pt x="2170" y="126"/>
                  </a:lnTo>
                  <a:lnTo>
                    <a:pt x="2176" y="126"/>
                  </a:lnTo>
                  <a:lnTo>
                    <a:pt x="2184" y="126"/>
                  </a:lnTo>
                  <a:lnTo>
                    <a:pt x="2190" y="124"/>
                  </a:lnTo>
                  <a:lnTo>
                    <a:pt x="2196" y="122"/>
                  </a:lnTo>
                  <a:lnTo>
                    <a:pt x="2202" y="122"/>
                  </a:lnTo>
                  <a:lnTo>
                    <a:pt x="2208" y="118"/>
                  </a:lnTo>
                  <a:lnTo>
                    <a:pt x="2214" y="118"/>
                  </a:lnTo>
                  <a:lnTo>
                    <a:pt x="2220" y="120"/>
                  </a:lnTo>
                  <a:lnTo>
                    <a:pt x="2226" y="120"/>
                  </a:lnTo>
                  <a:lnTo>
                    <a:pt x="2234" y="120"/>
                  </a:lnTo>
                  <a:lnTo>
                    <a:pt x="2240" y="120"/>
                  </a:lnTo>
                  <a:lnTo>
                    <a:pt x="2246" y="120"/>
                  </a:lnTo>
                  <a:lnTo>
                    <a:pt x="2252" y="122"/>
                  </a:lnTo>
                  <a:lnTo>
                    <a:pt x="2258" y="122"/>
                  </a:lnTo>
                  <a:lnTo>
                    <a:pt x="2264" y="122"/>
                  </a:lnTo>
                  <a:lnTo>
                    <a:pt x="2270" y="120"/>
                  </a:lnTo>
                  <a:lnTo>
                    <a:pt x="2276" y="120"/>
                  </a:lnTo>
                  <a:lnTo>
                    <a:pt x="2282" y="122"/>
                  </a:lnTo>
                  <a:lnTo>
                    <a:pt x="2290" y="116"/>
                  </a:lnTo>
                  <a:lnTo>
                    <a:pt x="2296" y="116"/>
                  </a:lnTo>
                  <a:lnTo>
                    <a:pt x="2302" y="116"/>
                  </a:lnTo>
                  <a:lnTo>
                    <a:pt x="2310" y="116"/>
                  </a:lnTo>
                  <a:lnTo>
                    <a:pt x="2316" y="116"/>
                  </a:lnTo>
                  <a:lnTo>
                    <a:pt x="2322" y="116"/>
                  </a:lnTo>
                  <a:lnTo>
                    <a:pt x="2330" y="114"/>
                  </a:lnTo>
                  <a:lnTo>
                    <a:pt x="2334" y="110"/>
                  </a:lnTo>
                  <a:lnTo>
                    <a:pt x="2330" y="110"/>
                  </a:lnTo>
                  <a:lnTo>
                    <a:pt x="2324" y="106"/>
                  </a:lnTo>
                  <a:lnTo>
                    <a:pt x="2330" y="104"/>
                  </a:lnTo>
                  <a:lnTo>
                    <a:pt x="2336" y="102"/>
                  </a:lnTo>
                  <a:lnTo>
                    <a:pt x="2342" y="104"/>
                  </a:lnTo>
                  <a:lnTo>
                    <a:pt x="2348" y="104"/>
                  </a:lnTo>
                  <a:lnTo>
                    <a:pt x="2356" y="104"/>
                  </a:lnTo>
                  <a:lnTo>
                    <a:pt x="2362" y="104"/>
                  </a:lnTo>
                  <a:lnTo>
                    <a:pt x="2368" y="102"/>
                  </a:lnTo>
                  <a:lnTo>
                    <a:pt x="2376" y="100"/>
                  </a:lnTo>
                  <a:lnTo>
                    <a:pt x="2382" y="98"/>
                  </a:lnTo>
                  <a:lnTo>
                    <a:pt x="2388" y="96"/>
                  </a:lnTo>
                  <a:lnTo>
                    <a:pt x="2394" y="96"/>
                  </a:lnTo>
                  <a:lnTo>
                    <a:pt x="2402" y="94"/>
                  </a:lnTo>
                  <a:lnTo>
                    <a:pt x="2406" y="92"/>
                  </a:lnTo>
                  <a:lnTo>
                    <a:pt x="2414" y="90"/>
                  </a:lnTo>
                  <a:lnTo>
                    <a:pt x="2420" y="90"/>
                  </a:lnTo>
                  <a:lnTo>
                    <a:pt x="2426" y="88"/>
                  </a:lnTo>
                  <a:lnTo>
                    <a:pt x="2432" y="88"/>
                  </a:lnTo>
                  <a:lnTo>
                    <a:pt x="2438" y="86"/>
                  </a:lnTo>
                  <a:lnTo>
                    <a:pt x="2444" y="82"/>
                  </a:lnTo>
                  <a:lnTo>
                    <a:pt x="2438" y="82"/>
                  </a:lnTo>
                  <a:lnTo>
                    <a:pt x="2432" y="82"/>
                  </a:lnTo>
                  <a:lnTo>
                    <a:pt x="2426" y="78"/>
                  </a:lnTo>
                  <a:lnTo>
                    <a:pt x="2420" y="76"/>
                  </a:lnTo>
                  <a:lnTo>
                    <a:pt x="2414" y="76"/>
                  </a:lnTo>
                  <a:lnTo>
                    <a:pt x="2406" y="76"/>
                  </a:lnTo>
                  <a:lnTo>
                    <a:pt x="2400" y="74"/>
                  </a:lnTo>
                  <a:lnTo>
                    <a:pt x="2394" y="74"/>
                  </a:lnTo>
                  <a:lnTo>
                    <a:pt x="2388" y="74"/>
                  </a:lnTo>
                  <a:lnTo>
                    <a:pt x="2382" y="74"/>
                  </a:lnTo>
                  <a:lnTo>
                    <a:pt x="2376" y="72"/>
                  </a:lnTo>
                  <a:lnTo>
                    <a:pt x="2370" y="72"/>
                  </a:lnTo>
                  <a:lnTo>
                    <a:pt x="2364" y="72"/>
                  </a:lnTo>
                  <a:lnTo>
                    <a:pt x="2358" y="70"/>
                  </a:lnTo>
                  <a:lnTo>
                    <a:pt x="2352" y="70"/>
                  </a:lnTo>
                  <a:lnTo>
                    <a:pt x="2346" y="70"/>
                  </a:lnTo>
                  <a:lnTo>
                    <a:pt x="2340" y="68"/>
                  </a:lnTo>
                  <a:lnTo>
                    <a:pt x="2334" y="68"/>
                  </a:lnTo>
                  <a:lnTo>
                    <a:pt x="2328" y="70"/>
                  </a:lnTo>
                  <a:lnTo>
                    <a:pt x="2322" y="70"/>
                  </a:lnTo>
                  <a:lnTo>
                    <a:pt x="2316" y="70"/>
                  </a:lnTo>
                  <a:lnTo>
                    <a:pt x="2308" y="70"/>
                  </a:lnTo>
                  <a:lnTo>
                    <a:pt x="2300" y="68"/>
                  </a:lnTo>
                  <a:lnTo>
                    <a:pt x="2296" y="70"/>
                  </a:lnTo>
                  <a:lnTo>
                    <a:pt x="2288" y="70"/>
                  </a:lnTo>
                  <a:lnTo>
                    <a:pt x="2282" y="70"/>
                  </a:lnTo>
                  <a:lnTo>
                    <a:pt x="2274" y="68"/>
                  </a:lnTo>
                  <a:lnTo>
                    <a:pt x="2268" y="72"/>
                  </a:lnTo>
                  <a:lnTo>
                    <a:pt x="2262" y="72"/>
                  </a:lnTo>
                  <a:lnTo>
                    <a:pt x="2256" y="72"/>
                  </a:lnTo>
                  <a:lnTo>
                    <a:pt x="2250" y="72"/>
                  </a:lnTo>
                  <a:lnTo>
                    <a:pt x="2244" y="72"/>
                  </a:lnTo>
                  <a:lnTo>
                    <a:pt x="2248" y="78"/>
                  </a:lnTo>
                  <a:lnTo>
                    <a:pt x="2242" y="78"/>
                  </a:lnTo>
                  <a:lnTo>
                    <a:pt x="2236" y="76"/>
                  </a:lnTo>
                  <a:lnTo>
                    <a:pt x="2230" y="82"/>
                  </a:lnTo>
                  <a:lnTo>
                    <a:pt x="2236" y="82"/>
                  </a:lnTo>
                  <a:lnTo>
                    <a:pt x="2230" y="86"/>
                  </a:lnTo>
                  <a:lnTo>
                    <a:pt x="2224" y="84"/>
                  </a:lnTo>
                  <a:lnTo>
                    <a:pt x="2216" y="88"/>
                  </a:lnTo>
                  <a:lnTo>
                    <a:pt x="2210" y="90"/>
                  </a:lnTo>
                  <a:lnTo>
                    <a:pt x="2204" y="90"/>
                  </a:lnTo>
                  <a:lnTo>
                    <a:pt x="2198" y="88"/>
                  </a:lnTo>
                  <a:lnTo>
                    <a:pt x="2192" y="86"/>
                  </a:lnTo>
                  <a:lnTo>
                    <a:pt x="2186" y="88"/>
                  </a:lnTo>
                  <a:lnTo>
                    <a:pt x="2180" y="86"/>
                  </a:lnTo>
                  <a:lnTo>
                    <a:pt x="2174" y="86"/>
                  </a:lnTo>
                  <a:lnTo>
                    <a:pt x="2166" y="84"/>
                  </a:lnTo>
                  <a:lnTo>
                    <a:pt x="2160" y="86"/>
                  </a:lnTo>
                  <a:lnTo>
                    <a:pt x="2154" y="86"/>
                  </a:lnTo>
                  <a:lnTo>
                    <a:pt x="2148" y="88"/>
                  </a:lnTo>
                  <a:lnTo>
                    <a:pt x="2142" y="90"/>
                  </a:lnTo>
                  <a:lnTo>
                    <a:pt x="2134" y="90"/>
                  </a:lnTo>
                  <a:lnTo>
                    <a:pt x="2138" y="86"/>
                  </a:lnTo>
                  <a:lnTo>
                    <a:pt x="2144" y="82"/>
                  </a:lnTo>
                  <a:lnTo>
                    <a:pt x="2150" y="80"/>
                  </a:lnTo>
                  <a:lnTo>
                    <a:pt x="2144" y="82"/>
                  </a:lnTo>
                  <a:lnTo>
                    <a:pt x="2138" y="82"/>
                  </a:lnTo>
                  <a:lnTo>
                    <a:pt x="2132" y="82"/>
                  </a:lnTo>
                  <a:lnTo>
                    <a:pt x="2126" y="82"/>
                  </a:lnTo>
                  <a:lnTo>
                    <a:pt x="2120" y="84"/>
                  </a:lnTo>
                  <a:lnTo>
                    <a:pt x="2114" y="86"/>
                  </a:lnTo>
                  <a:lnTo>
                    <a:pt x="2108" y="86"/>
                  </a:lnTo>
                  <a:lnTo>
                    <a:pt x="2100" y="88"/>
                  </a:lnTo>
                  <a:lnTo>
                    <a:pt x="2094" y="90"/>
                  </a:lnTo>
                  <a:lnTo>
                    <a:pt x="2088" y="92"/>
                  </a:lnTo>
                  <a:lnTo>
                    <a:pt x="2082" y="96"/>
                  </a:lnTo>
                  <a:lnTo>
                    <a:pt x="2076" y="96"/>
                  </a:lnTo>
                  <a:lnTo>
                    <a:pt x="2070" y="98"/>
                  </a:lnTo>
                  <a:lnTo>
                    <a:pt x="2062" y="100"/>
                  </a:lnTo>
                  <a:lnTo>
                    <a:pt x="2056" y="102"/>
                  </a:lnTo>
                  <a:lnTo>
                    <a:pt x="2050" y="102"/>
                  </a:lnTo>
                  <a:lnTo>
                    <a:pt x="2042" y="104"/>
                  </a:lnTo>
                  <a:lnTo>
                    <a:pt x="2036" y="106"/>
                  </a:lnTo>
                  <a:lnTo>
                    <a:pt x="2030" y="110"/>
                  </a:lnTo>
                  <a:lnTo>
                    <a:pt x="2022" y="110"/>
                  </a:lnTo>
                  <a:lnTo>
                    <a:pt x="2016" y="112"/>
                  </a:lnTo>
                  <a:lnTo>
                    <a:pt x="2010" y="114"/>
                  </a:lnTo>
                  <a:lnTo>
                    <a:pt x="2004" y="114"/>
                  </a:lnTo>
                  <a:lnTo>
                    <a:pt x="1998" y="118"/>
                  </a:lnTo>
                  <a:lnTo>
                    <a:pt x="1992" y="120"/>
                  </a:lnTo>
                  <a:lnTo>
                    <a:pt x="1986" y="124"/>
                  </a:lnTo>
                  <a:lnTo>
                    <a:pt x="1978" y="126"/>
                  </a:lnTo>
                  <a:lnTo>
                    <a:pt x="1972" y="126"/>
                  </a:lnTo>
                  <a:lnTo>
                    <a:pt x="1966" y="128"/>
                  </a:lnTo>
                  <a:lnTo>
                    <a:pt x="1960" y="130"/>
                  </a:lnTo>
                  <a:lnTo>
                    <a:pt x="1966" y="126"/>
                  </a:lnTo>
                  <a:lnTo>
                    <a:pt x="1972" y="124"/>
                  </a:lnTo>
                  <a:lnTo>
                    <a:pt x="1966" y="124"/>
                  </a:lnTo>
                  <a:lnTo>
                    <a:pt x="1972" y="122"/>
                  </a:lnTo>
                  <a:lnTo>
                    <a:pt x="1978" y="122"/>
                  </a:lnTo>
                  <a:lnTo>
                    <a:pt x="1984" y="120"/>
                  </a:lnTo>
                  <a:lnTo>
                    <a:pt x="1990" y="114"/>
                  </a:lnTo>
                  <a:lnTo>
                    <a:pt x="1996" y="110"/>
                  </a:lnTo>
                  <a:lnTo>
                    <a:pt x="2004" y="110"/>
                  </a:lnTo>
                  <a:lnTo>
                    <a:pt x="2008" y="108"/>
                  </a:lnTo>
                  <a:lnTo>
                    <a:pt x="2016" y="104"/>
                  </a:lnTo>
                  <a:lnTo>
                    <a:pt x="2022" y="102"/>
                  </a:lnTo>
                  <a:lnTo>
                    <a:pt x="2028" y="102"/>
                  </a:lnTo>
                  <a:lnTo>
                    <a:pt x="2034" y="98"/>
                  </a:lnTo>
                  <a:lnTo>
                    <a:pt x="2042" y="96"/>
                  </a:lnTo>
                  <a:lnTo>
                    <a:pt x="2046" y="94"/>
                  </a:lnTo>
                  <a:lnTo>
                    <a:pt x="2054" y="92"/>
                  </a:lnTo>
                  <a:lnTo>
                    <a:pt x="2060" y="90"/>
                  </a:lnTo>
                  <a:lnTo>
                    <a:pt x="2066" y="86"/>
                  </a:lnTo>
                  <a:lnTo>
                    <a:pt x="2072" y="80"/>
                  </a:lnTo>
                  <a:lnTo>
                    <a:pt x="2076" y="74"/>
                  </a:lnTo>
                  <a:lnTo>
                    <a:pt x="2078" y="68"/>
                  </a:lnTo>
                  <a:lnTo>
                    <a:pt x="2072" y="64"/>
                  </a:lnTo>
                  <a:lnTo>
                    <a:pt x="2066" y="62"/>
                  </a:lnTo>
                  <a:lnTo>
                    <a:pt x="2060" y="62"/>
                  </a:lnTo>
                  <a:lnTo>
                    <a:pt x="2054" y="64"/>
                  </a:lnTo>
                  <a:lnTo>
                    <a:pt x="2048" y="64"/>
                  </a:lnTo>
                  <a:lnTo>
                    <a:pt x="2040" y="64"/>
                  </a:lnTo>
                  <a:lnTo>
                    <a:pt x="2034" y="64"/>
                  </a:lnTo>
                  <a:lnTo>
                    <a:pt x="2026" y="64"/>
                  </a:lnTo>
                  <a:lnTo>
                    <a:pt x="2020" y="64"/>
                  </a:lnTo>
                  <a:lnTo>
                    <a:pt x="2014" y="64"/>
                  </a:lnTo>
                  <a:lnTo>
                    <a:pt x="2008" y="66"/>
                  </a:lnTo>
                  <a:lnTo>
                    <a:pt x="2002" y="68"/>
                  </a:lnTo>
                  <a:lnTo>
                    <a:pt x="1998" y="74"/>
                  </a:lnTo>
                  <a:lnTo>
                    <a:pt x="1990" y="78"/>
                  </a:lnTo>
                  <a:lnTo>
                    <a:pt x="1986" y="78"/>
                  </a:lnTo>
                  <a:lnTo>
                    <a:pt x="1978" y="78"/>
                  </a:lnTo>
                  <a:lnTo>
                    <a:pt x="1972" y="80"/>
                  </a:lnTo>
                  <a:lnTo>
                    <a:pt x="1966" y="78"/>
                  </a:lnTo>
                  <a:lnTo>
                    <a:pt x="1960" y="80"/>
                  </a:lnTo>
                  <a:lnTo>
                    <a:pt x="1952" y="82"/>
                  </a:lnTo>
                  <a:lnTo>
                    <a:pt x="1946" y="82"/>
                  </a:lnTo>
                  <a:lnTo>
                    <a:pt x="1940" y="84"/>
                  </a:lnTo>
                  <a:lnTo>
                    <a:pt x="1934" y="84"/>
                  </a:lnTo>
                  <a:lnTo>
                    <a:pt x="1928" y="86"/>
                  </a:lnTo>
                  <a:lnTo>
                    <a:pt x="1920" y="86"/>
                  </a:lnTo>
                  <a:lnTo>
                    <a:pt x="1914" y="86"/>
                  </a:lnTo>
                  <a:lnTo>
                    <a:pt x="1906" y="86"/>
                  </a:lnTo>
                  <a:lnTo>
                    <a:pt x="1900" y="88"/>
                  </a:lnTo>
                  <a:lnTo>
                    <a:pt x="1894" y="90"/>
                  </a:lnTo>
                  <a:lnTo>
                    <a:pt x="1888" y="90"/>
                  </a:lnTo>
                  <a:lnTo>
                    <a:pt x="1882" y="92"/>
                  </a:lnTo>
                  <a:lnTo>
                    <a:pt x="1876" y="92"/>
                  </a:lnTo>
                  <a:lnTo>
                    <a:pt x="1868" y="92"/>
                  </a:lnTo>
                  <a:lnTo>
                    <a:pt x="1862" y="92"/>
                  </a:lnTo>
                  <a:lnTo>
                    <a:pt x="1868" y="92"/>
                  </a:lnTo>
                  <a:lnTo>
                    <a:pt x="1874" y="92"/>
                  </a:lnTo>
                  <a:lnTo>
                    <a:pt x="1868" y="90"/>
                  </a:lnTo>
                  <a:lnTo>
                    <a:pt x="1862" y="88"/>
                  </a:lnTo>
                  <a:lnTo>
                    <a:pt x="1868" y="86"/>
                  </a:lnTo>
                  <a:lnTo>
                    <a:pt x="1874" y="86"/>
                  </a:lnTo>
                  <a:lnTo>
                    <a:pt x="1882" y="86"/>
                  </a:lnTo>
                  <a:lnTo>
                    <a:pt x="1888" y="86"/>
                  </a:lnTo>
                  <a:lnTo>
                    <a:pt x="1896" y="84"/>
                  </a:lnTo>
                  <a:lnTo>
                    <a:pt x="1902" y="84"/>
                  </a:lnTo>
                  <a:lnTo>
                    <a:pt x="1908" y="82"/>
                  </a:lnTo>
                  <a:lnTo>
                    <a:pt x="1914" y="82"/>
                  </a:lnTo>
                  <a:lnTo>
                    <a:pt x="1922" y="80"/>
                  </a:lnTo>
                  <a:lnTo>
                    <a:pt x="1928" y="80"/>
                  </a:lnTo>
                  <a:lnTo>
                    <a:pt x="1936" y="78"/>
                  </a:lnTo>
                  <a:lnTo>
                    <a:pt x="1940" y="78"/>
                  </a:lnTo>
                  <a:lnTo>
                    <a:pt x="1948" y="76"/>
                  </a:lnTo>
                  <a:lnTo>
                    <a:pt x="1952" y="76"/>
                  </a:lnTo>
                  <a:lnTo>
                    <a:pt x="1958" y="70"/>
                  </a:lnTo>
                  <a:lnTo>
                    <a:pt x="1952" y="66"/>
                  </a:lnTo>
                  <a:lnTo>
                    <a:pt x="1946" y="66"/>
                  </a:lnTo>
                  <a:lnTo>
                    <a:pt x="1940" y="66"/>
                  </a:lnTo>
                  <a:lnTo>
                    <a:pt x="1932" y="66"/>
                  </a:lnTo>
                  <a:lnTo>
                    <a:pt x="1924" y="66"/>
                  </a:lnTo>
                  <a:lnTo>
                    <a:pt x="1918" y="66"/>
                  </a:lnTo>
                  <a:lnTo>
                    <a:pt x="1912" y="66"/>
                  </a:lnTo>
                  <a:lnTo>
                    <a:pt x="1906" y="66"/>
                  </a:lnTo>
                  <a:lnTo>
                    <a:pt x="1900" y="64"/>
                  </a:lnTo>
                  <a:lnTo>
                    <a:pt x="1894" y="64"/>
                  </a:lnTo>
                  <a:lnTo>
                    <a:pt x="1888" y="64"/>
                  </a:lnTo>
                  <a:lnTo>
                    <a:pt x="1880" y="64"/>
                  </a:lnTo>
                  <a:lnTo>
                    <a:pt x="1876" y="66"/>
                  </a:lnTo>
                  <a:lnTo>
                    <a:pt x="1868" y="66"/>
                  </a:lnTo>
                  <a:lnTo>
                    <a:pt x="1862" y="66"/>
                  </a:lnTo>
                  <a:lnTo>
                    <a:pt x="1856" y="66"/>
                  </a:lnTo>
                  <a:lnTo>
                    <a:pt x="1850" y="66"/>
                  </a:lnTo>
                  <a:lnTo>
                    <a:pt x="1844" y="66"/>
                  </a:lnTo>
                  <a:lnTo>
                    <a:pt x="1838" y="66"/>
                  </a:lnTo>
                  <a:lnTo>
                    <a:pt x="1830" y="66"/>
                  </a:lnTo>
                  <a:lnTo>
                    <a:pt x="1824" y="66"/>
                  </a:lnTo>
                  <a:lnTo>
                    <a:pt x="1816" y="66"/>
                  </a:lnTo>
                  <a:lnTo>
                    <a:pt x="1810" y="68"/>
                  </a:lnTo>
                  <a:lnTo>
                    <a:pt x="1804" y="68"/>
                  </a:lnTo>
                  <a:lnTo>
                    <a:pt x="1798" y="70"/>
                  </a:lnTo>
                  <a:lnTo>
                    <a:pt x="1792" y="72"/>
                  </a:lnTo>
                  <a:lnTo>
                    <a:pt x="1786" y="68"/>
                  </a:lnTo>
                  <a:lnTo>
                    <a:pt x="1780" y="70"/>
                  </a:lnTo>
                  <a:lnTo>
                    <a:pt x="1774" y="70"/>
                  </a:lnTo>
                  <a:lnTo>
                    <a:pt x="1766" y="70"/>
                  </a:lnTo>
                  <a:lnTo>
                    <a:pt x="1762" y="70"/>
                  </a:lnTo>
                  <a:lnTo>
                    <a:pt x="1754" y="72"/>
                  </a:lnTo>
                  <a:lnTo>
                    <a:pt x="1748" y="72"/>
                  </a:lnTo>
                  <a:lnTo>
                    <a:pt x="1740" y="72"/>
                  </a:lnTo>
                  <a:lnTo>
                    <a:pt x="1734" y="72"/>
                  </a:lnTo>
                  <a:lnTo>
                    <a:pt x="1728" y="72"/>
                  </a:lnTo>
                  <a:lnTo>
                    <a:pt x="1722" y="72"/>
                  </a:lnTo>
                  <a:lnTo>
                    <a:pt x="1714" y="74"/>
                  </a:lnTo>
                  <a:lnTo>
                    <a:pt x="1708" y="74"/>
                  </a:lnTo>
                  <a:lnTo>
                    <a:pt x="1702" y="76"/>
                  </a:lnTo>
                  <a:lnTo>
                    <a:pt x="1696" y="76"/>
                  </a:lnTo>
                  <a:lnTo>
                    <a:pt x="1690" y="76"/>
                  </a:lnTo>
                  <a:lnTo>
                    <a:pt x="1684" y="80"/>
                  </a:lnTo>
                  <a:lnTo>
                    <a:pt x="1678" y="80"/>
                  </a:lnTo>
                  <a:lnTo>
                    <a:pt x="1672" y="80"/>
                  </a:lnTo>
                  <a:lnTo>
                    <a:pt x="1666" y="80"/>
                  </a:lnTo>
                  <a:lnTo>
                    <a:pt x="1668" y="74"/>
                  </a:lnTo>
                  <a:lnTo>
                    <a:pt x="1674" y="72"/>
                  </a:lnTo>
                  <a:lnTo>
                    <a:pt x="1682" y="72"/>
                  </a:lnTo>
                  <a:lnTo>
                    <a:pt x="1686" y="72"/>
                  </a:lnTo>
                  <a:lnTo>
                    <a:pt x="1694" y="70"/>
                  </a:lnTo>
                  <a:lnTo>
                    <a:pt x="1700" y="70"/>
                  </a:lnTo>
                  <a:lnTo>
                    <a:pt x="1706" y="70"/>
                  </a:lnTo>
                  <a:lnTo>
                    <a:pt x="1714" y="68"/>
                  </a:lnTo>
                  <a:lnTo>
                    <a:pt x="1720" y="68"/>
                  </a:lnTo>
                  <a:lnTo>
                    <a:pt x="1726" y="68"/>
                  </a:lnTo>
                  <a:lnTo>
                    <a:pt x="1734" y="68"/>
                  </a:lnTo>
                  <a:lnTo>
                    <a:pt x="1740" y="68"/>
                  </a:lnTo>
                  <a:lnTo>
                    <a:pt x="1748" y="66"/>
                  </a:lnTo>
                  <a:lnTo>
                    <a:pt x="1754" y="66"/>
                  </a:lnTo>
                  <a:lnTo>
                    <a:pt x="1760" y="64"/>
                  </a:lnTo>
                  <a:lnTo>
                    <a:pt x="1766" y="64"/>
                  </a:lnTo>
                  <a:lnTo>
                    <a:pt x="1772" y="64"/>
                  </a:lnTo>
                  <a:lnTo>
                    <a:pt x="1778" y="64"/>
                  </a:lnTo>
                  <a:lnTo>
                    <a:pt x="1786" y="62"/>
                  </a:lnTo>
                  <a:lnTo>
                    <a:pt x="1780" y="60"/>
                  </a:lnTo>
                  <a:lnTo>
                    <a:pt x="1774" y="58"/>
                  </a:lnTo>
                  <a:lnTo>
                    <a:pt x="1766" y="58"/>
                  </a:lnTo>
                  <a:lnTo>
                    <a:pt x="1760" y="58"/>
                  </a:lnTo>
                  <a:lnTo>
                    <a:pt x="1754" y="58"/>
                  </a:lnTo>
                  <a:lnTo>
                    <a:pt x="1748" y="58"/>
                  </a:lnTo>
                  <a:lnTo>
                    <a:pt x="1740" y="58"/>
                  </a:lnTo>
                  <a:lnTo>
                    <a:pt x="1734" y="58"/>
                  </a:lnTo>
                  <a:lnTo>
                    <a:pt x="1740" y="58"/>
                  </a:lnTo>
                  <a:lnTo>
                    <a:pt x="1746" y="58"/>
                  </a:lnTo>
                  <a:lnTo>
                    <a:pt x="1752" y="58"/>
                  </a:lnTo>
                  <a:lnTo>
                    <a:pt x="1758" y="58"/>
                  </a:lnTo>
                  <a:lnTo>
                    <a:pt x="1766" y="58"/>
                  </a:lnTo>
                  <a:lnTo>
                    <a:pt x="1772" y="58"/>
                  </a:lnTo>
                  <a:lnTo>
                    <a:pt x="1778" y="58"/>
                  </a:lnTo>
                  <a:lnTo>
                    <a:pt x="1784" y="58"/>
                  </a:lnTo>
                  <a:lnTo>
                    <a:pt x="1792" y="60"/>
                  </a:lnTo>
                  <a:lnTo>
                    <a:pt x="1798" y="60"/>
                  </a:lnTo>
                  <a:lnTo>
                    <a:pt x="1804" y="60"/>
                  </a:lnTo>
                  <a:lnTo>
                    <a:pt x="1812" y="60"/>
                  </a:lnTo>
                  <a:lnTo>
                    <a:pt x="1818" y="60"/>
                  </a:lnTo>
                  <a:lnTo>
                    <a:pt x="1826" y="60"/>
                  </a:lnTo>
                  <a:lnTo>
                    <a:pt x="1832" y="60"/>
                  </a:lnTo>
                  <a:lnTo>
                    <a:pt x="1838" y="58"/>
                  </a:lnTo>
                  <a:lnTo>
                    <a:pt x="1844" y="58"/>
                  </a:lnTo>
                  <a:lnTo>
                    <a:pt x="1850" y="58"/>
                  </a:lnTo>
                  <a:lnTo>
                    <a:pt x="1856" y="58"/>
                  </a:lnTo>
                  <a:lnTo>
                    <a:pt x="1864" y="58"/>
                  </a:lnTo>
                  <a:lnTo>
                    <a:pt x="1870" y="58"/>
                  </a:lnTo>
                  <a:lnTo>
                    <a:pt x="1876" y="58"/>
                  </a:lnTo>
                  <a:lnTo>
                    <a:pt x="1882" y="58"/>
                  </a:lnTo>
                  <a:lnTo>
                    <a:pt x="1888" y="58"/>
                  </a:lnTo>
                  <a:lnTo>
                    <a:pt x="1894" y="60"/>
                  </a:lnTo>
                  <a:lnTo>
                    <a:pt x="1902" y="60"/>
                  </a:lnTo>
                  <a:lnTo>
                    <a:pt x="1906" y="60"/>
                  </a:lnTo>
                  <a:lnTo>
                    <a:pt x="1914" y="60"/>
                  </a:lnTo>
                  <a:lnTo>
                    <a:pt x="1920" y="60"/>
                  </a:lnTo>
                  <a:lnTo>
                    <a:pt x="1926" y="60"/>
                  </a:lnTo>
                  <a:lnTo>
                    <a:pt x="1932" y="60"/>
                  </a:lnTo>
                  <a:lnTo>
                    <a:pt x="1940" y="60"/>
                  </a:lnTo>
                  <a:lnTo>
                    <a:pt x="1946" y="60"/>
                  </a:lnTo>
                  <a:lnTo>
                    <a:pt x="1952" y="60"/>
                  </a:lnTo>
                  <a:lnTo>
                    <a:pt x="1958" y="60"/>
                  </a:lnTo>
                  <a:lnTo>
                    <a:pt x="1964" y="60"/>
                  </a:lnTo>
                  <a:lnTo>
                    <a:pt x="1970" y="60"/>
                  </a:lnTo>
                  <a:lnTo>
                    <a:pt x="1976" y="60"/>
                  </a:lnTo>
                  <a:lnTo>
                    <a:pt x="1982" y="58"/>
                  </a:lnTo>
                  <a:lnTo>
                    <a:pt x="1990" y="58"/>
                  </a:lnTo>
                  <a:lnTo>
                    <a:pt x="1996" y="56"/>
                  </a:lnTo>
                  <a:lnTo>
                    <a:pt x="2004" y="56"/>
                  </a:lnTo>
                  <a:lnTo>
                    <a:pt x="2010" y="56"/>
                  </a:lnTo>
                  <a:lnTo>
                    <a:pt x="2016" y="54"/>
                  </a:lnTo>
                  <a:lnTo>
                    <a:pt x="2022" y="54"/>
                  </a:lnTo>
                  <a:lnTo>
                    <a:pt x="2028" y="54"/>
                  </a:lnTo>
                  <a:lnTo>
                    <a:pt x="2034" y="54"/>
                  </a:lnTo>
                  <a:lnTo>
                    <a:pt x="2042" y="54"/>
                  </a:lnTo>
                  <a:lnTo>
                    <a:pt x="2048" y="54"/>
                  </a:lnTo>
                  <a:lnTo>
                    <a:pt x="2054" y="54"/>
                  </a:lnTo>
                  <a:lnTo>
                    <a:pt x="2060" y="52"/>
                  </a:lnTo>
                  <a:lnTo>
                    <a:pt x="2066" y="52"/>
                  </a:lnTo>
                  <a:lnTo>
                    <a:pt x="2072" y="52"/>
                  </a:lnTo>
                  <a:lnTo>
                    <a:pt x="2078" y="50"/>
                  </a:lnTo>
                  <a:lnTo>
                    <a:pt x="2084" y="46"/>
                  </a:lnTo>
                  <a:lnTo>
                    <a:pt x="2092" y="46"/>
                  </a:lnTo>
                  <a:lnTo>
                    <a:pt x="2098" y="46"/>
                  </a:lnTo>
                  <a:lnTo>
                    <a:pt x="2104" y="44"/>
                  </a:lnTo>
                  <a:lnTo>
                    <a:pt x="2110" y="44"/>
                  </a:lnTo>
                  <a:lnTo>
                    <a:pt x="2116" y="42"/>
                  </a:lnTo>
                  <a:lnTo>
                    <a:pt x="2110" y="38"/>
                  </a:lnTo>
                  <a:lnTo>
                    <a:pt x="2102" y="38"/>
                  </a:lnTo>
                  <a:lnTo>
                    <a:pt x="2096" y="36"/>
                  </a:lnTo>
                  <a:lnTo>
                    <a:pt x="2088" y="36"/>
                  </a:lnTo>
                  <a:lnTo>
                    <a:pt x="2082" y="34"/>
                  </a:lnTo>
                  <a:lnTo>
                    <a:pt x="2076" y="34"/>
                  </a:lnTo>
                  <a:lnTo>
                    <a:pt x="2070" y="34"/>
                  </a:lnTo>
                  <a:lnTo>
                    <a:pt x="2064" y="34"/>
                  </a:lnTo>
                  <a:lnTo>
                    <a:pt x="2058" y="34"/>
                  </a:lnTo>
                  <a:lnTo>
                    <a:pt x="2050" y="32"/>
                  </a:lnTo>
                  <a:lnTo>
                    <a:pt x="2044" y="30"/>
                  </a:lnTo>
                  <a:lnTo>
                    <a:pt x="2036" y="32"/>
                  </a:lnTo>
                  <a:lnTo>
                    <a:pt x="2028" y="34"/>
                  </a:lnTo>
                  <a:lnTo>
                    <a:pt x="2022" y="34"/>
                  </a:lnTo>
                  <a:lnTo>
                    <a:pt x="2028" y="30"/>
                  </a:lnTo>
                  <a:lnTo>
                    <a:pt x="2024" y="28"/>
                  </a:lnTo>
                  <a:lnTo>
                    <a:pt x="2016" y="30"/>
                  </a:lnTo>
                  <a:lnTo>
                    <a:pt x="2010" y="30"/>
                  </a:lnTo>
                  <a:lnTo>
                    <a:pt x="2004" y="30"/>
                  </a:lnTo>
                  <a:lnTo>
                    <a:pt x="1996" y="30"/>
                  </a:lnTo>
                  <a:lnTo>
                    <a:pt x="1990" y="32"/>
                  </a:lnTo>
                  <a:lnTo>
                    <a:pt x="1982" y="32"/>
                  </a:lnTo>
                  <a:lnTo>
                    <a:pt x="1976" y="34"/>
                  </a:lnTo>
                  <a:lnTo>
                    <a:pt x="1968" y="34"/>
                  </a:lnTo>
                  <a:lnTo>
                    <a:pt x="1960" y="34"/>
                  </a:lnTo>
                  <a:lnTo>
                    <a:pt x="1954" y="34"/>
                  </a:lnTo>
                  <a:lnTo>
                    <a:pt x="1960" y="34"/>
                  </a:lnTo>
                  <a:lnTo>
                    <a:pt x="1968" y="32"/>
                  </a:lnTo>
                  <a:lnTo>
                    <a:pt x="1974" y="32"/>
                  </a:lnTo>
                  <a:lnTo>
                    <a:pt x="1980" y="30"/>
                  </a:lnTo>
                  <a:lnTo>
                    <a:pt x="1986" y="28"/>
                  </a:lnTo>
                  <a:lnTo>
                    <a:pt x="1992" y="26"/>
                  </a:lnTo>
                  <a:lnTo>
                    <a:pt x="1998" y="26"/>
                  </a:lnTo>
                  <a:lnTo>
                    <a:pt x="1992" y="22"/>
                  </a:lnTo>
                  <a:lnTo>
                    <a:pt x="1986" y="18"/>
                  </a:lnTo>
                  <a:lnTo>
                    <a:pt x="1980" y="18"/>
                  </a:lnTo>
                  <a:lnTo>
                    <a:pt x="1972" y="20"/>
                  </a:lnTo>
                  <a:lnTo>
                    <a:pt x="1966" y="20"/>
                  </a:lnTo>
                  <a:lnTo>
                    <a:pt x="1960" y="20"/>
                  </a:lnTo>
                  <a:lnTo>
                    <a:pt x="1954" y="20"/>
                  </a:lnTo>
                  <a:lnTo>
                    <a:pt x="1948" y="20"/>
                  </a:lnTo>
                  <a:lnTo>
                    <a:pt x="1940" y="22"/>
                  </a:lnTo>
                  <a:lnTo>
                    <a:pt x="1934" y="22"/>
                  </a:lnTo>
                  <a:lnTo>
                    <a:pt x="1928" y="22"/>
                  </a:lnTo>
                  <a:lnTo>
                    <a:pt x="1922" y="22"/>
                  </a:lnTo>
                  <a:lnTo>
                    <a:pt x="1914" y="22"/>
                  </a:lnTo>
                  <a:lnTo>
                    <a:pt x="1908" y="22"/>
                  </a:lnTo>
                  <a:lnTo>
                    <a:pt x="1900" y="22"/>
                  </a:lnTo>
                  <a:lnTo>
                    <a:pt x="1894" y="22"/>
                  </a:lnTo>
                  <a:lnTo>
                    <a:pt x="1888" y="22"/>
                  </a:lnTo>
                  <a:lnTo>
                    <a:pt x="1880" y="22"/>
                  </a:lnTo>
                  <a:lnTo>
                    <a:pt x="1876" y="22"/>
                  </a:lnTo>
                  <a:lnTo>
                    <a:pt x="1868" y="22"/>
                  </a:lnTo>
                  <a:lnTo>
                    <a:pt x="1860" y="20"/>
                  </a:lnTo>
                  <a:lnTo>
                    <a:pt x="1854" y="20"/>
                  </a:lnTo>
                  <a:lnTo>
                    <a:pt x="1846" y="20"/>
                  </a:lnTo>
                  <a:lnTo>
                    <a:pt x="1840" y="20"/>
                  </a:lnTo>
                  <a:lnTo>
                    <a:pt x="1834" y="20"/>
                  </a:lnTo>
                  <a:lnTo>
                    <a:pt x="1826" y="20"/>
                  </a:lnTo>
                  <a:lnTo>
                    <a:pt x="1818" y="20"/>
                  </a:lnTo>
                  <a:lnTo>
                    <a:pt x="1812" y="20"/>
                  </a:lnTo>
                  <a:lnTo>
                    <a:pt x="1806" y="20"/>
                  </a:lnTo>
                  <a:lnTo>
                    <a:pt x="1798" y="22"/>
                  </a:lnTo>
                  <a:lnTo>
                    <a:pt x="1792" y="22"/>
                  </a:lnTo>
                  <a:lnTo>
                    <a:pt x="1784" y="22"/>
                  </a:lnTo>
                  <a:lnTo>
                    <a:pt x="1778" y="22"/>
                  </a:lnTo>
                  <a:lnTo>
                    <a:pt x="1772" y="24"/>
                  </a:lnTo>
                  <a:lnTo>
                    <a:pt x="1766" y="24"/>
                  </a:lnTo>
                  <a:lnTo>
                    <a:pt x="1760" y="24"/>
                  </a:lnTo>
                  <a:lnTo>
                    <a:pt x="1754" y="26"/>
                  </a:lnTo>
                  <a:lnTo>
                    <a:pt x="1748" y="28"/>
                  </a:lnTo>
                  <a:lnTo>
                    <a:pt x="1742" y="26"/>
                  </a:lnTo>
                  <a:lnTo>
                    <a:pt x="1734" y="26"/>
                  </a:lnTo>
                  <a:lnTo>
                    <a:pt x="1728" y="26"/>
                  </a:lnTo>
                  <a:lnTo>
                    <a:pt x="1720" y="26"/>
                  </a:lnTo>
                  <a:lnTo>
                    <a:pt x="1714" y="26"/>
                  </a:lnTo>
                  <a:lnTo>
                    <a:pt x="1706" y="26"/>
                  </a:lnTo>
                  <a:lnTo>
                    <a:pt x="1700" y="26"/>
                  </a:lnTo>
                  <a:lnTo>
                    <a:pt x="1694" y="26"/>
                  </a:lnTo>
                  <a:lnTo>
                    <a:pt x="1686" y="26"/>
                  </a:lnTo>
                  <a:lnTo>
                    <a:pt x="1680" y="26"/>
                  </a:lnTo>
                  <a:lnTo>
                    <a:pt x="1674" y="28"/>
                  </a:lnTo>
                  <a:lnTo>
                    <a:pt x="1668" y="32"/>
                  </a:lnTo>
                  <a:lnTo>
                    <a:pt x="1660" y="28"/>
                  </a:lnTo>
                  <a:lnTo>
                    <a:pt x="1654" y="28"/>
                  </a:lnTo>
                  <a:lnTo>
                    <a:pt x="1648" y="28"/>
                  </a:lnTo>
                  <a:lnTo>
                    <a:pt x="1640" y="28"/>
                  </a:lnTo>
                  <a:lnTo>
                    <a:pt x="1634" y="28"/>
                  </a:lnTo>
                  <a:lnTo>
                    <a:pt x="1626" y="30"/>
                  </a:lnTo>
                  <a:lnTo>
                    <a:pt x="1620" y="30"/>
                  </a:lnTo>
                  <a:lnTo>
                    <a:pt x="1614" y="30"/>
                  </a:lnTo>
                  <a:lnTo>
                    <a:pt x="1608" y="34"/>
                  </a:lnTo>
                  <a:lnTo>
                    <a:pt x="1602" y="34"/>
                  </a:lnTo>
                  <a:lnTo>
                    <a:pt x="1608" y="32"/>
                  </a:lnTo>
                  <a:lnTo>
                    <a:pt x="1614" y="30"/>
                  </a:lnTo>
                  <a:lnTo>
                    <a:pt x="1610" y="30"/>
                  </a:lnTo>
                  <a:lnTo>
                    <a:pt x="1616" y="28"/>
                  </a:lnTo>
                  <a:lnTo>
                    <a:pt x="1622" y="28"/>
                  </a:lnTo>
                  <a:lnTo>
                    <a:pt x="1628" y="28"/>
                  </a:lnTo>
                  <a:lnTo>
                    <a:pt x="1634" y="28"/>
                  </a:lnTo>
                  <a:lnTo>
                    <a:pt x="1640" y="28"/>
                  </a:lnTo>
                  <a:lnTo>
                    <a:pt x="1646" y="28"/>
                  </a:lnTo>
                  <a:lnTo>
                    <a:pt x="1654" y="28"/>
                  </a:lnTo>
                  <a:lnTo>
                    <a:pt x="1660" y="28"/>
                  </a:lnTo>
                  <a:lnTo>
                    <a:pt x="1666" y="26"/>
                  </a:lnTo>
                  <a:lnTo>
                    <a:pt x="1672" y="26"/>
                  </a:lnTo>
                  <a:lnTo>
                    <a:pt x="1678" y="26"/>
                  </a:lnTo>
                  <a:lnTo>
                    <a:pt x="1686" y="26"/>
                  </a:lnTo>
                  <a:lnTo>
                    <a:pt x="1692" y="24"/>
                  </a:lnTo>
                  <a:lnTo>
                    <a:pt x="1698" y="24"/>
                  </a:lnTo>
                  <a:lnTo>
                    <a:pt x="1706" y="24"/>
                  </a:lnTo>
                  <a:lnTo>
                    <a:pt x="1712" y="24"/>
                  </a:lnTo>
                  <a:lnTo>
                    <a:pt x="1718" y="24"/>
                  </a:lnTo>
                  <a:lnTo>
                    <a:pt x="1712" y="22"/>
                  </a:lnTo>
                  <a:lnTo>
                    <a:pt x="1706" y="20"/>
                  </a:lnTo>
                  <a:lnTo>
                    <a:pt x="1698" y="20"/>
                  </a:lnTo>
                  <a:lnTo>
                    <a:pt x="1692" y="20"/>
                  </a:lnTo>
                  <a:lnTo>
                    <a:pt x="1698" y="20"/>
                  </a:lnTo>
                  <a:lnTo>
                    <a:pt x="1704" y="20"/>
                  </a:lnTo>
                  <a:lnTo>
                    <a:pt x="1712" y="20"/>
                  </a:lnTo>
                  <a:lnTo>
                    <a:pt x="1718" y="20"/>
                  </a:lnTo>
                  <a:lnTo>
                    <a:pt x="1724" y="22"/>
                  </a:lnTo>
                  <a:lnTo>
                    <a:pt x="1730" y="22"/>
                  </a:lnTo>
                  <a:lnTo>
                    <a:pt x="1738" y="22"/>
                  </a:lnTo>
                  <a:lnTo>
                    <a:pt x="1744" y="22"/>
                  </a:lnTo>
                  <a:lnTo>
                    <a:pt x="1750" y="22"/>
                  </a:lnTo>
                  <a:lnTo>
                    <a:pt x="1758" y="22"/>
                  </a:lnTo>
                  <a:lnTo>
                    <a:pt x="1762" y="22"/>
                  </a:lnTo>
                  <a:lnTo>
                    <a:pt x="1770" y="20"/>
                  </a:lnTo>
                  <a:lnTo>
                    <a:pt x="1776" y="20"/>
                  </a:lnTo>
                  <a:lnTo>
                    <a:pt x="1782" y="20"/>
                  </a:lnTo>
                  <a:lnTo>
                    <a:pt x="1788" y="20"/>
                  </a:lnTo>
                  <a:lnTo>
                    <a:pt x="1794" y="18"/>
                  </a:lnTo>
                  <a:lnTo>
                    <a:pt x="1800" y="18"/>
                  </a:lnTo>
                  <a:lnTo>
                    <a:pt x="1806" y="18"/>
                  </a:lnTo>
                  <a:lnTo>
                    <a:pt x="1814" y="18"/>
                  </a:lnTo>
                  <a:lnTo>
                    <a:pt x="1820" y="18"/>
                  </a:lnTo>
                  <a:lnTo>
                    <a:pt x="1826" y="18"/>
                  </a:lnTo>
                  <a:lnTo>
                    <a:pt x="1834" y="18"/>
                  </a:lnTo>
                  <a:lnTo>
                    <a:pt x="1840" y="18"/>
                  </a:lnTo>
                  <a:lnTo>
                    <a:pt x="1848" y="18"/>
                  </a:lnTo>
                  <a:lnTo>
                    <a:pt x="1856" y="18"/>
                  </a:lnTo>
                  <a:lnTo>
                    <a:pt x="1862" y="18"/>
                  </a:lnTo>
                  <a:lnTo>
                    <a:pt x="1870" y="18"/>
                  </a:lnTo>
                  <a:lnTo>
                    <a:pt x="1876" y="20"/>
                  </a:lnTo>
                  <a:lnTo>
                    <a:pt x="1884" y="20"/>
                  </a:lnTo>
                  <a:lnTo>
                    <a:pt x="1892" y="20"/>
                  </a:lnTo>
                  <a:lnTo>
                    <a:pt x="1898" y="20"/>
                  </a:lnTo>
                  <a:lnTo>
                    <a:pt x="1906" y="20"/>
                  </a:lnTo>
                  <a:lnTo>
                    <a:pt x="1914" y="20"/>
                  </a:lnTo>
                  <a:lnTo>
                    <a:pt x="1920" y="20"/>
                  </a:lnTo>
                  <a:lnTo>
                    <a:pt x="1926" y="18"/>
                  </a:lnTo>
                  <a:lnTo>
                    <a:pt x="1932" y="18"/>
                  </a:lnTo>
                  <a:lnTo>
                    <a:pt x="1938" y="18"/>
                  </a:lnTo>
                  <a:lnTo>
                    <a:pt x="1944" y="18"/>
                  </a:lnTo>
                  <a:lnTo>
                    <a:pt x="1950" y="18"/>
                  </a:lnTo>
                  <a:lnTo>
                    <a:pt x="1958" y="16"/>
                  </a:lnTo>
                  <a:lnTo>
                    <a:pt x="1964" y="16"/>
                  </a:lnTo>
                  <a:lnTo>
                    <a:pt x="1970" y="14"/>
                  </a:lnTo>
                  <a:lnTo>
                    <a:pt x="1964" y="12"/>
                  </a:lnTo>
                  <a:lnTo>
                    <a:pt x="1956" y="10"/>
                  </a:lnTo>
                  <a:lnTo>
                    <a:pt x="1950" y="10"/>
                  </a:lnTo>
                  <a:lnTo>
                    <a:pt x="1944" y="10"/>
                  </a:lnTo>
                  <a:lnTo>
                    <a:pt x="1938" y="8"/>
                  </a:lnTo>
                  <a:lnTo>
                    <a:pt x="1930" y="8"/>
                  </a:lnTo>
                  <a:lnTo>
                    <a:pt x="1922" y="8"/>
                  </a:lnTo>
                  <a:lnTo>
                    <a:pt x="1916" y="6"/>
                  </a:lnTo>
                  <a:lnTo>
                    <a:pt x="1912" y="6"/>
                  </a:lnTo>
                  <a:lnTo>
                    <a:pt x="1906" y="6"/>
                  </a:lnTo>
                  <a:lnTo>
                    <a:pt x="1900" y="6"/>
                  </a:lnTo>
                  <a:lnTo>
                    <a:pt x="1892" y="6"/>
                  </a:lnTo>
                  <a:lnTo>
                    <a:pt x="1886" y="6"/>
                  </a:lnTo>
                  <a:lnTo>
                    <a:pt x="1878" y="6"/>
                  </a:lnTo>
                  <a:lnTo>
                    <a:pt x="1884" y="8"/>
                  </a:lnTo>
                  <a:lnTo>
                    <a:pt x="1878" y="8"/>
                  </a:lnTo>
                  <a:lnTo>
                    <a:pt x="1872" y="8"/>
                  </a:lnTo>
                  <a:lnTo>
                    <a:pt x="1866" y="8"/>
                  </a:lnTo>
                  <a:lnTo>
                    <a:pt x="1860" y="6"/>
                  </a:lnTo>
                  <a:lnTo>
                    <a:pt x="1866" y="6"/>
                  </a:lnTo>
                  <a:lnTo>
                    <a:pt x="1872" y="6"/>
                  </a:lnTo>
                  <a:lnTo>
                    <a:pt x="1866" y="4"/>
                  </a:lnTo>
                  <a:lnTo>
                    <a:pt x="1858" y="4"/>
                  </a:lnTo>
                  <a:lnTo>
                    <a:pt x="1850" y="6"/>
                  </a:lnTo>
                  <a:lnTo>
                    <a:pt x="1846" y="4"/>
                  </a:lnTo>
                  <a:lnTo>
                    <a:pt x="1838" y="4"/>
                  </a:lnTo>
                  <a:lnTo>
                    <a:pt x="1830" y="2"/>
                  </a:lnTo>
                  <a:lnTo>
                    <a:pt x="1824" y="2"/>
                  </a:lnTo>
                  <a:lnTo>
                    <a:pt x="1818" y="2"/>
                  </a:lnTo>
                  <a:lnTo>
                    <a:pt x="1812" y="2"/>
                  </a:lnTo>
                  <a:lnTo>
                    <a:pt x="1806" y="2"/>
                  </a:lnTo>
                  <a:lnTo>
                    <a:pt x="1800" y="2"/>
                  </a:lnTo>
                  <a:lnTo>
                    <a:pt x="1792" y="2"/>
                  </a:lnTo>
                  <a:lnTo>
                    <a:pt x="1786" y="2"/>
                  </a:lnTo>
                  <a:lnTo>
                    <a:pt x="1778" y="2"/>
                  </a:lnTo>
                  <a:lnTo>
                    <a:pt x="1772" y="2"/>
                  </a:lnTo>
                  <a:lnTo>
                    <a:pt x="1764" y="2"/>
                  </a:lnTo>
                  <a:lnTo>
                    <a:pt x="1758" y="2"/>
                  </a:lnTo>
                  <a:lnTo>
                    <a:pt x="1752" y="2"/>
                  </a:lnTo>
                  <a:lnTo>
                    <a:pt x="1744" y="2"/>
                  </a:lnTo>
                  <a:lnTo>
                    <a:pt x="1738" y="0"/>
                  </a:lnTo>
                  <a:lnTo>
                    <a:pt x="1732" y="0"/>
                  </a:lnTo>
                  <a:lnTo>
                    <a:pt x="1726" y="0"/>
                  </a:lnTo>
                  <a:lnTo>
                    <a:pt x="1718" y="0"/>
                  </a:lnTo>
                  <a:lnTo>
                    <a:pt x="1712" y="0"/>
                  </a:lnTo>
                  <a:lnTo>
                    <a:pt x="1706" y="0"/>
                  </a:lnTo>
                  <a:lnTo>
                    <a:pt x="1698" y="0"/>
                  </a:lnTo>
                  <a:lnTo>
                    <a:pt x="1692" y="0"/>
                  </a:lnTo>
                  <a:lnTo>
                    <a:pt x="1686" y="2"/>
                  </a:lnTo>
                  <a:lnTo>
                    <a:pt x="1678" y="2"/>
                  </a:lnTo>
                  <a:lnTo>
                    <a:pt x="1686" y="6"/>
                  </a:lnTo>
                  <a:lnTo>
                    <a:pt x="1680" y="6"/>
                  </a:lnTo>
                  <a:lnTo>
                    <a:pt x="1674" y="4"/>
                  </a:lnTo>
                  <a:lnTo>
                    <a:pt x="1668" y="2"/>
                  </a:lnTo>
                  <a:lnTo>
                    <a:pt x="1662" y="4"/>
                  </a:lnTo>
                  <a:lnTo>
                    <a:pt x="1654" y="2"/>
                  </a:lnTo>
                  <a:lnTo>
                    <a:pt x="1648" y="2"/>
                  </a:lnTo>
                  <a:lnTo>
                    <a:pt x="1642" y="4"/>
                  </a:lnTo>
                  <a:lnTo>
                    <a:pt x="1636" y="4"/>
                  </a:lnTo>
                  <a:lnTo>
                    <a:pt x="1628" y="4"/>
                  </a:lnTo>
                  <a:lnTo>
                    <a:pt x="1622" y="4"/>
                  </a:lnTo>
                  <a:lnTo>
                    <a:pt x="1614" y="4"/>
                  </a:lnTo>
                  <a:lnTo>
                    <a:pt x="1608" y="4"/>
                  </a:lnTo>
                  <a:lnTo>
                    <a:pt x="1602" y="4"/>
                  </a:lnTo>
                  <a:lnTo>
                    <a:pt x="1596" y="4"/>
                  </a:lnTo>
                  <a:lnTo>
                    <a:pt x="1588" y="4"/>
                  </a:lnTo>
                  <a:lnTo>
                    <a:pt x="1582" y="4"/>
                  </a:lnTo>
                  <a:lnTo>
                    <a:pt x="1576" y="6"/>
                  </a:lnTo>
                  <a:lnTo>
                    <a:pt x="1582" y="6"/>
                  </a:lnTo>
                  <a:lnTo>
                    <a:pt x="1588" y="10"/>
                  </a:lnTo>
                  <a:lnTo>
                    <a:pt x="1580" y="10"/>
                  </a:lnTo>
                  <a:lnTo>
                    <a:pt x="1574" y="8"/>
                  </a:lnTo>
                  <a:lnTo>
                    <a:pt x="1568" y="8"/>
                  </a:lnTo>
                  <a:lnTo>
                    <a:pt x="1562" y="8"/>
                  </a:lnTo>
                  <a:lnTo>
                    <a:pt x="1554" y="6"/>
                  </a:lnTo>
                  <a:lnTo>
                    <a:pt x="1548" y="4"/>
                  </a:lnTo>
                  <a:lnTo>
                    <a:pt x="1542" y="6"/>
                  </a:lnTo>
                  <a:lnTo>
                    <a:pt x="1536" y="6"/>
                  </a:lnTo>
                  <a:lnTo>
                    <a:pt x="1528" y="10"/>
                  </a:lnTo>
                  <a:lnTo>
                    <a:pt x="1524" y="10"/>
                  </a:lnTo>
                  <a:lnTo>
                    <a:pt x="1516" y="8"/>
                  </a:lnTo>
                  <a:lnTo>
                    <a:pt x="1508" y="8"/>
                  </a:lnTo>
                  <a:lnTo>
                    <a:pt x="1502" y="8"/>
                  </a:lnTo>
                  <a:lnTo>
                    <a:pt x="1502" y="14"/>
                  </a:lnTo>
                  <a:lnTo>
                    <a:pt x="1508" y="18"/>
                  </a:lnTo>
                  <a:lnTo>
                    <a:pt x="1514" y="18"/>
                  </a:lnTo>
                  <a:lnTo>
                    <a:pt x="1520" y="18"/>
                  </a:lnTo>
                  <a:lnTo>
                    <a:pt x="1528" y="18"/>
                  </a:lnTo>
                  <a:lnTo>
                    <a:pt x="1534" y="18"/>
                  </a:lnTo>
                  <a:lnTo>
                    <a:pt x="1540" y="18"/>
                  </a:lnTo>
                  <a:lnTo>
                    <a:pt x="1546" y="20"/>
                  </a:lnTo>
                  <a:lnTo>
                    <a:pt x="1554" y="20"/>
                  </a:lnTo>
                  <a:lnTo>
                    <a:pt x="1560" y="18"/>
                  </a:lnTo>
                  <a:lnTo>
                    <a:pt x="1554" y="20"/>
                  </a:lnTo>
                  <a:lnTo>
                    <a:pt x="1548" y="20"/>
                  </a:lnTo>
                  <a:lnTo>
                    <a:pt x="1542" y="20"/>
                  </a:lnTo>
                  <a:lnTo>
                    <a:pt x="1536" y="20"/>
                  </a:lnTo>
                  <a:lnTo>
                    <a:pt x="1528" y="20"/>
                  </a:lnTo>
                  <a:lnTo>
                    <a:pt x="1522" y="20"/>
                  </a:lnTo>
                  <a:lnTo>
                    <a:pt x="1516" y="20"/>
                  </a:lnTo>
                  <a:lnTo>
                    <a:pt x="1508" y="22"/>
                  </a:lnTo>
                  <a:lnTo>
                    <a:pt x="1502" y="22"/>
                  </a:lnTo>
                  <a:lnTo>
                    <a:pt x="1496" y="22"/>
                  </a:lnTo>
                  <a:lnTo>
                    <a:pt x="1502" y="24"/>
                  </a:lnTo>
                  <a:lnTo>
                    <a:pt x="1508" y="24"/>
                  </a:lnTo>
                  <a:lnTo>
                    <a:pt x="1516" y="24"/>
                  </a:lnTo>
                  <a:lnTo>
                    <a:pt x="1522" y="24"/>
                  </a:lnTo>
                  <a:lnTo>
                    <a:pt x="1528" y="24"/>
                  </a:lnTo>
                  <a:lnTo>
                    <a:pt x="1536" y="24"/>
                  </a:lnTo>
                  <a:lnTo>
                    <a:pt x="1542" y="24"/>
                  </a:lnTo>
                  <a:lnTo>
                    <a:pt x="1536" y="24"/>
                  </a:lnTo>
                  <a:lnTo>
                    <a:pt x="1530" y="24"/>
                  </a:lnTo>
                  <a:lnTo>
                    <a:pt x="1524" y="24"/>
                  </a:lnTo>
                  <a:lnTo>
                    <a:pt x="1518" y="24"/>
                  </a:lnTo>
                  <a:lnTo>
                    <a:pt x="1510" y="24"/>
                  </a:lnTo>
                  <a:lnTo>
                    <a:pt x="1504" y="24"/>
                  </a:lnTo>
                  <a:lnTo>
                    <a:pt x="1498" y="24"/>
                  </a:lnTo>
                  <a:lnTo>
                    <a:pt x="1490" y="24"/>
                  </a:lnTo>
                  <a:lnTo>
                    <a:pt x="1484" y="24"/>
                  </a:lnTo>
                  <a:lnTo>
                    <a:pt x="1478" y="26"/>
                  </a:lnTo>
                  <a:lnTo>
                    <a:pt x="1484" y="28"/>
                  </a:lnTo>
                  <a:lnTo>
                    <a:pt x="1490" y="32"/>
                  </a:lnTo>
                  <a:lnTo>
                    <a:pt x="1496" y="32"/>
                  </a:lnTo>
                  <a:lnTo>
                    <a:pt x="1490" y="34"/>
                  </a:lnTo>
                  <a:lnTo>
                    <a:pt x="1484" y="32"/>
                  </a:lnTo>
                  <a:lnTo>
                    <a:pt x="1478" y="28"/>
                  </a:lnTo>
                  <a:lnTo>
                    <a:pt x="1472" y="28"/>
                  </a:lnTo>
                  <a:lnTo>
                    <a:pt x="1466" y="26"/>
                  </a:lnTo>
                  <a:lnTo>
                    <a:pt x="1458" y="26"/>
                  </a:lnTo>
                  <a:lnTo>
                    <a:pt x="1452" y="26"/>
                  </a:lnTo>
                  <a:lnTo>
                    <a:pt x="1446" y="26"/>
                  </a:lnTo>
                  <a:lnTo>
                    <a:pt x="1440" y="26"/>
                  </a:lnTo>
                  <a:lnTo>
                    <a:pt x="1432" y="26"/>
                  </a:lnTo>
                  <a:lnTo>
                    <a:pt x="1428" y="26"/>
                  </a:lnTo>
                  <a:lnTo>
                    <a:pt x="1420" y="26"/>
                  </a:lnTo>
                  <a:lnTo>
                    <a:pt x="1414" y="24"/>
                  </a:lnTo>
                  <a:lnTo>
                    <a:pt x="1408" y="22"/>
                  </a:lnTo>
                  <a:lnTo>
                    <a:pt x="1402" y="20"/>
                  </a:lnTo>
                  <a:lnTo>
                    <a:pt x="1396" y="20"/>
                  </a:lnTo>
                  <a:lnTo>
                    <a:pt x="1390" y="20"/>
                  </a:lnTo>
                  <a:lnTo>
                    <a:pt x="1382" y="22"/>
                  </a:lnTo>
                  <a:lnTo>
                    <a:pt x="1390" y="18"/>
                  </a:lnTo>
                  <a:lnTo>
                    <a:pt x="1384" y="16"/>
                  </a:lnTo>
                  <a:lnTo>
                    <a:pt x="1376" y="16"/>
                  </a:lnTo>
                  <a:lnTo>
                    <a:pt x="1368" y="16"/>
                  </a:lnTo>
                  <a:lnTo>
                    <a:pt x="1362" y="14"/>
                  </a:lnTo>
                  <a:lnTo>
                    <a:pt x="1356" y="14"/>
                  </a:lnTo>
                  <a:lnTo>
                    <a:pt x="1348" y="14"/>
                  </a:lnTo>
                  <a:lnTo>
                    <a:pt x="1340" y="14"/>
                  </a:lnTo>
                  <a:lnTo>
                    <a:pt x="1334" y="16"/>
                  </a:lnTo>
                  <a:lnTo>
                    <a:pt x="1342" y="16"/>
                  </a:lnTo>
                  <a:lnTo>
                    <a:pt x="1350" y="16"/>
                  </a:lnTo>
                  <a:lnTo>
                    <a:pt x="1342" y="18"/>
                  </a:lnTo>
                  <a:lnTo>
                    <a:pt x="1336" y="16"/>
                  </a:lnTo>
                  <a:lnTo>
                    <a:pt x="1328" y="16"/>
                  </a:lnTo>
                  <a:lnTo>
                    <a:pt x="1322" y="16"/>
                  </a:lnTo>
                  <a:lnTo>
                    <a:pt x="1314" y="16"/>
                  </a:lnTo>
                  <a:lnTo>
                    <a:pt x="1322" y="18"/>
                  </a:lnTo>
                  <a:lnTo>
                    <a:pt x="1328" y="18"/>
                  </a:lnTo>
                  <a:lnTo>
                    <a:pt x="1334" y="18"/>
                  </a:lnTo>
                  <a:lnTo>
                    <a:pt x="1342" y="20"/>
                  </a:lnTo>
                  <a:lnTo>
                    <a:pt x="1348" y="22"/>
                  </a:lnTo>
                  <a:lnTo>
                    <a:pt x="1342" y="20"/>
                  </a:lnTo>
                  <a:lnTo>
                    <a:pt x="1336" y="20"/>
                  </a:lnTo>
                  <a:lnTo>
                    <a:pt x="1330" y="20"/>
                  </a:lnTo>
                  <a:lnTo>
                    <a:pt x="1322" y="20"/>
                  </a:lnTo>
                  <a:lnTo>
                    <a:pt x="1316" y="20"/>
                  </a:lnTo>
                  <a:lnTo>
                    <a:pt x="1310" y="20"/>
                  </a:lnTo>
                  <a:lnTo>
                    <a:pt x="1302" y="18"/>
                  </a:lnTo>
                  <a:lnTo>
                    <a:pt x="1296" y="18"/>
                  </a:lnTo>
                  <a:lnTo>
                    <a:pt x="1290" y="18"/>
                  </a:lnTo>
                  <a:lnTo>
                    <a:pt x="1284" y="18"/>
                  </a:lnTo>
                  <a:lnTo>
                    <a:pt x="1278" y="20"/>
                  </a:lnTo>
                  <a:lnTo>
                    <a:pt x="1272" y="20"/>
                  </a:lnTo>
                  <a:lnTo>
                    <a:pt x="1266" y="20"/>
                  </a:lnTo>
                  <a:lnTo>
                    <a:pt x="1260" y="20"/>
                  </a:lnTo>
                  <a:lnTo>
                    <a:pt x="1254" y="20"/>
                  </a:lnTo>
                  <a:lnTo>
                    <a:pt x="1260" y="22"/>
                  </a:lnTo>
                  <a:lnTo>
                    <a:pt x="1266" y="24"/>
                  </a:lnTo>
                  <a:lnTo>
                    <a:pt x="1272" y="26"/>
                  </a:lnTo>
                  <a:lnTo>
                    <a:pt x="1278" y="26"/>
                  </a:lnTo>
                  <a:lnTo>
                    <a:pt x="1284" y="26"/>
                  </a:lnTo>
                  <a:lnTo>
                    <a:pt x="1292" y="26"/>
                  </a:lnTo>
                  <a:lnTo>
                    <a:pt x="1296" y="28"/>
                  </a:lnTo>
                  <a:lnTo>
                    <a:pt x="1290" y="28"/>
                  </a:lnTo>
                  <a:lnTo>
                    <a:pt x="1282" y="28"/>
                  </a:lnTo>
                  <a:lnTo>
                    <a:pt x="1276" y="26"/>
                  </a:lnTo>
                  <a:lnTo>
                    <a:pt x="1270" y="26"/>
                  </a:lnTo>
                  <a:lnTo>
                    <a:pt x="1264" y="28"/>
                  </a:lnTo>
                  <a:lnTo>
                    <a:pt x="1260" y="28"/>
                  </a:lnTo>
                  <a:lnTo>
                    <a:pt x="1258" y="26"/>
                  </a:lnTo>
                  <a:lnTo>
                    <a:pt x="1252" y="24"/>
                  </a:lnTo>
                  <a:lnTo>
                    <a:pt x="1246" y="24"/>
                  </a:lnTo>
                  <a:lnTo>
                    <a:pt x="1240" y="22"/>
                  </a:lnTo>
                  <a:lnTo>
                    <a:pt x="1234" y="22"/>
                  </a:lnTo>
                  <a:lnTo>
                    <a:pt x="1228" y="22"/>
                  </a:lnTo>
                  <a:lnTo>
                    <a:pt x="1222" y="22"/>
                  </a:lnTo>
                  <a:lnTo>
                    <a:pt x="1216" y="22"/>
                  </a:lnTo>
                  <a:lnTo>
                    <a:pt x="1210" y="26"/>
                  </a:lnTo>
                  <a:lnTo>
                    <a:pt x="1216" y="26"/>
                  </a:lnTo>
                  <a:lnTo>
                    <a:pt x="1222" y="26"/>
                  </a:lnTo>
                  <a:lnTo>
                    <a:pt x="1228" y="28"/>
                  </a:lnTo>
                  <a:lnTo>
                    <a:pt x="1222" y="28"/>
                  </a:lnTo>
                  <a:lnTo>
                    <a:pt x="1216" y="26"/>
                  </a:lnTo>
                  <a:lnTo>
                    <a:pt x="1208" y="26"/>
                  </a:lnTo>
                  <a:lnTo>
                    <a:pt x="1202" y="28"/>
                  </a:lnTo>
                  <a:lnTo>
                    <a:pt x="1208" y="30"/>
                  </a:lnTo>
                  <a:lnTo>
                    <a:pt x="1214" y="30"/>
                  </a:lnTo>
                  <a:lnTo>
                    <a:pt x="1220" y="30"/>
                  </a:lnTo>
                  <a:lnTo>
                    <a:pt x="1228" y="32"/>
                  </a:lnTo>
                  <a:lnTo>
                    <a:pt x="1234" y="32"/>
                  </a:lnTo>
                  <a:lnTo>
                    <a:pt x="1240" y="30"/>
                  </a:lnTo>
                  <a:lnTo>
                    <a:pt x="1246" y="30"/>
                  </a:lnTo>
                  <a:lnTo>
                    <a:pt x="1254" y="30"/>
                  </a:lnTo>
                  <a:lnTo>
                    <a:pt x="1262" y="30"/>
                  </a:lnTo>
                  <a:lnTo>
                    <a:pt x="1268" y="30"/>
                  </a:lnTo>
                  <a:lnTo>
                    <a:pt x="1262" y="28"/>
                  </a:lnTo>
                  <a:lnTo>
                    <a:pt x="1268" y="30"/>
                  </a:lnTo>
                  <a:lnTo>
                    <a:pt x="1274" y="30"/>
                  </a:lnTo>
                  <a:lnTo>
                    <a:pt x="1280" y="30"/>
                  </a:lnTo>
                  <a:lnTo>
                    <a:pt x="1288" y="30"/>
                  </a:lnTo>
                  <a:lnTo>
                    <a:pt x="1296" y="32"/>
                  </a:lnTo>
                  <a:lnTo>
                    <a:pt x="1300" y="32"/>
                  </a:lnTo>
                  <a:lnTo>
                    <a:pt x="1308" y="32"/>
                  </a:lnTo>
                  <a:lnTo>
                    <a:pt x="1316" y="30"/>
                  </a:lnTo>
                  <a:lnTo>
                    <a:pt x="1322" y="30"/>
                  </a:lnTo>
                  <a:lnTo>
                    <a:pt x="1330" y="30"/>
                  </a:lnTo>
                  <a:lnTo>
                    <a:pt x="1336" y="30"/>
                  </a:lnTo>
                  <a:lnTo>
                    <a:pt x="1342" y="30"/>
                  </a:lnTo>
                  <a:lnTo>
                    <a:pt x="1348" y="30"/>
                  </a:lnTo>
                  <a:lnTo>
                    <a:pt x="1356" y="30"/>
                  </a:lnTo>
                  <a:lnTo>
                    <a:pt x="1362" y="30"/>
                  </a:lnTo>
                  <a:lnTo>
                    <a:pt x="1370" y="30"/>
                  </a:lnTo>
                  <a:lnTo>
                    <a:pt x="1376" y="32"/>
                  </a:lnTo>
                  <a:lnTo>
                    <a:pt x="1382" y="32"/>
                  </a:lnTo>
                  <a:lnTo>
                    <a:pt x="1390" y="32"/>
                  </a:lnTo>
                  <a:lnTo>
                    <a:pt x="1396" y="34"/>
                  </a:lnTo>
                  <a:lnTo>
                    <a:pt x="1402" y="34"/>
                  </a:lnTo>
                  <a:lnTo>
                    <a:pt x="1410" y="34"/>
                  </a:lnTo>
                  <a:lnTo>
                    <a:pt x="1416" y="36"/>
                  </a:lnTo>
                  <a:lnTo>
                    <a:pt x="1422" y="36"/>
                  </a:lnTo>
                  <a:lnTo>
                    <a:pt x="1428" y="36"/>
                  </a:lnTo>
                  <a:lnTo>
                    <a:pt x="1436" y="36"/>
                  </a:lnTo>
                  <a:lnTo>
                    <a:pt x="1440" y="40"/>
                  </a:lnTo>
                  <a:lnTo>
                    <a:pt x="1436" y="44"/>
                  </a:lnTo>
                  <a:lnTo>
                    <a:pt x="1440" y="46"/>
                  </a:lnTo>
                  <a:lnTo>
                    <a:pt x="1434" y="52"/>
                  </a:lnTo>
                  <a:lnTo>
                    <a:pt x="1430" y="46"/>
                  </a:lnTo>
                  <a:lnTo>
                    <a:pt x="1424" y="42"/>
                  </a:lnTo>
                  <a:lnTo>
                    <a:pt x="1416" y="42"/>
                  </a:lnTo>
                  <a:lnTo>
                    <a:pt x="1410" y="42"/>
                  </a:lnTo>
                  <a:lnTo>
                    <a:pt x="1404" y="40"/>
                  </a:lnTo>
                  <a:lnTo>
                    <a:pt x="1398" y="38"/>
                  </a:lnTo>
                  <a:lnTo>
                    <a:pt x="1390" y="36"/>
                  </a:lnTo>
                  <a:lnTo>
                    <a:pt x="1384" y="36"/>
                  </a:lnTo>
                  <a:lnTo>
                    <a:pt x="1378" y="34"/>
                  </a:lnTo>
                  <a:lnTo>
                    <a:pt x="1372" y="36"/>
                  </a:lnTo>
                  <a:lnTo>
                    <a:pt x="1378" y="40"/>
                  </a:lnTo>
                  <a:lnTo>
                    <a:pt x="1374" y="46"/>
                  </a:lnTo>
                  <a:lnTo>
                    <a:pt x="1368" y="44"/>
                  </a:lnTo>
                  <a:lnTo>
                    <a:pt x="1368" y="38"/>
                  </a:lnTo>
                  <a:lnTo>
                    <a:pt x="1360" y="34"/>
                  </a:lnTo>
                  <a:lnTo>
                    <a:pt x="1354" y="34"/>
                  </a:lnTo>
                  <a:lnTo>
                    <a:pt x="1348" y="34"/>
                  </a:lnTo>
                  <a:lnTo>
                    <a:pt x="1342" y="34"/>
                  </a:lnTo>
                  <a:lnTo>
                    <a:pt x="1336" y="34"/>
                  </a:lnTo>
                  <a:lnTo>
                    <a:pt x="1328" y="34"/>
                  </a:lnTo>
                  <a:lnTo>
                    <a:pt x="1322" y="34"/>
                  </a:lnTo>
                  <a:lnTo>
                    <a:pt x="1314" y="34"/>
                  </a:lnTo>
                  <a:lnTo>
                    <a:pt x="1308" y="34"/>
                  </a:lnTo>
                  <a:lnTo>
                    <a:pt x="1302" y="34"/>
                  </a:lnTo>
                  <a:lnTo>
                    <a:pt x="1294" y="34"/>
                  </a:lnTo>
                  <a:lnTo>
                    <a:pt x="1288" y="34"/>
                  </a:lnTo>
                  <a:lnTo>
                    <a:pt x="1282" y="34"/>
                  </a:lnTo>
                  <a:lnTo>
                    <a:pt x="1276" y="34"/>
                  </a:lnTo>
                  <a:lnTo>
                    <a:pt x="1270" y="34"/>
                  </a:lnTo>
                  <a:lnTo>
                    <a:pt x="1262" y="34"/>
                  </a:lnTo>
                  <a:lnTo>
                    <a:pt x="1256" y="34"/>
                  </a:lnTo>
                  <a:lnTo>
                    <a:pt x="1250" y="34"/>
                  </a:lnTo>
                  <a:lnTo>
                    <a:pt x="1242" y="34"/>
                  </a:lnTo>
                  <a:lnTo>
                    <a:pt x="1236" y="36"/>
                  </a:lnTo>
                  <a:lnTo>
                    <a:pt x="1242" y="38"/>
                  </a:lnTo>
                  <a:lnTo>
                    <a:pt x="1250" y="38"/>
                  </a:lnTo>
                  <a:lnTo>
                    <a:pt x="1256" y="40"/>
                  </a:lnTo>
                  <a:lnTo>
                    <a:pt x="1262" y="42"/>
                  </a:lnTo>
                  <a:lnTo>
                    <a:pt x="1270" y="44"/>
                  </a:lnTo>
                  <a:lnTo>
                    <a:pt x="1274" y="46"/>
                  </a:lnTo>
                  <a:lnTo>
                    <a:pt x="1280" y="48"/>
                  </a:lnTo>
                  <a:lnTo>
                    <a:pt x="1288" y="48"/>
                  </a:lnTo>
                  <a:lnTo>
                    <a:pt x="1294" y="50"/>
                  </a:lnTo>
                  <a:lnTo>
                    <a:pt x="1288" y="52"/>
                  </a:lnTo>
                  <a:lnTo>
                    <a:pt x="1294" y="52"/>
                  </a:lnTo>
                  <a:lnTo>
                    <a:pt x="1300" y="54"/>
                  </a:lnTo>
                  <a:lnTo>
                    <a:pt x="1308" y="54"/>
                  </a:lnTo>
                  <a:lnTo>
                    <a:pt x="1314" y="54"/>
                  </a:lnTo>
                  <a:lnTo>
                    <a:pt x="1320" y="54"/>
                  </a:lnTo>
                  <a:lnTo>
                    <a:pt x="1326" y="54"/>
                  </a:lnTo>
                  <a:lnTo>
                    <a:pt x="1334" y="56"/>
                  </a:lnTo>
                  <a:lnTo>
                    <a:pt x="1338" y="56"/>
                  </a:lnTo>
                  <a:lnTo>
                    <a:pt x="1332" y="56"/>
                  </a:lnTo>
                  <a:lnTo>
                    <a:pt x="1326" y="56"/>
                  </a:lnTo>
                  <a:lnTo>
                    <a:pt x="1318" y="56"/>
                  </a:lnTo>
                  <a:lnTo>
                    <a:pt x="1310" y="56"/>
                  </a:lnTo>
                  <a:lnTo>
                    <a:pt x="1304" y="56"/>
                  </a:lnTo>
                  <a:lnTo>
                    <a:pt x="1298" y="56"/>
                  </a:lnTo>
                  <a:lnTo>
                    <a:pt x="1290" y="54"/>
                  </a:lnTo>
                  <a:lnTo>
                    <a:pt x="1284" y="54"/>
                  </a:lnTo>
                  <a:lnTo>
                    <a:pt x="1278" y="52"/>
                  </a:lnTo>
                  <a:lnTo>
                    <a:pt x="1270" y="52"/>
                  </a:lnTo>
                  <a:lnTo>
                    <a:pt x="1266" y="54"/>
                  </a:lnTo>
                  <a:lnTo>
                    <a:pt x="1258" y="54"/>
                  </a:lnTo>
                  <a:lnTo>
                    <a:pt x="1252" y="60"/>
                  </a:lnTo>
                  <a:lnTo>
                    <a:pt x="1258" y="62"/>
                  </a:lnTo>
                  <a:lnTo>
                    <a:pt x="1252" y="64"/>
                  </a:lnTo>
                  <a:lnTo>
                    <a:pt x="1246" y="64"/>
                  </a:lnTo>
                  <a:lnTo>
                    <a:pt x="1240" y="66"/>
                  </a:lnTo>
                  <a:lnTo>
                    <a:pt x="1246" y="68"/>
                  </a:lnTo>
                  <a:lnTo>
                    <a:pt x="1252" y="68"/>
                  </a:lnTo>
                  <a:lnTo>
                    <a:pt x="1246" y="70"/>
                  </a:lnTo>
                  <a:lnTo>
                    <a:pt x="1252" y="72"/>
                  </a:lnTo>
                  <a:lnTo>
                    <a:pt x="1258" y="72"/>
                  </a:lnTo>
                  <a:lnTo>
                    <a:pt x="1252" y="74"/>
                  </a:lnTo>
                  <a:lnTo>
                    <a:pt x="1246" y="74"/>
                  </a:lnTo>
                  <a:lnTo>
                    <a:pt x="1240" y="76"/>
                  </a:lnTo>
                  <a:lnTo>
                    <a:pt x="1232" y="76"/>
                  </a:lnTo>
                  <a:lnTo>
                    <a:pt x="1228" y="76"/>
                  </a:lnTo>
                  <a:lnTo>
                    <a:pt x="1220" y="74"/>
                  </a:lnTo>
                  <a:lnTo>
                    <a:pt x="1214" y="72"/>
                  </a:lnTo>
                  <a:lnTo>
                    <a:pt x="1208" y="70"/>
                  </a:lnTo>
                  <a:lnTo>
                    <a:pt x="1202" y="68"/>
                  </a:lnTo>
                  <a:lnTo>
                    <a:pt x="1196" y="64"/>
                  </a:lnTo>
                  <a:lnTo>
                    <a:pt x="1190" y="62"/>
                  </a:lnTo>
                  <a:lnTo>
                    <a:pt x="1184" y="62"/>
                  </a:lnTo>
                  <a:lnTo>
                    <a:pt x="1176" y="62"/>
                  </a:lnTo>
                  <a:lnTo>
                    <a:pt x="1170" y="60"/>
                  </a:lnTo>
                  <a:lnTo>
                    <a:pt x="1164" y="60"/>
                  </a:lnTo>
                  <a:lnTo>
                    <a:pt x="1156" y="60"/>
                  </a:lnTo>
                  <a:lnTo>
                    <a:pt x="1150" y="58"/>
                  </a:lnTo>
                  <a:lnTo>
                    <a:pt x="1144" y="56"/>
                  </a:lnTo>
                  <a:lnTo>
                    <a:pt x="1138" y="54"/>
                  </a:lnTo>
                  <a:lnTo>
                    <a:pt x="1132" y="54"/>
                  </a:lnTo>
                  <a:lnTo>
                    <a:pt x="1126" y="54"/>
                  </a:lnTo>
                  <a:lnTo>
                    <a:pt x="1120" y="52"/>
                  </a:lnTo>
                  <a:lnTo>
                    <a:pt x="1112" y="52"/>
                  </a:lnTo>
                  <a:lnTo>
                    <a:pt x="1106" y="50"/>
                  </a:lnTo>
                  <a:lnTo>
                    <a:pt x="1100" y="48"/>
                  </a:lnTo>
                  <a:lnTo>
                    <a:pt x="1094" y="46"/>
                  </a:lnTo>
                  <a:lnTo>
                    <a:pt x="1086" y="46"/>
                  </a:lnTo>
                  <a:lnTo>
                    <a:pt x="1080" y="44"/>
                  </a:lnTo>
                  <a:lnTo>
                    <a:pt x="1074" y="44"/>
                  </a:lnTo>
                  <a:lnTo>
                    <a:pt x="1066" y="44"/>
                  </a:lnTo>
                  <a:lnTo>
                    <a:pt x="1060" y="44"/>
                  </a:lnTo>
                  <a:lnTo>
                    <a:pt x="1054" y="44"/>
                  </a:lnTo>
                  <a:lnTo>
                    <a:pt x="1046" y="44"/>
                  </a:lnTo>
                  <a:lnTo>
                    <a:pt x="1042" y="44"/>
                  </a:lnTo>
                  <a:lnTo>
                    <a:pt x="1034" y="44"/>
                  </a:lnTo>
                  <a:lnTo>
                    <a:pt x="1028" y="46"/>
                  </a:lnTo>
                  <a:lnTo>
                    <a:pt x="1032" y="52"/>
                  </a:lnTo>
                  <a:lnTo>
                    <a:pt x="1030" y="56"/>
                  </a:lnTo>
                  <a:lnTo>
                    <a:pt x="1036" y="60"/>
                  </a:lnTo>
                  <a:lnTo>
                    <a:pt x="1042" y="62"/>
                  </a:lnTo>
                  <a:lnTo>
                    <a:pt x="1050" y="64"/>
                  </a:lnTo>
                  <a:lnTo>
                    <a:pt x="1054" y="66"/>
                  </a:lnTo>
                  <a:lnTo>
                    <a:pt x="1062" y="68"/>
                  </a:lnTo>
                  <a:lnTo>
                    <a:pt x="1068" y="68"/>
                  </a:lnTo>
                  <a:lnTo>
                    <a:pt x="1062" y="70"/>
                  </a:lnTo>
                  <a:lnTo>
                    <a:pt x="1056" y="72"/>
                  </a:lnTo>
                  <a:lnTo>
                    <a:pt x="1050" y="72"/>
                  </a:lnTo>
                  <a:lnTo>
                    <a:pt x="1042" y="70"/>
                  </a:lnTo>
                  <a:lnTo>
                    <a:pt x="1036" y="70"/>
                  </a:lnTo>
                  <a:lnTo>
                    <a:pt x="1030" y="70"/>
                  </a:lnTo>
                  <a:lnTo>
                    <a:pt x="1024" y="70"/>
                  </a:lnTo>
                  <a:lnTo>
                    <a:pt x="1018" y="68"/>
                  </a:lnTo>
                  <a:lnTo>
                    <a:pt x="1012" y="68"/>
                  </a:lnTo>
                  <a:lnTo>
                    <a:pt x="1018" y="72"/>
                  </a:lnTo>
                  <a:lnTo>
                    <a:pt x="1024" y="76"/>
                  </a:lnTo>
                  <a:lnTo>
                    <a:pt x="1030" y="76"/>
                  </a:lnTo>
                  <a:lnTo>
                    <a:pt x="1036" y="76"/>
                  </a:lnTo>
                  <a:lnTo>
                    <a:pt x="1042" y="78"/>
                  </a:lnTo>
                  <a:lnTo>
                    <a:pt x="1048" y="82"/>
                  </a:lnTo>
                  <a:lnTo>
                    <a:pt x="1042" y="82"/>
                  </a:lnTo>
                  <a:lnTo>
                    <a:pt x="1036" y="82"/>
                  </a:lnTo>
                  <a:lnTo>
                    <a:pt x="1030" y="82"/>
                  </a:lnTo>
                  <a:lnTo>
                    <a:pt x="1022" y="76"/>
                  </a:lnTo>
                  <a:lnTo>
                    <a:pt x="1016" y="76"/>
                  </a:lnTo>
                  <a:lnTo>
                    <a:pt x="1012" y="74"/>
                  </a:lnTo>
                  <a:lnTo>
                    <a:pt x="1004" y="72"/>
                  </a:lnTo>
                  <a:lnTo>
                    <a:pt x="998" y="72"/>
                  </a:lnTo>
                  <a:lnTo>
                    <a:pt x="992" y="70"/>
                  </a:lnTo>
                  <a:lnTo>
                    <a:pt x="986" y="70"/>
                  </a:lnTo>
                  <a:lnTo>
                    <a:pt x="980" y="70"/>
                  </a:lnTo>
                  <a:lnTo>
                    <a:pt x="974" y="68"/>
                  </a:lnTo>
                  <a:lnTo>
                    <a:pt x="966" y="68"/>
                  </a:lnTo>
                  <a:lnTo>
                    <a:pt x="960" y="66"/>
                  </a:lnTo>
                  <a:lnTo>
                    <a:pt x="954" y="66"/>
                  </a:lnTo>
                  <a:lnTo>
                    <a:pt x="948" y="64"/>
                  </a:lnTo>
                  <a:lnTo>
                    <a:pt x="942" y="64"/>
                  </a:lnTo>
                  <a:lnTo>
                    <a:pt x="938" y="70"/>
                  </a:lnTo>
                  <a:lnTo>
                    <a:pt x="932" y="74"/>
                  </a:lnTo>
                  <a:lnTo>
                    <a:pt x="926" y="76"/>
                  </a:lnTo>
                  <a:lnTo>
                    <a:pt x="920" y="76"/>
                  </a:lnTo>
                  <a:lnTo>
                    <a:pt x="912" y="78"/>
                  </a:lnTo>
                  <a:lnTo>
                    <a:pt x="906" y="80"/>
                  </a:lnTo>
                  <a:lnTo>
                    <a:pt x="900" y="86"/>
                  </a:lnTo>
                  <a:lnTo>
                    <a:pt x="894" y="86"/>
                  </a:lnTo>
                  <a:lnTo>
                    <a:pt x="898" y="80"/>
                  </a:lnTo>
                  <a:lnTo>
                    <a:pt x="906" y="76"/>
                  </a:lnTo>
                  <a:lnTo>
                    <a:pt x="910" y="74"/>
                  </a:lnTo>
                  <a:lnTo>
                    <a:pt x="918" y="70"/>
                  </a:lnTo>
                  <a:lnTo>
                    <a:pt x="918" y="64"/>
                  </a:lnTo>
                  <a:lnTo>
                    <a:pt x="920" y="58"/>
                  </a:lnTo>
                  <a:lnTo>
                    <a:pt x="914" y="54"/>
                  </a:lnTo>
                  <a:lnTo>
                    <a:pt x="908" y="52"/>
                  </a:lnTo>
                  <a:lnTo>
                    <a:pt x="902" y="52"/>
                  </a:lnTo>
                  <a:lnTo>
                    <a:pt x="896" y="52"/>
                  </a:lnTo>
                  <a:lnTo>
                    <a:pt x="890" y="52"/>
                  </a:lnTo>
                  <a:lnTo>
                    <a:pt x="884" y="52"/>
                  </a:lnTo>
                  <a:lnTo>
                    <a:pt x="878" y="52"/>
                  </a:lnTo>
                  <a:lnTo>
                    <a:pt x="872" y="52"/>
                  </a:lnTo>
                  <a:lnTo>
                    <a:pt x="866" y="54"/>
                  </a:lnTo>
                  <a:lnTo>
                    <a:pt x="860" y="54"/>
                  </a:lnTo>
                  <a:lnTo>
                    <a:pt x="866" y="54"/>
                  </a:lnTo>
                  <a:lnTo>
                    <a:pt x="860" y="56"/>
                  </a:lnTo>
                  <a:lnTo>
                    <a:pt x="852" y="56"/>
                  </a:lnTo>
                  <a:lnTo>
                    <a:pt x="846" y="56"/>
                  </a:lnTo>
                  <a:lnTo>
                    <a:pt x="838" y="56"/>
                  </a:lnTo>
                  <a:lnTo>
                    <a:pt x="832" y="58"/>
                  </a:lnTo>
                  <a:lnTo>
                    <a:pt x="826" y="60"/>
                  </a:lnTo>
                  <a:lnTo>
                    <a:pt x="818" y="56"/>
                  </a:lnTo>
                  <a:lnTo>
                    <a:pt x="812" y="56"/>
                  </a:lnTo>
                  <a:lnTo>
                    <a:pt x="804" y="58"/>
                  </a:lnTo>
                  <a:lnTo>
                    <a:pt x="800" y="58"/>
                  </a:lnTo>
                  <a:lnTo>
                    <a:pt x="792" y="58"/>
                  </a:lnTo>
                  <a:lnTo>
                    <a:pt x="786" y="58"/>
                  </a:lnTo>
                  <a:lnTo>
                    <a:pt x="780" y="60"/>
                  </a:lnTo>
                  <a:lnTo>
                    <a:pt x="772" y="60"/>
                  </a:lnTo>
                  <a:lnTo>
                    <a:pt x="766" y="60"/>
                  </a:lnTo>
                  <a:lnTo>
                    <a:pt x="760" y="60"/>
                  </a:lnTo>
                  <a:lnTo>
                    <a:pt x="754" y="60"/>
                  </a:lnTo>
                  <a:lnTo>
                    <a:pt x="746" y="62"/>
                  </a:lnTo>
                  <a:lnTo>
                    <a:pt x="742" y="62"/>
                  </a:lnTo>
                  <a:lnTo>
                    <a:pt x="734" y="62"/>
                  </a:lnTo>
                  <a:lnTo>
                    <a:pt x="728" y="62"/>
                  </a:lnTo>
                  <a:lnTo>
                    <a:pt x="722" y="64"/>
                  </a:lnTo>
                  <a:lnTo>
                    <a:pt x="716" y="64"/>
                  </a:lnTo>
                  <a:lnTo>
                    <a:pt x="710" y="64"/>
                  </a:lnTo>
                  <a:lnTo>
                    <a:pt x="704" y="66"/>
                  </a:lnTo>
                  <a:lnTo>
                    <a:pt x="708" y="68"/>
                  </a:lnTo>
                  <a:lnTo>
                    <a:pt x="716" y="68"/>
                  </a:lnTo>
                  <a:lnTo>
                    <a:pt x="722" y="68"/>
                  </a:lnTo>
                  <a:lnTo>
                    <a:pt x="728" y="70"/>
                  </a:lnTo>
                  <a:lnTo>
                    <a:pt x="732" y="76"/>
                  </a:lnTo>
                  <a:lnTo>
                    <a:pt x="740" y="80"/>
                  </a:lnTo>
                  <a:lnTo>
                    <a:pt x="746" y="80"/>
                  </a:lnTo>
                  <a:lnTo>
                    <a:pt x="754" y="82"/>
                  </a:lnTo>
                  <a:lnTo>
                    <a:pt x="758" y="84"/>
                  </a:lnTo>
                  <a:lnTo>
                    <a:pt x="764" y="86"/>
                  </a:lnTo>
                  <a:lnTo>
                    <a:pt x="772" y="90"/>
                  </a:lnTo>
                  <a:lnTo>
                    <a:pt x="778" y="90"/>
                  </a:lnTo>
                  <a:lnTo>
                    <a:pt x="784" y="92"/>
                  </a:lnTo>
                  <a:lnTo>
                    <a:pt x="778" y="92"/>
                  </a:lnTo>
                  <a:lnTo>
                    <a:pt x="772" y="92"/>
                  </a:lnTo>
                  <a:lnTo>
                    <a:pt x="764" y="90"/>
                  </a:lnTo>
                  <a:lnTo>
                    <a:pt x="758" y="86"/>
                  </a:lnTo>
                  <a:lnTo>
                    <a:pt x="754" y="84"/>
                  </a:lnTo>
                  <a:lnTo>
                    <a:pt x="746" y="84"/>
                  </a:lnTo>
                  <a:lnTo>
                    <a:pt x="740" y="82"/>
                  </a:lnTo>
                  <a:lnTo>
                    <a:pt x="734" y="82"/>
                  </a:lnTo>
                  <a:lnTo>
                    <a:pt x="728" y="82"/>
                  </a:lnTo>
                  <a:lnTo>
                    <a:pt x="722" y="80"/>
                  </a:lnTo>
                  <a:lnTo>
                    <a:pt x="720" y="74"/>
                  </a:lnTo>
                  <a:lnTo>
                    <a:pt x="712" y="72"/>
                  </a:lnTo>
                  <a:lnTo>
                    <a:pt x="706" y="70"/>
                  </a:lnTo>
                  <a:lnTo>
                    <a:pt x="700" y="70"/>
                  </a:lnTo>
                  <a:lnTo>
                    <a:pt x="692" y="70"/>
                  </a:lnTo>
                  <a:lnTo>
                    <a:pt x="686" y="70"/>
                  </a:lnTo>
                  <a:lnTo>
                    <a:pt x="680" y="68"/>
                  </a:lnTo>
                  <a:lnTo>
                    <a:pt x="678" y="68"/>
                  </a:lnTo>
                  <a:lnTo>
                    <a:pt x="672" y="68"/>
                  </a:lnTo>
                  <a:lnTo>
                    <a:pt x="666" y="70"/>
                  </a:lnTo>
                  <a:lnTo>
                    <a:pt x="660" y="70"/>
                  </a:lnTo>
                  <a:lnTo>
                    <a:pt x="652" y="70"/>
                  </a:lnTo>
                  <a:lnTo>
                    <a:pt x="646" y="72"/>
                  </a:lnTo>
                  <a:lnTo>
                    <a:pt x="640" y="72"/>
                  </a:lnTo>
                  <a:lnTo>
                    <a:pt x="634" y="72"/>
                  </a:lnTo>
                  <a:lnTo>
                    <a:pt x="628" y="74"/>
                  </a:lnTo>
                  <a:lnTo>
                    <a:pt x="620" y="80"/>
                  </a:lnTo>
                  <a:lnTo>
                    <a:pt x="626" y="86"/>
                  </a:lnTo>
                  <a:lnTo>
                    <a:pt x="632" y="88"/>
                  </a:lnTo>
                  <a:lnTo>
                    <a:pt x="626" y="90"/>
                  </a:lnTo>
                  <a:lnTo>
                    <a:pt x="620" y="90"/>
                  </a:lnTo>
                  <a:lnTo>
                    <a:pt x="614" y="92"/>
                  </a:lnTo>
                  <a:lnTo>
                    <a:pt x="608" y="96"/>
                  </a:lnTo>
                  <a:lnTo>
                    <a:pt x="612" y="102"/>
                  </a:lnTo>
                  <a:lnTo>
                    <a:pt x="606" y="104"/>
                  </a:lnTo>
                  <a:lnTo>
                    <a:pt x="600" y="104"/>
                  </a:lnTo>
                  <a:lnTo>
                    <a:pt x="594" y="104"/>
                  </a:lnTo>
                  <a:lnTo>
                    <a:pt x="586" y="106"/>
                  </a:lnTo>
                  <a:lnTo>
                    <a:pt x="580" y="104"/>
                  </a:lnTo>
                  <a:lnTo>
                    <a:pt x="572" y="102"/>
                  </a:lnTo>
                  <a:lnTo>
                    <a:pt x="566" y="100"/>
                  </a:lnTo>
                  <a:lnTo>
                    <a:pt x="560" y="100"/>
                  </a:lnTo>
                  <a:lnTo>
                    <a:pt x="554" y="100"/>
                  </a:lnTo>
                  <a:lnTo>
                    <a:pt x="546" y="100"/>
                  </a:lnTo>
                  <a:lnTo>
                    <a:pt x="540" y="100"/>
                  </a:lnTo>
                  <a:lnTo>
                    <a:pt x="534" y="100"/>
                  </a:lnTo>
                  <a:lnTo>
                    <a:pt x="528" y="100"/>
                  </a:lnTo>
                  <a:lnTo>
                    <a:pt x="522" y="102"/>
                  </a:lnTo>
                  <a:lnTo>
                    <a:pt x="518" y="108"/>
                  </a:lnTo>
                  <a:lnTo>
                    <a:pt x="522" y="114"/>
                  </a:lnTo>
                  <a:lnTo>
                    <a:pt x="526" y="120"/>
                  </a:lnTo>
                  <a:lnTo>
                    <a:pt x="520" y="116"/>
                  </a:lnTo>
                  <a:lnTo>
                    <a:pt x="514" y="110"/>
                  </a:lnTo>
                  <a:lnTo>
                    <a:pt x="514" y="104"/>
                  </a:lnTo>
                  <a:lnTo>
                    <a:pt x="508" y="102"/>
                  </a:lnTo>
                  <a:lnTo>
                    <a:pt x="502" y="104"/>
                  </a:lnTo>
                  <a:lnTo>
                    <a:pt x="496" y="106"/>
                  </a:lnTo>
                  <a:lnTo>
                    <a:pt x="490" y="106"/>
                  </a:lnTo>
                  <a:lnTo>
                    <a:pt x="484" y="108"/>
                  </a:lnTo>
                  <a:lnTo>
                    <a:pt x="478" y="108"/>
                  </a:lnTo>
                  <a:lnTo>
                    <a:pt x="470" y="108"/>
                  </a:lnTo>
                  <a:lnTo>
                    <a:pt x="466" y="110"/>
                  </a:lnTo>
                  <a:lnTo>
                    <a:pt x="458" y="112"/>
                  </a:lnTo>
                  <a:lnTo>
                    <a:pt x="452" y="114"/>
                  </a:lnTo>
                  <a:lnTo>
                    <a:pt x="446" y="116"/>
                  </a:lnTo>
                  <a:lnTo>
                    <a:pt x="440" y="118"/>
                  </a:lnTo>
                  <a:lnTo>
                    <a:pt x="434" y="120"/>
                  </a:lnTo>
                  <a:lnTo>
                    <a:pt x="428" y="120"/>
                  </a:lnTo>
                  <a:lnTo>
                    <a:pt x="422" y="120"/>
                  </a:lnTo>
                  <a:lnTo>
                    <a:pt x="416" y="124"/>
                  </a:lnTo>
                  <a:lnTo>
                    <a:pt x="410" y="124"/>
                  </a:lnTo>
                  <a:lnTo>
                    <a:pt x="402" y="124"/>
                  </a:lnTo>
                  <a:lnTo>
                    <a:pt x="396" y="126"/>
                  </a:lnTo>
                  <a:lnTo>
                    <a:pt x="390" y="126"/>
                  </a:lnTo>
                  <a:lnTo>
                    <a:pt x="384" y="128"/>
                  </a:lnTo>
                  <a:lnTo>
                    <a:pt x="376" y="128"/>
                  </a:lnTo>
                  <a:lnTo>
                    <a:pt x="370" y="128"/>
                  </a:lnTo>
                  <a:lnTo>
                    <a:pt x="364" y="132"/>
                  </a:lnTo>
                  <a:lnTo>
                    <a:pt x="360" y="134"/>
                  </a:lnTo>
                  <a:lnTo>
                    <a:pt x="352" y="134"/>
                  </a:lnTo>
                  <a:lnTo>
                    <a:pt x="348" y="136"/>
                  </a:lnTo>
                  <a:lnTo>
                    <a:pt x="340" y="136"/>
                  </a:lnTo>
                  <a:lnTo>
                    <a:pt x="334" y="138"/>
                  </a:lnTo>
                  <a:lnTo>
                    <a:pt x="326" y="140"/>
                  </a:lnTo>
                  <a:lnTo>
                    <a:pt x="322" y="146"/>
                  </a:lnTo>
                  <a:lnTo>
                    <a:pt x="330" y="146"/>
                  </a:lnTo>
                  <a:lnTo>
                    <a:pt x="336" y="152"/>
                  </a:lnTo>
                  <a:lnTo>
                    <a:pt x="342" y="152"/>
                  </a:lnTo>
                  <a:lnTo>
                    <a:pt x="348" y="150"/>
                  </a:lnTo>
                  <a:lnTo>
                    <a:pt x="354" y="150"/>
                  </a:lnTo>
                  <a:lnTo>
                    <a:pt x="360" y="150"/>
                  </a:lnTo>
                  <a:lnTo>
                    <a:pt x="366" y="154"/>
                  </a:lnTo>
                  <a:lnTo>
                    <a:pt x="372" y="154"/>
                  </a:lnTo>
                  <a:lnTo>
                    <a:pt x="380" y="154"/>
                  </a:lnTo>
                  <a:lnTo>
                    <a:pt x="386" y="152"/>
                  </a:lnTo>
                  <a:lnTo>
                    <a:pt x="392" y="152"/>
                  </a:lnTo>
                  <a:lnTo>
                    <a:pt x="398" y="150"/>
                  </a:lnTo>
                  <a:lnTo>
                    <a:pt x="404" y="150"/>
                  </a:lnTo>
                  <a:lnTo>
                    <a:pt x="410" y="150"/>
                  </a:lnTo>
                  <a:lnTo>
                    <a:pt x="416" y="150"/>
                  </a:lnTo>
                  <a:lnTo>
                    <a:pt x="422" y="150"/>
                  </a:lnTo>
                  <a:lnTo>
                    <a:pt x="430" y="150"/>
                  </a:lnTo>
                  <a:lnTo>
                    <a:pt x="436" y="148"/>
                  </a:lnTo>
                  <a:lnTo>
                    <a:pt x="442" y="146"/>
                  </a:lnTo>
                  <a:lnTo>
                    <a:pt x="448" y="146"/>
                  </a:lnTo>
                  <a:lnTo>
                    <a:pt x="456" y="148"/>
                  </a:lnTo>
                  <a:lnTo>
                    <a:pt x="448" y="148"/>
                  </a:lnTo>
                  <a:lnTo>
                    <a:pt x="442" y="148"/>
                  </a:lnTo>
                  <a:lnTo>
                    <a:pt x="436" y="150"/>
                  </a:lnTo>
                  <a:lnTo>
                    <a:pt x="430" y="152"/>
                  </a:lnTo>
                  <a:lnTo>
                    <a:pt x="424" y="152"/>
                  </a:lnTo>
                  <a:lnTo>
                    <a:pt x="418" y="152"/>
                  </a:lnTo>
                  <a:lnTo>
                    <a:pt x="410" y="154"/>
                  </a:lnTo>
                  <a:lnTo>
                    <a:pt x="404" y="154"/>
                  </a:lnTo>
                  <a:lnTo>
                    <a:pt x="400" y="160"/>
                  </a:lnTo>
                  <a:lnTo>
                    <a:pt x="394" y="166"/>
                  </a:lnTo>
                  <a:lnTo>
                    <a:pt x="392" y="172"/>
                  </a:lnTo>
                  <a:lnTo>
                    <a:pt x="390" y="178"/>
                  </a:lnTo>
                  <a:lnTo>
                    <a:pt x="384" y="180"/>
                  </a:lnTo>
                  <a:lnTo>
                    <a:pt x="376" y="180"/>
                  </a:lnTo>
                  <a:lnTo>
                    <a:pt x="372" y="184"/>
                  </a:lnTo>
                  <a:lnTo>
                    <a:pt x="364" y="186"/>
                  </a:lnTo>
                  <a:lnTo>
                    <a:pt x="358" y="186"/>
                  </a:lnTo>
                  <a:lnTo>
                    <a:pt x="352" y="188"/>
                  </a:lnTo>
                  <a:lnTo>
                    <a:pt x="346" y="190"/>
                  </a:lnTo>
                  <a:lnTo>
                    <a:pt x="340" y="192"/>
                  </a:lnTo>
                  <a:lnTo>
                    <a:pt x="334" y="194"/>
                  </a:lnTo>
                  <a:lnTo>
                    <a:pt x="328" y="196"/>
                  </a:lnTo>
                  <a:lnTo>
                    <a:pt x="322" y="196"/>
                  </a:lnTo>
                  <a:lnTo>
                    <a:pt x="316" y="198"/>
                  </a:lnTo>
                  <a:lnTo>
                    <a:pt x="310" y="196"/>
                  </a:lnTo>
                  <a:lnTo>
                    <a:pt x="304" y="196"/>
                  </a:lnTo>
                  <a:lnTo>
                    <a:pt x="298" y="196"/>
                  </a:lnTo>
                  <a:lnTo>
                    <a:pt x="292" y="198"/>
                  </a:lnTo>
                  <a:lnTo>
                    <a:pt x="286" y="198"/>
                  </a:lnTo>
                  <a:lnTo>
                    <a:pt x="280" y="196"/>
                  </a:lnTo>
                  <a:lnTo>
                    <a:pt x="274" y="198"/>
                  </a:lnTo>
                  <a:lnTo>
                    <a:pt x="268" y="196"/>
                  </a:lnTo>
                  <a:lnTo>
                    <a:pt x="262" y="198"/>
                  </a:lnTo>
                  <a:lnTo>
                    <a:pt x="256" y="200"/>
                  </a:lnTo>
                  <a:lnTo>
                    <a:pt x="250" y="200"/>
                  </a:lnTo>
                  <a:lnTo>
                    <a:pt x="244" y="200"/>
                  </a:lnTo>
                  <a:lnTo>
                    <a:pt x="238" y="200"/>
                  </a:lnTo>
                  <a:lnTo>
                    <a:pt x="230" y="200"/>
                  </a:lnTo>
                  <a:lnTo>
                    <a:pt x="224" y="200"/>
                  </a:lnTo>
                  <a:lnTo>
                    <a:pt x="216" y="202"/>
                  </a:lnTo>
                  <a:lnTo>
                    <a:pt x="210" y="202"/>
                  </a:lnTo>
                  <a:lnTo>
                    <a:pt x="204" y="204"/>
                  </a:lnTo>
                  <a:lnTo>
                    <a:pt x="198" y="204"/>
                  </a:lnTo>
                  <a:lnTo>
                    <a:pt x="192" y="206"/>
                  </a:lnTo>
                  <a:lnTo>
                    <a:pt x="198" y="208"/>
                  </a:lnTo>
                  <a:lnTo>
                    <a:pt x="192" y="210"/>
                  </a:lnTo>
                  <a:lnTo>
                    <a:pt x="186" y="210"/>
                  </a:lnTo>
                  <a:lnTo>
                    <a:pt x="180" y="212"/>
                  </a:lnTo>
                  <a:lnTo>
                    <a:pt x="174" y="212"/>
                  </a:lnTo>
                  <a:lnTo>
                    <a:pt x="168" y="212"/>
                  </a:lnTo>
                  <a:lnTo>
                    <a:pt x="162" y="212"/>
                  </a:lnTo>
                  <a:lnTo>
                    <a:pt x="156" y="214"/>
                  </a:lnTo>
                  <a:lnTo>
                    <a:pt x="152" y="214"/>
                  </a:lnTo>
                  <a:lnTo>
                    <a:pt x="150" y="216"/>
                  </a:lnTo>
                  <a:lnTo>
                    <a:pt x="144" y="216"/>
                  </a:lnTo>
                  <a:lnTo>
                    <a:pt x="136" y="216"/>
                  </a:lnTo>
                  <a:lnTo>
                    <a:pt x="132" y="216"/>
                  </a:lnTo>
                  <a:lnTo>
                    <a:pt x="124" y="218"/>
                  </a:lnTo>
                  <a:lnTo>
                    <a:pt x="118" y="218"/>
                  </a:lnTo>
                  <a:lnTo>
                    <a:pt x="112" y="224"/>
                  </a:lnTo>
                  <a:lnTo>
                    <a:pt x="106" y="222"/>
                  </a:lnTo>
                  <a:lnTo>
                    <a:pt x="100" y="222"/>
                  </a:lnTo>
                  <a:lnTo>
                    <a:pt x="92" y="220"/>
                  </a:lnTo>
                  <a:lnTo>
                    <a:pt x="86" y="222"/>
                  </a:lnTo>
                  <a:lnTo>
                    <a:pt x="80" y="222"/>
                  </a:lnTo>
                  <a:lnTo>
                    <a:pt x="74" y="224"/>
                  </a:lnTo>
                  <a:lnTo>
                    <a:pt x="68" y="224"/>
                  </a:lnTo>
                  <a:lnTo>
                    <a:pt x="64" y="226"/>
                  </a:lnTo>
                  <a:lnTo>
                    <a:pt x="56" y="226"/>
                  </a:lnTo>
                  <a:lnTo>
                    <a:pt x="50" y="226"/>
                  </a:lnTo>
                  <a:lnTo>
                    <a:pt x="44" y="226"/>
                  </a:lnTo>
                  <a:lnTo>
                    <a:pt x="38" y="228"/>
                  </a:lnTo>
                  <a:lnTo>
                    <a:pt x="30" y="230"/>
                  </a:lnTo>
                  <a:lnTo>
                    <a:pt x="24" y="234"/>
                  </a:lnTo>
                  <a:lnTo>
                    <a:pt x="18" y="236"/>
                  </a:lnTo>
                  <a:lnTo>
                    <a:pt x="26" y="238"/>
                  </a:lnTo>
                  <a:lnTo>
                    <a:pt x="20" y="240"/>
                  </a:lnTo>
                  <a:lnTo>
                    <a:pt x="14" y="242"/>
                  </a:lnTo>
                  <a:lnTo>
                    <a:pt x="8" y="246"/>
                  </a:lnTo>
                  <a:lnTo>
                    <a:pt x="0" y="244"/>
                  </a:lnTo>
                  <a:lnTo>
                    <a:pt x="6" y="246"/>
                  </a:lnTo>
                  <a:lnTo>
                    <a:pt x="12" y="250"/>
                  </a:lnTo>
                  <a:lnTo>
                    <a:pt x="18" y="250"/>
                  </a:lnTo>
                  <a:lnTo>
                    <a:pt x="20" y="256"/>
                  </a:lnTo>
                  <a:lnTo>
                    <a:pt x="26" y="258"/>
                  </a:lnTo>
                  <a:lnTo>
                    <a:pt x="32" y="260"/>
                  </a:lnTo>
                  <a:lnTo>
                    <a:pt x="38" y="258"/>
                  </a:lnTo>
                  <a:lnTo>
                    <a:pt x="44" y="258"/>
                  </a:lnTo>
                  <a:lnTo>
                    <a:pt x="50" y="260"/>
                  </a:lnTo>
                  <a:lnTo>
                    <a:pt x="56" y="260"/>
                  </a:lnTo>
                  <a:lnTo>
                    <a:pt x="50" y="262"/>
                  </a:lnTo>
                  <a:lnTo>
                    <a:pt x="44" y="264"/>
                  </a:lnTo>
                  <a:lnTo>
                    <a:pt x="50" y="266"/>
                  </a:lnTo>
                  <a:lnTo>
                    <a:pt x="56" y="266"/>
                  </a:lnTo>
                  <a:lnTo>
                    <a:pt x="64" y="264"/>
                  </a:lnTo>
                  <a:lnTo>
                    <a:pt x="70" y="264"/>
                  </a:lnTo>
                  <a:lnTo>
                    <a:pt x="76" y="264"/>
                  </a:lnTo>
                  <a:lnTo>
                    <a:pt x="84" y="262"/>
                  </a:lnTo>
                  <a:lnTo>
                    <a:pt x="90" y="260"/>
                  </a:lnTo>
                  <a:lnTo>
                    <a:pt x="96" y="260"/>
                  </a:lnTo>
                  <a:lnTo>
                    <a:pt x="102" y="262"/>
                  </a:lnTo>
                  <a:lnTo>
                    <a:pt x="104" y="262"/>
                  </a:lnTo>
                  <a:lnTo>
                    <a:pt x="102" y="262"/>
                  </a:lnTo>
                  <a:lnTo>
                    <a:pt x="96" y="262"/>
                  </a:lnTo>
                  <a:lnTo>
                    <a:pt x="90" y="264"/>
                  </a:lnTo>
                  <a:lnTo>
                    <a:pt x="84" y="266"/>
                  </a:lnTo>
                  <a:lnTo>
                    <a:pt x="78" y="268"/>
                  </a:lnTo>
                  <a:lnTo>
                    <a:pt x="72" y="268"/>
                  </a:lnTo>
                  <a:lnTo>
                    <a:pt x="78" y="270"/>
                  </a:lnTo>
                  <a:lnTo>
                    <a:pt x="86" y="270"/>
                  </a:lnTo>
                  <a:lnTo>
                    <a:pt x="92" y="270"/>
                  </a:lnTo>
                  <a:lnTo>
                    <a:pt x="96" y="270"/>
                  </a:lnTo>
                  <a:lnTo>
                    <a:pt x="102" y="268"/>
                  </a:lnTo>
                  <a:lnTo>
                    <a:pt x="108" y="268"/>
                  </a:lnTo>
                  <a:lnTo>
                    <a:pt x="114" y="268"/>
                  </a:lnTo>
                  <a:lnTo>
                    <a:pt x="108" y="270"/>
                  </a:lnTo>
                  <a:lnTo>
                    <a:pt x="102" y="272"/>
                  </a:lnTo>
                  <a:lnTo>
                    <a:pt x="96" y="272"/>
                  </a:lnTo>
                  <a:lnTo>
                    <a:pt x="92" y="272"/>
                  </a:lnTo>
                  <a:lnTo>
                    <a:pt x="86" y="274"/>
                  </a:lnTo>
                  <a:lnTo>
                    <a:pt x="80" y="276"/>
                  </a:lnTo>
                  <a:lnTo>
                    <a:pt x="84" y="276"/>
                  </a:lnTo>
                  <a:lnTo>
                    <a:pt x="88" y="276"/>
                  </a:lnTo>
                  <a:lnTo>
                    <a:pt x="94" y="278"/>
                  </a:lnTo>
                  <a:lnTo>
                    <a:pt x="102" y="278"/>
                  </a:lnTo>
                  <a:lnTo>
                    <a:pt x="106" y="280"/>
                  </a:lnTo>
                  <a:lnTo>
                    <a:pt x="114" y="280"/>
                  </a:lnTo>
                  <a:lnTo>
                    <a:pt x="120" y="280"/>
                  </a:lnTo>
                  <a:lnTo>
                    <a:pt x="128" y="280"/>
                  </a:lnTo>
                  <a:lnTo>
                    <a:pt x="134" y="280"/>
                  </a:lnTo>
                  <a:lnTo>
                    <a:pt x="140" y="278"/>
                  </a:lnTo>
                  <a:lnTo>
                    <a:pt x="142" y="272"/>
                  </a:lnTo>
                  <a:lnTo>
                    <a:pt x="148" y="270"/>
                  </a:lnTo>
                  <a:lnTo>
                    <a:pt x="152" y="276"/>
                  </a:lnTo>
                  <a:lnTo>
                    <a:pt x="160" y="278"/>
                  </a:lnTo>
                  <a:lnTo>
                    <a:pt x="166" y="278"/>
                  </a:lnTo>
                  <a:lnTo>
                    <a:pt x="172" y="278"/>
                  </a:lnTo>
                  <a:lnTo>
                    <a:pt x="178" y="278"/>
                  </a:lnTo>
                  <a:lnTo>
                    <a:pt x="184" y="278"/>
                  </a:lnTo>
                  <a:lnTo>
                    <a:pt x="190" y="276"/>
                  </a:lnTo>
                  <a:lnTo>
                    <a:pt x="196" y="276"/>
                  </a:lnTo>
                  <a:lnTo>
                    <a:pt x="202" y="274"/>
                  </a:lnTo>
                  <a:lnTo>
                    <a:pt x="208" y="270"/>
                  </a:lnTo>
                  <a:lnTo>
                    <a:pt x="214" y="270"/>
                  </a:lnTo>
                  <a:lnTo>
                    <a:pt x="220" y="270"/>
                  </a:lnTo>
                  <a:lnTo>
                    <a:pt x="228" y="268"/>
                  </a:lnTo>
                  <a:lnTo>
                    <a:pt x="234" y="272"/>
                  </a:lnTo>
                  <a:lnTo>
                    <a:pt x="240" y="274"/>
                  </a:lnTo>
                  <a:lnTo>
                    <a:pt x="242" y="280"/>
                  </a:lnTo>
                  <a:lnTo>
                    <a:pt x="236" y="282"/>
                  </a:lnTo>
                  <a:lnTo>
                    <a:pt x="230" y="282"/>
                  </a:lnTo>
                  <a:lnTo>
                    <a:pt x="224" y="282"/>
                  </a:lnTo>
                  <a:lnTo>
                    <a:pt x="216" y="282"/>
                  </a:lnTo>
                  <a:lnTo>
                    <a:pt x="216" y="288"/>
                  </a:lnTo>
                  <a:lnTo>
                    <a:pt x="222" y="290"/>
                  </a:lnTo>
                  <a:lnTo>
                    <a:pt x="216" y="290"/>
                  </a:lnTo>
                  <a:lnTo>
                    <a:pt x="210" y="288"/>
                  </a:lnTo>
                  <a:lnTo>
                    <a:pt x="204" y="286"/>
                  </a:lnTo>
                  <a:lnTo>
                    <a:pt x="198" y="286"/>
                  </a:lnTo>
                  <a:lnTo>
                    <a:pt x="192" y="286"/>
                  </a:lnTo>
                  <a:lnTo>
                    <a:pt x="186" y="284"/>
                  </a:lnTo>
                  <a:lnTo>
                    <a:pt x="180" y="284"/>
                  </a:lnTo>
                  <a:lnTo>
                    <a:pt x="174" y="284"/>
                  </a:lnTo>
                  <a:lnTo>
                    <a:pt x="166" y="284"/>
                  </a:lnTo>
                  <a:lnTo>
                    <a:pt x="160" y="284"/>
                  </a:lnTo>
                  <a:lnTo>
                    <a:pt x="154" y="286"/>
                  </a:lnTo>
                  <a:lnTo>
                    <a:pt x="148" y="286"/>
                  </a:lnTo>
                  <a:lnTo>
                    <a:pt x="142" y="286"/>
                  </a:lnTo>
                  <a:lnTo>
                    <a:pt x="136" y="286"/>
                  </a:lnTo>
                  <a:lnTo>
                    <a:pt x="128" y="288"/>
                  </a:lnTo>
                  <a:lnTo>
                    <a:pt x="122" y="288"/>
                  </a:lnTo>
                  <a:lnTo>
                    <a:pt x="116" y="290"/>
                  </a:lnTo>
                  <a:lnTo>
                    <a:pt x="122" y="292"/>
                  </a:lnTo>
                  <a:lnTo>
                    <a:pt x="128" y="294"/>
                  </a:lnTo>
                  <a:lnTo>
                    <a:pt x="134" y="294"/>
                  </a:lnTo>
                  <a:lnTo>
                    <a:pt x="140" y="294"/>
                  </a:lnTo>
                  <a:lnTo>
                    <a:pt x="146" y="294"/>
                  </a:lnTo>
                  <a:lnTo>
                    <a:pt x="154" y="292"/>
                  </a:lnTo>
                  <a:lnTo>
                    <a:pt x="160" y="294"/>
                  </a:lnTo>
                  <a:lnTo>
                    <a:pt x="166" y="294"/>
                  </a:lnTo>
                  <a:lnTo>
                    <a:pt x="172" y="294"/>
                  </a:lnTo>
                  <a:lnTo>
                    <a:pt x="180" y="296"/>
                  </a:lnTo>
                  <a:lnTo>
                    <a:pt x="186" y="296"/>
                  </a:lnTo>
                  <a:lnTo>
                    <a:pt x="192" y="298"/>
                  </a:lnTo>
                  <a:lnTo>
                    <a:pt x="198" y="298"/>
                  </a:lnTo>
                  <a:lnTo>
                    <a:pt x="204" y="296"/>
                  </a:lnTo>
                  <a:lnTo>
                    <a:pt x="210" y="296"/>
                  </a:lnTo>
                  <a:lnTo>
                    <a:pt x="216" y="296"/>
                  </a:lnTo>
                  <a:lnTo>
                    <a:pt x="222" y="294"/>
                  </a:lnTo>
                  <a:lnTo>
                    <a:pt x="216" y="296"/>
                  </a:lnTo>
                  <a:lnTo>
                    <a:pt x="210" y="298"/>
                  </a:lnTo>
                  <a:lnTo>
                    <a:pt x="204" y="298"/>
                  </a:lnTo>
                  <a:lnTo>
                    <a:pt x="198" y="298"/>
                  </a:lnTo>
                  <a:lnTo>
                    <a:pt x="190" y="298"/>
                  </a:lnTo>
                  <a:lnTo>
                    <a:pt x="184" y="298"/>
                  </a:lnTo>
                  <a:lnTo>
                    <a:pt x="178" y="296"/>
                  </a:lnTo>
                  <a:lnTo>
                    <a:pt x="172" y="296"/>
                  </a:lnTo>
                  <a:lnTo>
                    <a:pt x="166" y="296"/>
                  </a:lnTo>
                  <a:lnTo>
                    <a:pt x="160" y="294"/>
                  </a:lnTo>
                  <a:lnTo>
                    <a:pt x="152" y="294"/>
                  </a:lnTo>
                  <a:lnTo>
                    <a:pt x="146" y="296"/>
                  </a:lnTo>
                  <a:lnTo>
                    <a:pt x="140" y="296"/>
                  </a:lnTo>
                  <a:lnTo>
                    <a:pt x="134" y="296"/>
                  </a:lnTo>
                  <a:lnTo>
                    <a:pt x="128" y="296"/>
                  </a:lnTo>
                  <a:lnTo>
                    <a:pt x="122" y="296"/>
                  </a:lnTo>
                  <a:lnTo>
                    <a:pt x="114" y="294"/>
                  </a:lnTo>
                  <a:lnTo>
                    <a:pt x="108" y="294"/>
                  </a:lnTo>
                  <a:lnTo>
                    <a:pt x="102" y="294"/>
                  </a:lnTo>
                  <a:lnTo>
                    <a:pt x="96" y="292"/>
                  </a:lnTo>
                  <a:lnTo>
                    <a:pt x="90" y="292"/>
                  </a:lnTo>
                  <a:lnTo>
                    <a:pt x="84" y="292"/>
                  </a:lnTo>
                  <a:lnTo>
                    <a:pt x="78" y="292"/>
                  </a:lnTo>
                  <a:lnTo>
                    <a:pt x="72" y="292"/>
                  </a:lnTo>
                  <a:lnTo>
                    <a:pt x="68" y="292"/>
                  </a:lnTo>
                  <a:lnTo>
                    <a:pt x="62" y="292"/>
                  </a:lnTo>
                  <a:lnTo>
                    <a:pt x="56" y="292"/>
                  </a:lnTo>
                  <a:lnTo>
                    <a:pt x="48" y="294"/>
                  </a:lnTo>
                  <a:lnTo>
                    <a:pt x="42" y="294"/>
                  </a:lnTo>
                  <a:lnTo>
                    <a:pt x="36" y="294"/>
                  </a:lnTo>
                  <a:lnTo>
                    <a:pt x="30" y="298"/>
                  </a:lnTo>
                  <a:lnTo>
                    <a:pt x="24" y="298"/>
                  </a:lnTo>
                  <a:lnTo>
                    <a:pt x="18" y="298"/>
                  </a:lnTo>
                  <a:lnTo>
                    <a:pt x="12" y="302"/>
                  </a:lnTo>
                  <a:lnTo>
                    <a:pt x="12" y="306"/>
                  </a:lnTo>
                  <a:lnTo>
                    <a:pt x="16" y="306"/>
                  </a:lnTo>
                  <a:lnTo>
                    <a:pt x="24" y="308"/>
                  </a:lnTo>
                  <a:lnTo>
                    <a:pt x="30" y="308"/>
                  </a:lnTo>
                  <a:lnTo>
                    <a:pt x="24" y="310"/>
                  </a:lnTo>
                  <a:lnTo>
                    <a:pt x="16" y="310"/>
                  </a:lnTo>
                  <a:lnTo>
                    <a:pt x="24" y="314"/>
                  </a:lnTo>
                  <a:lnTo>
                    <a:pt x="30" y="316"/>
                  </a:lnTo>
                  <a:lnTo>
                    <a:pt x="36" y="314"/>
                  </a:lnTo>
                  <a:lnTo>
                    <a:pt x="42" y="314"/>
                  </a:lnTo>
                  <a:lnTo>
                    <a:pt x="48" y="312"/>
                  </a:lnTo>
                  <a:lnTo>
                    <a:pt x="54" y="310"/>
                  </a:lnTo>
                  <a:lnTo>
                    <a:pt x="56" y="310"/>
                  </a:lnTo>
                  <a:lnTo>
                    <a:pt x="58" y="308"/>
                  </a:lnTo>
                  <a:lnTo>
                    <a:pt x="64" y="306"/>
                  </a:lnTo>
                  <a:lnTo>
                    <a:pt x="72" y="304"/>
                  </a:lnTo>
                  <a:lnTo>
                    <a:pt x="78" y="306"/>
                  </a:lnTo>
                  <a:lnTo>
                    <a:pt x="72" y="306"/>
                  </a:lnTo>
                  <a:lnTo>
                    <a:pt x="66" y="308"/>
                  </a:lnTo>
                  <a:lnTo>
                    <a:pt x="60" y="310"/>
                  </a:lnTo>
                  <a:lnTo>
                    <a:pt x="54" y="312"/>
                  </a:lnTo>
                  <a:lnTo>
                    <a:pt x="50" y="3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7" name="Freeform 285"/>
            <p:cNvSpPr>
              <a:spLocks/>
            </p:cNvSpPr>
            <p:nvPr/>
          </p:nvSpPr>
          <p:spPr bwMode="auto">
            <a:xfrm>
              <a:off x="2108200" y="2203450"/>
              <a:ext cx="230188" cy="80963"/>
            </a:xfrm>
            <a:custGeom>
              <a:avLst/>
              <a:gdLst>
                <a:gd name="T0" fmla="*/ 2147483647 w 562"/>
                <a:gd name="T1" fmla="*/ 2147483647 h 194"/>
                <a:gd name="T2" fmla="*/ 2147483647 w 562"/>
                <a:gd name="T3" fmla="*/ 2147483647 h 194"/>
                <a:gd name="T4" fmla="*/ 0 w 562"/>
                <a:gd name="T5" fmla="*/ 2147483647 h 194"/>
                <a:gd name="T6" fmla="*/ 2147483647 w 562"/>
                <a:gd name="T7" fmla="*/ 2147483647 h 194"/>
                <a:gd name="T8" fmla="*/ 2147483647 w 562"/>
                <a:gd name="T9" fmla="*/ 2147483647 h 194"/>
                <a:gd name="T10" fmla="*/ 2147483647 w 562"/>
                <a:gd name="T11" fmla="*/ 2147483647 h 194"/>
                <a:gd name="T12" fmla="*/ 2147483647 w 562"/>
                <a:gd name="T13" fmla="*/ 2147483647 h 194"/>
                <a:gd name="T14" fmla="*/ 2147483647 w 562"/>
                <a:gd name="T15" fmla="*/ 2147483647 h 194"/>
                <a:gd name="T16" fmla="*/ 2147483647 w 562"/>
                <a:gd name="T17" fmla="*/ 2147483647 h 194"/>
                <a:gd name="T18" fmla="*/ 2147483647 w 562"/>
                <a:gd name="T19" fmla="*/ 2147483647 h 194"/>
                <a:gd name="T20" fmla="*/ 2147483647 w 562"/>
                <a:gd name="T21" fmla="*/ 2147483647 h 194"/>
                <a:gd name="T22" fmla="*/ 2147483647 w 562"/>
                <a:gd name="T23" fmla="*/ 2147483647 h 194"/>
                <a:gd name="T24" fmla="*/ 2147483647 w 562"/>
                <a:gd name="T25" fmla="*/ 2147483647 h 194"/>
                <a:gd name="T26" fmla="*/ 2147483647 w 562"/>
                <a:gd name="T27" fmla="*/ 2147483647 h 194"/>
                <a:gd name="T28" fmla="*/ 2147483647 w 562"/>
                <a:gd name="T29" fmla="*/ 2147483647 h 194"/>
                <a:gd name="T30" fmla="*/ 2147483647 w 562"/>
                <a:gd name="T31" fmla="*/ 2147483647 h 194"/>
                <a:gd name="T32" fmla="*/ 2147483647 w 562"/>
                <a:gd name="T33" fmla="*/ 2147483647 h 194"/>
                <a:gd name="T34" fmla="*/ 2147483647 w 562"/>
                <a:gd name="T35" fmla="*/ 2147483647 h 194"/>
                <a:gd name="T36" fmla="*/ 2147483647 w 562"/>
                <a:gd name="T37" fmla="*/ 2147483647 h 194"/>
                <a:gd name="T38" fmla="*/ 2147483647 w 562"/>
                <a:gd name="T39" fmla="*/ 2147483647 h 194"/>
                <a:gd name="T40" fmla="*/ 2147483647 w 562"/>
                <a:gd name="T41" fmla="*/ 2147483647 h 194"/>
                <a:gd name="T42" fmla="*/ 2147483647 w 562"/>
                <a:gd name="T43" fmla="*/ 2147483647 h 194"/>
                <a:gd name="T44" fmla="*/ 2147483647 w 562"/>
                <a:gd name="T45" fmla="*/ 2147483647 h 194"/>
                <a:gd name="T46" fmla="*/ 2147483647 w 562"/>
                <a:gd name="T47" fmla="*/ 2147483647 h 194"/>
                <a:gd name="T48" fmla="*/ 2147483647 w 562"/>
                <a:gd name="T49" fmla="*/ 2147483647 h 194"/>
                <a:gd name="T50" fmla="*/ 2147483647 w 562"/>
                <a:gd name="T51" fmla="*/ 2147483647 h 194"/>
                <a:gd name="T52" fmla="*/ 2147483647 w 562"/>
                <a:gd name="T53" fmla="*/ 2147483647 h 194"/>
                <a:gd name="T54" fmla="*/ 2147483647 w 562"/>
                <a:gd name="T55" fmla="*/ 2147483647 h 194"/>
                <a:gd name="T56" fmla="*/ 2147483647 w 562"/>
                <a:gd name="T57" fmla="*/ 2147483647 h 194"/>
                <a:gd name="T58" fmla="*/ 2147483647 w 562"/>
                <a:gd name="T59" fmla="*/ 2147483647 h 194"/>
                <a:gd name="T60" fmla="*/ 2147483647 w 562"/>
                <a:gd name="T61" fmla="*/ 2147483647 h 194"/>
                <a:gd name="T62" fmla="*/ 2147483647 w 562"/>
                <a:gd name="T63" fmla="*/ 2147483647 h 194"/>
                <a:gd name="T64" fmla="*/ 2147483647 w 562"/>
                <a:gd name="T65" fmla="*/ 2147483647 h 194"/>
                <a:gd name="T66" fmla="*/ 2147483647 w 562"/>
                <a:gd name="T67" fmla="*/ 2147483647 h 194"/>
                <a:gd name="T68" fmla="*/ 2147483647 w 562"/>
                <a:gd name="T69" fmla="*/ 2147483647 h 194"/>
                <a:gd name="T70" fmla="*/ 2147483647 w 562"/>
                <a:gd name="T71" fmla="*/ 2147483647 h 194"/>
                <a:gd name="T72" fmla="*/ 2147483647 w 562"/>
                <a:gd name="T73" fmla="*/ 2147483647 h 194"/>
                <a:gd name="T74" fmla="*/ 2147483647 w 562"/>
                <a:gd name="T75" fmla="*/ 2147483647 h 194"/>
                <a:gd name="T76" fmla="*/ 2147483647 w 562"/>
                <a:gd name="T77" fmla="*/ 2147483647 h 194"/>
                <a:gd name="T78" fmla="*/ 2147483647 w 562"/>
                <a:gd name="T79" fmla="*/ 0 h 194"/>
                <a:gd name="T80" fmla="*/ 2147483647 w 562"/>
                <a:gd name="T81" fmla="*/ 2147483647 h 194"/>
                <a:gd name="T82" fmla="*/ 2147483647 w 562"/>
                <a:gd name="T83" fmla="*/ 2147483647 h 194"/>
                <a:gd name="T84" fmla="*/ 2147483647 w 562"/>
                <a:gd name="T85" fmla="*/ 2147483647 h 194"/>
                <a:gd name="T86" fmla="*/ 2147483647 w 562"/>
                <a:gd name="T87" fmla="*/ 2147483647 h 194"/>
                <a:gd name="T88" fmla="*/ 2147483647 w 562"/>
                <a:gd name="T89" fmla="*/ 2147483647 h 194"/>
                <a:gd name="T90" fmla="*/ 2147483647 w 562"/>
                <a:gd name="T91" fmla="*/ 2147483647 h 194"/>
                <a:gd name="T92" fmla="*/ 2147483647 w 562"/>
                <a:gd name="T93" fmla="*/ 2147483647 h 194"/>
                <a:gd name="T94" fmla="*/ 2147483647 w 562"/>
                <a:gd name="T95" fmla="*/ 2147483647 h 194"/>
                <a:gd name="T96" fmla="*/ 2147483647 w 562"/>
                <a:gd name="T97" fmla="*/ 2147483647 h 194"/>
                <a:gd name="T98" fmla="*/ 2147483647 w 562"/>
                <a:gd name="T99" fmla="*/ 2147483647 h 194"/>
                <a:gd name="T100" fmla="*/ 2147483647 w 562"/>
                <a:gd name="T101" fmla="*/ 2147483647 h 194"/>
                <a:gd name="T102" fmla="*/ 2147483647 w 562"/>
                <a:gd name="T103" fmla="*/ 2147483647 h 194"/>
                <a:gd name="T104" fmla="*/ 2147483647 w 562"/>
                <a:gd name="T105" fmla="*/ 2147483647 h 194"/>
                <a:gd name="T106" fmla="*/ 2147483647 w 562"/>
                <a:gd name="T107" fmla="*/ 2147483647 h 19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62"/>
                <a:gd name="T163" fmla="*/ 0 h 194"/>
                <a:gd name="T164" fmla="*/ 562 w 562"/>
                <a:gd name="T165" fmla="*/ 194 h 19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62" h="194">
                  <a:moveTo>
                    <a:pt x="66" y="114"/>
                  </a:moveTo>
                  <a:lnTo>
                    <a:pt x="60" y="116"/>
                  </a:lnTo>
                  <a:lnTo>
                    <a:pt x="54" y="118"/>
                  </a:lnTo>
                  <a:lnTo>
                    <a:pt x="48" y="122"/>
                  </a:lnTo>
                  <a:lnTo>
                    <a:pt x="42" y="126"/>
                  </a:lnTo>
                  <a:lnTo>
                    <a:pt x="36" y="128"/>
                  </a:lnTo>
                  <a:lnTo>
                    <a:pt x="30" y="128"/>
                  </a:lnTo>
                  <a:lnTo>
                    <a:pt x="24" y="132"/>
                  </a:lnTo>
                  <a:lnTo>
                    <a:pt x="18" y="134"/>
                  </a:lnTo>
                  <a:lnTo>
                    <a:pt x="12" y="138"/>
                  </a:lnTo>
                  <a:lnTo>
                    <a:pt x="6" y="142"/>
                  </a:lnTo>
                  <a:lnTo>
                    <a:pt x="0" y="144"/>
                  </a:lnTo>
                  <a:lnTo>
                    <a:pt x="6" y="144"/>
                  </a:lnTo>
                  <a:lnTo>
                    <a:pt x="12" y="144"/>
                  </a:lnTo>
                  <a:lnTo>
                    <a:pt x="18" y="142"/>
                  </a:lnTo>
                  <a:lnTo>
                    <a:pt x="24" y="142"/>
                  </a:lnTo>
                  <a:lnTo>
                    <a:pt x="30" y="142"/>
                  </a:lnTo>
                  <a:lnTo>
                    <a:pt x="36" y="144"/>
                  </a:lnTo>
                  <a:lnTo>
                    <a:pt x="30" y="146"/>
                  </a:lnTo>
                  <a:lnTo>
                    <a:pt x="36" y="150"/>
                  </a:lnTo>
                  <a:lnTo>
                    <a:pt x="42" y="154"/>
                  </a:lnTo>
                  <a:lnTo>
                    <a:pt x="48" y="156"/>
                  </a:lnTo>
                  <a:lnTo>
                    <a:pt x="54" y="156"/>
                  </a:lnTo>
                  <a:lnTo>
                    <a:pt x="60" y="162"/>
                  </a:lnTo>
                  <a:lnTo>
                    <a:pt x="58" y="168"/>
                  </a:lnTo>
                  <a:lnTo>
                    <a:pt x="58" y="172"/>
                  </a:lnTo>
                  <a:lnTo>
                    <a:pt x="56" y="180"/>
                  </a:lnTo>
                  <a:lnTo>
                    <a:pt x="52" y="186"/>
                  </a:lnTo>
                  <a:lnTo>
                    <a:pt x="52" y="190"/>
                  </a:lnTo>
                  <a:lnTo>
                    <a:pt x="58" y="194"/>
                  </a:lnTo>
                  <a:lnTo>
                    <a:pt x="64" y="194"/>
                  </a:lnTo>
                  <a:lnTo>
                    <a:pt x="70" y="194"/>
                  </a:lnTo>
                  <a:lnTo>
                    <a:pt x="76" y="190"/>
                  </a:lnTo>
                  <a:lnTo>
                    <a:pt x="82" y="188"/>
                  </a:lnTo>
                  <a:lnTo>
                    <a:pt x="88" y="188"/>
                  </a:lnTo>
                  <a:lnTo>
                    <a:pt x="94" y="186"/>
                  </a:lnTo>
                  <a:lnTo>
                    <a:pt x="100" y="186"/>
                  </a:lnTo>
                  <a:lnTo>
                    <a:pt x="106" y="184"/>
                  </a:lnTo>
                  <a:lnTo>
                    <a:pt x="112" y="182"/>
                  </a:lnTo>
                  <a:lnTo>
                    <a:pt x="118" y="180"/>
                  </a:lnTo>
                  <a:lnTo>
                    <a:pt x="124" y="178"/>
                  </a:lnTo>
                  <a:lnTo>
                    <a:pt x="130" y="176"/>
                  </a:lnTo>
                  <a:lnTo>
                    <a:pt x="136" y="174"/>
                  </a:lnTo>
                  <a:lnTo>
                    <a:pt x="142" y="172"/>
                  </a:lnTo>
                  <a:lnTo>
                    <a:pt x="148" y="176"/>
                  </a:lnTo>
                  <a:lnTo>
                    <a:pt x="154" y="176"/>
                  </a:lnTo>
                  <a:lnTo>
                    <a:pt x="160" y="176"/>
                  </a:lnTo>
                  <a:lnTo>
                    <a:pt x="166" y="174"/>
                  </a:lnTo>
                  <a:lnTo>
                    <a:pt x="172" y="174"/>
                  </a:lnTo>
                  <a:lnTo>
                    <a:pt x="180" y="172"/>
                  </a:lnTo>
                  <a:lnTo>
                    <a:pt x="186" y="172"/>
                  </a:lnTo>
                  <a:lnTo>
                    <a:pt x="190" y="170"/>
                  </a:lnTo>
                  <a:lnTo>
                    <a:pt x="198" y="168"/>
                  </a:lnTo>
                  <a:lnTo>
                    <a:pt x="202" y="166"/>
                  </a:lnTo>
                  <a:lnTo>
                    <a:pt x="210" y="162"/>
                  </a:lnTo>
                  <a:lnTo>
                    <a:pt x="216" y="160"/>
                  </a:lnTo>
                  <a:lnTo>
                    <a:pt x="222" y="154"/>
                  </a:lnTo>
                  <a:lnTo>
                    <a:pt x="228" y="150"/>
                  </a:lnTo>
                  <a:lnTo>
                    <a:pt x="234" y="144"/>
                  </a:lnTo>
                  <a:lnTo>
                    <a:pt x="240" y="142"/>
                  </a:lnTo>
                  <a:lnTo>
                    <a:pt x="246" y="140"/>
                  </a:lnTo>
                  <a:lnTo>
                    <a:pt x="252" y="138"/>
                  </a:lnTo>
                  <a:lnTo>
                    <a:pt x="258" y="134"/>
                  </a:lnTo>
                  <a:lnTo>
                    <a:pt x="264" y="128"/>
                  </a:lnTo>
                  <a:lnTo>
                    <a:pt x="270" y="130"/>
                  </a:lnTo>
                  <a:lnTo>
                    <a:pt x="276" y="130"/>
                  </a:lnTo>
                  <a:lnTo>
                    <a:pt x="282" y="128"/>
                  </a:lnTo>
                  <a:lnTo>
                    <a:pt x="288" y="126"/>
                  </a:lnTo>
                  <a:lnTo>
                    <a:pt x="294" y="124"/>
                  </a:lnTo>
                  <a:lnTo>
                    <a:pt x="300" y="124"/>
                  </a:lnTo>
                  <a:lnTo>
                    <a:pt x="306" y="122"/>
                  </a:lnTo>
                  <a:lnTo>
                    <a:pt x="312" y="118"/>
                  </a:lnTo>
                  <a:lnTo>
                    <a:pt x="320" y="116"/>
                  </a:lnTo>
                  <a:lnTo>
                    <a:pt x="326" y="112"/>
                  </a:lnTo>
                  <a:lnTo>
                    <a:pt x="332" y="108"/>
                  </a:lnTo>
                  <a:lnTo>
                    <a:pt x="338" y="106"/>
                  </a:lnTo>
                  <a:lnTo>
                    <a:pt x="344" y="104"/>
                  </a:lnTo>
                  <a:lnTo>
                    <a:pt x="350" y="104"/>
                  </a:lnTo>
                  <a:lnTo>
                    <a:pt x="354" y="102"/>
                  </a:lnTo>
                  <a:lnTo>
                    <a:pt x="362" y="100"/>
                  </a:lnTo>
                  <a:lnTo>
                    <a:pt x="368" y="100"/>
                  </a:lnTo>
                  <a:lnTo>
                    <a:pt x="374" y="98"/>
                  </a:lnTo>
                  <a:lnTo>
                    <a:pt x="380" y="96"/>
                  </a:lnTo>
                  <a:lnTo>
                    <a:pt x="386" y="94"/>
                  </a:lnTo>
                  <a:lnTo>
                    <a:pt x="392" y="94"/>
                  </a:lnTo>
                  <a:lnTo>
                    <a:pt x="398" y="92"/>
                  </a:lnTo>
                  <a:lnTo>
                    <a:pt x="404" y="92"/>
                  </a:lnTo>
                  <a:lnTo>
                    <a:pt x="410" y="90"/>
                  </a:lnTo>
                  <a:lnTo>
                    <a:pt x="416" y="88"/>
                  </a:lnTo>
                  <a:lnTo>
                    <a:pt x="422" y="86"/>
                  </a:lnTo>
                  <a:lnTo>
                    <a:pt x="428" y="86"/>
                  </a:lnTo>
                  <a:lnTo>
                    <a:pt x="436" y="84"/>
                  </a:lnTo>
                  <a:lnTo>
                    <a:pt x="440" y="82"/>
                  </a:lnTo>
                  <a:lnTo>
                    <a:pt x="448" y="82"/>
                  </a:lnTo>
                  <a:lnTo>
                    <a:pt x="452" y="80"/>
                  </a:lnTo>
                  <a:lnTo>
                    <a:pt x="460" y="80"/>
                  </a:lnTo>
                  <a:lnTo>
                    <a:pt x="466" y="78"/>
                  </a:lnTo>
                  <a:lnTo>
                    <a:pt x="472" y="76"/>
                  </a:lnTo>
                  <a:lnTo>
                    <a:pt x="478" y="74"/>
                  </a:lnTo>
                  <a:lnTo>
                    <a:pt x="484" y="74"/>
                  </a:lnTo>
                  <a:lnTo>
                    <a:pt x="490" y="72"/>
                  </a:lnTo>
                  <a:lnTo>
                    <a:pt x="496" y="70"/>
                  </a:lnTo>
                  <a:lnTo>
                    <a:pt x="502" y="70"/>
                  </a:lnTo>
                  <a:lnTo>
                    <a:pt x="508" y="70"/>
                  </a:lnTo>
                  <a:lnTo>
                    <a:pt x="514" y="68"/>
                  </a:lnTo>
                  <a:lnTo>
                    <a:pt x="520" y="68"/>
                  </a:lnTo>
                  <a:lnTo>
                    <a:pt x="526" y="66"/>
                  </a:lnTo>
                  <a:lnTo>
                    <a:pt x="532" y="66"/>
                  </a:lnTo>
                  <a:lnTo>
                    <a:pt x="540" y="64"/>
                  </a:lnTo>
                  <a:lnTo>
                    <a:pt x="546" y="62"/>
                  </a:lnTo>
                  <a:lnTo>
                    <a:pt x="550" y="60"/>
                  </a:lnTo>
                  <a:lnTo>
                    <a:pt x="558" y="60"/>
                  </a:lnTo>
                  <a:lnTo>
                    <a:pt x="562" y="54"/>
                  </a:lnTo>
                  <a:lnTo>
                    <a:pt x="558" y="48"/>
                  </a:lnTo>
                  <a:lnTo>
                    <a:pt x="554" y="46"/>
                  </a:lnTo>
                  <a:lnTo>
                    <a:pt x="550" y="42"/>
                  </a:lnTo>
                  <a:lnTo>
                    <a:pt x="544" y="36"/>
                  </a:lnTo>
                  <a:lnTo>
                    <a:pt x="540" y="30"/>
                  </a:lnTo>
                  <a:lnTo>
                    <a:pt x="536" y="24"/>
                  </a:lnTo>
                  <a:lnTo>
                    <a:pt x="528" y="20"/>
                  </a:lnTo>
                  <a:lnTo>
                    <a:pt x="524" y="18"/>
                  </a:lnTo>
                  <a:lnTo>
                    <a:pt x="516" y="16"/>
                  </a:lnTo>
                  <a:lnTo>
                    <a:pt x="510" y="16"/>
                  </a:lnTo>
                  <a:lnTo>
                    <a:pt x="504" y="16"/>
                  </a:lnTo>
                  <a:lnTo>
                    <a:pt x="496" y="16"/>
                  </a:lnTo>
                  <a:lnTo>
                    <a:pt x="490" y="16"/>
                  </a:lnTo>
                  <a:lnTo>
                    <a:pt x="484" y="16"/>
                  </a:lnTo>
                  <a:lnTo>
                    <a:pt x="478" y="18"/>
                  </a:lnTo>
                  <a:lnTo>
                    <a:pt x="472" y="18"/>
                  </a:lnTo>
                  <a:lnTo>
                    <a:pt x="466" y="20"/>
                  </a:lnTo>
                  <a:lnTo>
                    <a:pt x="460" y="24"/>
                  </a:lnTo>
                  <a:lnTo>
                    <a:pt x="454" y="26"/>
                  </a:lnTo>
                  <a:lnTo>
                    <a:pt x="448" y="28"/>
                  </a:lnTo>
                  <a:lnTo>
                    <a:pt x="440" y="30"/>
                  </a:lnTo>
                  <a:lnTo>
                    <a:pt x="436" y="30"/>
                  </a:lnTo>
                  <a:lnTo>
                    <a:pt x="440" y="26"/>
                  </a:lnTo>
                  <a:lnTo>
                    <a:pt x="448" y="24"/>
                  </a:lnTo>
                  <a:lnTo>
                    <a:pt x="450" y="18"/>
                  </a:lnTo>
                  <a:lnTo>
                    <a:pt x="444" y="18"/>
                  </a:lnTo>
                  <a:lnTo>
                    <a:pt x="438" y="18"/>
                  </a:lnTo>
                  <a:lnTo>
                    <a:pt x="432" y="20"/>
                  </a:lnTo>
                  <a:lnTo>
                    <a:pt x="426" y="24"/>
                  </a:lnTo>
                  <a:lnTo>
                    <a:pt x="420" y="24"/>
                  </a:lnTo>
                  <a:lnTo>
                    <a:pt x="414" y="28"/>
                  </a:lnTo>
                  <a:lnTo>
                    <a:pt x="418" y="24"/>
                  </a:lnTo>
                  <a:lnTo>
                    <a:pt x="422" y="22"/>
                  </a:lnTo>
                  <a:lnTo>
                    <a:pt x="430" y="20"/>
                  </a:lnTo>
                  <a:lnTo>
                    <a:pt x="436" y="18"/>
                  </a:lnTo>
                  <a:lnTo>
                    <a:pt x="428" y="18"/>
                  </a:lnTo>
                  <a:lnTo>
                    <a:pt x="422" y="16"/>
                  </a:lnTo>
                  <a:lnTo>
                    <a:pt x="420" y="16"/>
                  </a:lnTo>
                  <a:lnTo>
                    <a:pt x="418" y="16"/>
                  </a:lnTo>
                  <a:lnTo>
                    <a:pt x="412" y="16"/>
                  </a:lnTo>
                  <a:lnTo>
                    <a:pt x="406" y="12"/>
                  </a:lnTo>
                  <a:lnTo>
                    <a:pt x="400" y="10"/>
                  </a:lnTo>
                  <a:lnTo>
                    <a:pt x="394" y="8"/>
                  </a:lnTo>
                  <a:lnTo>
                    <a:pt x="388" y="2"/>
                  </a:lnTo>
                  <a:lnTo>
                    <a:pt x="382" y="2"/>
                  </a:lnTo>
                  <a:lnTo>
                    <a:pt x="376" y="0"/>
                  </a:lnTo>
                  <a:lnTo>
                    <a:pt x="370" y="0"/>
                  </a:lnTo>
                  <a:lnTo>
                    <a:pt x="364" y="2"/>
                  </a:lnTo>
                  <a:lnTo>
                    <a:pt x="358" y="2"/>
                  </a:lnTo>
                  <a:lnTo>
                    <a:pt x="352" y="2"/>
                  </a:lnTo>
                  <a:lnTo>
                    <a:pt x="346" y="4"/>
                  </a:lnTo>
                  <a:lnTo>
                    <a:pt x="340" y="4"/>
                  </a:lnTo>
                  <a:lnTo>
                    <a:pt x="332" y="4"/>
                  </a:lnTo>
                  <a:lnTo>
                    <a:pt x="326" y="6"/>
                  </a:lnTo>
                  <a:lnTo>
                    <a:pt x="320" y="6"/>
                  </a:lnTo>
                  <a:lnTo>
                    <a:pt x="312" y="6"/>
                  </a:lnTo>
                  <a:lnTo>
                    <a:pt x="306" y="6"/>
                  </a:lnTo>
                  <a:lnTo>
                    <a:pt x="300" y="6"/>
                  </a:lnTo>
                  <a:lnTo>
                    <a:pt x="292" y="6"/>
                  </a:lnTo>
                  <a:lnTo>
                    <a:pt x="286" y="8"/>
                  </a:lnTo>
                  <a:lnTo>
                    <a:pt x="280" y="8"/>
                  </a:lnTo>
                  <a:lnTo>
                    <a:pt x="274" y="8"/>
                  </a:lnTo>
                  <a:lnTo>
                    <a:pt x="268" y="8"/>
                  </a:lnTo>
                  <a:lnTo>
                    <a:pt x="262" y="8"/>
                  </a:lnTo>
                  <a:lnTo>
                    <a:pt x="256" y="10"/>
                  </a:lnTo>
                  <a:lnTo>
                    <a:pt x="250" y="10"/>
                  </a:lnTo>
                  <a:lnTo>
                    <a:pt x="242" y="10"/>
                  </a:lnTo>
                  <a:lnTo>
                    <a:pt x="236" y="10"/>
                  </a:lnTo>
                  <a:lnTo>
                    <a:pt x="230" y="16"/>
                  </a:lnTo>
                  <a:lnTo>
                    <a:pt x="226" y="20"/>
                  </a:lnTo>
                  <a:lnTo>
                    <a:pt x="220" y="28"/>
                  </a:lnTo>
                  <a:lnTo>
                    <a:pt x="218" y="32"/>
                  </a:lnTo>
                  <a:lnTo>
                    <a:pt x="218" y="38"/>
                  </a:lnTo>
                  <a:lnTo>
                    <a:pt x="224" y="44"/>
                  </a:lnTo>
                  <a:lnTo>
                    <a:pt x="218" y="46"/>
                  </a:lnTo>
                  <a:lnTo>
                    <a:pt x="212" y="48"/>
                  </a:lnTo>
                  <a:lnTo>
                    <a:pt x="206" y="50"/>
                  </a:lnTo>
                  <a:lnTo>
                    <a:pt x="200" y="54"/>
                  </a:lnTo>
                  <a:lnTo>
                    <a:pt x="198" y="54"/>
                  </a:lnTo>
                  <a:lnTo>
                    <a:pt x="192" y="56"/>
                  </a:lnTo>
                  <a:lnTo>
                    <a:pt x="186" y="58"/>
                  </a:lnTo>
                  <a:lnTo>
                    <a:pt x="180" y="58"/>
                  </a:lnTo>
                  <a:lnTo>
                    <a:pt x="174" y="62"/>
                  </a:lnTo>
                  <a:lnTo>
                    <a:pt x="168" y="64"/>
                  </a:lnTo>
                  <a:lnTo>
                    <a:pt x="162" y="66"/>
                  </a:lnTo>
                  <a:lnTo>
                    <a:pt x="156" y="70"/>
                  </a:lnTo>
                  <a:lnTo>
                    <a:pt x="150" y="72"/>
                  </a:lnTo>
                  <a:lnTo>
                    <a:pt x="144" y="74"/>
                  </a:lnTo>
                  <a:lnTo>
                    <a:pt x="138" y="78"/>
                  </a:lnTo>
                  <a:lnTo>
                    <a:pt x="132" y="80"/>
                  </a:lnTo>
                  <a:lnTo>
                    <a:pt x="126" y="84"/>
                  </a:lnTo>
                  <a:lnTo>
                    <a:pt x="132" y="84"/>
                  </a:lnTo>
                  <a:lnTo>
                    <a:pt x="130" y="90"/>
                  </a:lnTo>
                  <a:lnTo>
                    <a:pt x="124" y="92"/>
                  </a:lnTo>
                  <a:lnTo>
                    <a:pt x="116" y="92"/>
                  </a:lnTo>
                  <a:lnTo>
                    <a:pt x="110" y="92"/>
                  </a:lnTo>
                  <a:lnTo>
                    <a:pt x="106" y="92"/>
                  </a:lnTo>
                  <a:lnTo>
                    <a:pt x="98" y="94"/>
                  </a:lnTo>
                  <a:lnTo>
                    <a:pt x="96" y="100"/>
                  </a:lnTo>
                  <a:lnTo>
                    <a:pt x="90" y="104"/>
                  </a:lnTo>
                  <a:lnTo>
                    <a:pt x="84" y="110"/>
                  </a:lnTo>
                  <a:lnTo>
                    <a:pt x="78" y="110"/>
                  </a:lnTo>
                  <a:lnTo>
                    <a:pt x="72" y="112"/>
                  </a:lnTo>
                  <a:lnTo>
                    <a:pt x="66" y="1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8" name="Freeform 286"/>
            <p:cNvSpPr>
              <a:spLocks/>
            </p:cNvSpPr>
            <p:nvPr/>
          </p:nvSpPr>
          <p:spPr bwMode="auto">
            <a:xfrm>
              <a:off x="2198688" y="2230438"/>
              <a:ext cx="300037" cy="115887"/>
            </a:xfrm>
            <a:custGeom>
              <a:avLst/>
              <a:gdLst>
                <a:gd name="T0" fmla="*/ 2147483647 w 736"/>
                <a:gd name="T1" fmla="*/ 2147483647 h 282"/>
                <a:gd name="T2" fmla="*/ 2147483647 w 736"/>
                <a:gd name="T3" fmla="*/ 2147483647 h 282"/>
                <a:gd name="T4" fmla="*/ 2147483647 w 736"/>
                <a:gd name="T5" fmla="*/ 2147483647 h 282"/>
                <a:gd name="T6" fmla="*/ 2147483647 w 736"/>
                <a:gd name="T7" fmla="*/ 2147483647 h 282"/>
                <a:gd name="T8" fmla="*/ 2147483647 w 736"/>
                <a:gd name="T9" fmla="*/ 2147483647 h 282"/>
                <a:gd name="T10" fmla="*/ 2147483647 w 736"/>
                <a:gd name="T11" fmla="*/ 2147483647 h 282"/>
                <a:gd name="T12" fmla="*/ 2147483647 w 736"/>
                <a:gd name="T13" fmla="*/ 2147483647 h 282"/>
                <a:gd name="T14" fmla="*/ 2147483647 w 736"/>
                <a:gd name="T15" fmla="*/ 2147483647 h 282"/>
                <a:gd name="T16" fmla="*/ 2147483647 w 736"/>
                <a:gd name="T17" fmla="*/ 2147483647 h 282"/>
                <a:gd name="T18" fmla="*/ 2147483647 w 736"/>
                <a:gd name="T19" fmla="*/ 2147483647 h 282"/>
                <a:gd name="T20" fmla="*/ 2147483647 w 736"/>
                <a:gd name="T21" fmla="*/ 2147483647 h 282"/>
                <a:gd name="T22" fmla="*/ 2147483647 w 736"/>
                <a:gd name="T23" fmla="*/ 2147483647 h 282"/>
                <a:gd name="T24" fmla="*/ 2147483647 w 736"/>
                <a:gd name="T25" fmla="*/ 2147483647 h 282"/>
                <a:gd name="T26" fmla="*/ 2147483647 w 736"/>
                <a:gd name="T27" fmla="*/ 2147483647 h 282"/>
                <a:gd name="T28" fmla="*/ 2147483647 w 736"/>
                <a:gd name="T29" fmla="*/ 2147483647 h 282"/>
                <a:gd name="T30" fmla="*/ 2147483647 w 736"/>
                <a:gd name="T31" fmla="*/ 2147483647 h 282"/>
                <a:gd name="T32" fmla="*/ 2147483647 w 736"/>
                <a:gd name="T33" fmla="*/ 2147483647 h 282"/>
                <a:gd name="T34" fmla="*/ 2147483647 w 736"/>
                <a:gd name="T35" fmla="*/ 2147483647 h 282"/>
                <a:gd name="T36" fmla="*/ 2147483647 w 736"/>
                <a:gd name="T37" fmla="*/ 2147483647 h 282"/>
                <a:gd name="T38" fmla="*/ 2147483647 w 736"/>
                <a:gd name="T39" fmla="*/ 2147483647 h 282"/>
                <a:gd name="T40" fmla="*/ 2147483647 w 736"/>
                <a:gd name="T41" fmla="*/ 2147483647 h 282"/>
                <a:gd name="T42" fmla="*/ 2147483647 w 736"/>
                <a:gd name="T43" fmla="*/ 2147483647 h 282"/>
                <a:gd name="T44" fmla="*/ 2147483647 w 736"/>
                <a:gd name="T45" fmla="*/ 2147483647 h 282"/>
                <a:gd name="T46" fmla="*/ 2147483647 w 736"/>
                <a:gd name="T47" fmla="*/ 2147483647 h 282"/>
                <a:gd name="T48" fmla="*/ 2147483647 w 736"/>
                <a:gd name="T49" fmla="*/ 2147483647 h 282"/>
                <a:gd name="T50" fmla="*/ 2147483647 w 736"/>
                <a:gd name="T51" fmla="*/ 2147483647 h 282"/>
                <a:gd name="T52" fmla="*/ 2147483647 w 736"/>
                <a:gd name="T53" fmla="*/ 2147483647 h 282"/>
                <a:gd name="T54" fmla="*/ 2147483647 w 736"/>
                <a:gd name="T55" fmla="*/ 2147483647 h 282"/>
                <a:gd name="T56" fmla="*/ 2147483647 w 736"/>
                <a:gd name="T57" fmla="*/ 2147483647 h 282"/>
                <a:gd name="T58" fmla="*/ 2147483647 w 736"/>
                <a:gd name="T59" fmla="*/ 2147483647 h 282"/>
                <a:gd name="T60" fmla="*/ 2147483647 w 736"/>
                <a:gd name="T61" fmla="*/ 2147483647 h 282"/>
                <a:gd name="T62" fmla="*/ 2147483647 w 736"/>
                <a:gd name="T63" fmla="*/ 2147483647 h 282"/>
                <a:gd name="T64" fmla="*/ 2147483647 w 736"/>
                <a:gd name="T65" fmla="*/ 2147483647 h 282"/>
                <a:gd name="T66" fmla="*/ 2147483647 w 736"/>
                <a:gd name="T67" fmla="*/ 2147483647 h 282"/>
                <a:gd name="T68" fmla="*/ 2147483647 w 736"/>
                <a:gd name="T69" fmla="*/ 2147483647 h 282"/>
                <a:gd name="T70" fmla="*/ 2147483647 w 736"/>
                <a:gd name="T71" fmla="*/ 2147483647 h 282"/>
                <a:gd name="T72" fmla="*/ 2147483647 w 736"/>
                <a:gd name="T73" fmla="*/ 2147483647 h 282"/>
                <a:gd name="T74" fmla="*/ 2147483647 w 736"/>
                <a:gd name="T75" fmla="*/ 2147483647 h 282"/>
                <a:gd name="T76" fmla="*/ 2147483647 w 736"/>
                <a:gd name="T77" fmla="*/ 2147483647 h 282"/>
                <a:gd name="T78" fmla="*/ 2147483647 w 736"/>
                <a:gd name="T79" fmla="*/ 2147483647 h 282"/>
                <a:gd name="T80" fmla="*/ 2147483647 w 736"/>
                <a:gd name="T81" fmla="*/ 2147483647 h 282"/>
                <a:gd name="T82" fmla="*/ 2147483647 w 736"/>
                <a:gd name="T83" fmla="*/ 2147483647 h 282"/>
                <a:gd name="T84" fmla="*/ 2147483647 w 736"/>
                <a:gd name="T85" fmla="*/ 2147483647 h 282"/>
                <a:gd name="T86" fmla="*/ 2147483647 w 736"/>
                <a:gd name="T87" fmla="*/ 2147483647 h 282"/>
                <a:gd name="T88" fmla="*/ 2147483647 w 736"/>
                <a:gd name="T89" fmla="*/ 2147483647 h 282"/>
                <a:gd name="T90" fmla="*/ 2147483647 w 736"/>
                <a:gd name="T91" fmla="*/ 2147483647 h 282"/>
                <a:gd name="T92" fmla="*/ 2147483647 w 736"/>
                <a:gd name="T93" fmla="*/ 2147483647 h 282"/>
                <a:gd name="T94" fmla="*/ 2147483647 w 736"/>
                <a:gd name="T95" fmla="*/ 2147483647 h 282"/>
                <a:gd name="T96" fmla="*/ 2147483647 w 736"/>
                <a:gd name="T97" fmla="*/ 2147483647 h 282"/>
                <a:gd name="T98" fmla="*/ 2147483647 w 736"/>
                <a:gd name="T99" fmla="*/ 2147483647 h 282"/>
                <a:gd name="T100" fmla="*/ 2147483647 w 736"/>
                <a:gd name="T101" fmla="*/ 2147483647 h 282"/>
                <a:gd name="T102" fmla="*/ 2147483647 w 736"/>
                <a:gd name="T103" fmla="*/ 2147483647 h 282"/>
                <a:gd name="T104" fmla="*/ 2147483647 w 736"/>
                <a:gd name="T105" fmla="*/ 2147483647 h 282"/>
                <a:gd name="T106" fmla="*/ 2147483647 w 736"/>
                <a:gd name="T107" fmla="*/ 2147483647 h 282"/>
                <a:gd name="T108" fmla="*/ 2147483647 w 736"/>
                <a:gd name="T109" fmla="*/ 2147483647 h 282"/>
                <a:gd name="T110" fmla="*/ 2147483647 w 736"/>
                <a:gd name="T111" fmla="*/ 2147483647 h 282"/>
                <a:gd name="T112" fmla="*/ 2147483647 w 736"/>
                <a:gd name="T113" fmla="*/ 2147483647 h 282"/>
                <a:gd name="T114" fmla="*/ 2147483647 w 736"/>
                <a:gd name="T115" fmla="*/ 2147483647 h 282"/>
                <a:gd name="T116" fmla="*/ 2147483647 w 736"/>
                <a:gd name="T117" fmla="*/ 2147483647 h 282"/>
                <a:gd name="T118" fmla="*/ 2147483647 w 736"/>
                <a:gd name="T119" fmla="*/ 2147483647 h 282"/>
                <a:gd name="T120" fmla="*/ 2147483647 w 736"/>
                <a:gd name="T121" fmla="*/ 2147483647 h 282"/>
                <a:gd name="T122" fmla="*/ 2147483647 w 736"/>
                <a:gd name="T123" fmla="*/ 2147483647 h 2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6"/>
                <a:gd name="T187" fmla="*/ 0 h 282"/>
                <a:gd name="T188" fmla="*/ 736 w 736"/>
                <a:gd name="T189" fmla="*/ 282 h 28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6" h="282">
                  <a:moveTo>
                    <a:pt x="8" y="192"/>
                  </a:moveTo>
                  <a:lnTo>
                    <a:pt x="4" y="198"/>
                  </a:lnTo>
                  <a:lnTo>
                    <a:pt x="0" y="202"/>
                  </a:lnTo>
                  <a:lnTo>
                    <a:pt x="4" y="208"/>
                  </a:lnTo>
                  <a:lnTo>
                    <a:pt x="8" y="212"/>
                  </a:lnTo>
                  <a:lnTo>
                    <a:pt x="4" y="214"/>
                  </a:lnTo>
                  <a:lnTo>
                    <a:pt x="8" y="218"/>
                  </a:lnTo>
                  <a:lnTo>
                    <a:pt x="16" y="216"/>
                  </a:lnTo>
                  <a:lnTo>
                    <a:pt x="10" y="222"/>
                  </a:lnTo>
                  <a:lnTo>
                    <a:pt x="14" y="228"/>
                  </a:lnTo>
                  <a:lnTo>
                    <a:pt x="20" y="230"/>
                  </a:lnTo>
                  <a:lnTo>
                    <a:pt x="26" y="232"/>
                  </a:lnTo>
                  <a:lnTo>
                    <a:pt x="32" y="232"/>
                  </a:lnTo>
                  <a:lnTo>
                    <a:pt x="38" y="234"/>
                  </a:lnTo>
                  <a:lnTo>
                    <a:pt x="44" y="234"/>
                  </a:lnTo>
                  <a:lnTo>
                    <a:pt x="50" y="234"/>
                  </a:lnTo>
                  <a:lnTo>
                    <a:pt x="56" y="236"/>
                  </a:lnTo>
                  <a:lnTo>
                    <a:pt x="62" y="236"/>
                  </a:lnTo>
                  <a:lnTo>
                    <a:pt x="68" y="234"/>
                  </a:lnTo>
                  <a:lnTo>
                    <a:pt x="74" y="236"/>
                  </a:lnTo>
                  <a:lnTo>
                    <a:pt x="80" y="234"/>
                  </a:lnTo>
                  <a:lnTo>
                    <a:pt x="88" y="234"/>
                  </a:lnTo>
                  <a:lnTo>
                    <a:pt x="94" y="234"/>
                  </a:lnTo>
                  <a:lnTo>
                    <a:pt x="100" y="232"/>
                  </a:lnTo>
                  <a:lnTo>
                    <a:pt x="106" y="236"/>
                  </a:lnTo>
                  <a:lnTo>
                    <a:pt x="110" y="236"/>
                  </a:lnTo>
                  <a:lnTo>
                    <a:pt x="118" y="236"/>
                  </a:lnTo>
                  <a:lnTo>
                    <a:pt x="122" y="238"/>
                  </a:lnTo>
                  <a:lnTo>
                    <a:pt x="116" y="242"/>
                  </a:lnTo>
                  <a:lnTo>
                    <a:pt x="112" y="248"/>
                  </a:lnTo>
                  <a:lnTo>
                    <a:pt x="106" y="254"/>
                  </a:lnTo>
                  <a:lnTo>
                    <a:pt x="100" y="260"/>
                  </a:lnTo>
                  <a:lnTo>
                    <a:pt x="98" y="266"/>
                  </a:lnTo>
                  <a:lnTo>
                    <a:pt x="96" y="272"/>
                  </a:lnTo>
                  <a:lnTo>
                    <a:pt x="102" y="276"/>
                  </a:lnTo>
                  <a:lnTo>
                    <a:pt x="96" y="278"/>
                  </a:lnTo>
                  <a:lnTo>
                    <a:pt x="102" y="282"/>
                  </a:lnTo>
                  <a:lnTo>
                    <a:pt x="108" y="280"/>
                  </a:lnTo>
                  <a:lnTo>
                    <a:pt x="114" y="282"/>
                  </a:lnTo>
                  <a:lnTo>
                    <a:pt x="120" y="280"/>
                  </a:lnTo>
                  <a:lnTo>
                    <a:pt x="126" y="278"/>
                  </a:lnTo>
                  <a:lnTo>
                    <a:pt x="134" y="278"/>
                  </a:lnTo>
                  <a:lnTo>
                    <a:pt x="140" y="278"/>
                  </a:lnTo>
                  <a:lnTo>
                    <a:pt x="146" y="278"/>
                  </a:lnTo>
                  <a:lnTo>
                    <a:pt x="152" y="278"/>
                  </a:lnTo>
                  <a:lnTo>
                    <a:pt x="158" y="278"/>
                  </a:lnTo>
                  <a:lnTo>
                    <a:pt x="164" y="278"/>
                  </a:lnTo>
                  <a:lnTo>
                    <a:pt x="170" y="276"/>
                  </a:lnTo>
                  <a:lnTo>
                    <a:pt x="176" y="276"/>
                  </a:lnTo>
                  <a:lnTo>
                    <a:pt x="182" y="278"/>
                  </a:lnTo>
                  <a:lnTo>
                    <a:pt x="188" y="278"/>
                  </a:lnTo>
                  <a:lnTo>
                    <a:pt x="182" y="274"/>
                  </a:lnTo>
                  <a:lnTo>
                    <a:pt x="190" y="274"/>
                  </a:lnTo>
                  <a:lnTo>
                    <a:pt x="196" y="274"/>
                  </a:lnTo>
                  <a:lnTo>
                    <a:pt x="202" y="274"/>
                  </a:lnTo>
                  <a:lnTo>
                    <a:pt x="208" y="272"/>
                  </a:lnTo>
                  <a:lnTo>
                    <a:pt x="202" y="274"/>
                  </a:lnTo>
                  <a:lnTo>
                    <a:pt x="208" y="274"/>
                  </a:lnTo>
                  <a:lnTo>
                    <a:pt x="214" y="274"/>
                  </a:lnTo>
                  <a:lnTo>
                    <a:pt x="220" y="274"/>
                  </a:lnTo>
                  <a:lnTo>
                    <a:pt x="226" y="272"/>
                  </a:lnTo>
                  <a:lnTo>
                    <a:pt x="232" y="274"/>
                  </a:lnTo>
                  <a:lnTo>
                    <a:pt x="238" y="272"/>
                  </a:lnTo>
                  <a:lnTo>
                    <a:pt x="244" y="272"/>
                  </a:lnTo>
                  <a:lnTo>
                    <a:pt x="250" y="272"/>
                  </a:lnTo>
                  <a:lnTo>
                    <a:pt x="256" y="270"/>
                  </a:lnTo>
                  <a:lnTo>
                    <a:pt x="262" y="272"/>
                  </a:lnTo>
                  <a:lnTo>
                    <a:pt x="268" y="270"/>
                  </a:lnTo>
                  <a:lnTo>
                    <a:pt x="274" y="270"/>
                  </a:lnTo>
                  <a:lnTo>
                    <a:pt x="278" y="268"/>
                  </a:lnTo>
                  <a:lnTo>
                    <a:pt x="286" y="268"/>
                  </a:lnTo>
                  <a:lnTo>
                    <a:pt x="292" y="266"/>
                  </a:lnTo>
                  <a:lnTo>
                    <a:pt x="298" y="266"/>
                  </a:lnTo>
                  <a:lnTo>
                    <a:pt x="304" y="266"/>
                  </a:lnTo>
                  <a:lnTo>
                    <a:pt x="310" y="262"/>
                  </a:lnTo>
                  <a:lnTo>
                    <a:pt x="316" y="260"/>
                  </a:lnTo>
                  <a:lnTo>
                    <a:pt x="322" y="260"/>
                  </a:lnTo>
                  <a:lnTo>
                    <a:pt x="326" y="258"/>
                  </a:lnTo>
                  <a:lnTo>
                    <a:pt x="334" y="252"/>
                  </a:lnTo>
                  <a:lnTo>
                    <a:pt x="340" y="252"/>
                  </a:lnTo>
                  <a:lnTo>
                    <a:pt x="346" y="252"/>
                  </a:lnTo>
                  <a:lnTo>
                    <a:pt x="352" y="254"/>
                  </a:lnTo>
                  <a:lnTo>
                    <a:pt x="358" y="254"/>
                  </a:lnTo>
                  <a:lnTo>
                    <a:pt x="364" y="252"/>
                  </a:lnTo>
                  <a:lnTo>
                    <a:pt x="370" y="252"/>
                  </a:lnTo>
                  <a:lnTo>
                    <a:pt x="376" y="252"/>
                  </a:lnTo>
                  <a:lnTo>
                    <a:pt x="382" y="250"/>
                  </a:lnTo>
                  <a:lnTo>
                    <a:pt x="388" y="250"/>
                  </a:lnTo>
                  <a:lnTo>
                    <a:pt x="394" y="248"/>
                  </a:lnTo>
                  <a:lnTo>
                    <a:pt x="400" y="244"/>
                  </a:lnTo>
                  <a:lnTo>
                    <a:pt x="406" y="242"/>
                  </a:lnTo>
                  <a:lnTo>
                    <a:pt x="412" y="240"/>
                  </a:lnTo>
                  <a:lnTo>
                    <a:pt x="418" y="238"/>
                  </a:lnTo>
                  <a:lnTo>
                    <a:pt x="422" y="234"/>
                  </a:lnTo>
                  <a:lnTo>
                    <a:pt x="428" y="228"/>
                  </a:lnTo>
                  <a:lnTo>
                    <a:pt x="436" y="228"/>
                  </a:lnTo>
                  <a:lnTo>
                    <a:pt x="440" y="226"/>
                  </a:lnTo>
                  <a:lnTo>
                    <a:pt x="446" y="222"/>
                  </a:lnTo>
                  <a:lnTo>
                    <a:pt x="452" y="220"/>
                  </a:lnTo>
                  <a:lnTo>
                    <a:pt x="458" y="226"/>
                  </a:lnTo>
                  <a:lnTo>
                    <a:pt x="456" y="232"/>
                  </a:lnTo>
                  <a:lnTo>
                    <a:pt x="450" y="234"/>
                  </a:lnTo>
                  <a:lnTo>
                    <a:pt x="444" y="238"/>
                  </a:lnTo>
                  <a:lnTo>
                    <a:pt x="450" y="240"/>
                  </a:lnTo>
                  <a:lnTo>
                    <a:pt x="456" y="240"/>
                  </a:lnTo>
                  <a:lnTo>
                    <a:pt x="462" y="240"/>
                  </a:lnTo>
                  <a:lnTo>
                    <a:pt x="468" y="240"/>
                  </a:lnTo>
                  <a:lnTo>
                    <a:pt x="474" y="240"/>
                  </a:lnTo>
                  <a:lnTo>
                    <a:pt x="480" y="244"/>
                  </a:lnTo>
                  <a:lnTo>
                    <a:pt x="486" y="244"/>
                  </a:lnTo>
                  <a:lnTo>
                    <a:pt x="492" y="246"/>
                  </a:lnTo>
                  <a:lnTo>
                    <a:pt x="498" y="244"/>
                  </a:lnTo>
                  <a:lnTo>
                    <a:pt x="492" y="250"/>
                  </a:lnTo>
                  <a:lnTo>
                    <a:pt x="486" y="250"/>
                  </a:lnTo>
                  <a:lnTo>
                    <a:pt x="480" y="252"/>
                  </a:lnTo>
                  <a:lnTo>
                    <a:pt x="486" y="256"/>
                  </a:lnTo>
                  <a:lnTo>
                    <a:pt x="492" y="256"/>
                  </a:lnTo>
                  <a:lnTo>
                    <a:pt x="498" y="258"/>
                  </a:lnTo>
                  <a:lnTo>
                    <a:pt x="504" y="258"/>
                  </a:lnTo>
                  <a:lnTo>
                    <a:pt x="510" y="256"/>
                  </a:lnTo>
                  <a:lnTo>
                    <a:pt x="516" y="254"/>
                  </a:lnTo>
                  <a:lnTo>
                    <a:pt x="522" y="252"/>
                  </a:lnTo>
                  <a:lnTo>
                    <a:pt x="528" y="258"/>
                  </a:lnTo>
                  <a:lnTo>
                    <a:pt x="534" y="258"/>
                  </a:lnTo>
                  <a:lnTo>
                    <a:pt x="540" y="260"/>
                  </a:lnTo>
                  <a:lnTo>
                    <a:pt x="546" y="260"/>
                  </a:lnTo>
                  <a:lnTo>
                    <a:pt x="554" y="262"/>
                  </a:lnTo>
                  <a:lnTo>
                    <a:pt x="558" y="260"/>
                  </a:lnTo>
                  <a:lnTo>
                    <a:pt x="564" y="258"/>
                  </a:lnTo>
                  <a:lnTo>
                    <a:pt x="572" y="262"/>
                  </a:lnTo>
                  <a:lnTo>
                    <a:pt x="576" y="260"/>
                  </a:lnTo>
                  <a:lnTo>
                    <a:pt x="582" y="260"/>
                  </a:lnTo>
                  <a:lnTo>
                    <a:pt x="588" y="256"/>
                  </a:lnTo>
                  <a:lnTo>
                    <a:pt x="596" y="258"/>
                  </a:lnTo>
                  <a:lnTo>
                    <a:pt x="600" y="256"/>
                  </a:lnTo>
                  <a:lnTo>
                    <a:pt x="608" y="252"/>
                  </a:lnTo>
                  <a:lnTo>
                    <a:pt x="614" y="252"/>
                  </a:lnTo>
                  <a:lnTo>
                    <a:pt x="620" y="252"/>
                  </a:lnTo>
                  <a:lnTo>
                    <a:pt x="626" y="250"/>
                  </a:lnTo>
                  <a:lnTo>
                    <a:pt x="632" y="250"/>
                  </a:lnTo>
                  <a:lnTo>
                    <a:pt x="638" y="246"/>
                  </a:lnTo>
                  <a:lnTo>
                    <a:pt x="644" y="244"/>
                  </a:lnTo>
                  <a:lnTo>
                    <a:pt x="648" y="238"/>
                  </a:lnTo>
                  <a:lnTo>
                    <a:pt x="642" y="236"/>
                  </a:lnTo>
                  <a:lnTo>
                    <a:pt x="636" y="238"/>
                  </a:lnTo>
                  <a:lnTo>
                    <a:pt x="642" y="234"/>
                  </a:lnTo>
                  <a:lnTo>
                    <a:pt x="648" y="228"/>
                  </a:lnTo>
                  <a:lnTo>
                    <a:pt x="654" y="226"/>
                  </a:lnTo>
                  <a:lnTo>
                    <a:pt x="648" y="222"/>
                  </a:lnTo>
                  <a:lnTo>
                    <a:pt x="642" y="220"/>
                  </a:lnTo>
                  <a:lnTo>
                    <a:pt x="636" y="222"/>
                  </a:lnTo>
                  <a:lnTo>
                    <a:pt x="630" y="224"/>
                  </a:lnTo>
                  <a:lnTo>
                    <a:pt x="624" y="226"/>
                  </a:lnTo>
                  <a:lnTo>
                    <a:pt x="618" y="228"/>
                  </a:lnTo>
                  <a:lnTo>
                    <a:pt x="612" y="228"/>
                  </a:lnTo>
                  <a:lnTo>
                    <a:pt x="606" y="232"/>
                  </a:lnTo>
                  <a:lnTo>
                    <a:pt x="600" y="234"/>
                  </a:lnTo>
                  <a:lnTo>
                    <a:pt x="594" y="238"/>
                  </a:lnTo>
                  <a:lnTo>
                    <a:pt x="588" y="240"/>
                  </a:lnTo>
                  <a:lnTo>
                    <a:pt x="582" y="244"/>
                  </a:lnTo>
                  <a:lnTo>
                    <a:pt x="588" y="238"/>
                  </a:lnTo>
                  <a:lnTo>
                    <a:pt x="594" y="236"/>
                  </a:lnTo>
                  <a:lnTo>
                    <a:pt x="600" y="232"/>
                  </a:lnTo>
                  <a:lnTo>
                    <a:pt x="606" y="226"/>
                  </a:lnTo>
                  <a:lnTo>
                    <a:pt x="610" y="220"/>
                  </a:lnTo>
                  <a:lnTo>
                    <a:pt x="604" y="224"/>
                  </a:lnTo>
                  <a:lnTo>
                    <a:pt x="606" y="218"/>
                  </a:lnTo>
                  <a:lnTo>
                    <a:pt x="600" y="214"/>
                  </a:lnTo>
                  <a:lnTo>
                    <a:pt x="602" y="210"/>
                  </a:lnTo>
                  <a:lnTo>
                    <a:pt x="610" y="210"/>
                  </a:lnTo>
                  <a:lnTo>
                    <a:pt x="614" y="214"/>
                  </a:lnTo>
                  <a:lnTo>
                    <a:pt x="622" y="218"/>
                  </a:lnTo>
                  <a:lnTo>
                    <a:pt x="628" y="218"/>
                  </a:lnTo>
                  <a:lnTo>
                    <a:pt x="634" y="218"/>
                  </a:lnTo>
                  <a:lnTo>
                    <a:pt x="640" y="214"/>
                  </a:lnTo>
                  <a:lnTo>
                    <a:pt x="646" y="210"/>
                  </a:lnTo>
                  <a:lnTo>
                    <a:pt x="652" y="204"/>
                  </a:lnTo>
                  <a:lnTo>
                    <a:pt x="656" y="202"/>
                  </a:lnTo>
                  <a:lnTo>
                    <a:pt x="664" y="200"/>
                  </a:lnTo>
                  <a:lnTo>
                    <a:pt x="670" y="196"/>
                  </a:lnTo>
                  <a:lnTo>
                    <a:pt x="672" y="202"/>
                  </a:lnTo>
                  <a:lnTo>
                    <a:pt x="678" y="208"/>
                  </a:lnTo>
                  <a:lnTo>
                    <a:pt x="686" y="208"/>
                  </a:lnTo>
                  <a:lnTo>
                    <a:pt x="690" y="206"/>
                  </a:lnTo>
                  <a:lnTo>
                    <a:pt x="696" y="202"/>
                  </a:lnTo>
                  <a:lnTo>
                    <a:pt x="702" y="198"/>
                  </a:lnTo>
                  <a:lnTo>
                    <a:pt x="698" y="202"/>
                  </a:lnTo>
                  <a:lnTo>
                    <a:pt x="696" y="208"/>
                  </a:lnTo>
                  <a:lnTo>
                    <a:pt x="702" y="210"/>
                  </a:lnTo>
                  <a:lnTo>
                    <a:pt x="708" y="210"/>
                  </a:lnTo>
                  <a:lnTo>
                    <a:pt x="714" y="210"/>
                  </a:lnTo>
                  <a:lnTo>
                    <a:pt x="720" y="206"/>
                  </a:lnTo>
                  <a:lnTo>
                    <a:pt x="726" y="200"/>
                  </a:lnTo>
                  <a:lnTo>
                    <a:pt x="730" y="194"/>
                  </a:lnTo>
                  <a:lnTo>
                    <a:pt x="732" y="192"/>
                  </a:lnTo>
                  <a:lnTo>
                    <a:pt x="736" y="186"/>
                  </a:lnTo>
                  <a:lnTo>
                    <a:pt x="728" y="182"/>
                  </a:lnTo>
                  <a:lnTo>
                    <a:pt x="724" y="180"/>
                  </a:lnTo>
                  <a:lnTo>
                    <a:pt x="716" y="184"/>
                  </a:lnTo>
                  <a:lnTo>
                    <a:pt x="710" y="182"/>
                  </a:lnTo>
                  <a:lnTo>
                    <a:pt x="716" y="176"/>
                  </a:lnTo>
                  <a:lnTo>
                    <a:pt x="710" y="174"/>
                  </a:lnTo>
                  <a:lnTo>
                    <a:pt x="704" y="176"/>
                  </a:lnTo>
                  <a:lnTo>
                    <a:pt x="698" y="172"/>
                  </a:lnTo>
                  <a:lnTo>
                    <a:pt x="694" y="168"/>
                  </a:lnTo>
                  <a:lnTo>
                    <a:pt x="686" y="164"/>
                  </a:lnTo>
                  <a:lnTo>
                    <a:pt x="680" y="162"/>
                  </a:lnTo>
                  <a:lnTo>
                    <a:pt x="682" y="156"/>
                  </a:lnTo>
                  <a:lnTo>
                    <a:pt x="676" y="152"/>
                  </a:lnTo>
                  <a:lnTo>
                    <a:pt x="670" y="158"/>
                  </a:lnTo>
                  <a:lnTo>
                    <a:pt x="664" y="158"/>
                  </a:lnTo>
                  <a:lnTo>
                    <a:pt x="658" y="158"/>
                  </a:lnTo>
                  <a:lnTo>
                    <a:pt x="652" y="156"/>
                  </a:lnTo>
                  <a:lnTo>
                    <a:pt x="650" y="150"/>
                  </a:lnTo>
                  <a:lnTo>
                    <a:pt x="644" y="148"/>
                  </a:lnTo>
                  <a:lnTo>
                    <a:pt x="646" y="142"/>
                  </a:lnTo>
                  <a:lnTo>
                    <a:pt x="646" y="136"/>
                  </a:lnTo>
                  <a:lnTo>
                    <a:pt x="640" y="134"/>
                  </a:lnTo>
                  <a:lnTo>
                    <a:pt x="638" y="128"/>
                  </a:lnTo>
                  <a:lnTo>
                    <a:pt x="644" y="126"/>
                  </a:lnTo>
                  <a:lnTo>
                    <a:pt x="650" y="122"/>
                  </a:lnTo>
                  <a:lnTo>
                    <a:pt x="656" y="116"/>
                  </a:lnTo>
                  <a:lnTo>
                    <a:pt x="662" y="114"/>
                  </a:lnTo>
                  <a:lnTo>
                    <a:pt x="668" y="114"/>
                  </a:lnTo>
                  <a:lnTo>
                    <a:pt x="672" y="108"/>
                  </a:lnTo>
                  <a:lnTo>
                    <a:pt x="678" y="102"/>
                  </a:lnTo>
                  <a:lnTo>
                    <a:pt x="678" y="96"/>
                  </a:lnTo>
                  <a:lnTo>
                    <a:pt x="678" y="90"/>
                  </a:lnTo>
                  <a:lnTo>
                    <a:pt x="678" y="84"/>
                  </a:lnTo>
                  <a:lnTo>
                    <a:pt x="682" y="78"/>
                  </a:lnTo>
                  <a:lnTo>
                    <a:pt x="682" y="72"/>
                  </a:lnTo>
                  <a:lnTo>
                    <a:pt x="690" y="68"/>
                  </a:lnTo>
                  <a:lnTo>
                    <a:pt x="692" y="62"/>
                  </a:lnTo>
                  <a:lnTo>
                    <a:pt x="692" y="56"/>
                  </a:lnTo>
                  <a:lnTo>
                    <a:pt x="698" y="50"/>
                  </a:lnTo>
                  <a:lnTo>
                    <a:pt x="700" y="44"/>
                  </a:lnTo>
                  <a:lnTo>
                    <a:pt x="706" y="40"/>
                  </a:lnTo>
                  <a:lnTo>
                    <a:pt x="706" y="36"/>
                  </a:lnTo>
                  <a:lnTo>
                    <a:pt x="710" y="36"/>
                  </a:lnTo>
                  <a:lnTo>
                    <a:pt x="710" y="30"/>
                  </a:lnTo>
                  <a:lnTo>
                    <a:pt x="710" y="24"/>
                  </a:lnTo>
                  <a:lnTo>
                    <a:pt x="706" y="18"/>
                  </a:lnTo>
                  <a:lnTo>
                    <a:pt x="700" y="20"/>
                  </a:lnTo>
                  <a:lnTo>
                    <a:pt x="694" y="16"/>
                  </a:lnTo>
                  <a:lnTo>
                    <a:pt x="690" y="10"/>
                  </a:lnTo>
                  <a:lnTo>
                    <a:pt x="686" y="8"/>
                  </a:lnTo>
                  <a:lnTo>
                    <a:pt x="678" y="4"/>
                  </a:lnTo>
                  <a:lnTo>
                    <a:pt x="676" y="4"/>
                  </a:lnTo>
                  <a:lnTo>
                    <a:pt x="670" y="6"/>
                  </a:lnTo>
                  <a:lnTo>
                    <a:pt x="664" y="12"/>
                  </a:lnTo>
                  <a:lnTo>
                    <a:pt x="658" y="8"/>
                  </a:lnTo>
                  <a:lnTo>
                    <a:pt x="652" y="4"/>
                  </a:lnTo>
                  <a:lnTo>
                    <a:pt x="646" y="4"/>
                  </a:lnTo>
                  <a:lnTo>
                    <a:pt x="640" y="2"/>
                  </a:lnTo>
                  <a:lnTo>
                    <a:pt x="634" y="2"/>
                  </a:lnTo>
                  <a:lnTo>
                    <a:pt x="628" y="4"/>
                  </a:lnTo>
                  <a:lnTo>
                    <a:pt x="632" y="10"/>
                  </a:lnTo>
                  <a:lnTo>
                    <a:pt x="626" y="10"/>
                  </a:lnTo>
                  <a:lnTo>
                    <a:pt x="620" y="10"/>
                  </a:lnTo>
                  <a:lnTo>
                    <a:pt x="614" y="12"/>
                  </a:lnTo>
                  <a:lnTo>
                    <a:pt x="610" y="18"/>
                  </a:lnTo>
                  <a:lnTo>
                    <a:pt x="604" y="24"/>
                  </a:lnTo>
                  <a:lnTo>
                    <a:pt x="600" y="30"/>
                  </a:lnTo>
                  <a:lnTo>
                    <a:pt x="594" y="36"/>
                  </a:lnTo>
                  <a:lnTo>
                    <a:pt x="588" y="42"/>
                  </a:lnTo>
                  <a:lnTo>
                    <a:pt x="586" y="48"/>
                  </a:lnTo>
                  <a:lnTo>
                    <a:pt x="582" y="54"/>
                  </a:lnTo>
                  <a:lnTo>
                    <a:pt x="580" y="60"/>
                  </a:lnTo>
                  <a:lnTo>
                    <a:pt x="574" y="60"/>
                  </a:lnTo>
                  <a:lnTo>
                    <a:pt x="572" y="66"/>
                  </a:lnTo>
                  <a:lnTo>
                    <a:pt x="572" y="72"/>
                  </a:lnTo>
                  <a:lnTo>
                    <a:pt x="568" y="78"/>
                  </a:lnTo>
                  <a:lnTo>
                    <a:pt x="572" y="84"/>
                  </a:lnTo>
                  <a:lnTo>
                    <a:pt x="566" y="84"/>
                  </a:lnTo>
                  <a:lnTo>
                    <a:pt x="562" y="90"/>
                  </a:lnTo>
                  <a:lnTo>
                    <a:pt x="554" y="90"/>
                  </a:lnTo>
                  <a:lnTo>
                    <a:pt x="548" y="92"/>
                  </a:lnTo>
                  <a:lnTo>
                    <a:pt x="542" y="94"/>
                  </a:lnTo>
                  <a:lnTo>
                    <a:pt x="536" y="94"/>
                  </a:lnTo>
                  <a:lnTo>
                    <a:pt x="532" y="100"/>
                  </a:lnTo>
                  <a:lnTo>
                    <a:pt x="526" y="98"/>
                  </a:lnTo>
                  <a:lnTo>
                    <a:pt x="520" y="94"/>
                  </a:lnTo>
                  <a:lnTo>
                    <a:pt x="524" y="88"/>
                  </a:lnTo>
                  <a:lnTo>
                    <a:pt x="532" y="82"/>
                  </a:lnTo>
                  <a:lnTo>
                    <a:pt x="538" y="80"/>
                  </a:lnTo>
                  <a:lnTo>
                    <a:pt x="532" y="82"/>
                  </a:lnTo>
                  <a:lnTo>
                    <a:pt x="530" y="78"/>
                  </a:lnTo>
                  <a:lnTo>
                    <a:pt x="536" y="74"/>
                  </a:lnTo>
                  <a:lnTo>
                    <a:pt x="538" y="68"/>
                  </a:lnTo>
                  <a:lnTo>
                    <a:pt x="542" y="62"/>
                  </a:lnTo>
                  <a:lnTo>
                    <a:pt x="546" y="56"/>
                  </a:lnTo>
                  <a:lnTo>
                    <a:pt x="552" y="52"/>
                  </a:lnTo>
                  <a:lnTo>
                    <a:pt x="558" y="48"/>
                  </a:lnTo>
                  <a:lnTo>
                    <a:pt x="552" y="44"/>
                  </a:lnTo>
                  <a:lnTo>
                    <a:pt x="546" y="46"/>
                  </a:lnTo>
                  <a:lnTo>
                    <a:pt x="552" y="40"/>
                  </a:lnTo>
                  <a:lnTo>
                    <a:pt x="550" y="36"/>
                  </a:lnTo>
                  <a:lnTo>
                    <a:pt x="548" y="34"/>
                  </a:lnTo>
                  <a:lnTo>
                    <a:pt x="542" y="36"/>
                  </a:lnTo>
                  <a:lnTo>
                    <a:pt x="536" y="32"/>
                  </a:lnTo>
                  <a:lnTo>
                    <a:pt x="538" y="26"/>
                  </a:lnTo>
                  <a:lnTo>
                    <a:pt x="532" y="26"/>
                  </a:lnTo>
                  <a:lnTo>
                    <a:pt x="528" y="22"/>
                  </a:lnTo>
                  <a:lnTo>
                    <a:pt x="522" y="22"/>
                  </a:lnTo>
                  <a:lnTo>
                    <a:pt x="516" y="20"/>
                  </a:lnTo>
                  <a:lnTo>
                    <a:pt x="508" y="20"/>
                  </a:lnTo>
                  <a:lnTo>
                    <a:pt x="502" y="20"/>
                  </a:lnTo>
                  <a:lnTo>
                    <a:pt x="496" y="22"/>
                  </a:lnTo>
                  <a:lnTo>
                    <a:pt x="496" y="28"/>
                  </a:lnTo>
                  <a:lnTo>
                    <a:pt x="498" y="30"/>
                  </a:lnTo>
                  <a:lnTo>
                    <a:pt x="504" y="32"/>
                  </a:lnTo>
                  <a:lnTo>
                    <a:pt x="510" y="36"/>
                  </a:lnTo>
                  <a:lnTo>
                    <a:pt x="512" y="36"/>
                  </a:lnTo>
                  <a:lnTo>
                    <a:pt x="520" y="36"/>
                  </a:lnTo>
                  <a:lnTo>
                    <a:pt x="512" y="40"/>
                  </a:lnTo>
                  <a:lnTo>
                    <a:pt x="510" y="38"/>
                  </a:lnTo>
                  <a:lnTo>
                    <a:pt x="504" y="36"/>
                  </a:lnTo>
                  <a:lnTo>
                    <a:pt x="496" y="40"/>
                  </a:lnTo>
                  <a:lnTo>
                    <a:pt x="502" y="40"/>
                  </a:lnTo>
                  <a:lnTo>
                    <a:pt x="504" y="42"/>
                  </a:lnTo>
                  <a:lnTo>
                    <a:pt x="506" y="48"/>
                  </a:lnTo>
                  <a:lnTo>
                    <a:pt x="500" y="50"/>
                  </a:lnTo>
                  <a:lnTo>
                    <a:pt x="498" y="48"/>
                  </a:lnTo>
                  <a:lnTo>
                    <a:pt x="492" y="46"/>
                  </a:lnTo>
                  <a:lnTo>
                    <a:pt x="496" y="50"/>
                  </a:lnTo>
                  <a:lnTo>
                    <a:pt x="494" y="52"/>
                  </a:lnTo>
                  <a:lnTo>
                    <a:pt x="488" y="48"/>
                  </a:lnTo>
                  <a:lnTo>
                    <a:pt x="482" y="48"/>
                  </a:lnTo>
                  <a:lnTo>
                    <a:pt x="476" y="48"/>
                  </a:lnTo>
                  <a:lnTo>
                    <a:pt x="470" y="46"/>
                  </a:lnTo>
                  <a:lnTo>
                    <a:pt x="462" y="48"/>
                  </a:lnTo>
                  <a:lnTo>
                    <a:pt x="456" y="50"/>
                  </a:lnTo>
                  <a:lnTo>
                    <a:pt x="450" y="52"/>
                  </a:lnTo>
                  <a:lnTo>
                    <a:pt x="444" y="54"/>
                  </a:lnTo>
                  <a:lnTo>
                    <a:pt x="440" y="60"/>
                  </a:lnTo>
                  <a:lnTo>
                    <a:pt x="432" y="56"/>
                  </a:lnTo>
                  <a:lnTo>
                    <a:pt x="440" y="54"/>
                  </a:lnTo>
                  <a:lnTo>
                    <a:pt x="434" y="52"/>
                  </a:lnTo>
                  <a:lnTo>
                    <a:pt x="428" y="54"/>
                  </a:lnTo>
                  <a:lnTo>
                    <a:pt x="420" y="56"/>
                  </a:lnTo>
                  <a:lnTo>
                    <a:pt x="414" y="60"/>
                  </a:lnTo>
                  <a:lnTo>
                    <a:pt x="408" y="62"/>
                  </a:lnTo>
                  <a:lnTo>
                    <a:pt x="402" y="66"/>
                  </a:lnTo>
                  <a:lnTo>
                    <a:pt x="408" y="62"/>
                  </a:lnTo>
                  <a:lnTo>
                    <a:pt x="414" y="58"/>
                  </a:lnTo>
                  <a:lnTo>
                    <a:pt x="408" y="60"/>
                  </a:lnTo>
                  <a:lnTo>
                    <a:pt x="414" y="56"/>
                  </a:lnTo>
                  <a:lnTo>
                    <a:pt x="420" y="54"/>
                  </a:lnTo>
                  <a:lnTo>
                    <a:pt x="426" y="54"/>
                  </a:lnTo>
                  <a:lnTo>
                    <a:pt x="432" y="50"/>
                  </a:lnTo>
                  <a:lnTo>
                    <a:pt x="438" y="48"/>
                  </a:lnTo>
                  <a:lnTo>
                    <a:pt x="444" y="46"/>
                  </a:lnTo>
                  <a:lnTo>
                    <a:pt x="450" y="44"/>
                  </a:lnTo>
                  <a:lnTo>
                    <a:pt x="456" y="40"/>
                  </a:lnTo>
                  <a:lnTo>
                    <a:pt x="458" y="38"/>
                  </a:lnTo>
                  <a:lnTo>
                    <a:pt x="452" y="36"/>
                  </a:lnTo>
                  <a:lnTo>
                    <a:pt x="446" y="32"/>
                  </a:lnTo>
                  <a:lnTo>
                    <a:pt x="440" y="30"/>
                  </a:lnTo>
                  <a:lnTo>
                    <a:pt x="436" y="28"/>
                  </a:lnTo>
                  <a:lnTo>
                    <a:pt x="428" y="28"/>
                  </a:lnTo>
                  <a:lnTo>
                    <a:pt x="422" y="26"/>
                  </a:lnTo>
                  <a:lnTo>
                    <a:pt x="416" y="24"/>
                  </a:lnTo>
                  <a:lnTo>
                    <a:pt x="410" y="22"/>
                  </a:lnTo>
                  <a:lnTo>
                    <a:pt x="404" y="22"/>
                  </a:lnTo>
                  <a:lnTo>
                    <a:pt x="398" y="22"/>
                  </a:lnTo>
                  <a:lnTo>
                    <a:pt x="392" y="22"/>
                  </a:lnTo>
                  <a:lnTo>
                    <a:pt x="386" y="24"/>
                  </a:lnTo>
                  <a:lnTo>
                    <a:pt x="380" y="26"/>
                  </a:lnTo>
                  <a:lnTo>
                    <a:pt x="374" y="30"/>
                  </a:lnTo>
                  <a:lnTo>
                    <a:pt x="368" y="32"/>
                  </a:lnTo>
                  <a:lnTo>
                    <a:pt x="360" y="34"/>
                  </a:lnTo>
                  <a:lnTo>
                    <a:pt x="366" y="36"/>
                  </a:lnTo>
                  <a:lnTo>
                    <a:pt x="360" y="40"/>
                  </a:lnTo>
                  <a:lnTo>
                    <a:pt x="354" y="40"/>
                  </a:lnTo>
                  <a:lnTo>
                    <a:pt x="348" y="42"/>
                  </a:lnTo>
                  <a:lnTo>
                    <a:pt x="356" y="40"/>
                  </a:lnTo>
                  <a:lnTo>
                    <a:pt x="350" y="40"/>
                  </a:lnTo>
                  <a:lnTo>
                    <a:pt x="342" y="42"/>
                  </a:lnTo>
                  <a:lnTo>
                    <a:pt x="336" y="40"/>
                  </a:lnTo>
                  <a:lnTo>
                    <a:pt x="330" y="42"/>
                  </a:lnTo>
                  <a:lnTo>
                    <a:pt x="324" y="44"/>
                  </a:lnTo>
                  <a:lnTo>
                    <a:pt x="318" y="44"/>
                  </a:lnTo>
                  <a:lnTo>
                    <a:pt x="312" y="46"/>
                  </a:lnTo>
                  <a:lnTo>
                    <a:pt x="306" y="46"/>
                  </a:lnTo>
                  <a:lnTo>
                    <a:pt x="308" y="44"/>
                  </a:lnTo>
                  <a:lnTo>
                    <a:pt x="314" y="42"/>
                  </a:lnTo>
                  <a:lnTo>
                    <a:pt x="320" y="40"/>
                  </a:lnTo>
                  <a:lnTo>
                    <a:pt x="326" y="40"/>
                  </a:lnTo>
                  <a:lnTo>
                    <a:pt x="332" y="34"/>
                  </a:lnTo>
                  <a:lnTo>
                    <a:pt x="338" y="32"/>
                  </a:lnTo>
                  <a:lnTo>
                    <a:pt x="344" y="32"/>
                  </a:lnTo>
                  <a:lnTo>
                    <a:pt x="348" y="32"/>
                  </a:lnTo>
                  <a:lnTo>
                    <a:pt x="354" y="26"/>
                  </a:lnTo>
                  <a:lnTo>
                    <a:pt x="360" y="22"/>
                  </a:lnTo>
                  <a:lnTo>
                    <a:pt x="366" y="18"/>
                  </a:lnTo>
                  <a:lnTo>
                    <a:pt x="372" y="14"/>
                  </a:lnTo>
                  <a:lnTo>
                    <a:pt x="374" y="8"/>
                  </a:lnTo>
                  <a:lnTo>
                    <a:pt x="372" y="2"/>
                  </a:lnTo>
                  <a:lnTo>
                    <a:pt x="366" y="2"/>
                  </a:lnTo>
                  <a:lnTo>
                    <a:pt x="358" y="0"/>
                  </a:lnTo>
                  <a:lnTo>
                    <a:pt x="352" y="2"/>
                  </a:lnTo>
                  <a:lnTo>
                    <a:pt x="346" y="4"/>
                  </a:lnTo>
                  <a:lnTo>
                    <a:pt x="340" y="4"/>
                  </a:lnTo>
                  <a:lnTo>
                    <a:pt x="332" y="6"/>
                  </a:lnTo>
                  <a:lnTo>
                    <a:pt x="326" y="6"/>
                  </a:lnTo>
                  <a:lnTo>
                    <a:pt x="320" y="8"/>
                  </a:lnTo>
                  <a:lnTo>
                    <a:pt x="314" y="10"/>
                  </a:lnTo>
                  <a:lnTo>
                    <a:pt x="308" y="10"/>
                  </a:lnTo>
                  <a:lnTo>
                    <a:pt x="302" y="10"/>
                  </a:lnTo>
                  <a:lnTo>
                    <a:pt x="296" y="12"/>
                  </a:lnTo>
                  <a:lnTo>
                    <a:pt x="290" y="12"/>
                  </a:lnTo>
                  <a:lnTo>
                    <a:pt x="284" y="14"/>
                  </a:lnTo>
                  <a:lnTo>
                    <a:pt x="278" y="14"/>
                  </a:lnTo>
                  <a:lnTo>
                    <a:pt x="272" y="16"/>
                  </a:lnTo>
                  <a:lnTo>
                    <a:pt x="266" y="16"/>
                  </a:lnTo>
                  <a:lnTo>
                    <a:pt x="260" y="18"/>
                  </a:lnTo>
                  <a:lnTo>
                    <a:pt x="254" y="20"/>
                  </a:lnTo>
                  <a:lnTo>
                    <a:pt x="248" y="20"/>
                  </a:lnTo>
                  <a:lnTo>
                    <a:pt x="240" y="22"/>
                  </a:lnTo>
                  <a:lnTo>
                    <a:pt x="236" y="24"/>
                  </a:lnTo>
                  <a:lnTo>
                    <a:pt x="228" y="24"/>
                  </a:lnTo>
                  <a:lnTo>
                    <a:pt x="222" y="26"/>
                  </a:lnTo>
                  <a:lnTo>
                    <a:pt x="216" y="26"/>
                  </a:lnTo>
                  <a:lnTo>
                    <a:pt x="210" y="26"/>
                  </a:lnTo>
                  <a:lnTo>
                    <a:pt x="204" y="30"/>
                  </a:lnTo>
                  <a:lnTo>
                    <a:pt x="198" y="32"/>
                  </a:lnTo>
                  <a:lnTo>
                    <a:pt x="192" y="32"/>
                  </a:lnTo>
                  <a:lnTo>
                    <a:pt x="186" y="34"/>
                  </a:lnTo>
                  <a:lnTo>
                    <a:pt x="180" y="36"/>
                  </a:lnTo>
                  <a:lnTo>
                    <a:pt x="174" y="38"/>
                  </a:lnTo>
                  <a:lnTo>
                    <a:pt x="168" y="40"/>
                  </a:lnTo>
                  <a:lnTo>
                    <a:pt x="162" y="40"/>
                  </a:lnTo>
                  <a:lnTo>
                    <a:pt x="156" y="42"/>
                  </a:lnTo>
                  <a:lnTo>
                    <a:pt x="150" y="44"/>
                  </a:lnTo>
                  <a:lnTo>
                    <a:pt x="144" y="46"/>
                  </a:lnTo>
                  <a:lnTo>
                    <a:pt x="138" y="48"/>
                  </a:lnTo>
                  <a:lnTo>
                    <a:pt x="132" y="50"/>
                  </a:lnTo>
                  <a:lnTo>
                    <a:pt x="126" y="54"/>
                  </a:lnTo>
                  <a:lnTo>
                    <a:pt x="130" y="58"/>
                  </a:lnTo>
                  <a:lnTo>
                    <a:pt x="136" y="58"/>
                  </a:lnTo>
                  <a:lnTo>
                    <a:pt x="130" y="64"/>
                  </a:lnTo>
                  <a:lnTo>
                    <a:pt x="124" y="66"/>
                  </a:lnTo>
                  <a:lnTo>
                    <a:pt x="118" y="66"/>
                  </a:lnTo>
                  <a:lnTo>
                    <a:pt x="112" y="66"/>
                  </a:lnTo>
                  <a:lnTo>
                    <a:pt x="106" y="68"/>
                  </a:lnTo>
                  <a:lnTo>
                    <a:pt x="100" y="70"/>
                  </a:lnTo>
                  <a:lnTo>
                    <a:pt x="94" y="74"/>
                  </a:lnTo>
                  <a:lnTo>
                    <a:pt x="88" y="76"/>
                  </a:lnTo>
                  <a:lnTo>
                    <a:pt x="82" y="76"/>
                  </a:lnTo>
                  <a:lnTo>
                    <a:pt x="76" y="78"/>
                  </a:lnTo>
                  <a:lnTo>
                    <a:pt x="70" y="82"/>
                  </a:lnTo>
                  <a:lnTo>
                    <a:pt x="64" y="84"/>
                  </a:lnTo>
                  <a:lnTo>
                    <a:pt x="58" y="88"/>
                  </a:lnTo>
                  <a:lnTo>
                    <a:pt x="52" y="94"/>
                  </a:lnTo>
                  <a:lnTo>
                    <a:pt x="50" y="100"/>
                  </a:lnTo>
                  <a:lnTo>
                    <a:pt x="56" y="98"/>
                  </a:lnTo>
                  <a:lnTo>
                    <a:pt x="62" y="96"/>
                  </a:lnTo>
                  <a:lnTo>
                    <a:pt x="70" y="96"/>
                  </a:lnTo>
                  <a:lnTo>
                    <a:pt x="76" y="96"/>
                  </a:lnTo>
                  <a:lnTo>
                    <a:pt x="80" y="100"/>
                  </a:lnTo>
                  <a:lnTo>
                    <a:pt x="88" y="98"/>
                  </a:lnTo>
                  <a:lnTo>
                    <a:pt x="94" y="96"/>
                  </a:lnTo>
                  <a:lnTo>
                    <a:pt x="100" y="96"/>
                  </a:lnTo>
                  <a:lnTo>
                    <a:pt x="106" y="96"/>
                  </a:lnTo>
                  <a:lnTo>
                    <a:pt x="100" y="98"/>
                  </a:lnTo>
                  <a:lnTo>
                    <a:pt x="94" y="100"/>
                  </a:lnTo>
                  <a:lnTo>
                    <a:pt x="100" y="100"/>
                  </a:lnTo>
                  <a:lnTo>
                    <a:pt x="94" y="104"/>
                  </a:lnTo>
                  <a:lnTo>
                    <a:pt x="88" y="104"/>
                  </a:lnTo>
                  <a:lnTo>
                    <a:pt x="82" y="104"/>
                  </a:lnTo>
                  <a:lnTo>
                    <a:pt x="76" y="104"/>
                  </a:lnTo>
                  <a:lnTo>
                    <a:pt x="70" y="108"/>
                  </a:lnTo>
                  <a:lnTo>
                    <a:pt x="76" y="112"/>
                  </a:lnTo>
                  <a:lnTo>
                    <a:pt x="82" y="112"/>
                  </a:lnTo>
                  <a:lnTo>
                    <a:pt x="88" y="112"/>
                  </a:lnTo>
                  <a:lnTo>
                    <a:pt x="94" y="112"/>
                  </a:lnTo>
                  <a:lnTo>
                    <a:pt x="100" y="110"/>
                  </a:lnTo>
                  <a:lnTo>
                    <a:pt x="106" y="106"/>
                  </a:lnTo>
                  <a:lnTo>
                    <a:pt x="112" y="112"/>
                  </a:lnTo>
                  <a:lnTo>
                    <a:pt x="118" y="110"/>
                  </a:lnTo>
                  <a:lnTo>
                    <a:pt x="124" y="110"/>
                  </a:lnTo>
                  <a:lnTo>
                    <a:pt x="130" y="110"/>
                  </a:lnTo>
                  <a:lnTo>
                    <a:pt x="136" y="108"/>
                  </a:lnTo>
                  <a:lnTo>
                    <a:pt x="144" y="108"/>
                  </a:lnTo>
                  <a:lnTo>
                    <a:pt x="148" y="106"/>
                  </a:lnTo>
                  <a:lnTo>
                    <a:pt x="156" y="106"/>
                  </a:lnTo>
                  <a:lnTo>
                    <a:pt x="162" y="106"/>
                  </a:lnTo>
                  <a:lnTo>
                    <a:pt x="168" y="104"/>
                  </a:lnTo>
                  <a:lnTo>
                    <a:pt x="174" y="104"/>
                  </a:lnTo>
                  <a:lnTo>
                    <a:pt x="180" y="104"/>
                  </a:lnTo>
                  <a:lnTo>
                    <a:pt x="186" y="102"/>
                  </a:lnTo>
                  <a:lnTo>
                    <a:pt x="192" y="102"/>
                  </a:lnTo>
                  <a:lnTo>
                    <a:pt x="198" y="106"/>
                  </a:lnTo>
                  <a:lnTo>
                    <a:pt x="204" y="106"/>
                  </a:lnTo>
                  <a:lnTo>
                    <a:pt x="210" y="104"/>
                  </a:lnTo>
                  <a:lnTo>
                    <a:pt x="204" y="106"/>
                  </a:lnTo>
                  <a:lnTo>
                    <a:pt x="198" y="108"/>
                  </a:lnTo>
                  <a:lnTo>
                    <a:pt x="192" y="108"/>
                  </a:lnTo>
                  <a:lnTo>
                    <a:pt x="186" y="106"/>
                  </a:lnTo>
                  <a:lnTo>
                    <a:pt x="180" y="106"/>
                  </a:lnTo>
                  <a:lnTo>
                    <a:pt x="174" y="108"/>
                  </a:lnTo>
                  <a:lnTo>
                    <a:pt x="168" y="108"/>
                  </a:lnTo>
                  <a:lnTo>
                    <a:pt x="160" y="110"/>
                  </a:lnTo>
                  <a:lnTo>
                    <a:pt x="168" y="112"/>
                  </a:lnTo>
                  <a:lnTo>
                    <a:pt x="174" y="112"/>
                  </a:lnTo>
                  <a:lnTo>
                    <a:pt x="166" y="114"/>
                  </a:lnTo>
                  <a:lnTo>
                    <a:pt x="160" y="114"/>
                  </a:lnTo>
                  <a:lnTo>
                    <a:pt x="154" y="114"/>
                  </a:lnTo>
                  <a:lnTo>
                    <a:pt x="148" y="114"/>
                  </a:lnTo>
                  <a:lnTo>
                    <a:pt x="142" y="114"/>
                  </a:lnTo>
                  <a:lnTo>
                    <a:pt x="136" y="116"/>
                  </a:lnTo>
                  <a:lnTo>
                    <a:pt x="130" y="116"/>
                  </a:lnTo>
                  <a:lnTo>
                    <a:pt x="124" y="118"/>
                  </a:lnTo>
                  <a:lnTo>
                    <a:pt x="120" y="120"/>
                  </a:lnTo>
                  <a:lnTo>
                    <a:pt x="114" y="120"/>
                  </a:lnTo>
                  <a:lnTo>
                    <a:pt x="108" y="120"/>
                  </a:lnTo>
                  <a:lnTo>
                    <a:pt x="102" y="122"/>
                  </a:lnTo>
                  <a:lnTo>
                    <a:pt x="96" y="122"/>
                  </a:lnTo>
                  <a:lnTo>
                    <a:pt x="90" y="124"/>
                  </a:lnTo>
                  <a:lnTo>
                    <a:pt x="84" y="124"/>
                  </a:lnTo>
                  <a:lnTo>
                    <a:pt x="76" y="124"/>
                  </a:lnTo>
                  <a:lnTo>
                    <a:pt x="70" y="124"/>
                  </a:lnTo>
                  <a:lnTo>
                    <a:pt x="64" y="126"/>
                  </a:lnTo>
                  <a:lnTo>
                    <a:pt x="58" y="128"/>
                  </a:lnTo>
                  <a:lnTo>
                    <a:pt x="52" y="130"/>
                  </a:lnTo>
                  <a:lnTo>
                    <a:pt x="46" y="130"/>
                  </a:lnTo>
                  <a:lnTo>
                    <a:pt x="40" y="132"/>
                  </a:lnTo>
                  <a:lnTo>
                    <a:pt x="34" y="134"/>
                  </a:lnTo>
                  <a:lnTo>
                    <a:pt x="30" y="138"/>
                  </a:lnTo>
                  <a:lnTo>
                    <a:pt x="34" y="146"/>
                  </a:lnTo>
                  <a:lnTo>
                    <a:pt x="38" y="148"/>
                  </a:lnTo>
                  <a:lnTo>
                    <a:pt x="38" y="154"/>
                  </a:lnTo>
                  <a:lnTo>
                    <a:pt x="44" y="156"/>
                  </a:lnTo>
                  <a:lnTo>
                    <a:pt x="50" y="156"/>
                  </a:lnTo>
                  <a:lnTo>
                    <a:pt x="56" y="156"/>
                  </a:lnTo>
                  <a:lnTo>
                    <a:pt x="62" y="156"/>
                  </a:lnTo>
                  <a:lnTo>
                    <a:pt x="70" y="156"/>
                  </a:lnTo>
                  <a:lnTo>
                    <a:pt x="76" y="156"/>
                  </a:lnTo>
                  <a:lnTo>
                    <a:pt x="82" y="156"/>
                  </a:lnTo>
                  <a:lnTo>
                    <a:pt x="88" y="154"/>
                  </a:lnTo>
                  <a:lnTo>
                    <a:pt x="94" y="154"/>
                  </a:lnTo>
                  <a:lnTo>
                    <a:pt x="100" y="154"/>
                  </a:lnTo>
                  <a:lnTo>
                    <a:pt x="106" y="158"/>
                  </a:lnTo>
                  <a:lnTo>
                    <a:pt x="114" y="158"/>
                  </a:lnTo>
                  <a:lnTo>
                    <a:pt x="120" y="158"/>
                  </a:lnTo>
                  <a:lnTo>
                    <a:pt x="126" y="158"/>
                  </a:lnTo>
                  <a:lnTo>
                    <a:pt x="132" y="158"/>
                  </a:lnTo>
                  <a:lnTo>
                    <a:pt x="138" y="156"/>
                  </a:lnTo>
                  <a:lnTo>
                    <a:pt x="144" y="156"/>
                  </a:lnTo>
                  <a:lnTo>
                    <a:pt x="150" y="156"/>
                  </a:lnTo>
                  <a:lnTo>
                    <a:pt x="156" y="156"/>
                  </a:lnTo>
                  <a:lnTo>
                    <a:pt x="162" y="156"/>
                  </a:lnTo>
                  <a:lnTo>
                    <a:pt x="168" y="156"/>
                  </a:lnTo>
                  <a:lnTo>
                    <a:pt x="174" y="154"/>
                  </a:lnTo>
                  <a:lnTo>
                    <a:pt x="180" y="154"/>
                  </a:lnTo>
                  <a:lnTo>
                    <a:pt x="186" y="152"/>
                  </a:lnTo>
                  <a:lnTo>
                    <a:pt x="192" y="152"/>
                  </a:lnTo>
                  <a:lnTo>
                    <a:pt x="198" y="152"/>
                  </a:lnTo>
                  <a:lnTo>
                    <a:pt x="204" y="150"/>
                  </a:lnTo>
                  <a:lnTo>
                    <a:pt x="210" y="150"/>
                  </a:lnTo>
                  <a:lnTo>
                    <a:pt x="216" y="152"/>
                  </a:lnTo>
                  <a:lnTo>
                    <a:pt x="222" y="154"/>
                  </a:lnTo>
                  <a:lnTo>
                    <a:pt x="228" y="154"/>
                  </a:lnTo>
                  <a:lnTo>
                    <a:pt x="234" y="154"/>
                  </a:lnTo>
                  <a:lnTo>
                    <a:pt x="240" y="158"/>
                  </a:lnTo>
                  <a:lnTo>
                    <a:pt x="246" y="158"/>
                  </a:lnTo>
                  <a:lnTo>
                    <a:pt x="252" y="160"/>
                  </a:lnTo>
                  <a:lnTo>
                    <a:pt x="258" y="162"/>
                  </a:lnTo>
                  <a:lnTo>
                    <a:pt x="264" y="162"/>
                  </a:lnTo>
                  <a:lnTo>
                    <a:pt x="270" y="162"/>
                  </a:lnTo>
                  <a:lnTo>
                    <a:pt x="270" y="168"/>
                  </a:lnTo>
                  <a:lnTo>
                    <a:pt x="274" y="170"/>
                  </a:lnTo>
                  <a:lnTo>
                    <a:pt x="280" y="172"/>
                  </a:lnTo>
                  <a:lnTo>
                    <a:pt x="286" y="170"/>
                  </a:lnTo>
                  <a:lnTo>
                    <a:pt x="280" y="176"/>
                  </a:lnTo>
                  <a:lnTo>
                    <a:pt x="274" y="176"/>
                  </a:lnTo>
                  <a:lnTo>
                    <a:pt x="266" y="176"/>
                  </a:lnTo>
                  <a:lnTo>
                    <a:pt x="262" y="176"/>
                  </a:lnTo>
                  <a:lnTo>
                    <a:pt x="256" y="174"/>
                  </a:lnTo>
                  <a:lnTo>
                    <a:pt x="250" y="176"/>
                  </a:lnTo>
                  <a:lnTo>
                    <a:pt x="244" y="178"/>
                  </a:lnTo>
                  <a:lnTo>
                    <a:pt x="236" y="178"/>
                  </a:lnTo>
                  <a:lnTo>
                    <a:pt x="232" y="180"/>
                  </a:lnTo>
                  <a:lnTo>
                    <a:pt x="224" y="178"/>
                  </a:lnTo>
                  <a:lnTo>
                    <a:pt x="220" y="176"/>
                  </a:lnTo>
                  <a:lnTo>
                    <a:pt x="212" y="176"/>
                  </a:lnTo>
                  <a:lnTo>
                    <a:pt x="206" y="176"/>
                  </a:lnTo>
                  <a:lnTo>
                    <a:pt x="202" y="176"/>
                  </a:lnTo>
                  <a:lnTo>
                    <a:pt x="196" y="176"/>
                  </a:lnTo>
                  <a:lnTo>
                    <a:pt x="190" y="176"/>
                  </a:lnTo>
                  <a:lnTo>
                    <a:pt x="184" y="176"/>
                  </a:lnTo>
                  <a:lnTo>
                    <a:pt x="178" y="176"/>
                  </a:lnTo>
                  <a:lnTo>
                    <a:pt x="172" y="174"/>
                  </a:lnTo>
                  <a:lnTo>
                    <a:pt x="166" y="172"/>
                  </a:lnTo>
                  <a:lnTo>
                    <a:pt x="160" y="174"/>
                  </a:lnTo>
                  <a:lnTo>
                    <a:pt x="154" y="174"/>
                  </a:lnTo>
                  <a:lnTo>
                    <a:pt x="148" y="174"/>
                  </a:lnTo>
                  <a:lnTo>
                    <a:pt x="142" y="174"/>
                  </a:lnTo>
                  <a:lnTo>
                    <a:pt x="136" y="176"/>
                  </a:lnTo>
                  <a:lnTo>
                    <a:pt x="130" y="176"/>
                  </a:lnTo>
                  <a:lnTo>
                    <a:pt x="124" y="176"/>
                  </a:lnTo>
                  <a:lnTo>
                    <a:pt x="118" y="176"/>
                  </a:lnTo>
                  <a:lnTo>
                    <a:pt x="112" y="176"/>
                  </a:lnTo>
                  <a:lnTo>
                    <a:pt x="106" y="176"/>
                  </a:lnTo>
                  <a:lnTo>
                    <a:pt x="100" y="178"/>
                  </a:lnTo>
                  <a:lnTo>
                    <a:pt x="94" y="178"/>
                  </a:lnTo>
                  <a:lnTo>
                    <a:pt x="88" y="178"/>
                  </a:lnTo>
                  <a:lnTo>
                    <a:pt x="82" y="178"/>
                  </a:lnTo>
                  <a:lnTo>
                    <a:pt x="76" y="180"/>
                  </a:lnTo>
                  <a:lnTo>
                    <a:pt x="72" y="180"/>
                  </a:lnTo>
                  <a:lnTo>
                    <a:pt x="66" y="180"/>
                  </a:lnTo>
                  <a:lnTo>
                    <a:pt x="58" y="182"/>
                  </a:lnTo>
                  <a:lnTo>
                    <a:pt x="54" y="182"/>
                  </a:lnTo>
                  <a:lnTo>
                    <a:pt x="48" y="184"/>
                  </a:lnTo>
                  <a:lnTo>
                    <a:pt x="42" y="184"/>
                  </a:lnTo>
                  <a:lnTo>
                    <a:pt x="36" y="184"/>
                  </a:lnTo>
                  <a:lnTo>
                    <a:pt x="30" y="184"/>
                  </a:lnTo>
                  <a:lnTo>
                    <a:pt x="24" y="186"/>
                  </a:lnTo>
                  <a:lnTo>
                    <a:pt x="16" y="188"/>
                  </a:lnTo>
                  <a:lnTo>
                    <a:pt x="12" y="190"/>
                  </a:lnTo>
                  <a:lnTo>
                    <a:pt x="8" y="19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69" name="Freeform 287"/>
            <p:cNvSpPr>
              <a:spLocks/>
            </p:cNvSpPr>
            <p:nvPr/>
          </p:nvSpPr>
          <p:spPr bwMode="auto">
            <a:xfrm>
              <a:off x="2349500" y="2154238"/>
              <a:ext cx="220663" cy="53975"/>
            </a:xfrm>
            <a:custGeom>
              <a:avLst/>
              <a:gdLst>
                <a:gd name="T0" fmla="*/ 2147483647 w 540"/>
                <a:gd name="T1" fmla="*/ 2147483647 h 128"/>
                <a:gd name="T2" fmla="*/ 2147483647 w 540"/>
                <a:gd name="T3" fmla="*/ 2147483647 h 128"/>
                <a:gd name="T4" fmla="*/ 2147483647 w 540"/>
                <a:gd name="T5" fmla="*/ 2147483647 h 128"/>
                <a:gd name="T6" fmla="*/ 2147483647 w 540"/>
                <a:gd name="T7" fmla="*/ 2147483647 h 128"/>
                <a:gd name="T8" fmla="*/ 2147483647 w 540"/>
                <a:gd name="T9" fmla="*/ 2147483647 h 128"/>
                <a:gd name="T10" fmla="*/ 2147483647 w 540"/>
                <a:gd name="T11" fmla="*/ 2147483647 h 128"/>
                <a:gd name="T12" fmla="*/ 2147483647 w 540"/>
                <a:gd name="T13" fmla="*/ 2147483647 h 128"/>
                <a:gd name="T14" fmla="*/ 2147483647 w 540"/>
                <a:gd name="T15" fmla="*/ 2147483647 h 128"/>
                <a:gd name="T16" fmla="*/ 2147483647 w 540"/>
                <a:gd name="T17" fmla="*/ 2147483647 h 128"/>
                <a:gd name="T18" fmla="*/ 2147483647 w 540"/>
                <a:gd name="T19" fmla="*/ 2147483647 h 128"/>
                <a:gd name="T20" fmla="*/ 2147483647 w 540"/>
                <a:gd name="T21" fmla="*/ 2147483647 h 128"/>
                <a:gd name="T22" fmla="*/ 2147483647 w 540"/>
                <a:gd name="T23" fmla="*/ 2147483647 h 128"/>
                <a:gd name="T24" fmla="*/ 2147483647 w 540"/>
                <a:gd name="T25" fmla="*/ 2147483647 h 128"/>
                <a:gd name="T26" fmla="*/ 2147483647 w 540"/>
                <a:gd name="T27" fmla="*/ 2147483647 h 128"/>
                <a:gd name="T28" fmla="*/ 2147483647 w 540"/>
                <a:gd name="T29" fmla="*/ 2147483647 h 128"/>
                <a:gd name="T30" fmla="*/ 2147483647 w 540"/>
                <a:gd name="T31" fmla="*/ 2147483647 h 128"/>
                <a:gd name="T32" fmla="*/ 2147483647 w 540"/>
                <a:gd name="T33" fmla="*/ 2147483647 h 128"/>
                <a:gd name="T34" fmla="*/ 2147483647 w 540"/>
                <a:gd name="T35" fmla="*/ 2147483647 h 128"/>
                <a:gd name="T36" fmla="*/ 2147483647 w 540"/>
                <a:gd name="T37" fmla="*/ 2147483647 h 128"/>
                <a:gd name="T38" fmla="*/ 2147483647 w 540"/>
                <a:gd name="T39" fmla="*/ 2147483647 h 128"/>
                <a:gd name="T40" fmla="*/ 2147483647 w 540"/>
                <a:gd name="T41" fmla="*/ 2147483647 h 128"/>
                <a:gd name="T42" fmla="*/ 2147483647 w 540"/>
                <a:gd name="T43" fmla="*/ 2147483647 h 128"/>
                <a:gd name="T44" fmla="*/ 2147483647 w 540"/>
                <a:gd name="T45" fmla="*/ 2147483647 h 128"/>
                <a:gd name="T46" fmla="*/ 2147483647 w 540"/>
                <a:gd name="T47" fmla="*/ 2147483647 h 128"/>
                <a:gd name="T48" fmla="*/ 2147483647 w 540"/>
                <a:gd name="T49" fmla="*/ 2147483647 h 128"/>
                <a:gd name="T50" fmla="*/ 2147483647 w 540"/>
                <a:gd name="T51" fmla="*/ 2147483647 h 128"/>
                <a:gd name="T52" fmla="*/ 2147483647 w 540"/>
                <a:gd name="T53" fmla="*/ 2147483647 h 128"/>
                <a:gd name="T54" fmla="*/ 2147483647 w 540"/>
                <a:gd name="T55" fmla="*/ 2147483647 h 128"/>
                <a:gd name="T56" fmla="*/ 2147483647 w 540"/>
                <a:gd name="T57" fmla="*/ 2147483647 h 128"/>
                <a:gd name="T58" fmla="*/ 2147483647 w 540"/>
                <a:gd name="T59" fmla="*/ 2147483647 h 128"/>
                <a:gd name="T60" fmla="*/ 2147483647 w 540"/>
                <a:gd name="T61" fmla="*/ 0 h 128"/>
                <a:gd name="T62" fmla="*/ 2147483647 w 540"/>
                <a:gd name="T63" fmla="*/ 2147483647 h 128"/>
                <a:gd name="T64" fmla="*/ 2147483647 w 540"/>
                <a:gd name="T65" fmla="*/ 2147483647 h 128"/>
                <a:gd name="T66" fmla="*/ 2147483647 w 540"/>
                <a:gd name="T67" fmla="*/ 2147483647 h 128"/>
                <a:gd name="T68" fmla="*/ 2147483647 w 540"/>
                <a:gd name="T69" fmla="*/ 2147483647 h 128"/>
                <a:gd name="T70" fmla="*/ 2147483647 w 540"/>
                <a:gd name="T71" fmla="*/ 2147483647 h 128"/>
                <a:gd name="T72" fmla="*/ 2147483647 w 540"/>
                <a:gd name="T73" fmla="*/ 2147483647 h 128"/>
                <a:gd name="T74" fmla="*/ 2147483647 w 540"/>
                <a:gd name="T75" fmla="*/ 2147483647 h 128"/>
                <a:gd name="T76" fmla="*/ 2147483647 w 540"/>
                <a:gd name="T77" fmla="*/ 2147483647 h 128"/>
                <a:gd name="T78" fmla="*/ 2147483647 w 540"/>
                <a:gd name="T79" fmla="*/ 2147483647 h 128"/>
                <a:gd name="T80" fmla="*/ 2147483647 w 540"/>
                <a:gd name="T81" fmla="*/ 2147483647 h 128"/>
                <a:gd name="T82" fmla="*/ 2147483647 w 540"/>
                <a:gd name="T83" fmla="*/ 2147483647 h 128"/>
                <a:gd name="T84" fmla="*/ 2147483647 w 540"/>
                <a:gd name="T85" fmla="*/ 2147483647 h 128"/>
                <a:gd name="T86" fmla="*/ 2147483647 w 540"/>
                <a:gd name="T87" fmla="*/ 2147483647 h 128"/>
                <a:gd name="T88" fmla="*/ 2147483647 w 540"/>
                <a:gd name="T89" fmla="*/ 2147483647 h 128"/>
                <a:gd name="T90" fmla="*/ 2147483647 w 540"/>
                <a:gd name="T91" fmla="*/ 2147483647 h 128"/>
                <a:gd name="T92" fmla="*/ 2147483647 w 540"/>
                <a:gd name="T93" fmla="*/ 2147483647 h 128"/>
                <a:gd name="T94" fmla="*/ 2147483647 w 540"/>
                <a:gd name="T95" fmla="*/ 2147483647 h 128"/>
                <a:gd name="T96" fmla="*/ 2147483647 w 540"/>
                <a:gd name="T97" fmla="*/ 2147483647 h 128"/>
                <a:gd name="T98" fmla="*/ 2147483647 w 540"/>
                <a:gd name="T99" fmla="*/ 2147483647 h 128"/>
                <a:gd name="T100" fmla="*/ 2147483647 w 540"/>
                <a:gd name="T101" fmla="*/ 2147483647 h 128"/>
                <a:gd name="T102" fmla="*/ 2147483647 w 540"/>
                <a:gd name="T103" fmla="*/ 2147483647 h 128"/>
                <a:gd name="T104" fmla="*/ 2147483647 w 540"/>
                <a:gd name="T105" fmla="*/ 2147483647 h 128"/>
                <a:gd name="T106" fmla="*/ 2147483647 w 540"/>
                <a:gd name="T107" fmla="*/ 2147483647 h 128"/>
                <a:gd name="T108" fmla="*/ 2147483647 w 540"/>
                <a:gd name="T109" fmla="*/ 2147483647 h 128"/>
                <a:gd name="T110" fmla="*/ 2147483647 w 540"/>
                <a:gd name="T111" fmla="*/ 2147483647 h 128"/>
                <a:gd name="T112" fmla="*/ 2147483647 w 540"/>
                <a:gd name="T113" fmla="*/ 2147483647 h 128"/>
                <a:gd name="T114" fmla="*/ 2147483647 w 540"/>
                <a:gd name="T115" fmla="*/ 2147483647 h 1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40"/>
                <a:gd name="T175" fmla="*/ 0 h 128"/>
                <a:gd name="T176" fmla="*/ 540 w 540"/>
                <a:gd name="T177" fmla="*/ 128 h 1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40" h="128">
                  <a:moveTo>
                    <a:pt x="48" y="90"/>
                  </a:moveTo>
                  <a:lnTo>
                    <a:pt x="54" y="90"/>
                  </a:lnTo>
                  <a:lnTo>
                    <a:pt x="48" y="92"/>
                  </a:lnTo>
                  <a:lnTo>
                    <a:pt x="42" y="92"/>
                  </a:lnTo>
                  <a:lnTo>
                    <a:pt x="48" y="94"/>
                  </a:lnTo>
                  <a:lnTo>
                    <a:pt x="56" y="98"/>
                  </a:lnTo>
                  <a:lnTo>
                    <a:pt x="62" y="96"/>
                  </a:lnTo>
                  <a:lnTo>
                    <a:pt x="68" y="94"/>
                  </a:lnTo>
                  <a:lnTo>
                    <a:pt x="72" y="88"/>
                  </a:lnTo>
                  <a:lnTo>
                    <a:pt x="76" y="90"/>
                  </a:lnTo>
                  <a:lnTo>
                    <a:pt x="84" y="90"/>
                  </a:lnTo>
                  <a:lnTo>
                    <a:pt x="90" y="88"/>
                  </a:lnTo>
                  <a:lnTo>
                    <a:pt x="84" y="92"/>
                  </a:lnTo>
                  <a:lnTo>
                    <a:pt x="90" y="98"/>
                  </a:lnTo>
                  <a:lnTo>
                    <a:pt x="96" y="96"/>
                  </a:lnTo>
                  <a:lnTo>
                    <a:pt x="104" y="94"/>
                  </a:lnTo>
                  <a:lnTo>
                    <a:pt x="110" y="94"/>
                  </a:lnTo>
                  <a:lnTo>
                    <a:pt x="116" y="92"/>
                  </a:lnTo>
                  <a:lnTo>
                    <a:pt x="122" y="90"/>
                  </a:lnTo>
                  <a:lnTo>
                    <a:pt x="128" y="88"/>
                  </a:lnTo>
                  <a:lnTo>
                    <a:pt x="132" y="82"/>
                  </a:lnTo>
                  <a:lnTo>
                    <a:pt x="124" y="82"/>
                  </a:lnTo>
                  <a:lnTo>
                    <a:pt x="132" y="78"/>
                  </a:lnTo>
                  <a:lnTo>
                    <a:pt x="136" y="84"/>
                  </a:lnTo>
                  <a:lnTo>
                    <a:pt x="144" y="82"/>
                  </a:lnTo>
                  <a:lnTo>
                    <a:pt x="148" y="80"/>
                  </a:lnTo>
                  <a:lnTo>
                    <a:pt x="156" y="76"/>
                  </a:lnTo>
                  <a:lnTo>
                    <a:pt x="162" y="70"/>
                  </a:lnTo>
                  <a:lnTo>
                    <a:pt x="166" y="76"/>
                  </a:lnTo>
                  <a:lnTo>
                    <a:pt x="174" y="74"/>
                  </a:lnTo>
                  <a:lnTo>
                    <a:pt x="180" y="74"/>
                  </a:lnTo>
                  <a:lnTo>
                    <a:pt x="186" y="74"/>
                  </a:lnTo>
                  <a:lnTo>
                    <a:pt x="180" y="74"/>
                  </a:lnTo>
                  <a:lnTo>
                    <a:pt x="174" y="76"/>
                  </a:lnTo>
                  <a:lnTo>
                    <a:pt x="168" y="76"/>
                  </a:lnTo>
                  <a:lnTo>
                    <a:pt x="162" y="78"/>
                  </a:lnTo>
                  <a:lnTo>
                    <a:pt x="156" y="82"/>
                  </a:lnTo>
                  <a:lnTo>
                    <a:pt x="150" y="84"/>
                  </a:lnTo>
                  <a:lnTo>
                    <a:pt x="156" y="86"/>
                  </a:lnTo>
                  <a:lnTo>
                    <a:pt x="148" y="88"/>
                  </a:lnTo>
                  <a:lnTo>
                    <a:pt x="142" y="88"/>
                  </a:lnTo>
                  <a:lnTo>
                    <a:pt x="148" y="92"/>
                  </a:lnTo>
                  <a:lnTo>
                    <a:pt x="154" y="92"/>
                  </a:lnTo>
                  <a:lnTo>
                    <a:pt x="160" y="92"/>
                  </a:lnTo>
                  <a:lnTo>
                    <a:pt x="168" y="92"/>
                  </a:lnTo>
                  <a:lnTo>
                    <a:pt x="174" y="90"/>
                  </a:lnTo>
                  <a:lnTo>
                    <a:pt x="180" y="90"/>
                  </a:lnTo>
                  <a:lnTo>
                    <a:pt x="186" y="90"/>
                  </a:lnTo>
                  <a:lnTo>
                    <a:pt x="192" y="88"/>
                  </a:lnTo>
                  <a:lnTo>
                    <a:pt x="198" y="84"/>
                  </a:lnTo>
                  <a:lnTo>
                    <a:pt x="204" y="82"/>
                  </a:lnTo>
                  <a:lnTo>
                    <a:pt x="212" y="84"/>
                  </a:lnTo>
                  <a:lnTo>
                    <a:pt x="204" y="88"/>
                  </a:lnTo>
                  <a:lnTo>
                    <a:pt x="212" y="90"/>
                  </a:lnTo>
                  <a:lnTo>
                    <a:pt x="218" y="88"/>
                  </a:lnTo>
                  <a:lnTo>
                    <a:pt x="224" y="88"/>
                  </a:lnTo>
                  <a:lnTo>
                    <a:pt x="230" y="88"/>
                  </a:lnTo>
                  <a:lnTo>
                    <a:pt x="236" y="86"/>
                  </a:lnTo>
                  <a:lnTo>
                    <a:pt x="242" y="86"/>
                  </a:lnTo>
                  <a:lnTo>
                    <a:pt x="248" y="86"/>
                  </a:lnTo>
                  <a:lnTo>
                    <a:pt x="254" y="84"/>
                  </a:lnTo>
                  <a:lnTo>
                    <a:pt x="260" y="84"/>
                  </a:lnTo>
                  <a:lnTo>
                    <a:pt x="266" y="82"/>
                  </a:lnTo>
                  <a:lnTo>
                    <a:pt x="272" y="82"/>
                  </a:lnTo>
                  <a:lnTo>
                    <a:pt x="266" y="84"/>
                  </a:lnTo>
                  <a:lnTo>
                    <a:pt x="260" y="88"/>
                  </a:lnTo>
                  <a:lnTo>
                    <a:pt x="254" y="90"/>
                  </a:lnTo>
                  <a:lnTo>
                    <a:pt x="248" y="90"/>
                  </a:lnTo>
                  <a:lnTo>
                    <a:pt x="242" y="92"/>
                  </a:lnTo>
                  <a:lnTo>
                    <a:pt x="236" y="92"/>
                  </a:lnTo>
                  <a:lnTo>
                    <a:pt x="230" y="96"/>
                  </a:lnTo>
                  <a:lnTo>
                    <a:pt x="224" y="96"/>
                  </a:lnTo>
                  <a:lnTo>
                    <a:pt x="218" y="96"/>
                  </a:lnTo>
                  <a:lnTo>
                    <a:pt x="212" y="96"/>
                  </a:lnTo>
                  <a:lnTo>
                    <a:pt x="206" y="96"/>
                  </a:lnTo>
                  <a:lnTo>
                    <a:pt x="200" y="96"/>
                  </a:lnTo>
                  <a:lnTo>
                    <a:pt x="194" y="96"/>
                  </a:lnTo>
                  <a:lnTo>
                    <a:pt x="186" y="96"/>
                  </a:lnTo>
                  <a:lnTo>
                    <a:pt x="180" y="96"/>
                  </a:lnTo>
                  <a:lnTo>
                    <a:pt x="174" y="98"/>
                  </a:lnTo>
                  <a:lnTo>
                    <a:pt x="168" y="98"/>
                  </a:lnTo>
                  <a:lnTo>
                    <a:pt x="162" y="100"/>
                  </a:lnTo>
                  <a:lnTo>
                    <a:pt x="156" y="102"/>
                  </a:lnTo>
                  <a:lnTo>
                    <a:pt x="150" y="102"/>
                  </a:lnTo>
                  <a:lnTo>
                    <a:pt x="144" y="104"/>
                  </a:lnTo>
                  <a:lnTo>
                    <a:pt x="138" y="104"/>
                  </a:lnTo>
                  <a:lnTo>
                    <a:pt x="132" y="104"/>
                  </a:lnTo>
                  <a:lnTo>
                    <a:pt x="124" y="106"/>
                  </a:lnTo>
                  <a:lnTo>
                    <a:pt x="118" y="106"/>
                  </a:lnTo>
                  <a:lnTo>
                    <a:pt x="112" y="108"/>
                  </a:lnTo>
                  <a:lnTo>
                    <a:pt x="106" y="108"/>
                  </a:lnTo>
                  <a:lnTo>
                    <a:pt x="100" y="110"/>
                  </a:lnTo>
                  <a:lnTo>
                    <a:pt x="94" y="112"/>
                  </a:lnTo>
                  <a:lnTo>
                    <a:pt x="88" y="114"/>
                  </a:lnTo>
                  <a:lnTo>
                    <a:pt x="92" y="118"/>
                  </a:lnTo>
                  <a:lnTo>
                    <a:pt x="98" y="122"/>
                  </a:lnTo>
                  <a:lnTo>
                    <a:pt x="104" y="126"/>
                  </a:lnTo>
                  <a:lnTo>
                    <a:pt x="110" y="128"/>
                  </a:lnTo>
                  <a:lnTo>
                    <a:pt x="116" y="128"/>
                  </a:lnTo>
                  <a:lnTo>
                    <a:pt x="122" y="128"/>
                  </a:lnTo>
                  <a:lnTo>
                    <a:pt x="128" y="128"/>
                  </a:lnTo>
                  <a:lnTo>
                    <a:pt x="134" y="128"/>
                  </a:lnTo>
                  <a:lnTo>
                    <a:pt x="140" y="128"/>
                  </a:lnTo>
                  <a:lnTo>
                    <a:pt x="148" y="128"/>
                  </a:lnTo>
                  <a:lnTo>
                    <a:pt x="154" y="128"/>
                  </a:lnTo>
                  <a:lnTo>
                    <a:pt x="160" y="128"/>
                  </a:lnTo>
                  <a:lnTo>
                    <a:pt x="166" y="126"/>
                  </a:lnTo>
                  <a:lnTo>
                    <a:pt x="172" y="126"/>
                  </a:lnTo>
                  <a:lnTo>
                    <a:pt x="178" y="124"/>
                  </a:lnTo>
                  <a:lnTo>
                    <a:pt x="184" y="124"/>
                  </a:lnTo>
                  <a:lnTo>
                    <a:pt x="190" y="122"/>
                  </a:lnTo>
                  <a:lnTo>
                    <a:pt x="198" y="122"/>
                  </a:lnTo>
                  <a:lnTo>
                    <a:pt x="204" y="120"/>
                  </a:lnTo>
                  <a:lnTo>
                    <a:pt x="210" y="120"/>
                  </a:lnTo>
                  <a:lnTo>
                    <a:pt x="216" y="118"/>
                  </a:lnTo>
                  <a:lnTo>
                    <a:pt x="222" y="118"/>
                  </a:lnTo>
                  <a:lnTo>
                    <a:pt x="228" y="116"/>
                  </a:lnTo>
                  <a:lnTo>
                    <a:pt x="234" y="114"/>
                  </a:lnTo>
                  <a:lnTo>
                    <a:pt x="240" y="114"/>
                  </a:lnTo>
                  <a:lnTo>
                    <a:pt x="246" y="112"/>
                  </a:lnTo>
                  <a:lnTo>
                    <a:pt x="252" y="108"/>
                  </a:lnTo>
                  <a:lnTo>
                    <a:pt x="258" y="108"/>
                  </a:lnTo>
                  <a:lnTo>
                    <a:pt x="264" y="106"/>
                  </a:lnTo>
                  <a:lnTo>
                    <a:pt x="270" y="104"/>
                  </a:lnTo>
                  <a:lnTo>
                    <a:pt x="276" y="104"/>
                  </a:lnTo>
                  <a:lnTo>
                    <a:pt x="284" y="104"/>
                  </a:lnTo>
                  <a:lnTo>
                    <a:pt x="290" y="102"/>
                  </a:lnTo>
                  <a:lnTo>
                    <a:pt x="296" y="104"/>
                  </a:lnTo>
                  <a:lnTo>
                    <a:pt x="302" y="104"/>
                  </a:lnTo>
                  <a:lnTo>
                    <a:pt x="308" y="102"/>
                  </a:lnTo>
                  <a:lnTo>
                    <a:pt x="314" y="100"/>
                  </a:lnTo>
                  <a:lnTo>
                    <a:pt x="322" y="98"/>
                  </a:lnTo>
                  <a:lnTo>
                    <a:pt x="326" y="98"/>
                  </a:lnTo>
                  <a:lnTo>
                    <a:pt x="332" y="96"/>
                  </a:lnTo>
                  <a:lnTo>
                    <a:pt x="338" y="96"/>
                  </a:lnTo>
                  <a:lnTo>
                    <a:pt x="346" y="92"/>
                  </a:lnTo>
                  <a:lnTo>
                    <a:pt x="352" y="92"/>
                  </a:lnTo>
                  <a:lnTo>
                    <a:pt x="346" y="96"/>
                  </a:lnTo>
                  <a:lnTo>
                    <a:pt x="352" y="98"/>
                  </a:lnTo>
                  <a:lnTo>
                    <a:pt x="358" y="100"/>
                  </a:lnTo>
                  <a:lnTo>
                    <a:pt x="364" y="100"/>
                  </a:lnTo>
                  <a:lnTo>
                    <a:pt x="370" y="100"/>
                  </a:lnTo>
                  <a:lnTo>
                    <a:pt x="376" y="98"/>
                  </a:lnTo>
                  <a:lnTo>
                    <a:pt x="382" y="96"/>
                  </a:lnTo>
                  <a:lnTo>
                    <a:pt x="390" y="94"/>
                  </a:lnTo>
                  <a:lnTo>
                    <a:pt x="394" y="90"/>
                  </a:lnTo>
                  <a:lnTo>
                    <a:pt x="388" y="96"/>
                  </a:lnTo>
                  <a:lnTo>
                    <a:pt x="394" y="100"/>
                  </a:lnTo>
                  <a:lnTo>
                    <a:pt x="400" y="100"/>
                  </a:lnTo>
                  <a:lnTo>
                    <a:pt x="406" y="100"/>
                  </a:lnTo>
                  <a:lnTo>
                    <a:pt x="412" y="100"/>
                  </a:lnTo>
                  <a:lnTo>
                    <a:pt x="418" y="98"/>
                  </a:lnTo>
                  <a:lnTo>
                    <a:pt x="424" y="98"/>
                  </a:lnTo>
                  <a:lnTo>
                    <a:pt x="432" y="96"/>
                  </a:lnTo>
                  <a:lnTo>
                    <a:pt x="438" y="96"/>
                  </a:lnTo>
                  <a:lnTo>
                    <a:pt x="444" y="94"/>
                  </a:lnTo>
                  <a:lnTo>
                    <a:pt x="450" y="94"/>
                  </a:lnTo>
                  <a:lnTo>
                    <a:pt x="456" y="94"/>
                  </a:lnTo>
                  <a:lnTo>
                    <a:pt x="462" y="94"/>
                  </a:lnTo>
                  <a:lnTo>
                    <a:pt x="468" y="88"/>
                  </a:lnTo>
                  <a:lnTo>
                    <a:pt x="474" y="88"/>
                  </a:lnTo>
                  <a:lnTo>
                    <a:pt x="480" y="82"/>
                  </a:lnTo>
                  <a:lnTo>
                    <a:pt x="488" y="80"/>
                  </a:lnTo>
                  <a:lnTo>
                    <a:pt x="494" y="78"/>
                  </a:lnTo>
                  <a:lnTo>
                    <a:pt x="500" y="76"/>
                  </a:lnTo>
                  <a:lnTo>
                    <a:pt x="506" y="72"/>
                  </a:lnTo>
                  <a:lnTo>
                    <a:pt x="512" y="68"/>
                  </a:lnTo>
                  <a:lnTo>
                    <a:pt x="518" y="66"/>
                  </a:lnTo>
                  <a:lnTo>
                    <a:pt x="524" y="64"/>
                  </a:lnTo>
                  <a:lnTo>
                    <a:pt x="530" y="62"/>
                  </a:lnTo>
                  <a:lnTo>
                    <a:pt x="534" y="56"/>
                  </a:lnTo>
                  <a:lnTo>
                    <a:pt x="540" y="50"/>
                  </a:lnTo>
                  <a:lnTo>
                    <a:pt x="538" y="44"/>
                  </a:lnTo>
                  <a:lnTo>
                    <a:pt x="532" y="42"/>
                  </a:lnTo>
                  <a:lnTo>
                    <a:pt x="526" y="40"/>
                  </a:lnTo>
                  <a:lnTo>
                    <a:pt x="520" y="40"/>
                  </a:lnTo>
                  <a:lnTo>
                    <a:pt x="514" y="40"/>
                  </a:lnTo>
                  <a:lnTo>
                    <a:pt x="508" y="40"/>
                  </a:lnTo>
                  <a:lnTo>
                    <a:pt x="500" y="42"/>
                  </a:lnTo>
                  <a:lnTo>
                    <a:pt x="494" y="44"/>
                  </a:lnTo>
                  <a:lnTo>
                    <a:pt x="488" y="46"/>
                  </a:lnTo>
                  <a:lnTo>
                    <a:pt x="482" y="50"/>
                  </a:lnTo>
                  <a:lnTo>
                    <a:pt x="488" y="52"/>
                  </a:lnTo>
                  <a:lnTo>
                    <a:pt x="482" y="54"/>
                  </a:lnTo>
                  <a:lnTo>
                    <a:pt x="476" y="56"/>
                  </a:lnTo>
                  <a:lnTo>
                    <a:pt x="470" y="60"/>
                  </a:lnTo>
                  <a:lnTo>
                    <a:pt x="474" y="54"/>
                  </a:lnTo>
                  <a:lnTo>
                    <a:pt x="478" y="48"/>
                  </a:lnTo>
                  <a:lnTo>
                    <a:pt x="472" y="48"/>
                  </a:lnTo>
                  <a:lnTo>
                    <a:pt x="466" y="48"/>
                  </a:lnTo>
                  <a:lnTo>
                    <a:pt x="460" y="48"/>
                  </a:lnTo>
                  <a:lnTo>
                    <a:pt x="454" y="48"/>
                  </a:lnTo>
                  <a:lnTo>
                    <a:pt x="450" y="50"/>
                  </a:lnTo>
                  <a:lnTo>
                    <a:pt x="442" y="52"/>
                  </a:lnTo>
                  <a:lnTo>
                    <a:pt x="436" y="54"/>
                  </a:lnTo>
                  <a:lnTo>
                    <a:pt x="442" y="50"/>
                  </a:lnTo>
                  <a:lnTo>
                    <a:pt x="448" y="48"/>
                  </a:lnTo>
                  <a:lnTo>
                    <a:pt x="454" y="46"/>
                  </a:lnTo>
                  <a:lnTo>
                    <a:pt x="460" y="44"/>
                  </a:lnTo>
                  <a:lnTo>
                    <a:pt x="454" y="40"/>
                  </a:lnTo>
                  <a:lnTo>
                    <a:pt x="448" y="40"/>
                  </a:lnTo>
                  <a:lnTo>
                    <a:pt x="440" y="40"/>
                  </a:lnTo>
                  <a:lnTo>
                    <a:pt x="434" y="40"/>
                  </a:lnTo>
                  <a:lnTo>
                    <a:pt x="440" y="36"/>
                  </a:lnTo>
                  <a:lnTo>
                    <a:pt x="446" y="34"/>
                  </a:lnTo>
                  <a:lnTo>
                    <a:pt x="452" y="32"/>
                  </a:lnTo>
                  <a:lnTo>
                    <a:pt x="458" y="32"/>
                  </a:lnTo>
                  <a:lnTo>
                    <a:pt x="466" y="28"/>
                  </a:lnTo>
                  <a:lnTo>
                    <a:pt x="464" y="22"/>
                  </a:lnTo>
                  <a:lnTo>
                    <a:pt x="458" y="22"/>
                  </a:lnTo>
                  <a:lnTo>
                    <a:pt x="462" y="18"/>
                  </a:lnTo>
                  <a:lnTo>
                    <a:pt x="466" y="12"/>
                  </a:lnTo>
                  <a:lnTo>
                    <a:pt x="472" y="8"/>
                  </a:lnTo>
                  <a:lnTo>
                    <a:pt x="478" y="8"/>
                  </a:lnTo>
                  <a:lnTo>
                    <a:pt x="480" y="0"/>
                  </a:lnTo>
                  <a:lnTo>
                    <a:pt x="474" y="0"/>
                  </a:lnTo>
                  <a:lnTo>
                    <a:pt x="466" y="0"/>
                  </a:lnTo>
                  <a:lnTo>
                    <a:pt x="462" y="0"/>
                  </a:lnTo>
                  <a:lnTo>
                    <a:pt x="454" y="0"/>
                  </a:lnTo>
                  <a:lnTo>
                    <a:pt x="448" y="4"/>
                  </a:lnTo>
                  <a:lnTo>
                    <a:pt x="442" y="4"/>
                  </a:lnTo>
                  <a:lnTo>
                    <a:pt x="436" y="6"/>
                  </a:lnTo>
                  <a:lnTo>
                    <a:pt x="430" y="10"/>
                  </a:lnTo>
                  <a:lnTo>
                    <a:pt x="424" y="12"/>
                  </a:lnTo>
                  <a:lnTo>
                    <a:pt x="418" y="14"/>
                  </a:lnTo>
                  <a:lnTo>
                    <a:pt x="410" y="18"/>
                  </a:lnTo>
                  <a:lnTo>
                    <a:pt x="406" y="18"/>
                  </a:lnTo>
                  <a:lnTo>
                    <a:pt x="402" y="18"/>
                  </a:lnTo>
                  <a:lnTo>
                    <a:pt x="396" y="18"/>
                  </a:lnTo>
                  <a:lnTo>
                    <a:pt x="390" y="20"/>
                  </a:lnTo>
                  <a:lnTo>
                    <a:pt x="384" y="20"/>
                  </a:lnTo>
                  <a:lnTo>
                    <a:pt x="378" y="24"/>
                  </a:lnTo>
                  <a:lnTo>
                    <a:pt x="382" y="30"/>
                  </a:lnTo>
                  <a:lnTo>
                    <a:pt x="384" y="30"/>
                  </a:lnTo>
                  <a:lnTo>
                    <a:pt x="390" y="30"/>
                  </a:lnTo>
                  <a:lnTo>
                    <a:pt x="396" y="32"/>
                  </a:lnTo>
                  <a:lnTo>
                    <a:pt x="402" y="36"/>
                  </a:lnTo>
                  <a:lnTo>
                    <a:pt x="396" y="38"/>
                  </a:lnTo>
                  <a:lnTo>
                    <a:pt x="390" y="42"/>
                  </a:lnTo>
                  <a:lnTo>
                    <a:pt x="384" y="44"/>
                  </a:lnTo>
                  <a:lnTo>
                    <a:pt x="378" y="46"/>
                  </a:lnTo>
                  <a:lnTo>
                    <a:pt x="372" y="46"/>
                  </a:lnTo>
                  <a:lnTo>
                    <a:pt x="366" y="46"/>
                  </a:lnTo>
                  <a:lnTo>
                    <a:pt x="360" y="48"/>
                  </a:lnTo>
                  <a:lnTo>
                    <a:pt x="358" y="50"/>
                  </a:lnTo>
                  <a:lnTo>
                    <a:pt x="364" y="50"/>
                  </a:lnTo>
                  <a:lnTo>
                    <a:pt x="370" y="50"/>
                  </a:lnTo>
                  <a:lnTo>
                    <a:pt x="376" y="54"/>
                  </a:lnTo>
                  <a:lnTo>
                    <a:pt x="382" y="56"/>
                  </a:lnTo>
                  <a:lnTo>
                    <a:pt x="388" y="60"/>
                  </a:lnTo>
                  <a:lnTo>
                    <a:pt x="382" y="64"/>
                  </a:lnTo>
                  <a:lnTo>
                    <a:pt x="378" y="66"/>
                  </a:lnTo>
                  <a:lnTo>
                    <a:pt x="370" y="70"/>
                  </a:lnTo>
                  <a:lnTo>
                    <a:pt x="364" y="68"/>
                  </a:lnTo>
                  <a:lnTo>
                    <a:pt x="358" y="68"/>
                  </a:lnTo>
                  <a:lnTo>
                    <a:pt x="352" y="68"/>
                  </a:lnTo>
                  <a:lnTo>
                    <a:pt x="346" y="68"/>
                  </a:lnTo>
                  <a:lnTo>
                    <a:pt x="340" y="68"/>
                  </a:lnTo>
                  <a:lnTo>
                    <a:pt x="334" y="68"/>
                  </a:lnTo>
                  <a:lnTo>
                    <a:pt x="326" y="68"/>
                  </a:lnTo>
                  <a:lnTo>
                    <a:pt x="320" y="68"/>
                  </a:lnTo>
                  <a:lnTo>
                    <a:pt x="314" y="66"/>
                  </a:lnTo>
                  <a:lnTo>
                    <a:pt x="308" y="66"/>
                  </a:lnTo>
                  <a:lnTo>
                    <a:pt x="302" y="66"/>
                  </a:lnTo>
                  <a:lnTo>
                    <a:pt x="296" y="66"/>
                  </a:lnTo>
                  <a:lnTo>
                    <a:pt x="288" y="68"/>
                  </a:lnTo>
                  <a:lnTo>
                    <a:pt x="284" y="68"/>
                  </a:lnTo>
                  <a:lnTo>
                    <a:pt x="284" y="62"/>
                  </a:lnTo>
                  <a:lnTo>
                    <a:pt x="290" y="58"/>
                  </a:lnTo>
                  <a:lnTo>
                    <a:pt x="288" y="52"/>
                  </a:lnTo>
                  <a:lnTo>
                    <a:pt x="296" y="52"/>
                  </a:lnTo>
                  <a:lnTo>
                    <a:pt x="288" y="52"/>
                  </a:lnTo>
                  <a:lnTo>
                    <a:pt x="282" y="52"/>
                  </a:lnTo>
                  <a:lnTo>
                    <a:pt x="276" y="52"/>
                  </a:lnTo>
                  <a:lnTo>
                    <a:pt x="270" y="52"/>
                  </a:lnTo>
                  <a:lnTo>
                    <a:pt x="264" y="52"/>
                  </a:lnTo>
                  <a:lnTo>
                    <a:pt x="270" y="50"/>
                  </a:lnTo>
                  <a:lnTo>
                    <a:pt x="276" y="48"/>
                  </a:lnTo>
                  <a:lnTo>
                    <a:pt x="282" y="48"/>
                  </a:lnTo>
                  <a:lnTo>
                    <a:pt x="290" y="48"/>
                  </a:lnTo>
                  <a:lnTo>
                    <a:pt x="284" y="42"/>
                  </a:lnTo>
                  <a:lnTo>
                    <a:pt x="278" y="42"/>
                  </a:lnTo>
                  <a:lnTo>
                    <a:pt x="276" y="36"/>
                  </a:lnTo>
                  <a:lnTo>
                    <a:pt x="270" y="32"/>
                  </a:lnTo>
                  <a:lnTo>
                    <a:pt x="264" y="30"/>
                  </a:lnTo>
                  <a:lnTo>
                    <a:pt x="258" y="30"/>
                  </a:lnTo>
                  <a:lnTo>
                    <a:pt x="250" y="30"/>
                  </a:lnTo>
                  <a:lnTo>
                    <a:pt x="244" y="30"/>
                  </a:lnTo>
                  <a:lnTo>
                    <a:pt x="238" y="30"/>
                  </a:lnTo>
                  <a:lnTo>
                    <a:pt x="232" y="32"/>
                  </a:lnTo>
                  <a:lnTo>
                    <a:pt x="226" y="32"/>
                  </a:lnTo>
                  <a:lnTo>
                    <a:pt x="220" y="32"/>
                  </a:lnTo>
                  <a:lnTo>
                    <a:pt x="224" y="26"/>
                  </a:lnTo>
                  <a:lnTo>
                    <a:pt x="230" y="22"/>
                  </a:lnTo>
                  <a:lnTo>
                    <a:pt x="224" y="18"/>
                  </a:lnTo>
                  <a:lnTo>
                    <a:pt x="220" y="18"/>
                  </a:lnTo>
                  <a:lnTo>
                    <a:pt x="212" y="18"/>
                  </a:lnTo>
                  <a:lnTo>
                    <a:pt x="206" y="16"/>
                  </a:lnTo>
                  <a:lnTo>
                    <a:pt x="200" y="18"/>
                  </a:lnTo>
                  <a:lnTo>
                    <a:pt x="194" y="18"/>
                  </a:lnTo>
                  <a:lnTo>
                    <a:pt x="188" y="18"/>
                  </a:lnTo>
                  <a:lnTo>
                    <a:pt x="182" y="18"/>
                  </a:lnTo>
                  <a:lnTo>
                    <a:pt x="174" y="20"/>
                  </a:lnTo>
                  <a:lnTo>
                    <a:pt x="170" y="22"/>
                  </a:lnTo>
                  <a:lnTo>
                    <a:pt x="162" y="22"/>
                  </a:lnTo>
                  <a:lnTo>
                    <a:pt x="156" y="24"/>
                  </a:lnTo>
                  <a:lnTo>
                    <a:pt x="150" y="28"/>
                  </a:lnTo>
                  <a:lnTo>
                    <a:pt x="156" y="30"/>
                  </a:lnTo>
                  <a:lnTo>
                    <a:pt x="162" y="30"/>
                  </a:lnTo>
                  <a:lnTo>
                    <a:pt x="168" y="30"/>
                  </a:lnTo>
                  <a:lnTo>
                    <a:pt x="174" y="32"/>
                  </a:lnTo>
                  <a:lnTo>
                    <a:pt x="182" y="34"/>
                  </a:lnTo>
                  <a:lnTo>
                    <a:pt x="188" y="34"/>
                  </a:lnTo>
                  <a:lnTo>
                    <a:pt x="182" y="34"/>
                  </a:lnTo>
                  <a:lnTo>
                    <a:pt x="176" y="34"/>
                  </a:lnTo>
                  <a:lnTo>
                    <a:pt x="170" y="34"/>
                  </a:lnTo>
                  <a:lnTo>
                    <a:pt x="164" y="34"/>
                  </a:lnTo>
                  <a:lnTo>
                    <a:pt x="156" y="32"/>
                  </a:lnTo>
                  <a:lnTo>
                    <a:pt x="150" y="32"/>
                  </a:lnTo>
                  <a:lnTo>
                    <a:pt x="144" y="32"/>
                  </a:lnTo>
                  <a:lnTo>
                    <a:pt x="138" y="32"/>
                  </a:lnTo>
                  <a:lnTo>
                    <a:pt x="132" y="32"/>
                  </a:lnTo>
                  <a:lnTo>
                    <a:pt x="126" y="32"/>
                  </a:lnTo>
                  <a:lnTo>
                    <a:pt x="120" y="34"/>
                  </a:lnTo>
                  <a:lnTo>
                    <a:pt x="114" y="34"/>
                  </a:lnTo>
                  <a:lnTo>
                    <a:pt x="106" y="36"/>
                  </a:lnTo>
                  <a:lnTo>
                    <a:pt x="100" y="38"/>
                  </a:lnTo>
                  <a:lnTo>
                    <a:pt x="94" y="44"/>
                  </a:lnTo>
                  <a:lnTo>
                    <a:pt x="88" y="46"/>
                  </a:lnTo>
                  <a:lnTo>
                    <a:pt x="94" y="50"/>
                  </a:lnTo>
                  <a:lnTo>
                    <a:pt x="100" y="50"/>
                  </a:lnTo>
                  <a:lnTo>
                    <a:pt x="106" y="50"/>
                  </a:lnTo>
                  <a:lnTo>
                    <a:pt x="112" y="50"/>
                  </a:lnTo>
                  <a:lnTo>
                    <a:pt x="118" y="48"/>
                  </a:lnTo>
                  <a:lnTo>
                    <a:pt x="126" y="48"/>
                  </a:lnTo>
                  <a:lnTo>
                    <a:pt x="132" y="48"/>
                  </a:lnTo>
                  <a:lnTo>
                    <a:pt x="138" y="48"/>
                  </a:lnTo>
                  <a:lnTo>
                    <a:pt x="144" y="48"/>
                  </a:lnTo>
                  <a:lnTo>
                    <a:pt x="150" y="48"/>
                  </a:lnTo>
                  <a:lnTo>
                    <a:pt x="156" y="48"/>
                  </a:lnTo>
                  <a:lnTo>
                    <a:pt x="162" y="48"/>
                  </a:lnTo>
                  <a:lnTo>
                    <a:pt x="156" y="50"/>
                  </a:lnTo>
                  <a:lnTo>
                    <a:pt x="150" y="50"/>
                  </a:lnTo>
                  <a:lnTo>
                    <a:pt x="144" y="50"/>
                  </a:lnTo>
                  <a:lnTo>
                    <a:pt x="136" y="50"/>
                  </a:lnTo>
                  <a:lnTo>
                    <a:pt x="130" y="50"/>
                  </a:lnTo>
                  <a:lnTo>
                    <a:pt x="124" y="50"/>
                  </a:lnTo>
                  <a:lnTo>
                    <a:pt x="118" y="52"/>
                  </a:lnTo>
                  <a:lnTo>
                    <a:pt x="112" y="52"/>
                  </a:lnTo>
                  <a:lnTo>
                    <a:pt x="106" y="52"/>
                  </a:lnTo>
                  <a:lnTo>
                    <a:pt x="100" y="52"/>
                  </a:lnTo>
                  <a:lnTo>
                    <a:pt x="92" y="52"/>
                  </a:lnTo>
                  <a:lnTo>
                    <a:pt x="86" y="52"/>
                  </a:lnTo>
                  <a:lnTo>
                    <a:pt x="80" y="52"/>
                  </a:lnTo>
                  <a:lnTo>
                    <a:pt x="74" y="54"/>
                  </a:lnTo>
                  <a:lnTo>
                    <a:pt x="68" y="54"/>
                  </a:lnTo>
                  <a:lnTo>
                    <a:pt x="62" y="56"/>
                  </a:lnTo>
                  <a:lnTo>
                    <a:pt x="56" y="58"/>
                  </a:lnTo>
                  <a:lnTo>
                    <a:pt x="50" y="60"/>
                  </a:lnTo>
                  <a:lnTo>
                    <a:pt x="42" y="64"/>
                  </a:lnTo>
                  <a:lnTo>
                    <a:pt x="48" y="66"/>
                  </a:lnTo>
                  <a:lnTo>
                    <a:pt x="56" y="66"/>
                  </a:lnTo>
                  <a:lnTo>
                    <a:pt x="62" y="66"/>
                  </a:lnTo>
                  <a:lnTo>
                    <a:pt x="68" y="66"/>
                  </a:lnTo>
                  <a:lnTo>
                    <a:pt x="74" y="66"/>
                  </a:lnTo>
                  <a:lnTo>
                    <a:pt x="80" y="66"/>
                  </a:lnTo>
                  <a:lnTo>
                    <a:pt x="86" y="66"/>
                  </a:lnTo>
                  <a:lnTo>
                    <a:pt x="92" y="64"/>
                  </a:lnTo>
                  <a:lnTo>
                    <a:pt x="98" y="64"/>
                  </a:lnTo>
                  <a:lnTo>
                    <a:pt x="104" y="62"/>
                  </a:lnTo>
                  <a:lnTo>
                    <a:pt x="112" y="62"/>
                  </a:lnTo>
                  <a:lnTo>
                    <a:pt x="118" y="60"/>
                  </a:lnTo>
                  <a:lnTo>
                    <a:pt x="122" y="60"/>
                  </a:lnTo>
                  <a:lnTo>
                    <a:pt x="132" y="60"/>
                  </a:lnTo>
                  <a:lnTo>
                    <a:pt x="138" y="58"/>
                  </a:lnTo>
                  <a:lnTo>
                    <a:pt x="132" y="60"/>
                  </a:lnTo>
                  <a:lnTo>
                    <a:pt x="124" y="62"/>
                  </a:lnTo>
                  <a:lnTo>
                    <a:pt x="118" y="64"/>
                  </a:lnTo>
                  <a:lnTo>
                    <a:pt x="112" y="64"/>
                  </a:lnTo>
                  <a:lnTo>
                    <a:pt x="106" y="64"/>
                  </a:lnTo>
                  <a:lnTo>
                    <a:pt x="98" y="66"/>
                  </a:lnTo>
                  <a:lnTo>
                    <a:pt x="92" y="68"/>
                  </a:lnTo>
                  <a:lnTo>
                    <a:pt x="86" y="70"/>
                  </a:lnTo>
                  <a:lnTo>
                    <a:pt x="80" y="70"/>
                  </a:lnTo>
                  <a:lnTo>
                    <a:pt x="74" y="70"/>
                  </a:lnTo>
                  <a:lnTo>
                    <a:pt x="68" y="70"/>
                  </a:lnTo>
                  <a:lnTo>
                    <a:pt x="62" y="70"/>
                  </a:lnTo>
                  <a:lnTo>
                    <a:pt x="56" y="70"/>
                  </a:lnTo>
                  <a:lnTo>
                    <a:pt x="50" y="70"/>
                  </a:lnTo>
                  <a:lnTo>
                    <a:pt x="44" y="70"/>
                  </a:lnTo>
                  <a:lnTo>
                    <a:pt x="38" y="70"/>
                  </a:lnTo>
                  <a:lnTo>
                    <a:pt x="30" y="72"/>
                  </a:lnTo>
                  <a:lnTo>
                    <a:pt x="24" y="72"/>
                  </a:lnTo>
                  <a:lnTo>
                    <a:pt x="18" y="74"/>
                  </a:lnTo>
                  <a:lnTo>
                    <a:pt x="12" y="76"/>
                  </a:lnTo>
                  <a:lnTo>
                    <a:pt x="6" y="80"/>
                  </a:lnTo>
                  <a:lnTo>
                    <a:pt x="0" y="82"/>
                  </a:lnTo>
                  <a:lnTo>
                    <a:pt x="4" y="86"/>
                  </a:lnTo>
                  <a:lnTo>
                    <a:pt x="12" y="88"/>
                  </a:lnTo>
                  <a:lnTo>
                    <a:pt x="18" y="88"/>
                  </a:lnTo>
                  <a:lnTo>
                    <a:pt x="24" y="90"/>
                  </a:lnTo>
                  <a:lnTo>
                    <a:pt x="30" y="90"/>
                  </a:lnTo>
                  <a:lnTo>
                    <a:pt x="36" y="86"/>
                  </a:lnTo>
                  <a:lnTo>
                    <a:pt x="42" y="86"/>
                  </a:lnTo>
                  <a:lnTo>
                    <a:pt x="48" y="84"/>
                  </a:lnTo>
                  <a:lnTo>
                    <a:pt x="42" y="90"/>
                  </a:lnTo>
                  <a:lnTo>
                    <a:pt x="48" y="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0" name="Freeform 288"/>
            <p:cNvSpPr>
              <a:spLocks/>
            </p:cNvSpPr>
            <p:nvPr/>
          </p:nvSpPr>
          <p:spPr bwMode="auto">
            <a:xfrm>
              <a:off x="2532063" y="2217738"/>
              <a:ext cx="123825" cy="61912"/>
            </a:xfrm>
            <a:custGeom>
              <a:avLst/>
              <a:gdLst>
                <a:gd name="T0" fmla="*/ 2147483647 w 304"/>
                <a:gd name="T1" fmla="*/ 2147483647 h 150"/>
                <a:gd name="T2" fmla="*/ 2147483647 w 304"/>
                <a:gd name="T3" fmla="*/ 2147483647 h 150"/>
                <a:gd name="T4" fmla="*/ 2147483647 w 304"/>
                <a:gd name="T5" fmla="*/ 2147483647 h 150"/>
                <a:gd name="T6" fmla="*/ 2147483647 w 304"/>
                <a:gd name="T7" fmla="*/ 2147483647 h 150"/>
                <a:gd name="T8" fmla="*/ 2147483647 w 304"/>
                <a:gd name="T9" fmla="*/ 2147483647 h 150"/>
                <a:gd name="T10" fmla="*/ 2147483647 w 304"/>
                <a:gd name="T11" fmla="*/ 2147483647 h 150"/>
                <a:gd name="T12" fmla="*/ 2147483647 w 304"/>
                <a:gd name="T13" fmla="*/ 2147483647 h 150"/>
                <a:gd name="T14" fmla="*/ 2147483647 w 304"/>
                <a:gd name="T15" fmla="*/ 2147483647 h 150"/>
                <a:gd name="T16" fmla="*/ 2147483647 w 304"/>
                <a:gd name="T17" fmla="*/ 2147483647 h 150"/>
                <a:gd name="T18" fmla="*/ 2147483647 w 304"/>
                <a:gd name="T19" fmla="*/ 2147483647 h 150"/>
                <a:gd name="T20" fmla="*/ 2147483647 w 304"/>
                <a:gd name="T21" fmla="*/ 2147483647 h 150"/>
                <a:gd name="T22" fmla="*/ 2147483647 w 304"/>
                <a:gd name="T23" fmla="*/ 2147483647 h 150"/>
                <a:gd name="T24" fmla="*/ 2147483647 w 304"/>
                <a:gd name="T25" fmla="*/ 2147483647 h 150"/>
                <a:gd name="T26" fmla="*/ 2147483647 w 304"/>
                <a:gd name="T27" fmla="*/ 2147483647 h 150"/>
                <a:gd name="T28" fmla="*/ 2147483647 w 304"/>
                <a:gd name="T29" fmla="*/ 2147483647 h 150"/>
                <a:gd name="T30" fmla="*/ 2147483647 w 304"/>
                <a:gd name="T31" fmla="*/ 2147483647 h 150"/>
                <a:gd name="T32" fmla="*/ 2147483647 w 304"/>
                <a:gd name="T33" fmla="*/ 2147483647 h 150"/>
                <a:gd name="T34" fmla="*/ 2147483647 w 304"/>
                <a:gd name="T35" fmla="*/ 2147483647 h 150"/>
                <a:gd name="T36" fmla="*/ 2147483647 w 304"/>
                <a:gd name="T37" fmla="*/ 2147483647 h 150"/>
                <a:gd name="T38" fmla="*/ 2147483647 w 304"/>
                <a:gd name="T39" fmla="*/ 2147483647 h 150"/>
                <a:gd name="T40" fmla="*/ 2147483647 w 304"/>
                <a:gd name="T41" fmla="*/ 2147483647 h 150"/>
                <a:gd name="T42" fmla="*/ 2147483647 w 304"/>
                <a:gd name="T43" fmla="*/ 2147483647 h 150"/>
                <a:gd name="T44" fmla="*/ 2147483647 w 304"/>
                <a:gd name="T45" fmla="*/ 2147483647 h 150"/>
                <a:gd name="T46" fmla="*/ 2147483647 w 304"/>
                <a:gd name="T47" fmla="*/ 2147483647 h 150"/>
                <a:gd name="T48" fmla="*/ 2147483647 w 304"/>
                <a:gd name="T49" fmla="*/ 2147483647 h 150"/>
                <a:gd name="T50" fmla="*/ 2147483647 w 304"/>
                <a:gd name="T51" fmla="*/ 2147483647 h 150"/>
                <a:gd name="T52" fmla="*/ 2147483647 w 304"/>
                <a:gd name="T53" fmla="*/ 2147483647 h 150"/>
                <a:gd name="T54" fmla="*/ 2147483647 w 304"/>
                <a:gd name="T55" fmla="*/ 2147483647 h 150"/>
                <a:gd name="T56" fmla="*/ 2147483647 w 304"/>
                <a:gd name="T57" fmla="*/ 2147483647 h 150"/>
                <a:gd name="T58" fmla="*/ 2147483647 w 304"/>
                <a:gd name="T59" fmla="*/ 2147483647 h 150"/>
                <a:gd name="T60" fmla="*/ 2147483647 w 304"/>
                <a:gd name="T61" fmla="*/ 2147483647 h 150"/>
                <a:gd name="T62" fmla="*/ 2147483647 w 304"/>
                <a:gd name="T63" fmla="*/ 2147483647 h 150"/>
                <a:gd name="T64" fmla="*/ 2147483647 w 304"/>
                <a:gd name="T65" fmla="*/ 2147483647 h 150"/>
                <a:gd name="T66" fmla="*/ 2147483647 w 304"/>
                <a:gd name="T67" fmla="*/ 2147483647 h 150"/>
                <a:gd name="T68" fmla="*/ 2147483647 w 304"/>
                <a:gd name="T69" fmla="*/ 2147483647 h 150"/>
                <a:gd name="T70" fmla="*/ 2147483647 w 304"/>
                <a:gd name="T71" fmla="*/ 2147483647 h 150"/>
                <a:gd name="T72" fmla="*/ 2147483647 w 304"/>
                <a:gd name="T73" fmla="*/ 2147483647 h 150"/>
                <a:gd name="T74" fmla="*/ 2147483647 w 304"/>
                <a:gd name="T75" fmla="*/ 2147483647 h 150"/>
                <a:gd name="T76" fmla="*/ 2147483647 w 304"/>
                <a:gd name="T77" fmla="*/ 2147483647 h 150"/>
                <a:gd name="T78" fmla="*/ 2147483647 w 304"/>
                <a:gd name="T79" fmla="*/ 2147483647 h 150"/>
                <a:gd name="T80" fmla="*/ 2147483647 w 304"/>
                <a:gd name="T81" fmla="*/ 2147483647 h 150"/>
                <a:gd name="T82" fmla="*/ 2147483647 w 304"/>
                <a:gd name="T83" fmla="*/ 2147483647 h 150"/>
                <a:gd name="T84" fmla="*/ 2147483647 w 304"/>
                <a:gd name="T85" fmla="*/ 2147483647 h 150"/>
                <a:gd name="T86" fmla="*/ 2147483647 w 304"/>
                <a:gd name="T87" fmla="*/ 2147483647 h 150"/>
                <a:gd name="T88" fmla="*/ 2147483647 w 304"/>
                <a:gd name="T89" fmla="*/ 2147483647 h 150"/>
                <a:gd name="T90" fmla="*/ 2147483647 w 304"/>
                <a:gd name="T91" fmla="*/ 2147483647 h 150"/>
                <a:gd name="T92" fmla="*/ 2147483647 w 304"/>
                <a:gd name="T93" fmla="*/ 2147483647 h 150"/>
                <a:gd name="T94" fmla="*/ 2147483647 w 304"/>
                <a:gd name="T95" fmla="*/ 2147483647 h 150"/>
                <a:gd name="T96" fmla="*/ 2147483647 w 304"/>
                <a:gd name="T97" fmla="*/ 2147483647 h 150"/>
                <a:gd name="T98" fmla="*/ 2147483647 w 304"/>
                <a:gd name="T99" fmla="*/ 2147483647 h 150"/>
                <a:gd name="T100" fmla="*/ 2147483647 w 304"/>
                <a:gd name="T101" fmla="*/ 2147483647 h 150"/>
                <a:gd name="T102" fmla="*/ 2147483647 w 304"/>
                <a:gd name="T103" fmla="*/ 2147483647 h 150"/>
                <a:gd name="T104" fmla="*/ 2147483647 w 304"/>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4"/>
                <a:gd name="T160" fmla="*/ 0 h 150"/>
                <a:gd name="T161" fmla="*/ 304 w 304"/>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4" h="150">
                  <a:moveTo>
                    <a:pt x="14" y="90"/>
                  </a:moveTo>
                  <a:lnTo>
                    <a:pt x="18" y="92"/>
                  </a:lnTo>
                  <a:lnTo>
                    <a:pt x="24" y="94"/>
                  </a:lnTo>
                  <a:lnTo>
                    <a:pt x="30" y="94"/>
                  </a:lnTo>
                  <a:lnTo>
                    <a:pt x="38" y="90"/>
                  </a:lnTo>
                  <a:lnTo>
                    <a:pt x="44" y="94"/>
                  </a:lnTo>
                  <a:lnTo>
                    <a:pt x="40" y="100"/>
                  </a:lnTo>
                  <a:lnTo>
                    <a:pt x="46" y="98"/>
                  </a:lnTo>
                  <a:lnTo>
                    <a:pt x="52" y="98"/>
                  </a:lnTo>
                  <a:lnTo>
                    <a:pt x="56" y="104"/>
                  </a:lnTo>
                  <a:lnTo>
                    <a:pt x="56" y="110"/>
                  </a:lnTo>
                  <a:lnTo>
                    <a:pt x="60" y="116"/>
                  </a:lnTo>
                  <a:lnTo>
                    <a:pt x="64" y="118"/>
                  </a:lnTo>
                  <a:lnTo>
                    <a:pt x="68" y="122"/>
                  </a:lnTo>
                  <a:lnTo>
                    <a:pt x="68" y="128"/>
                  </a:lnTo>
                  <a:lnTo>
                    <a:pt x="72" y="134"/>
                  </a:lnTo>
                  <a:lnTo>
                    <a:pt x="68" y="140"/>
                  </a:lnTo>
                  <a:lnTo>
                    <a:pt x="66" y="146"/>
                  </a:lnTo>
                  <a:lnTo>
                    <a:pt x="72" y="146"/>
                  </a:lnTo>
                  <a:lnTo>
                    <a:pt x="78" y="144"/>
                  </a:lnTo>
                  <a:lnTo>
                    <a:pt x="82" y="150"/>
                  </a:lnTo>
                  <a:lnTo>
                    <a:pt x="88" y="150"/>
                  </a:lnTo>
                  <a:lnTo>
                    <a:pt x="94" y="148"/>
                  </a:lnTo>
                  <a:lnTo>
                    <a:pt x="100" y="146"/>
                  </a:lnTo>
                  <a:lnTo>
                    <a:pt x="106" y="144"/>
                  </a:lnTo>
                  <a:lnTo>
                    <a:pt x="114" y="142"/>
                  </a:lnTo>
                  <a:lnTo>
                    <a:pt x="120" y="140"/>
                  </a:lnTo>
                  <a:lnTo>
                    <a:pt x="126" y="136"/>
                  </a:lnTo>
                  <a:lnTo>
                    <a:pt x="122" y="132"/>
                  </a:lnTo>
                  <a:lnTo>
                    <a:pt x="122" y="126"/>
                  </a:lnTo>
                  <a:lnTo>
                    <a:pt x="128" y="120"/>
                  </a:lnTo>
                  <a:lnTo>
                    <a:pt x="134" y="118"/>
                  </a:lnTo>
                  <a:lnTo>
                    <a:pt x="140" y="114"/>
                  </a:lnTo>
                  <a:lnTo>
                    <a:pt x="132" y="120"/>
                  </a:lnTo>
                  <a:lnTo>
                    <a:pt x="126" y="124"/>
                  </a:lnTo>
                  <a:lnTo>
                    <a:pt x="132" y="130"/>
                  </a:lnTo>
                  <a:lnTo>
                    <a:pt x="138" y="128"/>
                  </a:lnTo>
                  <a:lnTo>
                    <a:pt x="146" y="130"/>
                  </a:lnTo>
                  <a:lnTo>
                    <a:pt x="150" y="132"/>
                  </a:lnTo>
                  <a:lnTo>
                    <a:pt x="158" y="132"/>
                  </a:lnTo>
                  <a:lnTo>
                    <a:pt x="164" y="130"/>
                  </a:lnTo>
                  <a:lnTo>
                    <a:pt x="170" y="128"/>
                  </a:lnTo>
                  <a:lnTo>
                    <a:pt x="176" y="128"/>
                  </a:lnTo>
                  <a:lnTo>
                    <a:pt x="182" y="124"/>
                  </a:lnTo>
                  <a:lnTo>
                    <a:pt x="188" y="122"/>
                  </a:lnTo>
                  <a:lnTo>
                    <a:pt x="194" y="120"/>
                  </a:lnTo>
                  <a:lnTo>
                    <a:pt x="200" y="118"/>
                  </a:lnTo>
                  <a:lnTo>
                    <a:pt x="206" y="120"/>
                  </a:lnTo>
                  <a:lnTo>
                    <a:pt x="212" y="116"/>
                  </a:lnTo>
                  <a:lnTo>
                    <a:pt x="206" y="114"/>
                  </a:lnTo>
                  <a:lnTo>
                    <a:pt x="212" y="112"/>
                  </a:lnTo>
                  <a:lnTo>
                    <a:pt x="218" y="112"/>
                  </a:lnTo>
                  <a:lnTo>
                    <a:pt x="212" y="108"/>
                  </a:lnTo>
                  <a:lnTo>
                    <a:pt x="220" y="106"/>
                  </a:lnTo>
                  <a:lnTo>
                    <a:pt x="226" y="104"/>
                  </a:lnTo>
                  <a:lnTo>
                    <a:pt x="232" y="100"/>
                  </a:lnTo>
                  <a:lnTo>
                    <a:pt x="230" y="94"/>
                  </a:lnTo>
                  <a:lnTo>
                    <a:pt x="224" y="92"/>
                  </a:lnTo>
                  <a:lnTo>
                    <a:pt x="230" y="92"/>
                  </a:lnTo>
                  <a:lnTo>
                    <a:pt x="238" y="90"/>
                  </a:lnTo>
                  <a:lnTo>
                    <a:pt x="244" y="88"/>
                  </a:lnTo>
                  <a:lnTo>
                    <a:pt x="250" y="86"/>
                  </a:lnTo>
                  <a:lnTo>
                    <a:pt x="256" y="84"/>
                  </a:lnTo>
                  <a:lnTo>
                    <a:pt x="256" y="78"/>
                  </a:lnTo>
                  <a:lnTo>
                    <a:pt x="260" y="72"/>
                  </a:lnTo>
                  <a:lnTo>
                    <a:pt x="264" y="68"/>
                  </a:lnTo>
                  <a:lnTo>
                    <a:pt x="258" y="70"/>
                  </a:lnTo>
                  <a:lnTo>
                    <a:pt x="250" y="70"/>
                  </a:lnTo>
                  <a:lnTo>
                    <a:pt x="244" y="72"/>
                  </a:lnTo>
                  <a:lnTo>
                    <a:pt x="238" y="72"/>
                  </a:lnTo>
                  <a:lnTo>
                    <a:pt x="232" y="76"/>
                  </a:lnTo>
                  <a:lnTo>
                    <a:pt x="238" y="70"/>
                  </a:lnTo>
                  <a:lnTo>
                    <a:pt x="240" y="64"/>
                  </a:lnTo>
                  <a:lnTo>
                    <a:pt x="234" y="62"/>
                  </a:lnTo>
                  <a:lnTo>
                    <a:pt x="242" y="60"/>
                  </a:lnTo>
                  <a:lnTo>
                    <a:pt x="242" y="54"/>
                  </a:lnTo>
                  <a:lnTo>
                    <a:pt x="236" y="52"/>
                  </a:lnTo>
                  <a:lnTo>
                    <a:pt x="230" y="52"/>
                  </a:lnTo>
                  <a:lnTo>
                    <a:pt x="224" y="52"/>
                  </a:lnTo>
                  <a:lnTo>
                    <a:pt x="218" y="52"/>
                  </a:lnTo>
                  <a:lnTo>
                    <a:pt x="212" y="54"/>
                  </a:lnTo>
                  <a:lnTo>
                    <a:pt x="204" y="54"/>
                  </a:lnTo>
                  <a:lnTo>
                    <a:pt x="200" y="58"/>
                  </a:lnTo>
                  <a:lnTo>
                    <a:pt x="194" y="60"/>
                  </a:lnTo>
                  <a:lnTo>
                    <a:pt x="196" y="54"/>
                  </a:lnTo>
                  <a:lnTo>
                    <a:pt x="202" y="52"/>
                  </a:lnTo>
                  <a:lnTo>
                    <a:pt x="208" y="50"/>
                  </a:lnTo>
                  <a:lnTo>
                    <a:pt x="214" y="48"/>
                  </a:lnTo>
                  <a:lnTo>
                    <a:pt x="222" y="46"/>
                  </a:lnTo>
                  <a:lnTo>
                    <a:pt x="226" y="44"/>
                  </a:lnTo>
                  <a:lnTo>
                    <a:pt x="234" y="42"/>
                  </a:lnTo>
                  <a:lnTo>
                    <a:pt x="238" y="40"/>
                  </a:lnTo>
                  <a:lnTo>
                    <a:pt x="246" y="38"/>
                  </a:lnTo>
                  <a:lnTo>
                    <a:pt x="250" y="36"/>
                  </a:lnTo>
                  <a:lnTo>
                    <a:pt x="258" y="36"/>
                  </a:lnTo>
                  <a:lnTo>
                    <a:pt x="264" y="34"/>
                  </a:lnTo>
                  <a:lnTo>
                    <a:pt x="270" y="34"/>
                  </a:lnTo>
                  <a:lnTo>
                    <a:pt x="276" y="32"/>
                  </a:lnTo>
                  <a:lnTo>
                    <a:pt x="272" y="26"/>
                  </a:lnTo>
                  <a:lnTo>
                    <a:pt x="266" y="26"/>
                  </a:lnTo>
                  <a:lnTo>
                    <a:pt x="260" y="28"/>
                  </a:lnTo>
                  <a:lnTo>
                    <a:pt x="266" y="24"/>
                  </a:lnTo>
                  <a:lnTo>
                    <a:pt x="272" y="24"/>
                  </a:lnTo>
                  <a:lnTo>
                    <a:pt x="278" y="22"/>
                  </a:lnTo>
                  <a:lnTo>
                    <a:pt x="284" y="22"/>
                  </a:lnTo>
                  <a:lnTo>
                    <a:pt x="292" y="20"/>
                  </a:lnTo>
                  <a:lnTo>
                    <a:pt x="298" y="18"/>
                  </a:lnTo>
                  <a:lnTo>
                    <a:pt x="304" y="16"/>
                  </a:lnTo>
                  <a:lnTo>
                    <a:pt x="302" y="10"/>
                  </a:lnTo>
                  <a:lnTo>
                    <a:pt x="296" y="6"/>
                  </a:lnTo>
                  <a:lnTo>
                    <a:pt x="290" y="6"/>
                  </a:lnTo>
                  <a:lnTo>
                    <a:pt x="284" y="4"/>
                  </a:lnTo>
                  <a:lnTo>
                    <a:pt x="278" y="6"/>
                  </a:lnTo>
                  <a:lnTo>
                    <a:pt x="284" y="4"/>
                  </a:lnTo>
                  <a:lnTo>
                    <a:pt x="278" y="4"/>
                  </a:lnTo>
                  <a:lnTo>
                    <a:pt x="272" y="6"/>
                  </a:lnTo>
                  <a:lnTo>
                    <a:pt x="266" y="8"/>
                  </a:lnTo>
                  <a:lnTo>
                    <a:pt x="258" y="10"/>
                  </a:lnTo>
                  <a:lnTo>
                    <a:pt x="252" y="10"/>
                  </a:lnTo>
                  <a:lnTo>
                    <a:pt x="246" y="10"/>
                  </a:lnTo>
                  <a:lnTo>
                    <a:pt x="240" y="10"/>
                  </a:lnTo>
                  <a:lnTo>
                    <a:pt x="234" y="10"/>
                  </a:lnTo>
                  <a:lnTo>
                    <a:pt x="228" y="12"/>
                  </a:lnTo>
                  <a:lnTo>
                    <a:pt x="222" y="12"/>
                  </a:lnTo>
                  <a:lnTo>
                    <a:pt x="216" y="12"/>
                  </a:lnTo>
                  <a:lnTo>
                    <a:pt x="208" y="16"/>
                  </a:lnTo>
                  <a:lnTo>
                    <a:pt x="208" y="10"/>
                  </a:lnTo>
                  <a:lnTo>
                    <a:pt x="200" y="8"/>
                  </a:lnTo>
                  <a:lnTo>
                    <a:pt x="196" y="0"/>
                  </a:lnTo>
                  <a:lnTo>
                    <a:pt x="192" y="2"/>
                  </a:lnTo>
                  <a:lnTo>
                    <a:pt x="186" y="2"/>
                  </a:lnTo>
                  <a:lnTo>
                    <a:pt x="180" y="4"/>
                  </a:lnTo>
                  <a:lnTo>
                    <a:pt x="174" y="6"/>
                  </a:lnTo>
                  <a:lnTo>
                    <a:pt x="180" y="8"/>
                  </a:lnTo>
                  <a:lnTo>
                    <a:pt x="186" y="6"/>
                  </a:lnTo>
                  <a:lnTo>
                    <a:pt x="192" y="4"/>
                  </a:lnTo>
                  <a:lnTo>
                    <a:pt x="186" y="8"/>
                  </a:lnTo>
                  <a:lnTo>
                    <a:pt x="182" y="10"/>
                  </a:lnTo>
                  <a:lnTo>
                    <a:pt x="174" y="10"/>
                  </a:lnTo>
                  <a:lnTo>
                    <a:pt x="168" y="8"/>
                  </a:lnTo>
                  <a:lnTo>
                    <a:pt x="162" y="6"/>
                  </a:lnTo>
                  <a:lnTo>
                    <a:pt x="156" y="6"/>
                  </a:lnTo>
                  <a:lnTo>
                    <a:pt x="150" y="8"/>
                  </a:lnTo>
                  <a:lnTo>
                    <a:pt x="144" y="8"/>
                  </a:lnTo>
                  <a:lnTo>
                    <a:pt x="138" y="10"/>
                  </a:lnTo>
                  <a:lnTo>
                    <a:pt x="132" y="14"/>
                  </a:lnTo>
                  <a:lnTo>
                    <a:pt x="138" y="16"/>
                  </a:lnTo>
                  <a:lnTo>
                    <a:pt x="144" y="20"/>
                  </a:lnTo>
                  <a:lnTo>
                    <a:pt x="138" y="26"/>
                  </a:lnTo>
                  <a:lnTo>
                    <a:pt x="132" y="22"/>
                  </a:lnTo>
                  <a:lnTo>
                    <a:pt x="126" y="20"/>
                  </a:lnTo>
                  <a:lnTo>
                    <a:pt x="120" y="20"/>
                  </a:lnTo>
                  <a:lnTo>
                    <a:pt x="114" y="22"/>
                  </a:lnTo>
                  <a:lnTo>
                    <a:pt x="108" y="22"/>
                  </a:lnTo>
                  <a:lnTo>
                    <a:pt x="102" y="24"/>
                  </a:lnTo>
                  <a:lnTo>
                    <a:pt x="96" y="26"/>
                  </a:lnTo>
                  <a:lnTo>
                    <a:pt x="102" y="30"/>
                  </a:lnTo>
                  <a:lnTo>
                    <a:pt x="108" y="36"/>
                  </a:lnTo>
                  <a:lnTo>
                    <a:pt x="116" y="38"/>
                  </a:lnTo>
                  <a:lnTo>
                    <a:pt x="122" y="38"/>
                  </a:lnTo>
                  <a:lnTo>
                    <a:pt x="128" y="36"/>
                  </a:lnTo>
                  <a:lnTo>
                    <a:pt x="134" y="36"/>
                  </a:lnTo>
                  <a:lnTo>
                    <a:pt x="140" y="32"/>
                  </a:lnTo>
                  <a:lnTo>
                    <a:pt x="144" y="38"/>
                  </a:lnTo>
                  <a:lnTo>
                    <a:pt x="146" y="40"/>
                  </a:lnTo>
                  <a:lnTo>
                    <a:pt x="154" y="42"/>
                  </a:lnTo>
                  <a:lnTo>
                    <a:pt x="146" y="42"/>
                  </a:lnTo>
                  <a:lnTo>
                    <a:pt x="144" y="42"/>
                  </a:lnTo>
                  <a:lnTo>
                    <a:pt x="138" y="38"/>
                  </a:lnTo>
                  <a:lnTo>
                    <a:pt x="132" y="38"/>
                  </a:lnTo>
                  <a:lnTo>
                    <a:pt x="126" y="40"/>
                  </a:lnTo>
                  <a:lnTo>
                    <a:pt x="120" y="44"/>
                  </a:lnTo>
                  <a:lnTo>
                    <a:pt x="128" y="46"/>
                  </a:lnTo>
                  <a:lnTo>
                    <a:pt x="130" y="52"/>
                  </a:lnTo>
                  <a:lnTo>
                    <a:pt x="124" y="58"/>
                  </a:lnTo>
                  <a:lnTo>
                    <a:pt x="118" y="60"/>
                  </a:lnTo>
                  <a:lnTo>
                    <a:pt x="112" y="60"/>
                  </a:lnTo>
                  <a:lnTo>
                    <a:pt x="118" y="58"/>
                  </a:lnTo>
                  <a:lnTo>
                    <a:pt x="120" y="52"/>
                  </a:lnTo>
                  <a:lnTo>
                    <a:pt x="116" y="52"/>
                  </a:lnTo>
                  <a:lnTo>
                    <a:pt x="108" y="56"/>
                  </a:lnTo>
                  <a:lnTo>
                    <a:pt x="110" y="62"/>
                  </a:lnTo>
                  <a:lnTo>
                    <a:pt x="102" y="66"/>
                  </a:lnTo>
                  <a:lnTo>
                    <a:pt x="96" y="68"/>
                  </a:lnTo>
                  <a:lnTo>
                    <a:pt x="90" y="68"/>
                  </a:lnTo>
                  <a:lnTo>
                    <a:pt x="84" y="68"/>
                  </a:lnTo>
                  <a:lnTo>
                    <a:pt x="82" y="66"/>
                  </a:lnTo>
                  <a:lnTo>
                    <a:pt x="78" y="70"/>
                  </a:lnTo>
                  <a:lnTo>
                    <a:pt x="72" y="70"/>
                  </a:lnTo>
                  <a:lnTo>
                    <a:pt x="64" y="70"/>
                  </a:lnTo>
                  <a:lnTo>
                    <a:pt x="58" y="68"/>
                  </a:lnTo>
                  <a:lnTo>
                    <a:pt x="64" y="66"/>
                  </a:lnTo>
                  <a:lnTo>
                    <a:pt x="58" y="64"/>
                  </a:lnTo>
                  <a:lnTo>
                    <a:pt x="60" y="60"/>
                  </a:lnTo>
                  <a:lnTo>
                    <a:pt x="58" y="52"/>
                  </a:lnTo>
                  <a:lnTo>
                    <a:pt x="52" y="50"/>
                  </a:lnTo>
                  <a:lnTo>
                    <a:pt x="46" y="48"/>
                  </a:lnTo>
                  <a:lnTo>
                    <a:pt x="40" y="50"/>
                  </a:lnTo>
                  <a:lnTo>
                    <a:pt x="34" y="52"/>
                  </a:lnTo>
                  <a:lnTo>
                    <a:pt x="28" y="52"/>
                  </a:lnTo>
                  <a:lnTo>
                    <a:pt x="22" y="56"/>
                  </a:lnTo>
                  <a:lnTo>
                    <a:pt x="16" y="60"/>
                  </a:lnTo>
                  <a:lnTo>
                    <a:pt x="10" y="62"/>
                  </a:lnTo>
                  <a:lnTo>
                    <a:pt x="2" y="64"/>
                  </a:lnTo>
                  <a:lnTo>
                    <a:pt x="0" y="72"/>
                  </a:lnTo>
                  <a:lnTo>
                    <a:pt x="6" y="76"/>
                  </a:lnTo>
                  <a:lnTo>
                    <a:pt x="12" y="80"/>
                  </a:lnTo>
                  <a:lnTo>
                    <a:pt x="18" y="82"/>
                  </a:lnTo>
                  <a:lnTo>
                    <a:pt x="20" y="88"/>
                  </a:lnTo>
                  <a:lnTo>
                    <a:pt x="14" y="88"/>
                  </a:lnTo>
                  <a:lnTo>
                    <a:pt x="14" y="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1" name="Freeform 289"/>
            <p:cNvSpPr>
              <a:spLocks/>
            </p:cNvSpPr>
            <p:nvPr/>
          </p:nvSpPr>
          <p:spPr bwMode="auto">
            <a:xfrm>
              <a:off x="2646363" y="2212975"/>
              <a:ext cx="127000" cy="49213"/>
            </a:xfrm>
            <a:custGeom>
              <a:avLst/>
              <a:gdLst>
                <a:gd name="T0" fmla="*/ 2147483647 w 314"/>
                <a:gd name="T1" fmla="*/ 2147483647 h 122"/>
                <a:gd name="T2" fmla="*/ 2147483647 w 314"/>
                <a:gd name="T3" fmla="*/ 2147483647 h 122"/>
                <a:gd name="T4" fmla="*/ 2147483647 w 314"/>
                <a:gd name="T5" fmla="*/ 2147483647 h 122"/>
                <a:gd name="T6" fmla="*/ 2147483647 w 314"/>
                <a:gd name="T7" fmla="*/ 2147483647 h 122"/>
                <a:gd name="T8" fmla="*/ 2147483647 w 314"/>
                <a:gd name="T9" fmla="*/ 2147483647 h 122"/>
                <a:gd name="T10" fmla="*/ 2147483647 w 314"/>
                <a:gd name="T11" fmla="*/ 2147483647 h 122"/>
                <a:gd name="T12" fmla="*/ 2147483647 w 314"/>
                <a:gd name="T13" fmla="*/ 2147483647 h 122"/>
                <a:gd name="T14" fmla="*/ 2147483647 w 314"/>
                <a:gd name="T15" fmla="*/ 2147483647 h 122"/>
                <a:gd name="T16" fmla="*/ 2147483647 w 314"/>
                <a:gd name="T17" fmla="*/ 2147483647 h 122"/>
                <a:gd name="T18" fmla="*/ 2147483647 w 314"/>
                <a:gd name="T19" fmla="*/ 2147483647 h 122"/>
                <a:gd name="T20" fmla="*/ 2147483647 w 314"/>
                <a:gd name="T21" fmla="*/ 2147483647 h 122"/>
                <a:gd name="T22" fmla="*/ 2147483647 w 314"/>
                <a:gd name="T23" fmla="*/ 2147483647 h 122"/>
                <a:gd name="T24" fmla="*/ 2147483647 w 314"/>
                <a:gd name="T25" fmla="*/ 2147483647 h 122"/>
                <a:gd name="T26" fmla="*/ 2147483647 w 314"/>
                <a:gd name="T27" fmla="*/ 2147483647 h 122"/>
                <a:gd name="T28" fmla="*/ 2147483647 w 314"/>
                <a:gd name="T29" fmla="*/ 2147483647 h 122"/>
                <a:gd name="T30" fmla="*/ 2147483647 w 314"/>
                <a:gd name="T31" fmla="*/ 2147483647 h 122"/>
                <a:gd name="T32" fmla="*/ 2147483647 w 314"/>
                <a:gd name="T33" fmla="*/ 2147483647 h 122"/>
                <a:gd name="T34" fmla="*/ 2147483647 w 314"/>
                <a:gd name="T35" fmla="*/ 2147483647 h 122"/>
                <a:gd name="T36" fmla="*/ 2147483647 w 314"/>
                <a:gd name="T37" fmla="*/ 2147483647 h 122"/>
                <a:gd name="T38" fmla="*/ 2147483647 w 314"/>
                <a:gd name="T39" fmla="*/ 2147483647 h 122"/>
                <a:gd name="T40" fmla="*/ 2147483647 w 314"/>
                <a:gd name="T41" fmla="*/ 2147483647 h 122"/>
                <a:gd name="T42" fmla="*/ 2147483647 w 314"/>
                <a:gd name="T43" fmla="*/ 2147483647 h 122"/>
                <a:gd name="T44" fmla="*/ 2147483647 w 314"/>
                <a:gd name="T45" fmla="*/ 2147483647 h 122"/>
                <a:gd name="T46" fmla="*/ 2147483647 w 314"/>
                <a:gd name="T47" fmla="*/ 2147483647 h 122"/>
                <a:gd name="T48" fmla="*/ 2147483647 w 314"/>
                <a:gd name="T49" fmla="*/ 2147483647 h 122"/>
                <a:gd name="T50" fmla="*/ 2147483647 w 314"/>
                <a:gd name="T51" fmla="*/ 2147483647 h 122"/>
                <a:gd name="T52" fmla="*/ 2147483647 w 314"/>
                <a:gd name="T53" fmla="*/ 2147483647 h 122"/>
                <a:gd name="T54" fmla="*/ 2147483647 w 314"/>
                <a:gd name="T55" fmla="*/ 2147483647 h 122"/>
                <a:gd name="T56" fmla="*/ 2147483647 w 314"/>
                <a:gd name="T57" fmla="*/ 0 h 122"/>
                <a:gd name="T58" fmla="*/ 2147483647 w 314"/>
                <a:gd name="T59" fmla="*/ 2147483647 h 122"/>
                <a:gd name="T60" fmla="*/ 2147483647 w 314"/>
                <a:gd name="T61" fmla="*/ 2147483647 h 122"/>
                <a:gd name="T62" fmla="*/ 2147483647 w 314"/>
                <a:gd name="T63" fmla="*/ 2147483647 h 122"/>
                <a:gd name="T64" fmla="*/ 2147483647 w 314"/>
                <a:gd name="T65" fmla="*/ 2147483647 h 122"/>
                <a:gd name="T66" fmla="*/ 2147483647 w 314"/>
                <a:gd name="T67" fmla="*/ 2147483647 h 122"/>
                <a:gd name="T68" fmla="*/ 2147483647 w 314"/>
                <a:gd name="T69" fmla="*/ 2147483647 h 122"/>
                <a:gd name="T70" fmla="*/ 2147483647 w 314"/>
                <a:gd name="T71" fmla="*/ 2147483647 h 122"/>
                <a:gd name="T72" fmla="*/ 2147483647 w 314"/>
                <a:gd name="T73" fmla="*/ 2147483647 h 122"/>
                <a:gd name="T74" fmla="*/ 2147483647 w 314"/>
                <a:gd name="T75" fmla="*/ 2147483647 h 122"/>
                <a:gd name="T76" fmla="*/ 2147483647 w 314"/>
                <a:gd name="T77" fmla="*/ 2147483647 h 122"/>
                <a:gd name="T78" fmla="*/ 2147483647 w 314"/>
                <a:gd name="T79" fmla="*/ 2147483647 h 122"/>
                <a:gd name="T80" fmla="*/ 2147483647 w 314"/>
                <a:gd name="T81" fmla="*/ 2147483647 h 122"/>
                <a:gd name="T82" fmla="*/ 2147483647 w 314"/>
                <a:gd name="T83" fmla="*/ 2147483647 h 122"/>
                <a:gd name="T84" fmla="*/ 2147483647 w 314"/>
                <a:gd name="T85" fmla="*/ 2147483647 h 122"/>
                <a:gd name="T86" fmla="*/ 2147483647 w 314"/>
                <a:gd name="T87" fmla="*/ 2147483647 h 1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4"/>
                <a:gd name="T133" fmla="*/ 0 h 122"/>
                <a:gd name="T134" fmla="*/ 314 w 314"/>
                <a:gd name="T135" fmla="*/ 122 h 1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4" h="122">
                  <a:moveTo>
                    <a:pt x="18" y="114"/>
                  </a:moveTo>
                  <a:lnTo>
                    <a:pt x="14" y="114"/>
                  </a:lnTo>
                  <a:lnTo>
                    <a:pt x="6" y="114"/>
                  </a:lnTo>
                  <a:lnTo>
                    <a:pt x="0" y="118"/>
                  </a:lnTo>
                  <a:lnTo>
                    <a:pt x="8" y="122"/>
                  </a:lnTo>
                  <a:lnTo>
                    <a:pt x="14" y="122"/>
                  </a:lnTo>
                  <a:lnTo>
                    <a:pt x="20" y="120"/>
                  </a:lnTo>
                  <a:lnTo>
                    <a:pt x="26" y="120"/>
                  </a:lnTo>
                  <a:lnTo>
                    <a:pt x="32" y="120"/>
                  </a:lnTo>
                  <a:lnTo>
                    <a:pt x="38" y="122"/>
                  </a:lnTo>
                  <a:lnTo>
                    <a:pt x="44" y="122"/>
                  </a:lnTo>
                  <a:lnTo>
                    <a:pt x="50" y="118"/>
                  </a:lnTo>
                  <a:lnTo>
                    <a:pt x="44" y="120"/>
                  </a:lnTo>
                  <a:lnTo>
                    <a:pt x="50" y="116"/>
                  </a:lnTo>
                  <a:lnTo>
                    <a:pt x="56" y="112"/>
                  </a:lnTo>
                  <a:lnTo>
                    <a:pt x="62" y="110"/>
                  </a:lnTo>
                  <a:lnTo>
                    <a:pt x="68" y="106"/>
                  </a:lnTo>
                  <a:lnTo>
                    <a:pt x="74" y="104"/>
                  </a:lnTo>
                  <a:lnTo>
                    <a:pt x="82" y="102"/>
                  </a:lnTo>
                  <a:lnTo>
                    <a:pt x="86" y="102"/>
                  </a:lnTo>
                  <a:lnTo>
                    <a:pt x="94" y="98"/>
                  </a:lnTo>
                  <a:lnTo>
                    <a:pt x="98" y="94"/>
                  </a:lnTo>
                  <a:lnTo>
                    <a:pt x="98" y="88"/>
                  </a:lnTo>
                  <a:lnTo>
                    <a:pt x="98" y="82"/>
                  </a:lnTo>
                  <a:lnTo>
                    <a:pt x="92" y="82"/>
                  </a:lnTo>
                  <a:lnTo>
                    <a:pt x="86" y="80"/>
                  </a:lnTo>
                  <a:lnTo>
                    <a:pt x="80" y="80"/>
                  </a:lnTo>
                  <a:lnTo>
                    <a:pt x="86" y="78"/>
                  </a:lnTo>
                  <a:lnTo>
                    <a:pt x="92" y="78"/>
                  </a:lnTo>
                  <a:lnTo>
                    <a:pt x="98" y="78"/>
                  </a:lnTo>
                  <a:lnTo>
                    <a:pt x="104" y="78"/>
                  </a:lnTo>
                  <a:lnTo>
                    <a:pt x="110" y="78"/>
                  </a:lnTo>
                  <a:lnTo>
                    <a:pt x="116" y="76"/>
                  </a:lnTo>
                  <a:lnTo>
                    <a:pt x="122" y="76"/>
                  </a:lnTo>
                  <a:lnTo>
                    <a:pt x="128" y="78"/>
                  </a:lnTo>
                  <a:lnTo>
                    <a:pt x="136" y="78"/>
                  </a:lnTo>
                  <a:lnTo>
                    <a:pt x="140" y="80"/>
                  </a:lnTo>
                  <a:lnTo>
                    <a:pt x="148" y="80"/>
                  </a:lnTo>
                  <a:lnTo>
                    <a:pt x="154" y="80"/>
                  </a:lnTo>
                  <a:lnTo>
                    <a:pt x="160" y="82"/>
                  </a:lnTo>
                  <a:lnTo>
                    <a:pt x="166" y="80"/>
                  </a:lnTo>
                  <a:lnTo>
                    <a:pt x="172" y="80"/>
                  </a:lnTo>
                  <a:lnTo>
                    <a:pt x="178" y="76"/>
                  </a:lnTo>
                  <a:lnTo>
                    <a:pt x="184" y="76"/>
                  </a:lnTo>
                  <a:lnTo>
                    <a:pt x="192" y="72"/>
                  </a:lnTo>
                  <a:lnTo>
                    <a:pt x="198" y="70"/>
                  </a:lnTo>
                  <a:lnTo>
                    <a:pt x="204" y="68"/>
                  </a:lnTo>
                  <a:lnTo>
                    <a:pt x="210" y="64"/>
                  </a:lnTo>
                  <a:lnTo>
                    <a:pt x="216" y="60"/>
                  </a:lnTo>
                  <a:lnTo>
                    <a:pt x="222" y="58"/>
                  </a:lnTo>
                  <a:lnTo>
                    <a:pt x="228" y="54"/>
                  </a:lnTo>
                  <a:lnTo>
                    <a:pt x="222" y="52"/>
                  </a:lnTo>
                  <a:lnTo>
                    <a:pt x="230" y="52"/>
                  </a:lnTo>
                  <a:lnTo>
                    <a:pt x="236" y="50"/>
                  </a:lnTo>
                  <a:lnTo>
                    <a:pt x="242" y="48"/>
                  </a:lnTo>
                  <a:lnTo>
                    <a:pt x="248" y="46"/>
                  </a:lnTo>
                  <a:lnTo>
                    <a:pt x="254" y="42"/>
                  </a:lnTo>
                  <a:lnTo>
                    <a:pt x="260" y="40"/>
                  </a:lnTo>
                  <a:lnTo>
                    <a:pt x="266" y="34"/>
                  </a:lnTo>
                  <a:lnTo>
                    <a:pt x="272" y="34"/>
                  </a:lnTo>
                  <a:lnTo>
                    <a:pt x="278" y="34"/>
                  </a:lnTo>
                  <a:lnTo>
                    <a:pt x="284" y="30"/>
                  </a:lnTo>
                  <a:lnTo>
                    <a:pt x="290" y="28"/>
                  </a:lnTo>
                  <a:lnTo>
                    <a:pt x="298" y="26"/>
                  </a:lnTo>
                  <a:lnTo>
                    <a:pt x="304" y="22"/>
                  </a:lnTo>
                  <a:lnTo>
                    <a:pt x="310" y="18"/>
                  </a:lnTo>
                  <a:lnTo>
                    <a:pt x="314" y="18"/>
                  </a:lnTo>
                  <a:lnTo>
                    <a:pt x="310" y="14"/>
                  </a:lnTo>
                  <a:lnTo>
                    <a:pt x="302" y="12"/>
                  </a:lnTo>
                  <a:lnTo>
                    <a:pt x="298" y="12"/>
                  </a:lnTo>
                  <a:lnTo>
                    <a:pt x="290" y="10"/>
                  </a:lnTo>
                  <a:lnTo>
                    <a:pt x="284" y="10"/>
                  </a:lnTo>
                  <a:lnTo>
                    <a:pt x="278" y="10"/>
                  </a:lnTo>
                  <a:lnTo>
                    <a:pt x="272" y="10"/>
                  </a:lnTo>
                  <a:lnTo>
                    <a:pt x="266" y="8"/>
                  </a:lnTo>
                  <a:lnTo>
                    <a:pt x="260" y="8"/>
                  </a:lnTo>
                  <a:lnTo>
                    <a:pt x="254" y="10"/>
                  </a:lnTo>
                  <a:lnTo>
                    <a:pt x="248" y="10"/>
                  </a:lnTo>
                  <a:lnTo>
                    <a:pt x="242" y="12"/>
                  </a:lnTo>
                  <a:lnTo>
                    <a:pt x="234" y="12"/>
                  </a:lnTo>
                  <a:lnTo>
                    <a:pt x="234" y="8"/>
                  </a:lnTo>
                  <a:lnTo>
                    <a:pt x="228" y="4"/>
                  </a:lnTo>
                  <a:lnTo>
                    <a:pt x="224" y="6"/>
                  </a:lnTo>
                  <a:lnTo>
                    <a:pt x="218" y="2"/>
                  </a:lnTo>
                  <a:lnTo>
                    <a:pt x="212" y="2"/>
                  </a:lnTo>
                  <a:lnTo>
                    <a:pt x="206" y="0"/>
                  </a:lnTo>
                  <a:lnTo>
                    <a:pt x="200" y="0"/>
                  </a:lnTo>
                  <a:lnTo>
                    <a:pt x="192" y="0"/>
                  </a:lnTo>
                  <a:lnTo>
                    <a:pt x="186" y="2"/>
                  </a:lnTo>
                  <a:lnTo>
                    <a:pt x="180" y="6"/>
                  </a:lnTo>
                  <a:lnTo>
                    <a:pt x="174" y="2"/>
                  </a:lnTo>
                  <a:lnTo>
                    <a:pt x="168" y="2"/>
                  </a:lnTo>
                  <a:lnTo>
                    <a:pt x="162" y="4"/>
                  </a:lnTo>
                  <a:lnTo>
                    <a:pt x="156" y="4"/>
                  </a:lnTo>
                  <a:lnTo>
                    <a:pt x="148" y="4"/>
                  </a:lnTo>
                  <a:lnTo>
                    <a:pt x="144" y="6"/>
                  </a:lnTo>
                  <a:lnTo>
                    <a:pt x="136" y="6"/>
                  </a:lnTo>
                  <a:lnTo>
                    <a:pt x="130" y="8"/>
                  </a:lnTo>
                  <a:lnTo>
                    <a:pt x="124" y="8"/>
                  </a:lnTo>
                  <a:lnTo>
                    <a:pt x="116" y="10"/>
                  </a:lnTo>
                  <a:lnTo>
                    <a:pt x="110" y="10"/>
                  </a:lnTo>
                  <a:lnTo>
                    <a:pt x="104" y="14"/>
                  </a:lnTo>
                  <a:lnTo>
                    <a:pt x="112" y="18"/>
                  </a:lnTo>
                  <a:lnTo>
                    <a:pt x="108" y="24"/>
                  </a:lnTo>
                  <a:lnTo>
                    <a:pt x="114" y="28"/>
                  </a:lnTo>
                  <a:lnTo>
                    <a:pt x="108" y="30"/>
                  </a:lnTo>
                  <a:lnTo>
                    <a:pt x="102" y="28"/>
                  </a:lnTo>
                  <a:lnTo>
                    <a:pt x="96" y="24"/>
                  </a:lnTo>
                  <a:lnTo>
                    <a:pt x="90" y="22"/>
                  </a:lnTo>
                  <a:lnTo>
                    <a:pt x="84" y="24"/>
                  </a:lnTo>
                  <a:lnTo>
                    <a:pt x="78" y="26"/>
                  </a:lnTo>
                  <a:lnTo>
                    <a:pt x="72" y="30"/>
                  </a:lnTo>
                  <a:lnTo>
                    <a:pt x="68" y="36"/>
                  </a:lnTo>
                  <a:lnTo>
                    <a:pt x="62" y="40"/>
                  </a:lnTo>
                  <a:lnTo>
                    <a:pt x="60" y="46"/>
                  </a:lnTo>
                  <a:lnTo>
                    <a:pt x="54" y="52"/>
                  </a:lnTo>
                  <a:lnTo>
                    <a:pt x="50" y="58"/>
                  </a:lnTo>
                  <a:lnTo>
                    <a:pt x="44" y="60"/>
                  </a:lnTo>
                  <a:lnTo>
                    <a:pt x="38" y="64"/>
                  </a:lnTo>
                  <a:lnTo>
                    <a:pt x="32" y="70"/>
                  </a:lnTo>
                  <a:lnTo>
                    <a:pt x="26" y="74"/>
                  </a:lnTo>
                  <a:lnTo>
                    <a:pt x="22" y="80"/>
                  </a:lnTo>
                  <a:lnTo>
                    <a:pt x="28" y="86"/>
                  </a:lnTo>
                  <a:lnTo>
                    <a:pt x="28" y="92"/>
                  </a:lnTo>
                  <a:lnTo>
                    <a:pt x="22" y="96"/>
                  </a:lnTo>
                  <a:lnTo>
                    <a:pt x="18" y="102"/>
                  </a:lnTo>
                  <a:lnTo>
                    <a:pt x="12" y="108"/>
                  </a:lnTo>
                  <a:lnTo>
                    <a:pt x="8" y="114"/>
                  </a:lnTo>
                  <a:lnTo>
                    <a:pt x="14" y="114"/>
                  </a:lnTo>
                  <a:lnTo>
                    <a:pt x="20" y="112"/>
                  </a:lnTo>
                  <a:lnTo>
                    <a:pt x="26" y="112"/>
                  </a:lnTo>
                  <a:lnTo>
                    <a:pt x="18" y="11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2" name="Freeform 290"/>
            <p:cNvSpPr>
              <a:spLocks/>
            </p:cNvSpPr>
            <p:nvPr/>
          </p:nvSpPr>
          <p:spPr bwMode="auto">
            <a:xfrm>
              <a:off x="2697163" y="2201863"/>
              <a:ext cx="6350" cy="3175"/>
            </a:xfrm>
            <a:custGeom>
              <a:avLst/>
              <a:gdLst>
                <a:gd name="T0" fmla="*/ 2147483647 w 18"/>
                <a:gd name="T1" fmla="*/ 0 h 8"/>
                <a:gd name="T2" fmla="*/ 2147483647 w 18"/>
                <a:gd name="T3" fmla="*/ 2147483647 h 8"/>
                <a:gd name="T4" fmla="*/ 0 w 18"/>
                <a:gd name="T5" fmla="*/ 2147483647 h 8"/>
                <a:gd name="T6" fmla="*/ 2147483647 w 18"/>
                <a:gd name="T7" fmla="*/ 2147483647 h 8"/>
                <a:gd name="T8" fmla="*/ 2147483647 w 18"/>
                <a:gd name="T9" fmla="*/ 2147483647 h 8"/>
                <a:gd name="T10" fmla="*/ 2147483647 w 18"/>
                <a:gd name="T11" fmla="*/ 2147483647 h 8"/>
                <a:gd name="T12" fmla="*/ 2147483647 w 18"/>
                <a:gd name="T13" fmla="*/ 2147483647 h 8"/>
                <a:gd name="T14" fmla="*/ 2147483647 w 18"/>
                <a:gd name="T15" fmla="*/ 0 h 8"/>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8"/>
                <a:gd name="T26" fmla="*/ 18 w 18"/>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8">
                  <a:moveTo>
                    <a:pt x="12" y="0"/>
                  </a:moveTo>
                  <a:lnTo>
                    <a:pt x="6" y="2"/>
                  </a:lnTo>
                  <a:lnTo>
                    <a:pt x="0" y="6"/>
                  </a:lnTo>
                  <a:lnTo>
                    <a:pt x="6" y="8"/>
                  </a:lnTo>
                  <a:lnTo>
                    <a:pt x="12" y="8"/>
                  </a:lnTo>
                  <a:lnTo>
                    <a:pt x="18" y="8"/>
                  </a:lnTo>
                  <a:lnTo>
                    <a:pt x="18" y="2"/>
                  </a:lnTo>
                  <a:lnTo>
                    <a:pt x="12"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3" name="Freeform 291"/>
            <p:cNvSpPr>
              <a:spLocks/>
            </p:cNvSpPr>
            <p:nvPr/>
          </p:nvSpPr>
          <p:spPr bwMode="auto">
            <a:xfrm>
              <a:off x="2720975" y="2219325"/>
              <a:ext cx="434975" cy="292100"/>
            </a:xfrm>
            <a:custGeom>
              <a:avLst/>
              <a:gdLst>
                <a:gd name="T0" fmla="*/ 2147483647 w 1068"/>
                <a:gd name="T1" fmla="*/ 2147483647 h 708"/>
                <a:gd name="T2" fmla="*/ 2147483647 w 1068"/>
                <a:gd name="T3" fmla="*/ 2147483647 h 708"/>
                <a:gd name="T4" fmla="*/ 2147483647 w 1068"/>
                <a:gd name="T5" fmla="*/ 2147483647 h 708"/>
                <a:gd name="T6" fmla="*/ 2147483647 w 1068"/>
                <a:gd name="T7" fmla="*/ 2147483647 h 708"/>
                <a:gd name="T8" fmla="*/ 2147483647 w 1068"/>
                <a:gd name="T9" fmla="*/ 2147483647 h 708"/>
                <a:gd name="T10" fmla="*/ 2147483647 w 1068"/>
                <a:gd name="T11" fmla="*/ 2147483647 h 708"/>
                <a:gd name="T12" fmla="*/ 2147483647 w 1068"/>
                <a:gd name="T13" fmla="*/ 2147483647 h 708"/>
                <a:gd name="T14" fmla="*/ 2147483647 w 1068"/>
                <a:gd name="T15" fmla="*/ 2147483647 h 708"/>
                <a:gd name="T16" fmla="*/ 2147483647 w 1068"/>
                <a:gd name="T17" fmla="*/ 2147483647 h 708"/>
                <a:gd name="T18" fmla="*/ 2147483647 w 1068"/>
                <a:gd name="T19" fmla="*/ 2147483647 h 708"/>
                <a:gd name="T20" fmla="*/ 2147483647 w 1068"/>
                <a:gd name="T21" fmla="*/ 2147483647 h 708"/>
                <a:gd name="T22" fmla="*/ 2147483647 w 1068"/>
                <a:gd name="T23" fmla="*/ 2147483647 h 708"/>
                <a:gd name="T24" fmla="*/ 2147483647 w 1068"/>
                <a:gd name="T25" fmla="*/ 2147483647 h 708"/>
                <a:gd name="T26" fmla="*/ 2147483647 w 1068"/>
                <a:gd name="T27" fmla="*/ 2147483647 h 708"/>
                <a:gd name="T28" fmla="*/ 2147483647 w 1068"/>
                <a:gd name="T29" fmla="*/ 2147483647 h 708"/>
                <a:gd name="T30" fmla="*/ 2147483647 w 1068"/>
                <a:gd name="T31" fmla="*/ 2147483647 h 708"/>
                <a:gd name="T32" fmla="*/ 2147483647 w 1068"/>
                <a:gd name="T33" fmla="*/ 2147483647 h 708"/>
                <a:gd name="T34" fmla="*/ 2147483647 w 1068"/>
                <a:gd name="T35" fmla="*/ 2147483647 h 708"/>
                <a:gd name="T36" fmla="*/ 2147483647 w 1068"/>
                <a:gd name="T37" fmla="*/ 2147483647 h 708"/>
                <a:gd name="T38" fmla="*/ 2147483647 w 1068"/>
                <a:gd name="T39" fmla="*/ 2147483647 h 708"/>
                <a:gd name="T40" fmla="*/ 2147483647 w 1068"/>
                <a:gd name="T41" fmla="*/ 2147483647 h 708"/>
                <a:gd name="T42" fmla="*/ 2147483647 w 1068"/>
                <a:gd name="T43" fmla="*/ 2147483647 h 708"/>
                <a:gd name="T44" fmla="*/ 2147483647 w 1068"/>
                <a:gd name="T45" fmla="*/ 2147483647 h 708"/>
                <a:gd name="T46" fmla="*/ 2147483647 w 1068"/>
                <a:gd name="T47" fmla="*/ 2147483647 h 708"/>
                <a:gd name="T48" fmla="*/ 2147483647 w 1068"/>
                <a:gd name="T49" fmla="*/ 2147483647 h 708"/>
                <a:gd name="T50" fmla="*/ 2147483647 w 1068"/>
                <a:gd name="T51" fmla="*/ 2147483647 h 708"/>
                <a:gd name="T52" fmla="*/ 2147483647 w 1068"/>
                <a:gd name="T53" fmla="*/ 2147483647 h 708"/>
                <a:gd name="T54" fmla="*/ 2147483647 w 1068"/>
                <a:gd name="T55" fmla="*/ 2147483647 h 708"/>
                <a:gd name="T56" fmla="*/ 2147483647 w 1068"/>
                <a:gd name="T57" fmla="*/ 2147483647 h 708"/>
                <a:gd name="T58" fmla="*/ 2147483647 w 1068"/>
                <a:gd name="T59" fmla="*/ 2147483647 h 708"/>
                <a:gd name="T60" fmla="*/ 2147483647 w 1068"/>
                <a:gd name="T61" fmla="*/ 2147483647 h 708"/>
                <a:gd name="T62" fmla="*/ 2147483647 w 1068"/>
                <a:gd name="T63" fmla="*/ 2147483647 h 708"/>
                <a:gd name="T64" fmla="*/ 2147483647 w 1068"/>
                <a:gd name="T65" fmla="*/ 2147483647 h 708"/>
                <a:gd name="T66" fmla="*/ 2147483647 w 1068"/>
                <a:gd name="T67" fmla="*/ 2147483647 h 708"/>
                <a:gd name="T68" fmla="*/ 2147483647 w 1068"/>
                <a:gd name="T69" fmla="*/ 2147483647 h 708"/>
                <a:gd name="T70" fmla="*/ 2147483647 w 1068"/>
                <a:gd name="T71" fmla="*/ 2147483647 h 708"/>
                <a:gd name="T72" fmla="*/ 2147483647 w 1068"/>
                <a:gd name="T73" fmla="*/ 2147483647 h 708"/>
                <a:gd name="T74" fmla="*/ 2147483647 w 1068"/>
                <a:gd name="T75" fmla="*/ 2147483647 h 708"/>
                <a:gd name="T76" fmla="*/ 2147483647 w 1068"/>
                <a:gd name="T77" fmla="*/ 2147483647 h 708"/>
                <a:gd name="T78" fmla="*/ 2147483647 w 1068"/>
                <a:gd name="T79" fmla="*/ 2147483647 h 708"/>
                <a:gd name="T80" fmla="*/ 2147483647 w 1068"/>
                <a:gd name="T81" fmla="*/ 2147483647 h 708"/>
                <a:gd name="T82" fmla="*/ 2147483647 w 1068"/>
                <a:gd name="T83" fmla="*/ 2147483647 h 708"/>
                <a:gd name="T84" fmla="*/ 2147483647 w 1068"/>
                <a:gd name="T85" fmla="*/ 2147483647 h 708"/>
                <a:gd name="T86" fmla="*/ 2147483647 w 1068"/>
                <a:gd name="T87" fmla="*/ 2147483647 h 708"/>
                <a:gd name="T88" fmla="*/ 2147483647 w 1068"/>
                <a:gd name="T89" fmla="*/ 2147483647 h 708"/>
                <a:gd name="T90" fmla="*/ 2147483647 w 1068"/>
                <a:gd name="T91" fmla="*/ 2147483647 h 708"/>
                <a:gd name="T92" fmla="*/ 2147483647 w 1068"/>
                <a:gd name="T93" fmla="*/ 2147483647 h 708"/>
                <a:gd name="T94" fmla="*/ 2147483647 w 1068"/>
                <a:gd name="T95" fmla="*/ 2147483647 h 708"/>
                <a:gd name="T96" fmla="*/ 2147483647 w 1068"/>
                <a:gd name="T97" fmla="*/ 2147483647 h 708"/>
                <a:gd name="T98" fmla="*/ 2147483647 w 1068"/>
                <a:gd name="T99" fmla="*/ 2147483647 h 708"/>
                <a:gd name="T100" fmla="*/ 2147483647 w 1068"/>
                <a:gd name="T101" fmla="*/ 2147483647 h 708"/>
                <a:gd name="T102" fmla="*/ 2147483647 w 1068"/>
                <a:gd name="T103" fmla="*/ 2147483647 h 708"/>
                <a:gd name="T104" fmla="*/ 2147483647 w 1068"/>
                <a:gd name="T105" fmla="*/ 2147483647 h 708"/>
                <a:gd name="T106" fmla="*/ 2147483647 w 1068"/>
                <a:gd name="T107" fmla="*/ 2147483647 h 708"/>
                <a:gd name="T108" fmla="*/ 2147483647 w 1068"/>
                <a:gd name="T109" fmla="*/ 2147483647 h 708"/>
                <a:gd name="T110" fmla="*/ 2147483647 w 1068"/>
                <a:gd name="T111" fmla="*/ 2147483647 h 708"/>
                <a:gd name="T112" fmla="*/ 2147483647 w 1068"/>
                <a:gd name="T113" fmla="*/ 2147483647 h 708"/>
                <a:gd name="T114" fmla="*/ 2147483647 w 1068"/>
                <a:gd name="T115" fmla="*/ 2147483647 h 708"/>
                <a:gd name="T116" fmla="*/ 2147483647 w 1068"/>
                <a:gd name="T117" fmla="*/ 2147483647 h 708"/>
                <a:gd name="T118" fmla="*/ 2147483647 w 1068"/>
                <a:gd name="T119" fmla="*/ 2147483647 h 708"/>
                <a:gd name="T120" fmla="*/ 2147483647 w 1068"/>
                <a:gd name="T121" fmla="*/ 2147483647 h 708"/>
                <a:gd name="T122" fmla="*/ 2147483647 w 1068"/>
                <a:gd name="T123" fmla="*/ 2147483647 h 7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68"/>
                <a:gd name="T187" fmla="*/ 0 h 708"/>
                <a:gd name="T188" fmla="*/ 1068 w 1068"/>
                <a:gd name="T189" fmla="*/ 708 h 70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68" h="708">
                  <a:moveTo>
                    <a:pt x="6" y="134"/>
                  </a:moveTo>
                  <a:lnTo>
                    <a:pt x="6" y="140"/>
                  </a:lnTo>
                  <a:lnTo>
                    <a:pt x="12" y="142"/>
                  </a:lnTo>
                  <a:lnTo>
                    <a:pt x="16" y="142"/>
                  </a:lnTo>
                  <a:lnTo>
                    <a:pt x="22" y="144"/>
                  </a:lnTo>
                  <a:lnTo>
                    <a:pt x="28" y="144"/>
                  </a:lnTo>
                  <a:lnTo>
                    <a:pt x="34" y="144"/>
                  </a:lnTo>
                  <a:lnTo>
                    <a:pt x="40" y="144"/>
                  </a:lnTo>
                  <a:lnTo>
                    <a:pt x="46" y="146"/>
                  </a:lnTo>
                  <a:lnTo>
                    <a:pt x="54" y="146"/>
                  </a:lnTo>
                  <a:lnTo>
                    <a:pt x="60" y="146"/>
                  </a:lnTo>
                  <a:lnTo>
                    <a:pt x="66" y="148"/>
                  </a:lnTo>
                  <a:lnTo>
                    <a:pt x="72" y="148"/>
                  </a:lnTo>
                  <a:lnTo>
                    <a:pt x="78" y="148"/>
                  </a:lnTo>
                  <a:lnTo>
                    <a:pt x="84" y="146"/>
                  </a:lnTo>
                  <a:lnTo>
                    <a:pt x="90" y="146"/>
                  </a:lnTo>
                  <a:lnTo>
                    <a:pt x="86" y="152"/>
                  </a:lnTo>
                  <a:lnTo>
                    <a:pt x="92" y="154"/>
                  </a:lnTo>
                  <a:lnTo>
                    <a:pt x="98" y="158"/>
                  </a:lnTo>
                  <a:lnTo>
                    <a:pt x="104" y="160"/>
                  </a:lnTo>
                  <a:lnTo>
                    <a:pt x="110" y="160"/>
                  </a:lnTo>
                  <a:lnTo>
                    <a:pt x="104" y="160"/>
                  </a:lnTo>
                  <a:lnTo>
                    <a:pt x="98" y="160"/>
                  </a:lnTo>
                  <a:lnTo>
                    <a:pt x="92" y="164"/>
                  </a:lnTo>
                  <a:lnTo>
                    <a:pt x="86" y="162"/>
                  </a:lnTo>
                  <a:lnTo>
                    <a:pt x="80" y="162"/>
                  </a:lnTo>
                  <a:lnTo>
                    <a:pt x="74" y="164"/>
                  </a:lnTo>
                  <a:lnTo>
                    <a:pt x="68" y="164"/>
                  </a:lnTo>
                  <a:lnTo>
                    <a:pt x="62" y="164"/>
                  </a:lnTo>
                  <a:lnTo>
                    <a:pt x="56" y="164"/>
                  </a:lnTo>
                  <a:lnTo>
                    <a:pt x="50" y="158"/>
                  </a:lnTo>
                  <a:lnTo>
                    <a:pt x="44" y="156"/>
                  </a:lnTo>
                  <a:lnTo>
                    <a:pt x="38" y="158"/>
                  </a:lnTo>
                  <a:lnTo>
                    <a:pt x="32" y="158"/>
                  </a:lnTo>
                  <a:lnTo>
                    <a:pt x="26" y="158"/>
                  </a:lnTo>
                  <a:lnTo>
                    <a:pt x="20" y="158"/>
                  </a:lnTo>
                  <a:lnTo>
                    <a:pt x="14" y="156"/>
                  </a:lnTo>
                  <a:lnTo>
                    <a:pt x="8" y="156"/>
                  </a:lnTo>
                  <a:lnTo>
                    <a:pt x="12" y="160"/>
                  </a:lnTo>
                  <a:lnTo>
                    <a:pt x="6" y="164"/>
                  </a:lnTo>
                  <a:lnTo>
                    <a:pt x="0" y="168"/>
                  </a:lnTo>
                  <a:lnTo>
                    <a:pt x="2" y="176"/>
                  </a:lnTo>
                  <a:lnTo>
                    <a:pt x="6" y="180"/>
                  </a:lnTo>
                  <a:lnTo>
                    <a:pt x="4" y="186"/>
                  </a:lnTo>
                  <a:lnTo>
                    <a:pt x="12" y="192"/>
                  </a:lnTo>
                  <a:lnTo>
                    <a:pt x="18" y="192"/>
                  </a:lnTo>
                  <a:lnTo>
                    <a:pt x="24" y="194"/>
                  </a:lnTo>
                  <a:lnTo>
                    <a:pt x="30" y="194"/>
                  </a:lnTo>
                  <a:lnTo>
                    <a:pt x="36" y="198"/>
                  </a:lnTo>
                  <a:lnTo>
                    <a:pt x="30" y="198"/>
                  </a:lnTo>
                  <a:lnTo>
                    <a:pt x="24" y="198"/>
                  </a:lnTo>
                  <a:lnTo>
                    <a:pt x="28" y="200"/>
                  </a:lnTo>
                  <a:lnTo>
                    <a:pt x="36" y="204"/>
                  </a:lnTo>
                  <a:lnTo>
                    <a:pt x="42" y="202"/>
                  </a:lnTo>
                  <a:lnTo>
                    <a:pt x="48" y="202"/>
                  </a:lnTo>
                  <a:lnTo>
                    <a:pt x="42" y="200"/>
                  </a:lnTo>
                  <a:lnTo>
                    <a:pt x="48" y="198"/>
                  </a:lnTo>
                  <a:lnTo>
                    <a:pt x="54" y="198"/>
                  </a:lnTo>
                  <a:lnTo>
                    <a:pt x="60" y="200"/>
                  </a:lnTo>
                  <a:lnTo>
                    <a:pt x="66" y="200"/>
                  </a:lnTo>
                  <a:lnTo>
                    <a:pt x="72" y="200"/>
                  </a:lnTo>
                  <a:lnTo>
                    <a:pt x="78" y="200"/>
                  </a:lnTo>
                  <a:lnTo>
                    <a:pt x="72" y="194"/>
                  </a:lnTo>
                  <a:lnTo>
                    <a:pt x="78" y="192"/>
                  </a:lnTo>
                  <a:lnTo>
                    <a:pt x="84" y="190"/>
                  </a:lnTo>
                  <a:lnTo>
                    <a:pt x="90" y="194"/>
                  </a:lnTo>
                  <a:lnTo>
                    <a:pt x="84" y="196"/>
                  </a:lnTo>
                  <a:lnTo>
                    <a:pt x="90" y="198"/>
                  </a:lnTo>
                  <a:lnTo>
                    <a:pt x="96" y="196"/>
                  </a:lnTo>
                  <a:lnTo>
                    <a:pt x="102" y="192"/>
                  </a:lnTo>
                  <a:lnTo>
                    <a:pt x="108" y="192"/>
                  </a:lnTo>
                  <a:lnTo>
                    <a:pt x="114" y="190"/>
                  </a:lnTo>
                  <a:lnTo>
                    <a:pt x="108" y="192"/>
                  </a:lnTo>
                  <a:lnTo>
                    <a:pt x="102" y="194"/>
                  </a:lnTo>
                  <a:lnTo>
                    <a:pt x="96" y="200"/>
                  </a:lnTo>
                  <a:lnTo>
                    <a:pt x="94" y="206"/>
                  </a:lnTo>
                  <a:lnTo>
                    <a:pt x="98" y="210"/>
                  </a:lnTo>
                  <a:lnTo>
                    <a:pt x="104" y="214"/>
                  </a:lnTo>
                  <a:lnTo>
                    <a:pt x="110" y="216"/>
                  </a:lnTo>
                  <a:lnTo>
                    <a:pt x="112" y="218"/>
                  </a:lnTo>
                  <a:lnTo>
                    <a:pt x="118" y="218"/>
                  </a:lnTo>
                  <a:lnTo>
                    <a:pt x="126" y="216"/>
                  </a:lnTo>
                  <a:lnTo>
                    <a:pt x="130" y="218"/>
                  </a:lnTo>
                  <a:lnTo>
                    <a:pt x="134" y="218"/>
                  </a:lnTo>
                  <a:lnTo>
                    <a:pt x="136" y="218"/>
                  </a:lnTo>
                  <a:lnTo>
                    <a:pt x="130" y="214"/>
                  </a:lnTo>
                  <a:lnTo>
                    <a:pt x="124" y="214"/>
                  </a:lnTo>
                  <a:lnTo>
                    <a:pt x="118" y="214"/>
                  </a:lnTo>
                  <a:lnTo>
                    <a:pt x="124" y="212"/>
                  </a:lnTo>
                  <a:lnTo>
                    <a:pt x="130" y="212"/>
                  </a:lnTo>
                  <a:lnTo>
                    <a:pt x="136" y="212"/>
                  </a:lnTo>
                  <a:lnTo>
                    <a:pt x="142" y="212"/>
                  </a:lnTo>
                  <a:lnTo>
                    <a:pt x="148" y="212"/>
                  </a:lnTo>
                  <a:lnTo>
                    <a:pt x="154" y="214"/>
                  </a:lnTo>
                  <a:lnTo>
                    <a:pt x="160" y="210"/>
                  </a:lnTo>
                  <a:lnTo>
                    <a:pt x="162" y="218"/>
                  </a:lnTo>
                  <a:lnTo>
                    <a:pt x="164" y="218"/>
                  </a:lnTo>
                  <a:lnTo>
                    <a:pt x="168" y="218"/>
                  </a:lnTo>
                  <a:lnTo>
                    <a:pt x="172" y="218"/>
                  </a:lnTo>
                  <a:lnTo>
                    <a:pt x="180" y="218"/>
                  </a:lnTo>
                  <a:lnTo>
                    <a:pt x="186" y="218"/>
                  </a:lnTo>
                  <a:lnTo>
                    <a:pt x="192" y="220"/>
                  </a:lnTo>
                  <a:lnTo>
                    <a:pt x="198" y="220"/>
                  </a:lnTo>
                  <a:lnTo>
                    <a:pt x="204" y="220"/>
                  </a:lnTo>
                  <a:lnTo>
                    <a:pt x="210" y="220"/>
                  </a:lnTo>
                  <a:lnTo>
                    <a:pt x="216" y="220"/>
                  </a:lnTo>
                  <a:lnTo>
                    <a:pt x="222" y="218"/>
                  </a:lnTo>
                  <a:lnTo>
                    <a:pt x="224" y="218"/>
                  </a:lnTo>
                  <a:lnTo>
                    <a:pt x="226" y="218"/>
                  </a:lnTo>
                  <a:lnTo>
                    <a:pt x="232" y="218"/>
                  </a:lnTo>
                  <a:lnTo>
                    <a:pt x="234" y="218"/>
                  </a:lnTo>
                  <a:lnTo>
                    <a:pt x="240" y="220"/>
                  </a:lnTo>
                  <a:lnTo>
                    <a:pt x="246" y="222"/>
                  </a:lnTo>
                  <a:lnTo>
                    <a:pt x="252" y="226"/>
                  </a:lnTo>
                  <a:lnTo>
                    <a:pt x="258" y="226"/>
                  </a:lnTo>
                  <a:lnTo>
                    <a:pt x="264" y="230"/>
                  </a:lnTo>
                  <a:lnTo>
                    <a:pt x="270" y="226"/>
                  </a:lnTo>
                  <a:lnTo>
                    <a:pt x="276" y="226"/>
                  </a:lnTo>
                  <a:lnTo>
                    <a:pt x="282" y="224"/>
                  </a:lnTo>
                  <a:lnTo>
                    <a:pt x="288" y="222"/>
                  </a:lnTo>
                  <a:lnTo>
                    <a:pt x="282" y="220"/>
                  </a:lnTo>
                  <a:lnTo>
                    <a:pt x="282" y="218"/>
                  </a:lnTo>
                  <a:lnTo>
                    <a:pt x="274" y="212"/>
                  </a:lnTo>
                  <a:lnTo>
                    <a:pt x="270" y="210"/>
                  </a:lnTo>
                  <a:lnTo>
                    <a:pt x="262" y="208"/>
                  </a:lnTo>
                  <a:lnTo>
                    <a:pt x="258" y="206"/>
                  </a:lnTo>
                  <a:lnTo>
                    <a:pt x="252" y="202"/>
                  </a:lnTo>
                  <a:lnTo>
                    <a:pt x="258" y="204"/>
                  </a:lnTo>
                  <a:lnTo>
                    <a:pt x="264" y="206"/>
                  </a:lnTo>
                  <a:lnTo>
                    <a:pt x="270" y="208"/>
                  </a:lnTo>
                  <a:lnTo>
                    <a:pt x="276" y="210"/>
                  </a:lnTo>
                  <a:lnTo>
                    <a:pt x="282" y="212"/>
                  </a:lnTo>
                  <a:lnTo>
                    <a:pt x="288" y="218"/>
                  </a:lnTo>
                  <a:lnTo>
                    <a:pt x="294" y="220"/>
                  </a:lnTo>
                  <a:lnTo>
                    <a:pt x="300" y="222"/>
                  </a:lnTo>
                  <a:lnTo>
                    <a:pt x="306" y="228"/>
                  </a:lnTo>
                  <a:lnTo>
                    <a:pt x="312" y="232"/>
                  </a:lnTo>
                  <a:lnTo>
                    <a:pt x="318" y="232"/>
                  </a:lnTo>
                  <a:lnTo>
                    <a:pt x="320" y="228"/>
                  </a:lnTo>
                  <a:lnTo>
                    <a:pt x="314" y="222"/>
                  </a:lnTo>
                  <a:lnTo>
                    <a:pt x="314" y="218"/>
                  </a:lnTo>
                  <a:lnTo>
                    <a:pt x="308" y="216"/>
                  </a:lnTo>
                  <a:lnTo>
                    <a:pt x="304" y="218"/>
                  </a:lnTo>
                  <a:lnTo>
                    <a:pt x="298" y="214"/>
                  </a:lnTo>
                  <a:lnTo>
                    <a:pt x="304" y="210"/>
                  </a:lnTo>
                  <a:lnTo>
                    <a:pt x="310" y="212"/>
                  </a:lnTo>
                  <a:lnTo>
                    <a:pt x="316" y="212"/>
                  </a:lnTo>
                  <a:lnTo>
                    <a:pt x="322" y="212"/>
                  </a:lnTo>
                  <a:lnTo>
                    <a:pt x="330" y="214"/>
                  </a:lnTo>
                  <a:lnTo>
                    <a:pt x="334" y="214"/>
                  </a:lnTo>
                  <a:lnTo>
                    <a:pt x="342" y="214"/>
                  </a:lnTo>
                  <a:lnTo>
                    <a:pt x="346" y="214"/>
                  </a:lnTo>
                  <a:lnTo>
                    <a:pt x="350" y="218"/>
                  </a:lnTo>
                  <a:lnTo>
                    <a:pt x="356" y="218"/>
                  </a:lnTo>
                  <a:lnTo>
                    <a:pt x="362" y="218"/>
                  </a:lnTo>
                  <a:lnTo>
                    <a:pt x="364" y="220"/>
                  </a:lnTo>
                  <a:lnTo>
                    <a:pt x="372" y="218"/>
                  </a:lnTo>
                  <a:lnTo>
                    <a:pt x="372" y="224"/>
                  </a:lnTo>
                  <a:lnTo>
                    <a:pt x="380" y="226"/>
                  </a:lnTo>
                  <a:lnTo>
                    <a:pt x="384" y="224"/>
                  </a:lnTo>
                  <a:lnTo>
                    <a:pt x="392" y="224"/>
                  </a:lnTo>
                  <a:lnTo>
                    <a:pt x="396" y="224"/>
                  </a:lnTo>
                  <a:lnTo>
                    <a:pt x="402" y="224"/>
                  </a:lnTo>
                  <a:lnTo>
                    <a:pt x="410" y="224"/>
                  </a:lnTo>
                  <a:lnTo>
                    <a:pt x="414" y="224"/>
                  </a:lnTo>
                  <a:lnTo>
                    <a:pt x="422" y="222"/>
                  </a:lnTo>
                  <a:lnTo>
                    <a:pt x="426" y="218"/>
                  </a:lnTo>
                  <a:lnTo>
                    <a:pt x="428" y="212"/>
                  </a:lnTo>
                  <a:lnTo>
                    <a:pt x="430" y="206"/>
                  </a:lnTo>
                  <a:lnTo>
                    <a:pt x="430" y="200"/>
                  </a:lnTo>
                  <a:lnTo>
                    <a:pt x="422" y="198"/>
                  </a:lnTo>
                  <a:lnTo>
                    <a:pt x="418" y="200"/>
                  </a:lnTo>
                  <a:lnTo>
                    <a:pt x="412" y="196"/>
                  </a:lnTo>
                  <a:lnTo>
                    <a:pt x="406" y="194"/>
                  </a:lnTo>
                  <a:lnTo>
                    <a:pt x="412" y="192"/>
                  </a:lnTo>
                  <a:lnTo>
                    <a:pt x="418" y="190"/>
                  </a:lnTo>
                  <a:lnTo>
                    <a:pt x="424" y="194"/>
                  </a:lnTo>
                  <a:lnTo>
                    <a:pt x="430" y="188"/>
                  </a:lnTo>
                  <a:lnTo>
                    <a:pt x="436" y="186"/>
                  </a:lnTo>
                  <a:lnTo>
                    <a:pt x="440" y="178"/>
                  </a:lnTo>
                  <a:lnTo>
                    <a:pt x="446" y="182"/>
                  </a:lnTo>
                  <a:lnTo>
                    <a:pt x="440" y="184"/>
                  </a:lnTo>
                  <a:lnTo>
                    <a:pt x="434" y="186"/>
                  </a:lnTo>
                  <a:lnTo>
                    <a:pt x="436" y="192"/>
                  </a:lnTo>
                  <a:lnTo>
                    <a:pt x="442" y="192"/>
                  </a:lnTo>
                  <a:lnTo>
                    <a:pt x="444" y="198"/>
                  </a:lnTo>
                  <a:lnTo>
                    <a:pt x="450" y="196"/>
                  </a:lnTo>
                  <a:lnTo>
                    <a:pt x="448" y="202"/>
                  </a:lnTo>
                  <a:lnTo>
                    <a:pt x="456" y="204"/>
                  </a:lnTo>
                  <a:lnTo>
                    <a:pt x="460" y="202"/>
                  </a:lnTo>
                  <a:lnTo>
                    <a:pt x="468" y="204"/>
                  </a:lnTo>
                  <a:lnTo>
                    <a:pt x="474" y="202"/>
                  </a:lnTo>
                  <a:lnTo>
                    <a:pt x="476" y="208"/>
                  </a:lnTo>
                  <a:lnTo>
                    <a:pt x="472" y="214"/>
                  </a:lnTo>
                  <a:lnTo>
                    <a:pt x="468" y="218"/>
                  </a:lnTo>
                  <a:lnTo>
                    <a:pt x="464" y="224"/>
                  </a:lnTo>
                  <a:lnTo>
                    <a:pt x="462" y="230"/>
                  </a:lnTo>
                  <a:lnTo>
                    <a:pt x="468" y="230"/>
                  </a:lnTo>
                  <a:lnTo>
                    <a:pt x="474" y="226"/>
                  </a:lnTo>
                  <a:lnTo>
                    <a:pt x="480" y="224"/>
                  </a:lnTo>
                  <a:lnTo>
                    <a:pt x="486" y="224"/>
                  </a:lnTo>
                  <a:lnTo>
                    <a:pt x="492" y="222"/>
                  </a:lnTo>
                  <a:lnTo>
                    <a:pt x="498" y="220"/>
                  </a:lnTo>
                  <a:lnTo>
                    <a:pt x="492" y="222"/>
                  </a:lnTo>
                  <a:lnTo>
                    <a:pt x="486" y="224"/>
                  </a:lnTo>
                  <a:lnTo>
                    <a:pt x="480" y="226"/>
                  </a:lnTo>
                  <a:lnTo>
                    <a:pt x="486" y="228"/>
                  </a:lnTo>
                  <a:lnTo>
                    <a:pt x="492" y="226"/>
                  </a:lnTo>
                  <a:lnTo>
                    <a:pt x="498" y="228"/>
                  </a:lnTo>
                  <a:lnTo>
                    <a:pt x="496" y="234"/>
                  </a:lnTo>
                  <a:lnTo>
                    <a:pt x="490" y="236"/>
                  </a:lnTo>
                  <a:lnTo>
                    <a:pt x="484" y="236"/>
                  </a:lnTo>
                  <a:lnTo>
                    <a:pt x="478" y="236"/>
                  </a:lnTo>
                  <a:lnTo>
                    <a:pt x="484" y="240"/>
                  </a:lnTo>
                  <a:lnTo>
                    <a:pt x="490" y="240"/>
                  </a:lnTo>
                  <a:lnTo>
                    <a:pt x="496" y="242"/>
                  </a:lnTo>
                  <a:lnTo>
                    <a:pt x="502" y="240"/>
                  </a:lnTo>
                  <a:lnTo>
                    <a:pt x="508" y="236"/>
                  </a:lnTo>
                  <a:lnTo>
                    <a:pt x="514" y="236"/>
                  </a:lnTo>
                  <a:lnTo>
                    <a:pt x="520" y="236"/>
                  </a:lnTo>
                  <a:lnTo>
                    <a:pt x="514" y="238"/>
                  </a:lnTo>
                  <a:lnTo>
                    <a:pt x="508" y="238"/>
                  </a:lnTo>
                  <a:lnTo>
                    <a:pt x="502" y="240"/>
                  </a:lnTo>
                  <a:lnTo>
                    <a:pt x="496" y="242"/>
                  </a:lnTo>
                  <a:lnTo>
                    <a:pt x="498" y="248"/>
                  </a:lnTo>
                  <a:lnTo>
                    <a:pt x="506" y="252"/>
                  </a:lnTo>
                  <a:lnTo>
                    <a:pt x="512" y="252"/>
                  </a:lnTo>
                  <a:lnTo>
                    <a:pt x="518" y="254"/>
                  </a:lnTo>
                  <a:lnTo>
                    <a:pt x="524" y="258"/>
                  </a:lnTo>
                  <a:lnTo>
                    <a:pt x="526" y="264"/>
                  </a:lnTo>
                  <a:lnTo>
                    <a:pt x="522" y="270"/>
                  </a:lnTo>
                  <a:lnTo>
                    <a:pt x="516" y="270"/>
                  </a:lnTo>
                  <a:lnTo>
                    <a:pt x="510" y="272"/>
                  </a:lnTo>
                  <a:lnTo>
                    <a:pt x="502" y="274"/>
                  </a:lnTo>
                  <a:lnTo>
                    <a:pt x="498" y="276"/>
                  </a:lnTo>
                  <a:lnTo>
                    <a:pt x="490" y="272"/>
                  </a:lnTo>
                  <a:lnTo>
                    <a:pt x="484" y="272"/>
                  </a:lnTo>
                  <a:lnTo>
                    <a:pt x="478" y="274"/>
                  </a:lnTo>
                  <a:lnTo>
                    <a:pt x="474" y="274"/>
                  </a:lnTo>
                  <a:lnTo>
                    <a:pt x="468" y="280"/>
                  </a:lnTo>
                  <a:lnTo>
                    <a:pt x="468" y="286"/>
                  </a:lnTo>
                  <a:lnTo>
                    <a:pt x="462" y="288"/>
                  </a:lnTo>
                  <a:lnTo>
                    <a:pt x="458" y="294"/>
                  </a:lnTo>
                  <a:lnTo>
                    <a:pt x="464" y="294"/>
                  </a:lnTo>
                  <a:lnTo>
                    <a:pt x="470" y="294"/>
                  </a:lnTo>
                  <a:lnTo>
                    <a:pt x="478" y="292"/>
                  </a:lnTo>
                  <a:lnTo>
                    <a:pt x="482" y="290"/>
                  </a:lnTo>
                  <a:lnTo>
                    <a:pt x="490" y="288"/>
                  </a:lnTo>
                  <a:lnTo>
                    <a:pt x="494" y="286"/>
                  </a:lnTo>
                  <a:lnTo>
                    <a:pt x="502" y="284"/>
                  </a:lnTo>
                  <a:lnTo>
                    <a:pt x="508" y="284"/>
                  </a:lnTo>
                  <a:lnTo>
                    <a:pt x="514" y="282"/>
                  </a:lnTo>
                  <a:lnTo>
                    <a:pt x="518" y="276"/>
                  </a:lnTo>
                  <a:lnTo>
                    <a:pt x="524" y="274"/>
                  </a:lnTo>
                  <a:lnTo>
                    <a:pt x="528" y="280"/>
                  </a:lnTo>
                  <a:lnTo>
                    <a:pt x="534" y="282"/>
                  </a:lnTo>
                  <a:lnTo>
                    <a:pt x="540" y="278"/>
                  </a:lnTo>
                  <a:lnTo>
                    <a:pt x="546" y="274"/>
                  </a:lnTo>
                  <a:lnTo>
                    <a:pt x="552" y="272"/>
                  </a:lnTo>
                  <a:lnTo>
                    <a:pt x="558" y="272"/>
                  </a:lnTo>
                  <a:lnTo>
                    <a:pt x="552" y="276"/>
                  </a:lnTo>
                  <a:lnTo>
                    <a:pt x="546" y="276"/>
                  </a:lnTo>
                  <a:lnTo>
                    <a:pt x="540" y="280"/>
                  </a:lnTo>
                  <a:lnTo>
                    <a:pt x="546" y="278"/>
                  </a:lnTo>
                  <a:lnTo>
                    <a:pt x="540" y="280"/>
                  </a:lnTo>
                  <a:lnTo>
                    <a:pt x="546" y="280"/>
                  </a:lnTo>
                  <a:lnTo>
                    <a:pt x="552" y="280"/>
                  </a:lnTo>
                  <a:lnTo>
                    <a:pt x="546" y="284"/>
                  </a:lnTo>
                  <a:lnTo>
                    <a:pt x="540" y="286"/>
                  </a:lnTo>
                  <a:lnTo>
                    <a:pt x="546" y="288"/>
                  </a:lnTo>
                  <a:lnTo>
                    <a:pt x="552" y="284"/>
                  </a:lnTo>
                  <a:lnTo>
                    <a:pt x="546" y="290"/>
                  </a:lnTo>
                  <a:lnTo>
                    <a:pt x="550" y="296"/>
                  </a:lnTo>
                  <a:lnTo>
                    <a:pt x="552" y="302"/>
                  </a:lnTo>
                  <a:lnTo>
                    <a:pt x="558" y="304"/>
                  </a:lnTo>
                  <a:lnTo>
                    <a:pt x="564" y="304"/>
                  </a:lnTo>
                  <a:lnTo>
                    <a:pt x="570" y="304"/>
                  </a:lnTo>
                  <a:lnTo>
                    <a:pt x="572" y="298"/>
                  </a:lnTo>
                  <a:lnTo>
                    <a:pt x="568" y="292"/>
                  </a:lnTo>
                  <a:lnTo>
                    <a:pt x="574" y="292"/>
                  </a:lnTo>
                  <a:lnTo>
                    <a:pt x="580" y="292"/>
                  </a:lnTo>
                  <a:lnTo>
                    <a:pt x="586" y="296"/>
                  </a:lnTo>
                  <a:lnTo>
                    <a:pt x="580" y="298"/>
                  </a:lnTo>
                  <a:lnTo>
                    <a:pt x="580" y="304"/>
                  </a:lnTo>
                  <a:lnTo>
                    <a:pt x="574" y="304"/>
                  </a:lnTo>
                  <a:lnTo>
                    <a:pt x="568" y="308"/>
                  </a:lnTo>
                  <a:lnTo>
                    <a:pt x="568" y="314"/>
                  </a:lnTo>
                  <a:lnTo>
                    <a:pt x="574" y="316"/>
                  </a:lnTo>
                  <a:lnTo>
                    <a:pt x="574" y="318"/>
                  </a:lnTo>
                  <a:lnTo>
                    <a:pt x="576" y="318"/>
                  </a:lnTo>
                  <a:lnTo>
                    <a:pt x="582" y="316"/>
                  </a:lnTo>
                  <a:lnTo>
                    <a:pt x="588" y="316"/>
                  </a:lnTo>
                  <a:lnTo>
                    <a:pt x="594" y="312"/>
                  </a:lnTo>
                  <a:lnTo>
                    <a:pt x="588" y="316"/>
                  </a:lnTo>
                  <a:lnTo>
                    <a:pt x="582" y="318"/>
                  </a:lnTo>
                  <a:lnTo>
                    <a:pt x="588" y="318"/>
                  </a:lnTo>
                  <a:lnTo>
                    <a:pt x="594" y="322"/>
                  </a:lnTo>
                  <a:lnTo>
                    <a:pt x="600" y="320"/>
                  </a:lnTo>
                  <a:lnTo>
                    <a:pt x="596" y="328"/>
                  </a:lnTo>
                  <a:lnTo>
                    <a:pt x="596" y="334"/>
                  </a:lnTo>
                  <a:lnTo>
                    <a:pt x="590" y="338"/>
                  </a:lnTo>
                  <a:lnTo>
                    <a:pt x="596" y="342"/>
                  </a:lnTo>
                  <a:lnTo>
                    <a:pt x="598" y="348"/>
                  </a:lnTo>
                  <a:lnTo>
                    <a:pt x="594" y="354"/>
                  </a:lnTo>
                  <a:lnTo>
                    <a:pt x="596" y="360"/>
                  </a:lnTo>
                  <a:lnTo>
                    <a:pt x="594" y="366"/>
                  </a:lnTo>
                  <a:lnTo>
                    <a:pt x="592" y="372"/>
                  </a:lnTo>
                  <a:lnTo>
                    <a:pt x="596" y="378"/>
                  </a:lnTo>
                  <a:lnTo>
                    <a:pt x="590" y="380"/>
                  </a:lnTo>
                  <a:lnTo>
                    <a:pt x="584" y="386"/>
                  </a:lnTo>
                  <a:lnTo>
                    <a:pt x="578" y="388"/>
                  </a:lnTo>
                  <a:lnTo>
                    <a:pt x="572" y="388"/>
                  </a:lnTo>
                  <a:lnTo>
                    <a:pt x="566" y="388"/>
                  </a:lnTo>
                  <a:lnTo>
                    <a:pt x="560" y="392"/>
                  </a:lnTo>
                  <a:lnTo>
                    <a:pt x="554" y="396"/>
                  </a:lnTo>
                  <a:lnTo>
                    <a:pt x="548" y="400"/>
                  </a:lnTo>
                  <a:lnTo>
                    <a:pt x="542" y="404"/>
                  </a:lnTo>
                  <a:lnTo>
                    <a:pt x="544" y="410"/>
                  </a:lnTo>
                  <a:lnTo>
                    <a:pt x="550" y="412"/>
                  </a:lnTo>
                  <a:lnTo>
                    <a:pt x="556" y="412"/>
                  </a:lnTo>
                  <a:lnTo>
                    <a:pt x="562" y="412"/>
                  </a:lnTo>
                  <a:lnTo>
                    <a:pt x="568" y="410"/>
                  </a:lnTo>
                  <a:lnTo>
                    <a:pt x="574" y="412"/>
                  </a:lnTo>
                  <a:lnTo>
                    <a:pt x="580" y="412"/>
                  </a:lnTo>
                  <a:lnTo>
                    <a:pt x="586" y="414"/>
                  </a:lnTo>
                  <a:lnTo>
                    <a:pt x="592" y="414"/>
                  </a:lnTo>
                  <a:lnTo>
                    <a:pt x="598" y="416"/>
                  </a:lnTo>
                  <a:lnTo>
                    <a:pt x="604" y="418"/>
                  </a:lnTo>
                  <a:lnTo>
                    <a:pt x="610" y="414"/>
                  </a:lnTo>
                  <a:lnTo>
                    <a:pt x="616" y="410"/>
                  </a:lnTo>
                  <a:lnTo>
                    <a:pt x="622" y="404"/>
                  </a:lnTo>
                  <a:lnTo>
                    <a:pt x="628" y="400"/>
                  </a:lnTo>
                  <a:lnTo>
                    <a:pt x="628" y="394"/>
                  </a:lnTo>
                  <a:lnTo>
                    <a:pt x="634" y="392"/>
                  </a:lnTo>
                  <a:lnTo>
                    <a:pt x="640" y="392"/>
                  </a:lnTo>
                  <a:lnTo>
                    <a:pt x="646" y="394"/>
                  </a:lnTo>
                  <a:lnTo>
                    <a:pt x="652" y="396"/>
                  </a:lnTo>
                  <a:lnTo>
                    <a:pt x="646" y="398"/>
                  </a:lnTo>
                  <a:lnTo>
                    <a:pt x="652" y="400"/>
                  </a:lnTo>
                  <a:lnTo>
                    <a:pt x="650" y="406"/>
                  </a:lnTo>
                  <a:lnTo>
                    <a:pt x="656" y="410"/>
                  </a:lnTo>
                  <a:lnTo>
                    <a:pt x="662" y="410"/>
                  </a:lnTo>
                  <a:lnTo>
                    <a:pt x="668" y="410"/>
                  </a:lnTo>
                  <a:lnTo>
                    <a:pt x="674" y="412"/>
                  </a:lnTo>
                  <a:lnTo>
                    <a:pt x="680" y="414"/>
                  </a:lnTo>
                  <a:lnTo>
                    <a:pt x="686" y="418"/>
                  </a:lnTo>
                  <a:lnTo>
                    <a:pt x="692" y="420"/>
                  </a:lnTo>
                  <a:lnTo>
                    <a:pt x="686" y="424"/>
                  </a:lnTo>
                  <a:lnTo>
                    <a:pt x="692" y="422"/>
                  </a:lnTo>
                  <a:lnTo>
                    <a:pt x="698" y="422"/>
                  </a:lnTo>
                  <a:lnTo>
                    <a:pt x="692" y="424"/>
                  </a:lnTo>
                  <a:lnTo>
                    <a:pt x="686" y="424"/>
                  </a:lnTo>
                  <a:lnTo>
                    <a:pt x="680" y="428"/>
                  </a:lnTo>
                  <a:lnTo>
                    <a:pt x="686" y="428"/>
                  </a:lnTo>
                  <a:lnTo>
                    <a:pt x="692" y="426"/>
                  </a:lnTo>
                  <a:lnTo>
                    <a:pt x="696" y="428"/>
                  </a:lnTo>
                  <a:lnTo>
                    <a:pt x="690" y="430"/>
                  </a:lnTo>
                  <a:lnTo>
                    <a:pt x="684" y="430"/>
                  </a:lnTo>
                  <a:lnTo>
                    <a:pt x="690" y="430"/>
                  </a:lnTo>
                  <a:lnTo>
                    <a:pt x="696" y="428"/>
                  </a:lnTo>
                  <a:lnTo>
                    <a:pt x="698" y="430"/>
                  </a:lnTo>
                  <a:lnTo>
                    <a:pt x="692" y="432"/>
                  </a:lnTo>
                  <a:lnTo>
                    <a:pt x="686" y="434"/>
                  </a:lnTo>
                  <a:lnTo>
                    <a:pt x="680" y="436"/>
                  </a:lnTo>
                  <a:lnTo>
                    <a:pt x="674" y="442"/>
                  </a:lnTo>
                  <a:lnTo>
                    <a:pt x="668" y="440"/>
                  </a:lnTo>
                  <a:lnTo>
                    <a:pt x="662" y="438"/>
                  </a:lnTo>
                  <a:lnTo>
                    <a:pt x="656" y="438"/>
                  </a:lnTo>
                  <a:lnTo>
                    <a:pt x="650" y="438"/>
                  </a:lnTo>
                  <a:lnTo>
                    <a:pt x="644" y="442"/>
                  </a:lnTo>
                  <a:lnTo>
                    <a:pt x="638" y="442"/>
                  </a:lnTo>
                  <a:lnTo>
                    <a:pt x="632" y="438"/>
                  </a:lnTo>
                  <a:lnTo>
                    <a:pt x="626" y="438"/>
                  </a:lnTo>
                  <a:lnTo>
                    <a:pt x="620" y="442"/>
                  </a:lnTo>
                  <a:lnTo>
                    <a:pt x="614" y="444"/>
                  </a:lnTo>
                  <a:lnTo>
                    <a:pt x="608" y="446"/>
                  </a:lnTo>
                  <a:lnTo>
                    <a:pt x="602" y="448"/>
                  </a:lnTo>
                  <a:lnTo>
                    <a:pt x="596" y="454"/>
                  </a:lnTo>
                  <a:lnTo>
                    <a:pt x="590" y="456"/>
                  </a:lnTo>
                  <a:lnTo>
                    <a:pt x="584" y="456"/>
                  </a:lnTo>
                  <a:lnTo>
                    <a:pt x="588" y="452"/>
                  </a:lnTo>
                  <a:lnTo>
                    <a:pt x="592" y="452"/>
                  </a:lnTo>
                  <a:lnTo>
                    <a:pt x="598" y="448"/>
                  </a:lnTo>
                  <a:lnTo>
                    <a:pt x="592" y="448"/>
                  </a:lnTo>
                  <a:lnTo>
                    <a:pt x="600" y="444"/>
                  </a:lnTo>
                  <a:lnTo>
                    <a:pt x="602" y="438"/>
                  </a:lnTo>
                  <a:lnTo>
                    <a:pt x="604" y="432"/>
                  </a:lnTo>
                  <a:lnTo>
                    <a:pt x="606" y="426"/>
                  </a:lnTo>
                  <a:lnTo>
                    <a:pt x="602" y="420"/>
                  </a:lnTo>
                  <a:lnTo>
                    <a:pt x="596" y="418"/>
                  </a:lnTo>
                  <a:lnTo>
                    <a:pt x="590" y="418"/>
                  </a:lnTo>
                  <a:lnTo>
                    <a:pt x="584" y="414"/>
                  </a:lnTo>
                  <a:lnTo>
                    <a:pt x="578" y="414"/>
                  </a:lnTo>
                  <a:lnTo>
                    <a:pt x="570" y="412"/>
                  </a:lnTo>
                  <a:lnTo>
                    <a:pt x="564" y="414"/>
                  </a:lnTo>
                  <a:lnTo>
                    <a:pt x="558" y="414"/>
                  </a:lnTo>
                  <a:lnTo>
                    <a:pt x="554" y="414"/>
                  </a:lnTo>
                  <a:lnTo>
                    <a:pt x="548" y="412"/>
                  </a:lnTo>
                  <a:lnTo>
                    <a:pt x="540" y="412"/>
                  </a:lnTo>
                  <a:lnTo>
                    <a:pt x="536" y="410"/>
                  </a:lnTo>
                  <a:lnTo>
                    <a:pt x="528" y="412"/>
                  </a:lnTo>
                  <a:lnTo>
                    <a:pt x="524" y="414"/>
                  </a:lnTo>
                  <a:lnTo>
                    <a:pt x="518" y="416"/>
                  </a:lnTo>
                  <a:lnTo>
                    <a:pt x="512" y="420"/>
                  </a:lnTo>
                  <a:lnTo>
                    <a:pt x="506" y="422"/>
                  </a:lnTo>
                  <a:lnTo>
                    <a:pt x="498" y="424"/>
                  </a:lnTo>
                  <a:lnTo>
                    <a:pt x="494" y="426"/>
                  </a:lnTo>
                  <a:lnTo>
                    <a:pt x="488" y="430"/>
                  </a:lnTo>
                  <a:lnTo>
                    <a:pt x="482" y="430"/>
                  </a:lnTo>
                  <a:lnTo>
                    <a:pt x="476" y="434"/>
                  </a:lnTo>
                  <a:lnTo>
                    <a:pt x="470" y="436"/>
                  </a:lnTo>
                  <a:lnTo>
                    <a:pt x="464" y="438"/>
                  </a:lnTo>
                  <a:lnTo>
                    <a:pt x="456" y="440"/>
                  </a:lnTo>
                  <a:lnTo>
                    <a:pt x="452" y="442"/>
                  </a:lnTo>
                  <a:lnTo>
                    <a:pt x="444" y="448"/>
                  </a:lnTo>
                  <a:lnTo>
                    <a:pt x="450" y="454"/>
                  </a:lnTo>
                  <a:lnTo>
                    <a:pt x="452" y="460"/>
                  </a:lnTo>
                  <a:lnTo>
                    <a:pt x="458" y="464"/>
                  </a:lnTo>
                  <a:lnTo>
                    <a:pt x="464" y="468"/>
                  </a:lnTo>
                  <a:lnTo>
                    <a:pt x="464" y="476"/>
                  </a:lnTo>
                  <a:lnTo>
                    <a:pt x="464" y="482"/>
                  </a:lnTo>
                  <a:lnTo>
                    <a:pt x="462" y="486"/>
                  </a:lnTo>
                  <a:lnTo>
                    <a:pt x="456" y="486"/>
                  </a:lnTo>
                  <a:lnTo>
                    <a:pt x="450" y="482"/>
                  </a:lnTo>
                  <a:lnTo>
                    <a:pt x="444" y="484"/>
                  </a:lnTo>
                  <a:lnTo>
                    <a:pt x="438" y="482"/>
                  </a:lnTo>
                  <a:lnTo>
                    <a:pt x="432" y="486"/>
                  </a:lnTo>
                  <a:lnTo>
                    <a:pt x="426" y="486"/>
                  </a:lnTo>
                  <a:lnTo>
                    <a:pt x="420" y="490"/>
                  </a:lnTo>
                  <a:lnTo>
                    <a:pt x="414" y="492"/>
                  </a:lnTo>
                  <a:lnTo>
                    <a:pt x="408" y="494"/>
                  </a:lnTo>
                  <a:lnTo>
                    <a:pt x="402" y="490"/>
                  </a:lnTo>
                  <a:lnTo>
                    <a:pt x="396" y="490"/>
                  </a:lnTo>
                  <a:lnTo>
                    <a:pt x="390" y="492"/>
                  </a:lnTo>
                  <a:lnTo>
                    <a:pt x="384" y="492"/>
                  </a:lnTo>
                  <a:lnTo>
                    <a:pt x="380" y="498"/>
                  </a:lnTo>
                  <a:lnTo>
                    <a:pt x="376" y="498"/>
                  </a:lnTo>
                  <a:lnTo>
                    <a:pt x="368" y="498"/>
                  </a:lnTo>
                  <a:lnTo>
                    <a:pt x="362" y="498"/>
                  </a:lnTo>
                  <a:lnTo>
                    <a:pt x="356" y="494"/>
                  </a:lnTo>
                  <a:lnTo>
                    <a:pt x="350" y="496"/>
                  </a:lnTo>
                  <a:lnTo>
                    <a:pt x="344" y="498"/>
                  </a:lnTo>
                  <a:lnTo>
                    <a:pt x="350" y="502"/>
                  </a:lnTo>
                  <a:lnTo>
                    <a:pt x="356" y="508"/>
                  </a:lnTo>
                  <a:lnTo>
                    <a:pt x="358" y="514"/>
                  </a:lnTo>
                  <a:lnTo>
                    <a:pt x="364" y="512"/>
                  </a:lnTo>
                  <a:lnTo>
                    <a:pt x="358" y="518"/>
                  </a:lnTo>
                  <a:lnTo>
                    <a:pt x="352" y="518"/>
                  </a:lnTo>
                  <a:lnTo>
                    <a:pt x="346" y="522"/>
                  </a:lnTo>
                  <a:lnTo>
                    <a:pt x="350" y="524"/>
                  </a:lnTo>
                  <a:lnTo>
                    <a:pt x="350" y="530"/>
                  </a:lnTo>
                  <a:lnTo>
                    <a:pt x="344" y="530"/>
                  </a:lnTo>
                  <a:lnTo>
                    <a:pt x="342" y="524"/>
                  </a:lnTo>
                  <a:lnTo>
                    <a:pt x="344" y="518"/>
                  </a:lnTo>
                  <a:lnTo>
                    <a:pt x="350" y="518"/>
                  </a:lnTo>
                  <a:lnTo>
                    <a:pt x="356" y="512"/>
                  </a:lnTo>
                  <a:lnTo>
                    <a:pt x="354" y="508"/>
                  </a:lnTo>
                  <a:lnTo>
                    <a:pt x="348" y="502"/>
                  </a:lnTo>
                  <a:lnTo>
                    <a:pt x="342" y="498"/>
                  </a:lnTo>
                  <a:lnTo>
                    <a:pt x="336" y="498"/>
                  </a:lnTo>
                  <a:lnTo>
                    <a:pt x="330" y="496"/>
                  </a:lnTo>
                  <a:lnTo>
                    <a:pt x="324" y="494"/>
                  </a:lnTo>
                  <a:lnTo>
                    <a:pt x="318" y="490"/>
                  </a:lnTo>
                  <a:lnTo>
                    <a:pt x="312" y="490"/>
                  </a:lnTo>
                  <a:lnTo>
                    <a:pt x="306" y="488"/>
                  </a:lnTo>
                  <a:lnTo>
                    <a:pt x="300" y="490"/>
                  </a:lnTo>
                  <a:lnTo>
                    <a:pt x="294" y="488"/>
                  </a:lnTo>
                  <a:lnTo>
                    <a:pt x="292" y="486"/>
                  </a:lnTo>
                  <a:lnTo>
                    <a:pt x="286" y="486"/>
                  </a:lnTo>
                  <a:lnTo>
                    <a:pt x="280" y="486"/>
                  </a:lnTo>
                  <a:lnTo>
                    <a:pt x="280" y="492"/>
                  </a:lnTo>
                  <a:lnTo>
                    <a:pt x="274" y="492"/>
                  </a:lnTo>
                  <a:lnTo>
                    <a:pt x="272" y="498"/>
                  </a:lnTo>
                  <a:lnTo>
                    <a:pt x="272" y="504"/>
                  </a:lnTo>
                  <a:lnTo>
                    <a:pt x="266" y="506"/>
                  </a:lnTo>
                  <a:lnTo>
                    <a:pt x="260" y="506"/>
                  </a:lnTo>
                  <a:lnTo>
                    <a:pt x="252" y="508"/>
                  </a:lnTo>
                  <a:lnTo>
                    <a:pt x="246" y="510"/>
                  </a:lnTo>
                  <a:lnTo>
                    <a:pt x="240" y="512"/>
                  </a:lnTo>
                  <a:lnTo>
                    <a:pt x="236" y="514"/>
                  </a:lnTo>
                  <a:lnTo>
                    <a:pt x="228" y="516"/>
                  </a:lnTo>
                  <a:lnTo>
                    <a:pt x="224" y="522"/>
                  </a:lnTo>
                  <a:lnTo>
                    <a:pt x="220" y="528"/>
                  </a:lnTo>
                  <a:lnTo>
                    <a:pt x="214" y="532"/>
                  </a:lnTo>
                  <a:lnTo>
                    <a:pt x="208" y="532"/>
                  </a:lnTo>
                  <a:lnTo>
                    <a:pt x="214" y="532"/>
                  </a:lnTo>
                  <a:lnTo>
                    <a:pt x="210" y="538"/>
                  </a:lnTo>
                  <a:lnTo>
                    <a:pt x="210" y="542"/>
                  </a:lnTo>
                  <a:lnTo>
                    <a:pt x="212" y="548"/>
                  </a:lnTo>
                  <a:lnTo>
                    <a:pt x="214" y="554"/>
                  </a:lnTo>
                  <a:lnTo>
                    <a:pt x="220" y="556"/>
                  </a:lnTo>
                  <a:lnTo>
                    <a:pt x="226" y="556"/>
                  </a:lnTo>
                  <a:lnTo>
                    <a:pt x="232" y="560"/>
                  </a:lnTo>
                  <a:lnTo>
                    <a:pt x="240" y="558"/>
                  </a:lnTo>
                  <a:lnTo>
                    <a:pt x="244" y="558"/>
                  </a:lnTo>
                  <a:lnTo>
                    <a:pt x="252" y="560"/>
                  </a:lnTo>
                  <a:lnTo>
                    <a:pt x="258" y="562"/>
                  </a:lnTo>
                  <a:lnTo>
                    <a:pt x="264" y="562"/>
                  </a:lnTo>
                  <a:lnTo>
                    <a:pt x="264" y="558"/>
                  </a:lnTo>
                  <a:lnTo>
                    <a:pt x="270" y="556"/>
                  </a:lnTo>
                  <a:lnTo>
                    <a:pt x="276" y="558"/>
                  </a:lnTo>
                  <a:lnTo>
                    <a:pt x="282" y="558"/>
                  </a:lnTo>
                  <a:lnTo>
                    <a:pt x="288" y="558"/>
                  </a:lnTo>
                  <a:lnTo>
                    <a:pt x="294" y="554"/>
                  </a:lnTo>
                  <a:lnTo>
                    <a:pt x="300" y="552"/>
                  </a:lnTo>
                  <a:lnTo>
                    <a:pt x="306" y="552"/>
                  </a:lnTo>
                  <a:lnTo>
                    <a:pt x="312" y="552"/>
                  </a:lnTo>
                  <a:lnTo>
                    <a:pt x="312" y="546"/>
                  </a:lnTo>
                  <a:lnTo>
                    <a:pt x="318" y="548"/>
                  </a:lnTo>
                  <a:lnTo>
                    <a:pt x="316" y="542"/>
                  </a:lnTo>
                  <a:lnTo>
                    <a:pt x="322" y="538"/>
                  </a:lnTo>
                  <a:lnTo>
                    <a:pt x="328" y="540"/>
                  </a:lnTo>
                  <a:lnTo>
                    <a:pt x="334" y="544"/>
                  </a:lnTo>
                  <a:lnTo>
                    <a:pt x="340" y="548"/>
                  </a:lnTo>
                  <a:lnTo>
                    <a:pt x="346" y="546"/>
                  </a:lnTo>
                  <a:lnTo>
                    <a:pt x="352" y="550"/>
                  </a:lnTo>
                  <a:lnTo>
                    <a:pt x="358" y="552"/>
                  </a:lnTo>
                  <a:lnTo>
                    <a:pt x="364" y="552"/>
                  </a:lnTo>
                  <a:lnTo>
                    <a:pt x="370" y="550"/>
                  </a:lnTo>
                  <a:lnTo>
                    <a:pt x="374" y="544"/>
                  </a:lnTo>
                  <a:lnTo>
                    <a:pt x="378" y="538"/>
                  </a:lnTo>
                  <a:lnTo>
                    <a:pt x="372" y="532"/>
                  </a:lnTo>
                  <a:lnTo>
                    <a:pt x="366" y="528"/>
                  </a:lnTo>
                  <a:lnTo>
                    <a:pt x="372" y="528"/>
                  </a:lnTo>
                  <a:lnTo>
                    <a:pt x="378" y="528"/>
                  </a:lnTo>
                  <a:lnTo>
                    <a:pt x="384" y="522"/>
                  </a:lnTo>
                  <a:lnTo>
                    <a:pt x="390" y="520"/>
                  </a:lnTo>
                  <a:lnTo>
                    <a:pt x="384" y="526"/>
                  </a:lnTo>
                  <a:lnTo>
                    <a:pt x="378" y="530"/>
                  </a:lnTo>
                  <a:lnTo>
                    <a:pt x="380" y="536"/>
                  </a:lnTo>
                  <a:lnTo>
                    <a:pt x="386" y="540"/>
                  </a:lnTo>
                  <a:lnTo>
                    <a:pt x="392" y="534"/>
                  </a:lnTo>
                  <a:lnTo>
                    <a:pt x="398" y="534"/>
                  </a:lnTo>
                  <a:lnTo>
                    <a:pt x="404" y="530"/>
                  </a:lnTo>
                  <a:lnTo>
                    <a:pt x="402" y="536"/>
                  </a:lnTo>
                  <a:lnTo>
                    <a:pt x="396" y="540"/>
                  </a:lnTo>
                  <a:lnTo>
                    <a:pt x="402" y="542"/>
                  </a:lnTo>
                  <a:lnTo>
                    <a:pt x="396" y="542"/>
                  </a:lnTo>
                  <a:lnTo>
                    <a:pt x="394" y="548"/>
                  </a:lnTo>
                  <a:lnTo>
                    <a:pt x="388" y="554"/>
                  </a:lnTo>
                  <a:lnTo>
                    <a:pt x="394" y="554"/>
                  </a:lnTo>
                  <a:lnTo>
                    <a:pt x="400" y="548"/>
                  </a:lnTo>
                  <a:lnTo>
                    <a:pt x="406" y="546"/>
                  </a:lnTo>
                  <a:lnTo>
                    <a:pt x="406" y="540"/>
                  </a:lnTo>
                  <a:lnTo>
                    <a:pt x="412" y="542"/>
                  </a:lnTo>
                  <a:lnTo>
                    <a:pt x="418" y="540"/>
                  </a:lnTo>
                  <a:lnTo>
                    <a:pt x="422" y="536"/>
                  </a:lnTo>
                  <a:lnTo>
                    <a:pt x="426" y="538"/>
                  </a:lnTo>
                  <a:lnTo>
                    <a:pt x="424" y="544"/>
                  </a:lnTo>
                  <a:lnTo>
                    <a:pt x="430" y="544"/>
                  </a:lnTo>
                  <a:lnTo>
                    <a:pt x="436" y="538"/>
                  </a:lnTo>
                  <a:lnTo>
                    <a:pt x="442" y="538"/>
                  </a:lnTo>
                  <a:lnTo>
                    <a:pt x="436" y="542"/>
                  </a:lnTo>
                  <a:lnTo>
                    <a:pt x="430" y="546"/>
                  </a:lnTo>
                  <a:lnTo>
                    <a:pt x="424" y="548"/>
                  </a:lnTo>
                  <a:lnTo>
                    <a:pt x="424" y="554"/>
                  </a:lnTo>
                  <a:lnTo>
                    <a:pt x="430" y="558"/>
                  </a:lnTo>
                  <a:lnTo>
                    <a:pt x="430" y="564"/>
                  </a:lnTo>
                  <a:lnTo>
                    <a:pt x="436" y="564"/>
                  </a:lnTo>
                  <a:lnTo>
                    <a:pt x="436" y="570"/>
                  </a:lnTo>
                  <a:lnTo>
                    <a:pt x="438" y="576"/>
                  </a:lnTo>
                  <a:lnTo>
                    <a:pt x="444" y="570"/>
                  </a:lnTo>
                  <a:lnTo>
                    <a:pt x="444" y="578"/>
                  </a:lnTo>
                  <a:lnTo>
                    <a:pt x="438" y="584"/>
                  </a:lnTo>
                  <a:lnTo>
                    <a:pt x="444" y="588"/>
                  </a:lnTo>
                  <a:lnTo>
                    <a:pt x="450" y="584"/>
                  </a:lnTo>
                  <a:lnTo>
                    <a:pt x="456" y="584"/>
                  </a:lnTo>
                  <a:lnTo>
                    <a:pt x="462" y="582"/>
                  </a:lnTo>
                  <a:lnTo>
                    <a:pt x="456" y="584"/>
                  </a:lnTo>
                  <a:lnTo>
                    <a:pt x="450" y="590"/>
                  </a:lnTo>
                  <a:lnTo>
                    <a:pt x="444" y="596"/>
                  </a:lnTo>
                  <a:lnTo>
                    <a:pt x="450" y="594"/>
                  </a:lnTo>
                  <a:lnTo>
                    <a:pt x="456" y="592"/>
                  </a:lnTo>
                  <a:lnTo>
                    <a:pt x="462" y="594"/>
                  </a:lnTo>
                  <a:lnTo>
                    <a:pt x="468" y="592"/>
                  </a:lnTo>
                  <a:lnTo>
                    <a:pt x="464" y="592"/>
                  </a:lnTo>
                  <a:lnTo>
                    <a:pt x="468" y="588"/>
                  </a:lnTo>
                  <a:lnTo>
                    <a:pt x="472" y="592"/>
                  </a:lnTo>
                  <a:lnTo>
                    <a:pt x="478" y="592"/>
                  </a:lnTo>
                  <a:lnTo>
                    <a:pt x="482" y="598"/>
                  </a:lnTo>
                  <a:lnTo>
                    <a:pt x="488" y="598"/>
                  </a:lnTo>
                  <a:lnTo>
                    <a:pt x="494" y="600"/>
                  </a:lnTo>
                  <a:lnTo>
                    <a:pt x="486" y="604"/>
                  </a:lnTo>
                  <a:lnTo>
                    <a:pt x="482" y="608"/>
                  </a:lnTo>
                  <a:lnTo>
                    <a:pt x="474" y="608"/>
                  </a:lnTo>
                  <a:lnTo>
                    <a:pt x="468" y="612"/>
                  </a:lnTo>
                  <a:lnTo>
                    <a:pt x="462" y="610"/>
                  </a:lnTo>
                  <a:lnTo>
                    <a:pt x="456" y="610"/>
                  </a:lnTo>
                  <a:lnTo>
                    <a:pt x="452" y="610"/>
                  </a:lnTo>
                  <a:lnTo>
                    <a:pt x="446" y="610"/>
                  </a:lnTo>
                  <a:lnTo>
                    <a:pt x="452" y="610"/>
                  </a:lnTo>
                  <a:lnTo>
                    <a:pt x="456" y="614"/>
                  </a:lnTo>
                  <a:lnTo>
                    <a:pt x="456" y="620"/>
                  </a:lnTo>
                  <a:lnTo>
                    <a:pt x="458" y="626"/>
                  </a:lnTo>
                  <a:lnTo>
                    <a:pt x="464" y="630"/>
                  </a:lnTo>
                  <a:lnTo>
                    <a:pt x="468" y="634"/>
                  </a:lnTo>
                  <a:lnTo>
                    <a:pt x="474" y="634"/>
                  </a:lnTo>
                  <a:lnTo>
                    <a:pt x="480" y="632"/>
                  </a:lnTo>
                  <a:lnTo>
                    <a:pt x="486" y="630"/>
                  </a:lnTo>
                  <a:lnTo>
                    <a:pt x="492" y="626"/>
                  </a:lnTo>
                  <a:lnTo>
                    <a:pt x="486" y="632"/>
                  </a:lnTo>
                  <a:lnTo>
                    <a:pt x="480" y="636"/>
                  </a:lnTo>
                  <a:lnTo>
                    <a:pt x="474" y="636"/>
                  </a:lnTo>
                  <a:lnTo>
                    <a:pt x="480" y="638"/>
                  </a:lnTo>
                  <a:lnTo>
                    <a:pt x="486" y="640"/>
                  </a:lnTo>
                  <a:lnTo>
                    <a:pt x="492" y="644"/>
                  </a:lnTo>
                  <a:lnTo>
                    <a:pt x="498" y="646"/>
                  </a:lnTo>
                  <a:lnTo>
                    <a:pt x="504" y="650"/>
                  </a:lnTo>
                  <a:lnTo>
                    <a:pt x="510" y="652"/>
                  </a:lnTo>
                  <a:lnTo>
                    <a:pt x="516" y="652"/>
                  </a:lnTo>
                  <a:lnTo>
                    <a:pt x="520" y="652"/>
                  </a:lnTo>
                  <a:lnTo>
                    <a:pt x="524" y="652"/>
                  </a:lnTo>
                  <a:lnTo>
                    <a:pt x="532" y="650"/>
                  </a:lnTo>
                  <a:lnTo>
                    <a:pt x="536" y="652"/>
                  </a:lnTo>
                  <a:lnTo>
                    <a:pt x="542" y="652"/>
                  </a:lnTo>
                  <a:lnTo>
                    <a:pt x="548" y="652"/>
                  </a:lnTo>
                  <a:lnTo>
                    <a:pt x="542" y="654"/>
                  </a:lnTo>
                  <a:lnTo>
                    <a:pt x="536" y="658"/>
                  </a:lnTo>
                  <a:lnTo>
                    <a:pt x="538" y="664"/>
                  </a:lnTo>
                  <a:lnTo>
                    <a:pt x="544" y="664"/>
                  </a:lnTo>
                  <a:lnTo>
                    <a:pt x="544" y="670"/>
                  </a:lnTo>
                  <a:lnTo>
                    <a:pt x="550" y="674"/>
                  </a:lnTo>
                  <a:lnTo>
                    <a:pt x="554" y="676"/>
                  </a:lnTo>
                  <a:lnTo>
                    <a:pt x="560" y="676"/>
                  </a:lnTo>
                  <a:lnTo>
                    <a:pt x="566" y="682"/>
                  </a:lnTo>
                  <a:lnTo>
                    <a:pt x="572" y="684"/>
                  </a:lnTo>
                  <a:lnTo>
                    <a:pt x="578" y="684"/>
                  </a:lnTo>
                  <a:lnTo>
                    <a:pt x="584" y="686"/>
                  </a:lnTo>
                  <a:lnTo>
                    <a:pt x="590" y="686"/>
                  </a:lnTo>
                  <a:lnTo>
                    <a:pt x="596" y="686"/>
                  </a:lnTo>
                  <a:lnTo>
                    <a:pt x="602" y="686"/>
                  </a:lnTo>
                  <a:lnTo>
                    <a:pt x="608" y="690"/>
                  </a:lnTo>
                  <a:lnTo>
                    <a:pt x="614" y="690"/>
                  </a:lnTo>
                  <a:lnTo>
                    <a:pt x="620" y="690"/>
                  </a:lnTo>
                  <a:lnTo>
                    <a:pt x="626" y="694"/>
                  </a:lnTo>
                  <a:lnTo>
                    <a:pt x="632" y="698"/>
                  </a:lnTo>
                  <a:lnTo>
                    <a:pt x="638" y="698"/>
                  </a:lnTo>
                  <a:lnTo>
                    <a:pt x="644" y="698"/>
                  </a:lnTo>
                  <a:lnTo>
                    <a:pt x="650" y="702"/>
                  </a:lnTo>
                  <a:lnTo>
                    <a:pt x="656" y="706"/>
                  </a:lnTo>
                  <a:lnTo>
                    <a:pt x="662" y="708"/>
                  </a:lnTo>
                  <a:lnTo>
                    <a:pt x="668" y="708"/>
                  </a:lnTo>
                  <a:lnTo>
                    <a:pt x="674" y="708"/>
                  </a:lnTo>
                  <a:lnTo>
                    <a:pt x="680" y="706"/>
                  </a:lnTo>
                  <a:lnTo>
                    <a:pt x="678" y="700"/>
                  </a:lnTo>
                  <a:lnTo>
                    <a:pt x="678" y="694"/>
                  </a:lnTo>
                  <a:lnTo>
                    <a:pt x="684" y="694"/>
                  </a:lnTo>
                  <a:lnTo>
                    <a:pt x="690" y="688"/>
                  </a:lnTo>
                  <a:lnTo>
                    <a:pt x="682" y="684"/>
                  </a:lnTo>
                  <a:lnTo>
                    <a:pt x="684" y="680"/>
                  </a:lnTo>
                  <a:lnTo>
                    <a:pt x="678" y="678"/>
                  </a:lnTo>
                  <a:lnTo>
                    <a:pt x="672" y="678"/>
                  </a:lnTo>
                  <a:lnTo>
                    <a:pt x="678" y="676"/>
                  </a:lnTo>
                  <a:lnTo>
                    <a:pt x="674" y="674"/>
                  </a:lnTo>
                  <a:lnTo>
                    <a:pt x="676" y="668"/>
                  </a:lnTo>
                  <a:lnTo>
                    <a:pt x="674" y="662"/>
                  </a:lnTo>
                  <a:lnTo>
                    <a:pt x="668" y="660"/>
                  </a:lnTo>
                  <a:lnTo>
                    <a:pt x="664" y="658"/>
                  </a:lnTo>
                  <a:lnTo>
                    <a:pt x="656" y="656"/>
                  </a:lnTo>
                  <a:lnTo>
                    <a:pt x="658" y="650"/>
                  </a:lnTo>
                  <a:lnTo>
                    <a:pt x="652" y="650"/>
                  </a:lnTo>
                  <a:lnTo>
                    <a:pt x="652" y="642"/>
                  </a:lnTo>
                  <a:lnTo>
                    <a:pt x="646" y="638"/>
                  </a:lnTo>
                  <a:lnTo>
                    <a:pt x="640" y="640"/>
                  </a:lnTo>
                  <a:lnTo>
                    <a:pt x="646" y="638"/>
                  </a:lnTo>
                  <a:lnTo>
                    <a:pt x="640" y="636"/>
                  </a:lnTo>
                  <a:lnTo>
                    <a:pt x="634" y="640"/>
                  </a:lnTo>
                  <a:lnTo>
                    <a:pt x="638" y="634"/>
                  </a:lnTo>
                  <a:lnTo>
                    <a:pt x="644" y="634"/>
                  </a:lnTo>
                  <a:lnTo>
                    <a:pt x="638" y="632"/>
                  </a:lnTo>
                  <a:lnTo>
                    <a:pt x="632" y="630"/>
                  </a:lnTo>
                  <a:lnTo>
                    <a:pt x="626" y="628"/>
                  </a:lnTo>
                  <a:lnTo>
                    <a:pt x="620" y="626"/>
                  </a:lnTo>
                  <a:lnTo>
                    <a:pt x="622" y="620"/>
                  </a:lnTo>
                  <a:lnTo>
                    <a:pt x="616" y="614"/>
                  </a:lnTo>
                  <a:lnTo>
                    <a:pt x="612" y="608"/>
                  </a:lnTo>
                  <a:lnTo>
                    <a:pt x="608" y="602"/>
                  </a:lnTo>
                  <a:lnTo>
                    <a:pt x="608" y="596"/>
                  </a:lnTo>
                  <a:lnTo>
                    <a:pt x="612" y="592"/>
                  </a:lnTo>
                  <a:lnTo>
                    <a:pt x="620" y="590"/>
                  </a:lnTo>
                  <a:lnTo>
                    <a:pt x="626" y="592"/>
                  </a:lnTo>
                  <a:lnTo>
                    <a:pt x="630" y="598"/>
                  </a:lnTo>
                  <a:lnTo>
                    <a:pt x="636" y="596"/>
                  </a:lnTo>
                  <a:lnTo>
                    <a:pt x="638" y="600"/>
                  </a:lnTo>
                  <a:lnTo>
                    <a:pt x="642" y="604"/>
                  </a:lnTo>
                  <a:lnTo>
                    <a:pt x="646" y="610"/>
                  </a:lnTo>
                  <a:lnTo>
                    <a:pt x="652" y="614"/>
                  </a:lnTo>
                  <a:lnTo>
                    <a:pt x="654" y="608"/>
                  </a:lnTo>
                  <a:lnTo>
                    <a:pt x="654" y="602"/>
                  </a:lnTo>
                  <a:lnTo>
                    <a:pt x="656" y="596"/>
                  </a:lnTo>
                  <a:lnTo>
                    <a:pt x="656" y="590"/>
                  </a:lnTo>
                  <a:lnTo>
                    <a:pt x="658" y="596"/>
                  </a:lnTo>
                  <a:lnTo>
                    <a:pt x="662" y="602"/>
                  </a:lnTo>
                  <a:lnTo>
                    <a:pt x="664" y="608"/>
                  </a:lnTo>
                  <a:lnTo>
                    <a:pt x="668" y="614"/>
                  </a:lnTo>
                  <a:lnTo>
                    <a:pt x="672" y="620"/>
                  </a:lnTo>
                  <a:lnTo>
                    <a:pt x="678" y="620"/>
                  </a:lnTo>
                  <a:lnTo>
                    <a:pt x="684" y="614"/>
                  </a:lnTo>
                  <a:lnTo>
                    <a:pt x="682" y="620"/>
                  </a:lnTo>
                  <a:lnTo>
                    <a:pt x="682" y="626"/>
                  </a:lnTo>
                  <a:lnTo>
                    <a:pt x="688" y="622"/>
                  </a:lnTo>
                  <a:lnTo>
                    <a:pt x="688" y="626"/>
                  </a:lnTo>
                  <a:lnTo>
                    <a:pt x="686" y="634"/>
                  </a:lnTo>
                  <a:lnTo>
                    <a:pt x="692" y="638"/>
                  </a:lnTo>
                  <a:lnTo>
                    <a:pt x="690" y="632"/>
                  </a:lnTo>
                  <a:lnTo>
                    <a:pt x="696" y="630"/>
                  </a:lnTo>
                  <a:lnTo>
                    <a:pt x="698" y="624"/>
                  </a:lnTo>
                  <a:lnTo>
                    <a:pt x="696" y="620"/>
                  </a:lnTo>
                  <a:lnTo>
                    <a:pt x="698" y="626"/>
                  </a:lnTo>
                  <a:lnTo>
                    <a:pt x="698" y="632"/>
                  </a:lnTo>
                  <a:lnTo>
                    <a:pt x="700" y="638"/>
                  </a:lnTo>
                  <a:lnTo>
                    <a:pt x="706" y="638"/>
                  </a:lnTo>
                  <a:lnTo>
                    <a:pt x="708" y="642"/>
                  </a:lnTo>
                  <a:lnTo>
                    <a:pt x="710" y="636"/>
                  </a:lnTo>
                  <a:lnTo>
                    <a:pt x="708" y="630"/>
                  </a:lnTo>
                  <a:lnTo>
                    <a:pt x="714" y="636"/>
                  </a:lnTo>
                  <a:lnTo>
                    <a:pt x="720" y="638"/>
                  </a:lnTo>
                  <a:lnTo>
                    <a:pt x="726" y="636"/>
                  </a:lnTo>
                  <a:lnTo>
                    <a:pt x="720" y="640"/>
                  </a:lnTo>
                  <a:lnTo>
                    <a:pt x="726" y="640"/>
                  </a:lnTo>
                  <a:lnTo>
                    <a:pt x="732" y="634"/>
                  </a:lnTo>
                  <a:lnTo>
                    <a:pt x="728" y="640"/>
                  </a:lnTo>
                  <a:lnTo>
                    <a:pt x="730" y="646"/>
                  </a:lnTo>
                  <a:lnTo>
                    <a:pt x="736" y="648"/>
                  </a:lnTo>
                  <a:lnTo>
                    <a:pt x="742" y="646"/>
                  </a:lnTo>
                  <a:lnTo>
                    <a:pt x="748" y="642"/>
                  </a:lnTo>
                  <a:lnTo>
                    <a:pt x="748" y="648"/>
                  </a:lnTo>
                  <a:lnTo>
                    <a:pt x="742" y="648"/>
                  </a:lnTo>
                  <a:lnTo>
                    <a:pt x="740" y="654"/>
                  </a:lnTo>
                  <a:lnTo>
                    <a:pt x="740" y="660"/>
                  </a:lnTo>
                  <a:lnTo>
                    <a:pt x="746" y="664"/>
                  </a:lnTo>
                  <a:lnTo>
                    <a:pt x="752" y="662"/>
                  </a:lnTo>
                  <a:lnTo>
                    <a:pt x="756" y="656"/>
                  </a:lnTo>
                  <a:lnTo>
                    <a:pt x="754" y="650"/>
                  </a:lnTo>
                  <a:lnTo>
                    <a:pt x="752" y="644"/>
                  </a:lnTo>
                  <a:lnTo>
                    <a:pt x="752" y="638"/>
                  </a:lnTo>
                  <a:lnTo>
                    <a:pt x="758" y="638"/>
                  </a:lnTo>
                  <a:lnTo>
                    <a:pt x="764" y="644"/>
                  </a:lnTo>
                  <a:lnTo>
                    <a:pt x="770" y="646"/>
                  </a:lnTo>
                  <a:lnTo>
                    <a:pt x="776" y="644"/>
                  </a:lnTo>
                  <a:lnTo>
                    <a:pt x="776" y="638"/>
                  </a:lnTo>
                  <a:lnTo>
                    <a:pt x="776" y="632"/>
                  </a:lnTo>
                  <a:lnTo>
                    <a:pt x="776" y="626"/>
                  </a:lnTo>
                  <a:lnTo>
                    <a:pt x="770" y="626"/>
                  </a:lnTo>
                  <a:lnTo>
                    <a:pt x="770" y="622"/>
                  </a:lnTo>
                  <a:lnTo>
                    <a:pt x="774" y="622"/>
                  </a:lnTo>
                  <a:lnTo>
                    <a:pt x="780" y="616"/>
                  </a:lnTo>
                  <a:lnTo>
                    <a:pt x="774" y="612"/>
                  </a:lnTo>
                  <a:lnTo>
                    <a:pt x="780" y="608"/>
                  </a:lnTo>
                  <a:lnTo>
                    <a:pt x="782" y="604"/>
                  </a:lnTo>
                  <a:lnTo>
                    <a:pt x="786" y="602"/>
                  </a:lnTo>
                  <a:lnTo>
                    <a:pt x="784" y="596"/>
                  </a:lnTo>
                  <a:lnTo>
                    <a:pt x="782" y="590"/>
                  </a:lnTo>
                  <a:lnTo>
                    <a:pt x="786" y="596"/>
                  </a:lnTo>
                  <a:lnTo>
                    <a:pt x="790" y="602"/>
                  </a:lnTo>
                  <a:lnTo>
                    <a:pt x="790" y="608"/>
                  </a:lnTo>
                  <a:lnTo>
                    <a:pt x="790" y="612"/>
                  </a:lnTo>
                  <a:lnTo>
                    <a:pt x="790" y="618"/>
                  </a:lnTo>
                  <a:lnTo>
                    <a:pt x="796" y="622"/>
                  </a:lnTo>
                  <a:lnTo>
                    <a:pt x="800" y="618"/>
                  </a:lnTo>
                  <a:lnTo>
                    <a:pt x="798" y="612"/>
                  </a:lnTo>
                  <a:lnTo>
                    <a:pt x="804" y="612"/>
                  </a:lnTo>
                  <a:lnTo>
                    <a:pt x="806" y="606"/>
                  </a:lnTo>
                  <a:lnTo>
                    <a:pt x="806" y="600"/>
                  </a:lnTo>
                  <a:lnTo>
                    <a:pt x="812" y="594"/>
                  </a:lnTo>
                  <a:lnTo>
                    <a:pt x="806" y="592"/>
                  </a:lnTo>
                  <a:lnTo>
                    <a:pt x="800" y="590"/>
                  </a:lnTo>
                  <a:lnTo>
                    <a:pt x="802" y="586"/>
                  </a:lnTo>
                  <a:lnTo>
                    <a:pt x="806" y="588"/>
                  </a:lnTo>
                  <a:lnTo>
                    <a:pt x="812" y="592"/>
                  </a:lnTo>
                  <a:lnTo>
                    <a:pt x="820" y="594"/>
                  </a:lnTo>
                  <a:lnTo>
                    <a:pt x="812" y="588"/>
                  </a:lnTo>
                  <a:lnTo>
                    <a:pt x="820" y="586"/>
                  </a:lnTo>
                  <a:lnTo>
                    <a:pt x="820" y="582"/>
                  </a:lnTo>
                  <a:lnTo>
                    <a:pt x="812" y="580"/>
                  </a:lnTo>
                  <a:lnTo>
                    <a:pt x="808" y="586"/>
                  </a:lnTo>
                  <a:lnTo>
                    <a:pt x="802" y="586"/>
                  </a:lnTo>
                  <a:lnTo>
                    <a:pt x="802" y="584"/>
                  </a:lnTo>
                  <a:lnTo>
                    <a:pt x="808" y="580"/>
                  </a:lnTo>
                  <a:lnTo>
                    <a:pt x="814" y="578"/>
                  </a:lnTo>
                  <a:lnTo>
                    <a:pt x="808" y="574"/>
                  </a:lnTo>
                  <a:lnTo>
                    <a:pt x="802" y="574"/>
                  </a:lnTo>
                  <a:lnTo>
                    <a:pt x="796" y="574"/>
                  </a:lnTo>
                  <a:lnTo>
                    <a:pt x="802" y="572"/>
                  </a:lnTo>
                  <a:lnTo>
                    <a:pt x="796" y="570"/>
                  </a:lnTo>
                  <a:lnTo>
                    <a:pt x="796" y="566"/>
                  </a:lnTo>
                  <a:lnTo>
                    <a:pt x="790" y="566"/>
                  </a:lnTo>
                  <a:lnTo>
                    <a:pt x="796" y="564"/>
                  </a:lnTo>
                  <a:lnTo>
                    <a:pt x="794" y="560"/>
                  </a:lnTo>
                  <a:lnTo>
                    <a:pt x="788" y="560"/>
                  </a:lnTo>
                  <a:lnTo>
                    <a:pt x="794" y="556"/>
                  </a:lnTo>
                  <a:lnTo>
                    <a:pt x="800" y="558"/>
                  </a:lnTo>
                  <a:lnTo>
                    <a:pt x="806" y="554"/>
                  </a:lnTo>
                  <a:lnTo>
                    <a:pt x="812" y="550"/>
                  </a:lnTo>
                  <a:lnTo>
                    <a:pt x="816" y="544"/>
                  </a:lnTo>
                  <a:lnTo>
                    <a:pt x="808" y="546"/>
                  </a:lnTo>
                  <a:lnTo>
                    <a:pt x="802" y="546"/>
                  </a:lnTo>
                  <a:lnTo>
                    <a:pt x="800" y="548"/>
                  </a:lnTo>
                  <a:lnTo>
                    <a:pt x="804" y="544"/>
                  </a:lnTo>
                  <a:lnTo>
                    <a:pt x="800" y="546"/>
                  </a:lnTo>
                  <a:lnTo>
                    <a:pt x="794" y="546"/>
                  </a:lnTo>
                  <a:lnTo>
                    <a:pt x="786" y="546"/>
                  </a:lnTo>
                  <a:lnTo>
                    <a:pt x="788" y="540"/>
                  </a:lnTo>
                  <a:lnTo>
                    <a:pt x="794" y="538"/>
                  </a:lnTo>
                  <a:lnTo>
                    <a:pt x="800" y="532"/>
                  </a:lnTo>
                  <a:lnTo>
                    <a:pt x="794" y="532"/>
                  </a:lnTo>
                  <a:lnTo>
                    <a:pt x="800" y="526"/>
                  </a:lnTo>
                  <a:lnTo>
                    <a:pt x="794" y="522"/>
                  </a:lnTo>
                  <a:lnTo>
                    <a:pt x="788" y="526"/>
                  </a:lnTo>
                  <a:lnTo>
                    <a:pt x="786" y="532"/>
                  </a:lnTo>
                  <a:lnTo>
                    <a:pt x="780" y="532"/>
                  </a:lnTo>
                  <a:lnTo>
                    <a:pt x="784" y="526"/>
                  </a:lnTo>
                  <a:lnTo>
                    <a:pt x="778" y="528"/>
                  </a:lnTo>
                  <a:lnTo>
                    <a:pt x="772" y="534"/>
                  </a:lnTo>
                  <a:lnTo>
                    <a:pt x="770" y="534"/>
                  </a:lnTo>
                  <a:lnTo>
                    <a:pt x="774" y="528"/>
                  </a:lnTo>
                  <a:lnTo>
                    <a:pt x="780" y="522"/>
                  </a:lnTo>
                  <a:lnTo>
                    <a:pt x="774" y="522"/>
                  </a:lnTo>
                  <a:lnTo>
                    <a:pt x="768" y="518"/>
                  </a:lnTo>
                  <a:lnTo>
                    <a:pt x="766" y="512"/>
                  </a:lnTo>
                  <a:lnTo>
                    <a:pt x="758" y="518"/>
                  </a:lnTo>
                  <a:lnTo>
                    <a:pt x="754" y="524"/>
                  </a:lnTo>
                  <a:lnTo>
                    <a:pt x="754" y="518"/>
                  </a:lnTo>
                  <a:lnTo>
                    <a:pt x="756" y="512"/>
                  </a:lnTo>
                  <a:lnTo>
                    <a:pt x="752" y="512"/>
                  </a:lnTo>
                  <a:lnTo>
                    <a:pt x="756" y="510"/>
                  </a:lnTo>
                  <a:lnTo>
                    <a:pt x="762" y="506"/>
                  </a:lnTo>
                  <a:lnTo>
                    <a:pt x="756" y="506"/>
                  </a:lnTo>
                  <a:lnTo>
                    <a:pt x="752" y="510"/>
                  </a:lnTo>
                  <a:lnTo>
                    <a:pt x="744" y="510"/>
                  </a:lnTo>
                  <a:lnTo>
                    <a:pt x="752" y="508"/>
                  </a:lnTo>
                  <a:lnTo>
                    <a:pt x="756" y="502"/>
                  </a:lnTo>
                  <a:lnTo>
                    <a:pt x="750" y="502"/>
                  </a:lnTo>
                  <a:lnTo>
                    <a:pt x="752" y="496"/>
                  </a:lnTo>
                  <a:lnTo>
                    <a:pt x="746" y="494"/>
                  </a:lnTo>
                  <a:lnTo>
                    <a:pt x="740" y="494"/>
                  </a:lnTo>
                  <a:lnTo>
                    <a:pt x="746" y="492"/>
                  </a:lnTo>
                  <a:lnTo>
                    <a:pt x="752" y="492"/>
                  </a:lnTo>
                  <a:lnTo>
                    <a:pt x="758" y="490"/>
                  </a:lnTo>
                  <a:lnTo>
                    <a:pt x="760" y="486"/>
                  </a:lnTo>
                  <a:lnTo>
                    <a:pt x="754" y="486"/>
                  </a:lnTo>
                  <a:lnTo>
                    <a:pt x="748" y="488"/>
                  </a:lnTo>
                  <a:lnTo>
                    <a:pt x="748" y="482"/>
                  </a:lnTo>
                  <a:lnTo>
                    <a:pt x="754" y="478"/>
                  </a:lnTo>
                  <a:lnTo>
                    <a:pt x="748" y="474"/>
                  </a:lnTo>
                  <a:lnTo>
                    <a:pt x="742" y="474"/>
                  </a:lnTo>
                  <a:lnTo>
                    <a:pt x="736" y="476"/>
                  </a:lnTo>
                  <a:lnTo>
                    <a:pt x="732" y="478"/>
                  </a:lnTo>
                  <a:lnTo>
                    <a:pt x="724" y="480"/>
                  </a:lnTo>
                  <a:lnTo>
                    <a:pt x="718" y="484"/>
                  </a:lnTo>
                  <a:lnTo>
                    <a:pt x="726" y="478"/>
                  </a:lnTo>
                  <a:lnTo>
                    <a:pt x="732" y="474"/>
                  </a:lnTo>
                  <a:lnTo>
                    <a:pt x="736" y="468"/>
                  </a:lnTo>
                  <a:lnTo>
                    <a:pt x="732" y="466"/>
                  </a:lnTo>
                  <a:lnTo>
                    <a:pt x="724" y="466"/>
                  </a:lnTo>
                  <a:lnTo>
                    <a:pt x="726" y="460"/>
                  </a:lnTo>
                  <a:lnTo>
                    <a:pt x="720" y="460"/>
                  </a:lnTo>
                  <a:lnTo>
                    <a:pt x="726" y="456"/>
                  </a:lnTo>
                  <a:lnTo>
                    <a:pt x="724" y="452"/>
                  </a:lnTo>
                  <a:lnTo>
                    <a:pt x="730" y="456"/>
                  </a:lnTo>
                  <a:lnTo>
                    <a:pt x="736" y="454"/>
                  </a:lnTo>
                  <a:lnTo>
                    <a:pt x="736" y="448"/>
                  </a:lnTo>
                  <a:lnTo>
                    <a:pt x="730" y="448"/>
                  </a:lnTo>
                  <a:lnTo>
                    <a:pt x="724" y="444"/>
                  </a:lnTo>
                  <a:lnTo>
                    <a:pt x="718" y="444"/>
                  </a:lnTo>
                  <a:lnTo>
                    <a:pt x="712" y="444"/>
                  </a:lnTo>
                  <a:lnTo>
                    <a:pt x="706" y="442"/>
                  </a:lnTo>
                  <a:lnTo>
                    <a:pt x="712" y="442"/>
                  </a:lnTo>
                  <a:lnTo>
                    <a:pt x="718" y="442"/>
                  </a:lnTo>
                  <a:lnTo>
                    <a:pt x="724" y="440"/>
                  </a:lnTo>
                  <a:lnTo>
                    <a:pt x="730" y="440"/>
                  </a:lnTo>
                  <a:lnTo>
                    <a:pt x="736" y="446"/>
                  </a:lnTo>
                  <a:lnTo>
                    <a:pt x="742" y="448"/>
                  </a:lnTo>
                  <a:lnTo>
                    <a:pt x="736" y="454"/>
                  </a:lnTo>
                  <a:lnTo>
                    <a:pt x="736" y="460"/>
                  </a:lnTo>
                  <a:lnTo>
                    <a:pt x="744" y="460"/>
                  </a:lnTo>
                  <a:lnTo>
                    <a:pt x="748" y="458"/>
                  </a:lnTo>
                  <a:lnTo>
                    <a:pt x="754" y="460"/>
                  </a:lnTo>
                  <a:lnTo>
                    <a:pt x="762" y="458"/>
                  </a:lnTo>
                  <a:lnTo>
                    <a:pt x="766" y="458"/>
                  </a:lnTo>
                  <a:lnTo>
                    <a:pt x="772" y="458"/>
                  </a:lnTo>
                  <a:lnTo>
                    <a:pt x="776" y="452"/>
                  </a:lnTo>
                  <a:lnTo>
                    <a:pt x="770" y="446"/>
                  </a:lnTo>
                  <a:lnTo>
                    <a:pt x="766" y="444"/>
                  </a:lnTo>
                  <a:lnTo>
                    <a:pt x="760" y="440"/>
                  </a:lnTo>
                  <a:lnTo>
                    <a:pt x="762" y="434"/>
                  </a:lnTo>
                  <a:lnTo>
                    <a:pt x="760" y="428"/>
                  </a:lnTo>
                  <a:lnTo>
                    <a:pt x="766" y="426"/>
                  </a:lnTo>
                  <a:lnTo>
                    <a:pt x="772" y="428"/>
                  </a:lnTo>
                  <a:lnTo>
                    <a:pt x="772" y="430"/>
                  </a:lnTo>
                  <a:lnTo>
                    <a:pt x="774" y="436"/>
                  </a:lnTo>
                  <a:lnTo>
                    <a:pt x="780" y="438"/>
                  </a:lnTo>
                  <a:lnTo>
                    <a:pt x="786" y="436"/>
                  </a:lnTo>
                  <a:lnTo>
                    <a:pt x="782" y="430"/>
                  </a:lnTo>
                  <a:lnTo>
                    <a:pt x="788" y="430"/>
                  </a:lnTo>
                  <a:lnTo>
                    <a:pt x="794" y="428"/>
                  </a:lnTo>
                  <a:lnTo>
                    <a:pt x="788" y="422"/>
                  </a:lnTo>
                  <a:lnTo>
                    <a:pt x="782" y="422"/>
                  </a:lnTo>
                  <a:lnTo>
                    <a:pt x="776" y="420"/>
                  </a:lnTo>
                  <a:lnTo>
                    <a:pt x="782" y="418"/>
                  </a:lnTo>
                  <a:lnTo>
                    <a:pt x="788" y="418"/>
                  </a:lnTo>
                  <a:lnTo>
                    <a:pt x="794" y="422"/>
                  </a:lnTo>
                  <a:lnTo>
                    <a:pt x="800" y="422"/>
                  </a:lnTo>
                  <a:lnTo>
                    <a:pt x="806" y="422"/>
                  </a:lnTo>
                  <a:lnTo>
                    <a:pt x="804" y="416"/>
                  </a:lnTo>
                  <a:lnTo>
                    <a:pt x="810" y="418"/>
                  </a:lnTo>
                  <a:lnTo>
                    <a:pt x="812" y="418"/>
                  </a:lnTo>
                  <a:lnTo>
                    <a:pt x="816" y="418"/>
                  </a:lnTo>
                  <a:lnTo>
                    <a:pt x="812" y="422"/>
                  </a:lnTo>
                  <a:lnTo>
                    <a:pt x="810" y="426"/>
                  </a:lnTo>
                  <a:lnTo>
                    <a:pt x="816" y="430"/>
                  </a:lnTo>
                  <a:lnTo>
                    <a:pt x="822" y="430"/>
                  </a:lnTo>
                  <a:lnTo>
                    <a:pt x="818" y="436"/>
                  </a:lnTo>
                  <a:lnTo>
                    <a:pt x="814" y="440"/>
                  </a:lnTo>
                  <a:lnTo>
                    <a:pt x="820" y="442"/>
                  </a:lnTo>
                  <a:lnTo>
                    <a:pt x="826" y="440"/>
                  </a:lnTo>
                  <a:lnTo>
                    <a:pt x="832" y="438"/>
                  </a:lnTo>
                  <a:lnTo>
                    <a:pt x="826" y="440"/>
                  </a:lnTo>
                  <a:lnTo>
                    <a:pt x="830" y="446"/>
                  </a:lnTo>
                  <a:lnTo>
                    <a:pt x="836" y="448"/>
                  </a:lnTo>
                  <a:lnTo>
                    <a:pt x="842" y="446"/>
                  </a:lnTo>
                  <a:lnTo>
                    <a:pt x="848" y="444"/>
                  </a:lnTo>
                  <a:lnTo>
                    <a:pt x="854" y="440"/>
                  </a:lnTo>
                  <a:lnTo>
                    <a:pt x="860" y="436"/>
                  </a:lnTo>
                  <a:lnTo>
                    <a:pt x="866" y="432"/>
                  </a:lnTo>
                  <a:lnTo>
                    <a:pt x="868" y="430"/>
                  </a:lnTo>
                  <a:lnTo>
                    <a:pt x="862" y="436"/>
                  </a:lnTo>
                  <a:lnTo>
                    <a:pt x="856" y="442"/>
                  </a:lnTo>
                  <a:lnTo>
                    <a:pt x="850" y="444"/>
                  </a:lnTo>
                  <a:lnTo>
                    <a:pt x="844" y="446"/>
                  </a:lnTo>
                  <a:lnTo>
                    <a:pt x="838" y="448"/>
                  </a:lnTo>
                  <a:lnTo>
                    <a:pt x="832" y="452"/>
                  </a:lnTo>
                  <a:lnTo>
                    <a:pt x="834" y="456"/>
                  </a:lnTo>
                  <a:lnTo>
                    <a:pt x="838" y="456"/>
                  </a:lnTo>
                  <a:lnTo>
                    <a:pt x="846" y="456"/>
                  </a:lnTo>
                  <a:lnTo>
                    <a:pt x="850" y="456"/>
                  </a:lnTo>
                  <a:lnTo>
                    <a:pt x="858" y="456"/>
                  </a:lnTo>
                  <a:lnTo>
                    <a:pt x="862" y="452"/>
                  </a:lnTo>
                  <a:lnTo>
                    <a:pt x="868" y="452"/>
                  </a:lnTo>
                  <a:lnTo>
                    <a:pt x="876" y="450"/>
                  </a:lnTo>
                  <a:lnTo>
                    <a:pt x="882" y="448"/>
                  </a:lnTo>
                  <a:lnTo>
                    <a:pt x="888" y="444"/>
                  </a:lnTo>
                  <a:lnTo>
                    <a:pt x="892" y="440"/>
                  </a:lnTo>
                  <a:lnTo>
                    <a:pt x="900" y="436"/>
                  </a:lnTo>
                  <a:lnTo>
                    <a:pt x="906" y="436"/>
                  </a:lnTo>
                  <a:lnTo>
                    <a:pt x="912" y="434"/>
                  </a:lnTo>
                  <a:lnTo>
                    <a:pt x="918" y="432"/>
                  </a:lnTo>
                  <a:lnTo>
                    <a:pt x="912" y="436"/>
                  </a:lnTo>
                  <a:lnTo>
                    <a:pt x="906" y="438"/>
                  </a:lnTo>
                  <a:lnTo>
                    <a:pt x="898" y="440"/>
                  </a:lnTo>
                  <a:lnTo>
                    <a:pt x="892" y="444"/>
                  </a:lnTo>
                  <a:lnTo>
                    <a:pt x="886" y="450"/>
                  </a:lnTo>
                  <a:lnTo>
                    <a:pt x="886" y="456"/>
                  </a:lnTo>
                  <a:lnTo>
                    <a:pt x="880" y="454"/>
                  </a:lnTo>
                  <a:lnTo>
                    <a:pt x="874" y="454"/>
                  </a:lnTo>
                  <a:lnTo>
                    <a:pt x="868" y="456"/>
                  </a:lnTo>
                  <a:lnTo>
                    <a:pt x="862" y="458"/>
                  </a:lnTo>
                  <a:lnTo>
                    <a:pt x="856" y="458"/>
                  </a:lnTo>
                  <a:lnTo>
                    <a:pt x="850" y="462"/>
                  </a:lnTo>
                  <a:lnTo>
                    <a:pt x="844" y="468"/>
                  </a:lnTo>
                  <a:lnTo>
                    <a:pt x="842" y="474"/>
                  </a:lnTo>
                  <a:lnTo>
                    <a:pt x="848" y="474"/>
                  </a:lnTo>
                  <a:lnTo>
                    <a:pt x="854" y="474"/>
                  </a:lnTo>
                  <a:lnTo>
                    <a:pt x="860" y="472"/>
                  </a:lnTo>
                  <a:lnTo>
                    <a:pt x="866" y="470"/>
                  </a:lnTo>
                  <a:lnTo>
                    <a:pt x="872" y="470"/>
                  </a:lnTo>
                  <a:lnTo>
                    <a:pt x="866" y="472"/>
                  </a:lnTo>
                  <a:lnTo>
                    <a:pt x="860" y="474"/>
                  </a:lnTo>
                  <a:lnTo>
                    <a:pt x="854" y="476"/>
                  </a:lnTo>
                  <a:lnTo>
                    <a:pt x="848" y="476"/>
                  </a:lnTo>
                  <a:lnTo>
                    <a:pt x="854" y="482"/>
                  </a:lnTo>
                  <a:lnTo>
                    <a:pt x="860" y="482"/>
                  </a:lnTo>
                  <a:lnTo>
                    <a:pt x="866" y="478"/>
                  </a:lnTo>
                  <a:lnTo>
                    <a:pt x="872" y="474"/>
                  </a:lnTo>
                  <a:lnTo>
                    <a:pt x="866" y="480"/>
                  </a:lnTo>
                  <a:lnTo>
                    <a:pt x="860" y="482"/>
                  </a:lnTo>
                  <a:lnTo>
                    <a:pt x="854" y="484"/>
                  </a:lnTo>
                  <a:lnTo>
                    <a:pt x="848" y="488"/>
                  </a:lnTo>
                  <a:lnTo>
                    <a:pt x="848" y="490"/>
                  </a:lnTo>
                  <a:lnTo>
                    <a:pt x="854" y="490"/>
                  </a:lnTo>
                  <a:lnTo>
                    <a:pt x="860" y="488"/>
                  </a:lnTo>
                  <a:lnTo>
                    <a:pt x="866" y="488"/>
                  </a:lnTo>
                  <a:lnTo>
                    <a:pt x="872" y="488"/>
                  </a:lnTo>
                  <a:lnTo>
                    <a:pt x="878" y="488"/>
                  </a:lnTo>
                  <a:lnTo>
                    <a:pt x="872" y="488"/>
                  </a:lnTo>
                  <a:lnTo>
                    <a:pt x="866" y="490"/>
                  </a:lnTo>
                  <a:lnTo>
                    <a:pt x="860" y="492"/>
                  </a:lnTo>
                  <a:lnTo>
                    <a:pt x="854" y="496"/>
                  </a:lnTo>
                  <a:lnTo>
                    <a:pt x="860" y="498"/>
                  </a:lnTo>
                  <a:lnTo>
                    <a:pt x="858" y="504"/>
                  </a:lnTo>
                  <a:lnTo>
                    <a:pt x="864" y="508"/>
                  </a:lnTo>
                  <a:lnTo>
                    <a:pt x="870" y="504"/>
                  </a:lnTo>
                  <a:lnTo>
                    <a:pt x="872" y="498"/>
                  </a:lnTo>
                  <a:lnTo>
                    <a:pt x="880" y="494"/>
                  </a:lnTo>
                  <a:lnTo>
                    <a:pt x="884" y="490"/>
                  </a:lnTo>
                  <a:lnTo>
                    <a:pt x="880" y="494"/>
                  </a:lnTo>
                  <a:lnTo>
                    <a:pt x="874" y="500"/>
                  </a:lnTo>
                  <a:lnTo>
                    <a:pt x="880" y="502"/>
                  </a:lnTo>
                  <a:lnTo>
                    <a:pt x="886" y="502"/>
                  </a:lnTo>
                  <a:lnTo>
                    <a:pt x="880" y="506"/>
                  </a:lnTo>
                  <a:lnTo>
                    <a:pt x="880" y="512"/>
                  </a:lnTo>
                  <a:lnTo>
                    <a:pt x="886" y="508"/>
                  </a:lnTo>
                  <a:lnTo>
                    <a:pt x="892" y="508"/>
                  </a:lnTo>
                  <a:lnTo>
                    <a:pt x="898" y="504"/>
                  </a:lnTo>
                  <a:lnTo>
                    <a:pt x="892" y="510"/>
                  </a:lnTo>
                  <a:lnTo>
                    <a:pt x="898" y="512"/>
                  </a:lnTo>
                  <a:lnTo>
                    <a:pt x="892" y="514"/>
                  </a:lnTo>
                  <a:lnTo>
                    <a:pt x="900" y="516"/>
                  </a:lnTo>
                  <a:lnTo>
                    <a:pt x="902" y="522"/>
                  </a:lnTo>
                  <a:lnTo>
                    <a:pt x="908" y="516"/>
                  </a:lnTo>
                  <a:lnTo>
                    <a:pt x="914" y="512"/>
                  </a:lnTo>
                  <a:lnTo>
                    <a:pt x="918" y="506"/>
                  </a:lnTo>
                  <a:lnTo>
                    <a:pt x="924" y="500"/>
                  </a:lnTo>
                  <a:lnTo>
                    <a:pt x="926" y="494"/>
                  </a:lnTo>
                  <a:lnTo>
                    <a:pt x="922" y="490"/>
                  </a:lnTo>
                  <a:lnTo>
                    <a:pt x="928" y="488"/>
                  </a:lnTo>
                  <a:lnTo>
                    <a:pt x="924" y="482"/>
                  </a:lnTo>
                  <a:lnTo>
                    <a:pt x="930" y="482"/>
                  </a:lnTo>
                  <a:lnTo>
                    <a:pt x="936" y="480"/>
                  </a:lnTo>
                  <a:lnTo>
                    <a:pt x="930" y="476"/>
                  </a:lnTo>
                  <a:lnTo>
                    <a:pt x="924" y="474"/>
                  </a:lnTo>
                  <a:lnTo>
                    <a:pt x="930" y="474"/>
                  </a:lnTo>
                  <a:lnTo>
                    <a:pt x="936" y="474"/>
                  </a:lnTo>
                  <a:lnTo>
                    <a:pt x="940" y="468"/>
                  </a:lnTo>
                  <a:lnTo>
                    <a:pt x="938" y="460"/>
                  </a:lnTo>
                  <a:lnTo>
                    <a:pt x="942" y="468"/>
                  </a:lnTo>
                  <a:lnTo>
                    <a:pt x="944" y="474"/>
                  </a:lnTo>
                  <a:lnTo>
                    <a:pt x="950" y="476"/>
                  </a:lnTo>
                  <a:lnTo>
                    <a:pt x="954" y="478"/>
                  </a:lnTo>
                  <a:lnTo>
                    <a:pt x="960" y="476"/>
                  </a:lnTo>
                  <a:lnTo>
                    <a:pt x="960" y="470"/>
                  </a:lnTo>
                  <a:lnTo>
                    <a:pt x="960" y="476"/>
                  </a:lnTo>
                  <a:lnTo>
                    <a:pt x="966" y="476"/>
                  </a:lnTo>
                  <a:lnTo>
                    <a:pt x="972" y="476"/>
                  </a:lnTo>
                  <a:lnTo>
                    <a:pt x="966" y="472"/>
                  </a:lnTo>
                  <a:lnTo>
                    <a:pt x="972" y="470"/>
                  </a:lnTo>
                  <a:lnTo>
                    <a:pt x="970" y="464"/>
                  </a:lnTo>
                  <a:lnTo>
                    <a:pt x="978" y="466"/>
                  </a:lnTo>
                  <a:lnTo>
                    <a:pt x="982" y="466"/>
                  </a:lnTo>
                  <a:lnTo>
                    <a:pt x="990" y="464"/>
                  </a:lnTo>
                  <a:lnTo>
                    <a:pt x="992" y="460"/>
                  </a:lnTo>
                  <a:lnTo>
                    <a:pt x="988" y="454"/>
                  </a:lnTo>
                  <a:lnTo>
                    <a:pt x="982" y="452"/>
                  </a:lnTo>
                  <a:lnTo>
                    <a:pt x="976" y="452"/>
                  </a:lnTo>
                  <a:lnTo>
                    <a:pt x="974" y="448"/>
                  </a:lnTo>
                  <a:lnTo>
                    <a:pt x="980" y="452"/>
                  </a:lnTo>
                  <a:lnTo>
                    <a:pt x="986" y="452"/>
                  </a:lnTo>
                  <a:lnTo>
                    <a:pt x="994" y="452"/>
                  </a:lnTo>
                  <a:lnTo>
                    <a:pt x="998" y="456"/>
                  </a:lnTo>
                  <a:lnTo>
                    <a:pt x="1004" y="452"/>
                  </a:lnTo>
                  <a:lnTo>
                    <a:pt x="1010" y="452"/>
                  </a:lnTo>
                  <a:lnTo>
                    <a:pt x="1010" y="448"/>
                  </a:lnTo>
                  <a:lnTo>
                    <a:pt x="1004" y="444"/>
                  </a:lnTo>
                  <a:lnTo>
                    <a:pt x="998" y="442"/>
                  </a:lnTo>
                  <a:lnTo>
                    <a:pt x="992" y="442"/>
                  </a:lnTo>
                  <a:lnTo>
                    <a:pt x="986" y="440"/>
                  </a:lnTo>
                  <a:lnTo>
                    <a:pt x="984" y="434"/>
                  </a:lnTo>
                  <a:lnTo>
                    <a:pt x="990" y="440"/>
                  </a:lnTo>
                  <a:lnTo>
                    <a:pt x="996" y="440"/>
                  </a:lnTo>
                  <a:lnTo>
                    <a:pt x="1002" y="438"/>
                  </a:lnTo>
                  <a:lnTo>
                    <a:pt x="1008" y="436"/>
                  </a:lnTo>
                  <a:lnTo>
                    <a:pt x="1006" y="430"/>
                  </a:lnTo>
                  <a:lnTo>
                    <a:pt x="1000" y="430"/>
                  </a:lnTo>
                  <a:lnTo>
                    <a:pt x="1006" y="428"/>
                  </a:lnTo>
                  <a:lnTo>
                    <a:pt x="1012" y="430"/>
                  </a:lnTo>
                  <a:lnTo>
                    <a:pt x="1018" y="436"/>
                  </a:lnTo>
                  <a:lnTo>
                    <a:pt x="1024" y="436"/>
                  </a:lnTo>
                  <a:lnTo>
                    <a:pt x="1030" y="436"/>
                  </a:lnTo>
                  <a:lnTo>
                    <a:pt x="1036" y="434"/>
                  </a:lnTo>
                  <a:lnTo>
                    <a:pt x="1042" y="432"/>
                  </a:lnTo>
                  <a:lnTo>
                    <a:pt x="1048" y="432"/>
                  </a:lnTo>
                  <a:lnTo>
                    <a:pt x="1042" y="430"/>
                  </a:lnTo>
                  <a:lnTo>
                    <a:pt x="1036" y="428"/>
                  </a:lnTo>
                  <a:lnTo>
                    <a:pt x="1030" y="430"/>
                  </a:lnTo>
                  <a:lnTo>
                    <a:pt x="1036" y="426"/>
                  </a:lnTo>
                  <a:lnTo>
                    <a:pt x="1042" y="426"/>
                  </a:lnTo>
                  <a:lnTo>
                    <a:pt x="1048" y="426"/>
                  </a:lnTo>
                  <a:lnTo>
                    <a:pt x="1046" y="420"/>
                  </a:lnTo>
                  <a:lnTo>
                    <a:pt x="1040" y="416"/>
                  </a:lnTo>
                  <a:lnTo>
                    <a:pt x="1034" y="416"/>
                  </a:lnTo>
                  <a:lnTo>
                    <a:pt x="1028" y="418"/>
                  </a:lnTo>
                  <a:lnTo>
                    <a:pt x="1034" y="414"/>
                  </a:lnTo>
                  <a:lnTo>
                    <a:pt x="1040" y="414"/>
                  </a:lnTo>
                  <a:lnTo>
                    <a:pt x="1046" y="414"/>
                  </a:lnTo>
                  <a:lnTo>
                    <a:pt x="1050" y="420"/>
                  </a:lnTo>
                  <a:lnTo>
                    <a:pt x="1056" y="422"/>
                  </a:lnTo>
                  <a:lnTo>
                    <a:pt x="1062" y="420"/>
                  </a:lnTo>
                  <a:lnTo>
                    <a:pt x="1068" y="416"/>
                  </a:lnTo>
                  <a:lnTo>
                    <a:pt x="1068" y="410"/>
                  </a:lnTo>
                  <a:lnTo>
                    <a:pt x="1062" y="406"/>
                  </a:lnTo>
                  <a:lnTo>
                    <a:pt x="1056" y="404"/>
                  </a:lnTo>
                  <a:lnTo>
                    <a:pt x="1062" y="402"/>
                  </a:lnTo>
                  <a:lnTo>
                    <a:pt x="1056" y="402"/>
                  </a:lnTo>
                  <a:lnTo>
                    <a:pt x="1050" y="400"/>
                  </a:lnTo>
                  <a:lnTo>
                    <a:pt x="1044" y="402"/>
                  </a:lnTo>
                  <a:lnTo>
                    <a:pt x="1050" y="400"/>
                  </a:lnTo>
                  <a:lnTo>
                    <a:pt x="1056" y="400"/>
                  </a:lnTo>
                  <a:lnTo>
                    <a:pt x="1050" y="396"/>
                  </a:lnTo>
                  <a:lnTo>
                    <a:pt x="1044" y="400"/>
                  </a:lnTo>
                  <a:lnTo>
                    <a:pt x="1046" y="394"/>
                  </a:lnTo>
                  <a:lnTo>
                    <a:pt x="1040" y="392"/>
                  </a:lnTo>
                  <a:lnTo>
                    <a:pt x="1036" y="396"/>
                  </a:lnTo>
                  <a:lnTo>
                    <a:pt x="1028" y="398"/>
                  </a:lnTo>
                  <a:lnTo>
                    <a:pt x="1026" y="404"/>
                  </a:lnTo>
                  <a:lnTo>
                    <a:pt x="1026" y="410"/>
                  </a:lnTo>
                  <a:lnTo>
                    <a:pt x="1022" y="404"/>
                  </a:lnTo>
                  <a:lnTo>
                    <a:pt x="1022" y="398"/>
                  </a:lnTo>
                  <a:lnTo>
                    <a:pt x="1016" y="396"/>
                  </a:lnTo>
                  <a:lnTo>
                    <a:pt x="1010" y="402"/>
                  </a:lnTo>
                  <a:lnTo>
                    <a:pt x="1004" y="408"/>
                  </a:lnTo>
                  <a:lnTo>
                    <a:pt x="998" y="414"/>
                  </a:lnTo>
                  <a:lnTo>
                    <a:pt x="996" y="414"/>
                  </a:lnTo>
                  <a:lnTo>
                    <a:pt x="1002" y="408"/>
                  </a:lnTo>
                  <a:lnTo>
                    <a:pt x="1006" y="402"/>
                  </a:lnTo>
                  <a:lnTo>
                    <a:pt x="1008" y="396"/>
                  </a:lnTo>
                  <a:lnTo>
                    <a:pt x="1002" y="396"/>
                  </a:lnTo>
                  <a:lnTo>
                    <a:pt x="998" y="398"/>
                  </a:lnTo>
                  <a:lnTo>
                    <a:pt x="992" y="400"/>
                  </a:lnTo>
                  <a:lnTo>
                    <a:pt x="986" y="400"/>
                  </a:lnTo>
                  <a:lnTo>
                    <a:pt x="980" y="406"/>
                  </a:lnTo>
                  <a:lnTo>
                    <a:pt x="974" y="410"/>
                  </a:lnTo>
                  <a:lnTo>
                    <a:pt x="978" y="406"/>
                  </a:lnTo>
                  <a:lnTo>
                    <a:pt x="972" y="406"/>
                  </a:lnTo>
                  <a:lnTo>
                    <a:pt x="966" y="406"/>
                  </a:lnTo>
                  <a:lnTo>
                    <a:pt x="960" y="406"/>
                  </a:lnTo>
                  <a:lnTo>
                    <a:pt x="966" y="404"/>
                  </a:lnTo>
                  <a:lnTo>
                    <a:pt x="972" y="404"/>
                  </a:lnTo>
                  <a:lnTo>
                    <a:pt x="976" y="400"/>
                  </a:lnTo>
                  <a:lnTo>
                    <a:pt x="982" y="398"/>
                  </a:lnTo>
                  <a:lnTo>
                    <a:pt x="988" y="396"/>
                  </a:lnTo>
                  <a:lnTo>
                    <a:pt x="994" y="392"/>
                  </a:lnTo>
                  <a:lnTo>
                    <a:pt x="996" y="386"/>
                  </a:lnTo>
                  <a:lnTo>
                    <a:pt x="1002" y="384"/>
                  </a:lnTo>
                  <a:lnTo>
                    <a:pt x="1008" y="384"/>
                  </a:lnTo>
                  <a:lnTo>
                    <a:pt x="1014" y="378"/>
                  </a:lnTo>
                  <a:lnTo>
                    <a:pt x="1008" y="374"/>
                  </a:lnTo>
                  <a:lnTo>
                    <a:pt x="1002" y="380"/>
                  </a:lnTo>
                  <a:lnTo>
                    <a:pt x="996" y="380"/>
                  </a:lnTo>
                  <a:lnTo>
                    <a:pt x="990" y="386"/>
                  </a:lnTo>
                  <a:lnTo>
                    <a:pt x="984" y="388"/>
                  </a:lnTo>
                  <a:lnTo>
                    <a:pt x="978" y="390"/>
                  </a:lnTo>
                  <a:lnTo>
                    <a:pt x="972" y="392"/>
                  </a:lnTo>
                  <a:lnTo>
                    <a:pt x="978" y="390"/>
                  </a:lnTo>
                  <a:lnTo>
                    <a:pt x="984" y="388"/>
                  </a:lnTo>
                  <a:lnTo>
                    <a:pt x="990" y="384"/>
                  </a:lnTo>
                  <a:lnTo>
                    <a:pt x="984" y="380"/>
                  </a:lnTo>
                  <a:lnTo>
                    <a:pt x="978" y="380"/>
                  </a:lnTo>
                  <a:lnTo>
                    <a:pt x="972" y="380"/>
                  </a:lnTo>
                  <a:lnTo>
                    <a:pt x="966" y="384"/>
                  </a:lnTo>
                  <a:lnTo>
                    <a:pt x="960" y="384"/>
                  </a:lnTo>
                  <a:lnTo>
                    <a:pt x="954" y="384"/>
                  </a:lnTo>
                  <a:lnTo>
                    <a:pt x="948" y="386"/>
                  </a:lnTo>
                  <a:lnTo>
                    <a:pt x="942" y="386"/>
                  </a:lnTo>
                  <a:lnTo>
                    <a:pt x="934" y="388"/>
                  </a:lnTo>
                  <a:lnTo>
                    <a:pt x="930" y="394"/>
                  </a:lnTo>
                  <a:lnTo>
                    <a:pt x="926" y="394"/>
                  </a:lnTo>
                  <a:lnTo>
                    <a:pt x="930" y="388"/>
                  </a:lnTo>
                  <a:lnTo>
                    <a:pt x="938" y="384"/>
                  </a:lnTo>
                  <a:lnTo>
                    <a:pt x="944" y="384"/>
                  </a:lnTo>
                  <a:lnTo>
                    <a:pt x="950" y="384"/>
                  </a:lnTo>
                  <a:lnTo>
                    <a:pt x="956" y="382"/>
                  </a:lnTo>
                  <a:lnTo>
                    <a:pt x="960" y="382"/>
                  </a:lnTo>
                  <a:lnTo>
                    <a:pt x="968" y="380"/>
                  </a:lnTo>
                  <a:lnTo>
                    <a:pt x="960" y="378"/>
                  </a:lnTo>
                  <a:lnTo>
                    <a:pt x="956" y="380"/>
                  </a:lnTo>
                  <a:lnTo>
                    <a:pt x="948" y="380"/>
                  </a:lnTo>
                  <a:lnTo>
                    <a:pt x="944" y="380"/>
                  </a:lnTo>
                  <a:lnTo>
                    <a:pt x="936" y="380"/>
                  </a:lnTo>
                  <a:lnTo>
                    <a:pt x="930" y="382"/>
                  </a:lnTo>
                  <a:lnTo>
                    <a:pt x="936" y="380"/>
                  </a:lnTo>
                  <a:lnTo>
                    <a:pt x="942" y="378"/>
                  </a:lnTo>
                  <a:lnTo>
                    <a:pt x="948" y="380"/>
                  </a:lnTo>
                  <a:lnTo>
                    <a:pt x="956" y="378"/>
                  </a:lnTo>
                  <a:lnTo>
                    <a:pt x="950" y="376"/>
                  </a:lnTo>
                  <a:lnTo>
                    <a:pt x="944" y="374"/>
                  </a:lnTo>
                  <a:lnTo>
                    <a:pt x="938" y="374"/>
                  </a:lnTo>
                  <a:lnTo>
                    <a:pt x="944" y="374"/>
                  </a:lnTo>
                  <a:lnTo>
                    <a:pt x="950" y="374"/>
                  </a:lnTo>
                  <a:lnTo>
                    <a:pt x="956" y="374"/>
                  </a:lnTo>
                  <a:lnTo>
                    <a:pt x="962" y="376"/>
                  </a:lnTo>
                  <a:lnTo>
                    <a:pt x="968" y="376"/>
                  </a:lnTo>
                  <a:lnTo>
                    <a:pt x="974" y="372"/>
                  </a:lnTo>
                  <a:lnTo>
                    <a:pt x="974" y="366"/>
                  </a:lnTo>
                  <a:lnTo>
                    <a:pt x="968" y="366"/>
                  </a:lnTo>
                  <a:lnTo>
                    <a:pt x="960" y="368"/>
                  </a:lnTo>
                  <a:lnTo>
                    <a:pt x="968" y="366"/>
                  </a:lnTo>
                  <a:lnTo>
                    <a:pt x="974" y="364"/>
                  </a:lnTo>
                  <a:lnTo>
                    <a:pt x="978" y="358"/>
                  </a:lnTo>
                  <a:lnTo>
                    <a:pt x="972" y="358"/>
                  </a:lnTo>
                  <a:lnTo>
                    <a:pt x="972" y="352"/>
                  </a:lnTo>
                  <a:lnTo>
                    <a:pt x="966" y="352"/>
                  </a:lnTo>
                  <a:lnTo>
                    <a:pt x="960" y="354"/>
                  </a:lnTo>
                  <a:lnTo>
                    <a:pt x="954" y="354"/>
                  </a:lnTo>
                  <a:lnTo>
                    <a:pt x="960" y="352"/>
                  </a:lnTo>
                  <a:lnTo>
                    <a:pt x="966" y="352"/>
                  </a:lnTo>
                  <a:lnTo>
                    <a:pt x="964" y="346"/>
                  </a:lnTo>
                  <a:lnTo>
                    <a:pt x="960" y="344"/>
                  </a:lnTo>
                  <a:lnTo>
                    <a:pt x="954" y="346"/>
                  </a:lnTo>
                  <a:lnTo>
                    <a:pt x="948" y="352"/>
                  </a:lnTo>
                  <a:lnTo>
                    <a:pt x="948" y="346"/>
                  </a:lnTo>
                  <a:lnTo>
                    <a:pt x="942" y="348"/>
                  </a:lnTo>
                  <a:lnTo>
                    <a:pt x="934" y="350"/>
                  </a:lnTo>
                  <a:lnTo>
                    <a:pt x="930" y="356"/>
                  </a:lnTo>
                  <a:lnTo>
                    <a:pt x="934" y="350"/>
                  </a:lnTo>
                  <a:lnTo>
                    <a:pt x="940" y="348"/>
                  </a:lnTo>
                  <a:lnTo>
                    <a:pt x="946" y="342"/>
                  </a:lnTo>
                  <a:lnTo>
                    <a:pt x="952" y="338"/>
                  </a:lnTo>
                  <a:lnTo>
                    <a:pt x="958" y="338"/>
                  </a:lnTo>
                  <a:lnTo>
                    <a:pt x="952" y="332"/>
                  </a:lnTo>
                  <a:lnTo>
                    <a:pt x="946" y="334"/>
                  </a:lnTo>
                  <a:lnTo>
                    <a:pt x="940" y="338"/>
                  </a:lnTo>
                  <a:lnTo>
                    <a:pt x="934" y="338"/>
                  </a:lnTo>
                  <a:lnTo>
                    <a:pt x="928" y="340"/>
                  </a:lnTo>
                  <a:lnTo>
                    <a:pt x="922" y="344"/>
                  </a:lnTo>
                  <a:lnTo>
                    <a:pt x="922" y="350"/>
                  </a:lnTo>
                  <a:lnTo>
                    <a:pt x="922" y="356"/>
                  </a:lnTo>
                  <a:lnTo>
                    <a:pt x="918" y="350"/>
                  </a:lnTo>
                  <a:lnTo>
                    <a:pt x="920" y="344"/>
                  </a:lnTo>
                  <a:lnTo>
                    <a:pt x="926" y="340"/>
                  </a:lnTo>
                  <a:lnTo>
                    <a:pt x="920" y="334"/>
                  </a:lnTo>
                  <a:lnTo>
                    <a:pt x="914" y="336"/>
                  </a:lnTo>
                  <a:lnTo>
                    <a:pt x="910" y="342"/>
                  </a:lnTo>
                  <a:lnTo>
                    <a:pt x="904" y="344"/>
                  </a:lnTo>
                  <a:lnTo>
                    <a:pt x="898" y="350"/>
                  </a:lnTo>
                  <a:lnTo>
                    <a:pt x="892" y="356"/>
                  </a:lnTo>
                  <a:lnTo>
                    <a:pt x="894" y="350"/>
                  </a:lnTo>
                  <a:lnTo>
                    <a:pt x="900" y="344"/>
                  </a:lnTo>
                  <a:lnTo>
                    <a:pt x="902" y="338"/>
                  </a:lnTo>
                  <a:lnTo>
                    <a:pt x="908" y="334"/>
                  </a:lnTo>
                  <a:lnTo>
                    <a:pt x="914" y="330"/>
                  </a:lnTo>
                  <a:lnTo>
                    <a:pt x="914" y="324"/>
                  </a:lnTo>
                  <a:lnTo>
                    <a:pt x="910" y="330"/>
                  </a:lnTo>
                  <a:lnTo>
                    <a:pt x="904" y="334"/>
                  </a:lnTo>
                  <a:lnTo>
                    <a:pt x="898" y="336"/>
                  </a:lnTo>
                  <a:lnTo>
                    <a:pt x="892" y="336"/>
                  </a:lnTo>
                  <a:lnTo>
                    <a:pt x="886" y="340"/>
                  </a:lnTo>
                  <a:lnTo>
                    <a:pt x="882" y="346"/>
                  </a:lnTo>
                  <a:lnTo>
                    <a:pt x="876" y="344"/>
                  </a:lnTo>
                  <a:lnTo>
                    <a:pt x="870" y="342"/>
                  </a:lnTo>
                  <a:lnTo>
                    <a:pt x="876" y="342"/>
                  </a:lnTo>
                  <a:lnTo>
                    <a:pt x="882" y="342"/>
                  </a:lnTo>
                  <a:lnTo>
                    <a:pt x="888" y="338"/>
                  </a:lnTo>
                  <a:lnTo>
                    <a:pt x="894" y="334"/>
                  </a:lnTo>
                  <a:lnTo>
                    <a:pt x="888" y="330"/>
                  </a:lnTo>
                  <a:lnTo>
                    <a:pt x="894" y="328"/>
                  </a:lnTo>
                  <a:lnTo>
                    <a:pt x="888" y="326"/>
                  </a:lnTo>
                  <a:lnTo>
                    <a:pt x="882" y="326"/>
                  </a:lnTo>
                  <a:lnTo>
                    <a:pt x="878" y="334"/>
                  </a:lnTo>
                  <a:lnTo>
                    <a:pt x="880" y="328"/>
                  </a:lnTo>
                  <a:lnTo>
                    <a:pt x="874" y="328"/>
                  </a:lnTo>
                  <a:lnTo>
                    <a:pt x="868" y="330"/>
                  </a:lnTo>
                  <a:lnTo>
                    <a:pt x="874" y="324"/>
                  </a:lnTo>
                  <a:lnTo>
                    <a:pt x="880" y="320"/>
                  </a:lnTo>
                  <a:lnTo>
                    <a:pt x="874" y="320"/>
                  </a:lnTo>
                  <a:lnTo>
                    <a:pt x="868" y="318"/>
                  </a:lnTo>
                  <a:lnTo>
                    <a:pt x="862" y="318"/>
                  </a:lnTo>
                  <a:lnTo>
                    <a:pt x="856" y="322"/>
                  </a:lnTo>
                  <a:lnTo>
                    <a:pt x="850" y="326"/>
                  </a:lnTo>
                  <a:lnTo>
                    <a:pt x="844" y="326"/>
                  </a:lnTo>
                  <a:lnTo>
                    <a:pt x="850" y="326"/>
                  </a:lnTo>
                  <a:lnTo>
                    <a:pt x="856" y="320"/>
                  </a:lnTo>
                  <a:lnTo>
                    <a:pt x="862" y="318"/>
                  </a:lnTo>
                  <a:lnTo>
                    <a:pt x="868" y="316"/>
                  </a:lnTo>
                  <a:lnTo>
                    <a:pt x="862" y="314"/>
                  </a:lnTo>
                  <a:lnTo>
                    <a:pt x="856" y="314"/>
                  </a:lnTo>
                  <a:lnTo>
                    <a:pt x="850" y="316"/>
                  </a:lnTo>
                  <a:lnTo>
                    <a:pt x="844" y="320"/>
                  </a:lnTo>
                  <a:lnTo>
                    <a:pt x="850" y="316"/>
                  </a:lnTo>
                  <a:lnTo>
                    <a:pt x="842" y="316"/>
                  </a:lnTo>
                  <a:lnTo>
                    <a:pt x="838" y="316"/>
                  </a:lnTo>
                  <a:lnTo>
                    <a:pt x="844" y="314"/>
                  </a:lnTo>
                  <a:lnTo>
                    <a:pt x="850" y="314"/>
                  </a:lnTo>
                  <a:lnTo>
                    <a:pt x="854" y="312"/>
                  </a:lnTo>
                  <a:lnTo>
                    <a:pt x="862" y="312"/>
                  </a:lnTo>
                  <a:lnTo>
                    <a:pt x="866" y="312"/>
                  </a:lnTo>
                  <a:lnTo>
                    <a:pt x="872" y="314"/>
                  </a:lnTo>
                  <a:lnTo>
                    <a:pt x="880" y="312"/>
                  </a:lnTo>
                  <a:lnTo>
                    <a:pt x="884" y="310"/>
                  </a:lnTo>
                  <a:lnTo>
                    <a:pt x="890" y="310"/>
                  </a:lnTo>
                  <a:lnTo>
                    <a:pt x="884" y="308"/>
                  </a:lnTo>
                  <a:lnTo>
                    <a:pt x="878" y="308"/>
                  </a:lnTo>
                  <a:lnTo>
                    <a:pt x="872" y="308"/>
                  </a:lnTo>
                  <a:lnTo>
                    <a:pt x="866" y="310"/>
                  </a:lnTo>
                  <a:lnTo>
                    <a:pt x="860" y="306"/>
                  </a:lnTo>
                  <a:lnTo>
                    <a:pt x="854" y="306"/>
                  </a:lnTo>
                  <a:lnTo>
                    <a:pt x="850" y="312"/>
                  </a:lnTo>
                  <a:lnTo>
                    <a:pt x="850" y="306"/>
                  </a:lnTo>
                  <a:lnTo>
                    <a:pt x="856" y="304"/>
                  </a:lnTo>
                  <a:lnTo>
                    <a:pt x="850" y="302"/>
                  </a:lnTo>
                  <a:lnTo>
                    <a:pt x="844" y="302"/>
                  </a:lnTo>
                  <a:lnTo>
                    <a:pt x="838" y="308"/>
                  </a:lnTo>
                  <a:lnTo>
                    <a:pt x="834" y="312"/>
                  </a:lnTo>
                  <a:lnTo>
                    <a:pt x="838" y="304"/>
                  </a:lnTo>
                  <a:lnTo>
                    <a:pt x="834" y="302"/>
                  </a:lnTo>
                  <a:lnTo>
                    <a:pt x="826" y="300"/>
                  </a:lnTo>
                  <a:lnTo>
                    <a:pt x="820" y="300"/>
                  </a:lnTo>
                  <a:lnTo>
                    <a:pt x="814" y="300"/>
                  </a:lnTo>
                  <a:lnTo>
                    <a:pt x="808" y="302"/>
                  </a:lnTo>
                  <a:lnTo>
                    <a:pt x="814" y="300"/>
                  </a:lnTo>
                  <a:lnTo>
                    <a:pt x="808" y="298"/>
                  </a:lnTo>
                  <a:lnTo>
                    <a:pt x="802" y="300"/>
                  </a:lnTo>
                  <a:lnTo>
                    <a:pt x="808" y="296"/>
                  </a:lnTo>
                  <a:lnTo>
                    <a:pt x="814" y="296"/>
                  </a:lnTo>
                  <a:lnTo>
                    <a:pt x="820" y="296"/>
                  </a:lnTo>
                  <a:lnTo>
                    <a:pt x="826" y="296"/>
                  </a:lnTo>
                  <a:lnTo>
                    <a:pt x="832" y="296"/>
                  </a:lnTo>
                  <a:lnTo>
                    <a:pt x="838" y="296"/>
                  </a:lnTo>
                  <a:lnTo>
                    <a:pt x="832" y="292"/>
                  </a:lnTo>
                  <a:lnTo>
                    <a:pt x="826" y="292"/>
                  </a:lnTo>
                  <a:lnTo>
                    <a:pt x="820" y="290"/>
                  </a:lnTo>
                  <a:lnTo>
                    <a:pt x="814" y="292"/>
                  </a:lnTo>
                  <a:lnTo>
                    <a:pt x="808" y="290"/>
                  </a:lnTo>
                  <a:lnTo>
                    <a:pt x="802" y="292"/>
                  </a:lnTo>
                  <a:lnTo>
                    <a:pt x="796" y="286"/>
                  </a:lnTo>
                  <a:lnTo>
                    <a:pt x="790" y="286"/>
                  </a:lnTo>
                  <a:lnTo>
                    <a:pt x="796" y="286"/>
                  </a:lnTo>
                  <a:lnTo>
                    <a:pt x="790" y="284"/>
                  </a:lnTo>
                  <a:lnTo>
                    <a:pt x="796" y="284"/>
                  </a:lnTo>
                  <a:lnTo>
                    <a:pt x="802" y="284"/>
                  </a:lnTo>
                  <a:lnTo>
                    <a:pt x="808" y="286"/>
                  </a:lnTo>
                  <a:lnTo>
                    <a:pt x="816" y="286"/>
                  </a:lnTo>
                  <a:lnTo>
                    <a:pt x="822" y="288"/>
                  </a:lnTo>
                  <a:lnTo>
                    <a:pt x="828" y="286"/>
                  </a:lnTo>
                  <a:lnTo>
                    <a:pt x="834" y="286"/>
                  </a:lnTo>
                  <a:lnTo>
                    <a:pt x="838" y="286"/>
                  </a:lnTo>
                  <a:lnTo>
                    <a:pt x="844" y="288"/>
                  </a:lnTo>
                  <a:lnTo>
                    <a:pt x="850" y="288"/>
                  </a:lnTo>
                  <a:lnTo>
                    <a:pt x="846" y="286"/>
                  </a:lnTo>
                  <a:lnTo>
                    <a:pt x="840" y="284"/>
                  </a:lnTo>
                  <a:lnTo>
                    <a:pt x="834" y="282"/>
                  </a:lnTo>
                  <a:lnTo>
                    <a:pt x="838" y="282"/>
                  </a:lnTo>
                  <a:lnTo>
                    <a:pt x="844" y="284"/>
                  </a:lnTo>
                  <a:lnTo>
                    <a:pt x="850" y="284"/>
                  </a:lnTo>
                  <a:lnTo>
                    <a:pt x="844" y="278"/>
                  </a:lnTo>
                  <a:lnTo>
                    <a:pt x="838" y="276"/>
                  </a:lnTo>
                  <a:lnTo>
                    <a:pt x="832" y="278"/>
                  </a:lnTo>
                  <a:lnTo>
                    <a:pt x="838" y="276"/>
                  </a:lnTo>
                  <a:lnTo>
                    <a:pt x="844" y="276"/>
                  </a:lnTo>
                  <a:lnTo>
                    <a:pt x="850" y="278"/>
                  </a:lnTo>
                  <a:lnTo>
                    <a:pt x="856" y="276"/>
                  </a:lnTo>
                  <a:lnTo>
                    <a:pt x="862" y="276"/>
                  </a:lnTo>
                  <a:lnTo>
                    <a:pt x="868" y="274"/>
                  </a:lnTo>
                  <a:lnTo>
                    <a:pt x="862" y="270"/>
                  </a:lnTo>
                  <a:lnTo>
                    <a:pt x="856" y="268"/>
                  </a:lnTo>
                  <a:lnTo>
                    <a:pt x="850" y="266"/>
                  </a:lnTo>
                  <a:lnTo>
                    <a:pt x="844" y="266"/>
                  </a:lnTo>
                  <a:lnTo>
                    <a:pt x="838" y="266"/>
                  </a:lnTo>
                  <a:lnTo>
                    <a:pt x="832" y="268"/>
                  </a:lnTo>
                  <a:lnTo>
                    <a:pt x="826" y="270"/>
                  </a:lnTo>
                  <a:lnTo>
                    <a:pt x="820" y="270"/>
                  </a:lnTo>
                  <a:lnTo>
                    <a:pt x="814" y="276"/>
                  </a:lnTo>
                  <a:lnTo>
                    <a:pt x="818" y="270"/>
                  </a:lnTo>
                  <a:lnTo>
                    <a:pt x="812" y="270"/>
                  </a:lnTo>
                  <a:lnTo>
                    <a:pt x="818" y="270"/>
                  </a:lnTo>
                  <a:lnTo>
                    <a:pt x="824" y="268"/>
                  </a:lnTo>
                  <a:lnTo>
                    <a:pt x="830" y="268"/>
                  </a:lnTo>
                  <a:lnTo>
                    <a:pt x="836" y="266"/>
                  </a:lnTo>
                  <a:lnTo>
                    <a:pt x="830" y="264"/>
                  </a:lnTo>
                  <a:lnTo>
                    <a:pt x="826" y="264"/>
                  </a:lnTo>
                  <a:lnTo>
                    <a:pt x="834" y="262"/>
                  </a:lnTo>
                  <a:lnTo>
                    <a:pt x="840" y="262"/>
                  </a:lnTo>
                  <a:lnTo>
                    <a:pt x="846" y="262"/>
                  </a:lnTo>
                  <a:lnTo>
                    <a:pt x="852" y="264"/>
                  </a:lnTo>
                  <a:lnTo>
                    <a:pt x="858" y="264"/>
                  </a:lnTo>
                  <a:lnTo>
                    <a:pt x="852" y="260"/>
                  </a:lnTo>
                  <a:lnTo>
                    <a:pt x="846" y="260"/>
                  </a:lnTo>
                  <a:lnTo>
                    <a:pt x="840" y="258"/>
                  </a:lnTo>
                  <a:lnTo>
                    <a:pt x="834" y="258"/>
                  </a:lnTo>
                  <a:lnTo>
                    <a:pt x="828" y="256"/>
                  </a:lnTo>
                  <a:lnTo>
                    <a:pt x="820" y="258"/>
                  </a:lnTo>
                  <a:lnTo>
                    <a:pt x="816" y="258"/>
                  </a:lnTo>
                  <a:lnTo>
                    <a:pt x="820" y="256"/>
                  </a:lnTo>
                  <a:lnTo>
                    <a:pt x="828" y="254"/>
                  </a:lnTo>
                  <a:lnTo>
                    <a:pt x="834" y="256"/>
                  </a:lnTo>
                  <a:lnTo>
                    <a:pt x="840" y="258"/>
                  </a:lnTo>
                  <a:lnTo>
                    <a:pt x="846" y="258"/>
                  </a:lnTo>
                  <a:lnTo>
                    <a:pt x="852" y="258"/>
                  </a:lnTo>
                  <a:lnTo>
                    <a:pt x="858" y="258"/>
                  </a:lnTo>
                  <a:lnTo>
                    <a:pt x="864" y="260"/>
                  </a:lnTo>
                  <a:lnTo>
                    <a:pt x="870" y="262"/>
                  </a:lnTo>
                  <a:lnTo>
                    <a:pt x="876" y="266"/>
                  </a:lnTo>
                  <a:lnTo>
                    <a:pt x="882" y="266"/>
                  </a:lnTo>
                  <a:lnTo>
                    <a:pt x="888" y="266"/>
                  </a:lnTo>
                  <a:lnTo>
                    <a:pt x="894" y="266"/>
                  </a:lnTo>
                  <a:lnTo>
                    <a:pt x="900" y="266"/>
                  </a:lnTo>
                  <a:lnTo>
                    <a:pt x="906" y="266"/>
                  </a:lnTo>
                  <a:lnTo>
                    <a:pt x="912" y="268"/>
                  </a:lnTo>
                  <a:lnTo>
                    <a:pt x="918" y="268"/>
                  </a:lnTo>
                  <a:lnTo>
                    <a:pt x="924" y="264"/>
                  </a:lnTo>
                  <a:lnTo>
                    <a:pt x="922" y="258"/>
                  </a:lnTo>
                  <a:lnTo>
                    <a:pt x="916" y="252"/>
                  </a:lnTo>
                  <a:lnTo>
                    <a:pt x="910" y="250"/>
                  </a:lnTo>
                  <a:lnTo>
                    <a:pt x="904" y="248"/>
                  </a:lnTo>
                  <a:lnTo>
                    <a:pt x="898" y="248"/>
                  </a:lnTo>
                  <a:lnTo>
                    <a:pt x="892" y="248"/>
                  </a:lnTo>
                  <a:lnTo>
                    <a:pt x="886" y="248"/>
                  </a:lnTo>
                  <a:lnTo>
                    <a:pt x="880" y="248"/>
                  </a:lnTo>
                  <a:lnTo>
                    <a:pt x="874" y="248"/>
                  </a:lnTo>
                  <a:lnTo>
                    <a:pt x="868" y="248"/>
                  </a:lnTo>
                  <a:lnTo>
                    <a:pt x="862" y="244"/>
                  </a:lnTo>
                  <a:lnTo>
                    <a:pt x="858" y="242"/>
                  </a:lnTo>
                  <a:lnTo>
                    <a:pt x="850" y="242"/>
                  </a:lnTo>
                  <a:lnTo>
                    <a:pt x="844" y="242"/>
                  </a:lnTo>
                  <a:lnTo>
                    <a:pt x="838" y="242"/>
                  </a:lnTo>
                  <a:lnTo>
                    <a:pt x="832" y="244"/>
                  </a:lnTo>
                  <a:lnTo>
                    <a:pt x="826" y="244"/>
                  </a:lnTo>
                  <a:lnTo>
                    <a:pt x="820" y="246"/>
                  </a:lnTo>
                  <a:lnTo>
                    <a:pt x="814" y="246"/>
                  </a:lnTo>
                  <a:lnTo>
                    <a:pt x="808" y="244"/>
                  </a:lnTo>
                  <a:lnTo>
                    <a:pt x="802" y="244"/>
                  </a:lnTo>
                  <a:lnTo>
                    <a:pt x="796" y="244"/>
                  </a:lnTo>
                  <a:lnTo>
                    <a:pt x="790" y="246"/>
                  </a:lnTo>
                  <a:lnTo>
                    <a:pt x="788" y="246"/>
                  </a:lnTo>
                  <a:lnTo>
                    <a:pt x="788" y="244"/>
                  </a:lnTo>
                  <a:lnTo>
                    <a:pt x="794" y="244"/>
                  </a:lnTo>
                  <a:lnTo>
                    <a:pt x="800" y="242"/>
                  </a:lnTo>
                  <a:lnTo>
                    <a:pt x="806" y="242"/>
                  </a:lnTo>
                  <a:lnTo>
                    <a:pt x="812" y="244"/>
                  </a:lnTo>
                  <a:lnTo>
                    <a:pt x="818" y="244"/>
                  </a:lnTo>
                  <a:lnTo>
                    <a:pt x="824" y="244"/>
                  </a:lnTo>
                  <a:lnTo>
                    <a:pt x="830" y="242"/>
                  </a:lnTo>
                  <a:lnTo>
                    <a:pt x="838" y="240"/>
                  </a:lnTo>
                  <a:lnTo>
                    <a:pt x="844" y="240"/>
                  </a:lnTo>
                  <a:lnTo>
                    <a:pt x="850" y="238"/>
                  </a:lnTo>
                  <a:lnTo>
                    <a:pt x="858" y="240"/>
                  </a:lnTo>
                  <a:lnTo>
                    <a:pt x="862" y="238"/>
                  </a:lnTo>
                  <a:lnTo>
                    <a:pt x="870" y="236"/>
                  </a:lnTo>
                  <a:lnTo>
                    <a:pt x="876" y="234"/>
                  </a:lnTo>
                  <a:lnTo>
                    <a:pt x="882" y="232"/>
                  </a:lnTo>
                  <a:lnTo>
                    <a:pt x="888" y="230"/>
                  </a:lnTo>
                  <a:lnTo>
                    <a:pt x="894" y="230"/>
                  </a:lnTo>
                  <a:lnTo>
                    <a:pt x="900" y="232"/>
                  </a:lnTo>
                  <a:lnTo>
                    <a:pt x="906" y="232"/>
                  </a:lnTo>
                  <a:lnTo>
                    <a:pt x="912" y="234"/>
                  </a:lnTo>
                  <a:lnTo>
                    <a:pt x="918" y="234"/>
                  </a:lnTo>
                  <a:lnTo>
                    <a:pt x="924" y="228"/>
                  </a:lnTo>
                  <a:lnTo>
                    <a:pt x="926" y="224"/>
                  </a:lnTo>
                  <a:lnTo>
                    <a:pt x="924" y="218"/>
                  </a:lnTo>
                  <a:lnTo>
                    <a:pt x="922" y="212"/>
                  </a:lnTo>
                  <a:lnTo>
                    <a:pt x="916" y="206"/>
                  </a:lnTo>
                  <a:lnTo>
                    <a:pt x="910" y="202"/>
                  </a:lnTo>
                  <a:lnTo>
                    <a:pt x="904" y="198"/>
                  </a:lnTo>
                  <a:lnTo>
                    <a:pt x="898" y="202"/>
                  </a:lnTo>
                  <a:lnTo>
                    <a:pt x="892" y="204"/>
                  </a:lnTo>
                  <a:lnTo>
                    <a:pt x="886" y="210"/>
                  </a:lnTo>
                  <a:lnTo>
                    <a:pt x="880" y="214"/>
                  </a:lnTo>
                  <a:lnTo>
                    <a:pt x="874" y="214"/>
                  </a:lnTo>
                  <a:lnTo>
                    <a:pt x="868" y="218"/>
                  </a:lnTo>
                  <a:lnTo>
                    <a:pt x="862" y="220"/>
                  </a:lnTo>
                  <a:lnTo>
                    <a:pt x="858" y="220"/>
                  </a:lnTo>
                  <a:lnTo>
                    <a:pt x="850" y="220"/>
                  </a:lnTo>
                  <a:lnTo>
                    <a:pt x="844" y="222"/>
                  </a:lnTo>
                  <a:lnTo>
                    <a:pt x="838" y="224"/>
                  </a:lnTo>
                  <a:lnTo>
                    <a:pt x="832" y="226"/>
                  </a:lnTo>
                  <a:lnTo>
                    <a:pt x="826" y="230"/>
                  </a:lnTo>
                  <a:lnTo>
                    <a:pt x="820" y="230"/>
                  </a:lnTo>
                  <a:lnTo>
                    <a:pt x="814" y="228"/>
                  </a:lnTo>
                  <a:lnTo>
                    <a:pt x="808" y="230"/>
                  </a:lnTo>
                  <a:lnTo>
                    <a:pt x="802" y="234"/>
                  </a:lnTo>
                  <a:lnTo>
                    <a:pt x="796" y="236"/>
                  </a:lnTo>
                  <a:lnTo>
                    <a:pt x="792" y="240"/>
                  </a:lnTo>
                  <a:lnTo>
                    <a:pt x="792" y="238"/>
                  </a:lnTo>
                  <a:lnTo>
                    <a:pt x="794" y="236"/>
                  </a:lnTo>
                  <a:lnTo>
                    <a:pt x="800" y="234"/>
                  </a:lnTo>
                  <a:lnTo>
                    <a:pt x="806" y="228"/>
                  </a:lnTo>
                  <a:lnTo>
                    <a:pt x="812" y="226"/>
                  </a:lnTo>
                  <a:lnTo>
                    <a:pt x="818" y="226"/>
                  </a:lnTo>
                  <a:lnTo>
                    <a:pt x="824" y="228"/>
                  </a:lnTo>
                  <a:lnTo>
                    <a:pt x="830" y="226"/>
                  </a:lnTo>
                  <a:lnTo>
                    <a:pt x="836" y="222"/>
                  </a:lnTo>
                  <a:lnTo>
                    <a:pt x="842" y="220"/>
                  </a:lnTo>
                  <a:lnTo>
                    <a:pt x="848" y="218"/>
                  </a:lnTo>
                  <a:lnTo>
                    <a:pt x="852" y="218"/>
                  </a:lnTo>
                  <a:lnTo>
                    <a:pt x="858" y="216"/>
                  </a:lnTo>
                  <a:lnTo>
                    <a:pt x="864" y="214"/>
                  </a:lnTo>
                  <a:lnTo>
                    <a:pt x="870" y="210"/>
                  </a:lnTo>
                  <a:lnTo>
                    <a:pt x="864" y="206"/>
                  </a:lnTo>
                  <a:lnTo>
                    <a:pt x="858" y="206"/>
                  </a:lnTo>
                  <a:lnTo>
                    <a:pt x="852" y="206"/>
                  </a:lnTo>
                  <a:lnTo>
                    <a:pt x="846" y="206"/>
                  </a:lnTo>
                  <a:lnTo>
                    <a:pt x="838" y="208"/>
                  </a:lnTo>
                  <a:lnTo>
                    <a:pt x="832" y="208"/>
                  </a:lnTo>
                  <a:lnTo>
                    <a:pt x="826" y="210"/>
                  </a:lnTo>
                  <a:lnTo>
                    <a:pt x="820" y="212"/>
                  </a:lnTo>
                  <a:lnTo>
                    <a:pt x="818" y="218"/>
                  </a:lnTo>
                  <a:lnTo>
                    <a:pt x="812" y="220"/>
                  </a:lnTo>
                  <a:lnTo>
                    <a:pt x="806" y="220"/>
                  </a:lnTo>
                  <a:lnTo>
                    <a:pt x="800" y="220"/>
                  </a:lnTo>
                  <a:lnTo>
                    <a:pt x="794" y="224"/>
                  </a:lnTo>
                  <a:lnTo>
                    <a:pt x="788" y="226"/>
                  </a:lnTo>
                  <a:lnTo>
                    <a:pt x="782" y="226"/>
                  </a:lnTo>
                  <a:lnTo>
                    <a:pt x="786" y="224"/>
                  </a:lnTo>
                  <a:lnTo>
                    <a:pt x="794" y="222"/>
                  </a:lnTo>
                  <a:lnTo>
                    <a:pt x="800" y="220"/>
                  </a:lnTo>
                  <a:lnTo>
                    <a:pt x="806" y="218"/>
                  </a:lnTo>
                  <a:lnTo>
                    <a:pt x="812" y="218"/>
                  </a:lnTo>
                  <a:lnTo>
                    <a:pt x="816" y="218"/>
                  </a:lnTo>
                  <a:lnTo>
                    <a:pt x="810" y="214"/>
                  </a:lnTo>
                  <a:lnTo>
                    <a:pt x="804" y="216"/>
                  </a:lnTo>
                  <a:lnTo>
                    <a:pt x="810" y="214"/>
                  </a:lnTo>
                  <a:lnTo>
                    <a:pt x="816" y="212"/>
                  </a:lnTo>
                  <a:lnTo>
                    <a:pt x="822" y="208"/>
                  </a:lnTo>
                  <a:lnTo>
                    <a:pt x="828" y="206"/>
                  </a:lnTo>
                  <a:lnTo>
                    <a:pt x="834" y="206"/>
                  </a:lnTo>
                  <a:lnTo>
                    <a:pt x="840" y="204"/>
                  </a:lnTo>
                  <a:lnTo>
                    <a:pt x="846" y="202"/>
                  </a:lnTo>
                  <a:lnTo>
                    <a:pt x="852" y="202"/>
                  </a:lnTo>
                  <a:lnTo>
                    <a:pt x="858" y="202"/>
                  </a:lnTo>
                  <a:lnTo>
                    <a:pt x="864" y="200"/>
                  </a:lnTo>
                  <a:lnTo>
                    <a:pt x="872" y="200"/>
                  </a:lnTo>
                  <a:lnTo>
                    <a:pt x="878" y="198"/>
                  </a:lnTo>
                  <a:lnTo>
                    <a:pt x="884" y="194"/>
                  </a:lnTo>
                  <a:lnTo>
                    <a:pt x="890" y="190"/>
                  </a:lnTo>
                  <a:lnTo>
                    <a:pt x="896" y="192"/>
                  </a:lnTo>
                  <a:lnTo>
                    <a:pt x="902" y="190"/>
                  </a:lnTo>
                  <a:lnTo>
                    <a:pt x="900" y="184"/>
                  </a:lnTo>
                  <a:lnTo>
                    <a:pt x="894" y="182"/>
                  </a:lnTo>
                  <a:lnTo>
                    <a:pt x="888" y="180"/>
                  </a:lnTo>
                  <a:lnTo>
                    <a:pt x="882" y="178"/>
                  </a:lnTo>
                  <a:lnTo>
                    <a:pt x="876" y="176"/>
                  </a:lnTo>
                  <a:lnTo>
                    <a:pt x="870" y="172"/>
                  </a:lnTo>
                  <a:lnTo>
                    <a:pt x="864" y="172"/>
                  </a:lnTo>
                  <a:lnTo>
                    <a:pt x="858" y="172"/>
                  </a:lnTo>
                  <a:lnTo>
                    <a:pt x="852" y="176"/>
                  </a:lnTo>
                  <a:lnTo>
                    <a:pt x="846" y="176"/>
                  </a:lnTo>
                  <a:lnTo>
                    <a:pt x="840" y="180"/>
                  </a:lnTo>
                  <a:lnTo>
                    <a:pt x="834" y="180"/>
                  </a:lnTo>
                  <a:lnTo>
                    <a:pt x="828" y="182"/>
                  </a:lnTo>
                  <a:lnTo>
                    <a:pt x="820" y="182"/>
                  </a:lnTo>
                  <a:lnTo>
                    <a:pt x="814" y="182"/>
                  </a:lnTo>
                  <a:lnTo>
                    <a:pt x="814" y="188"/>
                  </a:lnTo>
                  <a:lnTo>
                    <a:pt x="808" y="190"/>
                  </a:lnTo>
                  <a:lnTo>
                    <a:pt x="812" y="184"/>
                  </a:lnTo>
                  <a:lnTo>
                    <a:pt x="818" y="180"/>
                  </a:lnTo>
                  <a:lnTo>
                    <a:pt x="824" y="180"/>
                  </a:lnTo>
                  <a:lnTo>
                    <a:pt x="830" y="178"/>
                  </a:lnTo>
                  <a:lnTo>
                    <a:pt x="836" y="176"/>
                  </a:lnTo>
                  <a:lnTo>
                    <a:pt x="838" y="176"/>
                  </a:lnTo>
                  <a:lnTo>
                    <a:pt x="844" y="174"/>
                  </a:lnTo>
                  <a:lnTo>
                    <a:pt x="850" y="170"/>
                  </a:lnTo>
                  <a:lnTo>
                    <a:pt x="844" y="168"/>
                  </a:lnTo>
                  <a:lnTo>
                    <a:pt x="838" y="170"/>
                  </a:lnTo>
                  <a:lnTo>
                    <a:pt x="832" y="172"/>
                  </a:lnTo>
                  <a:lnTo>
                    <a:pt x="826" y="172"/>
                  </a:lnTo>
                  <a:lnTo>
                    <a:pt x="820" y="174"/>
                  </a:lnTo>
                  <a:lnTo>
                    <a:pt x="814" y="176"/>
                  </a:lnTo>
                  <a:lnTo>
                    <a:pt x="808" y="176"/>
                  </a:lnTo>
                  <a:lnTo>
                    <a:pt x="802" y="180"/>
                  </a:lnTo>
                  <a:lnTo>
                    <a:pt x="794" y="180"/>
                  </a:lnTo>
                  <a:lnTo>
                    <a:pt x="788" y="184"/>
                  </a:lnTo>
                  <a:lnTo>
                    <a:pt x="782" y="188"/>
                  </a:lnTo>
                  <a:lnTo>
                    <a:pt x="776" y="192"/>
                  </a:lnTo>
                  <a:lnTo>
                    <a:pt x="770" y="196"/>
                  </a:lnTo>
                  <a:lnTo>
                    <a:pt x="764" y="202"/>
                  </a:lnTo>
                  <a:lnTo>
                    <a:pt x="758" y="206"/>
                  </a:lnTo>
                  <a:lnTo>
                    <a:pt x="752" y="210"/>
                  </a:lnTo>
                  <a:lnTo>
                    <a:pt x="748" y="212"/>
                  </a:lnTo>
                  <a:lnTo>
                    <a:pt x="742" y="214"/>
                  </a:lnTo>
                  <a:lnTo>
                    <a:pt x="748" y="210"/>
                  </a:lnTo>
                  <a:lnTo>
                    <a:pt x="754" y="206"/>
                  </a:lnTo>
                  <a:lnTo>
                    <a:pt x="760" y="204"/>
                  </a:lnTo>
                  <a:lnTo>
                    <a:pt x="766" y="198"/>
                  </a:lnTo>
                  <a:lnTo>
                    <a:pt x="772" y="192"/>
                  </a:lnTo>
                  <a:lnTo>
                    <a:pt x="778" y="188"/>
                  </a:lnTo>
                  <a:lnTo>
                    <a:pt x="772" y="186"/>
                  </a:lnTo>
                  <a:lnTo>
                    <a:pt x="766" y="184"/>
                  </a:lnTo>
                  <a:lnTo>
                    <a:pt x="760" y="188"/>
                  </a:lnTo>
                  <a:lnTo>
                    <a:pt x="754" y="192"/>
                  </a:lnTo>
                  <a:lnTo>
                    <a:pt x="748" y="198"/>
                  </a:lnTo>
                  <a:lnTo>
                    <a:pt x="742" y="200"/>
                  </a:lnTo>
                  <a:lnTo>
                    <a:pt x="740" y="200"/>
                  </a:lnTo>
                  <a:lnTo>
                    <a:pt x="744" y="198"/>
                  </a:lnTo>
                  <a:lnTo>
                    <a:pt x="740" y="194"/>
                  </a:lnTo>
                  <a:lnTo>
                    <a:pt x="746" y="192"/>
                  </a:lnTo>
                  <a:lnTo>
                    <a:pt x="752" y="190"/>
                  </a:lnTo>
                  <a:lnTo>
                    <a:pt x="756" y="188"/>
                  </a:lnTo>
                  <a:lnTo>
                    <a:pt x="762" y="182"/>
                  </a:lnTo>
                  <a:lnTo>
                    <a:pt x="770" y="182"/>
                  </a:lnTo>
                  <a:lnTo>
                    <a:pt x="776" y="184"/>
                  </a:lnTo>
                  <a:lnTo>
                    <a:pt x="782" y="184"/>
                  </a:lnTo>
                  <a:lnTo>
                    <a:pt x="788" y="180"/>
                  </a:lnTo>
                  <a:lnTo>
                    <a:pt x="794" y="178"/>
                  </a:lnTo>
                  <a:lnTo>
                    <a:pt x="800" y="176"/>
                  </a:lnTo>
                  <a:lnTo>
                    <a:pt x="806" y="174"/>
                  </a:lnTo>
                  <a:lnTo>
                    <a:pt x="812" y="170"/>
                  </a:lnTo>
                  <a:lnTo>
                    <a:pt x="818" y="168"/>
                  </a:lnTo>
                  <a:lnTo>
                    <a:pt x="824" y="164"/>
                  </a:lnTo>
                  <a:lnTo>
                    <a:pt x="826" y="158"/>
                  </a:lnTo>
                  <a:lnTo>
                    <a:pt x="820" y="154"/>
                  </a:lnTo>
                  <a:lnTo>
                    <a:pt x="814" y="156"/>
                  </a:lnTo>
                  <a:lnTo>
                    <a:pt x="806" y="158"/>
                  </a:lnTo>
                  <a:lnTo>
                    <a:pt x="800" y="158"/>
                  </a:lnTo>
                  <a:lnTo>
                    <a:pt x="794" y="164"/>
                  </a:lnTo>
                  <a:lnTo>
                    <a:pt x="788" y="166"/>
                  </a:lnTo>
                  <a:lnTo>
                    <a:pt x="782" y="168"/>
                  </a:lnTo>
                  <a:lnTo>
                    <a:pt x="774" y="168"/>
                  </a:lnTo>
                  <a:lnTo>
                    <a:pt x="770" y="168"/>
                  </a:lnTo>
                  <a:lnTo>
                    <a:pt x="764" y="170"/>
                  </a:lnTo>
                  <a:lnTo>
                    <a:pt x="756" y="172"/>
                  </a:lnTo>
                  <a:lnTo>
                    <a:pt x="750" y="172"/>
                  </a:lnTo>
                  <a:lnTo>
                    <a:pt x="744" y="174"/>
                  </a:lnTo>
                  <a:lnTo>
                    <a:pt x="738" y="176"/>
                  </a:lnTo>
                  <a:lnTo>
                    <a:pt x="732" y="180"/>
                  </a:lnTo>
                  <a:lnTo>
                    <a:pt x="726" y="180"/>
                  </a:lnTo>
                  <a:lnTo>
                    <a:pt x="720" y="180"/>
                  </a:lnTo>
                  <a:lnTo>
                    <a:pt x="726" y="180"/>
                  </a:lnTo>
                  <a:lnTo>
                    <a:pt x="732" y="178"/>
                  </a:lnTo>
                  <a:lnTo>
                    <a:pt x="738" y="174"/>
                  </a:lnTo>
                  <a:lnTo>
                    <a:pt x="744" y="172"/>
                  </a:lnTo>
                  <a:lnTo>
                    <a:pt x="738" y="168"/>
                  </a:lnTo>
                  <a:lnTo>
                    <a:pt x="732" y="170"/>
                  </a:lnTo>
                  <a:lnTo>
                    <a:pt x="726" y="170"/>
                  </a:lnTo>
                  <a:lnTo>
                    <a:pt x="732" y="168"/>
                  </a:lnTo>
                  <a:lnTo>
                    <a:pt x="738" y="168"/>
                  </a:lnTo>
                  <a:lnTo>
                    <a:pt x="744" y="166"/>
                  </a:lnTo>
                  <a:lnTo>
                    <a:pt x="750" y="162"/>
                  </a:lnTo>
                  <a:lnTo>
                    <a:pt x="756" y="160"/>
                  </a:lnTo>
                  <a:lnTo>
                    <a:pt x="762" y="156"/>
                  </a:lnTo>
                  <a:lnTo>
                    <a:pt x="768" y="154"/>
                  </a:lnTo>
                  <a:lnTo>
                    <a:pt x="774" y="154"/>
                  </a:lnTo>
                  <a:lnTo>
                    <a:pt x="780" y="156"/>
                  </a:lnTo>
                  <a:lnTo>
                    <a:pt x="786" y="156"/>
                  </a:lnTo>
                  <a:lnTo>
                    <a:pt x="792" y="154"/>
                  </a:lnTo>
                  <a:lnTo>
                    <a:pt x="798" y="152"/>
                  </a:lnTo>
                  <a:lnTo>
                    <a:pt x="804" y="148"/>
                  </a:lnTo>
                  <a:lnTo>
                    <a:pt x="810" y="146"/>
                  </a:lnTo>
                  <a:lnTo>
                    <a:pt x="812" y="140"/>
                  </a:lnTo>
                  <a:lnTo>
                    <a:pt x="808" y="134"/>
                  </a:lnTo>
                  <a:lnTo>
                    <a:pt x="802" y="130"/>
                  </a:lnTo>
                  <a:lnTo>
                    <a:pt x="796" y="130"/>
                  </a:lnTo>
                  <a:lnTo>
                    <a:pt x="790" y="128"/>
                  </a:lnTo>
                  <a:lnTo>
                    <a:pt x="784" y="126"/>
                  </a:lnTo>
                  <a:lnTo>
                    <a:pt x="778" y="126"/>
                  </a:lnTo>
                  <a:lnTo>
                    <a:pt x="772" y="124"/>
                  </a:lnTo>
                  <a:lnTo>
                    <a:pt x="766" y="124"/>
                  </a:lnTo>
                  <a:lnTo>
                    <a:pt x="760" y="130"/>
                  </a:lnTo>
                  <a:lnTo>
                    <a:pt x="754" y="130"/>
                  </a:lnTo>
                  <a:lnTo>
                    <a:pt x="748" y="136"/>
                  </a:lnTo>
                  <a:lnTo>
                    <a:pt x="740" y="136"/>
                  </a:lnTo>
                  <a:lnTo>
                    <a:pt x="736" y="142"/>
                  </a:lnTo>
                  <a:lnTo>
                    <a:pt x="730" y="148"/>
                  </a:lnTo>
                  <a:lnTo>
                    <a:pt x="722" y="148"/>
                  </a:lnTo>
                  <a:lnTo>
                    <a:pt x="716" y="152"/>
                  </a:lnTo>
                  <a:lnTo>
                    <a:pt x="710" y="156"/>
                  </a:lnTo>
                  <a:lnTo>
                    <a:pt x="704" y="158"/>
                  </a:lnTo>
                  <a:lnTo>
                    <a:pt x="710" y="156"/>
                  </a:lnTo>
                  <a:lnTo>
                    <a:pt x="716" y="152"/>
                  </a:lnTo>
                  <a:lnTo>
                    <a:pt x="722" y="146"/>
                  </a:lnTo>
                  <a:lnTo>
                    <a:pt x="728" y="146"/>
                  </a:lnTo>
                  <a:lnTo>
                    <a:pt x="722" y="142"/>
                  </a:lnTo>
                  <a:lnTo>
                    <a:pt x="716" y="140"/>
                  </a:lnTo>
                  <a:lnTo>
                    <a:pt x="710" y="144"/>
                  </a:lnTo>
                  <a:lnTo>
                    <a:pt x="704" y="146"/>
                  </a:lnTo>
                  <a:lnTo>
                    <a:pt x="698" y="150"/>
                  </a:lnTo>
                  <a:lnTo>
                    <a:pt x="692" y="156"/>
                  </a:lnTo>
                  <a:lnTo>
                    <a:pt x="686" y="156"/>
                  </a:lnTo>
                  <a:lnTo>
                    <a:pt x="692" y="154"/>
                  </a:lnTo>
                  <a:lnTo>
                    <a:pt x="698" y="148"/>
                  </a:lnTo>
                  <a:lnTo>
                    <a:pt x="704" y="144"/>
                  </a:lnTo>
                  <a:lnTo>
                    <a:pt x="710" y="142"/>
                  </a:lnTo>
                  <a:lnTo>
                    <a:pt x="716" y="138"/>
                  </a:lnTo>
                  <a:lnTo>
                    <a:pt x="710" y="140"/>
                  </a:lnTo>
                  <a:lnTo>
                    <a:pt x="714" y="134"/>
                  </a:lnTo>
                  <a:lnTo>
                    <a:pt x="720" y="130"/>
                  </a:lnTo>
                  <a:lnTo>
                    <a:pt x="712" y="126"/>
                  </a:lnTo>
                  <a:lnTo>
                    <a:pt x="706" y="130"/>
                  </a:lnTo>
                  <a:lnTo>
                    <a:pt x="702" y="134"/>
                  </a:lnTo>
                  <a:lnTo>
                    <a:pt x="694" y="138"/>
                  </a:lnTo>
                  <a:lnTo>
                    <a:pt x="688" y="142"/>
                  </a:lnTo>
                  <a:lnTo>
                    <a:pt x="682" y="146"/>
                  </a:lnTo>
                  <a:lnTo>
                    <a:pt x="676" y="148"/>
                  </a:lnTo>
                  <a:lnTo>
                    <a:pt x="682" y="146"/>
                  </a:lnTo>
                  <a:lnTo>
                    <a:pt x="688" y="142"/>
                  </a:lnTo>
                  <a:lnTo>
                    <a:pt x="694" y="136"/>
                  </a:lnTo>
                  <a:lnTo>
                    <a:pt x="688" y="136"/>
                  </a:lnTo>
                  <a:lnTo>
                    <a:pt x="682" y="136"/>
                  </a:lnTo>
                  <a:lnTo>
                    <a:pt x="688" y="134"/>
                  </a:lnTo>
                  <a:lnTo>
                    <a:pt x="694" y="134"/>
                  </a:lnTo>
                  <a:lnTo>
                    <a:pt x="700" y="130"/>
                  </a:lnTo>
                  <a:lnTo>
                    <a:pt x="706" y="128"/>
                  </a:lnTo>
                  <a:lnTo>
                    <a:pt x="712" y="126"/>
                  </a:lnTo>
                  <a:lnTo>
                    <a:pt x="718" y="122"/>
                  </a:lnTo>
                  <a:lnTo>
                    <a:pt x="724" y="120"/>
                  </a:lnTo>
                  <a:lnTo>
                    <a:pt x="718" y="116"/>
                  </a:lnTo>
                  <a:lnTo>
                    <a:pt x="710" y="118"/>
                  </a:lnTo>
                  <a:lnTo>
                    <a:pt x="706" y="120"/>
                  </a:lnTo>
                  <a:lnTo>
                    <a:pt x="698" y="124"/>
                  </a:lnTo>
                  <a:lnTo>
                    <a:pt x="694" y="130"/>
                  </a:lnTo>
                  <a:lnTo>
                    <a:pt x="696" y="124"/>
                  </a:lnTo>
                  <a:lnTo>
                    <a:pt x="702" y="122"/>
                  </a:lnTo>
                  <a:lnTo>
                    <a:pt x="696" y="120"/>
                  </a:lnTo>
                  <a:lnTo>
                    <a:pt x="690" y="122"/>
                  </a:lnTo>
                  <a:lnTo>
                    <a:pt x="682" y="122"/>
                  </a:lnTo>
                  <a:lnTo>
                    <a:pt x="676" y="128"/>
                  </a:lnTo>
                  <a:lnTo>
                    <a:pt x="670" y="130"/>
                  </a:lnTo>
                  <a:lnTo>
                    <a:pt x="668" y="134"/>
                  </a:lnTo>
                  <a:lnTo>
                    <a:pt x="662" y="140"/>
                  </a:lnTo>
                  <a:lnTo>
                    <a:pt x="656" y="142"/>
                  </a:lnTo>
                  <a:lnTo>
                    <a:pt x="648" y="146"/>
                  </a:lnTo>
                  <a:lnTo>
                    <a:pt x="642" y="148"/>
                  </a:lnTo>
                  <a:lnTo>
                    <a:pt x="648" y="144"/>
                  </a:lnTo>
                  <a:lnTo>
                    <a:pt x="654" y="142"/>
                  </a:lnTo>
                  <a:lnTo>
                    <a:pt x="660" y="138"/>
                  </a:lnTo>
                  <a:lnTo>
                    <a:pt x="660" y="134"/>
                  </a:lnTo>
                  <a:lnTo>
                    <a:pt x="656" y="130"/>
                  </a:lnTo>
                  <a:lnTo>
                    <a:pt x="650" y="132"/>
                  </a:lnTo>
                  <a:lnTo>
                    <a:pt x="656" y="130"/>
                  </a:lnTo>
                  <a:lnTo>
                    <a:pt x="664" y="130"/>
                  </a:lnTo>
                  <a:lnTo>
                    <a:pt x="670" y="128"/>
                  </a:lnTo>
                  <a:lnTo>
                    <a:pt x="676" y="124"/>
                  </a:lnTo>
                  <a:lnTo>
                    <a:pt x="670" y="122"/>
                  </a:lnTo>
                  <a:lnTo>
                    <a:pt x="664" y="126"/>
                  </a:lnTo>
                  <a:lnTo>
                    <a:pt x="658" y="126"/>
                  </a:lnTo>
                  <a:lnTo>
                    <a:pt x="652" y="128"/>
                  </a:lnTo>
                  <a:lnTo>
                    <a:pt x="646" y="130"/>
                  </a:lnTo>
                  <a:lnTo>
                    <a:pt x="640" y="130"/>
                  </a:lnTo>
                  <a:lnTo>
                    <a:pt x="646" y="128"/>
                  </a:lnTo>
                  <a:lnTo>
                    <a:pt x="652" y="126"/>
                  </a:lnTo>
                  <a:lnTo>
                    <a:pt x="660" y="124"/>
                  </a:lnTo>
                  <a:lnTo>
                    <a:pt x="666" y="122"/>
                  </a:lnTo>
                  <a:lnTo>
                    <a:pt x="660" y="120"/>
                  </a:lnTo>
                  <a:lnTo>
                    <a:pt x="652" y="122"/>
                  </a:lnTo>
                  <a:lnTo>
                    <a:pt x="646" y="122"/>
                  </a:lnTo>
                  <a:lnTo>
                    <a:pt x="654" y="120"/>
                  </a:lnTo>
                  <a:lnTo>
                    <a:pt x="660" y="120"/>
                  </a:lnTo>
                  <a:lnTo>
                    <a:pt x="666" y="120"/>
                  </a:lnTo>
                  <a:lnTo>
                    <a:pt x="672" y="120"/>
                  </a:lnTo>
                  <a:lnTo>
                    <a:pt x="678" y="118"/>
                  </a:lnTo>
                  <a:lnTo>
                    <a:pt x="684" y="116"/>
                  </a:lnTo>
                  <a:lnTo>
                    <a:pt x="690" y="114"/>
                  </a:lnTo>
                  <a:lnTo>
                    <a:pt x="698" y="114"/>
                  </a:lnTo>
                  <a:lnTo>
                    <a:pt x="704" y="114"/>
                  </a:lnTo>
                  <a:lnTo>
                    <a:pt x="710" y="108"/>
                  </a:lnTo>
                  <a:lnTo>
                    <a:pt x="716" y="104"/>
                  </a:lnTo>
                  <a:lnTo>
                    <a:pt x="710" y="98"/>
                  </a:lnTo>
                  <a:lnTo>
                    <a:pt x="704" y="98"/>
                  </a:lnTo>
                  <a:lnTo>
                    <a:pt x="698" y="98"/>
                  </a:lnTo>
                  <a:lnTo>
                    <a:pt x="692" y="98"/>
                  </a:lnTo>
                  <a:lnTo>
                    <a:pt x="686" y="96"/>
                  </a:lnTo>
                  <a:lnTo>
                    <a:pt x="684" y="96"/>
                  </a:lnTo>
                  <a:lnTo>
                    <a:pt x="682" y="96"/>
                  </a:lnTo>
                  <a:lnTo>
                    <a:pt x="676" y="100"/>
                  </a:lnTo>
                  <a:lnTo>
                    <a:pt x="670" y="102"/>
                  </a:lnTo>
                  <a:lnTo>
                    <a:pt x="664" y="104"/>
                  </a:lnTo>
                  <a:lnTo>
                    <a:pt x="658" y="104"/>
                  </a:lnTo>
                  <a:lnTo>
                    <a:pt x="650" y="108"/>
                  </a:lnTo>
                  <a:lnTo>
                    <a:pt x="646" y="110"/>
                  </a:lnTo>
                  <a:lnTo>
                    <a:pt x="640" y="114"/>
                  </a:lnTo>
                  <a:lnTo>
                    <a:pt x="634" y="118"/>
                  </a:lnTo>
                  <a:lnTo>
                    <a:pt x="628" y="120"/>
                  </a:lnTo>
                  <a:lnTo>
                    <a:pt x="622" y="120"/>
                  </a:lnTo>
                  <a:lnTo>
                    <a:pt x="628" y="120"/>
                  </a:lnTo>
                  <a:lnTo>
                    <a:pt x="634" y="118"/>
                  </a:lnTo>
                  <a:lnTo>
                    <a:pt x="640" y="114"/>
                  </a:lnTo>
                  <a:lnTo>
                    <a:pt x="646" y="108"/>
                  </a:lnTo>
                  <a:lnTo>
                    <a:pt x="652" y="104"/>
                  </a:lnTo>
                  <a:lnTo>
                    <a:pt x="658" y="102"/>
                  </a:lnTo>
                  <a:lnTo>
                    <a:pt x="664" y="102"/>
                  </a:lnTo>
                  <a:lnTo>
                    <a:pt x="670" y="98"/>
                  </a:lnTo>
                  <a:lnTo>
                    <a:pt x="664" y="96"/>
                  </a:lnTo>
                  <a:lnTo>
                    <a:pt x="658" y="96"/>
                  </a:lnTo>
                  <a:lnTo>
                    <a:pt x="652" y="98"/>
                  </a:lnTo>
                  <a:lnTo>
                    <a:pt x="646" y="98"/>
                  </a:lnTo>
                  <a:lnTo>
                    <a:pt x="640" y="100"/>
                  </a:lnTo>
                  <a:lnTo>
                    <a:pt x="634" y="104"/>
                  </a:lnTo>
                  <a:lnTo>
                    <a:pt x="628" y="106"/>
                  </a:lnTo>
                  <a:lnTo>
                    <a:pt x="622" y="108"/>
                  </a:lnTo>
                  <a:lnTo>
                    <a:pt x="616" y="110"/>
                  </a:lnTo>
                  <a:lnTo>
                    <a:pt x="622" y="106"/>
                  </a:lnTo>
                  <a:lnTo>
                    <a:pt x="628" y="104"/>
                  </a:lnTo>
                  <a:lnTo>
                    <a:pt x="634" y="102"/>
                  </a:lnTo>
                  <a:lnTo>
                    <a:pt x="640" y="98"/>
                  </a:lnTo>
                  <a:lnTo>
                    <a:pt x="646" y="98"/>
                  </a:lnTo>
                  <a:lnTo>
                    <a:pt x="652" y="96"/>
                  </a:lnTo>
                  <a:lnTo>
                    <a:pt x="658" y="96"/>
                  </a:lnTo>
                  <a:lnTo>
                    <a:pt x="666" y="96"/>
                  </a:lnTo>
                  <a:lnTo>
                    <a:pt x="672" y="96"/>
                  </a:lnTo>
                  <a:lnTo>
                    <a:pt x="678" y="96"/>
                  </a:lnTo>
                  <a:lnTo>
                    <a:pt x="684" y="94"/>
                  </a:lnTo>
                  <a:lnTo>
                    <a:pt x="690" y="90"/>
                  </a:lnTo>
                  <a:lnTo>
                    <a:pt x="692" y="84"/>
                  </a:lnTo>
                  <a:lnTo>
                    <a:pt x="692" y="78"/>
                  </a:lnTo>
                  <a:lnTo>
                    <a:pt x="686" y="74"/>
                  </a:lnTo>
                  <a:lnTo>
                    <a:pt x="680" y="72"/>
                  </a:lnTo>
                  <a:lnTo>
                    <a:pt x="674" y="70"/>
                  </a:lnTo>
                  <a:lnTo>
                    <a:pt x="668" y="70"/>
                  </a:lnTo>
                  <a:lnTo>
                    <a:pt x="662" y="72"/>
                  </a:lnTo>
                  <a:lnTo>
                    <a:pt x="656" y="76"/>
                  </a:lnTo>
                  <a:lnTo>
                    <a:pt x="658" y="70"/>
                  </a:lnTo>
                  <a:lnTo>
                    <a:pt x="650" y="70"/>
                  </a:lnTo>
                  <a:lnTo>
                    <a:pt x="646" y="68"/>
                  </a:lnTo>
                  <a:lnTo>
                    <a:pt x="638" y="68"/>
                  </a:lnTo>
                  <a:lnTo>
                    <a:pt x="632" y="62"/>
                  </a:lnTo>
                  <a:lnTo>
                    <a:pt x="626" y="62"/>
                  </a:lnTo>
                  <a:lnTo>
                    <a:pt x="622" y="62"/>
                  </a:lnTo>
                  <a:lnTo>
                    <a:pt x="614" y="62"/>
                  </a:lnTo>
                  <a:lnTo>
                    <a:pt x="608" y="62"/>
                  </a:lnTo>
                  <a:lnTo>
                    <a:pt x="602" y="62"/>
                  </a:lnTo>
                  <a:lnTo>
                    <a:pt x="596" y="64"/>
                  </a:lnTo>
                  <a:lnTo>
                    <a:pt x="588" y="64"/>
                  </a:lnTo>
                  <a:lnTo>
                    <a:pt x="582" y="66"/>
                  </a:lnTo>
                  <a:lnTo>
                    <a:pt x="576" y="66"/>
                  </a:lnTo>
                  <a:lnTo>
                    <a:pt x="570" y="68"/>
                  </a:lnTo>
                  <a:lnTo>
                    <a:pt x="564" y="70"/>
                  </a:lnTo>
                  <a:lnTo>
                    <a:pt x="558" y="72"/>
                  </a:lnTo>
                  <a:lnTo>
                    <a:pt x="552" y="76"/>
                  </a:lnTo>
                  <a:lnTo>
                    <a:pt x="550" y="80"/>
                  </a:lnTo>
                  <a:lnTo>
                    <a:pt x="554" y="84"/>
                  </a:lnTo>
                  <a:lnTo>
                    <a:pt x="560" y="86"/>
                  </a:lnTo>
                  <a:lnTo>
                    <a:pt x="566" y="86"/>
                  </a:lnTo>
                  <a:lnTo>
                    <a:pt x="574" y="88"/>
                  </a:lnTo>
                  <a:lnTo>
                    <a:pt x="578" y="92"/>
                  </a:lnTo>
                  <a:lnTo>
                    <a:pt x="584" y="92"/>
                  </a:lnTo>
                  <a:lnTo>
                    <a:pt x="592" y="92"/>
                  </a:lnTo>
                  <a:lnTo>
                    <a:pt x="596" y="94"/>
                  </a:lnTo>
                  <a:lnTo>
                    <a:pt x="592" y="94"/>
                  </a:lnTo>
                  <a:lnTo>
                    <a:pt x="588" y="92"/>
                  </a:lnTo>
                  <a:lnTo>
                    <a:pt x="582" y="94"/>
                  </a:lnTo>
                  <a:lnTo>
                    <a:pt x="576" y="94"/>
                  </a:lnTo>
                  <a:lnTo>
                    <a:pt x="570" y="98"/>
                  </a:lnTo>
                  <a:lnTo>
                    <a:pt x="574" y="92"/>
                  </a:lnTo>
                  <a:lnTo>
                    <a:pt x="568" y="88"/>
                  </a:lnTo>
                  <a:lnTo>
                    <a:pt x="562" y="90"/>
                  </a:lnTo>
                  <a:lnTo>
                    <a:pt x="556" y="88"/>
                  </a:lnTo>
                  <a:lnTo>
                    <a:pt x="550" y="86"/>
                  </a:lnTo>
                  <a:lnTo>
                    <a:pt x="544" y="88"/>
                  </a:lnTo>
                  <a:lnTo>
                    <a:pt x="540" y="94"/>
                  </a:lnTo>
                  <a:lnTo>
                    <a:pt x="542" y="88"/>
                  </a:lnTo>
                  <a:lnTo>
                    <a:pt x="536" y="84"/>
                  </a:lnTo>
                  <a:lnTo>
                    <a:pt x="530" y="88"/>
                  </a:lnTo>
                  <a:lnTo>
                    <a:pt x="532" y="94"/>
                  </a:lnTo>
                  <a:lnTo>
                    <a:pt x="536" y="96"/>
                  </a:lnTo>
                  <a:lnTo>
                    <a:pt x="536" y="102"/>
                  </a:lnTo>
                  <a:lnTo>
                    <a:pt x="542" y="104"/>
                  </a:lnTo>
                  <a:lnTo>
                    <a:pt x="546" y="110"/>
                  </a:lnTo>
                  <a:lnTo>
                    <a:pt x="552" y="114"/>
                  </a:lnTo>
                  <a:lnTo>
                    <a:pt x="546" y="114"/>
                  </a:lnTo>
                  <a:lnTo>
                    <a:pt x="544" y="108"/>
                  </a:lnTo>
                  <a:lnTo>
                    <a:pt x="538" y="106"/>
                  </a:lnTo>
                  <a:lnTo>
                    <a:pt x="536" y="112"/>
                  </a:lnTo>
                  <a:lnTo>
                    <a:pt x="542" y="116"/>
                  </a:lnTo>
                  <a:lnTo>
                    <a:pt x="536" y="114"/>
                  </a:lnTo>
                  <a:lnTo>
                    <a:pt x="534" y="114"/>
                  </a:lnTo>
                  <a:lnTo>
                    <a:pt x="532" y="108"/>
                  </a:lnTo>
                  <a:lnTo>
                    <a:pt x="534" y="102"/>
                  </a:lnTo>
                  <a:lnTo>
                    <a:pt x="530" y="96"/>
                  </a:lnTo>
                  <a:lnTo>
                    <a:pt x="524" y="94"/>
                  </a:lnTo>
                  <a:lnTo>
                    <a:pt x="518" y="98"/>
                  </a:lnTo>
                  <a:lnTo>
                    <a:pt x="512" y="102"/>
                  </a:lnTo>
                  <a:lnTo>
                    <a:pt x="518" y="106"/>
                  </a:lnTo>
                  <a:lnTo>
                    <a:pt x="512" y="106"/>
                  </a:lnTo>
                  <a:lnTo>
                    <a:pt x="506" y="104"/>
                  </a:lnTo>
                  <a:lnTo>
                    <a:pt x="500" y="106"/>
                  </a:lnTo>
                  <a:lnTo>
                    <a:pt x="506" y="100"/>
                  </a:lnTo>
                  <a:lnTo>
                    <a:pt x="512" y="98"/>
                  </a:lnTo>
                  <a:lnTo>
                    <a:pt x="518" y="94"/>
                  </a:lnTo>
                  <a:lnTo>
                    <a:pt x="524" y="88"/>
                  </a:lnTo>
                  <a:lnTo>
                    <a:pt x="518" y="84"/>
                  </a:lnTo>
                  <a:lnTo>
                    <a:pt x="512" y="82"/>
                  </a:lnTo>
                  <a:lnTo>
                    <a:pt x="506" y="84"/>
                  </a:lnTo>
                  <a:lnTo>
                    <a:pt x="500" y="88"/>
                  </a:lnTo>
                  <a:lnTo>
                    <a:pt x="494" y="88"/>
                  </a:lnTo>
                  <a:lnTo>
                    <a:pt x="488" y="92"/>
                  </a:lnTo>
                  <a:lnTo>
                    <a:pt x="494" y="88"/>
                  </a:lnTo>
                  <a:lnTo>
                    <a:pt x="496" y="82"/>
                  </a:lnTo>
                  <a:lnTo>
                    <a:pt x="500" y="76"/>
                  </a:lnTo>
                  <a:lnTo>
                    <a:pt x="494" y="78"/>
                  </a:lnTo>
                  <a:lnTo>
                    <a:pt x="486" y="80"/>
                  </a:lnTo>
                  <a:lnTo>
                    <a:pt x="484" y="80"/>
                  </a:lnTo>
                  <a:lnTo>
                    <a:pt x="478" y="84"/>
                  </a:lnTo>
                  <a:lnTo>
                    <a:pt x="476" y="88"/>
                  </a:lnTo>
                  <a:lnTo>
                    <a:pt x="476" y="90"/>
                  </a:lnTo>
                  <a:lnTo>
                    <a:pt x="482" y="94"/>
                  </a:lnTo>
                  <a:lnTo>
                    <a:pt x="476" y="94"/>
                  </a:lnTo>
                  <a:lnTo>
                    <a:pt x="474" y="94"/>
                  </a:lnTo>
                  <a:lnTo>
                    <a:pt x="472" y="88"/>
                  </a:lnTo>
                  <a:lnTo>
                    <a:pt x="464" y="88"/>
                  </a:lnTo>
                  <a:lnTo>
                    <a:pt x="458" y="94"/>
                  </a:lnTo>
                  <a:lnTo>
                    <a:pt x="454" y="100"/>
                  </a:lnTo>
                  <a:lnTo>
                    <a:pt x="448" y="102"/>
                  </a:lnTo>
                  <a:lnTo>
                    <a:pt x="440" y="104"/>
                  </a:lnTo>
                  <a:lnTo>
                    <a:pt x="434" y="104"/>
                  </a:lnTo>
                  <a:lnTo>
                    <a:pt x="428" y="108"/>
                  </a:lnTo>
                  <a:lnTo>
                    <a:pt x="422" y="110"/>
                  </a:lnTo>
                  <a:lnTo>
                    <a:pt x="428" y="106"/>
                  </a:lnTo>
                  <a:lnTo>
                    <a:pt x="422" y="100"/>
                  </a:lnTo>
                  <a:lnTo>
                    <a:pt x="426" y="98"/>
                  </a:lnTo>
                  <a:lnTo>
                    <a:pt x="434" y="98"/>
                  </a:lnTo>
                  <a:lnTo>
                    <a:pt x="440" y="100"/>
                  </a:lnTo>
                  <a:lnTo>
                    <a:pt x="444" y="98"/>
                  </a:lnTo>
                  <a:lnTo>
                    <a:pt x="440" y="96"/>
                  </a:lnTo>
                  <a:lnTo>
                    <a:pt x="442" y="90"/>
                  </a:lnTo>
                  <a:lnTo>
                    <a:pt x="448" y="86"/>
                  </a:lnTo>
                  <a:lnTo>
                    <a:pt x="454" y="84"/>
                  </a:lnTo>
                  <a:lnTo>
                    <a:pt x="460" y="82"/>
                  </a:lnTo>
                  <a:lnTo>
                    <a:pt x="466" y="78"/>
                  </a:lnTo>
                  <a:lnTo>
                    <a:pt x="460" y="76"/>
                  </a:lnTo>
                  <a:lnTo>
                    <a:pt x="454" y="78"/>
                  </a:lnTo>
                  <a:lnTo>
                    <a:pt x="448" y="80"/>
                  </a:lnTo>
                  <a:lnTo>
                    <a:pt x="440" y="82"/>
                  </a:lnTo>
                  <a:lnTo>
                    <a:pt x="434" y="84"/>
                  </a:lnTo>
                  <a:lnTo>
                    <a:pt x="428" y="88"/>
                  </a:lnTo>
                  <a:lnTo>
                    <a:pt x="422" y="90"/>
                  </a:lnTo>
                  <a:lnTo>
                    <a:pt x="428" y="88"/>
                  </a:lnTo>
                  <a:lnTo>
                    <a:pt x="434" y="84"/>
                  </a:lnTo>
                  <a:lnTo>
                    <a:pt x="440" y="82"/>
                  </a:lnTo>
                  <a:lnTo>
                    <a:pt x="446" y="78"/>
                  </a:lnTo>
                  <a:lnTo>
                    <a:pt x="452" y="76"/>
                  </a:lnTo>
                  <a:lnTo>
                    <a:pt x="460" y="74"/>
                  </a:lnTo>
                  <a:lnTo>
                    <a:pt x="466" y="72"/>
                  </a:lnTo>
                  <a:lnTo>
                    <a:pt x="472" y="68"/>
                  </a:lnTo>
                  <a:lnTo>
                    <a:pt x="478" y="66"/>
                  </a:lnTo>
                  <a:lnTo>
                    <a:pt x="484" y="64"/>
                  </a:lnTo>
                  <a:lnTo>
                    <a:pt x="490" y="62"/>
                  </a:lnTo>
                  <a:lnTo>
                    <a:pt x="486" y="56"/>
                  </a:lnTo>
                  <a:lnTo>
                    <a:pt x="486" y="50"/>
                  </a:lnTo>
                  <a:lnTo>
                    <a:pt x="490" y="46"/>
                  </a:lnTo>
                  <a:lnTo>
                    <a:pt x="496" y="42"/>
                  </a:lnTo>
                  <a:lnTo>
                    <a:pt x="490" y="36"/>
                  </a:lnTo>
                  <a:lnTo>
                    <a:pt x="484" y="36"/>
                  </a:lnTo>
                  <a:lnTo>
                    <a:pt x="478" y="34"/>
                  </a:lnTo>
                  <a:lnTo>
                    <a:pt x="484" y="28"/>
                  </a:lnTo>
                  <a:lnTo>
                    <a:pt x="488" y="22"/>
                  </a:lnTo>
                  <a:lnTo>
                    <a:pt x="490" y="16"/>
                  </a:lnTo>
                  <a:lnTo>
                    <a:pt x="488" y="10"/>
                  </a:lnTo>
                  <a:lnTo>
                    <a:pt x="482" y="8"/>
                  </a:lnTo>
                  <a:lnTo>
                    <a:pt x="476" y="8"/>
                  </a:lnTo>
                  <a:lnTo>
                    <a:pt x="470" y="8"/>
                  </a:lnTo>
                  <a:lnTo>
                    <a:pt x="464" y="8"/>
                  </a:lnTo>
                  <a:lnTo>
                    <a:pt x="458" y="8"/>
                  </a:lnTo>
                  <a:lnTo>
                    <a:pt x="452" y="8"/>
                  </a:lnTo>
                  <a:lnTo>
                    <a:pt x="444" y="8"/>
                  </a:lnTo>
                  <a:lnTo>
                    <a:pt x="438" y="8"/>
                  </a:lnTo>
                  <a:lnTo>
                    <a:pt x="432" y="8"/>
                  </a:lnTo>
                  <a:lnTo>
                    <a:pt x="426" y="10"/>
                  </a:lnTo>
                  <a:lnTo>
                    <a:pt x="420" y="12"/>
                  </a:lnTo>
                  <a:lnTo>
                    <a:pt x="414" y="12"/>
                  </a:lnTo>
                  <a:lnTo>
                    <a:pt x="406" y="12"/>
                  </a:lnTo>
                  <a:lnTo>
                    <a:pt x="400" y="14"/>
                  </a:lnTo>
                  <a:lnTo>
                    <a:pt x="394" y="14"/>
                  </a:lnTo>
                  <a:lnTo>
                    <a:pt x="388" y="16"/>
                  </a:lnTo>
                  <a:lnTo>
                    <a:pt x="380" y="18"/>
                  </a:lnTo>
                  <a:lnTo>
                    <a:pt x="376" y="18"/>
                  </a:lnTo>
                  <a:lnTo>
                    <a:pt x="380" y="22"/>
                  </a:lnTo>
                  <a:lnTo>
                    <a:pt x="380" y="28"/>
                  </a:lnTo>
                  <a:lnTo>
                    <a:pt x="372" y="22"/>
                  </a:lnTo>
                  <a:lnTo>
                    <a:pt x="368" y="22"/>
                  </a:lnTo>
                  <a:lnTo>
                    <a:pt x="360" y="22"/>
                  </a:lnTo>
                  <a:lnTo>
                    <a:pt x="354" y="22"/>
                  </a:lnTo>
                  <a:lnTo>
                    <a:pt x="348" y="24"/>
                  </a:lnTo>
                  <a:lnTo>
                    <a:pt x="342" y="24"/>
                  </a:lnTo>
                  <a:lnTo>
                    <a:pt x="340" y="30"/>
                  </a:lnTo>
                  <a:lnTo>
                    <a:pt x="334" y="30"/>
                  </a:lnTo>
                  <a:lnTo>
                    <a:pt x="328" y="26"/>
                  </a:lnTo>
                  <a:lnTo>
                    <a:pt x="322" y="28"/>
                  </a:lnTo>
                  <a:lnTo>
                    <a:pt x="316" y="30"/>
                  </a:lnTo>
                  <a:lnTo>
                    <a:pt x="310" y="34"/>
                  </a:lnTo>
                  <a:lnTo>
                    <a:pt x="316" y="38"/>
                  </a:lnTo>
                  <a:lnTo>
                    <a:pt x="322" y="40"/>
                  </a:lnTo>
                  <a:lnTo>
                    <a:pt x="328" y="42"/>
                  </a:lnTo>
                  <a:lnTo>
                    <a:pt x="334" y="42"/>
                  </a:lnTo>
                  <a:lnTo>
                    <a:pt x="340" y="42"/>
                  </a:lnTo>
                  <a:lnTo>
                    <a:pt x="346" y="44"/>
                  </a:lnTo>
                  <a:lnTo>
                    <a:pt x="352" y="44"/>
                  </a:lnTo>
                  <a:lnTo>
                    <a:pt x="358" y="46"/>
                  </a:lnTo>
                  <a:lnTo>
                    <a:pt x="350" y="46"/>
                  </a:lnTo>
                  <a:lnTo>
                    <a:pt x="346" y="46"/>
                  </a:lnTo>
                  <a:lnTo>
                    <a:pt x="340" y="46"/>
                  </a:lnTo>
                  <a:lnTo>
                    <a:pt x="334" y="44"/>
                  </a:lnTo>
                  <a:lnTo>
                    <a:pt x="328" y="44"/>
                  </a:lnTo>
                  <a:lnTo>
                    <a:pt x="320" y="44"/>
                  </a:lnTo>
                  <a:lnTo>
                    <a:pt x="316" y="42"/>
                  </a:lnTo>
                  <a:lnTo>
                    <a:pt x="308" y="40"/>
                  </a:lnTo>
                  <a:lnTo>
                    <a:pt x="302" y="40"/>
                  </a:lnTo>
                  <a:lnTo>
                    <a:pt x="296" y="44"/>
                  </a:lnTo>
                  <a:lnTo>
                    <a:pt x="290" y="40"/>
                  </a:lnTo>
                  <a:lnTo>
                    <a:pt x="284" y="44"/>
                  </a:lnTo>
                  <a:lnTo>
                    <a:pt x="290" y="46"/>
                  </a:lnTo>
                  <a:lnTo>
                    <a:pt x="296" y="46"/>
                  </a:lnTo>
                  <a:lnTo>
                    <a:pt x="302" y="50"/>
                  </a:lnTo>
                  <a:lnTo>
                    <a:pt x="308" y="52"/>
                  </a:lnTo>
                  <a:lnTo>
                    <a:pt x="314" y="54"/>
                  </a:lnTo>
                  <a:lnTo>
                    <a:pt x="320" y="56"/>
                  </a:lnTo>
                  <a:lnTo>
                    <a:pt x="326" y="58"/>
                  </a:lnTo>
                  <a:lnTo>
                    <a:pt x="334" y="60"/>
                  </a:lnTo>
                  <a:lnTo>
                    <a:pt x="328" y="60"/>
                  </a:lnTo>
                  <a:lnTo>
                    <a:pt x="320" y="58"/>
                  </a:lnTo>
                  <a:lnTo>
                    <a:pt x="314" y="56"/>
                  </a:lnTo>
                  <a:lnTo>
                    <a:pt x="308" y="54"/>
                  </a:lnTo>
                  <a:lnTo>
                    <a:pt x="302" y="54"/>
                  </a:lnTo>
                  <a:lnTo>
                    <a:pt x="296" y="52"/>
                  </a:lnTo>
                  <a:lnTo>
                    <a:pt x="290" y="50"/>
                  </a:lnTo>
                  <a:lnTo>
                    <a:pt x="284" y="50"/>
                  </a:lnTo>
                  <a:lnTo>
                    <a:pt x="278" y="50"/>
                  </a:lnTo>
                  <a:lnTo>
                    <a:pt x="272" y="52"/>
                  </a:lnTo>
                  <a:lnTo>
                    <a:pt x="266" y="56"/>
                  </a:lnTo>
                  <a:lnTo>
                    <a:pt x="260" y="62"/>
                  </a:lnTo>
                  <a:lnTo>
                    <a:pt x="254" y="68"/>
                  </a:lnTo>
                  <a:lnTo>
                    <a:pt x="260" y="70"/>
                  </a:lnTo>
                  <a:lnTo>
                    <a:pt x="254" y="72"/>
                  </a:lnTo>
                  <a:lnTo>
                    <a:pt x="254" y="78"/>
                  </a:lnTo>
                  <a:lnTo>
                    <a:pt x="260" y="80"/>
                  </a:lnTo>
                  <a:lnTo>
                    <a:pt x="266" y="82"/>
                  </a:lnTo>
                  <a:lnTo>
                    <a:pt x="272" y="80"/>
                  </a:lnTo>
                  <a:lnTo>
                    <a:pt x="278" y="80"/>
                  </a:lnTo>
                  <a:lnTo>
                    <a:pt x="284" y="78"/>
                  </a:lnTo>
                  <a:lnTo>
                    <a:pt x="278" y="80"/>
                  </a:lnTo>
                  <a:lnTo>
                    <a:pt x="284" y="82"/>
                  </a:lnTo>
                  <a:lnTo>
                    <a:pt x="290" y="84"/>
                  </a:lnTo>
                  <a:lnTo>
                    <a:pt x="284" y="84"/>
                  </a:lnTo>
                  <a:lnTo>
                    <a:pt x="278" y="84"/>
                  </a:lnTo>
                  <a:lnTo>
                    <a:pt x="272" y="86"/>
                  </a:lnTo>
                  <a:lnTo>
                    <a:pt x="274" y="92"/>
                  </a:lnTo>
                  <a:lnTo>
                    <a:pt x="280" y="96"/>
                  </a:lnTo>
                  <a:lnTo>
                    <a:pt x="286" y="100"/>
                  </a:lnTo>
                  <a:lnTo>
                    <a:pt x="282" y="106"/>
                  </a:lnTo>
                  <a:lnTo>
                    <a:pt x="282" y="100"/>
                  </a:lnTo>
                  <a:lnTo>
                    <a:pt x="276" y="96"/>
                  </a:lnTo>
                  <a:lnTo>
                    <a:pt x="270" y="94"/>
                  </a:lnTo>
                  <a:lnTo>
                    <a:pt x="262" y="90"/>
                  </a:lnTo>
                  <a:lnTo>
                    <a:pt x="258" y="88"/>
                  </a:lnTo>
                  <a:lnTo>
                    <a:pt x="250" y="88"/>
                  </a:lnTo>
                  <a:lnTo>
                    <a:pt x="244" y="88"/>
                  </a:lnTo>
                  <a:lnTo>
                    <a:pt x="238" y="92"/>
                  </a:lnTo>
                  <a:lnTo>
                    <a:pt x="234" y="98"/>
                  </a:lnTo>
                  <a:lnTo>
                    <a:pt x="228" y="100"/>
                  </a:lnTo>
                  <a:lnTo>
                    <a:pt x="220" y="100"/>
                  </a:lnTo>
                  <a:lnTo>
                    <a:pt x="214" y="102"/>
                  </a:lnTo>
                  <a:lnTo>
                    <a:pt x="208" y="102"/>
                  </a:lnTo>
                  <a:lnTo>
                    <a:pt x="214" y="106"/>
                  </a:lnTo>
                  <a:lnTo>
                    <a:pt x="220" y="108"/>
                  </a:lnTo>
                  <a:lnTo>
                    <a:pt x="220" y="114"/>
                  </a:lnTo>
                  <a:lnTo>
                    <a:pt x="214" y="116"/>
                  </a:lnTo>
                  <a:lnTo>
                    <a:pt x="220" y="122"/>
                  </a:lnTo>
                  <a:lnTo>
                    <a:pt x="226" y="122"/>
                  </a:lnTo>
                  <a:lnTo>
                    <a:pt x="232" y="124"/>
                  </a:lnTo>
                  <a:lnTo>
                    <a:pt x="238" y="124"/>
                  </a:lnTo>
                  <a:lnTo>
                    <a:pt x="244" y="122"/>
                  </a:lnTo>
                  <a:lnTo>
                    <a:pt x="244" y="128"/>
                  </a:lnTo>
                  <a:lnTo>
                    <a:pt x="242" y="134"/>
                  </a:lnTo>
                  <a:lnTo>
                    <a:pt x="236" y="136"/>
                  </a:lnTo>
                  <a:lnTo>
                    <a:pt x="230" y="136"/>
                  </a:lnTo>
                  <a:lnTo>
                    <a:pt x="224" y="142"/>
                  </a:lnTo>
                  <a:lnTo>
                    <a:pt x="224" y="148"/>
                  </a:lnTo>
                  <a:lnTo>
                    <a:pt x="218" y="148"/>
                  </a:lnTo>
                  <a:lnTo>
                    <a:pt x="212" y="154"/>
                  </a:lnTo>
                  <a:lnTo>
                    <a:pt x="210" y="160"/>
                  </a:lnTo>
                  <a:lnTo>
                    <a:pt x="204" y="164"/>
                  </a:lnTo>
                  <a:lnTo>
                    <a:pt x="198" y="164"/>
                  </a:lnTo>
                  <a:lnTo>
                    <a:pt x="202" y="158"/>
                  </a:lnTo>
                  <a:lnTo>
                    <a:pt x="198" y="156"/>
                  </a:lnTo>
                  <a:lnTo>
                    <a:pt x="204" y="154"/>
                  </a:lnTo>
                  <a:lnTo>
                    <a:pt x="210" y="154"/>
                  </a:lnTo>
                  <a:lnTo>
                    <a:pt x="204" y="150"/>
                  </a:lnTo>
                  <a:lnTo>
                    <a:pt x="198" y="152"/>
                  </a:lnTo>
                  <a:lnTo>
                    <a:pt x="192" y="150"/>
                  </a:lnTo>
                  <a:lnTo>
                    <a:pt x="186" y="150"/>
                  </a:lnTo>
                  <a:lnTo>
                    <a:pt x="180" y="152"/>
                  </a:lnTo>
                  <a:lnTo>
                    <a:pt x="172" y="152"/>
                  </a:lnTo>
                  <a:lnTo>
                    <a:pt x="166" y="154"/>
                  </a:lnTo>
                  <a:lnTo>
                    <a:pt x="160" y="156"/>
                  </a:lnTo>
                  <a:lnTo>
                    <a:pt x="154" y="156"/>
                  </a:lnTo>
                  <a:lnTo>
                    <a:pt x="148" y="158"/>
                  </a:lnTo>
                  <a:lnTo>
                    <a:pt x="142" y="160"/>
                  </a:lnTo>
                  <a:lnTo>
                    <a:pt x="136" y="160"/>
                  </a:lnTo>
                  <a:lnTo>
                    <a:pt x="130" y="162"/>
                  </a:lnTo>
                  <a:lnTo>
                    <a:pt x="124" y="162"/>
                  </a:lnTo>
                  <a:lnTo>
                    <a:pt x="130" y="158"/>
                  </a:lnTo>
                  <a:lnTo>
                    <a:pt x="136" y="158"/>
                  </a:lnTo>
                  <a:lnTo>
                    <a:pt x="142" y="158"/>
                  </a:lnTo>
                  <a:lnTo>
                    <a:pt x="148" y="156"/>
                  </a:lnTo>
                  <a:lnTo>
                    <a:pt x="154" y="154"/>
                  </a:lnTo>
                  <a:lnTo>
                    <a:pt x="160" y="152"/>
                  </a:lnTo>
                  <a:lnTo>
                    <a:pt x="166" y="150"/>
                  </a:lnTo>
                  <a:lnTo>
                    <a:pt x="172" y="150"/>
                  </a:lnTo>
                  <a:lnTo>
                    <a:pt x="178" y="148"/>
                  </a:lnTo>
                  <a:lnTo>
                    <a:pt x="184" y="150"/>
                  </a:lnTo>
                  <a:lnTo>
                    <a:pt x="190" y="148"/>
                  </a:lnTo>
                  <a:lnTo>
                    <a:pt x="196" y="146"/>
                  </a:lnTo>
                  <a:lnTo>
                    <a:pt x="202" y="146"/>
                  </a:lnTo>
                  <a:lnTo>
                    <a:pt x="208" y="144"/>
                  </a:lnTo>
                  <a:lnTo>
                    <a:pt x="214" y="144"/>
                  </a:lnTo>
                  <a:lnTo>
                    <a:pt x="220" y="144"/>
                  </a:lnTo>
                  <a:lnTo>
                    <a:pt x="222" y="140"/>
                  </a:lnTo>
                  <a:lnTo>
                    <a:pt x="222" y="138"/>
                  </a:lnTo>
                  <a:lnTo>
                    <a:pt x="216" y="134"/>
                  </a:lnTo>
                  <a:lnTo>
                    <a:pt x="210" y="134"/>
                  </a:lnTo>
                  <a:lnTo>
                    <a:pt x="204" y="130"/>
                  </a:lnTo>
                  <a:lnTo>
                    <a:pt x="200" y="126"/>
                  </a:lnTo>
                  <a:lnTo>
                    <a:pt x="196" y="120"/>
                  </a:lnTo>
                  <a:lnTo>
                    <a:pt x="192" y="114"/>
                  </a:lnTo>
                  <a:lnTo>
                    <a:pt x="190" y="108"/>
                  </a:lnTo>
                  <a:lnTo>
                    <a:pt x="192" y="102"/>
                  </a:lnTo>
                  <a:lnTo>
                    <a:pt x="196" y="96"/>
                  </a:lnTo>
                  <a:lnTo>
                    <a:pt x="202" y="90"/>
                  </a:lnTo>
                  <a:lnTo>
                    <a:pt x="208" y="86"/>
                  </a:lnTo>
                  <a:lnTo>
                    <a:pt x="214" y="84"/>
                  </a:lnTo>
                  <a:lnTo>
                    <a:pt x="220" y="78"/>
                  </a:lnTo>
                  <a:lnTo>
                    <a:pt x="218" y="72"/>
                  </a:lnTo>
                  <a:lnTo>
                    <a:pt x="212" y="68"/>
                  </a:lnTo>
                  <a:lnTo>
                    <a:pt x="216" y="62"/>
                  </a:lnTo>
                  <a:lnTo>
                    <a:pt x="222" y="58"/>
                  </a:lnTo>
                  <a:lnTo>
                    <a:pt x="228" y="54"/>
                  </a:lnTo>
                  <a:lnTo>
                    <a:pt x="234" y="52"/>
                  </a:lnTo>
                  <a:lnTo>
                    <a:pt x="240" y="50"/>
                  </a:lnTo>
                  <a:lnTo>
                    <a:pt x="246" y="46"/>
                  </a:lnTo>
                  <a:lnTo>
                    <a:pt x="252" y="44"/>
                  </a:lnTo>
                  <a:lnTo>
                    <a:pt x="258" y="40"/>
                  </a:lnTo>
                  <a:lnTo>
                    <a:pt x="264" y="36"/>
                  </a:lnTo>
                  <a:lnTo>
                    <a:pt x="270" y="32"/>
                  </a:lnTo>
                  <a:lnTo>
                    <a:pt x="278" y="30"/>
                  </a:lnTo>
                  <a:lnTo>
                    <a:pt x="282" y="28"/>
                  </a:lnTo>
                  <a:lnTo>
                    <a:pt x="290" y="26"/>
                  </a:lnTo>
                  <a:lnTo>
                    <a:pt x="296" y="24"/>
                  </a:lnTo>
                  <a:lnTo>
                    <a:pt x="302" y="22"/>
                  </a:lnTo>
                  <a:lnTo>
                    <a:pt x="308" y="20"/>
                  </a:lnTo>
                  <a:lnTo>
                    <a:pt x="314" y="18"/>
                  </a:lnTo>
                  <a:lnTo>
                    <a:pt x="320" y="16"/>
                  </a:lnTo>
                  <a:lnTo>
                    <a:pt x="326" y="14"/>
                  </a:lnTo>
                  <a:lnTo>
                    <a:pt x="332" y="12"/>
                  </a:lnTo>
                  <a:lnTo>
                    <a:pt x="338" y="12"/>
                  </a:lnTo>
                  <a:lnTo>
                    <a:pt x="344" y="10"/>
                  </a:lnTo>
                  <a:lnTo>
                    <a:pt x="344" y="4"/>
                  </a:lnTo>
                  <a:lnTo>
                    <a:pt x="338" y="2"/>
                  </a:lnTo>
                  <a:lnTo>
                    <a:pt x="332" y="2"/>
                  </a:lnTo>
                  <a:lnTo>
                    <a:pt x="326" y="2"/>
                  </a:lnTo>
                  <a:lnTo>
                    <a:pt x="320" y="2"/>
                  </a:lnTo>
                  <a:lnTo>
                    <a:pt x="312" y="0"/>
                  </a:lnTo>
                  <a:lnTo>
                    <a:pt x="306" y="0"/>
                  </a:lnTo>
                  <a:lnTo>
                    <a:pt x="300" y="0"/>
                  </a:lnTo>
                  <a:lnTo>
                    <a:pt x="294" y="0"/>
                  </a:lnTo>
                  <a:lnTo>
                    <a:pt x="286" y="0"/>
                  </a:lnTo>
                  <a:lnTo>
                    <a:pt x="280" y="0"/>
                  </a:lnTo>
                  <a:lnTo>
                    <a:pt x="274" y="2"/>
                  </a:lnTo>
                  <a:lnTo>
                    <a:pt x="268" y="2"/>
                  </a:lnTo>
                  <a:lnTo>
                    <a:pt x="262" y="2"/>
                  </a:lnTo>
                  <a:lnTo>
                    <a:pt x="256" y="4"/>
                  </a:lnTo>
                  <a:lnTo>
                    <a:pt x="250" y="4"/>
                  </a:lnTo>
                  <a:lnTo>
                    <a:pt x="244" y="6"/>
                  </a:lnTo>
                  <a:lnTo>
                    <a:pt x="236" y="6"/>
                  </a:lnTo>
                  <a:lnTo>
                    <a:pt x="230" y="8"/>
                  </a:lnTo>
                  <a:lnTo>
                    <a:pt x="224" y="8"/>
                  </a:lnTo>
                  <a:lnTo>
                    <a:pt x="216" y="10"/>
                  </a:lnTo>
                  <a:lnTo>
                    <a:pt x="210" y="12"/>
                  </a:lnTo>
                  <a:lnTo>
                    <a:pt x="204" y="14"/>
                  </a:lnTo>
                  <a:lnTo>
                    <a:pt x="198" y="16"/>
                  </a:lnTo>
                  <a:lnTo>
                    <a:pt x="192" y="18"/>
                  </a:lnTo>
                  <a:lnTo>
                    <a:pt x="186" y="20"/>
                  </a:lnTo>
                  <a:lnTo>
                    <a:pt x="178" y="22"/>
                  </a:lnTo>
                  <a:lnTo>
                    <a:pt x="172" y="24"/>
                  </a:lnTo>
                  <a:lnTo>
                    <a:pt x="166" y="26"/>
                  </a:lnTo>
                  <a:lnTo>
                    <a:pt x="160" y="28"/>
                  </a:lnTo>
                  <a:lnTo>
                    <a:pt x="154" y="30"/>
                  </a:lnTo>
                  <a:lnTo>
                    <a:pt x="148" y="32"/>
                  </a:lnTo>
                  <a:lnTo>
                    <a:pt x="142" y="36"/>
                  </a:lnTo>
                  <a:lnTo>
                    <a:pt x="136" y="38"/>
                  </a:lnTo>
                  <a:lnTo>
                    <a:pt x="130" y="42"/>
                  </a:lnTo>
                  <a:lnTo>
                    <a:pt x="124" y="44"/>
                  </a:lnTo>
                  <a:lnTo>
                    <a:pt x="118" y="50"/>
                  </a:lnTo>
                  <a:lnTo>
                    <a:pt x="112" y="54"/>
                  </a:lnTo>
                  <a:lnTo>
                    <a:pt x="108" y="60"/>
                  </a:lnTo>
                  <a:lnTo>
                    <a:pt x="102" y="60"/>
                  </a:lnTo>
                  <a:lnTo>
                    <a:pt x="96" y="62"/>
                  </a:lnTo>
                  <a:lnTo>
                    <a:pt x="92" y="66"/>
                  </a:lnTo>
                  <a:lnTo>
                    <a:pt x="84" y="68"/>
                  </a:lnTo>
                  <a:lnTo>
                    <a:pt x="78" y="70"/>
                  </a:lnTo>
                  <a:lnTo>
                    <a:pt x="72" y="76"/>
                  </a:lnTo>
                  <a:lnTo>
                    <a:pt x="66" y="78"/>
                  </a:lnTo>
                  <a:lnTo>
                    <a:pt x="60" y="84"/>
                  </a:lnTo>
                  <a:lnTo>
                    <a:pt x="54" y="88"/>
                  </a:lnTo>
                  <a:lnTo>
                    <a:pt x="52" y="94"/>
                  </a:lnTo>
                  <a:lnTo>
                    <a:pt x="58" y="94"/>
                  </a:lnTo>
                  <a:lnTo>
                    <a:pt x="52" y="96"/>
                  </a:lnTo>
                  <a:lnTo>
                    <a:pt x="46" y="98"/>
                  </a:lnTo>
                  <a:lnTo>
                    <a:pt x="40" y="100"/>
                  </a:lnTo>
                  <a:lnTo>
                    <a:pt x="36" y="102"/>
                  </a:lnTo>
                  <a:lnTo>
                    <a:pt x="36" y="104"/>
                  </a:lnTo>
                  <a:lnTo>
                    <a:pt x="28" y="106"/>
                  </a:lnTo>
                  <a:lnTo>
                    <a:pt x="28" y="110"/>
                  </a:lnTo>
                  <a:lnTo>
                    <a:pt x="30" y="116"/>
                  </a:lnTo>
                  <a:lnTo>
                    <a:pt x="24" y="122"/>
                  </a:lnTo>
                  <a:lnTo>
                    <a:pt x="18" y="122"/>
                  </a:lnTo>
                  <a:lnTo>
                    <a:pt x="16" y="124"/>
                  </a:lnTo>
                  <a:lnTo>
                    <a:pt x="14" y="126"/>
                  </a:lnTo>
                  <a:lnTo>
                    <a:pt x="12" y="128"/>
                  </a:lnTo>
                  <a:lnTo>
                    <a:pt x="10" y="130"/>
                  </a:lnTo>
                  <a:lnTo>
                    <a:pt x="10" y="132"/>
                  </a:lnTo>
                  <a:lnTo>
                    <a:pt x="6" y="13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4" name="Freeform 292"/>
            <p:cNvSpPr>
              <a:spLocks/>
            </p:cNvSpPr>
            <p:nvPr/>
          </p:nvSpPr>
          <p:spPr bwMode="auto">
            <a:xfrm>
              <a:off x="2828925" y="2063750"/>
              <a:ext cx="165100" cy="63500"/>
            </a:xfrm>
            <a:custGeom>
              <a:avLst/>
              <a:gdLst>
                <a:gd name="T0" fmla="*/ 2147483647 w 406"/>
                <a:gd name="T1" fmla="*/ 2147483647 h 154"/>
                <a:gd name="T2" fmla="*/ 2147483647 w 406"/>
                <a:gd name="T3" fmla="*/ 2147483647 h 154"/>
                <a:gd name="T4" fmla="*/ 2147483647 w 406"/>
                <a:gd name="T5" fmla="*/ 2147483647 h 154"/>
                <a:gd name="T6" fmla="*/ 2147483647 w 406"/>
                <a:gd name="T7" fmla="*/ 2147483647 h 154"/>
                <a:gd name="T8" fmla="*/ 2147483647 w 406"/>
                <a:gd name="T9" fmla="*/ 2147483647 h 154"/>
                <a:gd name="T10" fmla="*/ 2147483647 w 406"/>
                <a:gd name="T11" fmla="*/ 2147483647 h 154"/>
                <a:gd name="T12" fmla="*/ 2147483647 w 406"/>
                <a:gd name="T13" fmla="*/ 2147483647 h 154"/>
                <a:gd name="T14" fmla="*/ 2147483647 w 406"/>
                <a:gd name="T15" fmla="*/ 2147483647 h 154"/>
                <a:gd name="T16" fmla="*/ 2147483647 w 406"/>
                <a:gd name="T17" fmla="*/ 2147483647 h 154"/>
                <a:gd name="T18" fmla="*/ 2147483647 w 406"/>
                <a:gd name="T19" fmla="*/ 2147483647 h 154"/>
                <a:gd name="T20" fmla="*/ 2147483647 w 406"/>
                <a:gd name="T21" fmla="*/ 2147483647 h 154"/>
                <a:gd name="T22" fmla="*/ 2147483647 w 406"/>
                <a:gd name="T23" fmla="*/ 2147483647 h 154"/>
                <a:gd name="T24" fmla="*/ 2147483647 w 406"/>
                <a:gd name="T25" fmla="*/ 2147483647 h 154"/>
                <a:gd name="T26" fmla="*/ 2147483647 w 406"/>
                <a:gd name="T27" fmla="*/ 2147483647 h 154"/>
                <a:gd name="T28" fmla="*/ 2147483647 w 406"/>
                <a:gd name="T29" fmla="*/ 2147483647 h 154"/>
                <a:gd name="T30" fmla="*/ 2147483647 w 406"/>
                <a:gd name="T31" fmla="*/ 2147483647 h 154"/>
                <a:gd name="T32" fmla="*/ 2147483647 w 406"/>
                <a:gd name="T33" fmla="*/ 2147483647 h 154"/>
                <a:gd name="T34" fmla="*/ 2147483647 w 406"/>
                <a:gd name="T35" fmla="*/ 2147483647 h 154"/>
                <a:gd name="T36" fmla="*/ 2147483647 w 406"/>
                <a:gd name="T37" fmla="*/ 2147483647 h 154"/>
                <a:gd name="T38" fmla="*/ 2147483647 w 406"/>
                <a:gd name="T39" fmla="*/ 2147483647 h 154"/>
                <a:gd name="T40" fmla="*/ 2147483647 w 406"/>
                <a:gd name="T41" fmla="*/ 2147483647 h 154"/>
                <a:gd name="T42" fmla="*/ 2147483647 w 406"/>
                <a:gd name="T43" fmla="*/ 2147483647 h 154"/>
                <a:gd name="T44" fmla="*/ 2147483647 w 406"/>
                <a:gd name="T45" fmla="*/ 2147483647 h 154"/>
                <a:gd name="T46" fmla="*/ 2147483647 w 406"/>
                <a:gd name="T47" fmla="*/ 2147483647 h 154"/>
                <a:gd name="T48" fmla="*/ 2147483647 w 406"/>
                <a:gd name="T49" fmla="*/ 2147483647 h 154"/>
                <a:gd name="T50" fmla="*/ 2147483647 w 406"/>
                <a:gd name="T51" fmla="*/ 2147483647 h 154"/>
                <a:gd name="T52" fmla="*/ 2147483647 w 406"/>
                <a:gd name="T53" fmla="*/ 2147483647 h 154"/>
                <a:gd name="T54" fmla="*/ 2147483647 w 406"/>
                <a:gd name="T55" fmla="*/ 2147483647 h 154"/>
                <a:gd name="T56" fmla="*/ 2147483647 w 406"/>
                <a:gd name="T57" fmla="*/ 2147483647 h 154"/>
                <a:gd name="T58" fmla="*/ 2147483647 w 406"/>
                <a:gd name="T59" fmla="*/ 2147483647 h 154"/>
                <a:gd name="T60" fmla="*/ 2147483647 w 406"/>
                <a:gd name="T61" fmla="*/ 2147483647 h 154"/>
                <a:gd name="T62" fmla="*/ 2147483647 w 406"/>
                <a:gd name="T63" fmla="*/ 2147483647 h 154"/>
                <a:gd name="T64" fmla="*/ 2147483647 w 406"/>
                <a:gd name="T65" fmla="*/ 2147483647 h 154"/>
                <a:gd name="T66" fmla="*/ 2147483647 w 406"/>
                <a:gd name="T67" fmla="*/ 2147483647 h 154"/>
                <a:gd name="T68" fmla="*/ 2147483647 w 406"/>
                <a:gd name="T69" fmla="*/ 2147483647 h 154"/>
                <a:gd name="T70" fmla="*/ 2147483647 w 406"/>
                <a:gd name="T71" fmla="*/ 2147483647 h 154"/>
                <a:gd name="T72" fmla="*/ 2147483647 w 406"/>
                <a:gd name="T73" fmla="*/ 2147483647 h 154"/>
                <a:gd name="T74" fmla="*/ 2147483647 w 406"/>
                <a:gd name="T75" fmla="*/ 2147483647 h 154"/>
                <a:gd name="T76" fmla="*/ 2147483647 w 406"/>
                <a:gd name="T77" fmla="*/ 2147483647 h 154"/>
                <a:gd name="T78" fmla="*/ 2147483647 w 406"/>
                <a:gd name="T79" fmla="*/ 2147483647 h 154"/>
                <a:gd name="T80" fmla="*/ 2147483647 w 406"/>
                <a:gd name="T81" fmla="*/ 2147483647 h 154"/>
                <a:gd name="T82" fmla="*/ 2147483647 w 406"/>
                <a:gd name="T83" fmla="*/ 2147483647 h 154"/>
                <a:gd name="T84" fmla="*/ 2147483647 w 406"/>
                <a:gd name="T85" fmla="*/ 2147483647 h 154"/>
                <a:gd name="T86" fmla="*/ 2147483647 w 406"/>
                <a:gd name="T87" fmla="*/ 2147483647 h 154"/>
                <a:gd name="T88" fmla="*/ 2147483647 w 406"/>
                <a:gd name="T89" fmla="*/ 2147483647 h 154"/>
                <a:gd name="T90" fmla="*/ 2147483647 w 406"/>
                <a:gd name="T91" fmla="*/ 2147483647 h 154"/>
                <a:gd name="T92" fmla="*/ 2147483647 w 406"/>
                <a:gd name="T93" fmla="*/ 2147483647 h 154"/>
                <a:gd name="T94" fmla="*/ 2147483647 w 406"/>
                <a:gd name="T95" fmla="*/ 2147483647 h 154"/>
                <a:gd name="T96" fmla="*/ 2147483647 w 406"/>
                <a:gd name="T97" fmla="*/ 2147483647 h 154"/>
                <a:gd name="T98" fmla="*/ 2147483647 w 406"/>
                <a:gd name="T99" fmla="*/ 2147483647 h 154"/>
                <a:gd name="T100" fmla="*/ 2147483647 w 406"/>
                <a:gd name="T101" fmla="*/ 2147483647 h 154"/>
                <a:gd name="T102" fmla="*/ 2147483647 w 406"/>
                <a:gd name="T103" fmla="*/ 2147483647 h 154"/>
                <a:gd name="T104" fmla="*/ 2147483647 w 406"/>
                <a:gd name="T105" fmla="*/ 2147483647 h 154"/>
                <a:gd name="T106" fmla="*/ 2147483647 w 406"/>
                <a:gd name="T107" fmla="*/ 2147483647 h 154"/>
                <a:gd name="T108" fmla="*/ 2147483647 w 406"/>
                <a:gd name="T109" fmla="*/ 2147483647 h 154"/>
                <a:gd name="T110" fmla="*/ 2147483647 w 406"/>
                <a:gd name="T111" fmla="*/ 2147483647 h 154"/>
                <a:gd name="T112" fmla="*/ 2147483647 w 406"/>
                <a:gd name="T113" fmla="*/ 2147483647 h 154"/>
                <a:gd name="T114" fmla="*/ 2147483647 w 406"/>
                <a:gd name="T115" fmla="*/ 2147483647 h 154"/>
                <a:gd name="T116" fmla="*/ 2147483647 w 406"/>
                <a:gd name="T117" fmla="*/ 2147483647 h 154"/>
                <a:gd name="T118" fmla="*/ 2147483647 w 406"/>
                <a:gd name="T119" fmla="*/ 2147483647 h 1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6"/>
                <a:gd name="T181" fmla="*/ 0 h 154"/>
                <a:gd name="T182" fmla="*/ 406 w 406"/>
                <a:gd name="T183" fmla="*/ 154 h 1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6" h="154">
                  <a:moveTo>
                    <a:pt x="6" y="62"/>
                  </a:moveTo>
                  <a:lnTo>
                    <a:pt x="14" y="66"/>
                  </a:lnTo>
                  <a:lnTo>
                    <a:pt x="18" y="66"/>
                  </a:lnTo>
                  <a:lnTo>
                    <a:pt x="12" y="66"/>
                  </a:lnTo>
                  <a:lnTo>
                    <a:pt x="6" y="66"/>
                  </a:lnTo>
                  <a:lnTo>
                    <a:pt x="0" y="68"/>
                  </a:lnTo>
                  <a:lnTo>
                    <a:pt x="6" y="68"/>
                  </a:lnTo>
                  <a:lnTo>
                    <a:pt x="4" y="74"/>
                  </a:lnTo>
                  <a:lnTo>
                    <a:pt x="10" y="78"/>
                  </a:lnTo>
                  <a:lnTo>
                    <a:pt x="16" y="80"/>
                  </a:lnTo>
                  <a:lnTo>
                    <a:pt x="22" y="80"/>
                  </a:lnTo>
                  <a:lnTo>
                    <a:pt x="28" y="80"/>
                  </a:lnTo>
                  <a:lnTo>
                    <a:pt x="34" y="80"/>
                  </a:lnTo>
                  <a:lnTo>
                    <a:pt x="40" y="78"/>
                  </a:lnTo>
                  <a:lnTo>
                    <a:pt x="46" y="78"/>
                  </a:lnTo>
                  <a:lnTo>
                    <a:pt x="52" y="78"/>
                  </a:lnTo>
                  <a:lnTo>
                    <a:pt x="60" y="76"/>
                  </a:lnTo>
                  <a:lnTo>
                    <a:pt x="66" y="76"/>
                  </a:lnTo>
                  <a:lnTo>
                    <a:pt x="72" y="74"/>
                  </a:lnTo>
                  <a:lnTo>
                    <a:pt x="80" y="72"/>
                  </a:lnTo>
                  <a:lnTo>
                    <a:pt x="74" y="78"/>
                  </a:lnTo>
                  <a:lnTo>
                    <a:pt x="68" y="78"/>
                  </a:lnTo>
                  <a:lnTo>
                    <a:pt x="60" y="80"/>
                  </a:lnTo>
                  <a:lnTo>
                    <a:pt x="54" y="82"/>
                  </a:lnTo>
                  <a:lnTo>
                    <a:pt x="48" y="82"/>
                  </a:lnTo>
                  <a:lnTo>
                    <a:pt x="40" y="82"/>
                  </a:lnTo>
                  <a:lnTo>
                    <a:pt x="34" y="82"/>
                  </a:lnTo>
                  <a:lnTo>
                    <a:pt x="26" y="82"/>
                  </a:lnTo>
                  <a:lnTo>
                    <a:pt x="22" y="84"/>
                  </a:lnTo>
                  <a:lnTo>
                    <a:pt x="14" y="84"/>
                  </a:lnTo>
                  <a:lnTo>
                    <a:pt x="8" y="84"/>
                  </a:lnTo>
                  <a:lnTo>
                    <a:pt x="2" y="88"/>
                  </a:lnTo>
                  <a:lnTo>
                    <a:pt x="10" y="92"/>
                  </a:lnTo>
                  <a:lnTo>
                    <a:pt x="16" y="90"/>
                  </a:lnTo>
                  <a:lnTo>
                    <a:pt x="10" y="96"/>
                  </a:lnTo>
                  <a:lnTo>
                    <a:pt x="16" y="98"/>
                  </a:lnTo>
                  <a:lnTo>
                    <a:pt x="22" y="96"/>
                  </a:lnTo>
                  <a:lnTo>
                    <a:pt x="30" y="96"/>
                  </a:lnTo>
                  <a:lnTo>
                    <a:pt x="36" y="96"/>
                  </a:lnTo>
                  <a:lnTo>
                    <a:pt x="42" y="94"/>
                  </a:lnTo>
                  <a:lnTo>
                    <a:pt x="48" y="92"/>
                  </a:lnTo>
                  <a:lnTo>
                    <a:pt x="54" y="90"/>
                  </a:lnTo>
                  <a:lnTo>
                    <a:pt x="60" y="92"/>
                  </a:lnTo>
                  <a:lnTo>
                    <a:pt x="68" y="92"/>
                  </a:lnTo>
                  <a:lnTo>
                    <a:pt x="62" y="94"/>
                  </a:lnTo>
                  <a:lnTo>
                    <a:pt x="56" y="94"/>
                  </a:lnTo>
                  <a:lnTo>
                    <a:pt x="48" y="98"/>
                  </a:lnTo>
                  <a:lnTo>
                    <a:pt x="54" y="98"/>
                  </a:lnTo>
                  <a:lnTo>
                    <a:pt x="60" y="98"/>
                  </a:lnTo>
                  <a:lnTo>
                    <a:pt x="68" y="96"/>
                  </a:lnTo>
                  <a:lnTo>
                    <a:pt x="74" y="96"/>
                  </a:lnTo>
                  <a:lnTo>
                    <a:pt x="80" y="94"/>
                  </a:lnTo>
                  <a:lnTo>
                    <a:pt x="86" y="92"/>
                  </a:lnTo>
                  <a:lnTo>
                    <a:pt x="92" y="90"/>
                  </a:lnTo>
                  <a:lnTo>
                    <a:pt x="86" y="94"/>
                  </a:lnTo>
                  <a:lnTo>
                    <a:pt x="92" y="94"/>
                  </a:lnTo>
                  <a:lnTo>
                    <a:pt x="98" y="92"/>
                  </a:lnTo>
                  <a:lnTo>
                    <a:pt x="104" y="88"/>
                  </a:lnTo>
                  <a:lnTo>
                    <a:pt x="112" y="90"/>
                  </a:lnTo>
                  <a:lnTo>
                    <a:pt x="118" y="90"/>
                  </a:lnTo>
                  <a:lnTo>
                    <a:pt x="124" y="88"/>
                  </a:lnTo>
                  <a:lnTo>
                    <a:pt x="130" y="88"/>
                  </a:lnTo>
                  <a:lnTo>
                    <a:pt x="136" y="90"/>
                  </a:lnTo>
                  <a:lnTo>
                    <a:pt x="130" y="90"/>
                  </a:lnTo>
                  <a:lnTo>
                    <a:pt x="124" y="90"/>
                  </a:lnTo>
                  <a:lnTo>
                    <a:pt x="118" y="92"/>
                  </a:lnTo>
                  <a:lnTo>
                    <a:pt x="124" y="94"/>
                  </a:lnTo>
                  <a:lnTo>
                    <a:pt x="132" y="94"/>
                  </a:lnTo>
                  <a:lnTo>
                    <a:pt x="138" y="94"/>
                  </a:lnTo>
                  <a:lnTo>
                    <a:pt x="144" y="94"/>
                  </a:lnTo>
                  <a:lnTo>
                    <a:pt x="150" y="94"/>
                  </a:lnTo>
                  <a:lnTo>
                    <a:pt x="156" y="92"/>
                  </a:lnTo>
                  <a:lnTo>
                    <a:pt x="162" y="92"/>
                  </a:lnTo>
                  <a:lnTo>
                    <a:pt x="170" y="92"/>
                  </a:lnTo>
                  <a:lnTo>
                    <a:pt x="164" y="94"/>
                  </a:lnTo>
                  <a:lnTo>
                    <a:pt x="158" y="94"/>
                  </a:lnTo>
                  <a:lnTo>
                    <a:pt x="150" y="96"/>
                  </a:lnTo>
                  <a:lnTo>
                    <a:pt x="144" y="96"/>
                  </a:lnTo>
                  <a:lnTo>
                    <a:pt x="138" y="96"/>
                  </a:lnTo>
                  <a:lnTo>
                    <a:pt x="132" y="96"/>
                  </a:lnTo>
                  <a:lnTo>
                    <a:pt x="126" y="96"/>
                  </a:lnTo>
                  <a:lnTo>
                    <a:pt x="120" y="96"/>
                  </a:lnTo>
                  <a:lnTo>
                    <a:pt x="114" y="96"/>
                  </a:lnTo>
                  <a:lnTo>
                    <a:pt x="108" y="98"/>
                  </a:lnTo>
                  <a:lnTo>
                    <a:pt x="114" y="100"/>
                  </a:lnTo>
                  <a:lnTo>
                    <a:pt x="120" y="100"/>
                  </a:lnTo>
                  <a:lnTo>
                    <a:pt x="128" y="100"/>
                  </a:lnTo>
                  <a:lnTo>
                    <a:pt x="134" y="100"/>
                  </a:lnTo>
                  <a:lnTo>
                    <a:pt x="140" y="100"/>
                  </a:lnTo>
                  <a:lnTo>
                    <a:pt x="146" y="100"/>
                  </a:lnTo>
                  <a:lnTo>
                    <a:pt x="154" y="100"/>
                  </a:lnTo>
                  <a:lnTo>
                    <a:pt x="158" y="100"/>
                  </a:lnTo>
                  <a:lnTo>
                    <a:pt x="166" y="100"/>
                  </a:lnTo>
                  <a:lnTo>
                    <a:pt x="172" y="100"/>
                  </a:lnTo>
                  <a:lnTo>
                    <a:pt x="180" y="100"/>
                  </a:lnTo>
                  <a:lnTo>
                    <a:pt x="186" y="100"/>
                  </a:lnTo>
                  <a:lnTo>
                    <a:pt x="192" y="98"/>
                  </a:lnTo>
                  <a:lnTo>
                    <a:pt x="184" y="100"/>
                  </a:lnTo>
                  <a:lnTo>
                    <a:pt x="180" y="100"/>
                  </a:lnTo>
                  <a:lnTo>
                    <a:pt x="172" y="102"/>
                  </a:lnTo>
                  <a:lnTo>
                    <a:pt x="166" y="102"/>
                  </a:lnTo>
                  <a:lnTo>
                    <a:pt x="158" y="102"/>
                  </a:lnTo>
                  <a:lnTo>
                    <a:pt x="152" y="102"/>
                  </a:lnTo>
                  <a:lnTo>
                    <a:pt x="146" y="102"/>
                  </a:lnTo>
                  <a:lnTo>
                    <a:pt x="138" y="102"/>
                  </a:lnTo>
                  <a:lnTo>
                    <a:pt x="132" y="104"/>
                  </a:lnTo>
                  <a:lnTo>
                    <a:pt x="126" y="104"/>
                  </a:lnTo>
                  <a:lnTo>
                    <a:pt x="120" y="104"/>
                  </a:lnTo>
                  <a:lnTo>
                    <a:pt x="114" y="104"/>
                  </a:lnTo>
                  <a:lnTo>
                    <a:pt x="108" y="104"/>
                  </a:lnTo>
                  <a:lnTo>
                    <a:pt x="102" y="104"/>
                  </a:lnTo>
                  <a:lnTo>
                    <a:pt x="94" y="104"/>
                  </a:lnTo>
                  <a:lnTo>
                    <a:pt x="90" y="104"/>
                  </a:lnTo>
                  <a:lnTo>
                    <a:pt x="82" y="104"/>
                  </a:lnTo>
                  <a:lnTo>
                    <a:pt x="76" y="104"/>
                  </a:lnTo>
                  <a:lnTo>
                    <a:pt x="70" y="104"/>
                  </a:lnTo>
                  <a:lnTo>
                    <a:pt x="62" y="106"/>
                  </a:lnTo>
                  <a:lnTo>
                    <a:pt x="56" y="108"/>
                  </a:lnTo>
                  <a:lnTo>
                    <a:pt x="50" y="108"/>
                  </a:lnTo>
                  <a:lnTo>
                    <a:pt x="44" y="108"/>
                  </a:lnTo>
                  <a:lnTo>
                    <a:pt x="38" y="110"/>
                  </a:lnTo>
                  <a:lnTo>
                    <a:pt x="32" y="110"/>
                  </a:lnTo>
                  <a:lnTo>
                    <a:pt x="26" y="112"/>
                  </a:lnTo>
                  <a:lnTo>
                    <a:pt x="32" y="118"/>
                  </a:lnTo>
                  <a:lnTo>
                    <a:pt x="38" y="120"/>
                  </a:lnTo>
                  <a:lnTo>
                    <a:pt x="44" y="120"/>
                  </a:lnTo>
                  <a:lnTo>
                    <a:pt x="50" y="120"/>
                  </a:lnTo>
                  <a:lnTo>
                    <a:pt x="56" y="122"/>
                  </a:lnTo>
                  <a:lnTo>
                    <a:pt x="50" y="124"/>
                  </a:lnTo>
                  <a:lnTo>
                    <a:pt x="44" y="122"/>
                  </a:lnTo>
                  <a:lnTo>
                    <a:pt x="36" y="122"/>
                  </a:lnTo>
                  <a:lnTo>
                    <a:pt x="30" y="122"/>
                  </a:lnTo>
                  <a:lnTo>
                    <a:pt x="36" y="128"/>
                  </a:lnTo>
                  <a:lnTo>
                    <a:pt x="42" y="132"/>
                  </a:lnTo>
                  <a:lnTo>
                    <a:pt x="48" y="132"/>
                  </a:lnTo>
                  <a:lnTo>
                    <a:pt x="54" y="130"/>
                  </a:lnTo>
                  <a:lnTo>
                    <a:pt x="60" y="130"/>
                  </a:lnTo>
                  <a:lnTo>
                    <a:pt x="68" y="132"/>
                  </a:lnTo>
                  <a:lnTo>
                    <a:pt x="74" y="132"/>
                  </a:lnTo>
                  <a:lnTo>
                    <a:pt x="80" y="132"/>
                  </a:lnTo>
                  <a:lnTo>
                    <a:pt x="86" y="132"/>
                  </a:lnTo>
                  <a:lnTo>
                    <a:pt x="92" y="134"/>
                  </a:lnTo>
                  <a:lnTo>
                    <a:pt x="98" y="134"/>
                  </a:lnTo>
                  <a:lnTo>
                    <a:pt x="92" y="134"/>
                  </a:lnTo>
                  <a:lnTo>
                    <a:pt x="86" y="134"/>
                  </a:lnTo>
                  <a:lnTo>
                    <a:pt x="80" y="134"/>
                  </a:lnTo>
                  <a:lnTo>
                    <a:pt x="72" y="134"/>
                  </a:lnTo>
                  <a:lnTo>
                    <a:pt x="66" y="136"/>
                  </a:lnTo>
                  <a:lnTo>
                    <a:pt x="60" y="136"/>
                  </a:lnTo>
                  <a:lnTo>
                    <a:pt x="54" y="136"/>
                  </a:lnTo>
                  <a:lnTo>
                    <a:pt x="48" y="136"/>
                  </a:lnTo>
                  <a:lnTo>
                    <a:pt x="42" y="138"/>
                  </a:lnTo>
                  <a:lnTo>
                    <a:pt x="46" y="142"/>
                  </a:lnTo>
                  <a:lnTo>
                    <a:pt x="52" y="146"/>
                  </a:lnTo>
                  <a:lnTo>
                    <a:pt x="60" y="146"/>
                  </a:lnTo>
                  <a:lnTo>
                    <a:pt x="62" y="150"/>
                  </a:lnTo>
                  <a:lnTo>
                    <a:pt x="68" y="150"/>
                  </a:lnTo>
                  <a:lnTo>
                    <a:pt x="74" y="150"/>
                  </a:lnTo>
                  <a:lnTo>
                    <a:pt x="80" y="152"/>
                  </a:lnTo>
                  <a:lnTo>
                    <a:pt x="86" y="152"/>
                  </a:lnTo>
                  <a:lnTo>
                    <a:pt x="92" y="152"/>
                  </a:lnTo>
                  <a:lnTo>
                    <a:pt x="98" y="154"/>
                  </a:lnTo>
                  <a:lnTo>
                    <a:pt x="106" y="154"/>
                  </a:lnTo>
                  <a:lnTo>
                    <a:pt x="112" y="154"/>
                  </a:lnTo>
                  <a:lnTo>
                    <a:pt x="118" y="154"/>
                  </a:lnTo>
                  <a:lnTo>
                    <a:pt x="124" y="154"/>
                  </a:lnTo>
                  <a:lnTo>
                    <a:pt x="130" y="148"/>
                  </a:lnTo>
                  <a:lnTo>
                    <a:pt x="124" y="146"/>
                  </a:lnTo>
                  <a:lnTo>
                    <a:pt x="130" y="146"/>
                  </a:lnTo>
                  <a:lnTo>
                    <a:pt x="136" y="144"/>
                  </a:lnTo>
                  <a:lnTo>
                    <a:pt x="142" y="144"/>
                  </a:lnTo>
                  <a:lnTo>
                    <a:pt x="146" y="146"/>
                  </a:lnTo>
                  <a:lnTo>
                    <a:pt x="152" y="150"/>
                  </a:lnTo>
                  <a:lnTo>
                    <a:pt x="158" y="154"/>
                  </a:lnTo>
                  <a:lnTo>
                    <a:pt x="160" y="148"/>
                  </a:lnTo>
                  <a:lnTo>
                    <a:pt x="162" y="142"/>
                  </a:lnTo>
                  <a:lnTo>
                    <a:pt x="158" y="138"/>
                  </a:lnTo>
                  <a:lnTo>
                    <a:pt x="162" y="132"/>
                  </a:lnTo>
                  <a:lnTo>
                    <a:pt x="166" y="130"/>
                  </a:lnTo>
                  <a:lnTo>
                    <a:pt x="166" y="136"/>
                  </a:lnTo>
                  <a:lnTo>
                    <a:pt x="170" y="142"/>
                  </a:lnTo>
                  <a:lnTo>
                    <a:pt x="174" y="148"/>
                  </a:lnTo>
                  <a:lnTo>
                    <a:pt x="180" y="154"/>
                  </a:lnTo>
                  <a:lnTo>
                    <a:pt x="186" y="152"/>
                  </a:lnTo>
                  <a:lnTo>
                    <a:pt x="192" y="150"/>
                  </a:lnTo>
                  <a:lnTo>
                    <a:pt x="198" y="146"/>
                  </a:lnTo>
                  <a:lnTo>
                    <a:pt x="204" y="144"/>
                  </a:lnTo>
                  <a:lnTo>
                    <a:pt x="210" y="142"/>
                  </a:lnTo>
                  <a:lnTo>
                    <a:pt x="212" y="136"/>
                  </a:lnTo>
                  <a:lnTo>
                    <a:pt x="218" y="130"/>
                  </a:lnTo>
                  <a:lnTo>
                    <a:pt x="222" y="134"/>
                  </a:lnTo>
                  <a:lnTo>
                    <a:pt x="230" y="138"/>
                  </a:lnTo>
                  <a:lnTo>
                    <a:pt x="234" y="138"/>
                  </a:lnTo>
                  <a:lnTo>
                    <a:pt x="240" y="136"/>
                  </a:lnTo>
                  <a:lnTo>
                    <a:pt x="248" y="132"/>
                  </a:lnTo>
                  <a:lnTo>
                    <a:pt x="240" y="128"/>
                  </a:lnTo>
                  <a:lnTo>
                    <a:pt x="246" y="122"/>
                  </a:lnTo>
                  <a:lnTo>
                    <a:pt x="252" y="118"/>
                  </a:lnTo>
                  <a:lnTo>
                    <a:pt x="258" y="114"/>
                  </a:lnTo>
                  <a:lnTo>
                    <a:pt x="266" y="112"/>
                  </a:lnTo>
                  <a:lnTo>
                    <a:pt x="272" y="112"/>
                  </a:lnTo>
                  <a:lnTo>
                    <a:pt x="278" y="108"/>
                  </a:lnTo>
                  <a:lnTo>
                    <a:pt x="284" y="108"/>
                  </a:lnTo>
                  <a:lnTo>
                    <a:pt x="278" y="110"/>
                  </a:lnTo>
                  <a:lnTo>
                    <a:pt x="272" y="112"/>
                  </a:lnTo>
                  <a:lnTo>
                    <a:pt x="264" y="116"/>
                  </a:lnTo>
                  <a:lnTo>
                    <a:pt x="260" y="120"/>
                  </a:lnTo>
                  <a:lnTo>
                    <a:pt x="256" y="126"/>
                  </a:lnTo>
                  <a:lnTo>
                    <a:pt x="262" y="128"/>
                  </a:lnTo>
                  <a:lnTo>
                    <a:pt x="268" y="126"/>
                  </a:lnTo>
                  <a:lnTo>
                    <a:pt x="274" y="124"/>
                  </a:lnTo>
                  <a:lnTo>
                    <a:pt x="280" y="122"/>
                  </a:lnTo>
                  <a:lnTo>
                    <a:pt x="286" y="120"/>
                  </a:lnTo>
                  <a:lnTo>
                    <a:pt x="294" y="118"/>
                  </a:lnTo>
                  <a:lnTo>
                    <a:pt x="300" y="118"/>
                  </a:lnTo>
                  <a:lnTo>
                    <a:pt x="306" y="116"/>
                  </a:lnTo>
                  <a:lnTo>
                    <a:pt x="310" y="110"/>
                  </a:lnTo>
                  <a:lnTo>
                    <a:pt x="318" y="114"/>
                  </a:lnTo>
                  <a:lnTo>
                    <a:pt x="324" y="112"/>
                  </a:lnTo>
                  <a:lnTo>
                    <a:pt x="330" y="108"/>
                  </a:lnTo>
                  <a:lnTo>
                    <a:pt x="336" y="108"/>
                  </a:lnTo>
                  <a:lnTo>
                    <a:pt x="342" y="106"/>
                  </a:lnTo>
                  <a:lnTo>
                    <a:pt x="348" y="106"/>
                  </a:lnTo>
                  <a:lnTo>
                    <a:pt x="356" y="106"/>
                  </a:lnTo>
                  <a:lnTo>
                    <a:pt x="362" y="104"/>
                  </a:lnTo>
                  <a:lnTo>
                    <a:pt x="368" y="104"/>
                  </a:lnTo>
                  <a:lnTo>
                    <a:pt x="374" y="104"/>
                  </a:lnTo>
                  <a:lnTo>
                    <a:pt x="380" y="102"/>
                  </a:lnTo>
                  <a:lnTo>
                    <a:pt x="386" y="102"/>
                  </a:lnTo>
                  <a:lnTo>
                    <a:pt x="392" y="100"/>
                  </a:lnTo>
                  <a:lnTo>
                    <a:pt x="400" y="100"/>
                  </a:lnTo>
                  <a:lnTo>
                    <a:pt x="406" y="98"/>
                  </a:lnTo>
                  <a:lnTo>
                    <a:pt x="404" y="92"/>
                  </a:lnTo>
                  <a:lnTo>
                    <a:pt x="400" y="86"/>
                  </a:lnTo>
                  <a:lnTo>
                    <a:pt x="394" y="82"/>
                  </a:lnTo>
                  <a:lnTo>
                    <a:pt x="388" y="84"/>
                  </a:lnTo>
                  <a:lnTo>
                    <a:pt x="382" y="86"/>
                  </a:lnTo>
                  <a:lnTo>
                    <a:pt x="376" y="90"/>
                  </a:lnTo>
                  <a:lnTo>
                    <a:pt x="382" y="84"/>
                  </a:lnTo>
                  <a:lnTo>
                    <a:pt x="374" y="80"/>
                  </a:lnTo>
                  <a:lnTo>
                    <a:pt x="368" y="78"/>
                  </a:lnTo>
                  <a:lnTo>
                    <a:pt x="362" y="80"/>
                  </a:lnTo>
                  <a:lnTo>
                    <a:pt x="356" y="80"/>
                  </a:lnTo>
                  <a:lnTo>
                    <a:pt x="350" y="84"/>
                  </a:lnTo>
                  <a:lnTo>
                    <a:pt x="344" y="82"/>
                  </a:lnTo>
                  <a:lnTo>
                    <a:pt x="338" y="84"/>
                  </a:lnTo>
                  <a:lnTo>
                    <a:pt x="332" y="86"/>
                  </a:lnTo>
                  <a:lnTo>
                    <a:pt x="326" y="86"/>
                  </a:lnTo>
                  <a:lnTo>
                    <a:pt x="332" y="82"/>
                  </a:lnTo>
                  <a:lnTo>
                    <a:pt x="338" y="82"/>
                  </a:lnTo>
                  <a:lnTo>
                    <a:pt x="344" y="80"/>
                  </a:lnTo>
                  <a:lnTo>
                    <a:pt x="350" y="76"/>
                  </a:lnTo>
                  <a:lnTo>
                    <a:pt x="356" y="72"/>
                  </a:lnTo>
                  <a:lnTo>
                    <a:pt x="362" y="70"/>
                  </a:lnTo>
                  <a:lnTo>
                    <a:pt x="368" y="66"/>
                  </a:lnTo>
                  <a:lnTo>
                    <a:pt x="362" y="68"/>
                  </a:lnTo>
                  <a:lnTo>
                    <a:pt x="356" y="68"/>
                  </a:lnTo>
                  <a:lnTo>
                    <a:pt x="350" y="70"/>
                  </a:lnTo>
                  <a:lnTo>
                    <a:pt x="344" y="70"/>
                  </a:lnTo>
                  <a:lnTo>
                    <a:pt x="350" y="70"/>
                  </a:lnTo>
                  <a:lnTo>
                    <a:pt x="356" y="68"/>
                  </a:lnTo>
                  <a:lnTo>
                    <a:pt x="362" y="66"/>
                  </a:lnTo>
                  <a:lnTo>
                    <a:pt x="368" y="66"/>
                  </a:lnTo>
                  <a:lnTo>
                    <a:pt x="366" y="62"/>
                  </a:lnTo>
                  <a:lnTo>
                    <a:pt x="360" y="58"/>
                  </a:lnTo>
                  <a:lnTo>
                    <a:pt x="354" y="58"/>
                  </a:lnTo>
                  <a:lnTo>
                    <a:pt x="348" y="58"/>
                  </a:lnTo>
                  <a:lnTo>
                    <a:pt x="342" y="60"/>
                  </a:lnTo>
                  <a:lnTo>
                    <a:pt x="348" y="56"/>
                  </a:lnTo>
                  <a:lnTo>
                    <a:pt x="356" y="54"/>
                  </a:lnTo>
                  <a:lnTo>
                    <a:pt x="362" y="54"/>
                  </a:lnTo>
                  <a:lnTo>
                    <a:pt x="366" y="48"/>
                  </a:lnTo>
                  <a:lnTo>
                    <a:pt x="366" y="44"/>
                  </a:lnTo>
                  <a:lnTo>
                    <a:pt x="360" y="42"/>
                  </a:lnTo>
                  <a:lnTo>
                    <a:pt x="354" y="42"/>
                  </a:lnTo>
                  <a:lnTo>
                    <a:pt x="348" y="42"/>
                  </a:lnTo>
                  <a:lnTo>
                    <a:pt x="340" y="42"/>
                  </a:lnTo>
                  <a:lnTo>
                    <a:pt x="334" y="44"/>
                  </a:lnTo>
                  <a:lnTo>
                    <a:pt x="328" y="48"/>
                  </a:lnTo>
                  <a:lnTo>
                    <a:pt x="334" y="52"/>
                  </a:lnTo>
                  <a:lnTo>
                    <a:pt x="328" y="56"/>
                  </a:lnTo>
                  <a:lnTo>
                    <a:pt x="322" y="58"/>
                  </a:lnTo>
                  <a:lnTo>
                    <a:pt x="316" y="56"/>
                  </a:lnTo>
                  <a:lnTo>
                    <a:pt x="310" y="54"/>
                  </a:lnTo>
                  <a:lnTo>
                    <a:pt x="304" y="48"/>
                  </a:lnTo>
                  <a:lnTo>
                    <a:pt x="312" y="48"/>
                  </a:lnTo>
                  <a:lnTo>
                    <a:pt x="318" y="44"/>
                  </a:lnTo>
                  <a:lnTo>
                    <a:pt x="312" y="44"/>
                  </a:lnTo>
                  <a:lnTo>
                    <a:pt x="318" y="42"/>
                  </a:lnTo>
                  <a:lnTo>
                    <a:pt x="310" y="36"/>
                  </a:lnTo>
                  <a:lnTo>
                    <a:pt x="304" y="38"/>
                  </a:lnTo>
                  <a:lnTo>
                    <a:pt x="298" y="38"/>
                  </a:lnTo>
                  <a:lnTo>
                    <a:pt x="294" y="38"/>
                  </a:lnTo>
                  <a:lnTo>
                    <a:pt x="292" y="38"/>
                  </a:lnTo>
                  <a:lnTo>
                    <a:pt x="286" y="36"/>
                  </a:lnTo>
                  <a:lnTo>
                    <a:pt x="280" y="36"/>
                  </a:lnTo>
                  <a:lnTo>
                    <a:pt x="272" y="36"/>
                  </a:lnTo>
                  <a:lnTo>
                    <a:pt x="268" y="36"/>
                  </a:lnTo>
                  <a:lnTo>
                    <a:pt x="274" y="34"/>
                  </a:lnTo>
                  <a:lnTo>
                    <a:pt x="268" y="28"/>
                  </a:lnTo>
                  <a:lnTo>
                    <a:pt x="264" y="24"/>
                  </a:lnTo>
                  <a:lnTo>
                    <a:pt x="260" y="16"/>
                  </a:lnTo>
                  <a:lnTo>
                    <a:pt x="254" y="14"/>
                  </a:lnTo>
                  <a:lnTo>
                    <a:pt x="260" y="12"/>
                  </a:lnTo>
                  <a:lnTo>
                    <a:pt x="256" y="6"/>
                  </a:lnTo>
                  <a:lnTo>
                    <a:pt x="250" y="6"/>
                  </a:lnTo>
                  <a:lnTo>
                    <a:pt x="242" y="4"/>
                  </a:lnTo>
                  <a:lnTo>
                    <a:pt x="236" y="4"/>
                  </a:lnTo>
                  <a:lnTo>
                    <a:pt x="230" y="2"/>
                  </a:lnTo>
                  <a:lnTo>
                    <a:pt x="224" y="2"/>
                  </a:lnTo>
                  <a:lnTo>
                    <a:pt x="222" y="2"/>
                  </a:lnTo>
                  <a:lnTo>
                    <a:pt x="214" y="0"/>
                  </a:lnTo>
                  <a:lnTo>
                    <a:pt x="208" y="4"/>
                  </a:lnTo>
                  <a:lnTo>
                    <a:pt x="200" y="2"/>
                  </a:lnTo>
                  <a:lnTo>
                    <a:pt x="196" y="2"/>
                  </a:lnTo>
                  <a:lnTo>
                    <a:pt x="188" y="2"/>
                  </a:lnTo>
                  <a:lnTo>
                    <a:pt x="184" y="2"/>
                  </a:lnTo>
                  <a:lnTo>
                    <a:pt x="176" y="4"/>
                  </a:lnTo>
                  <a:lnTo>
                    <a:pt x="184" y="8"/>
                  </a:lnTo>
                  <a:lnTo>
                    <a:pt x="190" y="8"/>
                  </a:lnTo>
                  <a:lnTo>
                    <a:pt x="196" y="8"/>
                  </a:lnTo>
                  <a:lnTo>
                    <a:pt x="204" y="8"/>
                  </a:lnTo>
                  <a:lnTo>
                    <a:pt x="210" y="8"/>
                  </a:lnTo>
                  <a:lnTo>
                    <a:pt x="216" y="10"/>
                  </a:lnTo>
                  <a:lnTo>
                    <a:pt x="210" y="12"/>
                  </a:lnTo>
                  <a:lnTo>
                    <a:pt x="202" y="14"/>
                  </a:lnTo>
                  <a:lnTo>
                    <a:pt x="196" y="14"/>
                  </a:lnTo>
                  <a:lnTo>
                    <a:pt x="190" y="14"/>
                  </a:lnTo>
                  <a:lnTo>
                    <a:pt x="184" y="12"/>
                  </a:lnTo>
                  <a:lnTo>
                    <a:pt x="178" y="12"/>
                  </a:lnTo>
                  <a:lnTo>
                    <a:pt x="172" y="12"/>
                  </a:lnTo>
                  <a:lnTo>
                    <a:pt x="166" y="12"/>
                  </a:lnTo>
                  <a:lnTo>
                    <a:pt x="170" y="14"/>
                  </a:lnTo>
                  <a:lnTo>
                    <a:pt x="178" y="14"/>
                  </a:lnTo>
                  <a:lnTo>
                    <a:pt x="170" y="14"/>
                  </a:lnTo>
                  <a:lnTo>
                    <a:pt x="166" y="16"/>
                  </a:lnTo>
                  <a:lnTo>
                    <a:pt x="158" y="18"/>
                  </a:lnTo>
                  <a:lnTo>
                    <a:pt x="152" y="18"/>
                  </a:lnTo>
                  <a:lnTo>
                    <a:pt x="146" y="14"/>
                  </a:lnTo>
                  <a:lnTo>
                    <a:pt x="140" y="14"/>
                  </a:lnTo>
                  <a:lnTo>
                    <a:pt x="132" y="16"/>
                  </a:lnTo>
                  <a:lnTo>
                    <a:pt x="126" y="16"/>
                  </a:lnTo>
                  <a:lnTo>
                    <a:pt x="120" y="18"/>
                  </a:lnTo>
                  <a:lnTo>
                    <a:pt x="114" y="20"/>
                  </a:lnTo>
                  <a:lnTo>
                    <a:pt x="120" y="22"/>
                  </a:lnTo>
                  <a:lnTo>
                    <a:pt x="114" y="24"/>
                  </a:lnTo>
                  <a:lnTo>
                    <a:pt x="108" y="24"/>
                  </a:lnTo>
                  <a:lnTo>
                    <a:pt x="114" y="26"/>
                  </a:lnTo>
                  <a:lnTo>
                    <a:pt x="120" y="26"/>
                  </a:lnTo>
                  <a:lnTo>
                    <a:pt x="126" y="26"/>
                  </a:lnTo>
                  <a:lnTo>
                    <a:pt x="120" y="26"/>
                  </a:lnTo>
                  <a:lnTo>
                    <a:pt x="126" y="28"/>
                  </a:lnTo>
                  <a:lnTo>
                    <a:pt x="132" y="30"/>
                  </a:lnTo>
                  <a:lnTo>
                    <a:pt x="136" y="28"/>
                  </a:lnTo>
                  <a:lnTo>
                    <a:pt x="142" y="28"/>
                  </a:lnTo>
                  <a:lnTo>
                    <a:pt x="148" y="30"/>
                  </a:lnTo>
                  <a:lnTo>
                    <a:pt x="142" y="30"/>
                  </a:lnTo>
                  <a:lnTo>
                    <a:pt x="136" y="30"/>
                  </a:lnTo>
                  <a:lnTo>
                    <a:pt x="128" y="30"/>
                  </a:lnTo>
                  <a:lnTo>
                    <a:pt x="136" y="34"/>
                  </a:lnTo>
                  <a:lnTo>
                    <a:pt x="142" y="36"/>
                  </a:lnTo>
                  <a:lnTo>
                    <a:pt x="148" y="36"/>
                  </a:lnTo>
                  <a:lnTo>
                    <a:pt x="142" y="36"/>
                  </a:lnTo>
                  <a:lnTo>
                    <a:pt x="136" y="36"/>
                  </a:lnTo>
                  <a:lnTo>
                    <a:pt x="128" y="36"/>
                  </a:lnTo>
                  <a:lnTo>
                    <a:pt x="122" y="36"/>
                  </a:lnTo>
                  <a:lnTo>
                    <a:pt x="116" y="36"/>
                  </a:lnTo>
                  <a:lnTo>
                    <a:pt x="110" y="36"/>
                  </a:lnTo>
                  <a:lnTo>
                    <a:pt x="104" y="34"/>
                  </a:lnTo>
                  <a:lnTo>
                    <a:pt x="98" y="36"/>
                  </a:lnTo>
                  <a:lnTo>
                    <a:pt x="92" y="36"/>
                  </a:lnTo>
                  <a:lnTo>
                    <a:pt x="86" y="36"/>
                  </a:lnTo>
                  <a:lnTo>
                    <a:pt x="78" y="36"/>
                  </a:lnTo>
                  <a:lnTo>
                    <a:pt x="72" y="36"/>
                  </a:lnTo>
                  <a:lnTo>
                    <a:pt x="66" y="40"/>
                  </a:lnTo>
                  <a:lnTo>
                    <a:pt x="60" y="40"/>
                  </a:lnTo>
                  <a:lnTo>
                    <a:pt x="66" y="40"/>
                  </a:lnTo>
                  <a:lnTo>
                    <a:pt x="72" y="44"/>
                  </a:lnTo>
                  <a:lnTo>
                    <a:pt x="66" y="44"/>
                  </a:lnTo>
                  <a:lnTo>
                    <a:pt x="60" y="44"/>
                  </a:lnTo>
                  <a:lnTo>
                    <a:pt x="54" y="44"/>
                  </a:lnTo>
                  <a:lnTo>
                    <a:pt x="46" y="44"/>
                  </a:lnTo>
                  <a:lnTo>
                    <a:pt x="40" y="46"/>
                  </a:lnTo>
                  <a:lnTo>
                    <a:pt x="34" y="46"/>
                  </a:lnTo>
                  <a:lnTo>
                    <a:pt x="28" y="46"/>
                  </a:lnTo>
                  <a:lnTo>
                    <a:pt x="34" y="48"/>
                  </a:lnTo>
                  <a:lnTo>
                    <a:pt x="28" y="48"/>
                  </a:lnTo>
                  <a:lnTo>
                    <a:pt x="34" y="50"/>
                  </a:lnTo>
                  <a:lnTo>
                    <a:pt x="40" y="52"/>
                  </a:lnTo>
                  <a:lnTo>
                    <a:pt x="46" y="52"/>
                  </a:lnTo>
                  <a:lnTo>
                    <a:pt x="52" y="52"/>
                  </a:lnTo>
                  <a:lnTo>
                    <a:pt x="60" y="52"/>
                  </a:lnTo>
                  <a:lnTo>
                    <a:pt x="66" y="52"/>
                  </a:lnTo>
                  <a:lnTo>
                    <a:pt x="72" y="52"/>
                  </a:lnTo>
                  <a:lnTo>
                    <a:pt x="66" y="52"/>
                  </a:lnTo>
                  <a:lnTo>
                    <a:pt x="60" y="52"/>
                  </a:lnTo>
                  <a:lnTo>
                    <a:pt x="66" y="56"/>
                  </a:lnTo>
                  <a:lnTo>
                    <a:pt x="74" y="56"/>
                  </a:lnTo>
                  <a:lnTo>
                    <a:pt x="80" y="56"/>
                  </a:lnTo>
                  <a:lnTo>
                    <a:pt x="86" y="54"/>
                  </a:lnTo>
                  <a:lnTo>
                    <a:pt x="94" y="54"/>
                  </a:lnTo>
                  <a:lnTo>
                    <a:pt x="98" y="52"/>
                  </a:lnTo>
                  <a:lnTo>
                    <a:pt x="106" y="52"/>
                  </a:lnTo>
                  <a:lnTo>
                    <a:pt x="112" y="54"/>
                  </a:lnTo>
                  <a:lnTo>
                    <a:pt x="106" y="54"/>
                  </a:lnTo>
                  <a:lnTo>
                    <a:pt x="98" y="54"/>
                  </a:lnTo>
                  <a:lnTo>
                    <a:pt x="92" y="56"/>
                  </a:lnTo>
                  <a:lnTo>
                    <a:pt x="86" y="56"/>
                  </a:lnTo>
                  <a:lnTo>
                    <a:pt x="92" y="62"/>
                  </a:lnTo>
                  <a:lnTo>
                    <a:pt x="86" y="62"/>
                  </a:lnTo>
                  <a:lnTo>
                    <a:pt x="78" y="60"/>
                  </a:lnTo>
                  <a:lnTo>
                    <a:pt x="72" y="60"/>
                  </a:lnTo>
                  <a:lnTo>
                    <a:pt x="66" y="60"/>
                  </a:lnTo>
                  <a:lnTo>
                    <a:pt x="60" y="60"/>
                  </a:lnTo>
                  <a:lnTo>
                    <a:pt x="54" y="60"/>
                  </a:lnTo>
                  <a:lnTo>
                    <a:pt x="48" y="60"/>
                  </a:lnTo>
                  <a:lnTo>
                    <a:pt x="42" y="60"/>
                  </a:lnTo>
                  <a:lnTo>
                    <a:pt x="36" y="58"/>
                  </a:lnTo>
                  <a:lnTo>
                    <a:pt x="30" y="56"/>
                  </a:lnTo>
                  <a:lnTo>
                    <a:pt x="22" y="56"/>
                  </a:lnTo>
                  <a:lnTo>
                    <a:pt x="16" y="56"/>
                  </a:lnTo>
                  <a:lnTo>
                    <a:pt x="10" y="56"/>
                  </a:lnTo>
                  <a:lnTo>
                    <a:pt x="16" y="60"/>
                  </a:lnTo>
                  <a:lnTo>
                    <a:pt x="10" y="60"/>
                  </a:lnTo>
                  <a:lnTo>
                    <a:pt x="6" y="6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5" name="Freeform 293"/>
            <p:cNvSpPr>
              <a:spLocks/>
            </p:cNvSpPr>
            <p:nvPr/>
          </p:nvSpPr>
          <p:spPr bwMode="auto">
            <a:xfrm>
              <a:off x="2851150" y="2033588"/>
              <a:ext cx="571500" cy="136525"/>
            </a:xfrm>
            <a:custGeom>
              <a:avLst/>
              <a:gdLst>
                <a:gd name="T0" fmla="*/ 2147483647 w 1404"/>
                <a:gd name="T1" fmla="*/ 2147483647 h 330"/>
                <a:gd name="T2" fmla="*/ 2147483647 w 1404"/>
                <a:gd name="T3" fmla="*/ 2147483647 h 330"/>
                <a:gd name="T4" fmla="*/ 2147483647 w 1404"/>
                <a:gd name="T5" fmla="*/ 2147483647 h 330"/>
                <a:gd name="T6" fmla="*/ 2147483647 w 1404"/>
                <a:gd name="T7" fmla="*/ 2147483647 h 330"/>
                <a:gd name="T8" fmla="*/ 2147483647 w 1404"/>
                <a:gd name="T9" fmla="*/ 2147483647 h 330"/>
                <a:gd name="T10" fmla="*/ 2147483647 w 1404"/>
                <a:gd name="T11" fmla="*/ 2147483647 h 330"/>
                <a:gd name="T12" fmla="*/ 2147483647 w 1404"/>
                <a:gd name="T13" fmla="*/ 2147483647 h 330"/>
                <a:gd name="T14" fmla="*/ 2147483647 w 1404"/>
                <a:gd name="T15" fmla="*/ 2147483647 h 330"/>
                <a:gd name="T16" fmla="*/ 2147483647 w 1404"/>
                <a:gd name="T17" fmla="*/ 2147483647 h 330"/>
                <a:gd name="T18" fmla="*/ 2147483647 w 1404"/>
                <a:gd name="T19" fmla="*/ 2147483647 h 330"/>
                <a:gd name="T20" fmla="*/ 2147483647 w 1404"/>
                <a:gd name="T21" fmla="*/ 2147483647 h 330"/>
                <a:gd name="T22" fmla="*/ 2147483647 w 1404"/>
                <a:gd name="T23" fmla="*/ 2147483647 h 330"/>
                <a:gd name="T24" fmla="*/ 2147483647 w 1404"/>
                <a:gd name="T25" fmla="*/ 2147483647 h 330"/>
                <a:gd name="T26" fmla="*/ 2147483647 w 1404"/>
                <a:gd name="T27" fmla="*/ 2147483647 h 330"/>
                <a:gd name="T28" fmla="*/ 2147483647 w 1404"/>
                <a:gd name="T29" fmla="*/ 2147483647 h 330"/>
                <a:gd name="T30" fmla="*/ 2147483647 w 1404"/>
                <a:gd name="T31" fmla="*/ 2147483647 h 330"/>
                <a:gd name="T32" fmla="*/ 2147483647 w 1404"/>
                <a:gd name="T33" fmla="*/ 2147483647 h 330"/>
                <a:gd name="T34" fmla="*/ 2147483647 w 1404"/>
                <a:gd name="T35" fmla="*/ 2147483647 h 330"/>
                <a:gd name="T36" fmla="*/ 2147483647 w 1404"/>
                <a:gd name="T37" fmla="*/ 2147483647 h 330"/>
                <a:gd name="T38" fmla="*/ 2147483647 w 1404"/>
                <a:gd name="T39" fmla="*/ 2147483647 h 330"/>
                <a:gd name="T40" fmla="*/ 2147483647 w 1404"/>
                <a:gd name="T41" fmla="*/ 2147483647 h 330"/>
                <a:gd name="T42" fmla="*/ 2147483647 w 1404"/>
                <a:gd name="T43" fmla="*/ 2147483647 h 330"/>
                <a:gd name="T44" fmla="*/ 2147483647 w 1404"/>
                <a:gd name="T45" fmla="*/ 2147483647 h 330"/>
                <a:gd name="T46" fmla="*/ 2147483647 w 1404"/>
                <a:gd name="T47" fmla="*/ 2147483647 h 330"/>
                <a:gd name="T48" fmla="*/ 2147483647 w 1404"/>
                <a:gd name="T49" fmla="*/ 2147483647 h 330"/>
                <a:gd name="T50" fmla="*/ 2147483647 w 1404"/>
                <a:gd name="T51" fmla="*/ 2147483647 h 330"/>
                <a:gd name="T52" fmla="*/ 2147483647 w 1404"/>
                <a:gd name="T53" fmla="*/ 2147483647 h 330"/>
                <a:gd name="T54" fmla="*/ 2147483647 w 1404"/>
                <a:gd name="T55" fmla="*/ 2147483647 h 330"/>
                <a:gd name="T56" fmla="*/ 2147483647 w 1404"/>
                <a:gd name="T57" fmla="*/ 2147483647 h 330"/>
                <a:gd name="T58" fmla="*/ 2147483647 w 1404"/>
                <a:gd name="T59" fmla="*/ 2147483647 h 330"/>
                <a:gd name="T60" fmla="*/ 2147483647 w 1404"/>
                <a:gd name="T61" fmla="*/ 2147483647 h 330"/>
                <a:gd name="T62" fmla="*/ 2147483647 w 1404"/>
                <a:gd name="T63" fmla="*/ 2147483647 h 330"/>
                <a:gd name="T64" fmla="*/ 2147483647 w 1404"/>
                <a:gd name="T65" fmla="*/ 2147483647 h 330"/>
                <a:gd name="T66" fmla="*/ 2147483647 w 1404"/>
                <a:gd name="T67" fmla="*/ 2147483647 h 330"/>
                <a:gd name="T68" fmla="*/ 2147483647 w 1404"/>
                <a:gd name="T69" fmla="*/ 2147483647 h 330"/>
                <a:gd name="T70" fmla="*/ 2147483647 w 1404"/>
                <a:gd name="T71" fmla="*/ 2147483647 h 330"/>
                <a:gd name="T72" fmla="*/ 2147483647 w 1404"/>
                <a:gd name="T73" fmla="*/ 2147483647 h 330"/>
                <a:gd name="T74" fmla="*/ 2147483647 w 1404"/>
                <a:gd name="T75" fmla="*/ 2147483647 h 330"/>
                <a:gd name="T76" fmla="*/ 2147483647 w 1404"/>
                <a:gd name="T77" fmla="*/ 2147483647 h 330"/>
                <a:gd name="T78" fmla="*/ 2147483647 w 1404"/>
                <a:gd name="T79" fmla="*/ 2147483647 h 330"/>
                <a:gd name="T80" fmla="*/ 2147483647 w 1404"/>
                <a:gd name="T81" fmla="*/ 2147483647 h 330"/>
                <a:gd name="T82" fmla="*/ 2147483647 w 1404"/>
                <a:gd name="T83" fmla="*/ 2147483647 h 330"/>
                <a:gd name="T84" fmla="*/ 2147483647 w 1404"/>
                <a:gd name="T85" fmla="*/ 2147483647 h 330"/>
                <a:gd name="T86" fmla="*/ 2147483647 w 1404"/>
                <a:gd name="T87" fmla="*/ 2147483647 h 330"/>
                <a:gd name="T88" fmla="*/ 2147483647 w 1404"/>
                <a:gd name="T89" fmla="*/ 2147483647 h 330"/>
                <a:gd name="T90" fmla="*/ 2147483647 w 1404"/>
                <a:gd name="T91" fmla="*/ 2147483647 h 330"/>
                <a:gd name="T92" fmla="*/ 2147483647 w 1404"/>
                <a:gd name="T93" fmla="*/ 2147483647 h 330"/>
                <a:gd name="T94" fmla="*/ 2147483647 w 1404"/>
                <a:gd name="T95" fmla="*/ 2147483647 h 330"/>
                <a:gd name="T96" fmla="*/ 2147483647 w 1404"/>
                <a:gd name="T97" fmla="*/ 2147483647 h 330"/>
                <a:gd name="T98" fmla="*/ 2147483647 w 1404"/>
                <a:gd name="T99" fmla="*/ 2147483647 h 330"/>
                <a:gd name="T100" fmla="*/ 2147483647 w 1404"/>
                <a:gd name="T101" fmla="*/ 2147483647 h 330"/>
                <a:gd name="T102" fmla="*/ 2147483647 w 1404"/>
                <a:gd name="T103" fmla="*/ 2147483647 h 330"/>
                <a:gd name="T104" fmla="*/ 2147483647 w 1404"/>
                <a:gd name="T105" fmla="*/ 2147483647 h 330"/>
                <a:gd name="T106" fmla="*/ 2147483647 w 1404"/>
                <a:gd name="T107" fmla="*/ 2147483647 h 330"/>
                <a:gd name="T108" fmla="*/ 2147483647 w 1404"/>
                <a:gd name="T109" fmla="*/ 2147483647 h 330"/>
                <a:gd name="T110" fmla="*/ 2147483647 w 1404"/>
                <a:gd name="T111" fmla="*/ 2147483647 h 330"/>
                <a:gd name="T112" fmla="*/ 2147483647 w 1404"/>
                <a:gd name="T113" fmla="*/ 2147483647 h 330"/>
                <a:gd name="T114" fmla="*/ 2147483647 w 1404"/>
                <a:gd name="T115" fmla="*/ 2147483647 h 330"/>
                <a:gd name="T116" fmla="*/ 2147483647 w 1404"/>
                <a:gd name="T117" fmla="*/ 2147483647 h 330"/>
                <a:gd name="T118" fmla="*/ 2147483647 w 1404"/>
                <a:gd name="T119" fmla="*/ 2147483647 h 330"/>
                <a:gd name="T120" fmla="*/ 2147483647 w 1404"/>
                <a:gd name="T121" fmla="*/ 2147483647 h 330"/>
                <a:gd name="T122" fmla="*/ 2147483647 w 1404"/>
                <a:gd name="T123" fmla="*/ 2147483647 h 330"/>
                <a:gd name="T124" fmla="*/ 2147483647 w 1404"/>
                <a:gd name="T125" fmla="*/ 2147483647 h 33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04"/>
                <a:gd name="T190" fmla="*/ 0 h 330"/>
                <a:gd name="T191" fmla="*/ 1404 w 1404"/>
                <a:gd name="T192" fmla="*/ 330 h 33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04" h="330">
                  <a:moveTo>
                    <a:pt x="36" y="306"/>
                  </a:moveTo>
                  <a:lnTo>
                    <a:pt x="32" y="312"/>
                  </a:lnTo>
                  <a:lnTo>
                    <a:pt x="26" y="316"/>
                  </a:lnTo>
                  <a:lnTo>
                    <a:pt x="32" y="312"/>
                  </a:lnTo>
                  <a:lnTo>
                    <a:pt x="38" y="312"/>
                  </a:lnTo>
                  <a:lnTo>
                    <a:pt x="40" y="306"/>
                  </a:lnTo>
                  <a:lnTo>
                    <a:pt x="44" y="298"/>
                  </a:lnTo>
                  <a:lnTo>
                    <a:pt x="50" y="298"/>
                  </a:lnTo>
                  <a:lnTo>
                    <a:pt x="56" y="296"/>
                  </a:lnTo>
                  <a:lnTo>
                    <a:pt x="50" y="300"/>
                  </a:lnTo>
                  <a:lnTo>
                    <a:pt x="46" y="306"/>
                  </a:lnTo>
                  <a:lnTo>
                    <a:pt x="44" y="312"/>
                  </a:lnTo>
                  <a:lnTo>
                    <a:pt x="38" y="316"/>
                  </a:lnTo>
                  <a:lnTo>
                    <a:pt x="44" y="316"/>
                  </a:lnTo>
                  <a:lnTo>
                    <a:pt x="50" y="318"/>
                  </a:lnTo>
                  <a:lnTo>
                    <a:pt x="56" y="316"/>
                  </a:lnTo>
                  <a:lnTo>
                    <a:pt x="62" y="318"/>
                  </a:lnTo>
                  <a:lnTo>
                    <a:pt x="68" y="318"/>
                  </a:lnTo>
                  <a:lnTo>
                    <a:pt x="74" y="314"/>
                  </a:lnTo>
                  <a:lnTo>
                    <a:pt x="78" y="308"/>
                  </a:lnTo>
                  <a:lnTo>
                    <a:pt x="84" y="306"/>
                  </a:lnTo>
                  <a:lnTo>
                    <a:pt x="84" y="312"/>
                  </a:lnTo>
                  <a:lnTo>
                    <a:pt x="92" y="316"/>
                  </a:lnTo>
                  <a:lnTo>
                    <a:pt x="96" y="318"/>
                  </a:lnTo>
                  <a:lnTo>
                    <a:pt x="104" y="318"/>
                  </a:lnTo>
                  <a:lnTo>
                    <a:pt x="108" y="314"/>
                  </a:lnTo>
                  <a:lnTo>
                    <a:pt x="116" y="312"/>
                  </a:lnTo>
                  <a:lnTo>
                    <a:pt x="122" y="310"/>
                  </a:lnTo>
                  <a:lnTo>
                    <a:pt x="126" y="304"/>
                  </a:lnTo>
                  <a:lnTo>
                    <a:pt x="132" y="310"/>
                  </a:lnTo>
                  <a:lnTo>
                    <a:pt x="126" y="312"/>
                  </a:lnTo>
                  <a:lnTo>
                    <a:pt x="120" y="316"/>
                  </a:lnTo>
                  <a:lnTo>
                    <a:pt x="126" y="318"/>
                  </a:lnTo>
                  <a:lnTo>
                    <a:pt x="132" y="318"/>
                  </a:lnTo>
                  <a:lnTo>
                    <a:pt x="138" y="318"/>
                  </a:lnTo>
                  <a:lnTo>
                    <a:pt x="144" y="320"/>
                  </a:lnTo>
                  <a:lnTo>
                    <a:pt x="150" y="320"/>
                  </a:lnTo>
                  <a:lnTo>
                    <a:pt x="158" y="320"/>
                  </a:lnTo>
                  <a:lnTo>
                    <a:pt x="164" y="322"/>
                  </a:lnTo>
                  <a:lnTo>
                    <a:pt x="170" y="322"/>
                  </a:lnTo>
                  <a:lnTo>
                    <a:pt x="176" y="320"/>
                  </a:lnTo>
                  <a:lnTo>
                    <a:pt x="182" y="320"/>
                  </a:lnTo>
                  <a:lnTo>
                    <a:pt x="188" y="320"/>
                  </a:lnTo>
                  <a:lnTo>
                    <a:pt x="194" y="320"/>
                  </a:lnTo>
                  <a:lnTo>
                    <a:pt x="188" y="318"/>
                  </a:lnTo>
                  <a:lnTo>
                    <a:pt x="184" y="316"/>
                  </a:lnTo>
                  <a:lnTo>
                    <a:pt x="176" y="314"/>
                  </a:lnTo>
                  <a:lnTo>
                    <a:pt x="180" y="308"/>
                  </a:lnTo>
                  <a:lnTo>
                    <a:pt x="186" y="306"/>
                  </a:lnTo>
                  <a:lnTo>
                    <a:pt x="188" y="312"/>
                  </a:lnTo>
                  <a:lnTo>
                    <a:pt x="194" y="314"/>
                  </a:lnTo>
                  <a:lnTo>
                    <a:pt x="200" y="314"/>
                  </a:lnTo>
                  <a:lnTo>
                    <a:pt x="206" y="314"/>
                  </a:lnTo>
                  <a:lnTo>
                    <a:pt x="214" y="308"/>
                  </a:lnTo>
                  <a:lnTo>
                    <a:pt x="218" y="302"/>
                  </a:lnTo>
                  <a:lnTo>
                    <a:pt x="224" y="304"/>
                  </a:lnTo>
                  <a:lnTo>
                    <a:pt x="224" y="312"/>
                  </a:lnTo>
                  <a:lnTo>
                    <a:pt x="230" y="314"/>
                  </a:lnTo>
                  <a:lnTo>
                    <a:pt x="236" y="314"/>
                  </a:lnTo>
                  <a:lnTo>
                    <a:pt x="242" y="316"/>
                  </a:lnTo>
                  <a:lnTo>
                    <a:pt x="248" y="312"/>
                  </a:lnTo>
                  <a:lnTo>
                    <a:pt x="254" y="306"/>
                  </a:lnTo>
                  <a:lnTo>
                    <a:pt x="256" y="302"/>
                  </a:lnTo>
                  <a:lnTo>
                    <a:pt x="260" y="306"/>
                  </a:lnTo>
                  <a:lnTo>
                    <a:pt x="256" y="314"/>
                  </a:lnTo>
                  <a:lnTo>
                    <a:pt x="262" y="316"/>
                  </a:lnTo>
                  <a:lnTo>
                    <a:pt x="268" y="316"/>
                  </a:lnTo>
                  <a:lnTo>
                    <a:pt x="274" y="316"/>
                  </a:lnTo>
                  <a:lnTo>
                    <a:pt x="280" y="316"/>
                  </a:lnTo>
                  <a:lnTo>
                    <a:pt x="286" y="316"/>
                  </a:lnTo>
                  <a:lnTo>
                    <a:pt x="292" y="312"/>
                  </a:lnTo>
                  <a:lnTo>
                    <a:pt x="296" y="306"/>
                  </a:lnTo>
                  <a:lnTo>
                    <a:pt x="290" y="304"/>
                  </a:lnTo>
                  <a:lnTo>
                    <a:pt x="294" y="298"/>
                  </a:lnTo>
                  <a:lnTo>
                    <a:pt x="298" y="304"/>
                  </a:lnTo>
                  <a:lnTo>
                    <a:pt x="304" y="304"/>
                  </a:lnTo>
                  <a:lnTo>
                    <a:pt x="310" y="302"/>
                  </a:lnTo>
                  <a:lnTo>
                    <a:pt x="318" y="302"/>
                  </a:lnTo>
                  <a:lnTo>
                    <a:pt x="312" y="304"/>
                  </a:lnTo>
                  <a:lnTo>
                    <a:pt x="304" y="304"/>
                  </a:lnTo>
                  <a:lnTo>
                    <a:pt x="304" y="310"/>
                  </a:lnTo>
                  <a:lnTo>
                    <a:pt x="308" y="312"/>
                  </a:lnTo>
                  <a:lnTo>
                    <a:pt x="316" y="312"/>
                  </a:lnTo>
                  <a:lnTo>
                    <a:pt x="320" y="312"/>
                  </a:lnTo>
                  <a:lnTo>
                    <a:pt x="328" y="310"/>
                  </a:lnTo>
                  <a:lnTo>
                    <a:pt x="334" y="310"/>
                  </a:lnTo>
                  <a:lnTo>
                    <a:pt x="340" y="312"/>
                  </a:lnTo>
                  <a:lnTo>
                    <a:pt x="342" y="316"/>
                  </a:lnTo>
                  <a:lnTo>
                    <a:pt x="336" y="320"/>
                  </a:lnTo>
                  <a:lnTo>
                    <a:pt x="330" y="322"/>
                  </a:lnTo>
                  <a:lnTo>
                    <a:pt x="324" y="328"/>
                  </a:lnTo>
                  <a:lnTo>
                    <a:pt x="318" y="330"/>
                  </a:lnTo>
                  <a:lnTo>
                    <a:pt x="324" y="328"/>
                  </a:lnTo>
                  <a:lnTo>
                    <a:pt x="330" y="328"/>
                  </a:lnTo>
                  <a:lnTo>
                    <a:pt x="336" y="328"/>
                  </a:lnTo>
                  <a:lnTo>
                    <a:pt x="342" y="326"/>
                  </a:lnTo>
                  <a:lnTo>
                    <a:pt x="350" y="326"/>
                  </a:lnTo>
                  <a:lnTo>
                    <a:pt x="354" y="324"/>
                  </a:lnTo>
                  <a:lnTo>
                    <a:pt x="362" y="324"/>
                  </a:lnTo>
                  <a:lnTo>
                    <a:pt x="366" y="324"/>
                  </a:lnTo>
                  <a:lnTo>
                    <a:pt x="370" y="324"/>
                  </a:lnTo>
                  <a:lnTo>
                    <a:pt x="376" y="322"/>
                  </a:lnTo>
                  <a:lnTo>
                    <a:pt x="382" y="322"/>
                  </a:lnTo>
                  <a:lnTo>
                    <a:pt x="388" y="320"/>
                  </a:lnTo>
                  <a:lnTo>
                    <a:pt x="394" y="320"/>
                  </a:lnTo>
                  <a:lnTo>
                    <a:pt x="400" y="320"/>
                  </a:lnTo>
                  <a:lnTo>
                    <a:pt x="406" y="318"/>
                  </a:lnTo>
                  <a:lnTo>
                    <a:pt x="412" y="316"/>
                  </a:lnTo>
                  <a:lnTo>
                    <a:pt x="418" y="314"/>
                  </a:lnTo>
                  <a:lnTo>
                    <a:pt x="424" y="312"/>
                  </a:lnTo>
                  <a:lnTo>
                    <a:pt x="430" y="308"/>
                  </a:lnTo>
                  <a:lnTo>
                    <a:pt x="438" y="306"/>
                  </a:lnTo>
                  <a:lnTo>
                    <a:pt x="438" y="312"/>
                  </a:lnTo>
                  <a:lnTo>
                    <a:pt x="444" y="312"/>
                  </a:lnTo>
                  <a:lnTo>
                    <a:pt x="450" y="310"/>
                  </a:lnTo>
                  <a:lnTo>
                    <a:pt x="456" y="310"/>
                  </a:lnTo>
                  <a:lnTo>
                    <a:pt x="462" y="306"/>
                  </a:lnTo>
                  <a:lnTo>
                    <a:pt x="468" y="304"/>
                  </a:lnTo>
                  <a:lnTo>
                    <a:pt x="474" y="304"/>
                  </a:lnTo>
                  <a:lnTo>
                    <a:pt x="480" y="300"/>
                  </a:lnTo>
                  <a:lnTo>
                    <a:pt x="486" y="296"/>
                  </a:lnTo>
                  <a:lnTo>
                    <a:pt x="490" y="290"/>
                  </a:lnTo>
                  <a:lnTo>
                    <a:pt x="488" y="284"/>
                  </a:lnTo>
                  <a:lnTo>
                    <a:pt x="482" y="284"/>
                  </a:lnTo>
                  <a:lnTo>
                    <a:pt x="474" y="284"/>
                  </a:lnTo>
                  <a:lnTo>
                    <a:pt x="468" y="286"/>
                  </a:lnTo>
                  <a:lnTo>
                    <a:pt x="462" y="290"/>
                  </a:lnTo>
                  <a:lnTo>
                    <a:pt x="456" y="290"/>
                  </a:lnTo>
                  <a:lnTo>
                    <a:pt x="450" y="294"/>
                  </a:lnTo>
                  <a:lnTo>
                    <a:pt x="444" y="292"/>
                  </a:lnTo>
                  <a:lnTo>
                    <a:pt x="450" y="288"/>
                  </a:lnTo>
                  <a:lnTo>
                    <a:pt x="444" y="288"/>
                  </a:lnTo>
                  <a:lnTo>
                    <a:pt x="438" y="288"/>
                  </a:lnTo>
                  <a:lnTo>
                    <a:pt x="432" y="286"/>
                  </a:lnTo>
                  <a:lnTo>
                    <a:pt x="438" y="286"/>
                  </a:lnTo>
                  <a:lnTo>
                    <a:pt x="444" y="284"/>
                  </a:lnTo>
                  <a:lnTo>
                    <a:pt x="450" y="280"/>
                  </a:lnTo>
                  <a:lnTo>
                    <a:pt x="456" y="276"/>
                  </a:lnTo>
                  <a:lnTo>
                    <a:pt x="450" y="272"/>
                  </a:lnTo>
                  <a:lnTo>
                    <a:pt x="444" y="272"/>
                  </a:lnTo>
                  <a:lnTo>
                    <a:pt x="438" y="272"/>
                  </a:lnTo>
                  <a:lnTo>
                    <a:pt x="432" y="272"/>
                  </a:lnTo>
                  <a:lnTo>
                    <a:pt x="426" y="272"/>
                  </a:lnTo>
                  <a:lnTo>
                    <a:pt x="420" y="274"/>
                  </a:lnTo>
                  <a:lnTo>
                    <a:pt x="414" y="276"/>
                  </a:lnTo>
                  <a:lnTo>
                    <a:pt x="408" y="278"/>
                  </a:lnTo>
                  <a:lnTo>
                    <a:pt x="402" y="278"/>
                  </a:lnTo>
                  <a:lnTo>
                    <a:pt x="408" y="276"/>
                  </a:lnTo>
                  <a:lnTo>
                    <a:pt x="414" y="274"/>
                  </a:lnTo>
                  <a:lnTo>
                    <a:pt x="408" y="272"/>
                  </a:lnTo>
                  <a:lnTo>
                    <a:pt x="402" y="272"/>
                  </a:lnTo>
                  <a:lnTo>
                    <a:pt x="396" y="272"/>
                  </a:lnTo>
                  <a:lnTo>
                    <a:pt x="390" y="272"/>
                  </a:lnTo>
                  <a:lnTo>
                    <a:pt x="384" y="270"/>
                  </a:lnTo>
                  <a:lnTo>
                    <a:pt x="378" y="270"/>
                  </a:lnTo>
                  <a:lnTo>
                    <a:pt x="372" y="272"/>
                  </a:lnTo>
                  <a:lnTo>
                    <a:pt x="364" y="272"/>
                  </a:lnTo>
                  <a:lnTo>
                    <a:pt x="358" y="274"/>
                  </a:lnTo>
                  <a:lnTo>
                    <a:pt x="352" y="276"/>
                  </a:lnTo>
                  <a:lnTo>
                    <a:pt x="346" y="272"/>
                  </a:lnTo>
                  <a:lnTo>
                    <a:pt x="340" y="268"/>
                  </a:lnTo>
                  <a:lnTo>
                    <a:pt x="346" y="268"/>
                  </a:lnTo>
                  <a:lnTo>
                    <a:pt x="354" y="270"/>
                  </a:lnTo>
                  <a:lnTo>
                    <a:pt x="358" y="268"/>
                  </a:lnTo>
                  <a:lnTo>
                    <a:pt x="366" y="268"/>
                  </a:lnTo>
                  <a:lnTo>
                    <a:pt x="372" y="268"/>
                  </a:lnTo>
                  <a:lnTo>
                    <a:pt x="378" y="266"/>
                  </a:lnTo>
                  <a:lnTo>
                    <a:pt x="372" y="266"/>
                  </a:lnTo>
                  <a:lnTo>
                    <a:pt x="366" y="262"/>
                  </a:lnTo>
                  <a:lnTo>
                    <a:pt x="372" y="256"/>
                  </a:lnTo>
                  <a:lnTo>
                    <a:pt x="372" y="250"/>
                  </a:lnTo>
                  <a:lnTo>
                    <a:pt x="378" y="254"/>
                  </a:lnTo>
                  <a:lnTo>
                    <a:pt x="382" y="260"/>
                  </a:lnTo>
                  <a:lnTo>
                    <a:pt x="388" y="264"/>
                  </a:lnTo>
                  <a:lnTo>
                    <a:pt x="394" y="266"/>
                  </a:lnTo>
                  <a:lnTo>
                    <a:pt x="400" y="268"/>
                  </a:lnTo>
                  <a:lnTo>
                    <a:pt x="406" y="268"/>
                  </a:lnTo>
                  <a:lnTo>
                    <a:pt x="412" y="270"/>
                  </a:lnTo>
                  <a:lnTo>
                    <a:pt x="418" y="270"/>
                  </a:lnTo>
                  <a:lnTo>
                    <a:pt x="426" y="270"/>
                  </a:lnTo>
                  <a:lnTo>
                    <a:pt x="430" y="270"/>
                  </a:lnTo>
                  <a:lnTo>
                    <a:pt x="436" y="268"/>
                  </a:lnTo>
                  <a:lnTo>
                    <a:pt x="444" y="268"/>
                  </a:lnTo>
                  <a:lnTo>
                    <a:pt x="448" y="268"/>
                  </a:lnTo>
                  <a:lnTo>
                    <a:pt x="454" y="270"/>
                  </a:lnTo>
                  <a:lnTo>
                    <a:pt x="462" y="268"/>
                  </a:lnTo>
                  <a:lnTo>
                    <a:pt x="468" y="268"/>
                  </a:lnTo>
                  <a:lnTo>
                    <a:pt x="474" y="266"/>
                  </a:lnTo>
                  <a:lnTo>
                    <a:pt x="480" y="266"/>
                  </a:lnTo>
                  <a:lnTo>
                    <a:pt x="474" y="268"/>
                  </a:lnTo>
                  <a:lnTo>
                    <a:pt x="480" y="268"/>
                  </a:lnTo>
                  <a:lnTo>
                    <a:pt x="486" y="266"/>
                  </a:lnTo>
                  <a:lnTo>
                    <a:pt x="494" y="266"/>
                  </a:lnTo>
                  <a:lnTo>
                    <a:pt x="500" y="264"/>
                  </a:lnTo>
                  <a:lnTo>
                    <a:pt x="506" y="262"/>
                  </a:lnTo>
                  <a:lnTo>
                    <a:pt x="512" y="260"/>
                  </a:lnTo>
                  <a:lnTo>
                    <a:pt x="520" y="258"/>
                  </a:lnTo>
                  <a:lnTo>
                    <a:pt x="524" y="256"/>
                  </a:lnTo>
                  <a:lnTo>
                    <a:pt x="532" y="250"/>
                  </a:lnTo>
                  <a:lnTo>
                    <a:pt x="526" y="250"/>
                  </a:lnTo>
                  <a:lnTo>
                    <a:pt x="532" y="246"/>
                  </a:lnTo>
                  <a:lnTo>
                    <a:pt x="530" y="240"/>
                  </a:lnTo>
                  <a:lnTo>
                    <a:pt x="524" y="238"/>
                  </a:lnTo>
                  <a:lnTo>
                    <a:pt x="530" y="236"/>
                  </a:lnTo>
                  <a:lnTo>
                    <a:pt x="536" y="234"/>
                  </a:lnTo>
                  <a:lnTo>
                    <a:pt x="542" y="236"/>
                  </a:lnTo>
                  <a:lnTo>
                    <a:pt x="548" y="236"/>
                  </a:lnTo>
                  <a:lnTo>
                    <a:pt x="554" y="236"/>
                  </a:lnTo>
                  <a:lnTo>
                    <a:pt x="562" y="236"/>
                  </a:lnTo>
                  <a:lnTo>
                    <a:pt x="568" y="236"/>
                  </a:lnTo>
                  <a:lnTo>
                    <a:pt x="574" y="236"/>
                  </a:lnTo>
                  <a:lnTo>
                    <a:pt x="580" y="238"/>
                  </a:lnTo>
                  <a:lnTo>
                    <a:pt x="588" y="238"/>
                  </a:lnTo>
                  <a:lnTo>
                    <a:pt x="592" y="236"/>
                  </a:lnTo>
                  <a:lnTo>
                    <a:pt x="600" y="236"/>
                  </a:lnTo>
                  <a:lnTo>
                    <a:pt x="606" y="234"/>
                  </a:lnTo>
                  <a:lnTo>
                    <a:pt x="612" y="232"/>
                  </a:lnTo>
                  <a:lnTo>
                    <a:pt x="618" y="234"/>
                  </a:lnTo>
                  <a:lnTo>
                    <a:pt x="624" y="236"/>
                  </a:lnTo>
                  <a:lnTo>
                    <a:pt x="630" y="234"/>
                  </a:lnTo>
                  <a:lnTo>
                    <a:pt x="636" y="232"/>
                  </a:lnTo>
                  <a:lnTo>
                    <a:pt x="642" y="226"/>
                  </a:lnTo>
                  <a:lnTo>
                    <a:pt x="636" y="226"/>
                  </a:lnTo>
                  <a:lnTo>
                    <a:pt x="630" y="226"/>
                  </a:lnTo>
                  <a:lnTo>
                    <a:pt x="622" y="226"/>
                  </a:lnTo>
                  <a:lnTo>
                    <a:pt x="616" y="226"/>
                  </a:lnTo>
                  <a:lnTo>
                    <a:pt x="610" y="226"/>
                  </a:lnTo>
                  <a:lnTo>
                    <a:pt x="604" y="222"/>
                  </a:lnTo>
                  <a:lnTo>
                    <a:pt x="610" y="222"/>
                  </a:lnTo>
                  <a:lnTo>
                    <a:pt x="616" y="220"/>
                  </a:lnTo>
                  <a:lnTo>
                    <a:pt x="622" y="222"/>
                  </a:lnTo>
                  <a:lnTo>
                    <a:pt x="628" y="222"/>
                  </a:lnTo>
                  <a:lnTo>
                    <a:pt x="634" y="222"/>
                  </a:lnTo>
                  <a:lnTo>
                    <a:pt x="640" y="222"/>
                  </a:lnTo>
                  <a:lnTo>
                    <a:pt x="648" y="224"/>
                  </a:lnTo>
                  <a:lnTo>
                    <a:pt x="654" y="222"/>
                  </a:lnTo>
                  <a:lnTo>
                    <a:pt x="660" y="220"/>
                  </a:lnTo>
                  <a:lnTo>
                    <a:pt x="666" y="218"/>
                  </a:lnTo>
                  <a:lnTo>
                    <a:pt x="672" y="218"/>
                  </a:lnTo>
                  <a:lnTo>
                    <a:pt x="678" y="214"/>
                  </a:lnTo>
                  <a:lnTo>
                    <a:pt x="672" y="212"/>
                  </a:lnTo>
                  <a:lnTo>
                    <a:pt x="666" y="212"/>
                  </a:lnTo>
                  <a:lnTo>
                    <a:pt x="660" y="210"/>
                  </a:lnTo>
                  <a:lnTo>
                    <a:pt x="654" y="210"/>
                  </a:lnTo>
                  <a:lnTo>
                    <a:pt x="648" y="210"/>
                  </a:lnTo>
                  <a:lnTo>
                    <a:pt x="642" y="208"/>
                  </a:lnTo>
                  <a:lnTo>
                    <a:pt x="636" y="208"/>
                  </a:lnTo>
                  <a:lnTo>
                    <a:pt x="628" y="206"/>
                  </a:lnTo>
                  <a:lnTo>
                    <a:pt x="634" y="206"/>
                  </a:lnTo>
                  <a:lnTo>
                    <a:pt x="640" y="206"/>
                  </a:lnTo>
                  <a:lnTo>
                    <a:pt x="646" y="206"/>
                  </a:lnTo>
                  <a:lnTo>
                    <a:pt x="654" y="208"/>
                  </a:lnTo>
                  <a:lnTo>
                    <a:pt x="660" y="208"/>
                  </a:lnTo>
                  <a:lnTo>
                    <a:pt x="668" y="208"/>
                  </a:lnTo>
                  <a:lnTo>
                    <a:pt x="674" y="208"/>
                  </a:lnTo>
                  <a:lnTo>
                    <a:pt x="680" y="208"/>
                  </a:lnTo>
                  <a:lnTo>
                    <a:pt x="686" y="206"/>
                  </a:lnTo>
                  <a:lnTo>
                    <a:pt x="692" y="206"/>
                  </a:lnTo>
                  <a:lnTo>
                    <a:pt x="698" y="206"/>
                  </a:lnTo>
                  <a:lnTo>
                    <a:pt x="706" y="200"/>
                  </a:lnTo>
                  <a:lnTo>
                    <a:pt x="712" y="194"/>
                  </a:lnTo>
                  <a:lnTo>
                    <a:pt x="718" y="192"/>
                  </a:lnTo>
                  <a:lnTo>
                    <a:pt x="712" y="190"/>
                  </a:lnTo>
                  <a:lnTo>
                    <a:pt x="704" y="188"/>
                  </a:lnTo>
                  <a:lnTo>
                    <a:pt x="698" y="188"/>
                  </a:lnTo>
                  <a:lnTo>
                    <a:pt x="692" y="188"/>
                  </a:lnTo>
                  <a:lnTo>
                    <a:pt x="684" y="188"/>
                  </a:lnTo>
                  <a:lnTo>
                    <a:pt x="678" y="188"/>
                  </a:lnTo>
                  <a:lnTo>
                    <a:pt x="672" y="190"/>
                  </a:lnTo>
                  <a:lnTo>
                    <a:pt x="666" y="188"/>
                  </a:lnTo>
                  <a:lnTo>
                    <a:pt x="658" y="188"/>
                  </a:lnTo>
                  <a:lnTo>
                    <a:pt x="664" y="188"/>
                  </a:lnTo>
                  <a:lnTo>
                    <a:pt x="672" y="188"/>
                  </a:lnTo>
                  <a:lnTo>
                    <a:pt x="678" y="188"/>
                  </a:lnTo>
                  <a:lnTo>
                    <a:pt x="684" y="184"/>
                  </a:lnTo>
                  <a:lnTo>
                    <a:pt x="678" y="184"/>
                  </a:lnTo>
                  <a:lnTo>
                    <a:pt x="672" y="184"/>
                  </a:lnTo>
                  <a:lnTo>
                    <a:pt x="666" y="182"/>
                  </a:lnTo>
                  <a:lnTo>
                    <a:pt x="660" y="182"/>
                  </a:lnTo>
                  <a:lnTo>
                    <a:pt x="654" y="182"/>
                  </a:lnTo>
                  <a:lnTo>
                    <a:pt x="646" y="182"/>
                  </a:lnTo>
                  <a:lnTo>
                    <a:pt x="640" y="182"/>
                  </a:lnTo>
                  <a:lnTo>
                    <a:pt x="634" y="184"/>
                  </a:lnTo>
                  <a:lnTo>
                    <a:pt x="628" y="184"/>
                  </a:lnTo>
                  <a:lnTo>
                    <a:pt x="620" y="184"/>
                  </a:lnTo>
                  <a:lnTo>
                    <a:pt x="614" y="184"/>
                  </a:lnTo>
                  <a:lnTo>
                    <a:pt x="608" y="186"/>
                  </a:lnTo>
                  <a:lnTo>
                    <a:pt x="602" y="188"/>
                  </a:lnTo>
                  <a:lnTo>
                    <a:pt x="596" y="190"/>
                  </a:lnTo>
                  <a:lnTo>
                    <a:pt x="590" y="192"/>
                  </a:lnTo>
                  <a:lnTo>
                    <a:pt x="584" y="192"/>
                  </a:lnTo>
                  <a:lnTo>
                    <a:pt x="590" y="190"/>
                  </a:lnTo>
                  <a:lnTo>
                    <a:pt x="596" y="188"/>
                  </a:lnTo>
                  <a:lnTo>
                    <a:pt x="602" y="186"/>
                  </a:lnTo>
                  <a:lnTo>
                    <a:pt x="608" y="184"/>
                  </a:lnTo>
                  <a:lnTo>
                    <a:pt x="614" y="182"/>
                  </a:lnTo>
                  <a:lnTo>
                    <a:pt x="608" y="180"/>
                  </a:lnTo>
                  <a:lnTo>
                    <a:pt x="600" y="180"/>
                  </a:lnTo>
                  <a:lnTo>
                    <a:pt x="594" y="180"/>
                  </a:lnTo>
                  <a:lnTo>
                    <a:pt x="588" y="180"/>
                  </a:lnTo>
                  <a:lnTo>
                    <a:pt x="582" y="180"/>
                  </a:lnTo>
                  <a:lnTo>
                    <a:pt x="574" y="180"/>
                  </a:lnTo>
                  <a:lnTo>
                    <a:pt x="580" y="180"/>
                  </a:lnTo>
                  <a:lnTo>
                    <a:pt x="586" y="180"/>
                  </a:lnTo>
                  <a:lnTo>
                    <a:pt x="592" y="180"/>
                  </a:lnTo>
                  <a:lnTo>
                    <a:pt x="598" y="180"/>
                  </a:lnTo>
                  <a:lnTo>
                    <a:pt x="604" y="180"/>
                  </a:lnTo>
                  <a:lnTo>
                    <a:pt x="612" y="180"/>
                  </a:lnTo>
                  <a:lnTo>
                    <a:pt x="618" y="182"/>
                  </a:lnTo>
                  <a:lnTo>
                    <a:pt x="624" y="182"/>
                  </a:lnTo>
                  <a:lnTo>
                    <a:pt x="630" y="180"/>
                  </a:lnTo>
                  <a:lnTo>
                    <a:pt x="636" y="180"/>
                  </a:lnTo>
                  <a:lnTo>
                    <a:pt x="642" y="180"/>
                  </a:lnTo>
                  <a:lnTo>
                    <a:pt x="650" y="180"/>
                  </a:lnTo>
                  <a:lnTo>
                    <a:pt x="656" y="180"/>
                  </a:lnTo>
                  <a:lnTo>
                    <a:pt x="662" y="178"/>
                  </a:lnTo>
                  <a:lnTo>
                    <a:pt x="670" y="180"/>
                  </a:lnTo>
                  <a:lnTo>
                    <a:pt x="676" y="180"/>
                  </a:lnTo>
                  <a:lnTo>
                    <a:pt x="682" y="178"/>
                  </a:lnTo>
                  <a:lnTo>
                    <a:pt x="676" y="176"/>
                  </a:lnTo>
                  <a:lnTo>
                    <a:pt x="670" y="176"/>
                  </a:lnTo>
                  <a:lnTo>
                    <a:pt x="664" y="176"/>
                  </a:lnTo>
                  <a:lnTo>
                    <a:pt x="658" y="176"/>
                  </a:lnTo>
                  <a:lnTo>
                    <a:pt x="650" y="176"/>
                  </a:lnTo>
                  <a:lnTo>
                    <a:pt x="644" y="176"/>
                  </a:lnTo>
                  <a:lnTo>
                    <a:pt x="638" y="176"/>
                  </a:lnTo>
                  <a:lnTo>
                    <a:pt x="632" y="176"/>
                  </a:lnTo>
                  <a:lnTo>
                    <a:pt x="626" y="174"/>
                  </a:lnTo>
                  <a:lnTo>
                    <a:pt x="618" y="174"/>
                  </a:lnTo>
                  <a:lnTo>
                    <a:pt x="612" y="174"/>
                  </a:lnTo>
                  <a:lnTo>
                    <a:pt x="606" y="174"/>
                  </a:lnTo>
                  <a:lnTo>
                    <a:pt x="612" y="174"/>
                  </a:lnTo>
                  <a:lnTo>
                    <a:pt x="618" y="174"/>
                  </a:lnTo>
                  <a:lnTo>
                    <a:pt x="626" y="172"/>
                  </a:lnTo>
                  <a:lnTo>
                    <a:pt x="632" y="174"/>
                  </a:lnTo>
                  <a:lnTo>
                    <a:pt x="638" y="174"/>
                  </a:lnTo>
                  <a:lnTo>
                    <a:pt x="646" y="174"/>
                  </a:lnTo>
                  <a:lnTo>
                    <a:pt x="652" y="174"/>
                  </a:lnTo>
                  <a:lnTo>
                    <a:pt x="658" y="174"/>
                  </a:lnTo>
                  <a:lnTo>
                    <a:pt x="664" y="174"/>
                  </a:lnTo>
                  <a:lnTo>
                    <a:pt x="670" y="174"/>
                  </a:lnTo>
                  <a:lnTo>
                    <a:pt x="676" y="174"/>
                  </a:lnTo>
                  <a:lnTo>
                    <a:pt x="684" y="174"/>
                  </a:lnTo>
                  <a:lnTo>
                    <a:pt x="690" y="174"/>
                  </a:lnTo>
                  <a:lnTo>
                    <a:pt x="696" y="180"/>
                  </a:lnTo>
                  <a:lnTo>
                    <a:pt x="702" y="180"/>
                  </a:lnTo>
                  <a:lnTo>
                    <a:pt x="708" y="180"/>
                  </a:lnTo>
                  <a:lnTo>
                    <a:pt x="714" y="182"/>
                  </a:lnTo>
                  <a:lnTo>
                    <a:pt x="720" y="182"/>
                  </a:lnTo>
                  <a:lnTo>
                    <a:pt x="726" y="182"/>
                  </a:lnTo>
                  <a:lnTo>
                    <a:pt x="732" y="182"/>
                  </a:lnTo>
                  <a:lnTo>
                    <a:pt x="738" y="182"/>
                  </a:lnTo>
                  <a:lnTo>
                    <a:pt x="744" y="180"/>
                  </a:lnTo>
                  <a:lnTo>
                    <a:pt x="738" y="174"/>
                  </a:lnTo>
                  <a:lnTo>
                    <a:pt x="744" y="174"/>
                  </a:lnTo>
                  <a:lnTo>
                    <a:pt x="750" y="172"/>
                  </a:lnTo>
                  <a:lnTo>
                    <a:pt x="744" y="172"/>
                  </a:lnTo>
                  <a:lnTo>
                    <a:pt x="738" y="172"/>
                  </a:lnTo>
                  <a:lnTo>
                    <a:pt x="732" y="172"/>
                  </a:lnTo>
                  <a:lnTo>
                    <a:pt x="726" y="172"/>
                  </a:lnTo>
                  <a:lnTo>
                    <a:pt x="718" y="172"/>
                  </a:lnTo>
                  <a:lnTo>
                    <a:pt x="712" y="172"/>
                  </a:lnTo>
                  <a:lnTo>
                    <a:pt x="706" y="172"/>
                  </a:lnTo>
                  <a:lnTo>
                    <a:pt x="700" y="172"/>
                  </a:lnTo>
                  <a:lnTo>
                    <a:pt x="692" y="172"/>
                  </a:lnTo>
                  <a:lnTo>
                    <a:pt x="688" y="170"/>
                  </a:lnTo>
                  <a:lnTo>
                    <a:pt x="682" y="170"/>
                  </a:lnTo>
                  <a:lnTo>
                    <a:pt x="676" y="170"/>
                  </a:lnTo>
                  <a:lnTo>
                    <a:pt x="670" y="170"/>
                  </a:lnTo>
                  <a:lnTo>
                    <a:pt x="664" y="170"/>
                  </a:lnTo>
                  <a:lnTo>
                    <a:pt x="656" y="170"/>
                  </a:lnTo>
                  <a:lnTo>
                    <a:pt x="650" y="170"/>
                  </a:lnTo>
                  <a:lnTo>
                    <a:pt x="642" y="170"/>
                  </a:lnTo>
                  <a:lnTo>
                    <a:pt x="636" y="172"/>
                  </a:lnTo>
                  <a:lnTo>
                    <a:pt x="642" y="170"/>
                  </a:lnTo>
                  <a:lnTo>
                    <a:pt x="636" y="168"/>
                  </a:lnTo>
                  <a:lnTo>
                    <a:pt x="630" y="168"/>
                  </a:lnTo>
                  <a:lnTo>
                    <a:pt x="624" y="166"/>
                  </a:lnTo>
                  <a:lnTo>
                    <a:pt x="630" y="166"/>
                  </a:lnTo>
                  <a:lnTo>
                    <a:pt x="636" y="166"/>
                  </a:lnTo>
                  <a:lnTo>
                    <a:pt x="642" y="166"/>
                  </a:lnTo>
                  <a:lnTo>
                    <a:pt x="648" y="168"/>
                  </a:lnTo>
                  <a:lnTo>
                    <a:pt x="654" y="166"/>
                  </a:lnTo>
                  <a:lnTo>
                    <a:pt x="654" y="160"/>
                  </a:lnTo>
                  <a:lnTo>
                    <a:pt x="660" y="160"/>
                  </a:lnTo>
                  <a:lnTo>
                    <a:pt x="666" y="166"/>
                  </a:lnTo>
                  <a:lnTo>
                    <a:pt x="672" y="166"/>
                  </a:lnTo>
                  <a:lnTo>
                    <a:pt x="678" y="166"/>
                  </a:lnTo>
                  <a:lnTo>
                    <a:pt x="684" y="166"/>
                  </a:lnTo>
                  <a:lnTo>
                    <a:pt x="690" y="166"/>
                  </a:lnTo>
                  <a:lnTo>
                    <a:pt x="696" y="166"/>
                  </a:lnTo>
                  <a:lnTo>
                    <a:pt x="702" y="166"/>
                  </a:lnTo>
                  <a:lnTo>
                    <a:pt x="696" y="160"/>
                  </a:lnTo>
                  <a:lnTo>
                    <a:pt x="690" y="160"/>
                  </a:lnTo>
                  <a:lnTo>
                    <a:pt x="684" y="160"/>
                  </a:lnTo>
                  <a:lnTo>
                    <a:pt x="678" y="158"/>
                  </a:lnTo>
                  <a:lnTo>
                    <a:pt x="672" y="158"/>
                  </a:lnTo>
                  <a:lnTo>
                    <a:pt x="664" y="158"/>
                  </a:lnTo>
                  <a:lnTo>
                    <a:pt x="672" y="158"/>
                  </a:lnTo>
                  <a:lnTo>
                    <a:pt x="676" y="158"/>
                  </a:lnTo>
                  <a:lnTo>
                    <a:pt x="684" y="158"/>
                  </a:lnTo>
                  <a:lnTo>
                    <a:pt x="690" y="158"/>
                  </a:lnTo>
                  <a:lnTo>
                    <a:pt x="696" y="158"/>
                  </a:lnTo>
                  <a:lnTo>
                    <a:pt x="702" y="160"/>
                  </a:lnTo>
                  <a:lnTo>
                    <a:pt x="708" y="162"/>
                  </a:lnTo>
                  <a:lnTo>
                    <a:pt x="714" y="162"/>
                  </a:lnTo>
                  <a:lnTo>
                    <a:pt x="720" y="164"/>
                  </a:lnTo>
                  <a:lnTo>
                    <a:pt x="726" y="164"/>
                  </a:lnTo>
                  <a:lnTo>
                    <a:pt x="732" y="164"/>
                  </a:lnTo>
                  <a:lnTo>
                    <a:pt x="740" y="164"/>
                  </a:lnTo>
                  <a:lnTo>
                    <a:pt x="746" y="162"/>
                  </a:lnTo>
                  <a:lnTo>
                    <a:pt x="752" y="160"/>
                  </a:lnTo>
                  <a:lnTo>
                    <a:pt x="760" y="162"/>
                  </a:lnTo>
                  <a:lnTo>
                    <a:pt x="764" y="162"/>
                  </a:lnTo>
                  <a:lnTo>
                    <a:pt x="772" y="162"/>
                  </a:lnTo>
                  <a:lnTo>
                    <a:pt x="778" y="162"/>
                  </a:lnTo>
                  <a:lnTo>
                    <a:pt x="784" y="160"/>
                  </a:lnTo>
                  <a:lnTo>
                    <a:pt x="790" y="156"/>
                  </a:lnTo>
                  <a:lnTo>
                    <a:pt x="796" y="158"/>
                  </a:lnTo>
                  <a:lnTo>
                    <a:pt x="804" y="158"/>
                  </a:lnTo>
                  <a:lnTo>
                    <a:pt x="810" y="158"/>
                  </a:lnTo>
                  <a:lnTo>
                    <a:pt x="816" y="158"/>
                  </a:lnTo>
                  <a:lnTo>
                    <a:pt x="822" y="156"/>
                  </a:lnTo>
                  <a:lnTo>
                    <a:pt x="822" y="150"/>
                  </a:lnTo>
                  <a:lnTo>
                    <a:pt x="816" y="146"/>
                  </a:lnTo>
                  <a:lnTo>
                    <a:pt x="810" y="146"/>
                  </a:lnTo>
                  <a:lnTo>
                    <a:pt x="804" y="144"/>
                  </a:lnTo>
                  <a:lnTo>
                    <a:pt x="798" y="144"/>
                  </a:lnTo>
                  <a:lnTo>
                    <a:pt x="792" y="144"/>
                  </a:lnTo>
                  <a:lnTo>
                    <a:pt x="786" y="144"/>
                  </a:lnTo>
                  <a:lnTo>
                    <a:pt x="780" y="144"/>
                  </a:lnTo>
                  <a:lnTo>
                    <a:pt x="774" y="144"/>
                  </a:lnTo>
                  <a:lnTo>
                    <a:pt x="782" y="142"/>
                  </a:lnTo>
                  <a:lnTo>
                    <a:pt x="788" y="140"/>
                  </a:lnTo>
                  <a:lnTo>
                    <a:pt x="794" y="140"/>
                  </a:lnTo>
                  <a:lnTo>
                    <a:pt x="800" y="140"/>
                  </a:lnTo>
                  <a:lnTo>
                    <a:pt x="808" y="140"/>
                  </a:lnTo>
                  <a:lnTo>
                    <a:pt x="812" y="140"/>
                  </a:lnTo>
                  <a:lnTo>
                    <a:pt x="820" y="142"/>
                  </a:lnTo>
                  <a:lnTo>
                    <a:pt x="826" y="142"/>
                  </a:lnTo>
                  <a:lnTo>
                    <a:pt x="832" y="142"/>
                  </a:lnTo>
                  <a:lnTo>
                    <a:pt x="840" y="142"/>
                  </a:lnTo>
                  <a:lnTo>
                    <a:pt x="836" y="148"/>
                  </a:lnTo>
                  <a:lnTo>
                    <a:pt x="844" y="150"/>
                  </a:lnTo>
                  <a:lnTo>
                    <a:pt x="850" y="150"/>
                  </a:lnTo>
                  <a:lnTo>
                    <a:pt x="856" y="150"/>
                  </a:lnTo>
                  <a:lnTo>
                    <a:pt x="862" y="150"/>
                  </a:lnTo>
                  <a:lnTo>
                    <a:pt x="868" y="150"/>
                  </a:lnTo>
                  <a:lnTo>
                    <a:pt x="876" y="148"/>
                  </a:lnTo>
                  <a:lnTo>
                    <a:pt x="882" y="148"/>
                  </a:lnTo>
                  <a:lnTo>
                    <a:pt x="888" y="148"/>
                  </a:lnTo>
                  <a:lnTo>
                    <a:pt x="894" y="146"/>
                  </a:lnTo>
                  <a:lnTo>
                    <a:pt x="900" y="146"/>
                  </a:lnTo>
                  <a:lnTo>
                    <a:pt x="906" y="146"/>
                  </a:lnTo>
                  <a:lnTo>
                    <a:pt x="912" y="144"/>
                  </a:lnTo>
                  <a:lnTo>
                    <a:pt x="918" y="142"/>
                  </a:lnTo>
                  <a:lnTo>
                    <a:pt x="912" y="138"/>
                  </a:lnTo>
                  <a:lnTo>
                    <a:pt x="906" y="140"/>
                  </a:lnTo>
                  <a:lnTo>
                    <a:pt x="912" y="138"/>
                  </a:lnTo>
                  <a:lnTo>
                    <a:pt x="918" y="136"/>
                  </a:lnTo>
                  <a:lnTo>
                    <a:pt x="926" y="136"/>
                  </a:lnTo>
                  <a:lnTo>
                    <a:pt x="932" y="134"/>
                  </a:lnTo>
                  <a:lnTo>
                    <a:pt x="938" y="134"/>
                  </a:lnTo>
                  <a:lnTo>
                    <a:pt x="940" y="134"/>
                  </a:lnTo>
                  <a:lnTo>
                    <a:pt x="944" y="132"/>
                  </a:lnTo>
                  <a:lnTo>
                    <a:pt x="938" y="128"/>
                  </a:lnTo>
                  <a:lnTo>
                    <a:pt x="930" y="128"/>
                  </a:lnTo>
                  <a:lnTo>
                    <a:pt x="924" y="130"/>
                  </a:lnTo>
                  <a:lnTo>
                    <a:pt x="918" y="130"/>
                  </a:lnTo>
                  <a:lnTo>
                    <a:pt x="910" y="130"/>
                  </a:lnTo>
                  <a:lnTo>
                    <a:pt x="904" y="132"/>
                  </a:lnTo>
                  <a:lnTo>
                    <a:pt x="896" y="130"/>
                  </a:lnTo>
                  <a:lnTo>
                    <a:pt x="890" y="132"/>
                  </a:lnTo>
                  <a:lnTo>
                    <a:pt x="884" y="132"/>
                  </a:lnTo>
                  <a:lnTo>
                    <a:pt x="876" y="132"/>
                  </a:lnTo>
                  <a:lnTo>
                    <a:pt x="882" y="130"/>
                  </a:lnTo>
                  <a:lnTo>
                    <a:pt x="890" y="130"/>
                  </a:lnTo>
                  <a:lnTo>
                    <a:pt x="896" y="128"/>
                  </a:lnTo>
                  <a:lnTo>
                    <a:pt x="890" y="126"/>
                  </a:lnTo>
                  <a:lnTo>
                    <a:pt x="884" y="124"/>
                  </a:lnTo>
                  <a:lnTo>
                    <a:pt x="892" y="126"/>
                  </a:lnTo>
                  <a:lnTo>
                    <a:pt x="896" y="126"/>
                  </a:lnTo>
                  <a:lnTo>
                    <a:pt x="902" y="128"/>
                  </a:lnTo>
                  <a:lnTo>
                    <a:pt x="908" y="128"/>
                  </a:lnTo>
                  <a:lnTo>
                    <a:pt x="914" y="128"/>
                  </a:lnTo>
                  <a:lnTo>
                    <a:pt x="922" y="128"/>
                  </a:lnTo>
                  <a:lnTo>
                    <a:pt x="928" y="126"/>
                  </a:lnTo>
                  <a:lnTo>
                    <a:pt x="934" y="126"/>
                  </a:lnTo>
                  <a:lnTo>
                    <a:pt x="940" y="124"/>
                  </a:lnTo>
                  <a:lnTo>
                    <a:pt x="948" y="124"/>
                  </a:lnTo>
                  <a:lnTo>
                    <a:pt x="952" y="124"/>
                  </a:lnTo>
                  <a:lnTo>
                    <a:pt x="960" y="126"/>
                  </a:lnTo>
                  <a:lnTo>
                    <a:pt x="966" y="126"/>
                  </a:lnTo>
                  <a:lnTo>
                    <a:pt x="972" y="124"/>
                  </a:lnTo>
                  <a:lnTo>
                    <a:pt x="966" y="120"/>
                  </a:lnTo>
                  <a:lnTo>
                    <a:pt x="968" y="114"/>
                  </a:lnTo>
                  <a:lnTo>
                    <a:pt x="962" y="110"/>
                  </a:lnTo>
                  <a:lnTo>
                    <a:pt x="968" y="110"/>
                  </a:lnTo>
                  <a:lnTo>
                    <a:pt x="974" y="112"/>
                  </a:lnTo>
                  <a:lnTo>
                    <a:pt x="982" y="118"/>
                  </a:lnTo>
                  <a:lnTo>
                    <a:pt x="988" y="118"/>
                  </a:lnTo>
                  <a:lnTo>
                    <a:pt x="994" y="118"/>
                  </a:lnTo>
                  <a:lnTo>
                    <a:pt x="1002" y="116"/>
                  </a:lnTo>
                  <a:lnTo>
                    <a:pt x="1008" y="116"/>
                  </a:lnTo>
                  <a:lnTo>
                    <a:pt x="1014" y="112"/>
                  </a:lnTo>
                  <a:lnTo>
                    <a:pt x="1020" y="112"/>
                  </a:lnTo>
                  <a:lnTo>
                    <a:pt x="1026" y="108"/>
                  </a:lnTo>
                  <a:lnTo>
                    <a:pt x="1032" y="108"/>
                  </a:lnTo>
                  <a:lnTo>
                    <a:pt x="1038" y="106"/>
                  </a:lnTo>
                  <a:lnTo>
                    <a:pt x="1044" y="104"/>
                  </a:lnTo>
                  <a:lnTo>
                    <a:pt x="1050" y="104"/>
                  </a:lnTo>
                  <a:lnTo>
                    <a:pt x="1056" y="102"/>
                  </a:lnTo>
                  <a:lnTo>
                    <a:pt x="1062" y="100"/>
                  </a:lnTo>
                  <a:lnTo>
                    <a:pt x="1070" y="100"/>
                  </a:lnTo>
                  <a:lnTo>
                    <a:pt x="1076" y="98"/>
                  </a:lnTo>
                  <a:lnTo>
                    <a:pt x="1082" y="98"/>
                  </a:lnTo>
                  <a:lnTo>
                    <a:pt x="1088" y="96"/>
                  </a:lnTo>
                  <a:lnTo>
                    <a:pt x="1094" y="96"/>
                  </a:lnTo>
                  <a:lnTo>
                    <a:pt x="1100" y="94"/>
                  </a:lnTo>
                  <a:lnTo>
                    <a:pt x="1106" y="92"/>
                  </a:lnTo>
                  <a:lnTo>
                    <a:pt x="1112" y="92"/>
                  </a:lnTo>
                  <a:lnTo>
                    <a:pt x="1118" y="90"/>
                  </a:lnTo>
                  <a:lnTo>
                    <a:pt x="1124" y="90"/>
                  </a:lnTo>
                  <a:lnTo>
                    <a:pt x="1132" y="88"/>
                  </a:lnTo>
                  <a:lnTo>
                    <a:pt x="1138" y="88"/>
                  </a:lnTo>
                  <a:lnTo>
                    <a:pt x="1144" y="86"/>
                  </a:lnTo>
                  <a:lnTo>
                    <a:pt x="1150" y="84"/>
                  </a:lnTo>
                  <a:lnTo>
                    <a:pt x="1158" y="82"/>
                  </a:lnTo>
                  <a:lnTo>
                    <a:pt x="1164" y="82"/>
                  </a:lnTo>
                  <a:lnTo>
                    <a:pt x="1170" y="80"/>
                  </a:lnTo>
                  <a:lnTo>
                    <a:pt x="1176" y="78"/>
                  </a:lnTo>
                  <a:lnTo>
                    <a:pt x="1182" y="78"/>
                  </a:lnTo>
                  <a:lnTo>
                    <a:pt x="1188" y="78"/>
                  </a:lnTo>
                  <a:lnTo>
                    <a:pt x="1196" y="78"/>
                  </a:lnTo>
                  <a:lnTo>
                    <a:pt x="1202" y="76"/>
                  </a:lnTo>
                  <a:lnTo>
                    <a:pt x="1208" y="76"/>
                  </a:lnTo>
                  <a:lnTo>
                    <a:pt x="1214" y="74"/>
                  </a:lnTo>
                  <a:lnTo>
                    <a:pt x="1222" y="74"/>
                  </a:lnTo>
                  <a:lnTo>
                    <a:pt x="1228" y="72"/>
                  </a:lnTo>
                  <a:lnTo>
                    <a:pt x="1234" y="72"/>
                  </a:lnTo>
                  <a:lnTo>
                    <a:pt x="1240" y="70"/>
                  </a:lnTo>
                  <a:lnTo>
                    <a:pt x="1234" y="66"/>
                  </a:lnTo>
                  <a:lnTo>
                    <a:pt x="1228" y="66"/>
                  </a:lnTo>
                  <a:lnTo>
                    <a:pt x="1222" y="66"/>
                  </a:lnTo>
                  <a:lnTo>
                    <a:pt x="1214" y="66"/>
                  </a:lnTo>
                  <a:lnTo>
                    <a:pt x="1208" y="66"/>
                  </a:lnTo>
                  <a:lnTo>
                    <a:pt x="1202" y="68"/>
                  </a:lnTo>
                  <a:lnTo>
                    <a:pt x="1194" y="68"/>
                  </a:lnTo>
                  <a:lnTo>
                    <a:pt x="1188" y="68"/>
                  </a:lnTo>
                  <a:lnTo>
                    <a:pt x="1182" y="70"/>
                  </a:lnTo>
                  <a:lnTo>
                    <a:pt x="1176" y="70"/>
                  </a:lnTo>
                  <a:lnTo>
                    <a:pt x="1170" y="70"/>
                  </a:lnTo>
                  <a:lnTo>
                    <a:pt x="1164" y="70"/>
                  </a:lnTo>
                  <a:lnTo>
                    <a:pt x="1158" y="70"/>
                  </a:lnTo>
                  <a:lnTo>
                    <a:pt x="1152" y="72"/>
                  </a:lnTo>
                  <a:lnTo>
                    <a:pt x="1146" y="72"/>
                  </a:lnTo>
                  <a:lnTo>
                    <a:pt x="1138" y="72"/>
                  </a:lnTo>
                  <a:lnTo>
                    <a:pt x="1132" y="72"/>
                  </a:lnTo>
                  <a:lnTo>
                    <a:pt x="1126" y="74"/>
                  </a:lnTo>
                  <a:lnTo>
                    <a:pt x="1120" y="74"/>
                  </a:lnTo>
                  <a:lnTo>
                    <a:pt x="1114" y="74"/>
                  </a:lnTo>
                  <a:lnTo>
                    <a:pt x="1108" y="76"/>
                  </a:lnTo>
                  <a:lnTo>
                    <a:pt x="1100" y="76"/>
                  </a:lnTo>
                  <a:lnTo>
                    <a:pt x="1094" y="78"/>
                  </a:lnTo>
                  <a:lnTo>
                    <a:pt x="1086" y="78"/>
                  </a:lnTo>
                  <a:lnTo>
                    <a:pt x="1080" y="78"/>
                  </a:lnTo>
                  <a:lnTo>
                    <a:pt x="1074" y="78"/>
                  </a:lnTo>
                  <a:lnTo>
                    <a:pt x="1068" y="78"/>
                  </a:lnTo>
                  <a:lnTo>
                    <a:pt x="1062" y="80"/>
                  </a:lnTo>
                  <a:lnTo>
                    <a:pt x="1056" y="80"/>
                  </a:lnTo>
                  <a:lnTo>
                    <a:pt x="1050" y="80"/>
                  </a:lnTo>
                  <a:lnTo>
                    <a:pt x="1044" y="80"/>
                  </a:lnTo>
                  <a:lnTo>
                    <a:pt x="1038" y="82"/>
                  </a:lnTo>
                  <a:lnTo>
                    <a:pt x="1032" y="82"/>
                  </a:lnTo>
                  <a:lnTo>
                    <a:pt x="1024" y="84"/>
                  </a:lnTo>
                  <a:lnTo>
                    <a:pt x="1018" y="84"/>
                  </a:lnTo>
                  <a:lnTo>
                    <a:pt x="1024" y="84"/>
                  </a:lnTo>
                  <a:lnTo>
                    <a:pt x="1030" y="82"/>
                  </a:lnTo>
                  <a:lnTo>
                    <a:pt x="1022" y="82"/>
                  </a:lnTo>
                  <a:lnTo>
                    <a:pt x="1016" y="82"/>
                  </a:lnTo>
                  <a:lnTo>
                    <a:pt x="1024" y="82"/>
                  </a:lnTo>
                  <a:lnTo>
                    <a:pt x="1030" y="80"/>
                  </a:lnTo>
                  <a:lnTo>
                    <a:pt x="1038" y="80"/>
                  </a:lnTo>
                  <a:lnTo>
                    <a:pt x="1044" y="78"/>
                  </a:lnTo>
                  <a:lnTo>
                    <a:pt x="1050" y="78"/>
                  </a:lnTo>
                  <a:lnTo>
                    <a:pt x="1058" y="78"/>
                  </a:lnTo>
                  <a:lnTo>
                    <a:pt x="1064" y="78"/>
                  </a:lnTo>
                  <a:lnTo>
                    <a:pt x="1070" y="78"/>
                  </a:lnTo>
                  <a:lnTo>
                    <a:pt x="1076" y="76"/>
                  </a:lnTo>
                  <a:lnTo>
                    <a:pt x="1082" y="76"/>
                  </a:lnTo>
                  <a:lnTo>
                    <a:pt x="1090" y="74"/>
                  </a:lnTo>
                  <a:lnTo>
                    <a:pt x="1096" y="74"/>
                  </a:lnTo>
                  <a:lnTo>
                    <a:pt x="1102" y="74"/>
                  </a:lnTo>
                  <a:lnTo>
                    <a:pt x="1108" y="72"/>
                  </a:lnTo>
                  <a:lnTo>
                    <a:pt x="1114" y="72"/>
                  </a:lnTo>
                  <a:lnTo>
                    <a:pt x="1122" y="72"/>
                  </a:lnTo>
                  <a:lnTo>
                    <a:pt x="1128" y="70"/>
                  </a:lnTo>
                  <a:lnTo>
                    <a:pt x="1134" y="70"/>
                  </a:lnTo>
                  <a:lnTo>
                    <a:pt x="1140" y="70"/>
                  </a:lnTo>
                  <a:lnTo>
                    <a:pt x="1146" y="68"/>
                  </a:lnTo>
                  <a:lnTo>
                    <a:pt x="1152" y="68"/>
                  </a:lnTo>
                  <a:lnTo>
                    <a:pt x="1158" y="68"/>
                  </a:lnTo>
                  <a:lnTo>
                    <a:pt x="1164" y="66"/>
                  </a:lnTo>
                  <a:lnTo>
                    <a:pt x="1158" y="66"/>
                  </a:lnTo>
                  <a:lnTo>
                    <a:pt x="1152" y="64"/>
                  </a:lnTo>
                  <a:lnTo>
                    <a:pt x="1146" y="64"/>
                  </a:lnTo>
                  <a:lnTo>
                    <a:pt x="1138" y="64"/>
                  </a:lnTo>
                  <a:lnTo>
                    <a:pt x="1132" y="66"/>
                  </a:lnTo>
                  <a:lnTo>
                    <a:pt x="1124" y="66"/>
                  </a:lnTo>
                  <a:lnTo>
                    <a:pt x="1118" y="66"/>
                  </a:lnTo>
                  <a:lnTo>
                    <a:pt x="1112" y="66"/>
                  </a:lnTo>
                  <a:lnTo>
                    <a:pt x="1104" y="66"/>
                  </a:lnTo>
                  <a:lnTo>
                    <a:pt x="1098" y="66"/>
                  </a:lnTo>
                  <a:lnTo>
                    <a:pt x="1092" y="66"/>
                  </a:lnTo>
                  <a:lnTo>
                    <a:pt x="1084" y="66"/>
                  </a:lnTo>
                  <a:lnTo>
                    <a:pt x="1092" y="66"/>
                  </a:lnTo>
                  <a:lnTo>
                    <a:pt x="1098" y="66"/>
                  </a:lnTo>
                  <a:lnTo>
                    <a:pt x="1092" y="62"/>
                  </a:lnTo>
                  <a:lnTo>
                    <a:pt x="1086" y="62"/>
                  </a:lnTo>
                  <a:lnTo>
                    <a:pt x="1080" y="60"/>
                  </a:lnTo>
                  <a:lnTo>
                    <a:pt x="1074" y="58"/>
                  </a:lnTo>
                  <a:lnTo>
                    <a:pt x="1080" y="58"/>
                  </a:lnTo>
                  <a:lnTo>
                    <a:pt x="1086" y="60"/>
                  </a:lnTo>
                  <a:lnTo>
                    <a:pt x="1092" y="62"/>
                  </a:lnTo>
                  <a:lnTo>
                    <a:pt x="1098" y="62"/>
                  </a:lnTo>
                  <a:lnTo>
                    <a:pt x="1104" y="64"/>
                  </a:lnTo>
                  <a:lnTo>
                    <a:pt x="1110" y="64"/>
                  </a:lnTo>
                  <a:lnTo>
                    <a:pt x="1116" y="64"/>
                  </a:lnTo>
                  <a:lnTo>
                    <a:pt x="1122" y="64"/>
                  </a:lnTo>
                  <a:lnTo>
                    <a:pt x="1130" y="64"/>
                  </a:lnTo>
                  <a:lnTo>
                    <a:pt x="1138" y="62"/>
                  </a:lnTo>
                  <a:lnTo>
                    <a:pt x="1142" y="62"/>
                  </a:lnTo>
                  <a:lnTo>
                    <a:pt x="1150" y="62"/>
                  </a:lnTo>
                  <a:lnTo>
                    <a:pt x="1156" y="62"/>
                  </a:lnTo>
                  <a:lnTo>
                    <a:pt x="1164" y="62"/>
                  </a:lnTo>
                  <a:lnTo>
                    <a:pt x="1172" y="62"/>
                  </a:lnTo>
                  <a:lnTo>
                    <a:pt x="1178" y="62"/>
                  </a:lnTo>
                  <a:lnTo>
                    <a:pt x="1184" y="62"/>
                  </a:lnTo>
                  <a:lnTo>
                    <a:pt x="1190" y="62"/>
                  </a:lnTo>
                  <a:lnTo>
                    <a:pt x="1196" y="62"/>
                  </a:lnTo>
                  <a:lnTo>
                    <a:pt x="1202" y="62"/>
                  </a:lnTo>
                  <a:lnTo>
                    <a:pt x="1208" y="60"/>
                  </a:lnTo>
                  <a:lnTo>
                    <a:pt x="1216" y="60"/>
                  </a:lnTo>
                  <a:lnTo>
                    <a:pt x="1210" y="60"/>
                  </a:lnTo>
                  <a:lnTo>
                    <a:pt x="1202" y="60"/>
                  </a:lnTo>
                  <a:lnTo>
                    <a:pt x="1196" y="60"/>
                  </a:lnTo>
                  <a:lnTo>
                    <a:pt x="1204" y="58"/>
                  </a:lnTo>
                  <a:lnTo>
                    <a:pt x="1210" y="58"/>
                  </a:lnTo>
                  <a:lnTo>
                    <a:pt x="1218" y="58"/>
                  </a:lnTo>
                  <a:lnTo>
                    <a:pt x="1222" y="56"/>
                  </a:lnTo>
                  <a:lnTo>
                    <a:pt x="1230" y="56"/>
                  </a:lnTo>
                  <a:lnTo>
                    <a:pt x="1236" y="56"/>
                  </a:lnTo>
                  <a:lnTo>
                    <a:pt x="1242" y="58"/>
                  </a:lnTo>
                  <a:lnTo>
                    <a:pt x="1250" y="58"/>
                  </a:lnTo>
                  <a:lnTo>
                    <a:pt x="1256" y="58"/>
                  </a:lnTo>
                  <a:lnTo>
                    <a:pt x="1262" y="56"/>
                  </a:lnTo>
                  <a:lnTo>
                    <a:pt x="1268" y="56"/>
                  </a:lnTo>
                  <a:lnTo>
                    <a:pt x="1276" y="54"/>
                  </a:lnTo>
                  <a:lnTo>
                    <a:pt x="1282" y="54"/>
                  </a:lnTo>
                  <a:lnTo>
                    <a:pt x="1288" y="52"/>
                  </a:lnTo>
                  <a:lnTo>
                    <a:pt x="1294" y="52"/>
                  </a:lnTo>
                  <a:lnTo>
                    <a:pt x="1300" y="52"/>
                  </a:lnTo>
                  <a:lnTo>
                    <a:pt x="1306" y="50"/>
                  </a:lnTo>
                  <a:lnTo>
                    <a:pt x="1312" y="50"/>
                  </a:lnTo>
                  <a:lnTo>
                    <a:pt x="1318" y="48"/>
                  </a:lnTo>
                  <a:lnTo>
                    <a:pt x="1324" y="48"/>
                  </a:lnTo>
                  <a:lnTo>
                    <a:pt x="1332" y="48"/>
                  </a:lnTo>
                  <a:lnTo>
                    <a:pt x="1338" y="46"/>
                  </a:lnTo>
                  <a:lnTo>
                    <a:pt x="1344" y="46"/>
                  </a:lnTo>
                  <a:lnTo>
                    <a:pt x="1350" y="44"/>
                  </a:lnTo>
                  <a:lnTo>
                    <a:pt x="1358" y="44"/>
                  </a:lnTo>
                  <a:lnTo>
                    <a:pt x="1362" y="42"/>
                  </a:lnTo>
                  <a:lnTo>
                    <a:pt x="1370" y="40"/>
                  </a:lnTo>
                  <a:lnTo>
                    <a:pt x="1376" y="40"/>
                  </a:lnTo>
                  <a:lnTo>
                    <a:pt x="1384" y="38"/>
                  </a:lnTo>
                  <a:lnTo>
                    <a:pt x="1390" y="38"/>
                  </a:lnTo>
                  <a:lnTo>
                    <a:pt x="1396" y="36"/>
                  </a:lnTo>
                  <a:lnTo>
                    <a:pt x="1404" y="34"/>
                  </a:lnTo>
                  <a:lnTo>
                    <a:pt x="1400" y="28"/>
                  </a:lnTo>
                  <a:lnTo>
                    <a:pt x="1394" y="26"/>
                  </a:lnTo>
                  <a:lnTo>
                    <a:pt x="1392" y="26"/>
                  </a:lnTo>
                  <a:lnTo>
                    <a:pt x="1386" y="26"/>
                  </a:lnTo>
                  <a:lnTo>
                    <a:pt x="1380" y="26"/>
                  </a:lnTo>
                  <a:lnTo>
                    <a:pt x="1372" y="24"/>
                  </a:lnTo>
                  <a:lnTo>
                    <a:pt x="1364" y="26"/>
                  </a:lnTo>
                  <a:lnTo>
                    <a:pt x="1372" y="24"/>
                  </a:lnTo>
                  <a:lnTo>
                    <a:pt x="1366" y="24"/>
                  </a:lnTo>
                  <a:lnTo>
                    <a:pt x="1358" y="24"/>
                  </a:lnTo>
                  <a:lnTo>
                    <a:pt x="1352" y="24"/>
                  </a:lnTo>
                  <a:lnTo>
                    <a:pt x="1346" y="24"/>
                  </a:lnTo>
                  <a:lnTo>
                    <a:pt x="1340" y="28"/>
                  </a:lnTo>
                  <a:lnTo>
                    <a:pt x="1332" y="28"/>
                  </a:lnTo>
                  <a:lnTo>
                    <a:pt x="1326" y="28"/>
                  </a:lnTo>
                  <a:lnTo>
                    <a:pt x="1332" y="28"/>
                  </a:lnTo>
                  <a:lnTo>
                    <a:pt x="1338" y="26"/>
                  </a:lnTo>
                  <a:lnTo>
                    <a:pt x="1344" y="24"/>
                  </a:lnTo>
                  <a:lnTo>
                    <a:pt x="1338" y="22"/>
                  </a:lnTo>
                  <a:lnTo>
                    <a:pt x="1332" y="18"/>
                  </a:lnTo>
                  <a:lnTo>
                    <a:pt x="1326" y="16"/>
                  </a:lnTo>
                  <a:lnTo>
                    <a:pt x="1332" y="16"/>
                  </a:lnTo>
                  <a:lnTo>
                    <a:pt x="1338" y="14"/>
                  </a:lnTo>
                  <a:lnTo>
                    <a:pt x="1332" y="12"/>
                  </a:lnTo>
                  <a:lnTo>
                    <a:pt x="1326" y="12"/>
                  </a:lnTo>
                  <a:lnTo>
                    <a:pt x="1320" y="12"/>
                  </a:lnTo>
                  <a:lnTo>
                    <a:pt x="1312" y="12"/>
                  </a:lnTo>
                  <a:lnTo>
                    <a:pt x="1306" y="14"/>
                  </a:lnTo>
                  <a:lnTo>
                    <a:pt x="1300" y="14"/>
                  </a:lnTo>
                  <a:lnTo>
                    <a:pt x="1294" y="12"/>
                  </a:lnTo>
                  <a:lnTo>
                    <a:pt x="1288" y="10"/>
                  </a:lnTo>
                  <a:lnTo>
                    <a:pt x="1282" y="10"/>
                  </a:lnTo>
                  <a:lnTo>
                    <a:pt x="1276" y="10"/>
                  </a:lnTo>
                  <a:lnTo>
                    <a:pt x="1268" y="14"/>
                  </a:lnTo>
                  <a:lnTo>
                    <a:pt x="1264" y="14"/>
                  </a:lnTo>
                  <a:lnTo>
                    <a:pt x="1256" y="12"/>
                  </a:lnTo>
                  <a:lnTo>
                    <a:pt x="1250" y="12"/>
                  </a:lnTo>
                  <a:lnTo>
                    <a:pt x="1244" y="12"/>
                  </a:lnTo>
                  <a:lnTo>
                    <a:pt x="1236" y="14"/>
                  </a:lnTo>
                  <a:lnTo>
                    <a:pt x="1230" y="14"/>
                  </a:lnTo>
                  <a:lnTo>
                    <a:pt x="1224" y="14"/>
                  </a:lnTo>
                  <a:lnTo>
                    <a:pt x="1218" y="16"/>
                  </a:lnTo>
                  <a:lnTo>
                    <a:pt x="1212" y="16"/>
                  </a:lnTo>
                  <a:lnTo>
                    <a:pt x="1206" y="16"/>
                  </a:lnTo>
                  <a:lnTo>
                    <a:pt x="1200" y="18"/>
                  </a:lnTo>
                  <a:lnTo>
                    <a:pt x="1194" y="18"/>
                  </a:lnTo>
                  <a:lnTo>
                    <a:pt x="1188" y="18"/>
                  </a:lnTo>
                  <a:lnTo>
                    <a:pt x="1182" y="18"/>
                  </a:lnTo>
                  <a:lnTo>
                    <a:pt x="1176" y="18"/>
                  </a:lnTo>
                  <a:lnTo>
                    <a:pt x="1168" y="18"/>
                  </a:lnTo>
                  <a:lnTo>
                    <a:pt x="1162" y="18"/>
                  </a:lnTo>
                  <a:lnTo>
                    <a:pt x="1156" y="20"/>
                  </a:lnTo>
                  <a:lnTo>
                    <a:pt x="1148" y="20"/>
                  </a:lnTo>
                  <a:lnTo>
                    <a:pt x="1142" y="20"/>
                  </a:lnTo>
                  <a:lnTo>
                    <a:pt x="1148" y="18"/>
                  </a:lnTo>
                  <a:lnTo>
                    <a:pt x="1154" y="18"/>
                  </a:lnTo>
                  <a:lnTo>
                    <a:pt x="1162" y="18"/>
                  </a:lnTo>
                  <a:lnTo>
                    <a:pt x="1168" y="16"/>
                  </a:lnTo>
                  <a:lnTo>
                    <a:pt x="1176" y="16"/>
                  </a:lnTo>
                  <a:lnTo>
                    <a:pt x="1184" y="16"/>
                  </a:lnTo>
                  <a:lnTo>
                    <a:pt x="1190" y="14"/>
                  </a:lnTo>
                  <a:lnTo>
                    <a:pt x="1196" y="14"/>
                  </a:lnTo>
                  <a:lnTo>
                    <a:pt x="1202" y="14"/>
                  </a:lnTo>
                  <a:lnTo>
                    <a:pt x="1208" y="14"/>
                  </a:lnTo>
                  <a:lnTo>
                    <a:pt x="1214" y="12"/>
                  </a:lnTo>
                  <a:lnTo>
                    <a:pt x="1222" y="12"/>
                  </a:lnTo>
                  <a:lnTo>
                    <a:pt x="1228" y="10"/>
                  </a:lnTo>
                  <a:lnTo>
                    <a:pt x="1236" y="10"/>
                  </a:lnTo>
                  <a:lnTo>
                    <a:pt x="1238" y="8"/>
                  </a:lnTo>
                  <a:lnTo>
                    <a:pt x="1230" y="8"/>
                  </a:lnTo>
                  <a:lnTo>
                    <a:pt x="1224" y="6"/>
                  </a:lnTo>
                  <a:lnTo>
                    <a:pt x="1218" y="8"/>
                  </a:lnTo>
                  <a:lnTo>
                    <a:pt x="1210" y="8"/>
                  </a:lnTo>
                  <a:lnTo>
                    <a:pt x="1204" y="8"/>
                  </a:lnTo>
                  <a:lnTo>
                    <a:pt x="1198" y="6"/>
                  </a:lnTo>
                  <a:lnTo>
                    <a:pt x="1192" y="6"/>
                  </a:lnTo>
                  <a:lnTo>
                    <a:pt x="1184" y="6"/>
                  </a:lnTo>
                  <a:lnTo>
                    <a:pt x="1178" y="6"/>
                  </a:lnTo>
                  <a:lnTo>
                    <a:pt x="1172" y="6"/>
                  </a:lnTo>
                  <a:lnTo>
                    <a:pt x="1166" y="4"/>
                  </a:lnTo>
                  <a:lnTo>
                    <a:pt x="1158" y="6"/>
                  </a:lnTo>
                  <a:lnTo>
                    <a:pt x="1154" y="6"/>
                  </a:lnTo>
                  <a:lnTo>
                    <a:pt x="1146" y="6"/>
                  </a:lnTo>
                  <a:lnTo>
                    <a:pt x="1140" y="4"/>
                  </a:lnTo>
                  <a:lnTo>
                    <a:pt x="1132" y="4"/>
                  </a:lnTo>
                  <a:lnTo>
                    <a:pt x="1126" y="6"/>
                  </a:lnTo>
                  <a:lnTo>
                    <a:pt x="1132" y="4"/>
                  </a:lnTo>
                  <a:lnTo>
                    <a:pt x="1124" y="4"/>
                  </a:lnTo>
                  <a:lnTo>
                    <a:pt x="1116" y="0"/>
                  </a:lnTo>
                  <a:lnTo>
                    <a:pt x="1110" y="0"/>
                  </a:lnTo>
                  <a:lnTo>
                    <a:pt x="1104" y="0"/>
                  </a:lnTo>
                  <a:lnTo>
                    <a:pt x="1098" y="0"/>
                  </a:lnTo>
                  <a:lnTo>
                    <a:pt x="1092" y="2"/>
                  </a:lnTo>
                  <a:lnTo>
                    <a:pt x="1086" y="0"/>
                  </a:lnTo>
                  <a:lnTo>
                    <a:pt x="1078" y="2"/>
                  </a:lnTo>
                  <a:lnTo>
                    <a:pt x="1074" y="2"/>
                  </a:lnTo>
                  <a:lnTo>
                    <a:pt x="1068" y="2"/>
                  </a:lnTo>
                  <a:lnTo>
                    <a:pt x="1062" y="4"/>
                  </a:lnTo>
                  <a:lnTo>
                    <a:pt x="1056" y="4"/>
                  </a:lnTo>
                  <a:lnTo>
                    <a:pt x="1062" y="6"/>
                  </a:lnTo>
                  <a:lnTo>
                    <a:pt x="1066" y="8"/>
                  </a:lnTo>
                  <a:lnTo>
                    <a:pt x="1074" y="10"/>
                  </a:lnTo>
                  <a:lnTo>
                    <a:pt x="1066" y="10"/>
                  </a:lnTo>
                  <a:lnTo>
                    <a:pt x="1060" y="8"/>
                  </a:lnTo>
                  <a:lnTo>
                    <a:pt x="1054" y="8"/>
                  </a:lnTo>
                  <a:lnTo>
                    <a:pt x="1048" y="6"/>
                  </a:lnTo>
                  <a:lnTo>
                    <a:pt x="1054" y="2"/>
                  </a:lnTo>
                  <a:lnTo>
                    <a:pt x="1048" y="2"/>
                  </a:lnTo>
                  <a:lnTo>
                    <a:pt x="1040" y="2"/>
                  </a:lnTo>
                  <a:lnTo>
                    <a:pt x="1036" y="2"/>
                  </a:lnTo>
                  <a:lnTo>
                    <a:pt x="1028" y="2"/>
                  </a:lnTo>
                  <a:lnTo>
                    <a:pt x="1022" y="2"/>
                  </a:lnTo>
                  <a:lnTo>
                    <a:pt x="1016" y="2"/>
                  </a:lnTo>
                  <a:lnTo>
                    <a:pt x="1010" y="2"/>
                  </a:lnTo>
                  <a:lnTo>
                    <a:pt x="1002" y="2"/>
                  </a:lnTo>
                  <a:lnTo>
                    <a:pt x="996" y="4"/>
                  </a:lnTo>
                  <a:lnTo>
                    <a:pt x="990" y="4"/>
                  </a:lnTo>
                  <a:lnTo>
                    <a:pt x="984" y="6"/>
                  </a:lnTo>
                  <a:lnTo>
                    <a:pt x="978" y="6"/>
                  </a:lnTo>
                  <a:lnTo>
                    <a:pt x="972" y="8"/>
                  </a:lnTo>
                  <a:lnTo>
                    <a:pt x="978" y="10"/>
                  </a:lnTo>
                  <a:lnTo>
                    <a:pt x="984" y="14"/>
                  </a:lnTo>
                  <a:lnTo>
                    <a:pt x="990" y="14"/>
                  </a:lnTo>
                  <a:lnTo>
                    <a:pt x="998" y="14"/>
                  </a:lnTo>
                  <a:lnTo>
                    <a:pt x="1002" y="16"/>
                  </a:lnTo>
                  <a:lnTo>
                    <a:pt x="996" y="18"/>
                  </a:lnTo>
                  <a:lnTo>
                    <a:pt x="990" y="16"/>
                  </a:lnTo>
                  <a:lnTo>
                    <a:pt x="984" y="14"/>
                  </a:lnTo>
                  <a:lnTo>
                    <a:pt x="976" y="14"/>
                  </a:lnTo>
                  <a:lnTo>
                    <a:pt x="972" y="14"/>
                  </a:lnTo>
                  <a:lnTo>
                    <a:pt x="966" y="12"/>
                  </a:lnTo>
                  <a:lnTo>
                    <a:pt x="960" y="8"/>
                  </a:lnTo>
                  <a:lnTo>
                    <a:pt x="952" y="4"/>
                  </a:lnTo>
                  <a:lnTo>
                    <a:pt x="946" y="4"/>
                  </a:lnTo>
                  <a:lnTo>
                    <a:pt x="940" y="4"/>
                  </a:lnTo>
                  <a:lnTo>
                    <a:pt x="932" y="4"/>
                  </a:lnTo>
                  <a:lnTo>
                    <a:pt x="926" y="4"/>
                  </a:lnTo>
                  <a:lnTo>
                    <a:pt x="918" y="4"/>
                  </a:lnTo>
                  <a:lnTo>
                    <a:pt x="912" y="4"/>
                  </a:lnTo>
                  <a:lnTo>
                    <a:pt x="904" y="4"/>
                  </a:lnTo>
                  <a:lnTo>
                    <a:pt x="898" y="4"/>
                  </a:lnTo>
                  <a:lnTo>
                    <a:pt x="890" y="2"/>
                  </a:lnTo>
                  <a:lnTo>
                    <a:pt x="884" y="4"/>
                  </a:lnTo>
                  <a:lnTo>
                    <a:pt x="878" y="4"/>
                  </a:lnTo>
                  <a:lnTo>
                    <a:pt x="872" y="4"/>
                  </a:lnTo>
                  <a:lnTo>
                    <a:pt x="864" y="4"/>
                  </a:lnTo>
                  <a:lnTo>
                    <a:pt x="858" y="4"/>
                  </a:lnTo>
                  <a:lnTo>
                    <a:pt x="850" y="4"/>
                  </a:lnTo>
                  <a:lnTo>
                    <a:pt x="844" y="4"/>
                  </a:lnTo>
                  <a:lnTo>
                    <a:pt x="838" y="6"/>
                  </a:lnTo>
                  <a:lnTo>
                    <a:pt x="844" y="8"/>
                  </a:lnTo>
                  <a:lnTo>
                    <a:pt x="850" y="8"/>
                  </a:lnTo>
                  <a:lnTo>
                    <a:pt x="856" y="10"/>
                  </a:lnTo>
                  <a:lnTo>
                    <a:pt x="862" y="14"/>
                  </a:lnTo>
                  <a:lnTo>
                    <a:pt x="868" y="14"/>
                  </a:lnTo>
                  <a:lnTo>
                    <a:pt x="876" y="14"/>
                  </a:lnTo>
                  <a:lnTo>
                    <a:pt x="870" y="14"/>
                  </a:lnTo>
                  <a:lnTo>
                    <a:pt x="864" y="16"/>
                  </a:lnTo>
                  <a:lnTo>
                    <a:pt x="870" y="18"/>
                  </a:lnTo>
                  <a:lnTo>
                    <a:pt x="876" y="18"/>
                  </a:lnTo>
                  <a:lnTo>
                    <a:pt x="884" y="20"/>
                  </a:lnTo>
                  <a:lnTo>
                    <a:pt x="890" y="20"/>
                  </a:lnTo>
                  <a:lnTo>
                    <a:pt x="884" y="22"/>
                  </a:lnTo>
                  <a:lnTo>
                    <a:pt x="878" y="22"/>
                  </a:lnTo>
                  <a:lnTo>
                    <a:pt x="872" y="24"/>
                  </a:lnTo>
                  <a:lnTo>
                    <a:pt x="864" y="24"/>
                  </a:lnTo>
                  <a:lnTo>
                    <a:pt x="858" y="26"/>
                  </a:lnTo>
                  <a:lnTo>
                    <a:pt x="852" y="26"/>
                  </a:lnTo>
                  <a:lnTo>
                    <a:pt x="858" y="24"/>
                  </a:lnTo>
                  <a:lnTo>
                    <a:pt x="866" y="20"/>
                  </a:lnTo>
                  <a:lnTo>
                    <a:pt x="858" y="20"/>
                  </a:lnTo>
                  <a:lnTo>
                    <a:pt x="852" y="18"/>
                  </a:lnTo>
                  <a:lnTo>
                    <a:pt x="846" y="16"/>
                  </a:lnTo>
                  <a:lnTo>
                    <a:pt x="842" y="14"/>
                  </a:lnTo>
                  <a:lnTo>
                    <a:pt x="836" y="10"/>
                  </a:lnTo>
                  <a:lnTo>
                    <a:pt x="830" y="10"/>
                  </a:lnTo>
                  <a:lnTo>
                    <a:pt x="824" y="10"/>
                  </a:lnTo>
                  <a:lnTo>
                    <a:pt x="816" y="8"/>
                  </a:lnTo>
                  <a:lnTo>
                    <a:pt x="810" y="10"/>
                  </a:lnTo>
                  <a:lnTo>
                    <a:pt x="804" y="12"/>
                  </a:lnTo>
                  <a:lnTo>
                    <a:pt x="802" y="10"/>
                  </a:lnTo>
                  <a:lnTo>
                    <a:pt x="808" y="8"/>
                  </a:lnTo>
                  <a:lnTo>
                    <a:pt x="814" y="6"/>
                  </a:lnTo>
                  <a:lnTo>
                    <a:pt x="808" y="6"/>
                  </a:lnTo>
                  <a:lnTo>
                    <a:pt x="800" y="10"/>
                  </a:lnTo>
                  <a:lnTo>
                    <a:pt x="798" y="8"/>
                  </a:lnTo>
                  <a:lnTo>
                    <a:pt x="792" y="6"/>
                  </a:lnTo>
                  <a:lnTo>
                    <a:pt x="786" y="8"/>
                  </a:lnTo>
                  <a:lnTo>
                    <a:pt x="780" y="10"/>
                  </a:lnTo>
                  <a:lnTo>
                    <a:pt x="774" y="6"/>
                  </a:lnTo>
                  <a:lnTo>
                    <a:pt x="768" y="6"/>
                  </a:lnTo>
                  <a:lnTo>
                    <a:pt x="760" y="6"/>
                  </a:lnTo>
                  <a:lnTo>
                    <a:pt x="754" y="6"/>
                  </a:lnTo>
                  <a:lnTo>
                    <a:pt x="746" y="8"/>
                  </a:lnTo>
                  <a:lnTo>
                    <a:pt x="740" y="8"/>
                  </a:lnTo>
                  <a:lnTo>
                    <a:pt x="734" y="8"/>
                  </a:lnTo>
                  <a:lnTo>
                    <a:pt x="728" y="10"/>
                  </a:lnTo>
                  <a:lnTo>
                    <a:pt x="734" y="12"/>
                  </a:lnTo>
                  <a:lnTo>
                    <a:pt x="740" y="12"/>
                  </a:lnTo>
                  <a:lnTo>
                    <a:pt x="746" y="12"/>
                  </a:lnTo>
                  <a:lnTo>
                    <a:pt x="740" y="14"/>
                  </a:lnTo>
                  <a:lnTo>
                    <a:pt x="746" y="16"/>
                  </a:lnTo>
                  <a:lnTo>
                    <a:pt x="752" y="16"/>
                  </a:lnTo>
                  <a:lnTo>
                    <a:pt x="758" y="18"/>
                  </a:lnTo>
                  <a:lnTo>
                    <a:pt x="764" y="18"/>
                  </a:lnTo>
                  <a:lnTo>
                    <a:pt x="772" y="18"/>
                  </a:lnTo>
                  <a:lnTo>
                    <a:pt x="778" y="18"/>
                  </a:lnTo>
                  <a:lnTo>
                    <a:pt x="786" y="18"/>
                  </a:lnTo>
                  <a:lnTo>
                    <a:pt x="780" y="18"/>
                  </a:lnTo>
                  <a:lnTo>
                    <a:pt x="774" y="18"/>
                  </a:lnTo>
                  <a:lnTo>
                    <a:pt x="766" y="18"/>
                  </a:lnTo>
                  <a:lnTo>
                    <a:pt x="758" y="18"/>
                  </a:lnTo>
                  <a:lnTo>
                    <a:pt x="752" y="18"/>
                  </a:lnTo>
                  <a:lnTo>
                    <a:pt x="746" y="18"/>
                  </a:lnTo>
                  <a:lnTo>
                    <a:pt x="740" y="16"/>
                  </a:lnTo>
                  <a:lnTo>
                    <a:pt x="734" y="18"/>
                  </a:lnTo>
                  <a:lnTo>
                    <a:pt x="728" y="16"/>
                  </a:lnTo>
                  <a:lnTo>
                    <a:pt x="722" y="14"/>
                  </a:lnTo>
                  <a:lnTo>
                    <a:pt x="714" y="12"/>
                  </a:lnTo>
                  <a:lnTo>
                    <a:pt x="708" y="12"/>
                  </a:lnTo>
                  <a:lnTo>
                    <a:pt x="702" y="12"/>
                  </a:lnTo>
                  <a:lnTo>
                    <a:pt x="696" y="12"/>
                  </a:lnTo>
                  <a:lnTo>
                    <a:pt x="690" y="12"/>
                  </a:lnTo>
                  <a:lnTo>
                    <a:pt x="684" y="14"/>
                  </a:lnTo>
                  <a:lnTo>
                    <a:pt x="690" y="16"/>
                  </a:lnTo>
                  <a:lnTo>
                    <a:pt x="696" y="18"/>
                  </a:lnTo>
                  <a:lnTo>
                    <a:pt x="702" y="24"/>
                  </a:lnTo>
                  <a:lnTo>
                    <a:pt x="696" y="24"/>
                  </a:lnTo>
                  <a:lnTo>
                    <a:pt x="690" y="24"/>
                  </a:lnTo>
                  <a:lnTo>
                    <a:pt x="684" y="22"/>
                  </a:lnTo>
                  <a:lnTo>
                    <a:pt x="676" y="20"/>
                  </a:lnTo>
                  <a:lnTo>
                    <a:pt x="670" y="20"/>
                  </a:lnTo>
                  <a:lnTo>
                    <a:pt x="664" y="18"/>
                  </a:lnTo>
                  <a:lnTo>
                    <a:pt x="658" y="18"/>
                  </a:lnTo>
                  <a:lnTo>
                    <a:pt x="650" y="18"/>
                  </a:lnTo>
                  <a:lnTo>
                    <a:pt x="644" y="22"/>
                  </a:lnTo>
                  <a:lnTo>
                    <a:pt x="652" y="24"/>
                  </a:lnTo>
                  <a:lnTo>
                    <a:pt x="658" y="24"/>
                  </a:lnTo>
                  <a:lnTo>
                    <a:pt x="664" y="26"/>
                  </a:lnTo>
                  <a:lnTo>
                    <a:pt x="658" y="26"/>
                  </a:lnTo>
                  <a:lnTo>
                    <a:pt x="650" y="24"/>
                  </a:lnTo>
                  <a:lnTo>
                    <a:pt x="644" y="26"/>
                  </a:lnTo>
                  <a:lnTo>
                    <a:pt x="638" y="24"/>
                  </a:lnTo>
                  <a:lnTo>
                    <a:pt x="632" y="24"/>
                  </a:lnTo>
                  <a:lnTo>
                    <a:pt x="624" y="28"/>
                  </a:lnTo>
                  <a:lnTo>
                    <a:pt x="618" y="32"/>
                  </a:lnTo>
                  <a:lnTo>
                    <a:pt x="626" y="32"/>
                  </a:lnTo>
                  <a:lnTo>
                    <a:pt x="632" y="34"/>
                  </a:lnTo>
                  <a:lnTo>
                    <a:pt x="638" y="36"/>
                  </a:lnTo>
                  <a:lnTo>
                    <a:pt x="644" y="36"/>
                  </a:lnTo>
                  <a:lnTo>
                    <a:pt x="650" y="38"/>
                  </a:lnTo>
                  <a:lnTo>
                    <a:pt x="656" y="40"/>
                  </a:lnTo>
                  <a:lnTo>
                    <a:pt x="664" y="40"/>
                  </a:lnTo>
                  <a:lnTo>
                    <a:pt x="670" y="42"/>
                  </a:lnTo>
                  <a:lnTo>
                    <a:pt x="676" y="44"/>
                  </a:lnTo>
                  <a:lnTo>
                    <a:pt x="682" y="44"/>
                  </a:lnTo>
                  <a:lnTo>
                    <a:pt x="688" y="44"/>
                  </a:lnTo>
                  <a:lnTo>
                    <a:pt x="694" y="44"/>
                  </a:lnTo>
                  <a:lnTo>
                    <a:pt x="700" y="48"/>
                  </a:lnTo>
                  <a:lnTo>
                    <a:pt x="708" y="50"/>
                  </a:lnTo>
                  <a:lnTo>
                    <a:pt x="714" y="54"/>
                  </a:lnTo>
                  <a:lnTo>
                    <a:pt x="708" y="54"/>
                  </a:lnTo>
                  <a:lnTo>
                    <a:pt x="700" y="52"/>
                  </a:lnTo>
                  <a:lnTo>
                    <a:pt x="694" y="48"/>
                  </a:lnTo>
                  <a:lnTo>
                    <a:pt x="688" y="46"/>
                  </a:lnTo>
                  <a:lnTo>
                    <a:pt x="682" y="46"/>
                  </a:lnTo>
                  <a:lnTo>
                    <a:pt x="676" y="46"/>
                  </a:lnTo>
                  <a:lnTo>
                    <a:pt x="670" y="44"/>
                  </a:lnTo>
                  <a:lnTo>
                    <a:pt x="662" y="44"/>
                  </a:lnTo>
                  <a:lnTo>
                    <a:pt x="656" y="42"/>
                  </a:lnTo>
                  <a:lnTo>
                    <a:pt x="650" y="42"/>
                  </a:lnTo>
                  <a:lnTo>
                    <a:pt x="642" y="40"/>
                  </a:lnTo>
                  <a:lnTo>
                    <a:pt x="636" y="40"/>
                  </a:lnTo>
                  <a:lnTo>
                    <a:pt x="630" y="40"/>
                  </a:lnTo>
                  <a:lnTo>
                    <a:pt x="624" y="36"/>
                  </a:lnTo>
                  <a:lnTo>
                    <a:pt x="618" y="36"/>
                  </a:lnTo>
                  <a:lnTo>
                    <a:pt x="612" y="34"/>
                  </a:lnTo>
                  <a:lnTo>
                    <a:pt x="604" y="34"/>
                  </a:lnTo>
                  <a:lnTo>
                    <a:pt x="600" y="38"/>
                  </a:lnTo>
                  <a:lnTo>
                    <a:pt x="606" y="42"/>
                  </a:lnTo>
                  <a:lnTo>
                    <a:pt x="612" y="42"/>
                  </a:lnTo>
                  <a:lnTo>
                    <a:pt x="618" y="42"/>
                  </a:lnTo>
                  <a:lnTo>
                    <a:pt x="624" y="44"/>
                  </a:lnTo>
                  <a:lnTo>
                    <a:pt x="618" y="44"/>
                  </a:lnTo>
                  <a:lnTo>
                    <a:pt x="612" y="44"/>
                  </a:lnTo>
                  <a:lnTo>
                    <a:pt x="606" y="44"/>
                  </a:lnTo>
                  <a:lnTo>
                    <a:pt x="600" y="42"/>
                  </a:lnTo>
                  <a:lnTo>
                    <a:pt x="592" y="42"/>
                  </a:lnTo>
                  <a:lnTo>
                    <a:pt x="586" y="42"/>
                  </a:lnTo>
                  <a:lnTo>
                    <a:pt x="592" y="38"/>
                  </a:lnTo>
                  <a:lnTo>
                    <a:pt x="586" y="34"/>
                  </a:lnTo>
                  <a:lnTo>
                    <a:pt x="580" y="32"/>
                  </a:lnTo>
                  <a:lnTo>
                    <a:pt x="574" y="30"/>
                  </a:lnTo>
                  <a:lnTo>
                    <a:pt x="568" y="30"/>
                  </a:lnTo>
                  <a:lnTo>
                    <a:pt x="560" y="30"/>
                  </a:lnTo>
                  <a:lnTo>
                    <a:pt x="554" y="30"/>
                  </a:lnTo>
                  <a:lnTo>
                    <a:pt x="548" y="30"/>
                  </a:lnTo>
                  <a:lnTo>
                    <a:pt x="542" y="28"/>
                  </a:lnTo>
                  <a:lnTo>
                    <a:pt x="548" y="28"/>
                  </a:lnTo>
                  <a:lnTo>
                    <a:pt x="548" y="26"/>
                  </a:lnTo>
                  <a:lnTo>
                    <a:pt x="540" y="26"/>
                  </a:lnTo>
                  <a:lnTo>
                    <a:pt x="536" y="26"/>
                  </a:lnTo>
                  <a:lnTo>
                    <a:pt x="528" y="26"/>
                  </a:lnTo>
                  <a:lnTo>
                    <a:pt x="522" y="26"/>
                  </a:lnTo>
                  <a:lnTo>
                    <a:pt x="516" y="26"/>
                  </a:lnTo>
                  <a:lnTo>
                    <a:pt x="508" y="28"/>
                  </a:lnTo>
                  <a:lnTo>
                    <a:pt x="502" y="28"/>
                  </a:lnTo>
                  <a:lnTo>
                    <a:pt x="508" y="28"/>
                  </a:lnTo>
                  <a:lnTo>
                    <a:pt x="514" y="34"/>
                  </a:lnTo>
                  <a:lnTo>
                    <a:pt x="508" y="34"/>
                  </a:lnTo>
                  <a:lnTo>
                    <a:pt x="502" y="36"/>
                  </a:lnTo>
                  <a:lnTo>
                    <a:pt x="496" y="36"/>
                  </a:lnTo>
                  <a:lnTo>
                    <a:pt x="488" y="36"/>
                  </a:lnTo>
                  <a:lnTo>
                    <a:pt x="482" y="36"/>
                  </a:lnTo>
                  <a:lnTo>
                    <a:pt x="476" y="36"/>
                  </a:lnTo>
                  <a:lnTo>
                    <a:pt x="470" y="36"/>
                  </a:lnTo>
                  <a:lnTo>
                    <a:pt x="464" y="36"/>
                  </a:lnTo>
                  <a:lnTo>
                    <a:pt x="458" y="40"/>
                  </a:lnTo>
                  <a:lnTo>
                    <a:pt x="464" y="40"/>
                  </a:lnTo>
                  <a:lnTo>
                    <a:pt x="470" y="42"/>
                  </a:lnTo>
                  <a:lnTo>
                    <a:pt x="476" y="42"/>
                  </a:lnTo>
                  <a:lnTo>
                    <a:pt x="482" y="42"/>
                  </a:lnTo>
                  <a:lnTo>
                    <a:pt x="490" y="44"/>
                  </a:lnTo>
                  <a:lnTo>
                    <a:pt x="496" y="44"/>
                  </a:lnTo>
                  <a:lnTo>
                    <a:pt x="502" y="44"/>
                  </a:lnTo>
                  <a:lnTo>
                    <a:pt x="510" y="44"/>
                  </a:lnTo>
                  <a:lnTo>
                    <a:pt x="516" y="46"/>
                  </a:lnTo>
                  <a:lnTo>
                    <a:pt x="510" y="50"/>
                  </a:lnTo>
                  <a:lnTo>
                    <a:pt x="504" y="46"/>
                  </a:lnTo>
                  <a:lnTo>
                    <a:pt x="498" y="46"/>
                  </a:lnTo>
                  <a:lnTo>
                    <a:pt x="492" y="46"/>
                  </a:lnTo>
                  <a:lnTo>
                    <a:pt x="486" y="46"/>
                  </a:lnTo>
                  <a:lnTo>
                    <a:pt x="490" y="52"/>
                  </a:lnTo>
                  <a:lnTo>
                    <a:pt x="482" y="48"/>
                  </a:lnTo>
                  <a:lnTo>
                    <a:pt x="476" y="46"/>
                  </a:lnTo>
                  <a:lnTo>
                    <a:pt x="470" y="44"/>
                  </a:lnTo>
                  <a:lnTo>
                    <a:pt x="464" y="44"/>
                  </a:lnTo>
                  <a:lnTo>
                    <a:pt x="458" y="44"/>
                  </a:lnTo>
                  <a:lnTo>
                    <a:pt x="452" y="44"/>
                  </a:lnTo>
                  <a:lnTo>
                    <a:pt x="444" y="44"/>
                  </a:lnTo>
                  <a:lnTo>
                    <a:pt x="438" y="46"/>
                  </a:lnTo>
                  <a:lnTo>
                    <a:pt x="432" y="48"/>
                  </a:lnTo>
                  <a:lnTo>
                    <a:pt x="438" y="50"/>
                  </a:lnTo>
                  <a:lnTo>
                    <a:pt x="432" y="48"/>
                  </a:lnTo>
                  <a:lnTo>
                    <a:pt x="428" y="44"/>
                  </a:lnTo>
                  <a:lnTo>
                    <a:pt x="422" y="42"/>
                  </a:lnTo>
                  <a:lnTo>
                    <a:pt x="416" y="42"/>
                  </a:lnTo>
                  <a:lnTo>
                    <a:pt x="410" y="42"/>
                  </a:lnTo>
                  <a:lnTo>
                    <a:pt x="402" y="42"/>
                  </a:lnTo>
                  <a:lnTo>
                    <a:pt x="396" y="42"/>
                  </a:lnTo>
                  <a:lnTo>
                    <a:pt x="388" y="42"/>
                  </a:lnTo>
                  <a:lnTo>
                    <a:pt x="384" y="44"/>
                  </a:lnTo>
                  <a:lnTo>
                    <a:pt x="378" y="44"/>
                  </a:lnTo>
                  <a:lnTo>
                    <a:pt x="372" y="44"/>
                  </a:lnTo>
                  <a:lnTo>
                    <a:pt x="364" y="46"/>
                  </a:lnTo>
                  <a:lnTo>
                    <a:pt x="358" y="50"/>
                  </a:lnTo>
                  <a:lnTo>
                    <a:pt x="352" y="48"/>
                  </a:lnTo>
                  <a:lnTo>
                    <a:pt x="346" y="50"/>
                  </a:lnTo>
                  <a:lnTo>
                    <a:pt x="352" y="50"/>
                  </a:lnTo>
                  <a:lnTo>
                    <a:pt x="346" y="52"/>
                  </a:lnTo>
                  <a:lnTo>
                    <a:pt x="340" y="54"/>
                  </a:lnTo>
                  <a:lnTo>
                    <a:pt x="334" y="50"/>
                  </a:lnTo>
                  <a:lnTo>
                    <a:pt x="328" y="50"/>
                  </a:lnTo>
                  <a:lnTo>
                    <a:pt x="322" y="50"/>
                  </a:lnTo>
                  <a:lnTo>
                    <a:pt x="320" y="50"/>
                  </a:lnTo>
                  <a:lnTo>
                    <a:pt x="316" y="50"/>
                  </a:lnTo>
                  <a:lnTo>
                    <a:pt x="310" y="50"/>
                  </a:lnTo>
                  <a:lnTo>
                    <a:pt x="304" y="50"/>
                  </a:lnTo>
                  <a:lnTo>
                    <a:pt x="298" y="52"/>
                  </a:lnTo>
                  <a:lnTo>
                    <a:pt x="290" y="52"/>
                  </a:lnTo>
                  <a:lnTo>
                    <a:pt x="286" y="52"/>
                  </a:lnTo>
                  <a:lnTo>
                    <a:pt x="278" y="52"/>
                  </a:lnTo>
                  <a:lnTo>
                    <a:pt x="272" y="56"/>
                  </a:lnTo>
                  <a:lnTo>
                    <a:pt x="264" y="56"/>
                  </a:lnTo>
                  <a:lnTo>
                    <a:pt x="258" y="56"/>
                  </a:lnTo>
                  <a:lnTo>
                    <a:pt x="252" y="56"/>
                  </a:lnTo>
                  <a:lnTo>
                    <a:pt x="246" y="58"/>
                  </a:lnTo>
                  <a:lnTo>
                    <a:pt x="240" y="60"/>
                  </a:lnTo>
                  <a:lnTo>
                    <a:pt x="232" y="62"/>
                  </a:lnTo>
                  <a:lnTo>
                    <a:pt x="234" y="62"/>
                  </a:lnTo>
                  <a:lnTo>
                    <a:pt x="240" y="62"/>
                  </a:lnTo>
                  <a:lnTo>
                    <a:pt x="246" y="66"/>
                  </a:lnTo>
                  <a:lnTo>
                    <a:pt x="254" y="66"/>
                  </a:lnTo>
                  <a:lnTo>
                    <a:pt x="260" y="66"/>
                  </a:lnTo>
                  <a:lnTo>
                    <a:pt x="266" y="62"/>
                  </a:lnTo>
                  <a:lnTo>
                    <a:pt x="272" y="62"/>
                  </a:lnTo>
                  <a:lnTo>
                    <a:pt x="280" y="60"/>
                  </a:lnTo>
                  <a:lnTo>
                    <a:pt x="286" y="60"/>
                  </a:lnTo>
                  <a:lnTo>
                    <a:pt x="292" y="60"/>
                  </a:lnTo>
                  <a:lnTo>
                    <a:pt x="298" y="58"/>
                  </a:lnTo>
                  <a:lnTo>
                    <a:pt x="304" y="62"/>
                  </a:lnTo>
                  <a:lnTo>
                    <a:pt x="306" y="62"/>
                  </a:lnTo>
                  <a:lnTo>
                    <a:pt x="314" y="62"/>
                  </a:lnTo>
                  <a:lnTo>
                    <a:pt x="320" y="62"/>
                  </a:lnTo>
                  <a:lnTo>
                    <a:pt x="314" y="62"/>
                  </a:lnTo>
                  <a:lnTo>
                    <a:pt x="308" y="62"/>
                  </a:lnTo>
                  <a:lnTo>
                    <a:pt x="302" y="64"/>
                  </a:lnTo>
                  <a:lnTo>
                    <a:pt x="298" y="64"/>
                  </a:lnTo>
                  <a:lnTo>
                    <a:pt x="292" y="66"/>
                  </a:lnTo>
                  <a:lnTo>
                    <a:pt x="286" y="66"/>
                  </a:lnTo>
                  <a:lnTo>
                    <a:pt x="278" y="66"/>
                  </a:lnTo>
                  <a:lnTo>
                    <a:pt x="272" y="68"/>
                  </a:lnTo>
                  <a:lnTo>
                    <a:pt x="266" y="70"/>
                  </a:lnTo>
                  <a:lnTo>
                    <a:pt x="272" y="74"/>
                  </a:lnTo>
                  <a:lnTo>
                    <a:pt x="278" y="72"/>
                  </a:lnTo>
                  <a:lnTo>
                    <a:pt x="284" y="72"/>
                  </a:lnTo>
                  <a:lnTo>
                    <a:pt x="292" y="70"/>
                  </a:lnTo>
                  <a:lnTo>
                    <a:pt x="296" y="70"/>
                  </a:lnTo>
                  <a:lnTo>
                    <a:pt x="302" y="70"/>
                  </a:lnTo>
                  <a:lnTo>
                    <a:pt x="308" y="68"/>
                  </a:lnTo>
                  <a:lnTo>
                    <a:pt x="314" y="68"/>
                  </a:lnTo>
                  <a:lnTo>
                    <a:pt x="322" y="68"/>
                  </a:lnTo>
                  <a:lnTo>
                    <a:pt x="328" y="66"/>
                  </a:lnTo>
                  <a:lnTo>
                    <a:pt x="334" y="66"/>
                  </a:lnTo>
                  <a:lnTo>
                    <a:pt x="340" y="66"/>
                  </a:lnTo>
                  <a:lnTo>
                    <a:pt x="348" y="66"/>
                  </a:lnTo>
                  <a:lnTo>
                    <a:pt x="354" y="64"/>
                  </a:lnTo>
                  <a:lnTo>
                    <a:pt x="362" y="64"/>
                  </a:lnTo>
                  <a:lnTo>
                    <a:pt x="368" y="66"/>
                  </a:lnTo>
                  <a:lnTo>
                    <a:pt x="376" y="64"/>
                  </a:lnTo>
                  <a:lnTo>
                    <a:pt x="380" y="66"/>
                  </a:lnTo>
                  <a:lnTo>
                    <a:pt x="388" y="66"/>
                  </a:lnTo>
                  <a:lnTo>
                    <a:pt x="394" y="68"/>
                  </a:lnTo>
                  <a:lnTo>
                    <a:pt x="388" y="66"/>
                  </a:lnTo>
                  <a:lnTo>
                    <a:pt x="380" y="66"/>
                  </a:lnTo>
                  <a:lnTo>
                    <a:pt x="376" y="66"/>
                  </a:lnTo>
                  <a:lnTo>
                    <a:pt x="368" y="66"/>
                  </a:lnTo>
                  <a:lnTo>
                    <a:pt x="362" y="66"/>
                  </a:lnTo>
                  <a:lnTo>
                    <a:pt x="354" y="66"/>
                  </a:lnTo>
                  <a:lnTo>
                    <a:pt x="346" y="66"/>
                  </a:lnTo>
                  <a:lnTo>
                    <a:pt x="340" y="68"/>
                  </a:lnTo>
                  <a:lnTo>
                    <a:pt x="334" y="70"/>
                  </a:lnTo>
                  <a:lnTo>
                    <a:pt x="328" y="70"/>
                  </a:lnTo>
                  <a:lnTo>
                    <a:pt x="322" y="70"/>
                  </a:lnTo>
                  <a:lnTo>
                    <a:pt x="316" y="72"/>
                  </a:lnTo>
                  <a:lnTo>
                    <a:pt x="308" y="72"/>
                  </a:lnTo>
                  <a:lnTo>
                    <a:pt x="302" y="74"/>
                  </a:lnTo>
                  <a:lnTo>
                    <a:pt x="296" y="74"/>
                  </a:lnTo>
                  <a:lnTo>
                    <a:pt x="288" y="76"/>
                  </a:lnTo>
                  <a:lnTo>
                    <a:pt x="294" y="76"/>
                  </a:lnTo>
                  <a:lnTo>
                    <a:pt x="300" y="76"/>
                  </a:lnTo>
                  <a:lnTo>
                    <a:pt x="308" y="78"/>
                  </a:lnTo>
                  <a:lnTo>
                    <a:pt x="314" y="78"/>
                  </a:lnTo>
                  <a:lnTo>
                    <a:pt x="320" y="78"/>
                  </a:lnTo>
                  <a:lnTo>
                    <a:pt x="314" y="78"/>
                  </a:lnTo>
                  <a:lnTo>
                    <a:pt x="308" y="80"/>
                  </a:lnTo>
                  <a:lnTo>
                    <a:pt x="300" y="80"/>
                  </a:lnTo>
                  <a:lnTo>
                    <a:pt x="294" y="80"/>
                  </a:lnTo>
                  <a:lnTo>
                    <a:pt x="288" y="78"/>
                  </a:lnTo>
                  <a:lnTo>
                    <a:pt x="282" y="78"/>
                  </a:lnTo>
                  <a:lnTo>
                    <a:pt x="276" y="78"/>
                  </a:lnTo>
                  <a:lnTo>
                    <a:pt x="270" y="80"/>
                  </a:lnTo>
                  <a:lnTo>
                    <a:pt x="264" y="82"/>
                  </a:lnTo>
                  <a:lnTo>
                    <a:pt x="268" y="88"/>
                  </a:lnTo>
                  <a:lnTo>
                    <a:pt x="270" y="88"/>
                  </a:lnTo>
                  <a:lnTo>
                    <a:pt x="276" y="88"/>
                  </a:lnTo>
                  <a:lnTo>
                    <a:pt x="282" y="88"/>
                  </a:lnTo>
                  <a:lnTo>
                    <a:pt x="288" y="88"/>
                  </a:lnTo>
                  <a:lnTo>
                    <a:pt x="294" y="88"/>
                  </a:lnTo>
                  <a:lnTo>
                    <a:pt x="302" y="88"/>
                  </a:lnTo>
                  <a:lnTo>
                    <a:pt x="308" y="86"/>
                  </a:lnTo>
                  <a:lnTo>
                    <a:pt x="316" y="86"/>
                  </a:lnTo>
                  <a:lnTo>
                    <a:pt x="322" y="86"/>
                  </a:lnTo>
                  <a:lnTo>
                    <a:pt x="328" y="86"/>
                  </a:lnTo>
                  <a:lnTo>
                    <a:pt x="336" y="86"/>
                  </a:lnTo>
                  <a:lnTo>
                    <a:pt x="342" y="86"/>
                  </a:lnTo>
                  <a:lnTo>
                    <a:pt x="348" y="86"/>
                  </a:lnTo>
                  <a:lnTo>
                    <a:pt x="354" y="86"/>
                  </a:lnTo>
                  <a:lnTo>
                    <a:pt x="360" y="86"/>
                  </a:lnTo>
                  <a:lnTo>
                    <a:pt x="368" y="86"/>
                  </a:lnTo>
                  <a:lnTo>
                    <a:pt x="374" y="86"/>
                  </a:lnTo>
                  <a:lnTo>
                    <a:pt x="382" y="86"/>
                  </a:lnTo>
                  <a:lnTo>
                    <a:pt x="388" y="84"/>
                  </a:lnTo>
                  <a:lnTo>
                    <a:pt x="396" y="84"/>
                  </a:lnTo>
                  <a:lnTo>
                    <a:pt x="402" y="84"/>
                  </a:lnTo>
                  <a:lnTo>
                    <a:pt x="408" y="84"/>
                  </a:lnTo>
                  <a:lnTo>
                    <a:pt x="414" y="82"/>
                  </a:lnTo>
                  <a:lnTo>
                    <a:pt x="420" y="80"/>
                  </a:lnTo>
                  <a:lnTo>
                    <a:pt x="426" y="80"/>
                  </a:lnTo>
                  <a:lnTo>
                    <a:pt x="432" y="78"/>
                  </a:lnTo>
                  <a:lnTo>
                    <a:pt x="438" y="78"/>
                  </a:lnTo>
                  <a:lnTo>
                    <a:pt x="446" y="78"/>
                  </a:lnTo>
                  <a:lnTo>
                    <a:pt x="454" y="78"/>
                  </a:lnTo>
                  <a:lnTo>
                    <a:pt x="460" y="76"/>
                  </a:lnTo>
                  <a:lnTo>
                    <a:pt x="466" y="76"/>
                  </a:lnTo>
                  <a:lnTo>
                    <a:pt x="472" y="76"/>
                  </a:lnTo>
                  <a:lnTo>
                    <a:pt x="478" y="76"/>
                  </a:lnTo>
                  <a:lnTo>
                    <a:pt x="472" y="78"/>
                  </a:lnTo>
                  <a:lnTo>
                    <a:pt x="468" y="78"/>
                  </a:lnTo>
                  <a:lnTo>
                    <a:pt x="460" y="78"/>
                  </a:lnTo>
                  <a:lnTo>
                    <a:pt x="454" y="80"/>
                  </a:lnTo>
                  <a:lnTo>
                    <a:pt x="446" y="80"/>
                  </a:lnTo>
                  <a:lnTo>
                    <a:pt x="440" y="82"/>
                  </a:lnTo>
                  <a:lnTo>
                    <a:pt x="434" y="82"/>
                  </a:lnTo>
                  <a:lnTo>
                    <a:pt x="428" y="84"/>
                  </a:lnTo>
                  <a:lnTo>
                    <a:pt x="422" y="86"/>
                  </a:lnTo>
                  <a:lnTo>
                    <a:pt x="416" y="86"/>
                  </a:lnTo>
                  <a:lnTo>
                    <a:pt x="408" y="86"/>
                  </a:lnTo>
                  <a:lnTo>
                    <a:pt x="400" y="88"/>
                  </a:lnTo>
                  <a:lnTo>
                    <a:pt x="394" y="88"/>
                  </a:lnTo>
                  <a:lnTo>
                    <a:pt x="388" y="88"/>
                  </a:lnTo>
                  <a:lnTo>
                    <a:pt x="380" y="88"/>
                  </a:lnTo>
                  <a:lnTo>
                    <a:pt x="376" y="90"/>
                  </a:lnTo>
                  <a:lnTo>
                    <a:pt x="368" y="90"/>
                  </a:lnTo>
                  <a:lnTo>
                    <a:pt x="362" y="90"/>
                  </a:lnTo>
                  <a:lnTo>
                    <a:pt x="356" y="90"/>
                  </a:lnTo>
                  <a:lnTo>
                    <a:pt x="350" y="90"/>
                  </a:lnTo>
                  <a:lnTo>
                    <a:pt x="344" y="88"/>
                  </a:lnTo>
                  <a:lnTo>
                    <a:pt x="338" y="88"/>
                  </a:lnTo>
                  <a:lnTo>
                    <a:pt x="330" y="88"/>
                  </a:lnTo>
                  <a:lnTo>
                    <a:pt x="324" y="88"/>
                  </a:lnTo>
                  <a:lnTo>
                    <a:pt x="316" y="90"/>
                  </a:lnTo>
                  <a:lnTo>
                    <a:pt x="310" y="90"/>
                  </a:lnTo>
                  <a:lnTo>
                    <a:pt x="302" y="90"/>
                  </a:lnTo>
                  <a:lnTo>
                    <a:pt x="296" y="90"/>
                  </a:lnTo>
                  <a:lnTo>
                    <a:pt x="290" y="92"/>
                  </a:lnTo>
                  <a:lnTo>
                    <a:pt x="282" y="94"/>
                  </a:lnTo>
                  <a:lnTo>
                    <a:pt x="288" y="96"/>
                  </a:lnTo>
                  <a:lnTo>
                    <a:pt x="294" y="98"/>
                  </a:lnTo>
                  <a:lnTo>
                    <a:pt x="300" y="98"/>
                  </a:lnTo>
                  <a:lnTo>
                    <a:pt x="306" y="100"/>
                  </a:lnTo>
                  <a:lnTo>
                    <a:pt x="312" y="102"/>
                  </a:lnTo>
                  <a:lnTo>
                    <a:pt x="318" y="104"/>
                  </a:lnTo>
                  <a:lnTo>
                    <a:pt x="324" y="104"/>
                  </a:lnTo>
                  <a:lnTo>
                    <a:pt x="330" y="104"/>
                  </a:lnTo>
                  <a:lnTo>
                    <a:pt x="336" y="106"/>
                  </a:lnTo>
                  <a:lnTo>
                    <a:pt x="342" y="106"/>
                  </a:lnTo>
                  <a:lnTo>
                    <a:pt x="350" y="104"/>
                  </a:lnTo>
                  <a:lnTo>
                    <a:pt x="356" y="104"/>
                  </a:lnTo>
                  <a:lnTo>
                    <a:pt x="362" y="100"/>
                  </a:lnTo>
                  <a:lnTo>
                    <a:pt x="368" y="100"/>
                  </a:lnTo>
                  <a:lnTo>
                    <a:pt x="374" y="98"/>
                  </a:lnTo>
                  <a:lnTo>
                    <a:pt x="380" y="96"/>
                  </a:lnTo>
                  <a:lnTo>
                    <a:pt x="386" y="96"/>
                  </a:lnTo>
                  <a:lnTo>
                    <a:pt x="392" y="94"/>
                  </a:lnTo>
                  <a:lnTo>
                    <a:pt x="398" y="92"/>
                  </a:lnTo>
                  <a:lnTo>
                    <a:pt x="406" y="90"/>
                  </a:lnTo>
                  <a:lnTo>
                    <a:pt x="412" y="90"/>
                  </a:lnTo>
                  <a:lnTo>
                    <a:pt x="418" y="88"/>
                  </a:lnTo>
                  <a:lnTo>
                    <a:pt x="426" y="88"/>
                  </a:lnTo>
                  <a:lnTo>
                    <a:pt x="430" y="86"/>
                  </a:lnTo>
                  <a:lnTo>
                    <a:pt x="438" y="86"/>
                  </a:lnTo>
                  <a:lnTo>
                    <a:pt x="444" y="86"/>
                  </a:lnTo>
                  <a:lnTo>
                    <a:pt x="452" y="86"/>
                  </a:lnTo>
                  <a:lnTo>
                    <a:pt x="458" y="86"/>
                  </a:lnTo>
                  <a:lnTo>
                    <a:pt x="466" y="86"/>
                  </a:lnTo>
                  <a:lnTo>
                    <a:pt x="472" y="86"/>
                  </a:lnTo>
                  <a:lnTo>
                    <a:pt x="478" y="86"/>
                  </a:lnTo>
                  <a:lnTo>
                    <a:pt x="486" y="84"/>
                  </a:lnTo>
                  <a:lnTo>
                    <a:pt x="490" y="84"/>
                  </a:lnTo>
                  <a:lnTo>
                    <a:pt x="498" y="84"/>
                  </a:lnTo>
                  <a:lnTo>
                    <a:pt x="504" y="84"/>
                  </a:lnTo>
                  <a:lnTo>
                    <a:pt x="512" y="84"/>
                  </a:lnTo>
                  <a:lnTo>
                    <a:pt x="520" y="82"/>
                  </a:lnTo>
                  <a:lnTo>
                    <a:pt x="526" y="82"/>
                  </a:lnTo>
                  <a:lnTo>
                    <a:pt x="532" y="82"/>
                  </a:lnTo>
                  <a:lnTo>
                    <a:pt x="538" y="82"/>
                  </a:lnTo>
                  <a:lnTo>
                    <a:pt x="544" y="82"/>
                  </a:lnTo>
                  <a:lnTo>
                    <a:pt x="550" y="82"/>
                  </a:lnTo>
                  <a:lnTo>
                    <a:pt x="556" y="82"/>
                  </a:lnTo>
                  <a:lnTo>
                    <a:pt x="550" y="82"/>
                  </a:lnTo>
                  <a:lnTo>
                    <a:pt x="544" y="84"/>
                  </a:lnTo>
                  <a:lnTo>
                    <a:pt x="538" y="84"/>
                  </a:lnTo>
                  <a:lnTo>
                    <a:pt x="530" y="84"/>
                  </a:lnTo>
                  <a:lnTo>
                    <a:pt x="524" y="84"/>
                  </a:lnTo>
                  <a:lnTo>
                    <a:pt x="518" y="84"/>
                  </a:lnTo>
                  <a:lnTo>
                    <a:pt x="512" y="86"/>
                  </a:lnTo>
                  <a:lnTo>
                    <a:pt x="506" y="86"/>
                  </a:lnTo>
                  <a:lnTo>
                    <a:pt x="498" y="86"/>
                  </a:lnTo>
                  <a:lnTo>
                    <a:pt x="492" y="86"/>
                  </a:lnTo>
                  <a:lnTo>
                    <a:pt x="486" y="86"/>
                  </a:lnTo>
                  <a:lnTo>
                    <a:pt x="478" y="86"/>
                  </a:lnTo>
                  <a:lnTo>
                    <a:pt x="470" y="86"/>
                  </a:lnTo>
                  <a:lnTo>
                    <a:pt x="464" y="88"/>
                  </a:lnTo>
                  <a:lnTo>
                    <a:pt x="458" y="86"/>
                  </a:lnTo>
                  <a:lnTo>
                    <a:pt x="452" y="88"/>
                  </a:lnTo>
                  <a:lnTo>
                    <a:pt x="446" y="88"/>
                  </a:lnTo>
                  <a:lnTo>
                    <a:pt x="440" y="90"/>
                  </a:lnTo>
                  <a:lnTo>
                    <a:pt x="434" y="90"/>
                  </a:lnTo>
                  <a:lnTo>
                    <a:pt x="426" y="90"/>
                  </a:lnTo>
                  <a:lnTo>
                    <a:pt x="420" y="92"/>
                  </a:lnTo>
                  <a:lnTo>
                    <a:pt x="414" y="94"/>
                  </a:lnTo>
                  <a:lnTo>
                    <a:pt x="408" y="96"/>
                  </a:lnTo>
                  <a:lnTo>
                    <a:pt x="400" y="96"/>
                  </a:lnTo>
                  <a:lnTo>
                    <a:pt x="394" y="98"/>
                  </a:lnTo>
                  <a:lnTo>
                    <a:pt x="388" y="100"/>
                  </a:lnTo>
                  <a:lnTo>
                    <a:pt x="382" y="100"/>
                  </a:lnTo>
                  <a:lnTo>
                    <a:pt x="376" y="102"/>
                  </a:lnTo>
                  <a:lnTo>
                    <a:pt x="370" y="108"/>
                  </a:lnTo>
                  <a:lnTo>
                    <a:pt x="376" y="108"/>
                  </a:lnTo>
                  <a:lnTo>
                    <a:pt x="382" y="110"/>
                  </a:lnTo>
                  <a:lnTo>
                    <a:pt x="388" y="110"/>
                  </a:lnTo>
                  <a:lnTo>
                    <a:pt x="394" y="108"/>
                  </a:lnTo>
                  <a:lnTo>
                    <a:pt x="400" y="106"/>
                  </a:lnTo>
                  <a:lnTo>
                    <a:pt x="406" y="106"/>
                  </a:lnTo>
                  <a:lnTo>
                    <a:pt x="400" y="110"/>
                  </a:lnTo>
                  <a:lnTo>
                    <a:pt x="406" y="110"/>
                  </a:lnTo>
                  <a:lnTo>
                    <a:pt x="412" y="110"/>
                  </a:lnTo>
                  <a:lnTo>
                    <a:pt x="418" y="110"/>
                  </a:lnTo>
                  <a:lnTo>
                    <a:pt x="426" y="110"/>
                  </a:lnTo>
                  <a:lnTo>
                    <a:pt x="432" y="110"/>
                  </a:lnTo>
                  <a:lnTo>
                    <a:pt x="438" y="110"/>
                  </a:lnTo>
                  <a:lnTo>
                    <a:pt x="444" y="110"/>
                  </a:lnTo>
                  <a:lnTo>
                    <a:pt x="452" y="110"/>
                  </a:lnTo>
                  <a:lnTo>
                    <a:pt x="458" y="110"/>
                  </a:lnTo>
                  <a:lnTo>
                    <a:pt x="464" y="110"/>
                  </a:lnTo>
                  <a:lnTo>
                    <a:pt x="470" y="108"/>
                  </a:lnTo>
                  <a:lnTo>
                    <a:pt x="476" y="108"/>
                  </a:lnTo>
                  <a:lnTo>
                    <a:pt x="482" y="100"/>
                  </a:lnTo>
                  <a:lnTo>
                    <a:pt x="488" y="100"/>
                  </a:lnTo>
                  <a:lnTo>
                    <a:pt x="494" y="100"/>
                  </a:lnTo>
                  <a:lnTo>
                    <a:pt x="500" y="98"/>
                  </a:lnTo>
                  <a:lnTo>
                    <a:pt x="506" y="96"/>
                  </a:lnTo>
                  <a:lnTo>
                    <a:pt x="512" y="98"/>
                  </a:lnTo>
                  <a:lnTo>
                    <a:pt x="506" y="98"/>
                  </a:lnTo>
                  <a:lnTo>
                    <a:pt x="500" y="100"/>
                  </a:lnTo>
                  <a:lnTo>
                    <a:pt x="494" y="102"/>
                  </a:lnTo>
                  <a:lnTo>
                    <a:pt x="500" y="102"/>
                  </a:lnTo>
                  <a:lnTo>
                    <a:pt x="508" y="102"/>
                  </a:lnTo>
                  <a:lnTo>
                    <a:pt x="514" y="102"/>
                  </a:lnTo>
                  <a:lnTo>
                    <a:pt x="520" y="100"/>
                  </a:lnTo>
                  <a:lnTo>
                    <a:pt x="526" y="100"/>
                  </a:lnTo>
                  <a:lnTo>
                    <a:pt x="534" y="100"/>
                  </a:lnTo>
                  <a:lnTo>
                    <a:pt x="540" y="98"/>
                  </a:lnTo>
                  <a:lnTo>
                    <a:pt x="546" y="98"/>
                  </a:lnTo>
                  <a:lnTo>
                    <a:pt x="552" y="98"/>
                  </a:lnTo>
                  <a:lnTo>
                    <a:pt x="558" y="96"/>
                  </a:lnTo>
                  <a:lnTo>
                    <a:pt x="564" y="98"/>
                  </a:lnTo>
                  <a:lnTo>
                    <a:pt x="558" y="98"/>
                  </a:lnTo>
                  <a:lnTo>
                    <a:pt x="552" y="100"/>
                  </a:lnTo>
                  <a:lnTo>
                    <a:pt x="546" y="100"/>
                  </a:lnTo>
                  <a:lnTo>
                    <a:pt x="538" y="102"/>
                  </a:lnTo>
                  <a:lnTo>
                    <a:pt x="532" y="102"/>
                  </a:lnTo>
                  <a:lnTo>
                    <a:pt x="524" y="102"/>
                  </a:lnTo>
                  <a:lnTo>
                    <a:pt x="518" y="104"/>
                  </a:lnTo>
                  <a:lnTo>
                    <a:pt x="510" y="104"/>
                  </a:lnTo>
                  <a:lnTo>
                    <a:pt x="504" y="106"/>
                  </a:lnTo>
                  <a:lnTo>
                    <a:pt x="498" y="110"/>
                  </a:lnTo>
                  <a:lnTo>
                    <a:pt x="504" y="110"/>
                  </a:lnTo>
                  <a:lnTo>
                    <a:pt x="510" y="110"/>
                  </a:lnTo>
                  <a:lnTo>
                    <a:pt x="516" y="108"/>
                  </a:lnTo>
                  <a:lnTo>
                    <a:pt x="524" y="108"/>
                  </a:lnTo>
                  <a:lnTo>
                    <a:pt x="528" y="108"/>
                  </a:lnTo>
                  <a:lnTo>
                    <a:pt x="536" y="108"/>
                  </a:lnTo>
                  <a:lnTo>
                    <a:pt x="544" y="108"/>
                  </a:lnTo>
                  <a:lnTo>
                    <a:pt x="550" y="108"/>
                  </a:lnTo>
                  <a:lnTo>
                    <a:pt x="558" y="106"/>
                  </a:lnTo>
                  <a:lnTo>
                    <a:pt x="564" y="106"/>
                  </a:lnTo>
                  <a:lnTo>
                    <a:pt x="570" y="106"/>
                  </a:lnTo>
                  <a:lnTo>
                    <a:pt x="578" y="104"/>
                  </a:lnTo>
                  <a:lnTo>
                    <a:pt x="584" y="104"/>
                  </a:lnTo>
                  <a:lnTo>
                    <a:pt x="590" y="104"/>
                  </a:lnTo>
                  <a:lnTo>
                    <a:pt x="596" y="104"/>
                  </a:lnTo>
                  <a:lnTo>
                    <a:pt x="602" y="102"/>
                  </a:lnTo>
                  <a:lnTo>
                    <a:pt x="608" y="102"/>
                  </a:lnTo>
                  <a:lnTo>
                    <a:pt x="616" y="100"/>
                  </a:lnTo>
                  <a:lnTo>
                    <a:pt x="622" y="100"/>
                  </a:lnTo>
                  <a:lnTo>
                    <a:pt x="628" y="100"/>
                  </a:lnTo>
                  <a:lnTo>
                    <a:pt x="636" y="98"/>
                  </a:lnTo>
                  <a:lnTo>
                    <a:pt x="642" y="98"/>
                  </a:lnTo>
                  <a:lnTo>
                    <a:pt x="648" y="96"/>
                  </a:lnTo>
                  <a:lnTo>
                    <a:pt x="654" y="94"/>
                  </a:lnTo>
                  <a:lnTo>
                    <a:pt x="660" y="92"/>
                  </a:lnTo>
                  <a:lnTo>
                    <a:pt x="666" y="88"/>
                  </a:lnTo>
                  <a:lnTo>
                    <a:pt x="672" y="86"/>
                  </a:lnTo>
                  <a:lnTo>
                    <a:pt x="680" y="84"/>
                  </a:lnTo>
                  <a:lnTo>
                    <a:pt x="678" y="84"/>
                  </a:lnTo>
                  <a:lnTo>
                    <a:pt x="672" y="82"/>
                  </a:lnTo>
                  <a:lnTo>
                    <a:pt x="678" y="82"/>
                  </a:lnTo>
                  <a:lnTo>
                    <a:pt x="684" y="84"/>
                  </a:lnTo>
                  <a:lnTo>
                    <a:pt x="690" y="84"/>
                  </a:lnTo>
                  <a:lnTo>
                    <a:pt x="698" y="82"/>
                  </a:lnTo>
                  <a:lnTo>
                    <a:pt x="704" y="80"/>
                  </a:lnTo>
                  <a:lnTo>
                    <a:pt x="710" y="78"/>
                  </a:lnTo>
                  <a:lnTo>
                    <a:pt x="716" y="78"/>
                  </a:lnTo>
                  <a:lnTo>
                    <a:pt x="722" y="76"/>
                  </a:lnTo>
                  <a:lnTo>
                    <a:pt x="728" y="76"/>
                  </a:lnTo>
                  <a:lnTo>
                    <a:pt x="736" y="74"/>
                  </a:lnTo>
                  <a:lnTo>
                    <a:pt x="726" y="74"/>
                  </a:lnTo>
                  <a:lnTo>
                    <a:pt x="732" y="74"/>
                  </a:lnTo>
                  <a:lnTo>
                    <a:pt x="740" y="74"/>
                  </a:lnTo>
                  <a:lnTo>
                    <a:pt x="746" y="72"/>
                  </a:lnTo>
                  <a:lnTo>
                    <a:pt x="752" y="72"/>
                  </a:lnTo>
                  <a:lnTo>
                    <a:pt x="758" y="72"/>
                  </a:lnTo>
                  <a:lnTo>
                    <a:pt x="766" y="70"/>
                  </a:lnTo>
                  <a:lnTo>
                    <a:pt x="774" y="70"/>
                  </a:lnTo>
                  <a:lnTo>
                    <a:pt x="766" y="72"/>
                  </a:lnTo>
                  <a:lnTo>
                    <a:pt x="760" y="74"/>
                  </a:lnTo>
                  <a:lnTo>
                    <a:pt x="752" y="74"/>
                  </a:lnTo>
                  <a:lnTo>
                    <a:pt x="748" y="74"/>
                  </a:lnTo>
                  <a:lnTo>
                    <a:pt x="742" y="74"/>
                  </a:lnTo>
                  <a:lnTo>
                    <a:pt x="736" y="76"/>
                  </a:lnTo>
                  <a:lnTo>
                    <a:pt x="728" y="76"/>
                  </a:lnTo>
                  <a:lnTo>
                    <a:pt x="722" y="78"/>
                  </a:lnTo>
                  <a:lnTo>
                    <a:pt x="730" y="78"/>
                  </a:lnTo>
                  <a:lnTo>
                    <a:pt x="724" y="80"/>
                  </a:lnTo>
                  <a:lnTo>
                    <a:pt x="718" y="80"/>
                  </a:lnTo>
                  <a:lnTo>
                    <a:pt x="712" y="82"/>
                  </a:lnTo>
                  <a:lnTo>
                    <a:pt x="704" y="84"/>
                  </a:lnTo>
                  <a:lnTo>
                    <a:pt x="698" y="86"/>
                  </a:lnTo>
                  <a:lnTo>
                    <a:pt x="692" y="86"/>
                  </a:lnTo>
                  <a:lnTo>
                    <a:pt x="686" y="88"/>
                  </a:lnTo>
                  <a:lnTo>
                    <a:pt x="680" y="90"/>
                  </a:lnTo>
                  <a:lnTo>
                    <a:pt x="674" y="96"/>
                  </a:lnTo>
                  <a:lnTo>
                    <a:pt x="682" y="96"/>
                  </a:lnTo>
                  <a:lnTo>
                    <a:pt x="688" y="94"/>
                  </a:lnTo>
                  <a:lnTo>
                    <a:pt x="694" y="94"/>
                  </a:lnTo>
                  <a:lnTo>
                    <a:pt x="702" y="94"/>
                  </a:lnTo>
                  <a:lnTo>
                    <a:pt x="708" y="94"/>
                  </a:lnTo>
                  <a:lnTo>
                    <a:pt x="714" y="94"/>
                  </a:lnTo>
                  <a:lnTo>
                    <a:pt x="720" y="94"/>
                  </a:lnTo>
                  <a:lnTo>
                    <a:pt x="726" y="94"/>
                  </a:lnTo>
                  <a:lnTo>
                    <a:pt x="732" y="94"/>
                  </a:lnTo>
                  <a:lnTo>
                    <a:pt x="740" y="94"/>
                  </a:lnTo>
                  <a:lnTo>
                    <a:pt x="746" y="94"/>
                  </a:lnTo>
                  <a:lnTo>
                    <a:pt x="752" y="96"/>
                  </a:lnTo>
                  <a:lnTo>
                    <a:pt x="746" y="96"/>
                  </a:lnTo>
                  <a:lnTo>
                    <a:pt x="740" y="96"/>
                  </a:lnTo>
                  <a:lnTo>
                    <a:pt x="732" y="96"/>
                  </a:lnTo>
                  <a:lnTo>
                    <a:pt x="726" y="96"/>
                  </a:lnTo>
                  <a:lnTo>
                    <a:pt x="718" y="96"/>
                  </a:lnTo>
                  <a:lnTo>
                    <a:pt x="710" y="96"/>
                  </a:lnTo>
                  <a:lnTo>
                    <a:pt x="704" y="98"/>
                  </a:lnTo>
                  <a:lnTo>
                    <a:pt x="698" y="98"/>
                  </a:lnTo>
                  <a:lnTo>
                    <a:pt x="690" y="98"/>
                  </a:lnTo>
                  <a:lnTo>
                    <a:pt x="684" y="98"/>
                  </a:lnTo>
                  <a:lnTo>
                    <a:pt x="678" y="100"/>
                  </a:lnTo>
                  <a:lnTo>
                    <a:pt x="672" y="100"/>
                  </a:lnTo>
                  <a:lnTo>
                    <a:pt x="664" y="100"/>
                  </a:lnTo>
                  <a:lnTo>
                    <a:pt x="660" y="102"/>
                  </a:lnTo>
                  <a:lnTo>
                    <a:pt x="652" y="102"/>
                  </a:lnTo>
                  <a:lnTo>
                    <a:pt x="646" y="102"/>
                  </a:lnTo>
                  <a:lnTo>
                    <a:pt x="638" y="104"/>
                  </a:lnTo>
                  <a:lnTo>
                    <a:pt x="632" y="104"/>
                  </a:lnTo>
                  <a:lnTo>
                    <a:pt x="626" y="106"/>
                  </a:lnTo>
                  <a:lnTo>
                    <a:pt x="632" y="108"/>
                  </a:lnTo>
                  <a:lnTo>
                    <a:pt x="638" y="106"/>
                  </a:lnTo>
                  <a:lnTo>
                    <a:pt x="646" y="106"/>
                  </a:lnTo>
                  <a:lnTo>
                    <a:pt x="652" y="106"/>
                  </a:lnTo>
                  <a:lnTo>
                    <a:pt x="660" y="106"/>
                  </a:lnTo>
                  <a:lnTo>
                    <a:pt x="666" y="106"/>
                  </a:lnTo>
                  <a:lnTo>
                    <a:pt x="672" y="106"/>
                  </a:lnTo>
                  <a:lnTo>
                    <a:pt x="678" y="106"/>
                  </a:lnTo>
                  <a:lnTo>
                    <a:pt x="684" y="108"/>
                  </a:lnTo>
                  <a:lnTo>
                    <a:pt x="692" y="108"/>
                  </a:lnTo>
                  <a:lnTo>
                    <a:pt x="686" y="108"/>
                  </a:lnTo>
                  <a:lnTo>
                    <a:pt x="678" y="108"/>
                  </a:lnTo>
                  <a:lnTo>
                    <a:pt x="672" y="108"/>
                  </a:lnTo>
                  <a:lnTo>
                    <a:pt x="666" y="108"/>
                  </a:lnTo>
                  <a:lnTo>
                    <a:pt x="660" y="108"/>
                  </a:lnTo>
                  <a:lnTo>
                    <a:pt x="654" y="108"/>
                  </a:lnTo>
                  <a:lnTo>
                    <a:pt x="646" y="108"/>
                  </a:lnTo>
                  <a:lnTo>
                    <a:pt x="640" y="108"/>
                  </a:lnTo>
                  <a:lnTo>
                    <a:pt x="634" y="110"/>
                  </a:lnTo>
                  <a:lnTo>
                    <a:pt x="628" y="110"/>
                  </a:lnTo>
                  <a:lnTo>
                    <a:pt x="620" y="110"/>
                  </a:lnTo>
                  <a:lnTo>
                    <a:pt x="614" y="110"/>
                  </a:lnTo>
                  <a:lnTo>
                    <a:pt x="606" y="110"/>
                  </a:lnTo>
                  <a:lnTo>
                    <a:pt x="600" y="112"/>
                  </a:lnTo>
                  <a:lnTo>
                    <a:pt x="594" y="112"/>
                  </a:lnTo>
                  <a:lnTo>
                    <a:pt x="588" y="112"/>
                  </a:lnTo>
                  <a:lnTo>
                    <a:pt x="580" y="114"/>
                  </a:lnTo>
                  <a:lnTo>
                    <a:pt x="574" y="114"/>
                  </a:lnTo>
                  <a:lnTo>
                    <a:pt x="566" y="114"/>
                  </a:lnTo>
                  <a:lnTo>
                    <a:pt x="560" y="114"/>
                  </a:lnTo>
                  <a:lnTo>
                    <a:pt x="554" y="116"/>
                  </a:lnTo>
                  <a:lnTo>
                    <a:pt x="546" y="116"/>
                  </a:lnTo>
                  <a:lnTo>
                    <a:pt x="540" y="116"/>
                  </a:lnTo>
                  <a:lnTo>
                    <a:pt x="532" y="116"/>
                  </a:lnTo>
                  <a:lnTo>
                    <a:pt x="524" y="116"/>
                  </a:lnTo>
                  <a:lnTo>
                    <a:pt x="518" y="116"/>
                  </a:lnTo>
                  <a:lnTo>
                    <a:pt x="510" y="118"/>
                  </a:lnTo>
                  <a:lnTo>
                    <a:pt x="504" y="118"/>
                  </a:lnTo>
                  <a:lnTo>
                    <a:pt x="496" y="118"/>
                  </a:lnTo>
                  <a:lnTo>
                    <a:pt x="490" y="118"/>
                  </a:lnTo>
                  <a:lnTo>
                    <a:pt x="484" y="120"/>
                  </a:lnTo>
                  <a:lnTo>
                    <a:pt x="490" y="124"/>
                  </a:lnTo>
                  <a:lnTo>
                    <a:pt x="496" y="128"/>
                  </a:lnTo>
                  <a:lnTo>
                    <a:pt x="502" y="132"/>
                  </a:lnTo>
                  <a:lnTo>
                    <a:pt x="508" y="134"/>
                  </a:lnTo>
                  <a:lnTo>
                    <a:pt x="516" y="136"/>
                  </a:lnTo>
                  <a:lnTo>
                    <a:pt x="520" y="136"/>
                  </a:lnTo>
                  <a:lnTo>
                    <a:pt x="526" y="138"/>
                  </a:lnTo>
                  <a:lnTo>
                    <a:pt x="520" y="138"/>
                  </a:lnTo>
                  <a:lnTo>
                    <a:pt x="514" y="142"/>
                  </a:lnTo>
                  <a:lnTo>
                    <a:pt x="508" y="146"/>
                  </a:lnTo>
                  <a:lnTo>
                    <a:pt x="516" y="148"/>
                  </a:lnTo>
                  <a:lnTo>
                    <a:pt x="522" y="148"/>
                  </a:lnTo>
                  <a:lnTo>
                    <a:pt x="528" y="150"/>
                  </a:lnTo>
                  <a:lnTo>
                    <a:pt x="534" y="150"/>
                  </a:lnTo>
                  <a:lnTo>
                    <a:pt x="540" y="150"/>
                  </a:lnTo>
                  <a:lnTo>
                    <a:pt x="548" y="150"/>
                  </a:lnTo>
                  <a:lnTo>
                    <a:pt x="554" y="150"/>
                  </a:lnTo>
                  <a:lnTo>
                    <a:pt x="560" y="150"/>
                  </a:lnTo>
                  <a:lnTo>
                    <a:pt x="566" y="148"/>
                  </a:lnTo>
                  <a:lnTo>
                    <a:pt x="570" y="150"/>
                  </a:lnTo>
                  <a:lnTo>
                    <a:pt x="576" y="148"/>
                  </a:lnTo>
                  <a:lnTo>
                    <a:pt x="570" y="150"/>
                  </a:lnTo>
                  <a:lnTo>
                    <a:pt x="564" y="152"/>
                  </a:lnTo>
                  <a:lnTo>
                    <a:pt x="558" y="152"/>
                  </a:lnTo>
                  <a:lnTo>
                    <a:pt x="552" y="152"/>
                  </a:lnTo>
                  <a:lnTo>
                    <a:pt x="546" y="152"/>
                  </a:lnTo>
                  <a:lnTo>
                    <a:pt x="540" y="154"/>
                  </a:lnTo>
                  <a:lnTo>
                    <a:pt x="532" y="154"/>
                  </a:lnTo>
                  <a:lnTo>
                    <a:pt x="526" y="154"/>
                  </a:lnTo>
                  <a:lnTo>
                    <a:pt x="520" y="154"/>
                  </a:lnTo>
                  <a:lnTo>
                    <a:pt x="514" y="152"/>
                  </a:lnTo>
                  <a:lnTo>
                    <a:pt x="508" y="152"/>
                  </a:lnTo>
                  <a:lnTo>
                    <a:pt x="502" y="154"/>
                  </a:lnTo>
                  <a:lnTo>
                    <a:pt x="496" y="152"/>
                  </a:lnTo>
                  <a:lnTo>
                    <a:pt x="502" y="150"/>
                  </a:lnTo>
                  <a:lnTo>
                    <a:pt x="494" y="146"/>
                  </a:lnTo>
                  <a:lnTo>
                    <a:pt x="492" y="140"/>
                  </a:lnTo>
                  <a:lnTo>
                    <a:pt x="486" y="136"/>
                  </a:lnTo>
                  <a:lnTo>
                    <a:pt x="480" y="134"/>
                  </a:lnTo>
                  <a:lnTo>
                    <a:pt x="476" y="134"/>
                  </a:lnTo>
                  <a:lnTo>
                    <a:pt x="470" y="130"/>
                  </a:lnTo>
                  <a:lnTo>
                    <a:pt x="464" y="128"/>
                  </a:lnTo>
                  <a:lnTo>
                    <a:pt x="458" y="124"/>
                  </a:lnTo>
                  <a:lnTo>
                    <a:pt x="452" y="122"/>
                  </a:lnTo>
                  <a:lnTo>
                    <a:pt x="448" y="122"/>
                  </a:lnTo>
                  <a:lnTo>
                    <a:pt x="440" y="122"/>
                  </a:lnTo>
                  <a:lnTo>
                    <a:pt x="434" y="122"/>
                  </a:lnTo>
                  <a:lnTo>
                    <a:pt x="426" y="122"/>
                  </a:lnTo>
                  <a:lnTo>
                    <a:pt x="422" y="122"/>
                  </a:lnTo>
                  <a:lnTo>
                    <a:pt x="414" y="122"/>
                  </a:lnTo>
                  <a:lnTo>
                    <a:pt x="406" y="122"/>
                  </a:lnTo>
                  <a:lnTo>
                    <a:pt x="400" y="122"/>
                  </a:lnTo>
                  <a:lnTo>
                    <a:pt x="394" y="120"/>
                  </a:lnTo>
                  <a:lnTo>
                    <a:pt x="388" y="120"/>
                  </a:lnTo>
                  <a:lnTo>
                    <a:pt x="382" y="120"/>
                  </a:lnTo>
                  <a:lnTo>
                    <a:pt x="376" y="118"/>
                  </a:lnTo>
                  <a:lnTo>
                    <a:pt x="370" y="120"/>
                  </a:lnTo>
                  <a:lnTo>
                    <a:pt x="364" y="120"/>
                  </a:lnTo>
                  <a:lnTo>
                    <a:pt x="358" y="120"/>
                  </a:lnTo>
                  <a:lnTo>
                    <a:pt x="352" y="122"/>
                  </a:lnTo>
                  <a:lnTo>
                    <a:pt x="346" y="126"/>
                  </a:lnTo>
                  <a:lnTo>
                    <a:pt x="340" y="128"/>
                  </a:lnTo>
                  <a:lnTo>
                    <a:pt x="340" y="134"/>
                  </a:lnTo>
                  <a:lnTo>
                    <a:pt x="344" y="134"/>
                  </a:lnTo>
                  <a:lnTo>
                    <a:pt x="350" y="134"/>
                  </a:lnTo>
                  <a:lnTo>
                    <a:pt x="356" y="134"/>
                  </a:lnTo>
                  <a:lnTo>
                    <a:pt x="362" y="136"/>
                  </a:lnTo>
                  <a:lnTo>
                    <a:pt x="370" y="136"/>
                  </a:lnTo>
                  <a:lnTo>
                    <a:pt x="376" y="138"/>
                  </a:lnTo>
                  <a:lnTo>
                    <a:pt x="368" y="138"/>
                  </a:lnTo>
                  <a:lnTo>
                    <a:pt x="362" y="138"/>
                  </a:lnTo>
                  <a:lnTo>
                    <a:pt x="356" y="136"/>
                  </a:lnTo>
                  <a:lnTo>
                    <a:pt x="350" y="136"/>
                  </a:lnTo>
                  <a:lnTo>
                    <a:pt x="344" y="136"/>
                  </a:lnTo>
                  <a:lnTo>
                    <a:pt x="338" y="136"/>
                  </a:lnTo>
                  <a:lnTo>
                    <a:pt x="330" y="140"/>
                  </a:lnTo>
                  <a:lnTo>
                    <a:pt x="328" y="146"/>
                  </a:lnTo>
                  <a:lnTo>
                    <a:pt x="334" y="146"/>
                  </a:lnTo>
                  <a:lnTo>
                    <a:pt x="342" y="148"/>
                  </a:lnTo>
                  <a:lnTo>
                    <a:pt x="348" y="148"/>
                  </a:lnTo>
                  <a:lnTo>
                    <a:pt x="354" y="148"/>
                  </a:lnTo>
                  <a:lnTo>
                    <a:pt x="360" y="150"/>
                  </a:lnTo>
                  <a:lnTo>
                    <a:pt x="366" y="154"/>
                  </a:lnTo>
                  <a:lnTo>
                    <a:pt x="370" y="160"/>
                  </a:lnTo>
                  <a:lnTo>
                    <a:pt x="376" y="162"/>
                  </a:lnTo>
                  <a:lnTo>
                    <a:pt x="374" y="168"/>
                  </a:lnTo>
                  <a:lnTo>
                    <a:pt x="370" y="174"/>
                  </a:lnTo>
                  <a:lnTo>
                    <a:pt x="376" y="174"/>
                  </a:lnTo>
                  <a:lnTo>
                    <a:pt x="382" y="176"/>
                  </a:lnTo>
                  <a:lnTo>
                    <a:pt x="388" y="180"/>
                  </a:lnTo>
                  <a:lnTo>
                    <a:pt x="394" y="182"/>
                  </a:lnTo>
                  <a:lnTo>
                    <a:pt x="388" y="182"/>
                  </a:lnTo>
                  <a:lnTo>
                    <a:pt x="382" y="182"/>
                  </a:lnTo>
                  <a:lnTo>
                    <a:pt x="378" y="180"/>
                  </a:lnTo>
                  <a:lnTo>
                    <a:pt x="376" y="178"/>
                  </a:lnTo>
                  <a:lnTo>
                    <a:pt x="368" y="176"/>
                  </a:lnTo>
                  <a:lnTo>
                    <a:pt x="362" y="176"/>
                  </a:lnTo>
                  <a:lnTo>
                    <a:pt x="356" y="176"/>
                  </a:lnTo>
                  <a:lnTo>
                    <a:pt x="350" y="178"/>
                  </a:lnTo>
                  <a:lnTo>
                    <a:pt x="346" y="182"/>
                  </a:lnTo>
                  <a:lnTo>
                    <a:pt x="352" y="184"/>
                  </a:lnTo>
                  <a:lnTo>
                    <a:pt x="358" y="184"/>
                  </a:lnTo>
                  <a:lnTo>
                    <a:pt x="362" y="186"/>
                  </a:lnTo>
                  <a:lnTo>
                    <a:pt x="368" y="186"/>
                  </a:lnTo>
                  <a:lnTo>
                    <a:pt x="376" y="186"/>
                  </a:lnTo>
                  <a:lnTo>
                    <a:pt x="382" y="186"/>
                  </a:lnTo>
                  <a:lnTo>
                    <a:pt x="388" y="186"/>
                  </a:lnTo>
                  <a:lnTo>
                    <a:pt x="396" y="186"/>
                  </a:lnTo>
                  <a:lnTo>
                    <a:pt x="402" y="186"/>
                  </a:lnTo>
                  <a:lnTo>
                    <a:pt x="408" y="186"/>
                  </a:lnTo>
                  <a:lnTo>
                    <a:pt x="414" y="188"/>
                  </a:lnTo>
                  <a:lnTo>
                    <a:pt x="422" y="188"/>
                  </a:lnTo>
                  <a:lnTo>
                    <a:pt x="428" y="188"/>
                  </a:lnTo>
                  <a:lnTo>
                    <a:pt x="434" y="188"/>
                  </a:lnTo>
                  <a:lnTo>
                    <a:pt x="442" y="186"/>
                  </a:lnTo>
                  <a:lnTo>
                    <a:pt x="448" y="184"/>
                  </a:lnTo>
                  <a:lnTo>
                    <a:pt x="454" y="182"/>
                  </a:lnTo>
                  <a:lnTo>
                    <a:pt x="460" y="182"/>
                  </a:lnTo>
                  <a:lnTo>
                    <a:pt x="468" y="182"/>
                  </a:lnTo>
                  <a:lnTo>
                    <a:pt x="460" y="184"/>
                  </a:lnTo>
                  <a:lnTo>
                    <a:pt x="454" y="188"/>
                  </a:lnTo>
                  <a:lnTo>
                    <a:pt x="448" y="190"/>
                  </a:lnTo>
                  <a:lnTo>
                    <a:pt x="442" y="190"/>
                  </a:lnTo>
                  <a:lnTo>
                    <a:pt x="434" y="190"/>
                  </a:lnTo>
                  <a:lnTo>
                    <a:pt x="428" y="192"/>
                  </a:lnTo>
                  <a:lnTo>
                    <a:pt x="422" y="192"/>
                  </a:lnTo>
                  <a:lnTo>
                    <a:pt x="416" y="192"/>
                  </a:lnTo>
                  <a:lnTo>
                    <a:pt x="410" y="190"/>
                  </a:lnTo>
                  <a:lnTo>
                    <a:pt x="402" y="190"/>
                  </a:lnTo>
                  <a:lnTo>
                    <a:pt x="396" y="190"/>
                  </a:lnTo>
                  <a:lnTo>
                    <a:pt x="388" y="192"/>
                  </a:lnTo>
                  <a:lnTo>
                    <a:pt x="396" y="194"/>
                  </a:lnTo>
                  <a:lnTo>
                    <a:pt x="400" y="196"/>
                  </a:lnTo>
                  <a:lnTo>
                    <a:pt x="408" y="196"/>
                  </a:lnTo>
                  <a:lnTo>
                    <a:pt x="414" y="196"/>
                  </a:lnTo>
                  <a:lnTo>
                    <a:pt x="420" y="196"/>
                  </a:lnTo>
                  <a:lnTo>
                    <a:pt x="414" y="196"/>
                  </a:lnTo>
                  <a:lnTo>
                    <a:pt x="408" y="200"/>
                  </a:lnTo>
                  <a:lnTo>
                    <a:pt x="414" y="204"/>
                  </a:lnTo>
                  <a:lnTo>
                    <a:pt x="406" y="204"/>
                  </a:lnTo>
                  <a:lnTo>
                    <a:pt x="400" y="200"/>
                  </a:lnTo>
                  <a:lnTo>
                    <a:pt x="394" y="198"/>
                  </a:lnTo>
                  <a:lnTo>
                    <a:pt x="388" y="198"/>
                  </a:lnTo>
                  <a:lnTo>
                    <a:pt x="382" y="194"/>
                  </a:lnTo>
                  <a:lnTo>
                    <a:pt x="376" y="194"/>
                  </a:lnTo>
                  <a:lnTo>
                    <a:pt x="370" y="192"/>
                  </a:lnTo>
                  <a:lnTo>
                    <a:pt x="364" y="190"/>
                  </a:lnTo>
                  <a:lnTo>
                    <a:pt x="356" y="190"/>
                  </a:lnTo>
                  <a:lnTo>
                    <a:pt x="350" y="190"/>
                  </a:lnTo>
                  <a:lnTo>
                    <a:pt x="344" y="190"/>
                  </a:lnTo>
                  <a:lnTo>
                    <a:pt x="338" y="190"/>
                  </a:lnTo>
                  <a:lnTo>
                    <a:pt x="332" y="188"/>
                  </a:lnTo>
                  <a:lnTo>
                    <a:pt x="326" y="188"/>
                  </a:lnTo>
                  <a:lnTo>
                    <a:pt x="318" y="188"/>
                  </a:lnTo>
                  <a:lnTo>
                    <a:pt x="312" y="188"/>
                  </a:lnTo>
                  <a:lnTo>
                    <a:pt x="306" y="190"/>
                  </a:lnTo>
                  <a:lnTo>
                    <a:pt x="300" y="190"/>
                  </a:lnTo>
                  <a:lnTo>
                    <a:pt x="294" y="192"/>
                  </a:lnTo>
                  <a:lnTo>
                    <a:pt x="286" y="192"/>
                  </a:lnTo>
                  <a:lnTo>
                    <a:pt x="280" y="192"/>
                  </a:lnTo>
                  <a:lnTo>
                    <a:pt x="274" y="192"/>
                  </a:lnTo>
                  <a:lnTo>
                    <a:pt x="266" y="192"/>
                  </a:lnTo>
                  <a:lnTo>
                    <a:pt x="260" y="192"/>
                  </a:lnTo>
                  <a:lnTo>
                    <a:pt x="254" y="194"/>
                  </a:lnTo>
                  <a:lnTo>
                    <a:pt x="248" y="196"/>
                  </a:lnTo>
                  <a:lnTo>
                    <a:pt x="242" y="196"/>
                  </a:lnTo>
                  <a:lnTo>
                    <a:pt x="236" y="198"/>
                  </a:lnTo>
                  <a:lnTo>
                    <a:pt x="230" y="202"/>
                  </a:lnTo>
                  <a:lnTo>
                    <a:pt x="224" y="206"/>
                  </a:lnTo>
                  <a:lnTo>
                    <a:pt x="232" y="206"/>
                  </a:lnTo>
                  <a:lnTo>
                    <a:pt x="224" y="206"/>
                  </a:lnTo>
                  <a:lnTo>
                    <a:pt x="218" y="206"/>
                  </a:lnTo>
                  <a:lnTo>
                    <a:pt x="212" y="208"/>
                  </a:lnTo>
                  <a:lnTo>
                    <a:pt x="204" y="210"/>
                  </a:lnTo>
                  <a:lnTo>
                    <a:pt x="198" y="212"/>
                  </a:lnTo>
                  <a:lnTo>
                    <a:pt x="194" y="216"/>
                  </a:lnTo>
                  <a:lnTo>
                    <a:pt x="190" y="222"/>
                  </a:lnTo>
                  <a:lnTo>
                    <a:pt x="198" y="224"/>
                  </a:lnTo>
                  <a:lnTo>
                    <a:pt x="192" y="224"/>
                  </a:lnTo>
                  <a:lnTo>
                    <a:pt x="186" y="224"/>
                  </a:lnTo>
                  <a:lnTo>
                    <a:pt x="180" y="226"/>
                  </a:lnTo>
                  <a:lnTo>
                    <a:pt x="184" y="228"/>
                  </a:lnTo>
                  <a:lnTo>
                    <a:pt x="192" y="228"/>
                  </a:lnTo>
                  <a:lnTo>
                    <a:pt x="198" y="228"/>
                  </a:lnTo>
                  <a:lnTo>
                    <a:pt x="204" y="228"/>
                  </a:lnTo>
                  <a:lnTo>
                    <a:pt x="210" y="226"/>
                  </a:lnTo>
                  <a:lnTo>
                    <a:pt x="216" y="226"/>
                  </a:lnTo>
                  <a:lnTo>
                    <a:pt x="222" y="224"/>
                  </a:lnTo>
                  <a:lnTo>
                    <a:pt x="228" y="222"/>
                  </a:lnTo>
                  <a:lnTo>
                    <a:pt x="234" y="222"/>
                  </a:lnTo>
                  <a:lnTo>
                    <a:pt x="240" y="222"/>
                  </a:lnTo>
                  <a:lnTo>
                    <a:pt x="248" y="218"/>
                  </a:lnTo>
                  <a:lnTo>
                    <a:pt x="254" y="216"/>
                  </a:lnTo>
                  <a:lnTo>
                    <a:pt x="260" y="214"/>
                  </a:lnTo>
                  <a:lnTo>
                    <a:pt x="254" y="218"/>
                  </a:lnTo>
                  <a:lnTo>
                    <a:pt x="248" y="222"/>
                  </a:lnTo>
                  <a:lnTo>
                    <a:pt x="242" y="222"/>
                  </a:lnTo>
                  <a:lnTo>
                    <a:pt x="236" y="226"/>
                  </a:lnTo>
                  <a:lnTo>
                    <a:pt x="230" y="230"/>
                  </a:lnTo>
                  <a:lnTo>
                    <a:pt x="236" y="230"/>
                  </a:lnTo>
                  <a:lnTo>
                    <a:pt x="242" y="230"/>
                  </a:lnTo>
                  <a:lnTo>
                    <a:pt x="250" y="228"/>
                  </a:lnTo>
                  <a:lnTo>
                    <a:pt x="256" y="228"/>
                  </a:lnTo>
                  <a:lnTo>
                    <a:pt x="262" y="226"/>
                  </a:lnTo>
                  <a:lnTo>
                    <a:pt x="268" y="224"/>
                  </a:lnTo>
                  <a:lnTo>
                    <a:pt x="274" y="222"/>
                  </a:lnTo>
                  <a:lnTo>
                    <a:pt x="282" y="220"/>
                  </a:lnTo>
                  <a:lnTo>
                    <a:pt x="286" y="218"/>
                  </a:lnTo>
                  <a:lnTo>
                    <a:pt x="294" y="216"/>
                  </a:lnTo>
                  <a:lnTo>
                    <a:pt x="300" y="212"/>
                  </a:lnTo>
                  <a:lnTo>
                    <a:pt x="306" y="208"/>
                  </a:lnTo>
                  <a:lnTo>
                    <a:pt x="312" y="206"/>
                  </a:lnTo>
                  <a:lnTo>
                    <a:pt x="318" y="206"/>
                  </a:lnTo>
                  <a:lnTo>
                    <a:pt x="312" y="208"/>
                  </a:lnTo>
                  <a:lnTo>
                    <a:pt x="306" y="210"/>
                  </a:lnTo>
                  <a:lnTo>
                    <a:pt x="302" y="216"/>
                  </a:lnTo>
                  <a:lnTo>
                    <a:pt x="308" y="216"/>
                  </a:lnTo>
                  <a:lnTo>
                    <a:pt x="300" y="218"/>
                  </a:lnTo>
                  <a:lnTo>
                    <a:pt x="294" y="218"/>
                  </a:lnTo>
                  <a:lnTo>
                    <a:pt x="288" y="224"/>
                  </a:lnTo>
                  <a:lnTo>
                    <a:pt x="294" y="222"/>
                  </a:lnTo>
                  <a:lnTo>
                    <a:pt x="300" y="222"/>
                  </a:lnTo>
                  <a:lnTo>
                    <a:pt x="306" y="222"/>
                  </a:lnTo>
                  <a:lnTo>
                    <a:pt x="312" y="224"/>
                  </a:lnTo>
                  <a:lnTo>
                    <a:pt x="320" y="224"/>
                  </a:lnTo>
                  <a:lnTo>
                    <a:pt x="312" y="226"/>
                  </a:lnTo>
                  <a:lnTo>
                    <a:pt x="308" y="224"/>
                  </a:lnTo>
                  <a:lnTo>
                    <a:pt x="300" y="224"/>
                  </a:lnTo>
                  <a:lnTo>
                    <a:pt x="294" y="224"/>
                  </a:lnTo>
                  <a:lnTo>
                    <a:pt x="288" y="224"/>
                  </a:lnTo>
                  <a:lnTo>
                    <a:pt x="282" y="224"/>
                  </a:lnTo>
                  <a:lnTo>
                    <a:pt x="276" y="230"/>
                  </a:lnTo>
                  <a:lnTo>
                    <a:pt x="282" y="230"/>
                  </a:lnTo>
                  <a:lnTo>
                    <a:pt x="288" y="230"/>
                  </a:lnTo>
                  <a:lnTo>
                    <a:pt x="294" y="230"/>
                  </a:lnTo>
                  <a:lnTo>
                    <a:pt x="302" y="230"/>
                  </a:lnTo>
                  <a:lnTo>
                    <a:pt x="294" y="230"/>
                  </a:lnTo>
                  <a:lnTo>
                    <a:pt x="288" y="230"/>
                  </a:lnTo>
                  <a:lnTo>
                    <a:pt x="282" y="232"/>
                  </a:lnTo>
                  <a:lnTo>
                    <a:pt x="276" y="232"/>
                  </a:lnTo>
                  <a:lnTo>
                    <a:pt x="270" y="230"/>
                  </a:lnTo>
                  <a:lnTo>
                    <a:pt x="264" y="232"/>
                  </a:lnTo>
                  <a:lnTo>
                    <a:pt x="258" y="232"/>
                  </a:lnTo>
                  <a:lnTo>
                    <a:pt x="252" y="234"/>
                  </a:lnTo>
                  <a:lnTo>
                    <a:pt x="246" y="234"/>
                  </a:lnTo>
                  <a:lnTo>
                    <a:pt x="240" y="238"/>
                  </a:lnTo>
                  <a:lnTo>
                    <a:pt x="246" y="240"/>
                  </a:lnTo>
                  <a:lnTo>
                    <a:pt x="252" y="238"/>
                  </a:lnTo>
                  <a:lnTo>
                    <a:pt x="258" y="238"/>
                  </a:lnTo>
                  <a:lnTo>
                    <a:pt x="266" y="238"/>
                  </a:lnTo>
                  <a:lnTo>
                    <a:pt x="272" y="238"/>
                  </a:lnTo>
                  <a:lnTo>
                    <a:pt x="278" y="238"/>
                  </a:lnTo>
                  <a:lnTo>
                    <a:pt x="284" y="238"/>
                  </a:lnTo>
                  <a:lnTo>
                    <a:pt x="290" y="240"/>
                  </a:lnTo>
                  <a:lnTo>
                    <a:pt x="284" y="238"/>
                  </a:lnTo>
                  <a:lnTo>
                    <a:pt x="278" y="238"/>
                  </a:lnTo>
                  <a:lnTo>
                    <a:pt x="270" y="240"/>
                  </a:lnTo>
                  <a:lnTo>
                    <a:pt x="264" y="240"/>
                  </a:lnTo>
                  <a:lnTo>
                    <a:pt x="258" y="240"/>
                  </a:lnTo>
                  <a:lnTo>
                    <a:pt x="252" y="240"/>
                  </a:lnTo>
                  <a:lnTo>
                    <a:pt x="246" y="244"/>
                  </a:lnTo>
                  <a:lnTo>
                    <a:pt x="252" y="242"/>
                  </a:lnTo>
                  <a:lnTo>
                    <a:pt x="258" y="244"/>
                  </a:lnTo>
                  <a:lnTo>
                    <a:pt x="252" y="244"/>
                  </a:lnTo>
                  <a:lnTo>
                    <a:pt x="246" y="246"/>
                  </a:lnTo>
                  <a:lnTo>
                    <a:pt x="240" y="252"/>
                  </a:lnTo>
                  <a:lnTo>
                    <a:pt x="246" y="252"/>
                  </a:lnTo>
                  <a:lnTo>
                    <a:pt x="252" y="252"/>
                  </a:lnTo>
                  <a:lnTo>
                    <a:pt x="258" y="252"/>
                  </a:lnTo>
                  <a:lnTo>
                    <a:pt x="264" y="250"/>
                  </a:lnTo>
                  <a:lnTo>
                    <a:pt x="270" y="250"/>
                  </a:lnTo>
                  <a:lnTo>
                    <a:pt x="264" y="252"/>
                  </a:lnTo>
                  <a:lnTo>
                    <a:pt x="258" y="254"/>
                  </a:lnTo>
                  <a:lnTo>
                    <a:pt x="252" y="258"/>
                  </a:lnTo>
                  <a:lnTo>
                    <a:pt x="258" y="258"/>
                  </a:lnTo>
                  <a:lnTo>
                    <a:pt x="264" y="258"/>
                  </a:lnTo>
                  <a:lnTo>
                    <a:pt x="270" y="258"/>
                  </a:lnTo>
                  <a:lnTo>
                    <a:pt x="278" y="258"/>
                  </a:lnTo>
                  <a:lnTo>
                    <a:pt x="282" y="260"/>
                  </a:lnTo>
                  <a:lnTo>
                    <a:pt x="290" y="258"/>
                  </a:lnTo>
                  <a:lnTo>
                    <a:pt x="296" y="256"/>
                  </a:lnTo>
                  <a:lnTo>
                    <a:pt x="302" y="256"/>
                  </a:lnTo>
                  <a:lnTo>
                    <a:pt x="308" y="254"/>
                  </a:lnTo>
                  <a:lnTo>
                    <a:pt x="316" y="250"/>
                  </a:lnTo>
                  <a:lnTo>
                    <a:pt x="322" y="248"/>
                  </a:lnTo>
                  <a:lnTo>
                    <a:pt x="328" y="246"/>
                  </a:lnTo>
                  <a:lnTo>
                    <a:pt x="334" y="244"/>
                  </a:lnTo>
                  <a:lnTo>
                    <a:pt x="340" y="242"/>
                  </a:lnTo>
                  <a:lnTo>
                    <a:pt x="346" y="240"/>
                  </a:lnTo>
                  <a:lnTo>
                    <a:pt x="352" y="238"/>
                  </a:lnTo>
                  <a:lnTo>
                    <a:pt x="358" y="232"/>
                  </a:lnTo>
                  <a:lnTo>
                    <a:pt x="366" y="230"/>
                  </a:lnTo>
                  <a:lnTo>
                    <a:pt x="372" y="230"/>
                  </a:lnTo>
                  <a:lnTo>
                    <a:pt x="378" y="230"/>
                  </a:lnTo>
                  <a:lnTo>
                    <a:pt x="372" y="232"/>
                  </a:lnTo>
                  <a:lnTo>
                    <a:pt x="366" y="232"/>
                  </a:lnTo>
                  <a:lnTo>
                    <a:pt x="360" y="238"/>
                  </a:lnTo>
                  <a:lnTo>
                    <a:pt x="354" y="240"/>
                  </a:lnTo>
                  <a:lnTo>
                    <a:pt x="348" y="244"/>
                  </a:lnTo>
                  <a:lnTo>
                    <a:pt x="342" y="246"/>
                  </a:lnTo>
                  <a:lnTo>
                    <a:pt x="334" y="248"/>
                  </a:lnTo>
                  <a:lnTo>
                    <a:pt x="328" y="250"/>
                  </a:lnTo>
                  <a:lnTo>
                    <a:pt x="322" y="252"/>
                  </a:lnTo>
                  <a:lnTo>
                    <a:pt x="316" y="254"/>
                  </a:lnTo>
                  <a:lnTo>
                    <a:pt x="310" y="256"/>
                  </a:lnTo>
                  <a:lnTo>
                    <a:pt x="304" y="258"/>
                  </a:lnTo>
                  <a:lnTo>
                    <a:pt x="298" y="260"/>
                  </a:lnTo>
                  <a:lnTo>
                    <a:pt x="290" y="260"/>
                  </a:lnTo>
                  <a:lnTo>
                    <a:pt x="284" y="264"/>
                  </a:lnTo>
                  <a:lnTo>
                    <a:pt x="290" y="266"/>
                  </a:lnTo>
                  <a:lnTo>
                    <a:pt x="284" y="266"/>
                  </a:lnTo>
                  <a:lnTo>
                    <a:pt x="278" y="266"/>
                  </a:lnTo>
                  <a:lnTo>
                    <a:pt x="274" y="264"/>
                  </a:lnTo>
                  <a:lnTo>
                    <a:pt x="266" y="264"/>
                  </a:lnTo>
                  <a:lnTo>
                    <a:pt x="260" y="264"/>
                  </a:lnTo>
                  <a:lnTo>
                    <a:pt x="254" y="264"/>
                  </a:lnTo>
                  <a:lnTo>
                    <a:pt x="248" y="270"/>
                  </a:lnTo>
                  <a:lnTo>
                    <a:pt x="242" y="268"/>
                  </a:lnTo>
                  <a:lnTo>
                    <a:pt x="234" y="266"/>
                  </a:lnTo>
                  <a:lnTo>
                    <a:pt x="228" y="264"/>
                  </a:lnTo>
                  <a:lnTo>
                    <a:pt x="222" y="264"/>
                  </a:lnTo>
                  <a:lnTo>
                    <a:pt x="216" y="260"/>
                  </a:lnTo>
                  <a:lnTo>
                    <a:pt x="210" y="262"/>
                  </a:lnTo>
                  <a:lnTo>
                    <a:pt x="204" y="262"/>
                  </a:lnTo>
                  <a:lnTo>
                    <a:pt x="210" y="258"/>
                  </a:lnTo>
                  <a:lnTo>
                    <a:pt x="212" y="252"/>
                  </a:lnTo>
                  <a:lnTo>
                    <a:pt x="210" y="246"/>
                  </a:lnTo>
                  <a:lnTo>
                    <a:pt x="204" y="242"/>
                  </a:lnTo>
                  <a:lnTo>
                    <a:pt x="198" y="240"/>
                  </a:lnTo>
                  <a:lnTo>
                    <a:pt x="192" y="240"/>
                  </a:lnTo>
                  <a:lnTo>
                    <a:pt x="186" y="240"/>
                  </a:lnTo>
                  <a:lnTo>
                    <a:pt x="180" y="240"/>
                  </a:lnTo>
                  <a:lnTo>
                    <a:pt x="174" y="238"/>
                  </a:lnTo>
                  <a:lnTo>
                    <a:pt x="166" y="240"/>
                  </a:lnTo>
                  <a:lnTo>
                    <a:pt x="160" y="240"/>
                  </a:lnTo>
                  <a:lnTo>
                    <a:pt x="156" y="240"/>
                  </a:lnTo>
                  <a:lnTo>
                    <a:pt x="148" y="242"/>
                  </a:lnTo>
                  <a:lnTo>
                    <a:pt x="142" y="242"/>
                  </a:lnTo>
                  <a:lnTo>
                    <a:pt x="134" y="244"/>
                  </a:lnTo>
                  <a:lnTo>
                    <a:pt x="130" y="248"/>
                  </a:lnTo>
                  <a:lnTo>
                    <a:pt x="124" y="252"/>
                  </a:lnTo>
                  <a:lnTo>
                    <a:pt x="130" y="254"/>
                  </a:lnTo>
                  <a:lnTo>
                    <a:pt x="132" y="260"/>
                  </a:lnTo>
                  <a:lnTo>
                    <a:pt x="126" y="266"/>
                  </a:lnTo>
                  <a:lnTo>
                    <a:pt x="132" y="268"/>
                  </a:lnTo>
                  <a:lnTo>
                    <a:pt x="138" y="268"/>
                  </a:lnTo>
                  <a:lnTo>
                    <a:pt x="144" y="266"/>
                  </a:lnTo>
                  <a:lnTo>
                    <a:pt x="150" y="266"/>
                  </a:lnTo>
                  <a:lnTo>
                    <a:pt x="158" y="266"/>
                  </a:lnTo>
                  <a:lnTo>
                    <a:pt x="150" y="268"/>
                  </a:lnTo>
                  <a:lnTo>
                    <a:pt x="146" y="268"/>
                  </a:lnTo>
                  <a:lnTo>
                    <a:pt x="140" y="270"/>
                  </a:lnTo>
                  <a:lnTo>
                    <a:pt x="146" y="272"/>
                  </a:lnTo>
                  <a:lnTo>
                    <a:pt x="138" y="274"/>
                  </a:lnTo>
                  <a:lnTo>
                    <a:pt x="144" y="274"/>
                  </a:lnTo>
                  <a:lnTo>
                    <a:pt x="150" y="276"/>
                  </a:lnTo>
                  <a:lnTo>
                    <a:pt x="144" y="278"/>
                  </a:lnTo>
                  <a:lnTo>
                    <a:pt x="138" y="276"/>
                  </a:lnTo>
                  <a:lnTo>
                    <a:pt x="132" y="276"/>
                  </a:lnTo>
                  <a:lnTo>
                    <a:pt x="126" y="276"/>
                  </a:lnTo>
                  <a:lnTo>
                    <a:pt x="120" y="280"/>
                  </a:lnTo>
                  <a:lnTo>
                    <a:pt x="112" y="280"/>
                  </a:lnTo>
                  <a:lnTo>
                    <a:pt x="108" y="278"/>
                  </a:lnTo>
                  <a:lnTo>
                    <a:pt x="100" y="278"/>
                  </a:lnTo>
                  <a:lnTo>
                    <a:pt x="94" y="278"/>
                  </a:lnTo>
                  <a:lnTo>
                    <a:pt x="88" y="278"/>
                  </a:lnTo>
                  <a:lnTo>
                    <a:pt x="82" y="278"/>
                  </a:lnTo>
                  <a:lnTo>
                    <a:pt x="76" y="282"/>
                  </a:lnTo>
                  <a:lnTo>
                    <a:pt x="68" y="282"/>
                  </a:lnTo>
                  <a:lnTo>
                    <a:pt x="62" y="284"/>
                  </a:lnTo>
                  <a:lnTo>
                    <a:pt x="56" y="284"/>
                  </a:lnTo>
                  <a:lnTo>
                    <a:pt x="50" y="286"/>
                  </a:lnTo>
                  <a:lnTo>
                    <a:pt x="44" y="288"/>
                  </a:lnTo>
                  <a:lnTo>
                    <a:pt x="38" y="288"/>
                  </a:lnTo>
                  <a:lnTo>
                    <a:pt x="32" y="290"/>
                  </a:lnTo>
                  <a:lnTo>
                    <a:pt x="26" y="290"/>
                  </a:lnTo>
                  <a:lnTo>
                    <a:pt x="20" y="292"/>
                  </a:lnTo>
                  <a:lnTo>
                    <a:pt x="18" y="298"/>
                  </a:lnTo>
                  <a:lnTo>
                    <a:pt x="12" y="302"/>
                  </a:lnTo>
                  <a:lnTo>
                    <a:pt x="6" y="304"/>
                  </a:lnTo>
                  <a:lnTo>
                    <a:pt x="0" y="308"/>
                  </a:lnTo>
                  <a:lnTo>
                    <a:pt x="6" y="308"/>
                  </a:lnTo>
                  <a:lnTo>
                    <a:pt x="6" y="314"/>
                  </a:lnTo>
                  <a:lnTo>
                    <a:pt x="12" y="314"/>
                  </a:lnTo>
                  <a:lnTo>
                    <a:pt x="18" y="316"/>
                  </a:lnTo>
                  <a:lnTo>
                    <a:pt x="24" y="312"/>
                  </a:lnTo>
                  <a:lnTo>
                    <a:pt x="30" y="308"/>
                  </a:lnTo>
                  <a:lnTo>
                    <a:pt x="36" y="30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6" name="Freeform 294"/>
            <p:cNvSpPr>
              <a:spLocks/>
            </p:cNvSpPr>
            <p:nvPr/>
          </p:nvSpPr>
          <p:spPr bwMode="auto">
            <a:xfrm>
              <a:off x="2857500" y="2076450"/>
              <a:ext cx="17463" cy="1588"/>
            </a:xfrm>
            <a:custGeom>
              <a:avLst/>
              <a:gdLst>
                <a:gd name="T0" fmla="*/ 2147483647 w 40"/>
                <a:gd name="T1" fmla="*/ 2147483647 h 4"/>
                <a:gd name="T2" fmla="*/ 2147483647 w 40"/>
                <a:gd name="T3" fmla="*/ 0 h 4"/>
                <a:gd name="T4" fmla="*/ 2147483647 w 40"/>
                <a:gd name="T5" fmla="*/ 0 h 4"/>
                <a:gd name="T6" fmla="*/ 2147483647 w 40"/>
                <a:gd name="T7" fmla="*/ 0 h 4"/>
                <a:gd name="T8" fmla="*/ 2147483647 w 40"/>
                <a:gd name="T9" fmla="*/ 0 h 4"/>
                <a:gd name="T10" fmla="*/ 2147483647 w 40"/>
                <a:gd name="T11" fmla="*/ 0 h 4"/>
                <a:gd name="T12" fmla="*/ 0 w 40"/>
                <a:gd name="T13" fmla="*/ 2147483647 h 4"/>
                <a:gd name="T14" fmla="*/ 2147483647 w 40"/>
                <a:gd name="T15" fmla="*/ 2147483647 h 4"/>
                <a:gd name="T16" fmla="*/ 2147483647 w 40"/>
                <a:gd name="T17" fmla="*/ 2147483647 h 4"/>
                <a:gd name="T18" fmla="*/ 2147483647 w 40"/>
                <a:gd name="T19" fmla="*/ 2147483647 h 4"/>
                <a:gd name="T20" fmla="*/ 2147483647 w 40"/>
                <a:gd name="T21" fmla="*/ 2147483647 h 4"/>
                <a:gd name="T22" fmla="*/ 2147483647 w 40"/>
                <a:gd name="T23" fmla="*/ 2147483647 h 4"/>
                <a:gd name="T24" fmla="*/ 2147483647 w 40"/>
                <a:gd name="T25" fmla="*/ 2147483647 h 4"/>
                <a:gd name="T26" fmla="*/ 2147483647 w 40"/>
                <a:gd name="T27" fmla="*/ 2147483647 h 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4"/>
                <a:gd name="T44" fmla="*/ 40 w 40"/>
                <a:gd name="T45" fmla="*/ 4 h 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4">
                  <a:moveTo>
                    <a:pt x="38" y="2"/>
                  </a:moveTo>
                  <a:lnTo>
                    <a:pt x="32" y="0"/>
                  </a:lnTo>
                  <a:lnTo>
                    <a:pt x="26" y="0"/>
                  </a:lnTo>
                  <a:lnTo>
                    <a:pt x="20" y="0"/>
                  </a:lnTo>
                  <a:lnTo>
                    <a:pt x="12" y="0"/>
                  </a:lnTo>
                  <a:lnTo>
                    <a:pt x="6" y="0"/>
                  </a:lnTo>
                  <a:lnTo>
                    <a:pt x="0" y="2"/>
                  </a:lnTo>
                  <a:lnTo>
                    <a:pt x="6" y="2"/>
                  </a:lnTo>
                  <a:lnTo>
                    <a:pt x="12" y="2"/>
                  </a:lnTo>
                  <a:lnTo>
                    <a:pt x="20" y="4"/>
                  </a:lnTo>
                  <a:lnTo>
                    <a:pt x="26" y="4"/>
                  </a:lnTo>
                  <a:lnTo>
                    <a:pt x="32" y="4"/>
                  </a:lnTo>
                  <a:lnTo>
                    <a:pt x="40" y="4"/>
                  </a:lnTo>
                  <a:lnTo>
                    <a:pt x="38" y="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7" name="Freeform 295"/>
            <p:cNvSpPr>
              <a:spLocks/>
            </p:cNvSpPr>
            <p:nvPr/>
          </p:nvSpPr>
          <p:spPr bwMode="auto">
            <a:xfrm>
              <a:off x="2409825" y="3678238"/>
              <a:ext cx="71438" cy="53975"/>
            </a:xfrm>
            <a:custGeom>
              <a:avLst/>
              <a:gdLst>
                <a:gd name="T0" fmla="*/ 2147483647 w 178"/>
                <a:gd name="T1" fmla="*/ 2147483647 h 132"/>
                <a:gd name="T2" fmla="*/ 2147483647 w 178"/>
                <a:gd name="T3" fmla="*/ 2147483647 h 132"/>
                <a:gd name="T4" fmla="*/ 2147483647 w 178"/>
                <a:gd name="T5" fmla="*/ 2147483647 h 132"/>
                <a:gd name="T6" fmla="*/ 2147483647 w 178"/>
                <a:gd name="T7" fmla="*/ 2147483647 h 132"/>
                <a:gd name="T8" fmla="*/ 2147483647 w 178"/>
                <a:gd name="T9" fmla="*/ 2147483647 h 132"/>
                <a:gd name="T10" fmla="*/ 2147483647 w 178"/>
                <a:gd name="T11" fmla="*/ 2147483647 h 132"/>
                <a:gd name="T12" fmla="*/ 2147483647 w 178"/>
                <a:gd name="T13" fmla="*/ 2147483647 h 132"/>
                <a:gd name="T14" fmla="*/ 2147483647 w 178"/>
                <a:gd name="T15" fmla="*/ 2147483647 h 132"/>
                <a:gd name="T16" fmla="*/ 2147483647 w 178"/>
                <a:gd name="T17" fmla="*/ 2147483647 h 132"/>
                <a:gd name="T18" fmla="*/ 2147483647 w 178"/>
                <a:gd name="T19" fmla="*/ 2147483647 h 132"/>
                <a:gd name="T20" fmla="*/ 2147483647 w 178"/>
                <a:gd name="T21" fmla="*/ 2147483647 h 132"/>
                <a:gd name="T22" fmla="*/ 2147483647 w 178"/>
                <a:gd name="T23" fmla="*/ 2147483647 h 132"/>
                <a:gd name="T24" fmla="*/ 2147483647 w 178"/>
                <a:gd name="T25" fmla="*/ 2147483647 h 132"/>
                <a:gd name="T26" fmla="*/ 2147483647 w 178"/>
                <a:gd name="T27" fmla="*/ 2147483647 h 132"/>
                <a:gd name="T28" fmla="*/ 2147483647 w 178"/>
                <a:gd name="T29" fmla="*/ 2147483647 h 132"/>
                <a:gd name="T30" fmla="*/ 2147483647 w 178"/>
                <a:gd name="T31" fmla="*/ 2147483647 h 132"/>
                <a:gd name="T32" fmla="*/ 2147483647 w 178"/>
                <a:gd name="T33" fmla="*/ 2147483647 h 132"/>
                <a:gd name="T34" fmla="*/ 2147483647 w 178"/>
                <a:gd name="T35" fmla="*/ 2147483647 h 132"/>
                <a:gd name="T36" fmla="*/ 2147483647 w 178"/>
                <a:gd name="T37" fmla="*/ 2147483647 h 132"/>
                <a:gd name="T38" fmla="*/ 2147483647 w 178"/>
                <a:gd name="T39" fmla="*/ 2147483647 h 132"/>
                <a:gd name="T40" fmla="*/ 2147483647 w 178"/>
                <a:gd name="T41" fmla="*/ 2147483647 h 132"/>
                <a:gd name="T42" fmla="*/ 2147483647 w 178"/>
                <a:gd name="T43" fmla="*/ 2147483647 h 132"/>
                <a:gd name="T44" fmla="*/ 2147483647 w 178"/>
                <a:gd name="T45" fmla="*/ 2147483647 h 132"/>
                <a:gd name="T46" fmla="*/ 2147483647 w 178"/>
                <a:gd name="T47" fmla="*/ 0 h 132"/>
                <a:gd name="T48" fmla="*/ 2147483647 w 178"/>
                <a:gd name="T49" fmla="*/ 0 h 132"/>
                <a:gd name="T50" fmla="*/ 2147483647 w 178"/>
                <a:gd name="T51" fmla="*/ 2147483647 h 132"/>
                <a:gd name="T52" fmla="*/ 2147483647 w 178"/>
                <a:gd name="T53" fmla="*/ 2147483647 h 132"/>
                <a:gd name="T54" fmla="*/ 2147483647 w 178"/>
                <a:gd name="T55" fmla="*/ 2147483647 h 132"/>
                <a:gd name="T56" fmla="*/ 2147483647 w 178"/>
                <a:gd name="T57" fmla="*/ 2147483647 h 132"/>
                <a:gd name="T58" fmla="*/ 2147483647 w 178"/>
                <a:gd name="T59" fmla="*/ 2147483647 h 132"/>
                <a:gd name="T60" fmla="*/ 2147483647 w 178"/>
                <a:gd name="T61" fmla="*/ 2147483647 h 132"/>
                <a:gd name="T62" fmla="*/ 2147483647 w 178"/>
                <a:gd name="T63" fmla="*/ 2147483647 h 132"/>
                <a:gd name="T64" fmla="*/ 2147483647 w 178"/>
                <a:gd name="T65" fmla="*/ 2147483647 h 132"/>
                <a:gd name="T66" fmla="*/ 2147483647 w 178"/>
                <a:gd name="T67" fmla="*/ 2147483647 h 132"/>
                <a:gd name="T68" fmla="*/ 2147483647 w 178"/>
                <a:gd name="T69" fmla="*/ 2147483647 h 132"/>
                <a:gd name="T70" fmla="*/ 2147483647 w 178"/>
                <a:gd name="T71" fmla="*/ 2147483647 h 132"/>
                <a:gd name="T72" fmla="*/ 2147483647 w 178"/>
                <a:gd name="T73" fmla="*/ 2147483647 h 132"/>
                <a:gd name="T74" fmla="*/ 2147483647 w 178"/>
                <a:gd name="T75" fmla="*/ 2147483647 h 132"/>
                <a:gd name="T76" fmla="*/ 2147483647 w 178"/>
                <a:gd name="T77" fmla="*/ 2147483647 h 132"/>
                <a:gd name="T78" fmla="*/ 2147483647 w 178"/>
                <a:gd name="T79" fmla="*/ 2147483647 h 132"/>
                <a:gd name="T80" fmla="*/ 2147483647 w 178"/>
                <a:gd name="T81" fmla="*/ 2147483647 h 132"/>
                <a:gd name="T82" fmla="*/ 2147483647 w 178"/>
                <a:gd name="T83" fmla="*/ 2147483647 h 132"/>
                <a:gd name="T84" fmla="*/ 2147483647 w 178"/>
                <a:gd name="T85" fmla="*/ 2147483647 h 132"/>
                <a:gd name="T86" fmla="*/ 2147483647 w 178"/>
                <a:gd name="T87" fmla="*/ 2147483647 h 132"/>
                <a:gd name="T88" fmla="*/ 2147483647 w 178"/>
                <a:gd name="T89" fmla="*/ 2147483647 h 132"/>
                <a:gd name="T90" fmla="*/ 2147483647 w 178"/>
                <a:gd name="T91" fmla="*/ 2147483647 h 132"/>
                <a:gd name="T92" fmla="*/ 2147483647 w 178"/>
                <a:gd name="T93" fmla="*/ 2147483647 h 132"/>
                <a:gd name="T94" fmla="*/ 2147483647 w 178"/>
                <a:gd name="T95" fmla="*/ 2147483647 h 132"/>
                <a:gd name="T96" fmla="*/ 2147483647 w 178"/>
                <a:gd name="T97" fmla="*/ 2147483647 h 132"/>
                <a:gd name="T98" fmla="*/ 2147483647 w 178"/>
                <a:gd name="T99" fmla="*/ 2147483647 h 132"/>
                <a:gd name="T100" fmla="*/ 2147483647 w 178"/>
                <a:gd name="T101" fmla="*/ 2147483647 h 132"/>
                <a:gd name="T102" fmla="*/ 2147483647 w 178"/>
                <a:gd name="T103" fmla="*/ 2147483647 h 132"/>
                <a:gd name="T104" fmla="*/ 2147483647 w 178"/>
                <a:gd name="T105" fmla="*/ 2147483647 h 132"/>
                <a:gd name="T106" fmla="*/ 2147483647 w 178"/>
                <a:gd name="T107" fmla="*/ 2147483647 h 132"/>
                <a:gd name="T108" fmla="*/ 2147483647 w 178"/>
                <a:gd name="T109" fmla="*/ 2147483647 h 132"/>
                <a:gd name="T110" fmla="*/ 2147483647 w 178"/>
                <a:gd name="T111" fmla="*/ 2147483647 h 132"/>
                <a:gd name="T112" fmla="*/ 2147483647 w 178"/>
                <a:gd name="T113" fmla="*/ 2147483647 h 132"/>
                <a:gd name="T114" fmla="*/ 0 w 178"/>
                <a:gd name="T115" fmla="*/ 2147483647 h 132"/>
                <a:gd name="T116" fmla="*/ 2147483647 w 178"/>
                <a:gd name="T117" fmla="*/ 2147483647 h 132"/>
                <a:gd name="T118" fmla="*/ 2147483647 w 178"/>
                <a:gd name="T119" fmla="*/ 2147483647 h 132"/>
                <a:gd name="T120" fmla="*/ 2147483647 w 178"/>
                <a:gd name="T121" fmla="*/ 2147483647 h 1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8"/>
                <a:gd name="T184" fmla="*/ 0 h 132"/>
                <a:gd name="T185" fmla="*/ 178 w 178"/>
                <a:gd name="T186" fmla="*/ 132 h 1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8" h="132">
                  <a:moveTo>
                    <a:pt x="24" y="90"/>
                  </a:moveTo>
                  <a:lnTo>
                    <a:pt x="30" y="92"/>
                  </a:lnTo>
                  <a:lnTo>
                    <a:pt x="36" y="94"/>
                  </a:lnTo>
                  <a:lnTo>
                    <a:pt x="42" y="96"/>
                  </a:lnTo>
                  <a:lnTo>
                    <a:pt x="48" y="94"/>
                  </a:lnTo>
                  <a:lnTo>
                    <a:pt x="50" y="94"/>
                  </a:lnTo>
                  <a:lnTo>
                    <a:pt x="56" y="94"/>
                  </a:lnTo>
                  <a:lnTo>
                    <a:pt x="50" y="96"/>
                  </a:lnTo>
                  <a:lnTo>
                    <a:pt x="56" y="98"/>
                  </a:lnTo>
                  <a:lnTo>
                    <a:pt x="62" y="98"/>
                  </a:lnTo>
                  <a:lnTo>
                    <a:pt x="68" y="98"/>
                  </a:lnTo>
                  <a:lnTo>
                    <a:pt x="74" y="100"/>
                  </a:lnTo>
                  <a:lnTo>
                    <a:pt x="80" y="100"/>
                  </a:lnTo>
                  <a:lnTo>
                    <a:pt x="86" y="102"/>
                  </a:lnTo>
                  <a:lnTo>
                    <a:pt x="92" y="102"/>
                  </a:lnTo>
                  <a:lnTo>
                    <a:pt x="98" y="104"/>
                  </a:lnTo>
                  <a:lnTo>
                    <a:pt x="104" y="104"/>
                  </a:lnTo>
                  <a:lnTo>
                    <a:pt x="106" y="104"/>
                  </a:lnTo>
                  <a:lnTo>
                    <a:pt x="110" y="98"/>
                  </a:lnTo>
                  <a:lnTo>
                    <a:pt x="116" y="96"/>
                  </a:lnTo>
                  <a:lnTo>
                    <a:pt x="122" y="96"/>
                  </a:lnTo>
                  <a:lnTo>
                    <a:pt x="128" y="98"/>
                  </a:lnTo>
                  <a:lnTo>
                    <a:pt x="130" y="92"/>
                  </a:lnTo>
                  <a:lnTo>
                    <a:pt x="130" y="86"/>
                  </a:lnTo>
                  <a:lnTo>
                    <a:pt x="124" y="82"/>
                  </a:lnTo>
                  <a:lnTo>
                    <a:pt x="118" y="76"/>
                  </a:lnTo>
                  <a:lnTo>
                    <a:pt x="114" y="70"/>
                  </a:lnTo>
                  <a:lnTo>
                    <a:pt x="108" y="64"/>
                  </a:lnTo>
                  <a:lnTo>
                    <a:pt x="108" y="58"/>
                  </a:lnTo>
                  <a:lnTo>
                    <a:pt x="112" y="54"/>
                  </a:lnTo>
                  <a:lnTo>
                    <a:pt x="108" y="48"/>
                  </a:lnTo>
                  <a:lnTo>
                    <a:pt x="110" y="48"/>
                  </a:lnTo>
                  <a:lnTo>
                    <a:pt x="112" y="42"/>
                  </a:lnTo>
                  <a:lnTo>
                    <a:pt x="114" y="36"/>
                  </a:lnTo>
                  <a:lnTo>
                    <a:pt x="110" y="30"/>
                  </a:lnTo>
                  <a:lnTo>
                    <a:pt x="104" y="26"/>
                  </a:lnTo>
                  <a:lnTo>
                    <a:pt x="100" y="24"/>
                  </a:lnTo>
                  <a:lnTo>
                    <a:pt x="94" y="22"/>
                  </a:lnTo>
                  <a:lnTo>
                    <a:pt x="88" y="20"/>
                  </a:lnTo>
                  <a:lnTo>
                    <a:pt x="82" y="22"/>
                  </a:lnTo>
                  <a:lnTo>
                    <a:pt x="76" y="20"/>
                  </a:lnTo>
                  <a:lnTo>
                    <a:pt x="74" y="14"/>
                  </a:lnTo>
                  <a:lnTo>
                    <a:pt x="78" y="10"/>
                  </a:lnTo>
                  <a:lnTo>
                    <a:pt x="86" y="6"/>
                  </a:lnTo>
                  <a:lnTo>
                    <a:pt x="92" y="2"/>
                  </a:lnTo>
                  <a:lnTo>
                    <a:pt x="98" y="2"/>
                  </a:lnTo>
                  <a:lnTo>
                    <a:pt x="104" y="2"/>
                  </a:lnTo>
                  <a:lnTo>
                    <a:pt x="108" y="0"/>
                  </a:lnTo>
                  <a:lnTo>
                    <a:pt x="112" y="0"/>
                  </a:lnTo>
                  <a:lnTo>
                    <a:pt x="118" y="0"/>
                  </a:lnTo>
                  <a:lnTo>
                    <a:pt x="124" y="2"/>
                  </a:lnTo>
                  <a:lnTo>
                    <a:pt x="130" y="6"/>
                  </a:lnTo>
                  <a:lnTo>
                    <a:pt x="134" y="8"/>
                  </a:lnTo>
                  <a:lnTo>
                    <a:pt x="140" y="12"/>
                  </a:lnTo>
                  <a:lnTo>
                    <a:pt x="146" y="10"/>
                  </a:lnTo>
                  <a:lnTo>
                    <a:pt x="152" y="14"/>
                  </a:lnTo>
                  <a:lnTo>
                    <a:pt x="158" y="16"/>
                  </a:lnTo>
                  <a:lnTo>
                    <a:pt x="162" y="14"/>
                  </a:lnTo>
                  <a:lnTo>
                    <a:pt x="168" y="14"/>
                  </a:lnTo>
                  <a:lnTo>
                    <a:pt x="174" y="16"/>
                  </a:lnTo>
                  <a:lnTo>
                    <a:pt x="176" y="16"/>
                  </a:lnTo>
                  <a:lnTo>
                    <a:pt x="176" y="22"/>
                  </a:lnTo>
                  <a:lnTo>
                    <a:pt x="178" y="28"/>
                  </a:lnTo>
                  <a:lnTo>
                    <a:pt x="176" y="34"/>
                  </a:lnTo>
                  <a:lnTo>
                    <a:pt x="174" y="40"/>
                  </a:lnTo>
                  <a:lnTo>
                    <a:pt x="174" y="46"/>
                  </a:lnTo>
                  <a:lnTo>
                    <a:pt x="178" y="52"/>
                  </a:lnTo>
                  <a:lnTo>
                    <a:pt x="176" y="58"/>
                  </a:lnTo>
                  <a:lnTo>
                    <a:pt x="170" y="64"/>
                  </a:lnTo>
                  <a:lnTo>
                    <a:pt x="164" y="66"/>
                  </a:lnTo>
                  <a:lnTo>
                    <a:pt x="164" y="68"/>
                  </a:lnTo>
                  <a:lnTo>
                    <a:pt x="168" y="70"/>
                  </a:lnTo>
                  <a:lnTo>
                    <a:pt x="170" y="78"/>
                  </a:lnTo>
                  <a:lnTo>
                    <a:pt x="170" y="82"/>
                  </a:lnTo>
                  <a:lnTo>
                    <a:pt x="164" y="88"/>
                  </a:lnTo>
                  <a:lnTo>
                    <a:pt x="158" y="92"/>
                  </a:lnTo>
                  <a:lnTo>
                    <a:pt x="152" y="92"/>
                  </a:lnTo>
                  <a:lnTo>
                    <a:pt x="156" y="98"/>
                  </a:lnTo>
                  <a:lnTo>
                    <a:pt x="156" y="104"/>
                  </a:lnTo>
                  <a:lnTo>
                    <a:pt x="162" y="108"/>
                  </a:lnTo>
                  <a:lnTo>
                    <a:pt x="166" y="114"/>
                  </a:lnTo>
                  <a:lnTo>
                    <a:pt x="162" y="120"/>
                  </a:lnTo>
                  <a:lnTo>
                    <a:pt x="162" y="126"/>
                  </a:lnTo>
                  <a:lnTo>
                    <a:pt x="160" y="132"/>
                  </a:lnTo>
                  <a:lnTo>
                    <a:pt x="156" y="126"/>
                  </a:lnTo>
                  <a:lnTo>
                    <a:pt x="150" y="120"/>
                  </a:lnTo>
                  <a:lnTo>
                    <a:pt x="144" y="118"/>
                  </a:lnTo>
                  <a:lnTo>
                    <a:pt x="138" y="118"/>
                  </a:lnTo>
                  <a:lnTo>
                    <a:pt x="134" y="118"/>
                  </a:lnTo>
                  <a:lnTo>
                    <a:pt x="126" y="118"/>
                  </a:lnTo>
                  <a:lnTo>
                    <a:pt x="120" y="118"/>
                  </a:lnTo>
                  <a:lnTo>
                    <a:pt x="114" y="118"/>
                  </a:lnTo>
                  <a:lnTo>
                    <a:pt x="108" y="120"/>
                  </a:lnTo>
                  <a:lnTo>
                    <a:pt x="104" y="122"/>
                  </a:lnTo>
                  <a:lnTo>
                    <a:pt x="98" y="124"/>
                  </a:lnTo>
                  <a:lnTo>
                    <a:pt x="92" y="122"/>
                  </a:lnTo>
                  <a:lnTo>
                    <a:pt x="86" y="122"/>
                  </a:lnTo>
                  <a:lnTo>
                    <a:pt x="80" y="120"/>
                  </a:lnTo>
                  <a:lnTo>
                    <a:pt x="74" y="118"/>
                  </a:lnTo>
                  <a:lnTo>
                    <a:pt x="68" y="118"/>
                  </a:lnTo>
                  <a:lnTo>
                    <a:pt x="62" y="116"/>
                  </a:lnTo>
                  <a:lnTo>
                    <a:pt x="56" y="116"/>
                  </a:lnTo>
                  <a:lnTo>
                    <a:pt x="50" y="118"/>
                  </a:lnTo>
                  <a:lnTo>
                    <a:pt x="44" y="120"/>
                  </a:lnTo>
                  <a:lnTo>
                    <a:pt x="38" y="124"/>
                  </a:lnTo>
                  <a:lnTo>
                    <a:pt x="38" y="130"/>
                  </a:lnTo>
                  <a:lnTo>
                    <a:pt x="34" y="132"/>
                  </a:lnTo>
                  <a:lnTo>
                    <a:pt x="30" y="126"/>
                  </a:lnTo>
                  <a:lnTo>
                    <a:pt x="26" y="120"/>
                  </a:lnTo>
                  <a:lnTo>
                    <a:pt x="20" y="116"/>
                  </a:lnTo>
                  <a:lnTo>
                    <a:pt x="14" y="112"/>
                  </a:lnTo>
                  <a:lnTo>
                    <a:pt x="8" y="114"/>
                  </a:lnTo>
                  <a:lnTo>
                    <a:pt x="2" y="110"/>
                  </a:lnTo>
                  <a:lnTo>
                    <a:pt x="0" y="104"/>
                  </a:lnTo>
                  <a:lnTo>
                    <a:pt x="4" y="100"/>
                  </a:lnTo>
                  <a:lnTo>
                    <a:pt x="6" y="92"/>
                  </a:lnTo>
                  <a:lnTo>
                    <a:pt x="12" y="88"/>
                  </a:lnTo>
                  <a:lnTo>
                    <a:pt x="18" y="88"/>
                  </a:lnTo>
                  <a:lnTo>
                    <a:pt x="24" y="88"/>
                  </a:lnTo>
                  <a:lnTo>
                    <a:pt x="24" y="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8" name="Freeform 296"/>
            <p:cNvSpPr>
              <a:spLocks/>
            </p:cNvSpPr>
            <p:nvPr/>
          </p:nvSpPr>
          <p:spPr bwMode="auto">
            <a:xfrm>
              <a:off x="2454275" y="3675063"/>
              <a:ext cx="6350" cy="1587"/>
            </a:xfrm>
            <a:custGeom>
              <a:avLst/>
              <a:gdLst>
                <a:gd name="T0" fmla="*/ 2147483647 w 14"/>
                <a:gd name="T1" fmla="*/ 2147483647 h 6"/>
                <a:gd name="T2" fmla="*/ 0 w 14"/>
                <a:gd name="T3" fmla="*/ 2147483647 h 6"/>
                <a:gd name="T4" fmla="*/ 2147483647 w 14"/>
                <a:gd name="T5" fmla="*/ 0 h 6"/>
                <a:gd name="T6" fmla="*/ 2147483647 w 14"/>
                <a:gd name="T7" fmla="*/ 2147483647 h 6"/>
                <a:gd name="T8" fmla="*/ 2147483647 w 14"/>
                <a:gd name="T9" fmla="*/ 2147483647 h 6"/>
                <a:gd name="T10" fmla="*/ 2147483647 w 14"/>
                <a:gd name="T11" fmla="*/ 2147483647 h 6"/>
                <a:gd name="T12" fmla="*/ 2147483647 w 14"/>
                <a:gd name="T13" fmla="*/ 2147483647 h 6"/>
                <a:gd name="T14" fmla="*/ 2147483647 w 14"/>
                <a:gd name="T15" fmla="*/ 2147483647 h 6"/>
                <a:gd name="T16" fmla="*/ 2147483647 w 14"/>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6"/>
                <a:gd name="T29" fmla="*/ 14 w 14"/>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6">
                  <a:moveTo>
                    <a:pt x="6" y="6"/>
                  </a:moveTo>
                  <a:lnTo>
                    <a:pt x="0" y="4"/>
                  </a:lnTo>
                  <a:lnTo>
                    <a:pt x="6" y="0"/>
                  </a:lnTo>
                  <a:lnTo>
                    <a:pt x="12" y="4"/>
                  </a:lnTo>
                  <a:lnTo>
                    <a:pt x="14" y="6"/>
                  </a:lnTo>
                  <a:lnTo>
                    <a:pt x="8" y="6"/>
                  </a:lnTo>
                  <a:lnTo>
                    <a:pt x="6" y="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79" name="Freeform 297"/>
            <p:cNvSpPr>
              <a:spLocks/>
            </p:cNvSpPr>
            <p:nvPr/>
          </p:nvSpPr>
          <p:spPr bwMode="auto">
            <a:xfrm>
              <a:off x="2959100" y="2782888"/>
              <a:ext cx="147638" cy="138112"/>
            </a:xfrm>
            <a:custGeom>
              <a:avLst/>
              <a:gdLst>
                <a:gd name="T0" fmla="*/ 2147483647 w 360"/>
                <a:gd name="T1" fmla="*/ 2147483647 h 336"/>
                <a:gd name="T2" fmla="*/ 2147483647 w 360"/>
                <a:gd name="T3" fmla="*/ 2147483647 h 336"/>
                <a:gd name="T4" fmla="*/ 2147483647 w 360"/>
                <a:gd name="T5" fmla="*/ 2147483647 h 336"/>
                <a:gd name="T6" fmla="*/ 2147483647 w 360"/>
                <a:gd name="T7" fmla="*/ 2147483647 h 336"/>
                <a:gd name="T8" fmla="*/ 2147483647 w 360"/>
                <a:gd name="T9" fmla="*/ 2147483647 h 336"/>
                <a:gd name="T10" fmla="*/ 2147483647 w 360"/>
                <a:gd name="T11" fmla="*/ 2147483647 h 336"/>
                <a:gd name="T12" fmla="*/ 2147483647 w 360"/>
                <a:gd name="T13" fmla="*/ 2147483647 h 336"/>
                <a:gd name="T14" fmla="*/ 2147483647 w 360"/>
                <a:gd name="T15" fmla="*/ 2147483647 h 336"/>
                <a:gd name="T16" fmla="*/ 2147483647 w 360"/>
                <a:gd name="T17" fmla="*/ 2147483647 h 336"/>
                <a:gd name="T18" fmla="*/ 2147483647 w 360"/>
                <a:gd name="T19" fmla="*/ 2147483647 h 336"/>
                <a:gd name="T20" fmla="*/ 2147483647 w 360"/>
                <a:gd name="T21" fmla="*/ 2147483647 h 336"/>
                <a:gd name="T22" fmla="*/ 2147483647 w 360"/>
                <a:gd name="T23" fmla="*/ 2147483647 h 336"/>
                <a:gd name="T24" fmla="*/ 2147483647 w 360"/>
                <a:gd name="T25" fmla="*/ 2147483647 h 336"/>
                <a:gd name="T26" fmla="*/ 2147483647 w 360"/>
                <a:gd name="T27" fmla="*/ 2147483647 h 336"/>
                <a:gd name="T28" fmla="*/ 2147483647 w 360"/>
                <a:gd name="T29" fmla="*/ 2147483647 h 336"/>
                <a:gd name="T30" fmla="*/ 2147483647 w 360"/>
                <a:gd name="T31" fmla="*/ 2147483647 h 336"/>
                <a:gd name="T32" fmla="*/ 2147483647 w 360"/>
                <a:gd name="T33" fmla="*/ 2147483647 h 336"/>
                <a:gd name="T34" fmla="*/ 2147483647 w 360"/>
                <a:gd name="T35" fmla="*/ 2147483647 h 336"/>
                <a:gd name="T36" fmla="*/ 2147483647 w 360"/>
                <a:gd name="T37" fmla="*/ 2147483647 h 336"/>
                <a:gd name="T38" fmla="*/ 2147483647 w 360"/>
                <a:gd name="T39" fmla="*/ 2147483647 h 336"/>
                <a:gd name="T40" fmla="*/ 2147483647 w 360"/>
                <a:gd name="T41" fmla="*/ 2147483647 h 336"/>
                <a:gd name="T42" fmla="*/ 2147483647 w 360"/>
                <a:gd name="T43" fmla="*/ 2147483647 h 336"/>
                <a:gd name="T44" fmla="*/ 2147483647 w 360"/>
                <a:gd name="T45" fmla="*/ 2147483647 h 336"/>
                <a:gd name="T46" fmla="*/ 2147483647 w 360"/>
                <a:gd name="T47" fmla="*/ 2147483647 h 336"/>
                <a:gd name="T48" fmla="*/ 2147483647 w 360"/>
                <a:gd name="T49" fmla="*/ 2147483647 h 336"/>
                <a:gd name="T50" fmla="*/ 2147483647 w 360"/>
                <a:gd name="T51" fmla="*/ 2147483647 h 336"/>
                <a:gd name="T52" fmla="*/ 2147483647 w 360"/>
                <a:gd name="T53" fmla="*/ 2147483647 h 336"/>
                <a:gd name="T54" fmla="*/ 2147483647 w 360"/>
                <a:gd name="T55" fmla="*/ 2147483647 h 336"/>
                <a:gd name="T56" fmla="*/ 2147483647 w 360"/>
                <a:gd name="T57" fmla="*/ 2147483647 h 336"/>
                <a:gd name="T58" fmla="*/ 2147483647 w 360"/>
                <a:gd name="T59" fmla="*/ 2147483647 h 336"/>
                <a:gd name="T60" fmla="*/ 2147483647 w 360"/>
                <a:gd name="T61" fmla="*/ 2147483647 h 336"/>
                <a:gd name="T62" fmla="*/ 2147483647 w 360"/>
                <a:gd name="T63" fmla="*/ 2147483647 h 336"/>
                <a:gd name="T64" fmla="*/ 2147483647 w 360"/>
                <a:gd name="T65" fmla="*/ 2147483647 h 336"/>
                <a:gd name="T66" fmla="*/ 2147483647 w 360"/>
                <a:gd name="T67" fmla="*/ 2147483647 h 336"/>
                <a:gd name="T68" fmla="*/ 2147483647 w 360"/>
                <a:gd name="T69" fmla="*/ 2147483647 h 336"/>
                <a:gd name="T70" fmla="*/ 2147483647 w 360"/>
                <a:gd name="T71" fmla="*/ 2147483647 h 336"/>
                <a:gd name="T72" fmla="*/ 2147483647 w 360"/>
                <a:gd name="T73" fmla="*/ 2147483647 h 336"/>
                <a:gd name="T74" fmla="*/ 2147483647 w 360"/>
                <a:gd name="T75" fmla="*/ 2147483647 h 336"/>
                <a:gd name="T76" fmla="*/ 2147483647 w 360"/>
                <a:gd name="T77" fmla="*/ 2147483647 h 336"/>
                <a:gd name="T78" fmla="*/ 2147483647 w 360"/>
                <a:gd name="T79" fmla="*/ 2147483647 h 336"/>
                <a:gd name="T80" fmla="*/ 2147483647 w 360"/>
                <a:gd name="T81" fmla="*/ 2147483647 h 336"/>
                <a:gd name="T82" fmla="*/ 2147483647 w 360"/>
                <a:gd name="T83" fmla="*/ 2147483647 h 336"/>
                <a:gd name="T84" fmla="*/ 2147483647 w 360"/>
                <a:gd name="T85" fmla="*/ 2147483647 h 336"/>
                <a:gd name="T86" fmla="*/ 2147483647 w 360"/>
                <a:gd name="T87" fmla="*/ 2147483647 h 336"/>
                <a:gd name="T88" fmla="*/ 2147483647 w 360"/>
                <a:gd name="T89" fmla="*/ 2147483647 h 336"/>
                <a:gd name="T90" fmla="*/ 2147483647 w 360"/>
                <a:gd name="T91" fmla="*/ 2147483647 h 336"/>
                <a:gd name="T92" fmla="*/ 2147483647 w 360"/>
                <a:gd name="T93" fmla="*/ 2147483647 h 336"/>
                <a:gd name="T94" fmla="*/ 2147483647 w 360"/>
                <a:gd name="T95" fmla="*/ 2147483647 h 336"/>
                <a:gd name="T96" fmla="*/ 2147483647 w 360"/>
                <a:gd name="T97" fmla="*/ 2147483647 h 336"/>
                <a:gd name="T98" fmla="*/ 2147483647 w 360"/>
                <a:gd name="T99" fmla="*/ 2147483647 h 336"/>
                <a:gd name="T100" fmla="*/ 2147483647 w 360"/>
                <a:gd name="T101" fmla="*/ 2147483647 h 336"/>
                <a:gd name="T102" fmla="*/ 2147483647 w 360"/>
                <a:gd name="T103" fmla="*/ 2147483647 h 336"/>
                <a:gd name="T104" fmla="*/ 2147483647 w 360"/>
                <a:gd name="T105" fmla="*/ 2147483647 h 336"/>
                <a:gd name="T106" fmla="*/ 2147483647 w 360"/>
                <a:gd name="T107" fmla="*/ 2147483647 h 336"/>
                <a:gd name="T108" fmla="*/ 2147483647 w 360"/>
                <a:gd name="T109" fmla="*/ 2147483647 h 336"/>
                <a:gd name="T110" fmla="*/ 2147483647 w 360"/>
                <a:gd name="T111" fmla="*/ 2147483647 h 336"/>
                <a:gd name="T112" fmla="*/ 2147483647 w 360"/>
                <a:gd name="T113" fmla="*/ 2147483647 h 336"/>
                <a:gd name="T114" fmla="*/ 2147483647 w 360"/>
                <a:gd name="T115" fmla="*/ 2147483647 h 336"/>
                <a:gd name="T116" fmla="*/ 2147483647 w 360"/>
                <a:gd name="T117" fmla="*/ 2147483647 h 3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0"/>
                <a:gd name="T178" fmla="*/ 0 h 336"/>
                <a:gd name="T179" fmla="*/ 360 w 360"/>
                <a:gd name="T180" fmla="*/ 336 h 3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0" h="336">
                  <a:moveTo>
                    <a:pt x="48" y="268"/>
                  </a:moveTo>
                  <a:lnTo>
                    <a:pt x="40" y="268"/>
                  </a:lnTo>
                  <a:lnTo>
                    <a:pt x="36" y="268"/>
                  </a:lnTo>
                  <a:lnTo>
                    <a:pt x="30" y="270"/>
                  </a:lnTo>
                  <a:lnTo>
                    <a:pt x="24" y="270"/>
                  </a:lnTo>
                  <a:lnTo>
                    <a:pt x="18" y="272"/>
                  </a:lnTo>
                  <a:lnTo>
                    <a:pt x="12" y="272"/>
                  </a:lnTo>
                  <a:lnTo>
                    <a:pt x="6" y="272"/>
                  </a:lnTo>
                  <a:lnTo>
                    <a:pt x="0" y="270"/>
                  </a:lnTo>
                  <a:lnTo>
                    <a:pt x="2" y="264"/>
                  </a:lnTo>
                  <a:lnTo>
                    <a:pt x="2" y="258"/>
                  </a:lnTo>
                  <a:lnTo>
                    <a:pt x="2" y="252"/>
                  </a:lnTo>
                  <a:lnTo>
                    <a:pt x="8" y="246"/>
                  </a:lnTo>
                  <a:lnTo>
                    <a:pt x="14" y="242"/>
                  </a:lnTo>
                  <a:lnTo>
                    <a:pt x="20" y="238"/>
                  </a:lnTo>
                  <a:lnTo>
                    <a:pt x="26" y="236"/>
                  </a:lnTo>
                  <a:lnTo>
                    <a:pt x="32" y="232"/>
                  </a:lnTo>
                  <a:lnTo>
                    <a:pt x="36" y="228"/>
                  </a:lnTo>
                  <a:lnTo>
                    <a:pt x="42" y="226"/>
                  </a:lnTo>
                  <a:lnTo>
                    <a:pt x="48" y="222"/>
                  </a:lnTo>
                  <a:lnTo>
                    <a:pt x="54" y="216"/>
                  </a:lnTo>
                  <a:lnTo>
                    <a:pt x="60" y="212"/>
                  </a:lnTo>
                  <a:lnTo>
                    <a:pt x="66" y="212"/>
                  </a:lnTo>
                  <a:lnTo>
                    <a:pt x="68" y="210"/>
                  </a:lnTo>
                  <a:lnTo>
                    <a:pt x="74" y="208"/>
                  </a:lnTo>
                  <a:lnTo>
                    <a:pt x="68" y="208"/>
                  </a:lnTo>
                  <a:lnTo>
                    <a:pt x="62" y="208"/>
                  </a:lnTo>
                  <a:lnTo>
                    <a:pt x="58" y="206"/>
                  </a:lnTo>
                  <a:lnTo>
                    <a:pt x="52" y="206"/>
                  </a:lnTo>
                  <a:lnTo>
                    <a:pt x="46" y="208"/>
                  </a:lnTo>
                  <a:lnTo>
                    <a:pt x="40" y="208"/>
                  </a:lnTo>
                  <a:lnTo>
                    <a:pt x="34" y="208"/>
                  </a:lnTo>
                  <a:lnTo>
                    <a:pt x="28" y="210"/>
                  </a:lnTo>
                  <a:lnTo>
                    <a:pt x="30" y="204"/>
                  </a:lnTo>
                  <a:lnTo>
                    <a:pt x="36" y="200"/>
                  </a:lnTo>
                  <a:lnTo>
                    <a:pt x="42" y="198"/>
                  </a:lnTo>
                  <a:lnTo>
                    <a:pt x="48" y="196"/>
                  </a:lnTo>
                  <a:lnTo>
                    <a:pt x="54" y="192"/>
                  </a:lnTo>
                  <a:lnTo>
                    <a:pt x="48" y="196"/>
                  </a:lnTo>
                  <a:lnTo>
                    <a:pt x="42" y="202"/>
                  </a:lnTo>
                  <a:lnTo>
                    <a:pt x="48" y="200"/>
                  </a:lnTo>
                  <a:lnTo>
                    <a:pt x="54" y="204"/>
                  </a:lnTo>
                  <a:lnTo>
                    <a:pt x="58" y="198"/>
                  </a:lnTo>
                  <a:lnTo>
                    <a:pt x="62" y="192"/>
                  </a:lnTo>
                  <a:lnTo>
                    <a:pt x="68" y="188"/>
                  </a:lnTo>
                  <a:lnTo>
                    <a:pt x="74" y="182"/>
                  </a:lnTo>
                  <a:lnTo>
                    <a:pt x="76" y="176"/>
                  </a:lnTo>
                  <a:lnTo>
                    <a:pt x="82" y="170"/>
                  </a:lnTo>
                  <a:lnTo>
                    <a:pt x="88" y="170"/>
                  </a:lnTo>
                  <a:lnTo>
                    <a:pt x="94" y="170"/>
                  </a:lnTo>
                  <a:lnTo>
                    <a:pt x="98" y="176"/>
                  </a:lnTo>
                  <a:lnTo>
                    <a:pt x="104" y="178"/>
                  </a:lnTo>
                  <a:lnTo>
                    <a:pt x="108" y="176"/>
                  </a:lnTo>
                  <a:lnTo>
                    <a:pt x="102" y="176"/>
                  </a:lnTo>
                  <a:lnTo>
                    <a:pt x="98" y="170"/>
                  </a:lnTo>
                  <a:lnTo>
                    <a:pt x="104" y="166"/>
                  </a:lnTo>
                  <a:lnTo>
                    <a:pt x="110" y="166"/>
                  </a:lnTo>
                  <a:lnTo>
                    <a:pt x="104" y="166"/>
                  </a:lnTo>
                  <a:lnTo>
                    <a:pt x="110" y="162"/>
                  </a:lnTo>
                  <a:lnTo>
                    <a:pt x="104" y="162"/>
                  </a:lnTo>
                  <a:lnTo>
                    <a:pt x="98" y="160"/>
                  </a:lnTo>
                  <a:lnTo>
                    <a:pt x="98" y="154"/>
                  </a:lnTo>
                  <a:lnTo>
                    <a:pt x="102" y="148"/>
                  </a:lnTo>
                  <a:lnTo>
                    <a:pt x="108" y="144"/>
                  </a:lnTo>
                  <a:lnTo>
                    <a:pt x="114" y="140"/>
                  </a:lnTo>
                  <a:lnTo>
                    <a:pt x="120" y="140"/>
                  </a:lnTo>
                  <a:lnTo>
                    <a:pt x="120" y="146"/>
                  </a:lnTo>
                  <a:lnTo>
                    <a:pt x="124" y="142"/>
                  </a:lnTo>
                  <a:lnTo>
                    <a:pt x="122" y="136"/>
                  </a:lnTo>
                  <a:lnTo>
                    <a:pt x="122" y="130"/>
                  </a:lnTo>
                  <a:lnTo>
                    <a:pt x="126" y="124"/>
                  </a:lnTo>
                  <a:lnTo>
                    <a:pt x="132" y="120"/>
                  </a:lnTo>
                  <a:lnTo>
                    <a:pt x="138" y="114"/>
                  </a:lnTo>
                  <a:lnTo>
                    <a:pt x="142" y="108"/>
                  </a:lnTo>
                  <a:lnTo>
                    <a:pt x="148" y="102"/>
                  </a:lnTo>
                  <a:lnTo>
                    <a:pt x="154" y="96"/>
                  </a:lnTo>
                  <a:lnTo>
                    <a:pt x="158" y="90"/>
                  </a:lnTo>
                  <a:lnTo>
                    <a:pt x="162" y="84"/>
                  </a:lnTo>
                  <a:lnTo>
                    <a:pt x="168" y="78"/>
                  </a:lnTo>
                  <a:lnTo>
                    <a:pt x="174" y="74"/>
                  </a:lnTo>
                  <a:lnTo>
                    <a:pt x="180" y="68"/>
                  </a:lnTo>
                  <a:lnTo>
                    <a:pt x="186" y="68"/>
                  </a:lnTo>
                  <a:lnTo>
                    <a:pt x="180" y="62"/>
                  </a:lnTo>
                  <a:lnTo>
                    <a:pt x="186" y="60"/>
                  </a:lnTo>
                  <a:lnTo>
                    <a:pt x="192" y="58"/>
                  </a:lnTo>
                  <a:lnTo>
                    <a:pt x="198" y="54"/>
                  </a:lnTo>
                  <a:lnTo>
                    <a:pt x="204" y="50"/>
                  </a:lnTo>
                  <a:lnTo>
                    <a:pt x="208" y="44"/>
                  </a:lnTo>
                  <a:lnTo>
                    <a:pt x="212" y="38"/>
                  </a:lnTo>
                  <a:lnTo>
                    <a:pt x="218" y="34"/>
                  </a:lnTo>
                  <a:lnTo>
                    <a:pt x="224" y="28"/>
                  </a:lnTo>
                  <a:lnTo>
                    <a:pt x="226" y="22"/>
                  </a:lnTo>
                  <a:lnTo>
                    <a:pt x="232" y="18"/>
                  </a:lnTo>
                  <a:lnTo>
                    <a:pt x="238" y="16"/>
                  </a:lnTo>
                  <a:lnTo>
                    <a:pt x="244" y="14"/>
                  </a:lnTo>
                  <a:lnTo>
                    <a:pt x="250" y="12"/>
                  </a:lnTo>
                  <a:lnTo>
                    <a:pt x="256" y="10"/>
                  </a:lnTo>
                  <a:lnTo>
                    <a:pt x="262" y="8"/>
                  </a:lnTo>
                  <a:lnTo>
                    <a:pt x="268" y="6"/>
                  </a:lnTo>
                  <a:lnTo>
                    <a:pt x="274" y="4"/>
                  </a:lnTo>
                  <a:lnTo>
                    <a:pt x="280" y="0"/>
                  </a:lnTo>
                  <a:lnTo>
                    <a:pt x="280" y="6"/>
                  </a:lnTo>
                  <a:lnTo>
                    <a:pt x="286" y="10"/>
                  </a:lnTo>
                  <a:lnTo>
                    <a:pt x="288" y="4"/>
                  </a:lnTo>
                  <a:lnTo>
                    <a:pt x="294" y="2"/>
                  </a:lnTo>
                  <a:lnTo>
                    <a:pt x="300" y="2"/>
                  </a:lnTo>
                  <a:lnTo>
                    <a:pt x="302" y="8"/>
                  </a:lnTo>
                  <a:lnTo>
                    <a:pt x="298" y="14"/>
                  </a:lnTo>
                  <a:lnTo>
                    <a:pt x="292" y="16"/>
                  </a:lnTo>
                  <a:lnTo>
                    <a:pt x="286" y="20"/>
                  </a:lnTo>
                  <a:lnTo>
                    <a:pt x="280" y="18"/>
                  </a:lnTo>
                  <a:lnTo>
                    <a:pt x="274" y="20"/>
                  </a:lnTo>
                  <a:lnTo>
                    <a:pt x="268" y="16"/>
                  </a:lnTo>
                  <a:lnTo>
                    <a:pt x="264" y="22"/>
                  </a:lnTo>
                  <a:lnTo>
                    <a:pt x="264" y="28"/>
                  </a:lnTo>
                  <a:lnTo>
                    <a:pt x="268" y="28"/>
                  </a:lnTo>
                  <a:lnTo>
                    <a:pt x="276" y="26"/>
                  </a:lnTo>
                  <a:lnTo>
                    <a:pt x="276" y="34"/>
                  </a:lnTo>
                  <a:lnTo>
                    <a:pt x="270" y="38"/>
                  </a:lnTo>
                  <a:lnTo>
                    <a:pt x="268" y="44"/>
                  </a:lnTo>
                  <a:lnTo>
                    <a:pt x="264" y="48"/>
                  </a:lnTo>
                  <a:lnTo>
                    <a:pt x="258" y="52"/>
                  </a:lnTo>
                  <a:lnTo>
                    <a:pt x="252" y="56"/>
                  </a:lnTo>
                  <a:lnTo>
                    <a:pt x="248" y="52"/>
                  </a:lnTo>
                  <a:lnTo>
                    <a:pt x="244" y="56"/>
                  </a:lnTo>
                  <a:lnTo>
                    <a:pt x="244" y="62"/>
                  </a:lnTo>
                  <a:lnTo>
                    <a:pt x="238" y="68"/>
                  </a:lnTo>
                  <a:lnTo>
                    <a:pt x="232" y="74"/>
                  </a:lnTo>
                  <a:lnTo>
                    <a:pt x="226" y="80"/>
                  </a:lnTo>
                  <a:lnTo>
                    <a:pt x="220" y="84"/>
                  </a:lnTo>
                  <a:lnTo>
                    <a:pt x="216" y="90"/>
                  </a:lnTo>
                  <a:lnTo>
                    <a:pt x="210" y="96"/>
                  </a:lnTo>
                  <a:lnTo>
                    <a:pt x="204" y="100"/>
                  </a:lnTo>
                  <a:lnTo>
                    <a:pt x="198" y="104"/>
                  </a:lnTo>
                  <a:lnTo>
                    <a:pt x="194" y="108"/>
                  </a:lnTo>
                  <a:lnTo>
                    <a:pt x="192" y="114"/>
                  </a:lnTo>
                  <a:lnTo>
                    <a:pt x="188" y="120"/>
                  </a:lnTo>
                  <a:lnTo>
                    <a:pt x="182" y="124"/>
                  </a:lnTo>
                  <a:lnTo>
                    <a:pt x="184" y="130"/>
                  </a:lnTo>
                  <a:lnTo>
                    <a:pt x="180" y="136"/>
                  </a:lnTo>
                  <a:lnTo>
                    <a:pt x="186" y="130"/>
                  </a:lnTo>
                  <a:lnTo>
                    <a:pt x="192" y="126"/>
                  </a:lnTo>
                  <a:lnTo>
                    <a:pt x="198" y="120"/>
                  </a:lnTo>
                  <a:lnTo>
                    <a:pt x="204" y="116"/>
                  </a:lnTo>
                  <a:lnTo>
                    <a:pt x="210" y="114"/>
                  </a:lnTo>
                  <a:lnTo>
                    <a:pt x="216" y="108"/>
                  </a:lnTo>
                  <a:lnTo>
                    <a:pt x="222" y="104"/>
                  </a:lnTo>
                  <a:lnTo>
                    <a:pt x="228" y="100"/>
                  </a:lnTo>
                  <a:lnTo>
                    <a:pt x="230" y="106"/>
                  </a:lnTo>
                  <a:lnTo>
                    <a:pt x="228" y="108"/>
                  </a:lnTo>
                  <a:lnTo>
                    <a:pt x="230" y="108"/>
                  </a:lnTo>
                  <a:lnTo>
                    <a:pt x="234" y="108"/>
                  </a:lnTo>
                  <a:lnTo>
                    <a:pt x="240" y="106"/>
                  </a:lnTo>
                  <a:lnTo>
                    <a:pt x="242" y="108"/>
                  </a:lnTo>
                  <a:lnTo>
                    <a:pt x="248" y="112"/>
                  </a:lnTo>
                  <a:lnTo>
                    <a:pt x="254" y="112"/>
                  </a:lnTo>
                  <a:lnTo>
                    <a:pt x="258" y="108"/>
                  </a:lnTo>
                  <a:lnTo>
                    <a:pt x="260" y="108"/>
                  </a:lnTo>
                  <a:lnTo>
                    <a:pt x="258" y="114"/>
                  </a:lnTo>
                  <a:lnTo>
                    <a:pt x="252" y="116"/>
                  </a:lnTo>
                  <a:lnTo>
                    <a:pt x="246" y="120"/>
                  </a:lnTo>
                  <a:lnTo>
                    <a:pt x="240" y="122"/>
                  </a:lnTo>
                  <a:lnTo>
                    <a:pt x="234" y="124"/>
                  </a:lnTo>
                  <a:lnTo>
                    <a:pt x="228" y="126"/>
                  </a:lnTo>
                  <a:lnTo>
                    <a:pt x="222" y="130"/>
                  </a:lnTo>
                  <a:lnTo>
                    <a:pt x="216" y="134"/>
                  </a:lnTo>
                  <a:lnTo>
                    <a:pt x="222" y="132"/>
                  </a:lnTo>
                  <a:lnTo>
                    <a:pt x="228" y="128"/>
                  </a:lnTo>
                  <a:lnTo>
                    <a:pt x="234" y="130"/>
                  </a:lnTo>
                  <a:lnTo>
                    <a:pt x="228" y="134"/>
                  </a:lnTo>
                  <a:lnTo>
                    <a:pt x="226" y="140"/>
                  </a:lnTo>
                  <a:lnTo>
                    <a:pt x="220" y="142"/>
                  </a:lnTo>
                  <a:lnTo>
                    <a:pt x="214" y="146"/>
                  </a:lnTo>
                  <a:lnTo>
                    <a:pt x="220" y="144"/>
                  </a:lnTo>
                  <a:lnTo>
                    <a:pt x="226" y="142"/>
                  </a:lnTo>
                  <a:lnTo>
                    <a:pt x="232" y="140"/>
                  </a:lnTo>
                  <a:lnTo>
                    <a:pt x="238" y="144"/>
                  </a:lnTo>
                  <a:lnTo>
                    <a:pt x="244" y="144"/>
                  </a:lnTo>
                  <a:lnTo>
                    <a:pt x="242" y="150"/>
                  </a:lnTo>
                  <a:lnTo>
                    <a:pt x="242" y="152"/>
                  </a:lnTo>
                  <a:lnTo>
                    <a:pt x="248" y="146"/>
                  </a:lnTo>
                  <a:lnTo>
                    <a:pt x="254" y="142"/>
                  </a:lnTo>
                  <a:lnTo>
                    <a:pt x="254" y="148"/>
                  </a:lnTo>
                  <a:lnTo>
                    <a:pt x="254" y="154"/>
                  </a:lnTo>
                  <a:lnTo>
                    <a:pt x="260" y="150"/>
                  </a:lnTo>
                  <a:lnTo>
                    <a:pt x="260" y="144"/>
                  </a:lnTo>
                  <a:lnTo>
                    <a:pt x="266" y="138"/>
                  </a:lnTo>
                  <a:lnTo>
                    <a:pt x="266" y="146"/>
                  </a:lnTo>
                  <a:lnTo>
                    <a:pt x="260" y="150"/>
                  </a:lnTo>
                  <a:lnTo>
                    <a:pt x="258" y="156"/>
                  </a:lnTo>
                  <a:lnTo>
                    <a:pt x="252" y="160"/>
                  </a:lnTo>
                  <a:lnTo>
                    <a:pt x="248" y="166"/>
                  </a:lnTo>
                  <a:lnTo>
                    <a:pt x="244" y="172"/>
                  </a:lnTo>
                  <a:lnTo>
                    <a:pt x="250" y="170"/>
                  </a:lnTo>
                  <a:lnTo>
                    <a:pt x="256" y="168"/>
                  </a:lnTo>
                  <a:lnTo>
                    <a:pt x="254" y="162"/>
                  </a:lnTo>
                  <a:lnTo>
                    <a:pt x="260" y="158"/>
                  </a:lnTo>
                  <a:lnTo>
                    <a:pt x="266" y="156"/>
                  </a:lnTo>
                  <a:lnTo>
                    <a:pt x="270" y="158"/>
                  </a:lnTo>
                  <a:lnTo>
                    <a:pt x="276" y="156"/>
                  </a:lnTo>
                  <a:lnTo>
                    <a:pt x="278" y="150"/>
                  </a:lnTo>
                  <a:lnTo>
                    <a:pt x="278" y="156"/>
                  </a:lnTo>
                  <a:lnTo>
                    <a:pt x="284" y="154"/>
                  </a:lnTo>
                  <a:lnTo>
                    <a:pt x="290" y="150"/>
                  </a:lnTo>
                  <a:lnTo>
                    <a:pt x="296" y="144"/>
                  </a:lnTo>
                  <a:lnTo>
                    <a:pt x="302" y="140"/>
                  </a:lnTo>
                  <a:lnTo>
                    <a:pt x="302" y="146"/>
                  </a:lnTo>
                  <a:lnTo>
                    <a:pt x="300" y="152"/>
                  </a:lnTo>
                  <a:lnTo>
                    <a:pt x="296" y="158"/>
                  </a:lnTo>
                  <a:lnTo>
                    <a:pt x="298" y="158"/>
                  </a:lnTo>
                  <a:lnTo>
                    <a:pt x="302" y="154"/>
                  </a:lnTo>
                  <a:lnTo>
                    <a:pt x="306" y="148"/>
                  </a:lnTo>
                  <a:lnTo>
                    <a:pt x="312" y="148"/>
                  </a:lnTo>
                  <a:lnTo>
                    <a:pt x="318" y="148"/>
                  </a:lnTo>
                  <a:lnTo>
                    <a:pt x="324" y="144"/>
                  </a:lnTo>
                  <a:lnTo>
                    <a:pt x="330" y="146"/>
                  </a:lnTo>
                  <a:lnTo>
                    <a:pt x="336" y="148"/>
                  </a:lnTo>
                  <a:lnTo>
                    <a:pt x="342" y="150"/>
                  </a:lnTo>
                  <a:lnTo>
                    <a:pt x="348" y="156"/>
                  </a:lnTo>
                  <a:lnTo>
                    <a:pt x="352" y="158"/>
                  </a:lnTo>
                  <a:lnTo>
                    <a:pt x="346" y="164"/>
                  </a:lnTo>
                  <a:lnTo>
                    <a:pt x="340" y="168"/>
                  </a:lnTo>
                  <a:lnTo>
                    <a:pt x="334" y="174"/>
                  </a:lnTo>
                  <a:lnTo>
                    <a:pt x="328" y="174"/>
                  </a:lnTo>
                  <a:lnTo>
                    <a:pt x="322" y="178"/>
                  </a:lnTo>
                  <a:lnTo>
                    <a:pt x="316" y="182"/>
                  </a:lnTo>
                  <a:lnTo>
                    <a:pt x="310" y="186"/>
                  </a:lnTo>
                  <a:lnTo>
                    <a:pt x="304" y="188"/>
                  </a:lnTo>
                  <a:lnTo>
                    <a:pt x="310" y="188"/>
                  </a:lnTo>
                  <a:lnTo>
                    <a:pt x="316" y="188"/>
                  </a:lnTo>
                  <a:lnTo>
                    <a:pt x="322" y="188"/>
                  </a:lnTo>
                  <a:lnTo>
                    <a:pt x="318" y="192"/>
                  </a:lnTo>
                  <a:lnTo>
                    <a:pt x="312" y="192"/>
                  </a:lnTo>
                  <a:lnTo>
                    <a:pt x="312" y="198"/>
                  </a:lnTo>
                  <a:lnTo>
                    <a:pt x="312" y="200"/>
                  </a:lnTo>
                  <a:lnTo>
                    <a:pt x="318" y="198"/>
                  </a:lnTo>
                  <a:lnTo>
                    <a:pt x="320" y="192"/>
                  </a:lnTo>
                  <a:lnTo>
                    <a:pt x="324" y="198"/>
                  </a:lnTo>
                  <a:lnTo>
                    <a:pt x="330" y="196"/>
                  </a:lnTo>
                  <a:lnTo>
                    <a:pt x="324" y="200"/>
                  </a:lnTo>
                  <a:lnTo>
                    <a:pt x="318" y="204"/>
                  </a:lnTo>
                  <a:lnTo>
                    <a:pt x="310" y="204"/>
                  </a:lnTo>
                  <a:lnTo>
                    <a:pt x="316" y="204"/>
                  </a:lnTo>
                  <a:lnTo>
                    <a:pt x="310" y="210"/>
                  </a:lnTo>
                  <a:lnTo>
                    <a:pt x="306" y="212"/>
                  </a:lnTo>
                  <a:lnTo>
                    <a:pt x="298" y="214"/>
                  </a:lnTo>
                  <a:lnTo>
                    <a:pt x="296" y="218"/>
                  </a:lnTo>
                  <a:lnTo>
                    <a:pt x="302" y="216"/>
                  </a:lnTo>
                  <a:lnTo>
                    <a:pt x="308" y="214"/>
                  </a:lnTo>
                  <a:lnTo>
                    <a:pt x="314" y="212"/>
                  </a:lnTo>
                  <a:lnTo>
                    <a:pt x="310" y="218"/>
                  </a:lnTo>
                  <a:lnTo>
                    <a:pt x="314" y="212"/>
                  </a:lnTo>
                  <a:lnTo>
                    <a:pt x="320" y="208"/>
                  </a:lnTo>
                  <a:lnTo>
                    <a:pt x="320" y="214"/>
                  </a:lnTo>
                  <a:lnTo>
                    <a:pt x="324" y="212"/>
                  </a:lnTo>
                  <a:lnTo>
                    <a:pt x="330" y="212"/>
                  </a:lnTo>
                  <a:lnTo>
                    <a:pt x="336" y="206"/>
                  </a:lnTo>
                  <a:lnTo>
                    <a:pt x="342" y="202"/>
                  </a:lnTo>
                  <a:lnTo>
                    <a:pt x="346" y="208"/>
                  </a:lnTo>
                  <a:lnTo>
                    <a:pt x="352" y="204"/>
                  </a:lnTo>
                  <a:lnTo>
                    <a:pt x="358" y="200"/>
                  </a:lnTo>
                  <a:lnTo>
                    <a:pt x="360" y="204"/>
                  </a:lnTo>
                  <a:lnTo>
                    <a:pt x="356" y="210"/>
                  </a:lnTo>
                  <a:lnTo>
                    <a:pt x="350" y="216"/>
                  </a:lnTo>
                  <a:lnTo>
                    <a:pt x="344" y="220"/>
                  </a:lnTo>
                  <a:lnTo>
                    <a:pt x="338" y="218"/>
                  </a:lnTo>
                  <a:lnTo>
                    <a:pt x="336" y="220"/>
                  </a:lnTo>
                  <a:lnTo>
                    <a:pt x="330" y="224"/>
                  </a:lnTo>
                  <a:lnTo>
                    <a:pt x="324" y="228"/>
                  </a:lnTo>
                  <a:lnTo>
                    <a:pt x="318" y="232"/>
                  </a:lnTo>
                  <a:lnTo>
                    <a:pt x="312" y="230"/>
                  </a:lnTo>
                  <a:lnTo>
                    <a:pt x="306" y="228"/>
                  </a:lnTo>
                  <a:lnTo>
                    <a:pt x="302" y="234"/>
                  </a:lnTo>
                  <a:lnTo>
                    <a:pt x="308" y="238"/>
                  </a:lnTo>
                  <a:lnTo>
                    <a:pt x="314" y="238"/>
                  </a:lnTo>
                  <a:lnTo>
                    <a:pt x="308" y="242"/>
                  </a:lnTo>
                  <a:lnTo>
                    <a:pt x="302" y="242"/>
                  </a:lnTo>
                  <a:lnTo>
                    <a:pt x="306" y="242"/>
                  </a:lnTo>
                  <a:lnTo>
                    <a:pt x="314" y="240"/>
                  </a:lnTo>
                  <a:lnTo>
                    <a:pt x="310" y="246"/>
                  </a:lnTo>
                  <a:lnTo>
                    <a:pt x="304" y="250"/>
                  </a:lnTo>
                  <a:lnTo>
                    <a:pt x="304" y="256"/>
                  </a:lnTo>
                  <a:lnTo>
                    <a:pt x="298" y="254"/>
                  </a:lnTo>
                  <a:lnTo>
                    <a:pt x="298" y="260"/>
                  </a:lnTo>
                  <a:lnTo>
                    <a:pt x="298" y="264"/>
                  </a:lnTo>
                  <a:lnTo>
                    <a:pt x="304" y="264"/>
                  </a:lnTo>
                  <a:lnTo>
                    <a:pt x="300" y="270"/>
                  </a:lnTo>
                  <a:lnTo>
                    <a:pt x="302" y="276"/>
                  </a:lnTo>
                  <a:lnTo>
                    <a:pt x="308" y="274"/>
                  </a:lnTo>
                  <a:lnTo>
                    <a:pt x="310" y="268"/>
                  </a:lnTo>
                  <a:lnTo>
                    <a:pt x="314" y="264"/>
                  </a:lnTo>
                  <a:lnTo>
                    <a:pt x="318" y="258"/>
                  </a:lnTo>
                  <a:lnTo>
                    <a:pt x="324" y="252"/>
                  </a:lnTo>
                  <a:lnTo>
                    <a:pt x="328" y="246"/>
                  </a:lnTo>
                  <a:lnTo>
                    <a:pt x="334" y="242"/>
                  </a:lnTo>
                  <a:lnTo>
                    <a:pt x="340" y="238"/>
                  </a:lnTo>
                  <a:lnTo>
                    <a:pt x="346" y="240"/>
                  </a:lnTo>
                  <a:lnTo>
                    <a:pt x="352" y="234"/>
                  </a:lnTo>
                  <a:lnTo>
                    <a:pt x="358" y="236"/>
                  </a:lnTo>
                  <a:lnTo>
                    <a:pt x="352" y="238"/>
                  </a:lnTo>
                  <a:lnTo>
                    <a:pt x="348" y="246"/>
                  </a:lnTo>
                  <a:lnTo>
                    <a:pt x="342" y="250"/>
                  </a:lnTo>
                  <a:lnTo>
                    <a:pt x="336" y="256"/>
                  </a:lnTo>
                  <a:lnTo>
                    <a:pt x="332" y="264"/>
                  </a:lnTo>
                  <a:lnTo>
                    <a:pt x="326" y="268"/>
                  </a:lnTo>
                  <a:lnTo>
                    <a:pt x="328" y="274"/>
                  </a:lnTo>
                  <a:lnTo>
                    <a:pt x="326" y="280"/>
                  </a:lnTo>
                  <a:lnTo>
                    <a:pt x="332" y="280"/>
                  </a:lnTo>
                  <a:lnTo>
                    <a:pt x="336" y="276"/>
                  </a:lnTo>
                  <a:lnTo>
                    <a:pt x="344" y="274"/>
                  </a:lnTo>
                  <a:lnTo>
                    <a:pt x="348" y="268"/>
                  </a:lnTo>
                  <a:lnTo>
                    <a:pt x="352" y="262"/>
                  </a:lnTo>
                  <a:lnTo>
                    <a:pt x="358" y="260"/>
                  </a:lnTo>
                  <a:lnTo>
                    <a:pt x="356" y="264"/>
                  </a:lnTo>
                  <a:lnTo>
                    <a:pt x="358" y="272"/>
                  </a:lnTo>
                  <a:lnTo>
                    <a:pt x="358" y="276"/>
                  </a:lnTo>
                  <a:lnTo>
                    <a:pt x="352" y="282"/>
                  </a:lnTo>
                  <a:lnTo>
                    <a:pt x="348" y="288"/>
                  </a:lnTo>
                  <a:lnTo>
                    <a:pt x="346" y="290"/>
                  </a:lnTo>
                  <a:lnTo>
                    <a:pt x="340" y="296"/>
                  </a:lnTo>
                  <a:lnTo>
                    <a:pt x="336" y="302"/>
                  </a:lnTo>
                  <a:lnTo>
                    <a:pt x="334" y="308"/>
                  </a:lnTo>
                  <a:lnTo>
                    <a:pt x="332" y="314"/>
                  </a:lnTo>
                  <a:lnTo>
                    <a:pt x="326" y="320"/>
                  </a:lnTo>
                  <a:lnTo>
                    <a:pt x="322" y="328"/>
                  </a:lnTo>
                  <a:lnTo>
                    <a:pt x="316" y="332"/>
                  </a:lnTo>
                  <a:lnTo>
                    <a:pt x="310" y="336"/>
                  </a:lnTo>
                  <a:lnTo>
                    <a:pt x="306" y="330"/>
                  </a:lnTo>
                  <a:lnTo>
                    <a:pt x="298" y="332"/>
                  </a:lnTo>
                  <a:lnTo>
                    <a:pt x="294" y="334"/>
                  </a:lnTo>
                  <a:lnTo>
                    <a:pt x="288" y="336"/>
                  </a:lnTo>
                  <a:lnTo>
                    <a:pt x="286" y="330"/>
                  </a:lnTo>
                  <a:lnTo>
                    <a:pt x="288" y="324"/>
                  </a:lnTo>
                  <a:lnTo>
                    <a:pt x="294" y="318"/>
                  </a:lnTo>
                  <a:lnTo>
                    <a:pt x="288" y="324"/>
                  </a:lnTo>
                  <a:lnTo>
                    <a:pt x="292" y="318"/>
                  </a:lnTo>
                  <a:lnTo>
                    <a:pt x="298" y="314"/>
                  </a:lnTo>
                  <a:lnTo>
                    <a:pt x="292" y="312"/>
                  </a:lnTo>
                  <a:lnTo>
                    <a:pt x="298" y="306"/>
                  </a:lnTo>
                  <a:lnTo>
                    <a:pt x="302" y="300"/>
                  </a:lnTo>
                  <a:lnTo>
                    <a:pt x="296" y="302"/>
                  </a:lnTo>
                  <a:lnTo>
                    <a:pt x="290" y="306"/>
                  </a:lnTo>
                  <a:lnTo>
                    <a:pt x="284" y="310"/>
                  </a:lnTo>
                  <a:lnTo>
                    <a:pt x="278" y="316"/>
                  </a:lnTo>
                  <a:lnTo>
                    <a:pt x="272" y="320"/>
                  </a:lnTo>
                  <a:lnTo>
                    <a:pt x="266" y="322"/>
                  </a:lnTo>
                  <a:lnTo>
                    <a:pt x="260" y="322"/>
                  </a:lnTo>
                  <a:lnTo>
                    <a:pt x="258" y="322"/>
                  </a:lnTo>
                  <a:lnTo>
                    <a:pt x="260" y="316"/>
                  </a:lnTo>
                  <a:lnTo>
                    <a:pt x="264" y="310"/>
                  </a:lnTo>
                  <a:lnTo>
                    <a:pt x="268" y="304"/>
                  </a:lnTo>
                  <a:lnTo>
                    <a:pt x="274" y="298"/>
                  </a:lnTo>
                  <a:lnTo>
                    <a:pt x="280" y="294"/>
                  </a:lnTo>
                  <a:lnTo>
                    <a:pt x="280" y="290"/>
                  </a:lnTo>
                  <a:lnTo>
                    <a:pt x="286" y="288"/>
                  </a:lnTo>
                  <a:lnTo>
                    <a:pt x="292" y="282"/>
                  </a:lnTo>
                  <a:lnTo>
                    <a:pt x="290" y="276"/>
                  </a:lnTo>
                  <a:lnTo>
                    <a:pt x="290" y="270"/>
                  </a:lnTo>
                  <a:lnTo>
                    <a:pt x="290" y="264"/>
                  </a:lnTo>
                  <a:lnTo>
                    <a:pt x="290" y="258"/>
                  </a:lnTo>
                  <a:lnTo>
                    <a:pt x="286" y="252"/>
                  </a:lnTo>
                  <a:lnTo>
                    <a:pt x="280" y="250"/>
                  </a:lnTo>
                  <a:lnTo>
                    <a:pt x="278" y="258"/>
                  </a:lnTo>
                  <a:lnTo>
                    <a:pt x="272" y="264"/>
                  </a:lnTo>
                  <a:lnTo>
                    <a:pt x="268" y="270"/>
                  </a:lnTo>
                  <a:lnTo>
                    <a:pt x="262" y="274"/>
                  </a:lnTo>
                  <a:lnTo>
                    <a:pt x="260" y="280"/>
                  </a:lnTo>
                  <a:lnTo>
                    <a:pt x="254" y="284"/>
                  </a:lnTo>
                  <a:lnTo>
                    <a:pt x="248" y="286"/>
                  </a:lnTo>
                  <a:lnTo>
                    <a:pt x="252" y="280"/>
                  </a:lnTo>
                  <a:lnTo>
                    <a:pt x="258" y="274"/>
                  </a:lnTo>
                  <a:lnTo>
                    <a:pt x="252" y="280"/>
                  </a:lnTo>
                  <a:lnTo>
                    <a:pt x="246" y="284"/>
                  </a:lnTo>
                  <a:lnTo>
                    <a:pt x="240" y="286"/>
                  </a:lnTo>
                  <a:lnTo>
                    <a:pt x="234" y="284"/>
                  </a:lnTo>
                  <a:lnTo>
                    <a:pt x="228" y="290"/>
                  </a:lnTo>
                  <a:lnTo>
                    <a:pt x="222" y="294"/>
                  </a:lnTo>
                  <a:lnTo>
                    <a:pt x="220" y="300"/>
                  </a:lnTo>
                  <a:lnTo>
                    <a:pt x="214" y="306"/>
                  </a:lnTo>
                  <a:lnTo>
                    <a:pt x="208" y="308"/>
                  </a:lnTo>
                  <a:lnTo>
                    <a:pt x="204" y="314"/>
                  </a:lnTo>
                  <a:lnTo>
                    <a:pt x="198" y="316"/>
                  </a:lnTo>
                  <a:lnTo>
                    <a:pt x="194" y="320"/>
                  </a:lnTo>
                  <a:lnTo>
                    <a:pt x="188" y="316"/>
                  </a:lnTo>
                  <a:lnTo>
                    <a:pt x="182" y="318"/>
                  </a:lnTo>
                  <a:lnTo>
                    <a:pt x="176" y="318"/>
                  </a:lnTo>
                  <a:lnTo>
                    <a:pt x="170" y="320"/>
                  </a:lnTo>
                  <a:lnTo>
                    <a:pt x="164" y="318"/>
                  </a:lnTo>
                  <a:lnTo>
                    <a:pt x="166" y="312"/>
                  </a:lnTo>
                  <a:lnTo>
                    <a:pt x="172" y="306"/>
                  </a:lnTo>
                  <a:lnTo>
                    <a:pt x="178" y="304"/>
                  </a:lnTo>
                  <a:lnTo>
                    <a:pt x="184" y="304"/>
                  </a:lnTo>
                  <a:lnTo>
                    <a:pt x="190" y="302"/>
                  </a:lnTo>
                  <a:lnTo>
                    <a:pt x="196" y="300"/>
                  </a:lnTo>
                  <a:lnTo>
                    <a:pt x="200" y="296"/>
                  </a:lnTo>
                  <a:lnTo>
                    <a:pt x="206" y="294"/>
                  </a:lnTo>
                  <a:lnTo>
                    <a:pt x="210" y="286"/>
                  </a:lnTo>
                  <a:lnTo>
                    <a:pt x="216" y="280"/>
                  </a:lnTo>
                  <a:lnTo>
                    <a:pt x="218" y="280"/>
                  </a:lnTo>
                  <a:lnTo>
                    <a:pt x="224" y="278"/>
                  </a:lnTo>
                  <a:lnTo>
                    <a:pt x="230" y="276"/>
                  </a:lnTo>
                  <a:lnTo>
                    <a:pt x="236" y="274"/>
                  </a:lnTo>
                  <a:lnTo>
                    <a:pt x="242" y="268"/>
                  </a:lnTo>
                  <a:lnTo>
                    <a:pt x="248" y="266"/>
                  </a:lnTo>
                  <a:lnTo>
                    <a:pt x="242" y="268"/>
                  </a:lnTo>
                  <a:lnTo>
                    <a:pt x="236" y="270"/>
                  </a:lnTo>
                  <a:lnTo>
                    <a:pt x="230" y="270"/>
                  </a:lnTo>
                  <a:lnTo>
                    <a:pt x="232" y="264"/>
                  </a:lnTo>
                  <a:lnTo>
                    <a:pt x="238" y="258"/>
                  </a:lnTo>
                  <a:lnTo>
                    <a:pt x="232" y="262"/>
                  </a:lnTo>
                  <a:lnTo>
                    <a:pt x="226" y="268"/>
                  </a:lnTo>
                  <a:lnTo>
                    <a:pt x="220" y="266"/>
                  </a:lnTo>
                  <a:lnTo>
                    <a:pt x="214" y="266"/>
                  </a:lnTo>
                  <a:lnTo>
                    <a:pt x="208" y="266"/>
                  </a:lnTo>
                  <a:lnTo>
                    <a:pt x="208" y="272"/>
                  </a:lnTo>
                  <a:lnTo>
                    <a:pt x="206" y="278"/>
                  </a:lnTo>
                  <a:lnTo>
                    <a:pt x="200" y="280"/>
                  </a:lnTo>
                  <a:lnTo>
                    <a:pt x="196" y="284"/>
                  </a:lnTo>
                  <a:lnTo>
                    <a:pt x="196" y="278"/>
                  </a:lnTo>
                  <a:lnTo>
                    <a:pt x="190" y="278"/>
                  </a:lnTo>
                  <a:lnTo>
                    <a:pt x="184" y="280"/>
                  </a:lnTo>
                  <a:lnTo>
                    <a:pt x="188" y="274"/>
                  </a:lnTo>
                  <a:lnTo>
                    <a:pt x="182" y="274"/>
                  </a:lnTo>
                  <a:lnTo>
                    <a:pt x="176" y="276"/>
                  </a:lnTo>
                  <a:lnTo>
                    <a:pt x="170" y="278"/>
                  </a:lnTo>
                  <a:lnTo>
                    <a:pt x="176" y="274"/>
                  </a:lnTo>
                  <a:lnTo>
                    <a:pt x="182" y="272"/>
                  </a:lnTo>
                  <a:lnTo>
                    <a:pt x="188" y="270"/>
                  </a:lnTo>
                  <a:lnTo>
                    <a:pt x="194" y="266"/>
                  </a:lnTo>
                  <a:lnTo>
                    <a:pt x="188" y="268"/>
                  </a:lnTo>
                  <a:lnTo>
                    <a:pt x="186" y="262"/>
                  </a:lnTo>
                  <a:lnTo>
                    <a:pt x="192" y="256"/>
                  </a:lnTo>
                  <a:lnTo>
                    <a:pt x="196" y="250"/>
                  </a:lnTo>
                  <a:lnTo>
                    <a:pt x="190" y="256"/>
                  </a:lnTo>
                  <a:lnTo>
                    <a:pt x="184" y="258"/>
                  </a:lnTo>
                  <a:lnTo>
                    <a:pt x="178" y="262"/>
                  </a:lnTo>
                  <a:lnTo>
                    <a:pt x="176" y="256"/>
                  </a:lnTo>
                  <a:lnTo>
                    <a:pt x="172" y="262"/>
                  </a:lnTo>
                  <a:lnTo>
                    <a:pt x="168" y="268"/>
                  </a:lnTo>
                  <a:lnTo>
                    <a:pt x="162" y="268"/>
                  </a:lnTo>
                  <a:lnTo>
                    <a:pt x="164" y="262"/>
                  </a:lnTo>
                  <a:lnTo>
                    <a:pt x="160" y="268"/>
                  </a:lnTo>
                  <a:lnTo>
                    <a:pt x="154" y="270"/>
                  </a:lnTo>
                  <a:lnTo>
                    <a:pt x="148" y="268"/>
                  </a:lnTo>
                  <a:lnTo>
                    <a:pt x="142" y="268"/>
                  </a:lnTo>
                  <a:lnTo>
                    <a:pt x="142" y="272"/>
                  </a:lnTo>
                  <a:lnTo>
                    <a:pt x="136" y="274"/>
                  </a:lnTo>
                  <a:lnTo>
                    <a:pt x="128" y="274"/>
                  </a:lnTo>
                  <a:lnTo>
                    <a:pt x="124" y="270"/>
                  </a:lnTo>
                  <a:lnTo>
                    <a:pt x="116" y="272"/>
                  </a:lnTo>
                  <a:lnTo>
                    <a:pt x="112" y="270"/>
                  </a:lnTo>
                  <a:lnTo>
                    <a:pt x="106" y="270"/>
                  </a:lnTo>
                  <a:lnTo>
                    <a:pt x="108" y="268"/>
                  </a:lnTo>
                  <a:lnTo>
                    <a:pt x="100" y="268"/>
                  </a:lnTo>
                  <a:lnTo>
                    <a:pt x="94" y="268"/>
                  </a:lnTo>
                  <a:lnTo>
                    <a:pt x="88" y="270"/>
                  </a:lnTo>
                  <a:lnTo>
                    <a:pt x="82" y="268"/>
                  </a:lnTo>
                  <a:lnTo>
                    <a:pt x="76" y="266"/>
                  </a:lnTo>
                  <a:lnTo>
                    <a:pt x="70" y="264"/>
                  </a:lnTo>
                  <a:lnTo>
                    <a:pt x="64" y="264"/>
                  </a:lnTo>
                  <a:lnTo>
                    <a:pt x="60" y="266"/>
                  </a:lnTo>
                  <a:lnTo>
                    <a:pt x="52" y="266"/>
                  </a:lnTo>
                  <a:lnTo>
                    <a:pt x="56" y="260"/>
                  </a:lnTo>
                  <a:lnTo>
                    <a:pt x="52" y="264"/>
                  </a:lnTo>
                  <a:lnTo>
                    <a:pt x="48" y="2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0" name="Freeform 298"/>
            <p:cNvSpPr>
              <a:spLocks/>
            </p:cNvSpPr>
            <p:nvPr/>
          </p:nvSpPr>
          <p:spPr bwMode="auto">
            <a:xfrm>
              <a:off x="2009775" y="3835400"/>
              <a:ext cx="60325" cy="36513"/>
            </a:xfrm>
            <a:custGeom>
              <a:avLst/>
              <a:gdLst>
                <a:gd name="T0" fmla="*/ 0 w 146"/>
                <a:gd name="T1" fmla="*/ 2147483647 h 88"/>
                <a:gd name="T2" fmla="*/ 2147483647 w 146"/>
                <a:gd name="T3" fmla="*/ 2147483647 h 88"/>
                <a:gd name="T4" fmla="*/ 2147483647 w 146"/>
                <a:gd name="T5" fmla="*/ 2147483647 h 88"/>
                <a:gd name="T6" fmla="*/ 2147483647 w 146"/>
                <a:gd name="T7" fmla="*/ 2147483647 h 88"/>
                <a:gd name="T8" fmla="*/ 2147483647 w 146"/>
                <a:gd name="T9" fmla="*/ 2147483647 h 88"/>
                <a:gd name="T10" fmla="*/ 2147483647 w 146"/>
                <a:gd name="T11" fmla="*/ 2147483647 h 88"/>
                <a:gd name="T12" fmla="*/ 2147483647 w 146"/>
                <a:gd name="T13" fmla="*/ 2147483647 h 88"/>
                <a:gd name="T14" fmla="*/ 2147483647 w 146"/>
                <a:gd name="T15" fmla="*/ 2147483647 h 88"/>
                <a:gd name="T16" fmla="*/ 2147483647 w 146"/>
                <a:gd name="T17" fmla="*/ 2147483647 h 88"/>
                <a:gd name="T18" fmla="*/ 2147483647 w 146"/>
                <a:gd name="T19" fmla="*/ 0 h 88"/>
                <a:gd name="T20" fmla="*/ 2147483647 w 146"/>
                <a:gd name="T21" fmla="*/ 2147483647 h 88"/>
                <a:gd name="T22" fmla="*/ 2147483647 w 146"/>
                <a:gd name="T23" fmla="*/ 2147483647 h 88"/>
                <a:gd name="T24" fmla="*/ 2147483647 w 146"/>
                <a:gd name="T25" fmla="*/ 2147483647 h 88"/>
                <a:gd name="T26" fmla="*/ 2147483647 w 146"/>
                <a:gd name="T27" fmla="*/ 2147483647 h 88"/>
                <a:gd name="T28" fmla="*/ 2147483647 w 146"/>
                <a:gd name="T29" fmla="*/ 2147483647 h 88"/>
                <a:gd name="T30" fmla="*/ 2147483647 w 146"/>
                <a:gd name="T31" fmla="*/ 2147483647 h 88"/>
                <a:gd name="T32" fmla="*/ 2147483647 w 146"/>
                <a:gd name="T33" fmla="*/ 2147483647 h 88"/>
                <a:gd name="T34" fmla="*/ 2147483647 w 146"/>
                <a:gd name="T35" fmla="*/ 2147483647 h 88"/>
                <a:gd name="T36" fmla="*/ 2147483647 w 146"/>
                <a:gd name="T37" fmla="*/ 2147483647 h 88"/>
                <a:gd name="T38" fmla="*/ 2147483647 w 146"/>
                <a:gd name="T39" fmla="*/ 2147483647 h 88"/>
                <a:gd name="T40" fmla="*/ 2147483647 w 146"/>
                <a:gd name="T41" fmla="*/ 2147483647 h 88"/>
                <a:gd name="T42" fmla="*/ 2147483647 w 146"/>
                <a:gd name="T43" fmla="*/ 2147483647 h 88"/>
                <a:gd name="T44" fmla="*/ 2147483647 w 146"/>
                <a:gd name="T45" fmla="*/ 2147483647 h 88"/>
                <a:gd name="T46" fmla="*/ 2147483647 w 146"/>
                <a:gd name="T47" fmla="*/ 2147483647 h 88"/>
                <a:gd name="T48" fmla="*/ 2147483647 w 146"/>
                <a:gd name="T49" fmla="*/ 2147483647 h 88"/>
                <a:gd name="T50" fmla="*/ 2147483647 w 146"/>
                <a:gd name="T51" fmla="*/ 2147483647 h 88"/>
                <a:gd name="T52" fmla="*/ 2147483647 w 146"/>
                <a:gd name="T53" fmla="*/ 2147483647 h 88"/>
                <a:gd name="T54" fmla="*/ 2147483647 w 146"/>
                <a:gd name="T55" fmla="*/ 2147483647 h 88"/>
                <a:gd name="T56" fmla="*/ 2147483647 w 146"/>
                <a:gd name="T57" fmla="*/ 2147483647 h 88"/>
                <a:gd name="T58" fmla="*/ 2147483647 w 146"/>
                <a:gd name="T59" fmla="*/ 2147483647 h 88"/>
                <a:gd name="T60" fmla="*/ 2147483647 w 146"/>
                <a:gd name="T61" fmla="*/ 2147483647 h 88"/>
                <a:gd name="T62" fmla="*/ 2147483647 w 146"/>
                <a:gd name="T63" fmla="*/ 2147483647 h 88"/>
                <a:gd name="T64" fmla="*/ 2147483647 w 146"/>
                <a:gd name="T65" fmla="*/ 2147483647 h 88"/>
                <a:gd name="T66" fmla="*/ 2147483647 w 146"/>
                <a:gd name="T67" fmla="*/ 2147483647 h 88"/>
                <a:gd name="T68" fmla="*/ 2147483647 w 146"/>
                <a:gd name="T69" fmla="*/ 2147483647 h 88"/>
                <a:gd name="T70" fmla="*/ 2147483647 w 146"/>
                <a:gd name="T71" fmla="*/ 2147483647 h 88"/>
                <a:gd name="T72" fmla="*/ 2147483647 w 146"/>
                <a:gd name="T73" fmla="*/ 2147483647 h 88"/>
                <a:gd name="T74" fmla="*/ 2147483647 w 146"/>
                <a:gd name="T75" fmla="*/ 2147483647 h 88"/>
                <a:gd name="T76" fmla="*/ 2147483647 w 146"/>
                <a:gd name="T77" fmla="*/ 2147483647 h 88"/>
                <a:gd name="T78" fmla="*/ 2147483647 w 146"/>
                <a:gd name="T79" fmla="*/ 2147483647 h 88"/>
                <a:gd name="T80" fmla="*/ 2147483647 w 146"/>
                <a:gd name="T81" fmla="*/ 2147483647 h 88"/>
                <a:gd name="T82" fmla="*/ 2147483647 w 146"/>
                <a:gd name="T83" fmla="*/ 2147483647 h 88"/>
                <a:gd name="T84" fmla="*/ 2147483647 w 146"/>
                <a:gd name="T85" fmla="*/ 2147483647 h 88"/>
                <a:gd name="T86" fmla="*/ 2147483647 w 146"/>
                <a:gd name="T87" fmla="*/ 2147483647 h 88"/>
                <a:gd name="T88" fmla="*/ 2147483647 w 146"/>
                <a:gd name="T89" fmla="*/ 2147483647 h 88"/>
                <a:gd name="T90" fmla="*/ 0 w 146"/>
                <a:gd name="T91" fmla="*/ 2147483647 h 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46"/>
                <a:gd name="T139" fmla="*/ 0 h 88"/>
                <a:gd name="T140" fmla="*/ 146 w 146"/>
                <a:gd name="T141" fmla="*/ 88 h 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46" h="88">
                  <a:moveTo>
                    <a:pt x="0" y="48"/>
                  </a:moveTo>
                  <a:lnTo>
                    <a:pt x="0" y="46"/>
                  </a:lnTo>
                  <a:lnTo>
                    <a:pt x="0" y="40"/>
                  </a:lnTo>
                  <a:lnTo>
                    <a:pt x="6" y="34"/>
                  </a:lnTo>
                  <a:lnTo>
                    <a:pt x="8" y="34"/>
                  </a:lnTo>
                  <a:lnTo>
                    <a:pt x="14" y="28"/>
                  </a:lnTo>
                  <a:lnTo>
                    <a:pt x="16" y="26"/>
                  </a:lnTo>
                  <a:lnTo>
                    <a:pt x="18" y="26"/>
                  </a:lnTo>
                  <a:lnTo>
                    <a:pt x="24" y="28"/>
                  </a:lnTo>
                  <a:lnTo>
                    <a:pt x="24" y="22"/>
                  </a:lnTo>
                  <a:lnTo>
                    <a:pt x="30" y="18"/>
                  </a:lnTo>
                  <a:lnTo>
                    <a:pt x="32" y="16"/>
                  </a:lnTo>
                  <a:lnTo>
                    <a:pt x="38" y="16"/>
                  </a:lnTo>
                  <a:lnTo>
                    <a:pt x="36" y="6"/>
                  </a:lnTo>
                  <a:lnTo>
                    <a:pt x="38" y="4"/>
                  </a:lnTo>
                  <a:lnTo>
                    <a:pt x="40" y="2"/>
                  </a:lnTo>
                  <a:lnTo>
                    <a:pt x="42" y="2"/>
                  </a:lnTo>
                  <a:lnTo>
                    <a:pt x="44" y="2"/>
                  </a:lnTo>
                  <a:lnTo>
                    <a:pt x="50" y="0"/>
                  </a:lnTo>
                  <a:lnTo>
                    <a:pt x="52" y="4"/>
                  </a:lnTo>
                  <a:lnTo>
                    <a:pt x="58" y="4"/>
                  </a:lnTo>
                  <a:lnTo>
                    <a:pt x="64" y="8"/>
                  </a:lnTo>
                  <a:lnTo>
                    <a:pt x="68" y="8"/>
                  </a:lnTo>
                  <a:lnTo>
                    <a:pt x="72" y="14"/>
                  </a:lnTo>
                  <a:lnTo>
                    <a:pt x="72" y="16"/>
                  </a:lnTo>
                  <a:lnTo>
                    <a:pt x="78" y="20"/>
                  </a:lnTo>
                  <a:lnTo>
                    <a:pt x="78" y="22"/>
                  </a:lnTo>
                  <a:lnTo>
                    <a:pt x="84" y="22"/>
                  </a:lnTo>
                  <a:lnTo>
                    <a:pt x="86" y="28"/>
                  </a:lnTo>
                  <a:lnTo>
                    <a:pt x="88" y="30"/>
                  </a:lnTo>
                  <a:lnTo>
                    <a:pt x="92" y="30"/>
                  </a:lnTo>
                  <a:lnTo>
                    <a:pt x="98" y="32"/>
                  </a:lnTo>
                  <a:lnTo>
                    <a:pt x="98" y="38"/>
                  </a:lnTo>
                  <a:lnTo>
                    <a:pt x="98" y="40"/>
                  </a:lnTo>
                  <a:lnTo>
                    <a:pt x="104" y="38"/>
                  </a:lnTo>
                  <a:lnTo>
                    <a:pt x="106" y="40"/>
                  </a:lnTo>
                  <a:lnTo>
                    <a:pt x="108" y="38"/>
                  </a:lnTo>
                  <a:lnTo>
                    <a:pt x="112" y="38"/>
                  </a:lnTo>
                  <a:lnTo>
                    <a:pt x="116" y="32"/>
                  </a:lnTo>
                  <a:lnTo>
                    <a:pt x="122" y="32"/>
                  </a:lnTo>
                  <a:lnTo>
                    <a:pt x="126" y="36"/>
                  </a:lnTo>
                  <a:lnTo>
                    <a:pt x="126" y="40"/>
                  </a:lnTo>
                  <a:lnTo>
                    <a:pt x="130" y="38"/>
                  </a:lnTo>
                  <a:lnTo>
                    <a:pt x="134" y="38"/>
                  </a:lnTo>
                  <a:lnTo>
                    <a:pt x="136" y="38"/>
                  </a:lnTo>
                  <a:lnTo>
                    <a:pt x="142" y="40"/>
                  </a:lnTo>
                  <a:lnTo>
                    <a:pt x="146" y="44"/>
                  </a:lnTo>
                  <a:lnTo>
                    <a:pt x="144" y="48"/>
                  </a:lnTo>
                  <a:lnTo>
                    <a:pt x="142" y="54"/>
                  </a:lnTo>
                  <a:lnTo>
                    <a:pt x="140" y="60"/>
                  </a:lnTo>
                  <a:lnTo>
                    <a:pt x="140" y="62"/>
                  </a:lnTo>
                  <a:lnTo>
                    <a:pt x="142" y="68"/>
                  </a:lnTo>
                  <a:lnTo>
                    <a:pt x="140" y="70"/>
                  </a:lnTo>
                  <a:lnTo>
                    <a:pt x="136" y="70"/>
                  </a:lnTo>
                  <a:lnTo>
                    <a:pt x="136" y="72"/>
                  </a:lnTo>
                  <a:lnTo>
                    <a:pt x="134" y="70"/>
                  </a:lnTo>
                  <a:lnTo>
                    <a:pt x="132" y="76"/>
                  </a:lnTo>
                  <a:lnTo>
                    <a:pt x="136" y="82"/>
                  </a:lnTo>
                  <a:lnTo>
                    <a:pt x="130" y="86"/>
                  </a:lnTo>
                  <a:lnTo>
                    <a:pt x="124" y="88"/>
                  </a:lnTo>
                  <a:lnTo>
                    <a:pt x="118" y="88"/>
                  </a:lnTo>
                  <a:lnTo>
                    <a:pt x="116" y="88"/>
                  </a:lnTo>
                  <a:lnTo>
                    <a:pt x="110" y="88"/>
                  </a:lnTo>
                  <a:lnTo>
                    <a:pt x="104" y="88"/>
                  </a:lnTo>
                  <a:lnTo>
                    <a:pt x="102" y="84"/>
                  </a:lnTo>
                  <a:lnTo>
                    <a:pt x="96" y="82"/>
                  </a:lnTo>
                  <a:lnTo>
                    <a:pt x="96" y="84"/>
                  </a:lnTo>
                  <a:lnTo>
                    <a:pt x="90" y="80"/>
                  </a:lnTo>
                  <a:lnTo>
                    <a:pt x="84" y="82"/>
                  </a:lnTo>
                  <a:lnTo>
                    <a:pt x="90" y="84"/>
                  </a:lnTo>
                  <a:lnTo>
                    <a:pt x="84" y="84"/>
                  </a:lnTo>
                  <a:lnTo>
                    <a:pt x="78" y="84"/>
                  </a:lnTo>
                  <a:lnTo>
                    <a:pt x="74" y="82"/>
                  </a:lnTo>
                  <a:lnTo>
                    <a:pt x="72" y="82"/>
                  </a:lnTo>
                  <a:lnTo>
                    <a:pt x="68" y="78"/>
                  </a:lnTo>
                  <a:lnTo>
                    <a:pt x="62" y="76"/>
                  </a:lnTo>
                  <a:lnTo>
                    <a:pt x="60" y="74"/>
                  </a:lnTo>
                  <a:lnTo>
                    <a:pt x="54" y="72"/>
                  </a:lnTo>
                  <a:lnTo>
                    <a:pt x="50" y="68"/>
                  </a:lnTo>
                  <a:lnTo>
                    <a:pt x="44" y="66"/>
                  </a:lnTo>
                  <a:lnTo>
                    <a:pt x="38" y="66"/>
                  </a:lnTo>
                  <a:lnTo>
                    <a:pt x="32" y="66"/>
                  </a:lnTo>
                  <a:lnTo>
                    <a:pt x="28" y="64"/>
                  </a:lnTo>
                  <a:lnTo>
                    <a:pt x="22" y="64"/>
                  </a:lnTo>
                  <a:lnTo>
                    <a:pt x="16" y="64"/>
                  </a:lnTo>
                  <a:lnTo>
                    <a:pt x="14" y="58"/>
                  </a:lnTo>
                  <a:lnTo>
                    <a:pt x="8" y="54"/>
                  </a:lnTo>
                  <a:lnTo>
                    <a:pt x="4" y="52"/>
                  </a:lnTo>
                  <a:lnTo>
                    <a:pt x="0" y="4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1" name="Freeform 299"/>
            <p:cNvSpPr>
              <a:spLocks/>
            </p:cNvSpPr>
            <p:nvPr/>
          </p:nvSpPr>
          <p:spPr bwMode="auto">
            <a:xfrm>
              <a:off x="2312988" y="3719513"/>
              <a:ext cx="52387" cy="22225"/>
            </a:xfrm>
            <a:custGeom>
              <a:avLst/>
              <a:gdLst>
                <a:gd name="T0" fmla="*/ 0 w 128"/>
                <a:gd name="T1" fmla="*/ 2147483647 h 56"/>
                <a:gd name="T2" fmla="*/ 2147483647 w 128"/>
                <a:gd name="T3" fmla="*/ 2147483647 h 56"/>
                <a:gd name="T4" fmla="*/ 2147483647 w 128"/>
                <a:gd name="T5" fmla="*/ 2147483647 h 56"/>
                <a:gd name="T6" fmla="*/ 2147483647 w 128"/>
                <a:gd name="T7" fmla="*/ 2147483647 h 56"/>
                <a:gd name="T8" fmla="*/ 2147483647 w 128"/>
                <a:gd name="T9" fmla="*/ 2147483647 h 56"/>
                <a:gd name="T10" fmla="*/ 2147483647 w 128"/>
                <a:gd name="T11" fmla="*/ 2147483647 h 56"/>
                <a:gd name="T12" fmla="*/ 2147483647 w 128"/>
                <a:gd name="T13" fmla="*/ 2147483647 h 56"/>
                <a:gd name="T14" fmla="*/ 2147483647 w 128"/>
                <a:gd name="T15" fmla="*/ 0 h 56"/>
                <a:gd name="T16" fmla="*/ 2147483647 w 128"/>
                <a:gd name="T17" fmla="*/ 0 h 56"/>
                <a:gd name="T18" fmla="*/ 2147483647 w 128"/>
                <a:gd name="T19" fmla="*/ 2147483647 h 56"/>
                <a:gd name="T20" fmla="*/ 2147483647 w 128"/>
                <a:gd name="T21" fmla="*/ 2147483647 h 56"/>
                <a:gd name="T22" fmla="*/ 2147483647 w 128"/>
                <a:gd name="T23" fmla="*/ 2147483647 h 56"/>
                <a:gd name="T24" fmla="*/ 2147483647 w 128"/>
                <a:gd name="T25" fmla="*/ 2147483647 h 56"/>
                <a:gd name="T26" fmla="*/ 2147483647 w 128"/>
                <a:gd name="T27" fmla="*/ 2147483647 h 56"/>
                <a:gd name="T28" fmla="*/ 2147483647 w 128"/>
                <a:gd name="T29" fmla="*/ 2147483647 h 56"/>
                <a:gd name="T30" fmla="*/ 2147483647 w 128"/>
                <a:gd name="T31" fmla="*/ 2147483647 h 56"/>
                <a:gd name="T32" fmla="*/ 2147483647 w 128"/>
                <a:gd name="T33" fmla="*/ 2147483647 h 56"/>
                <a:gd name="T34" fmla="*/ 2147483647 w 128"/>
                <a:gd name="T35" fmla="*/ 2147483647 h 56"/>
                <a:gd name="T36" fmla="*/ 2147483647 w 128"/>
                <a:gd name="T37" fmla="*/ 2147483647 h 56"/>
                <a:gd name="T38" fmla="*/ 2147483647 w 128"/>
                <a:gd name="T39" fmla="*/ 2147483647 h 56"/>
                <a:gd name="T40" fmla="*/ 2147483647 w 128"/>
                <a:gd name="T41" fmla="*/ 2147483647 h 56"/>
                <a:gd name="T42" fmla="*/ 2147483647 w 128"/>
                <a:gd name="T43" fmla="*/ 2147483647 h 56"/>
                <a:gd name="T44" fmla="*/ 2147483647 w 128"/>
                <a:gd name="T45" fmla="*/ 2147483647 h 56"/>
                <a:gd name="T46" fmla="*/ 2147483647 w 128"/>
                <a:gd name="T47" fmla="*/ 2147483647 h 56"/>
                <a:gd name="T48" fmla="*/ 2147483647 w 128"/>
                <a:gd name="T49" fmla="*/ 2147483647 h 56"/>
                <a:gd name="T50" fmla="*/ 2147483647 w 128"/>
                <a:gd name="T51" fmla="*/ 2147483647 h 56"/>
                <a:gd name="T52" fmla="*/ 2147483647 w 128"/>
                <a:gd name="T53" fmla="*/ 2147483647 h 56"/>
                <a:gd name="T54" fmla="*/ 2147483647 w 128"/>
                <a:gd name="T55" fmla="*/ 2147483647 h 56"/>
                <a:gd name="T56" fmla="*/ 2147483647 w 128"/>
                <a:gd name="T57" fmla="*/ 2147483647 h 56"/>
                <a:gd name="T58" fmla="*/ 2147483647 w 128"/>
                <a:gd name="T59" fmla="*/ 2147483647 h 56"/>
                <a:gd name="T60" fmla="*/ 2147483647 w 128"/>
                <a:gd name="T61" fmla="*/ 2147483647 h 56"/>
                <a:gd name="T62" fmla="*/ 2147483647 w 128"/>
                <a:gd name="T63" fmla="*/ 2147483647 h 56"/>
                <a:gd name="T64" fmla="*/ 2147483647 w 128"/>
                <a:gd name="T65" fmla="*/ 2147483647 h 56"/>
                <a:gd name="T66" fmla="*/ 2147483647 w 128"/>
                <a:gd name="T67" fmla="*/ 2147483647 h 56"/>
                <a:gd name="T68" fmla="*/ 2147483647 w 128"/>
                <a:gd name="T69" fmla="*/ 2147483647 h 56"/>
                <a:gd name="T70" fmla="*/ 2147483647 w 128"/>
                <a:gd name="T71" fmla="*/ 2147483647 h 56"/>
                <a:gd name="T72" fmla="*/ 2147483647 w 128"/>
                <a:gd name="T73" fmla="*/ 2147483647 h 56"/>
                <a:gd name="T74" fmla="*/ 2147483647 w 128"/>
                <a:gd name="T75" fmla="*/ 2147483647 h 56"/>
                <a:gd name="T76" fmla="*/ 2147483647 w 128"/>
                <a:gd name="T77" fmla="*/ 2147483647 h 56"/>
                <a:gd name="T78" fmla="*/ 2147483647 w 128"/>
                <a:gd name="T79" fmla="*/ 2147483647 h 56"/>
                <a:gd name="T80" fmla="*/ 2147483647 w 128"/>
                <a:gd name="T81" fmla="*/ 2147483647 h 56"/>
                <a:gd name="T82" fmla="*/ 2147483647 w 128"/>
                <a:gd name="T83" fmla="*/ 2147483647 h 56"/>
                <a:gd name="T84" fmla="*/ 2147483647 w 128"/>
                <a:gd name="T85" fmla="*/ 2147483647 h 56"/>
                <a:gd name="T86" fmla="*/ 2147483647 w 128"/>
                <a:gd name="T87" fmla="*/ 2147483647 h 56"/>
                <a:gd name="T88" fmla="*/ 2147483647 w 128"/>
                <a:gd name="T89" fmla="*/ 2147483647 h 56"/>
                <a:gd name="T90" fmla="*/ 2147483647 w 128"/>
                <a:gd name="T91" fmla="*/ 2147483647 h 56"/>
                <a:gd name="T92" fmla="*/ 2147483647 w 128"/>
                <a:gd name="T93" fmla="*/ 2147483647 h 56"/>
                <a:gd name="T94" fmla="*/ 2147483647 w 128"/>
                <a:gd name="T95" fmla="*/ 2147483647 h 56"/>
                <a:gd name="T96" fmla="*/ 2147483647 w 128"/>
                <a:gd name="T97" fmla="*/ 2147483647 h 56"/>
                <a:gd name="T98" fmla="*/ 2147483647 w 128"/>
                <a:gd name="T99" fmla="*/ 2147483647 h 56"/>
                <a:gd name="T100" fmla="*/ 2147483647 w 128"/>
                <a:gd name="T101" fmla="*/ 2147483647 h 56"/>
                <a:gd name="T102" fmla="*/ 2147483647 w 128"/>
                <a:gd name="T103" fmla="*/ 2147483647 h 56"/>
                <a:gd name="T104" fmla="*/ 2147483647 w 128"/>
                <a:gd name="T105" fmla="*/ 2147483647 h 56"/>
                <a:gd name="T106" fmla="*/ 2147483647 w 128"/>
                <a:gd name="T107" fmla="*/ 2147483647 h 56"/>
                <a:gd name="T108" fmla="*/ 2147483647 w 128"/>
                <a:gd name="T109" fmla="*/ 2147483647 h 56"/>
                <a:gd name="T110" fmla="*/ 2147483647 w 128"/>
                <a:gd name="T111" fmla="*/ 2147483647 h 56"/>
                <a:gd name="T112" fmla="*/ 2147483647 w 128"/>
                <a:gd name="T113" fmla="*/ 2147483647 h 56"/>
                <a:gd name="T114" fmla="*/ 2147483647 w 128"/>
                <a:gd name="T115" fmla="*/ 2147483647 h 56"/>
                <a:gd name="T116" fmla="*/ 0 w 128"/>
                <a:gd name="T117" fmla="*/ 2147483647 h 5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28"/>
                <a:gd name="T178" fmla="*/ 0 h 56"/>
                <a:gd name="T179" fmla="*/ 128 w 128"/>
                <a:gd name="T180" fmla="*/ 56 h 5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28" h="56">
                  <a:moveTo>
                    <a:pt x="0" y="18"/>
                  </a:moveTo>
                  <a:lnTo>
                    <a:pt x="2" y="16"/>
                  </a:lnTo>
                  <a:lnTo>
                    <a:pt x="6" y="10"/>
                  </a:lnTo>
                  <a:lnTo>
                    <a:pt x="12" y="4"/>
                  </a:lnTo>
                  <a:lnTo>
                    <a:pt x="18" y="6"/>
                  </a:lnTo>
                  <a:lnTo>
                    <a:pt x="24" y="6"/>
                  </a:lnTo>
                  <a:lnTo>
                    <a:pt x="30" y="0"/>
                  </a:lnTo>
                  <a:lnTo>
                    <a:pt x="36" y="0"/>
                  </a:lnTo>
                  <a:lnTo>
                    <a:pt x="42" y="2"/>
                  </a:lnTo>
                  <a:lnTo>
                    <a:pt x="48" y="2"/>
                  </a:lnTo>
                  <a:lnTo>
                    <a:pt x="52" y="2"/>
                  </a:lnTo>
                  <a:lnTo>
                    <a:pt x="56" y="4"/>
                  </a:lnTo>
                  <a:lnTo>
                    <a:pt x="62" y="4"/>
                  </a:lnTo>
                  <a:lnTo>
                    <a:pt x="68" y="4"/>
                  </a:lnTo>
                  <a:lnTo>
                    <a:pt x="74" y="6"/>
                  </a:lnTo>
                  <a:lnTo>
                    <a:pt x="80" y="8"/>
                  </a:lnTo>
                  <a:lnTo>
                    <a:pt x="86" y="8"/>
                  </a:lnTo>
                  <a:lnTo>
                    <a:pt x="92" y="12"/>
                  </a:lnTo>
                  <a:lnTo>
                    <a:pt x="98" y="16"/>
                  </a:lnTo>
                  <a:lnTo>
                    <a:pt x="102" y="18"/>
                  </a:lnTo>
                  <a:lnTo>
                    <a:pt x="108" y="20"/>
                  </a:lnTo>
                  <a:lnTo>
                    <a:pt x="114" y="22"/>
                  </a:lnTo>
                  <a:lnTo>
                    <a:pt x="120" y="24"/>
                  </a:lnTo>
                  <a:lnTo>
                    <a:pt x="124" y="30"/>
                  </a:lnTo>
                  <a:lnTo>
                    <a:pt x="126" y="36"/>
                  </a:lnTo>
                  <a:lnTo>
                    <a:pt x="128" y="42"/>
                  </a:lnTo>
                  <a:lnTo>
                    <a:pt x="124" y="44"/>
                  </a:lnTo>
                  <a:lnTo>
                    <a:pt x="118" y="46"/>
                  </a:lnTo>
                  <a:lnTo>
                    <a:pt x="112" y="46"/>
                  </a:lnTo>
                  <a:lnTo>
                    <a:pt x="106" y="46"/>
                  </a:lnTo>
                  <a:lnTo>
                    <a:pt x="102" y="40"/>
                  </a:lnTo>
                  <a:lnTo>
                    <a:pt x="96" y="40"/>
                  </a:lnTo>
                  <a:lnTo>
                    <a:pt x="94" y="40"/>
                  </a:lnTo>
                  <a:lnTo>
                    <a:pt x="98" y="40"/>
                  </a:lnTo>
                  <a:lnTo>
                    <a:pt x="94" y="38"/>
                  </a:lnTo>
                  <a:lnTo>
                    <a:pt x="92" y="38"/>
                  </a:lnTo>
                  <a:lnTo>
                    <a:pt x="90" y="38"/>
                  </a:lnTo>
                  <a:lnTo>
                    <a:pt x="86" y="44"/>
                  </a:lnTo>
                  <a:lnTo>
                    <a:pt x="82" y="46"/>
                  </a:lnTo>
                  <a:lnTo>
                    <a:pt x="74" y="44"/>
                  </a:lnTo>
                  <a:lnTo>
                    <a:pt x="72" y="44"/>
                  </a:lnTo>
                  <a:lnTo>
                    <a:pt x="68" y="50"/>
                  </a:lnTo>
                  <a:lnTo>
                    <a:pt x="70" y="56"/>
                  </a:lnTo>
                  <a:lnTo>
                    <a:pt x="64" y="54"/>
                  </a:lnTo>
                  <a:lnTo>
                    <a:pt x="60" y="48"/>
                  </a:lnTo>
                  <a:lnTo>
                    <a:pt x="56" y="46"/>
                  </a:lnTo>
                  <a:lnTo>
                    <a:pt x="50" y="48"/>
                  </a:lnTo>
                  <a:lnTo>
                    <a:pt x="46" y="46"/>
                  </a:lnTo>
                  <a:lnTo>
                    <a:pt x="40" y="46"/>
                  </a:lnTo>
                  <a:lnTo>
                    <a:pt x="34" y="44"/>
                  </a:lnTo>
                  <a:lnTo>
                    <a:pt x="30" y="38"/>
                  </a:lnTo>
                  <a:lnTo>
                    <a:pt x="24" y="34"/>
                  </a:lnTo>
                  <a:lnTo>
                    <a:pt x="24" y="32"/>
                  </a:lnTo>
                  <a:lnTo>
                    <a:pt x="20" y="26"/>
                  </a:lnTo>
                  <a:lnTo>
                    <a:pt x="14" y="22"/>
                  </a:lnTo>
                  <a:lnTo>
                    <a:pt x="8" y="22"/>
                  </a:lnTo>
                  <a:lnTo>
                    <a:pt x="2" y="20"/>
                  </a:lnTo>
                  <a:lnTo>
                    <a:pt x="0" y="1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2" name="Freeform 300"/>
            <p:cNvSpPr>
              <a:spLocks/>
            </p:cNvSpPr>
            <p:nvPr/>
          </p:nvSpPr>
          <p:spPr bwMode="auto">
            <a:xfrm>
              <a:off x="3832225" y="2393950"/>
              <a:ext cx="204788" cy="77788"/>
            </a:xfrm>
            <a:custGeom>
              <a:avLst/>
              <a:gdLst>
                <a:gd name="T0" fmla="*/ 2147483647 w 502"/>
                <a:gd name="T1" fmla="*/ 2147483647 h 190"/>
                <a:gd name="T2" fmla="*/ 2147483647 w 502"/>
                <a:gd name="T3" fmla="*/ 2147483647 h 190"/>
                <a:gd name="T4" fmla="*/ 2147483647 w 502"/>
                <a:gd name="T5" fmla="*/ 2147483647 h 190"/>
                <a:gd name="T6" fmla="*/ 2147483647 w 502"/>
                <a:gd name="T7" fmla="*/ 2147483647 h 190"/>
                <a:gd name="T8" fmla="*/ 2147483647 w 502"/>
                <a:gd name="T9" fmla="*/ 2147483647 h 190"/>
                <a:gd name="T10" fmla="*/ 2147483647 w 502"/>
                <a:gd name="T11" fmla="*/ 2147483647 h 190"/>
                <a:gd name="T12" fmla="*/ 2147483647 w 502"/>
                <a:gd name="T13" fmla="*/ 2147483647 h 190"/>
                <a:gd name="T14" fmla="*/ 2147483647 w 502"/>
                <a:gd name="T15" fmla="*/ 2147483647 h 190"/>
                <a:gd name="T16" fmla="*/ 2147483647 w 502"/>
                <a:gd name="T17" fmla="*/ 2147483647 h 190"/>
                <a:gd name="T18" fmla="*/ 2147483647 w 502"/>
                <a:gd name="T19" fmla="*/ 2147483647 h 190"/>
                <a:gd name="T20" fmla="*/ 2147483647 w 502"/>
                <a:gd name="T21" fmla="*/ 2147483647 h 190"/>
                <a:gd name="T22" fmla="*/ 2147483647 w 502"/>
                <a:gd name="T23" fmla="*/ 2147483647 h 190"/>
                <a:gd name="T24" fmla="*/ 2147483647 w 502"/>
                <a:gd name="T25" fmla="*/ 2147483647 h 190"/>
                <a:gd name="T26" fmla="*/ 2147483647 w 502"/>
                <a:gd name="T27" fmla="*/ 2147483647 h 190"/>
                <a:gd name="T28" fmla="*/ 2147483647 w 502"/>
                <a:gd name="T29" fmla="*/ 2147483647 h 190"/>
                <a:gd name="T30" fmla="*/ 2147483647 w 502"/>
                <a:gd name="T31" fmla="*/ 2147483647 h 190"/>
                <a:gd name="T32" fmla="*/ 2147483647 w 502"/>
                <a:gd name="T33" fmla="*/ 2147483647 h 190"/>
                <a:gd name="T34" fmla="*/ 2147483647 w 502"/>
                <a:gd name="T35" fmla="*/ 2147483647 h 190"/>
                <a:gd name="T36" fmla="*/ 2147483647 w 502"/>
                <a:gd name="T37" fmla="*/ 2147483647 h 190"/>
                <a:gd name="T38" fmla="*/ 2147483647 w 502"/>
                <a:gd name="T39" fmla="*/ 2147483647 h 190"/>
                <a:gd name="T40" fmla="*/ 2147483647 w 502"/>
                <a:gd name="T41" fmla="*/ 2147483647 h 190"/>
                <a:gd name="T42" fmla="*/ 2147483647 w 502"/>
                <a:gd name="T43" fmla="*/ 2147483647 h 190"/>
                <a:gd name="T44" fmla="*/ 2147483647 w 502"/>
                <a:gd name="T45" fmla="*/ 2147483647 h 190"/>
                <a:gd name="T46" fmla="*/ 2147483647 w 502"/>
                <a:gd name="T47" fmla="*/ 2147483647 h 190"/>
                <a:gd name="T48" fmla="*/ 2147483647 w 502"/>
                <a:gd name="T49" fmla="*/ 2147483647 h 190"/>
                <a:gd name="T50" fmla="*/ 2147483647 w 502"/>
                <a:gd name="T51" fmla="*/ 2147483647 h 190"/>
                <a:gd name="T52" fmla="*/ 2147483647 w 502"/>
                <a:gd name="T53" fmla="*/ 2147483647 h 190"/>
                <a:gd name="T54" fmla="*/ 2147483647 w 502"/>
                <a:gd name="T55" fmla="*/ 2147483647 h 190"/>
                <a:gd name="T56" fmla="*/ 2147483647 w 502"/>
                <a:gd name="T57" fmla="*/ 2147483647 h 190"/>
                <a:gd name="T58" fmla="*/ 2147483647 w 502"/>
                <a:gd name="T59" fmla="*/ 2147483647 h 190"/>
                <a:gd name="T60" fmla="*/ 2147483647 w 502"/>
                <a:gd name="T61" fmla="*/ 2147483647 h 190"/>
                <a:gd name="T62" fmla="*/ 2147483647 w 502"/>
                <a:gd name="T63" fmla="*/ 2147483647 h 190"/>
                <a:gd name="T64" fmla="*/ 2147483647 w 502"/>
                <a:gd name="T65" fmla="*/ 2147483647 h 190"/>
                <a:gd name="T66" fmla="*/ 2147483647 w 502"/>
                <a:gd name="T67" fmla="*/ 2147483647 h 190"/>
                <a:gd name="T68" fmla="*/ 2147483647 w 502"/>
                <a:gd name="T69" fmla="*/ 2147483647 h 190"/>
                <a:gd name="T70" fmla="*/ 2147483647 w 502"/>
                <a:gd name="T71" fmla="*/ 2147483647 h 190"/>
                <a:gd name="T72" fmla="*/ 2147483647 w 502"/>
                <a:gd name="T73" fmla="*/ 0 h 190"/>
                <a:gd name="T74" fmla="*/ 2147483647 w 502"/>
                <a:gd name="T75" fmla="*/ 2147483647 h 190"/>
                <a:gd name="T76" fmla="*/ 2147483647 w 502"/>
                <a:gd name="T77" fmla="*/ 2147483647 h 190"/>
                <a:gd name="T78" fmla="*/ 2147483647 w 502"/>
                <a:gd name="T79" fmla="*/ 2147483647 h 190"/>
                <a:gd name="T80" fmla="*/ 2147483647 w 502"/>
                <a:gd name="T81" fmla="*/ 2147483647 h 190"/>
                <a:gd name="T82" fmla="*/ 2147483647 w 502"/>
                <a:gd name="T83" fmla="*/ 2147483647 h 190"/>
                <a:gd name="T84" fmla="*/ 2147483647 w 502"/>
                <a:gd name="T85" fmla="*/ 2147483647 h 190"/>
                <a:gd name="T86" fmla="*/ 2147483647 w 502"/>
                <a:gd name="T87" fmla="*/ 2147483647 h 190"/>
                <a:gd name="T88" fmla="*/ 2147483647 w 502"/>
                <a:gd name="T89" fmla="*/ 2147483647 h 190"/>
                <a:gd name="T90" fmla="*/ 2147483647 w 502"/>
                <a:gd name="T91" fmla="*/ 2147483647 h 190"/>
                <a:gd name="T92" fmla="*/ 2147483647 w 502"/>
                <a:gd name="T93" fmla="*/ 2147483647 h 190"/>
                <a:gd name="T94" fmla="*/ 2147483647 w 502"/>
                <a:gd name="T95" fmla="*/ 2147483647 h 190"/>
                <a:gd name="T96" fmla="*/ 2147483647 w 502"/>
                <a:gd name="T97" fmla="*/ 2147483647 h 190"/>
                <a:gd name="T98" fmla="*/ 2147483647 w 502"/>
                <a:gd name="T99" fmla="*/ 2147483647 h 190"/>
                <a:gd name="T100" fmla="*/ 2147483647 w 502"/>
                <a:gd name="T101" fmla="*/ 2147483647 h 190"/>
                <a:gd name="T102" fmla="*/ 2147483647 w 502"/>
                <a:gd name="T103" fmla="*/ 2147483647 h 190"/>
                <a:gd name="T104" fmla="*/ 2147483647 w 502"/>
                <a:gd name="T105" fmla="*/ 2147483647 h 190"/>
                <a:gd name="T106" fmla="*/ 2147483647 w 502"/>
                <a:gd name="T107" fmla="*/ 2147483647 h 190"/>
                <a:gd name="T108" fmla="*/ 2147483647 w 502"/>
                <a:gd name="T109" fmla="*/ 2147483647 h 190"/>
                <a:gd name="T110" fmla="*/ 2147483647 w 502"/>
                <a:gd name="T111" fmla="*/ 2147483647 h 190"/>
                <a:gd name="T112" fmla="*/ 2147483647 w 502"/>
                <a:gd name="T113" fmla="*/ 2147483647 h 190"/>
                <a:gd name="T114" fmla="*/ 2147483647 w 502"/>
                <a:gd name="T115" fmla="*/ 2147483647 h 190"/>
                <a:gd name="T116" fmla="*/ 2147483647 w 502"/>
                <a:gd name="T117" fmla="*/ 2147483647 h 19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02"/>
                <a:gd name="T178" fmla="*/ 0 h 190"/>
                <a:gd name="T179" fmla="*/ 502 w 502"/>
                <a:gd name="T180" fmla="*/ 190 h 19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02" h="190">
                  <a:moveTo>
                    <a:pt x="26" y="68"/>
                  </a:moveTo>
                  <a:lnTo>
                    <a:pt x="30" y="68"/>
                  </a:lnTo>
                  <a:lnTo>
                    <a:pt x="36" y="64"/>
                  </a:lnTo>
                  <a:lnTo>
                    <a:pt x="42" y="64"/>
                  </a:lnTo>
                  <a:lnTo>
                    <a:pt x="48" y="62"/>
                  </a:lnTo>
                  <a:lnTo>
                    <a:pt x="54" y="64"/>
                  </a:lnTo>
                  <a:lnTo>
                    <a:pt x="60" y="58"/>
                  </a:lnTo>
                  <a:lnTo>
                    <a:pt x="66" y="60"/>
                  </a:lnTo>
                  <a:lnTo>
                    <a:pt x="72" y="56"/>
                  </a:lnTo>
                  <a:lnTo>
                    <a:pt x="72" y="58"/>
                  </a:lnTo>
                  <a:lnTo>
                    <a:pt x="78" y="56"/>
                  </a:lnTo>
                  <a:lnTo>
                    <a:pt x="78" y="62"/>
                  </a:lnTo>
                  <a:lnTo>
                    <a:pt x="86" y="60"/>
                  </a:lnTo>
                  <a:lnTo>
                    <a:pt x="90" y="56"/>
                  </a:lnTo>
                  <a:lnTo>
                    <a:pt x="92" y="62"/>
                  </a:lnTo>
                  <a:lnTo>
                    <a:pt x="98" y="60"/>
                  </a:lnTo>
                  <a:lnTo>
                    <a:pt x="102" y="60"/>
                  </a:lnTo>
                  <a:lnTo>
                    <a:pt x="108" y="56"/>
                  </a:lnTo>
                  <a:lnTo>
                    <a:pt x="102" y="60"/>
                  </a:lnTo>
                  <a:lnTo>
                    <a:pt x="96" y="64"/>
                  </a:lnTo>
                  <a:lnTo>
                    <a:pt x="102" y="66"/>
                  </a:lnTo>
                  <a:lnTo>
                    <a:pt x="108" y="60"/>
                  </a:lnTo>
                  <a:lnTo>
                    <a:pt x="114" y="66"/>
                  </a:lnTo>
                  <a:lnTo>
                    <a:pt x="120" y="66"/>
                  </a:lnTo>
                  <a:lnTo>
                    <a:pt x="126" y="64"/>
                  </a:lnTo>
                  <a:lnTo>
                    <a:pt x="124" y="66"/>
                  </a:lnTo>
                  <a:lnTo>
                    <a:pt x="118" y="66"/>
                  </a:lnTo>
                  <a:lnTo>
                    <a:pt x="112" y="68"/>
                  </a:lnTo>
                  <a:lnTo>
                    <a:pt x="106" y="72"/>
                  </a:lnTo>
                  <a:lnTo>
                    <a:pt x="100" y="74"/>
                  </a:lnTo>
                  <a:lnTo>
                    <a:pt x="94" y="74"/>
                  </a:lnTo>
                  <a:lnTo>
                    <a:pt x="88" y="78"/>
                  </a:lnTo>
                  <a:lnTo>
                    <a:pt x="82" y="82"/>
                  </a:lnTo>
                  <a:lnTo>
                    <a:pt x="88" y="82"/>
                  </a:lnTo>
                  <a:lnTo>
                    <a:pt x="94" y="84"/>
                  </a:lnTo>
                  <a:lnTo>
                    <a:pt x="100" y="86"/>
                  </a:lnTo>
                  <a:lnTo>
                    <a:pt x="106" y="86"/>
                  </a:lnTo>
                  <a:lnTo>
                    <a:pt x="112" y="84"/>
                  </a:lnTo>
                  <a:lnTo>
                    <a:pt x="118" y="84"/>
                  </a:lnTo>
                  <a:lnTo>
                    <a:pt x="112" y="90"/>
                  </a:lnTo>
                  <a:lnTo>
                    <a:pt x="106" y="90"/>
                  </a:lnTo>
                  <a:lnTo>
                    <a:pt x="100" y="90"/>
                  </a:lnTo>
                  <a:lnTo>
                    <a:pt x="94" y="90"/>
                  </a:lnTo>
                  <a:lnTo>
                    <a:pt x="88" y="90"/>
                  </a:lnTo>
                  <a:lnTo>
                    <a:pt x="82" y="90"/>
                  </a:lnTo>
                  <a:lnTo>
                    <a:pt x="76" y="92"/>
                  </a:lnTo>
                  <a:lnTo>
                    <a:pt x="70" y="90"/>
                  </a:lnTo>
                  <a:lnTo>
                    <a:pt x="64" y="92"/>
                  </a:lnTo>
                  <a:lnTo>
                    <a:pt x="58" y="92"/>
                  </a:lnTo>
                  <a:lnTo>
                    <a:pt x="52" y="98"/>
                  </a:lnTo>
                  <a:lnTo>
                    <a:pt x="50" y="92"/>
                  </a:lnTo>
                  <a:lnTo>
                    <a:pt x="44" y="96"/>
                  </a:lnTo>
                  <a:lnTo>
                    <a:pt x="38" y="96"/>
                  </a:lnTo>
                  <a:lnTo>
                    <a:pt x="32" y="98"/>
                  </a:lnTo>
                  <a:lnTo>
                    <a:pt x="26" y="98"/>
                  </a:lnTo>
                  <a:lnTo>
                    <a:pt x="20" y="98"/>
                  </a:lnTo>
                  <a:lnTo>
                    <a:pt x="14" y="98"/>
                  </a:lnTo>
                  <a:lnTo>
                    <a:pt x="8" y="102"/>
                  </a:lnTo>
                  <a:lnTo>
                    <a:pt x="12" y="108"/>
                  </a:lnTo>
                  <a:lnTo>
                    <a:pt x="18" y="108"/>
                  </a:lnTo>
                  <a:lnTo>
                    <a:pt x="24" y="108"/>
                  </a:lnTo>
                  <a:lnTo>
                    <a:pt x="30" y="104"/>
                  </a:lnTo>
                  <a:lnTo>
                    <a:pt x="34" y="106"/>
                  </a:lnTo>
                  <a:lnTo>
                    <a:pt x="40" y="102"/>
                  </a:lnTo>
                  <a:lnTo>
                    <a:pt x="48" y="104"/>
                  </a:lnTo>
                  <a:lnTo>
                    <a:pt x="54" y="104"/>
                  </a:lnTo>
                  <a:lnTo>
                    <a:pt x="60" y="104"/>
                  </a:lnTo>
                  <a:lnTo>
                    <a:pt x="64" y="104"/>
                  </a:lnTo>
                  <a:lnTo>
                    <a:pt x="70" y="106"/>
                  </a:lnTo>
                  <a:lnTo>
                    <a:pt x="76" y="104"/>
                  </a:lnTo>
                  <a:lnTo>
                    <a:pt x="82" y="104"/>
                  </a:lnTo>
                  <a:lnTo>
                    <a:pt x="86" y="110"/>
                  </a:lnTo>
                  <a:lnTo>
                    <a:pt x="92" y="108"/>
                  </a:lnTo>
                  <a:lnTo>
                    <a:pt x="92" y="110"/>
                  </a:lnTo>
                  <a:lnTo>
                    <a:pt x="86" y="112"/>
                  </a:lnTo>
                  <a:lnTo>
                    <a:pt x="82" y="118"/>
                  </a:lnTo>
                  <a:lnTo>
                    <a:pt x="88" y="120"/>
                  </a:lnTo>
                  <a:lnTo>
                    <a:pt x="90" y="126"/>
                  </a:lnTo>
                  <a:lnTo>
                    <a:pt x="90" y="124"/>
                  </a:lnTo>
                  <a:lnTo>
                    <a:pt x="98" y="122"/>
                  </a:lnTo>
                  <a:lnTo>
                    <a:pt x="102" y="120"/>
                  </a:lnTo>
                  <a:lnTo>
                    <a:pt x="106" y="118"/>
                  </a:lnTo>
                  <a:lnTo>
                    <a:pt x="112" y="116"/>
                  </a:lnTo>
                  <a:lnTo>
                    <a:pt x="114" y="114"/>
                  </a:lnTo>
                  <a:lnTo>
                    <a:pt x="120" y="114"/>
                  </a:lnTo>
                  <a:lnTo>
                    <a:pt x="122" y="114"/>
                  </a:lnTo>
                  <a:lnTo>
                    <a:pt x="118" y="118"/>
                  </a:lnTo>
                  <a:lnTo>
                    <a:pt x="112" y="116"/>
                  </a:lnTo>
                  <a:lnTo>
                    <a:pt x="108" y="120"/>
                  </a:lnTo>
                  <a:lnTo>
                    <a:pt x="102" y="122"/>
                  </a:lnTo>
                  <a:lnTo>
                    <a:pt x="98" y="124"/>
                  </a:lnTo>
                  <a:lnTo>
                    <a:pt x="96" y="130"/>
                  </a:lnTo>
                  <a:lnTo>
                    <a:pt x="102" y="130"/>
                  </a:lnTo>
                  <a:lnTo>
                    <a:pt x="96" y="132"/>
                  </a:lnTo>
                  <a:lnTo>
                    <a:pt x="90" y="134"/>
                  </a:lnTo>
                  <a:lnTo>
                    <a:pt x="96" y="136"/>
                  </a:lnTo>
                  <a:lnTo>
                    <a:pt x="102" y="134"/>
                  </a:lnTo>
                  <a:lnTo>
                    <a:pt x="108" y="130"/>
                  </a:lnTo>
                  <a:lnTo>
                    <a:pt x="114" y="128"/>
                  </a:lnTo>
                  <a:lnTo>
                    <a:pt x="120" y="130"/>
                  </a:lnTo>
                  <a:lnTo>
                    <a:pt x="116" y="132"/>
                  </a:lnTo>
                  <a:lnTo>
                    <a:pt x="110" y="132"/>
                  </a:lnTo>
                  <a:lnTo>
                    <a:pt x="106" y="134"/>
                  </a:lnTo>
                  <a:lnTo>
                    <a:pt x="98" y="140"/>
                  </a:lnTo>
                  <a:lnTo>
                    <a:pt x="104" y="144"/>
                  </a:lnTo>
                  <a:lnTo>
                    <a:pt x="98" y="144"/>
                  </a:lnTo>
                  <a:lnTo>
                    <a:pt x="92" y="144"/>
                  </a:lnTo>
                  <a:lnTo>
                    <a:pt x="90" y="144"/>
                  </a:lnTo>
                  <a:lnTo>
                    <a:pt x="92" y="150"/>
                  </a:lnTo>
                  <a:lnTo>
                    <a:pt x="86" y="150"/>
                  </a:lnTo>
                  <a:lnTo>
                    <a:pt x="80" y="152"/>
                  </a:lnTo>
                  <a:lnTo>
                    <a:pt x="74" y="152"/>
                  </a:lnTo>
                  <a:lnTo>
                    <a:pt x="68" y="154"/>
                  </a:lnTo>
                  <a:lnTo>
                    <a:pt x="62" y="150"/>
                  </a:lnTo>
                  <a:lnTo>
                    <a:pt x="56" y="154"/>
                  </a:lnTo>
                  <a:lnTo>
                    <a:pt x="56" y="160"/>
                  </a:lnTo>
                  <a:lnTo>
                    <a:pt x="54" y="166"/>
                  </a:lnTo>
                  <a:lnTo>
                    <a:pt x="60" y="166"/>
                  </a:lnTo>
                  <a:lnTo>
                    <a:pt x="66" y="164"/>
                  </a:lnTo>
                  <a:lnTo>
                    <a:pt x="72" y="162"/>
                  </a:lnTo>
                  <a:lnTo>
                    <a:pt x="78" y="164"/>
                  </a:lnTo>
                  <a:lnTo>
                    <a:pt x="84" y="164"/>
                  </a:lnTo>
                  <a:lnTo>
                    <a:pt x="90" y="164"/>
                  </a:lnTo>
                  <a:lnTo>
                    <a:pt x="94" y="162"/>
                  </a:lnTo>
                  <a:lnTo>
                    <a:pt x="100" y="162"/>
                  </a:lnTo>
                  <a:lnTo>
                    <a:pt x="106" y="164"/>
                  </a:lnTo>
                  <a:lnTo>
                    <a:pt x="112" y="164"/>
                  </a:lnTo>
                  <a:lnTo>
                    <a:pt x="118" y="162"/>
                  </a:lnTo>
                  <a:lnTo>
                    <a:pt x="122" y="158"/>
                  </a:lnTo>
                  <a:lnTo>
                    <a:pt x="128" y="156"/>
                  </a:lnTo>
                  <a:lnTo>
                    <a:pt x="134" y="158"/>
                  </a:lnTo>
                  <a:lnTo>
                    <a:pt x="132" y="158"/>
                  </a:lnTo>
                  <a:lnTo>
                    <a:pt x="132" y="164"/>
                  </a:lnTo>
                  <a:lnTo>
                    <a:pt x="136" y="164"/>
                  </a:lnTo>
                  <a:lnTo>
                    <a:pt x="144" y="166"/>
                  </a:lnTo>
                  <a:lnTo>
                    <a:pt x="148" y="162"/>
                  </a:lnTo>
                  <a:lnTo>
                    <a:pt x="150" y="162"/>
                  </a:lnTo>
                  <a:lnTo>
                    <a:pt x="150" y="168"/>
                  </a:lnTo>
                  <a:lnTo>
                    <a:pt x="144" y="168"/>
                  </a:lnTo>
                  <a:lnTo>
                    <a:pt x="150" y="170"/>
                  </a:lnTo>
                  <a:lnTo>
                    <a:pt x="156" y="168"/>
                  </a:lnTo>
                  <a:lnTo>
                    <a:pt x="162" y="164"/>
                  </a:lnTo>
                  <a:lnTo>
                    <a:pt x="166" y="170"/>
                  </a:lnTo>
                  <a:lnTo>
                    <a:pt x="164" y="170"/>
                  </a:lnTo>
                  <a:lnTo>
                    <a:pt x="158" y="172"/>
                  </a:lnTo>
                  <a:lnTo>
                    <a:pt x="162" y="178"/>
                  </a:lnTo>
                  <a:lnTo>
                    <a:pt x="168" y="182"/>
                  </a:lnTo>
                  <a:lnTo>
                    <a:pt x="174" y="182"/>
                  </a:lnTo>
                  <a:lnTo>
                    <a:pt x="178" y="182"/>
                  </a:lnTo>
                  <a:lnTo>
                    <a:pt x="180" y="182"/>
                  </a:lnTo>
                  <a:lnTo>
                    <a:pt x="186" y="182"/>
                  </a:lnTo>
                  <a:lnTo>
                    <a:pt x="192" y="184"/>
                  </a:lnTo>
                  <a:lnTo>
                    <a:pt x="198" y="186"/>
                  </a:lnTo>
                  <a:lnTo>
                    <a:pt x="204" y="186"/>
                  </a:lnTo>
                  <a:lnTo>
                    <a:pt x="210" y="188"/>
                  </a:lnTo>
                  <a:lnTo>
                    <a:pt x="216" y="190"/>
                  </a:lnTo>
                  <a:lnTo>
                    <a:pt x="220" y="190"/>
                  </a:lnTo>
                  <a:lnTo>
                    <a:pt x="226" y="190"/>
                  </a:lnTo>
                  <a:lnTo>
                    <a:pt x="232" y="190"/>
                  </a:lnTo>
                  <a:lnTo>
                    <a:pt x="238" y="190"/>
                  </a:lnTo>
                  <a:lnTo>
                    <a:pt x="244" y="190"/>
                  </a:lnTo>
                  <a:lnTo>
                    <a:pt x="250" y="188"/>
                  </a:lnTo>
                  <a:lnTo>
                    <a:pt x="256" y="186"/>
                  </a:lnTo>
                  <a:lnTo>
                    <a:pt x="262" y="186"/>
                  </a:lnTo>
                  <a:lnTo>
                    <a:pt x="268" y="184"/>
                  </a:lnTo>
                  <a:lnTo>
                    <a:pt x="274" y="182"/>
                  </a:lnTo>
                  <a:lnTo>
                    <a:pt x="280" y="178"/>
                  </a:lnTo>
                  <a:lnTo>
                    <a:pt x="276" y="176"/>
                  </a:lnTo>
                  <a:lnTo>
                    <a:pt x="282" y="174"/>
                  </a:lnTo>
                  <a:lnTo>
                    <a:pt x="276" y="174"/>
                  </a:lnTo>
                  <a:lnTo>
                    <a:pt x="282" y="170"/>
                  </a:lnTo>
                  <a:lnTo>
                    <a:pt x="288" y="172"/>
                  </a:lnTo>
                  <a:lnTo>
                    <a:pt x="294" y="168"/>
                  </a:lnTo>
                  <a:lnTo>
                    <a:pt x="300" y="168"/>
                  </a:lnTo>
                  <a:lnTo>
                    <a:pt x="304" y="168"/>
                  </a:lnTo>
                  <a:lnTo>
                    <a:pt x="308" y="166"/>
                  </a:lnTo>
                  <a:lnTo>
                    <a:pt x="310" y="166"/>
                  </a:lnTo>
                  <a:lnTo>
                    <a:pt x="316" y="166"/>
                  </a:lnTo>
                  <a:lnTo>
                    <a:pt x="322" y="164"/>
                  </a:lnTo>
                  <a:lnTo>
                    <a:pt x="326" y="158"/>
                  </a:lnTo>
                  <a:lnTo>
                    <a:pt x="326" y="160"/>
                  </a:lnTo>
                  <a:lnTo>
                    <a:pt x="326" y="166"/>
                  </a:lnTo>
                  <a:lnTo>
                    <a:pt x="332" y="164"/>
                  </a:lnTo>
                  <a:lnTo>
                    <a:pt x="338" y="162"/>
                  </a:lnTo>
                  <a:lnTo>
                    <a:pt x="344" y="160"/>
                  </a:lnTo>
                  <a:lnTo>
                    <a:pt x="350" y="158"/>
                  </a:lnTo>
                  <a:lnTo>
                    <a:pt x="356" y="154"/>
                  </a:lnTo>
                  <a:lnTo>
                    <a:pt x="358" y="152"/>
                  </a:lnTo>
                  <a:lnTo>
                    <a:pt x="364" y="150"/>
                  </a:lnTo>
                  <a:lnTo>
                    <a:pt x="370" y="148"/>
                  </a:lnTo>
                  <a:lnTo>
                    <a:pt x="376" y="144"/>
                  </a:lnTo>
                  <a:lnTo>
                    <a:pt x="382" y="144"/>
                  </a:lnTo>
                  <a:lnTo>
                    <a:pt x="388" y="140"/>
                  </a:lnTo>
                  <a:lnTo>
                    <a:pt x="394" y="140"/>
                  </a:lnTo>
                  <a:lnTo>
                    <a:pt x="400" y="136"/>
                  </a:lnTo>
                  <a:lnTo>
                    <a:pt x="406" y="132"/>
                  </a:lnTo>
                  <a:lnTo>
                    <a:pt x="412" y="136"/>
                  </a:lnTo>
                  <a:lnTo>
                    <a:pt x="416" y="136"/>
                  </a:lnTo>
                  <a:lnTo>
                    <a:pt x="424" y="138"/>
                  </a:lnTo>
                  <a:lnTo>
                    <a:pt x="428" y="132"/>
                  </a:lnTo>
                  <a:lnTo>
                    <a:pt x="430" y="132"/>
                  </a:lnTo>
                  <a:lnTo>
                    <a:pt x="436" y="130"/>
                  </a:lnTo>
                  <a:lnTo>
                    <a:pt x="440" y="128"/>
                  </a:lnTo>
                  <a:lnTo>
                    <a:pt x="446" y="126"/>
                  </a:lnTo>
                  <a:lnTo>
                    <a:pt x="448" y="124"/>
                  </a:lnTo>
                  <a:lnTo>
                    <a:pt x="452" y="118"/>
                  </a:lnTo>
                  <a:lnTo>
                    <a:pt x="446" y="118"/>
                  </a:lnTo>
                  <a:lnTo>
                    <a:pt x="452" y="112"/>
                  </a:lnTo>
                  <a:lnTo>
                    <a:pt x="458" y="112"/>
                  </a:lnTo>
                  <a:lnTo>
                    <a:pt x="454" y="106"/>
                  </a:lnTo>
                  <a:lnTo>
                    <a:pt x="460" y="110"/>
                  </a:lnTo>
                  <a:lnTo>
                    <a:pt x="466" y="110"/>
                  </a:lnTo>
                  <a:lnTo>
                    <a:pt x="472" y="106"/>
                  </a:lnTo>
                  <a:lnTo>
                    <a:pt x="478" y="104"/>
                  </a:lnTo>
                  <a:lnTo>
                    <a:pt x="482" y="104"/>
                  </a:lnTo>
                  <a:lnTo>
                    <a:pt x="478" y="102"/>
                  </a:lnTo>
                  <a:lnTo>
                    <a:pt x="484" y="98"/>
                  </a:lnTo>
                  <a:lnTo>
                    <a:pt x="476" y="98"/>
                  </a:lnTo>
                  <a:lnTo>
                    <a:pt x="484" y="98"/>
                  </a:lnTo>
                  <a:lnTo>
                    <a:pt x="488" y="96"/>
                  </a:lnTo>
                  <a:lnTo>
                    <a:pt x="484" y="94"/>
                  </a:lnTo>
                  <a:lnTo>
                    <a:pt x="478" y="92"/>
                  </a:lnTo>
                  <a:lnTo>
                    <a:pt x="472" y="90"/>
                  </a:lnTo>
                  <a:lnTo>
                    <a:pt x="478" y="88"/>
                  </a:lnTo>
                  <a:lnTo>
                    <a:pt x="484" y="90"/>
                  </a:lnTo>
                  <a:lnTo>
                    <a:pt x="490" y="94"/>
                  </a:lnTo>
                  <a:lnTo>
                    <a:pt x="496" y="92"/>
                  </a:lnTo>
                  <a:lnTo>
                    <a:pt x="502" y="88"/>
                  </a:lnTo>
                  <a:lnTo>
                    <a:pt x="502" y="82"/>
                  </a:lnTo>
                  <a:lnTo>
                    <a:pt x="496" y="80"/>
                  </a:lnTo>
                  <a:lnTo>
                    <a:pt x="490" y="80"/>
                  </a:lnTo>
                  <a:lnTo>
                    <a:pt x="484" y="80"/>
                  </a:lnTo>
                  <a:lnTo>
                    <a:pt x="488" y="80"/>
                  </a:lnTo>
                  <a:lnTo>
                    <a:pt x="494" y="80"/>
                  </a:lnTo>
                  <a:lnTo>
                    <a:pt x="500" y="76"/>
                  </a:lnTo>
                  <a:lnTo>
                    <a:pt x="498" y="76"/>
                  </a:lnTo>
                  <a:lnTo>
                    <a:pt x="492" y="74"/>
                  </a:lnTo>
                  <a:lnTo>
                    <a:pt x="488" y="74"/>
                  </a:lnTo>
                  <a:lnTo>
                    <a:pt x="482" y="76"/>
                  </a:lnTo>
                  <a:lnTo>
                    <a:pt x="488" y="74"/>
                  </a:lnTo>
                  <a:lnTo>
                    <a:pt x="492" y="70"/>
                  </a:lnTo>
                  <a:lnTo>
                    <a:pt x="500" y="66"/>
                  </a:lnTo>
                  <a:lnTo>
                    <a:pt x="500" y="60"/>
                  </a:lnTo>
                  <a:lnTo>
                    <a:pt x="494" y="60"/>
                  </a:lnTo>
                  <a:lnTo>
                    <a:pt x="488" y="56"/>
                  </a:lnTo>
                  <a:lnTo>
                    <a:pt x="482" y="56"/>
                  </a:lnTo>
                  <a:lnTo>
                    <a:pt x="476" y="54"/>
                  </a:lnTo>
                  <a:lnTo>
                    <a:pt x="474" y="54"/>
                  </a:lnTo>
                  <a:lnTo>
                    <a:pt x="468" y="54"/>
                  </a:lnTo>
                  <a:lnTo>
                    <a:pt x="462" y="58"/>
                  </a:lnTo>
                  <a:lnTo>
                    <a:pt x="458" y="62"/>
                  </a:lnTo>
                  <a:lnTo>
                    <a:pt x="458" y="60"/>
                  </a:lnTo>
                  <a:lnTo>
                    <a:pt x="464" y="56"/>
                  </a:lnTo>
                  <a:lnTo>
                    <a:pt x="466" y="56"/>
                  </a:lnTo>
                  <a:lnTo>
                    <a:pt x="470" y="50"/>
                  </a:lnTo>
                  <a:lnTo>
                    <a:pt x="470" y="44"/>
                  </a:lnTo>
                  <a:lnTo>
                    <a:pt x="466" y="46"/>
                  </a:lnTo>
                  <a:lnTo>
                    <a:pt x="460" y="46"/>
                  </a:lnTo>
                  <a:lnTo>
                    <a:pt x="454" y="48"/>
                  </a:lnTo>
                  <a:lnTo>
                    <a:pt x="448" y="48"/>
                  </a:lnTo>
                  <a:lnTo>
                    <a:pt x="446" y="48"/>
                  </a:lnTo>
                  <a:lnTo>
                    <a:pt x="450" y="42"/>
                  </a:lnTo>
                  <a:lnTo>
                    <a:pt x="456" y="40"/>
                  </a:lnTo>
                  <a:lnTo>
                    <a:pt x="460" y="34"/>
                  </a:lnTo>
                  <a:lnTo>
                    <a:pt x="456" y="28"/>
                  </a:lnTo>
                  <a:lnTo>
                    <a:pt x="450" y="30"/>
                  </a:lnTo>
                  <a:lnTo>
                    <a:pt x="444" y="30"/>
                  </a:lnTo>
                  <a:lnTo>
                    <a:pt x="438" y="24"/>
                  </a:lnTo>
                  <a:lnTo>
                    <a:pt x="446" y="22"/>
                  </a:lnTo>
                  <a:lnTo>
                    <a:pt x="448" y="20"/>
                  </a:lnTo>
                  <a:lnTo>
                    <a:pt x="448" y="14"/>
                  </a:lnTo>
                  <a:lnTo>
                    <a:pt x="454" y="14"/>
                  </a:lnTo>
                  <a:lnTo>
                    <a:pt x="460" y="12"/>
                  </a:lnTo>
                  <a:lnTo>
                    <a:pt x="466" y="8"/>
                  </a:lnTo>
                  <a:lnTo>
                    <a:pt x="460" y="10"/>
                  </a:lnTo>
                  <a:lnTo>
                    <a:pt x="454" y="8"/>
                  </a:lnTo>
                  <a:lnTo>
                    <a:pt x="448" y="10"/>
                  </a:lnTo>
                  <a:lnTo>
                    <a:pt x="442" y="14"/>
                  </a:lnTo>
                  <a:lnTo>
                    <a:pt x="436" y="16"/>
                  </a:lnTo>
                  <a:lnTo>
                    <a:pt x="430" y="18"/>
                  </a:lnTo>
                  <a:lnTo>
                    <a:pt x="428" y="24"/>
                  </a:lnTo>
                  <a:lnTo>
                    <a:pt x="426" y="22"/>
                  </a:lnTo>
                  <a:lnTo>
                    <a:pt x="420" y="18"/>
                  </a:lnTo>
                  <a:lnTo>
                    <a:pt x="414" y="14"/>
                  </a:lnTo>
                  <a:lnTo>
                    <a:pt x="414" y="8"/>
                  </a:lnTo>
                  <a:lnTo>
                    <a:pt x="408" y="2"/>
                  </a:lnTo>
                  <a:lnTo>
                    <a:pt x="402" y="0"/>
                  </a:lnTo>
                  <a:lnTo>
                    <a:pt x="396" y="0"/>
                  </a:lnTo>
                  <a:lnTo>
                    <a:pt x="390" y="2"/>
                  </a:lnTo>
                  <a:lnTo>
                    <a:pt x="384" y="0"/>
                  </a:lnTo>
                  <a:lnTo>
                    <a:pt x="378" y="4"/>
                  </a:lnTo>
                  <a:lnTo>
                    <a:pt x="380" y="10"/>
                  </a:lnTo>
                  <a:lnTo>
                    <a:pt x="382" y="16"/>
                  </a:lnTo>
                  <a:lnTo>
                    <a:pt x="380" y="18"/>
                  </a:lnTo>
                  <a:lnTo>
                    <a:pt x="374" y="20"/>
                  </a:lnTo>
                  <a:lnTo>
                    <a:pt x="372" y="26"/>
                  </a:lnTo>
                  <a:lnTo>
                    <a:pt x="366" y="22"/>
                  </a:lnTo>
                  <a:lnTo>
                    <a:pt x="360" y="24"/>
                  </a:lnTo>
                  <a:lnTo>
                    <a:pt x="354" y="20"/>
                  </a:lnTo>
                  <a:lnTo>
                    <a:pt x="348" y="18"/>
                  </a:lnTo>
                  <a:lnTo>
                    <a:pt x="342" y="22"/>
                  </a:lnTo>
                  <a:lnTo>
                    <a:pt x="336" y="26"/>
                  </a:lnTo>
                  <a:lnTo>
                    <a:pt x="330" y="32"/>
                  </a:lnTo>
                  <a:lnTo>
                    <a:pt x="324" y="38"/>
                  </a:lnTo>
                  <a:lnTo>
                    <a:pt x="322" y="34"/>
                  </a:lnTo>
                  <a:lnTo>
                    <a:pt x="318" y="28"/>
                  </a:lnTo>
                  <a:lnTo>
                    <a:pt x="312" y="26"/>
                  </a:lnTo>
                  <a:lnTo>
                    <a:pt x="312" y="24"/>
                  </a:lnTo>
                  <a:lnTo>
                    <a:pt x="306" y="22"/>
                  </a:lnTo>
                  <a:lnTo>
                    <a:pt x="300" y="22"/>
                  </a:lnTo>
                  <a:lnTo>
                    <a:pt x="294" y="22"/>
                  </a:lnTo>
                  <a:lnTo>
                    <a:pt x="292" y="28"/>
                  </a:lnTo>
                  <a:lnTo>
                    <a:pt x="294" y="34"/>
                  </a:lnTo>
                  <a:lnTo>
                    <a:pt x="300" y="38"/>
                  </a:lnTo>
                  <a:lnTo>
                    <a:pt x="298" y="46"/>
                  </a:lnTo>
                  <a:lnTo>
                    <a:pt x="298" y="52"/>
                  </a:lnTo>
                  <a:lnTo>
                    <a:pt x="296" y="54"/>
                  </a:lnTo>
                  <a:lnTo>
                    <a:pt x="294" y="48"/>
                  </a:lnTo>
                  <a:lnTo>
                    <a:pt x="292" y="42"/>
                  </a:lnTo>
                  <a:lnTo>
                    <a:pt x="290" y="38"/>
                  </a:lnTo>
                  <a:lnTo>
                    <a:pt x="284" y="34"/>
                  </a:lnTo>
                  <a:lnTo>
                    <a:pt x="282" y="28"/>
                  </a:lnTo>
                  <a:lnTo>
                    <a:pt x="278" y="22"/>
                  </a:lnTo>
                  <a:lnTo>
                    <a:pt x="272" y="20"/>
                  </a:lnTo>
                  <a:lnTo>
                    <a:pt x="266" y="20"/>
                  </a:lnTo>
                  <a:lnTo>
                    <a:pt x="264" y="20"/>
                  </a:lnTo>
                  <a:lnTo>
                    <a:pt x="258" y="22"/>
                  </a:lnTo>
                  <a:lnTo>
                    <a:pt x="258" y="28"/>
                  </a:lnTo>
                  <a:lnTo>
                    <a:pt x="252" y="26"/>
                  </a:lnTo>
                  <a:lnTo>
                    <a:pt x="246" y="26"/>
                  </a:lnTo>
                  <a:lnTo>
                    <a:pt x="240" y="30"/>
                  </a:lnTo>
                  <a:lnTo>
                    <a:pt x="238" y="36"/>
                  </a:lnTo>
                  <a:lnTo>
                    <a:pt x="238" y="42"/>
                  </a:lnTo>
                  <a:lnTo>
                    <a:pt x="236" y="48"/>
                  </a:lnTo>
                  <a:lnTo>
                    <a:pt x="234" y="48"/>
                  </a:lnTo>
                  <a:lnTo>
                    <a:pt x="230" y="48"/>
                  </a:lnTo>
                  <a:lnTo>
                    <a:pt x="226" y="44"/>
                  </a:lnTo>
                  <a:lnTo>
                    <a:pt x="222" y="38"/>
                  </a:lnTo>
                  <a:lnTo>
                    <a:pt x="216" y="34"/>
                  </a:lnTo>
                  <a:lnTo>
                    <a:pt x="214" y="30"/>
                  </a:lnTo>
                  <a:lnTo>
                    <a:pt x="210" y="24"/>
                  </a:lnTo>
                  <a:lnTo>
                    <a:pt x="206" y="24"/>
                  </a:lnTo>
                  <a:lnTo>
                    <a:pt x="200" y="26"/>
                  </a:lnTo>
                  <a:lnTo>
                    <a:pt x="196" y="28"/>
                  </a:lnTo>
                  <a:lnTo>
                    <a:pt x="194" y="34"/>
                  </a:lnTo>
                  <a:lnTo>
                    <a:pt x="196" y="40"/>
                  </a:lnTo>
                  <a:lnTo>
                    <a:pt x="198" y="46"/>
                  </a:lnTo>
                  <a:lnTo>
                    <a:pt x="196" y="52"/>
                  </a:lnTo>
                  <a:lnTo>
                    <a:pt x="192" y="54"/>
                  </a:lnTo>
                  <a:lnTo>
                    <a:pt x="188" y="60"/>
                  </a:lnTo>
                  <a:lnTo>
                    <a:pt x="186" y="56"/>
                  </a:lnTo>
                  <a:lnTo>
                    <a:pt x="184" y="62"/>
                  </a:lnTo>
                  <a:lnTo>
                    <a:pt x="180" y="62"/>
                  </a:lnTo>
                  <a:lnTo>
                    <a:pt x="178" y="58"/>
                  </a:lnTo>
                  <a:lnTo>
                    <a:pt x="174" y="52"/>
                  </a:lnTo>
                  <a:lnTo>
                    <a:pt x="168" y="54"/>
                  </a:lnTo>
                  <a:lnTo>
                    <a:pt x="162" y="60"/>
                  </a:lnTo>
                  <a:lnTo>
                    <a:pt x="160" y="64"/>
                  </a:lnTo>
                  <a:lnTo>
                    <a:pt x="158" y="70"/>
                  </a:lnTo>
                  <a:lnTo>
                    <a:pt x="154" y="64"/>
                  </a:lnTo>
                  <a:lnTo>
                    <a:pt x="154" y="70"/>
                  </a:lnTo>
                  <a:lnTo>
                    <a:pt x="150" y="76"/>
                  </a:lnTo>
                  <a:lnTo>
                    <a:pt x="150" y="82"/>
                  </a:lnTo>
                  <a:lnTo>
                    <a:pt x="148" y="78"/>
                  </a:lnTo>
                  <a:lnTo>
                    <a:pt x="148" y="72"/>
                  </a:lnTo>
                  <a:lnTo>
                    <a:pt x="148" y="66"/>
                  </a:lnTo>
                  <a:lnTo>
                    <a:pt x="144" y="64"/>
                  </a:lnTo>
                  <a:lnTo>
                    <a:pt x="136" y="64"/>
                  </a:lnTo>
                  <a:lnTo>
                    <a:pt x="144" y="62"/>
                  </a:lnTo>
                  <a:lnTo>
                    <a:pt x="144" y="56"/>
                  </a:lnTo>
                  <a:lnTo>
                    <a:pt x="138" y="54"/>
                  </a:lnTo>
                  <a:lnTo>
                    <a:pt x="132" y="52"/>
                  </a:lnTo>
                  <a:lnTo>
                    <a:pt x="130" y="46"/>
                  </a:lnTo>
                  <a:lnTo>
                    <a:pt x="136" y="50"/>
                  </a:lnTo>
                  <a:lnTo>
                    <a:pt x="142" y="52"/>
                  </a:lnTo>
                  <a:lnTo>
                    <a:pt x="146" y="46"/>
                  </a:lnTo>
                  <a:lnTo>
                    <a:pt x="152" y="40"/>
                  </a:lnTo>
                  <a:lnTo>
                    <a:pt x="150" y="34"/>
                  </a:lnTo>
                  <a:lnTo>
                    <a:pt x="148" y="34"/>
                  </a:lnTo>
                  <a:lnTo>
                    <a:pt x="142" y="34"/>
                  </a:lnTo>
                  <a:lnTo>
                    <a:pt x="148" y="30"/>
                  </a:lnTo>
                  <a:lnTo>
                    <a:pt x="140" y="26"/>
                  </a:lnTo>
                  <a:lnTo>
                    <a:pt x="136" y="26"/>
                  </a:lnTo>
                  <a:lnTo>
                    <a:pt x="134" y="20"/>
                  </a:lnTo>
                  <a:lnTo>
                    <a:pt x="128" y="16"/>
                  </a:lnTo>
                  <a:lnTo>
                    <a:pt x="122" y="14"/>
                  </a:lnTo>
                  <a:lnTo>
                    <a:pt x="116" y="14"/>
                  </a:lnTo>
                  <a:lnTo>
                    <a:pt x="114" y="8"/>
                  </a:lnTo>
                  <a:lnTo>
                    <a:pt x="108" y="6"/>
                  </a:lnTo>
                  <a:lnTo>
                    <a:pt x="102" y="4"/>
                  </a:lnTo>
                  <a:lnTo>
                    <a:pt x="96" y="6"/>
                  </a:lnTo>
                  <a:lnTo>
                    <a:pt x="90" y="4"/>
                  </a:lnTo>
                  <a:lnTo>
                    <a:pt x="84" y="6"/>
                  </a:lnTo>
                  <a:lnTo>
                    <a:pt x="78" y="8"/>
                  </a:lnTo>
                  <a:lnTo>
                    <a:pt x="76" y="14"/>
                  </a:lnTo>
                  <a:lnTo>
                    <a:pt x="82" y="14"/>
                  </a:lnTo>
                  <a:lnTo>
                    <a:pt x="88" y="14"/>
                  </a:lnTo>
                  <a:lnTo>
                    <a:pt x="94" y="14"/>
                  </a:lnTo>
                  <a:lnTo>
                    <a:pt x="102" y="16"/>
                  </a:lnTo>
                  <a:lnTo>
                    <a:pt x="106" y="16"/>
                  </a:lnTo>
                  <a:lnTo>
                    <a:pt x="102" y="18"/>
                  </a:lnTo>
                  <a:lnTo>
                    <a:pt x="96" y="18"/>
                  </a:lnTo>
                  <a:lnTo>
                    <a:pt x="90" y="16"/>
                  </a:lnTo>
                  <a:lnTo>
                    <a:pt x="84" y="22"/>
                  </a:lnTo>
                  <a:lnTo>
                    <a:pt x="90" y="24"/>
                  </a:lnTo>
                  <a:lnTo>
                    <a:pt x="94" y="26"/>
                  </a:lnTo>
                  <a:lnTo>
                    <a:pt x="100" y="30"/>
                  </a:lnTo>
                  <a:lnTo>
                    <a:pt x="100" y="36"/>
                  </a:lnTo>
                  <a:lnTo>
                    <a:pt x="94" y="36"/>
                  </a:lnTo>
                  <a:lnTo>
                    <a:pt x="90" y="42"/>
                  </a:lnTo>
                  <a:lnTo>
                    <a:pt x="90" y="40"/>
                  </a:lnTo>
                  <a:lnTo>
                    <a:pt x="94" y="34"/>
                  </a:lnTo>
                  <a:lnTo>
                    <a:pt x="90" y="28"/>
                  </a:lnTo>
                  <a:lnTo>
                    <a:pt x="84" y="32"/>
                  </a:lnTo>
                  <a:lnTo>
                    <a:pt x="78" y="34"/>
                  </a:lnTo>
                  <a:lnTo>
                    <a:pt x="80" y="30"/>
                  </a:lnTo>
                  <a:lnTo>
                    <a:pt x="74" y="32"/>
                  </a:lnTo>
                  <a:lnTo>
                    <a:pt x="76" y="26"/>
                  </a:lnTo>
                  <a:lnTo>
                    <a:pt x="72" y="24"/>
                  </a:lnTo>
                  <a:lnTo>
                    <a:pt x="66" y="22"/>
                  </a:lnTo>
                  <a:lnTo>
                    <a:pt x="60" y="20"/>
                  </a:lnTo>
                  <a:lnTo>
                    <a:pt x="54" y="22"/>
                  </a:lnTo>
                  <a:lnTo>
                    <a:pt x="52" y="24"/>
                  </a:lnTo>
                  <a:lnTo>
                    <a:pt x="58" y="26"/>
                  </a:lnTo>
                  <a:lnTo>
                    <a:pt x="52" y="28"/>
                  </a:lnTo>
                  <a:lnTo>
                    <a:pt x="58" y="32"/>
                  </a:lnTo>
                  <a:lnTo>
                    <a:pt x="52" y="30"/>
                  </a:lnTo>
                  <a:lnTo>
                    <a:pt x="46" y="28"/>
                  </a:lnTo>
                  <a:lnTo>
                    <a:pt x="40" y="28"/>
                  </a:lnTo>
                  <a:lnTo>
                    <a:pt x="40" y="34"/>
                  </a:lnTo>
                  <a:lnTo>
                    <a:pt x="46" y="38"/>
                  </a:lnTo>
                  <a:lnTo>
                    <a:pt x="52" y="38"/>
                  </a:lnTo>
                  <a:lnTo>
                    <a:pt x="58" y="40"/>
                  </a:lnTo>
                  <a:lnTo>
                    <a:pt x="52" y="40"/>
                  </a:lnTo>
                  <a:lnTo>
                    <a:pt x="46" y="40"/>
                  </a:lnTo>
                  <a:lnTo>
                    <a:pt x="40" y="38"/>
                  </a:lnTo>
                  <a:lnTo>
                    <a:pt x="34" y="42"/>
                  </a:lnTo>
                  <a:lnTo>
                    <a:pt x="40" y="46"/>
                  </a:lnTo>
                  <a:lnTo>
                    <a:pt x="46" y="46"/>
                  </a:lnTo>
                  <a:lnTo>
                    <a:pt x="52" y="46"/>
                  </a:lnTo>
                  <a:lnTo>
                    <a:pt x="58" y="48"/>
                  </a:lnTo>
                  <a:lnTo>
                    <a:pt x="52" y="48"/>
                  </a:lnTo>
                  <a:lnTo>
                    <a:pt x="46" y="50"/>
                  </a:lnTo>
                  <a:lnTo>
                    <a:pt x="50" y="52"/>
                  </a:lnTo>
                  <a:lnTo>
                    <a:pt x="56" y="52"/>
                  </a:lnTo>
                  <a:lnTo>
                    <a:pt x="50" y="54"/>
                  </a:lnTo>
                  <a:lnTo>
                    <a:pt x="44" y="52"/>
                  </a:lnTo>
                  <a:lnTo>
                    <a:pt x="38" y="48"/>
                  </a:lnTo>
                  <a:lnTo>
                    <a:pt x="32" y="46"/>
                  </a:lnTo>
                  <a:lnTo>
                    <a:pt x="26" y="44"/>
                  </a:lnTo>
                  <a:lnTo>
                    <a:pt x="20" y="46"/>
                  </a:lnTo>
                  <a:lnTo>
                    <a:pt x="24" y="52"/>
                  </a:lnTo>
                  <a:lnTo>
                    <a:pt x="30" y="54"/>
                  </a:lnTo>
                  <a:lnTo>
                    <a:pt x="24" y="56"/>
                  </a:lnTo>
                  <a:lnTo>
                    <a:pt x="30" y="60"/>
                  </a:lnTo>
                  <a:lnTo>
                    <a:pt x="24" y="58"/>
                  </a:lnTo>
                  <a:lnTo>
                    <a:pt x="18" y="56"/>
                  </a:lnTo>
                  <a:lnTo>
                    <a:pt x="12" y="54"/>
                  </a:lnTo>
                  <a:lnTo>
                    <a:pt x="6" y="56"/>
                  </a:lnTo>
                  <a:lnTo>
                    <a:pt x="0" y="62"/>
                  </a:lnTo>
                  <a:lnTo>
                    <a:pt x="8" y="62"/>
                  </a:lnTo>
                  <a:lnTo>
                    <a:pt x="14" y="62"/>
                  </a:lnTo>
                  <a:lnTo>
                    <a:pt x="20" y="64"/>
                  </a:lnTo>
                  <a:lnTo>
                    <a:pt x="26" y="6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3" name="Freeform 301"/>
            <p:cNvSpPr>
              <a:spLocks/>
            </p:cNvSpPr>
            <p:nvPr/>
          </p:nvSpPr>
          <p:spPr bwMode="auto">
            <a:xfrm>
              <a:off x="873125" y="2276475"/>
              <a:ext cx="895350" cy="422275"/>
            </a:xfrm>
            <a:custGeom>
              <a:avLst/>
              <a:gdLst>
                <a:gd name="T0" fmla="*/ 2147483647 w 2200"/>
                <a:gd name="T1" fmla="*/ 2147483647 h 1028"/>
                <a:gd name="T2" fmla="*/ 2147483647 w 2200"/>
                <a:gd name="T3" fmla="*/ 2147483647 h 1028"/>
                <a:gd name="T4" fmla="*/ 2147483647 w 2200"/>
                <a:gd name="T5" fmla="*/ 2147483647 h 1028"/>
                <a:gd name="T6" fmla="*/ 2147483647 w 2200"/>
                <a:gd name="T7" fmla="*/ 2147483647 h 1028"/>
                <a:gd name="T8" fmla="*/ 2147483647 w 2200"/>
                <a:gd name="T9" fmla="*/ 2147483647 h 1028"/>
                <a:gd name="T10" fmla="*/ 2147483647 w 2200"/>
                <a:gd name="T11" fmla="*/ 2147483647 h 1028"/>
                <a:gd name="T12" fmla="*/ 2147483647 w 2200"/>
                <a:gd name="T13" fmla="*/ 2147483647 h 1028"/>
                <a:gd name="T14" fmla="*/ 2147483647 w 2200"/>
                <a:gd name="T15" fmla="*/ 2147483647 h 1028"/>
                <a:gd name="T16" fmla="*/ 2147483647 w 2200"/>
                <a:gd name="T17" fmla="*/ 2147483647 h 1028"/>
                <a:gd name="T18" fmla="*/ 2147483647 w 2200"/>
                <a:gd name="T19" fmla="*/ 2147483647 h 1028"/>
                <a:gd name="T20" fmla="*/ 2147483647 w 2200"/>
                <a:gd name="T21" fmla="*/ 2147483647 h 1028"/>
                <a:gd name="T22" fmla="*/ 2147483647 w 2200"/>
                <a:gd name="T23" fmla="*/ 2147483647 h 1028"/>
                <a:gd name="T24" fmla="*/ 2147483647 w 2200"/>
                <a:gd name="T25" fmla="*/ 2147483647 h 1028"/>
                <a:gd name="T26" fmla="*/ 2147483647 w 2200"/>
                <a:gd name="T27" fmla="*/ 2147483647 h 1028"/>
                <a:gd name="T28" fmla="*/ 2147483647 w 2200"/>
                <a:gd name="T29" fmla="*/ 2147483647 h 1028"/>
                <a:gd name="T30" fmla="*/ 2147483647 w 2200"/>
                <a:gd name="T31" fmla="*/ 2147483647 h 1028"/>
                <a:gd name="T32" fmla="*/ 2147483647 w 2200"/>
                <a:gd name="T33" fmla="*/ 2147483647 h 1028"/>
                <a:gd name="T34" fmla="*/ 2147483647 w 2200"/>
                <a:gd name="T35" fmla="*/ 2147483647 h 1028"/>
                <a:gd name="T36" fmla="*/ 2147483647 w 2200"/>
                <a:gd name="T37" fmla="*/ 2147483647 h 1028"/>
                <a:gd name="T38" fmla="*/ 2147483647 w 2200"/>
                <a:gd name="T39" fmla="*/ 2147483647 h 1028"/>
                <a:gd name="T40" fmla="*/ 2147483647 w 2200"/>
                <a:gd name="T41" fmla="*/ 2147483647 h 1028"/>
                <a:gd name="T42" fmla="*/ 2147483647 w 2200"/>
                <a:gd name="T43" fmla="*/ 2147483647 h 1028"/>
                <a:gd name="T44" fmla="*/ 2147483647 w 2200"/>
                <a:gd name="T45" fmla="*/ 2147483647 h 1028"/>
                <a:gd name="T46" fmla="*/ 2147483647 w 2200"/>
                <a:gd name="T47" fmla="*/ 2147483647 h 1028"/>
                <a:gd name="T48" fmla="*/ 2147483647 w 2200"/>
                <a:gd name="T49" fmla="*/ 2147483647 h 1028"/>
                <a:gd name="T50" fmla="*/ 2147483647 w 2200"/>
                <a:gd name="T51" fmla="*/ 2147483647 h 1028"/>
                <a:gd name="T52" fmla="*/ 2147483647 w 2200"/>
                <a:gd name="T53" fmla="*/ 2147483647 h 1028"/>
                <a:gd name="T54" fmla="*/ 2147483647 w 2200"/>
                <a:gd name="T55" fmla="*/ 2147483647 h 1028"/>
                <a:gd name="T56" fmla="*/ 2147483647 w 2200"/>
                <a:gd name="T57" fmla="*/ 2147483647 h 1028"/>
                <a:gd name="T58" fmla="*/ 2147483647 w 2200"/>
                <a:gd name="T59" fmla="*/ 2147483647 h 1028"/>
                <a:gd name="T60" fmla="*/ 2147483647 w 2200"/>
                <a:gd name="T61" fmla="*/ 2147483647 h 1028"/>
                <a:gd name="T62" fmla="*/ 2147483647 w 2200"/>
                <a:gd name="T63" fmla="*/ 2147483647 h 1028"/>
                <a:gd name="T64" fmla="*/ 2147483647 w 2200"/>
                <a:gd name="T65" fmla="*/ 2147483647 h 1028"/>
                <a:gd name="T66" fmla="*/ 2147483647 w 2200"/>
                <a:gd name="T67" fmla="*/ 2147483647 h 1028"/>
                <a:gd name="T68" fmla="*/ 2147483647 w 2200"/>
                <a:gd name="T69" fmla="*/ 2147483647 h 1028"/>
                <a:gd name="T70" fmla="*/ 2147483647 w 2200"/>
                <a:gd name="T71" fmla="*/ 2147483647 h 1028"/>
                <a:gd name="T72" fmla="*/ 2147483647 w 2200"/>
                <a:gd name="T73" fmla="*/ 2147483647 h 1028"/>
                <a:gd name="T74" fmla="*/ 2147483647 w 2200"/>
                <a:gd name="T75" fmla="*/ 2147483647 h 1028"/>
                <a:gd name="T76" fmla="*/ 2147483647 w 2200"/>
                <a:gd name="T77" fmla="*/ 2147483647 h 1028"/>
                <a:gd name="T78" fmla="*/ 2147483647 w 2200"/>
                <a:gd name="T79" fmla="*/ 2147483647 h 1028"/>
                <a:gd name="T80" fmla="*/ 2147483647 w 2200"/>
                <a:gd name="T81" fmla="*/ 2147483647 h 1028"/>
                <a:gd name="T82" fmla="*/ 2147483647 w 2200"/>
                <a:gd name="T83" fmla="*/ 2147483647 h 1028"/>
                <a:gd name="T84" fmla="*/ 2147483647 w 2200"/>
                <a:gd name="T85" fmla="*/ 2147483647 h 1028"/>
                <a:gd name="T86" fmla="*/ 2147483647 w 2200"/>
                <a:gd name="T87" fmla="*/ 2147483647 h 1028"/>
                <a:gd name="T88" fmla="*/ 2147483647 w 2200"/>
                <a:gd name="T89" fmla="*/ 2147483647 h 1028"/>
                <a:gd name="T90" fmla="*/ 2147483647 w 2200"/>
                <a:gd name="T91" fmla="*/ 2147483647 h 1028"/>
                <a:gd name="T92" fmla="*/ 2147483647 w 2200"/>
                <a:gd name="T93" fmla="*/ 2147483647 h 1028"/>
                <a:gd name="T94" fmla="*/ 2147483647 w 2200"/>
                <a:gd name="T95" fmla="*/ 2147483647 h 1028"/>
                <a:gd name="T96" fmla="*/ 2147483647 w 2200"/>
                <a:gd name="T97" fmla="*/ 2147483647 h 1028"/>
                <a:gd name="T98" fmla="*/ 2147483647 w 2200"/>
                <a:gd name="T99" fmla="*/ 2147483647 h 1028"/>
                <a:gd name="T100" fmla="*/ 2147483647 w 2200"/>
                <a:gd name="T101" fmla="*/ 2147483647 h 1028"/>
                <a:gd name="T102" fmla="*/ 2147483647 w 2200"/>
                <a:gd name="T103" fmla="*/ 2147483647 h 1028"/>
                <a:gd name="T104" fmla="*/ 2147483647 w 2200"/>
                <a:gd name="T105" fmla="*/ 2147483647 h 1028"/>
                <a:gd name="T106" fmla="*/ 2147483647 w 2200"/>
                <a:gd name="T107" fmla="*/ 2147483647 h 1028"/>
                <a:gd name="T108" fmla="*/ 2147483647 w 2200"/>
                <a:gd name="T109" fmla="*/ 2147483647 h 1028"/>
                <a:gd name="T110" fmla="*/ 2147483647 w 2200"/>
                <a:gd name="T111" fmla="*/ 2147483647 h 1028"/>
                <a:gd name="T112" fmla="*/ 2147483647 w 2200"/>
                <a:gd name="T113" fmla="*/ 2147483647 h 1028"/>
                <a:gd name="T114" fmla="*/ 2147483647 w 2200"/>
                <a:gd name="T115" fmla="*/ 2147483647 h 1028"/>
                <a:gd name="T116" fmla="*/ 2147483647 w 2200"/>
                <a:gd name="T117" fmla="*/ 2147483647 h 1028"/>
                <a:gd name="T118" fmla="*/ 2147483647 w 2200"/>
                <a:gd name="T119" fmla="*/ 2147483647 h 1028"/>
                <a:gd name="T120" fmla="*/ 2147483647 w 2200"/>
                <a:gd name="T121" fmla="*/ 2147483647 h 1028"/>
                <a:gd name="T122" fmla="*/ 2147483647 w 2200"/>
                <a:gd name="T123" fmla="*/ 2147483647 h 10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200"/>
                <a:gd name="T187" fmla="*/ 0 h 1028"/>
                <a:gd name="T188" fmla="*/ 2200 w 2200"/>
                <a:gd name="T189" fmla="*/ 1028 h 10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200" h="1028">
                  <a:moveTo>
                    <a:pt x="46" y="1010"/>
                  </a:moveTo>
                  <a:lnTo>
                    <a:pt x="40" y="1014"/>
                  </a:lnTo>
                  <a:lnTo>
                    <a:pt x="34" y="1016"/>
                  </a:lnTo>
                  <a:lnTo>
                    <a:pt x="36" y="1010"/>
                  </a:lnTo>
                  <a:lnTo>
                    <a:pt x="28" y="1006"/>
                  </a:lnTo>
                  <a:lnTo>
                    <a:pt x="24" y="1008"/>
                  </a:lnTo>
                  <a:lnTo>
                    <a:pt x="24" y="1014"/>
                  </a:lnTo>
                  <a:lnTo>
                    <a:pt x="18" y="1016"/>
                  </a:lnTo>
                  <a:lnTo>
                    <a:pt x="12" y="1020"/>
                  </a:lnTo>
                  <a:lnTo>
                    <a:pt x="6" y="1022"/>
                  </a:lnTo>
                  <a:lnTo>
                    <a:pt x="0" y="1024"/>
                  </a:lnTo>
                  <a:lnTo>
                    <a:pt x="6" y="1018"/>
                  </a:lnTo>
                  <a:lnTo>
                    <a:pt x="12" y="1014"/>
                  </a:lnTo>
                  <a:lnTo>
                    <a:pt x="16" y="1010"/>
                  </a:lnTo>
                  <a:lnTo>
                    <a:pt x="22" y="1004"/>
                  </a:lnTo>
                  <a:lnTo>
                    <a:pt x="28" y="1002"/>
                  </a:lnTo>
                  <a:lnTo>
                    <a:pt x="34" y="1000"/>
                  </a:lnTo>
                  <a:lnTo>
                    <a:pt x="40" y="998"/>
                  </a:lnTo>
                  <a:lnTo>
                    <a:pt x="46" y="996"/>
                  </a:lnTo>
                  <a:lnTo>
                    <a:pt x="40" y="998"/>
                  </a:lnTo>
                  <a:lnTo>
                    <a:pt x="46" y="1000"/>
                  </a:lnTo>
                  <a:lnTo>
                    <a:pt x="52" y="998"/>
                  </a:lnTo>
                  <a:lnTo>
                    <a:pt x="58" y="994"/>
                  </a:lnTo>
                  <a:lnTo>
                    <a:pt x="64" y="992"/>
                  </a:lnTo>
                  <a:lnTo>
                    <a:pt x="70" y="990"/>
                  </a:lnTo>
                  <a:lnTo>
                    <a:pt x="76" y="990"/>
                  </a:lnTo>
                  <a:lnTo>
                    <a:pt x="82" y="988"/>
                  </a:lnTo>
                  <a:lnTo>
                    <a:pt x="88" y="980"/>
                  </a:lnTo>
                  <a:lnTo>
                    <a:pt x="94" y="978"/>
                  </a:lnTo>
                  <a:lnTo>
                    <a:pt x="100" y="976"/>
                  </a:lnTo>
                  <a:lnTo>
                    <a:pt x="106" y="972"/>
                  </a:lnTo>
                  <a:lnTo>
                    <a:pt x="112" y="970"/>
                  </a:lnTo>
                  <a:lnTo>
                    <a:pt x="118" y="968"/>
                  </a:lnTo>
                  <a:lnTo>
                    <a:pt x="124" y="966"/>
                  </a:lnTo>
                  <a:lnTo>
                    <a:pt x="130" y="964"/>
                  </a:lnTo>
                  <a:lnTo>
                    <a:pt x="136" y="960"/>
                  </a:lnTo>
                  <a:lnTo>
                    <a:pt x="142" y="960"/>
                  </a:lnTo>
                  <a:lnTo>
                    <a:pt x="146" y="956"/>
                  </a:lnTo>
                  <a:lnTo>
                    <a:pt x="154" y="954"/>
                  </a:lnTo>
                  <a:lnTo>
                    <a:pt x="160" y="952"/>
                  </a:lnTo>
                  <a:lnTo>
                    <a:pt x="166" y="952"/>
                  </a:lnTo>
                  <a:lnTo>
                    <a:pt x="172" y="950"/>
                  </a:lnTo>
                  <a:lnTo>
                    <a:pt x="178" y="950"/>
                  </a:lnTo>
                  <a:lnTo>
                    <a:pt x="184" y="948"/>
                  </a:lnTo>
                  <a:lnTo>
                    <a:pt x="190" y="948"/>
                  </a:lnTo>
                  <a:lnTo>
                    <a:pt x="184" y="948"/>
                  </a:lnTo>
                  <a:lnTo>
                    <a:pt x="190" y="950"/>
                  </a:lnTo>
                  <a:lnTo>
                    <a:pt x="196" y="950"/>
                  </a:lnTo>
                  <a:lnTo>
                    <a:pt x="202" y="948"/>
                  </a:lnTo>
                  <a:lnTo>
                    <a:pt x="208" y="948"/>
                  </a:lnTo>
                  <a:lnTo>
                    <a:pt x="202" y="950"/>
                  </a:lnTo>
                  <a:lnTo>
                    <a:pt x="196" y="952"/>
                  </a:lnTo>
                  <a:lnTo>
                    <a:pt x="196" y="958"/>
                  </a:lnTo>
                  <a:lnTo>
                    <a:pt x="194" y="964"/>
                  </a:lnTo>
                  <a:lnTo>
                    <a:pt x="200" y="964"/>
                  </a:lnTo>
                  <a:lnTo>
                    <a:pt x="202" y="960"/>
                  </a:lnTo>
                  <a:lnTo>
                    <a:pt x="208" y="954"/>
                  </a:lnTo>
                  <a:lnTo>
                    <a:pt x="214" y="956"/>
                  </a:lnTo>
                  <a:lnTo>
                    <a:pt x="220" y="954"/>
                  </a:lnTo>
                  <a:lnTo>
                    <a:pt x="222" y="960"/>
                  </a:lnTo>
                  <a:lnTo>
                    <a:pt x="228" y="958"/>
                  </a:lnTo>
                  <a:lnTo>
                    <a:pt x="224" y="952"/>
                  </a:lnTo>
                  <a:lnTo>
                    <a:pt x="228" y="946"/>
                  </a:lnTo>
                  <a:lnTo>
                    <a:pt x="234" y="942"/>
                  </a:lnTo>
                  <a:lnTo>
                    <a:pt x="240" y="938"/>
                  </a:lnTo>
                  <a:lnTo>
                    <a:pt x="246" y="934"/>
                  </a:lnTo>
                  <a:lnTo>
                    <a:pt x="252" y="930"/>
                  </a:lnTo>
                  <a:lnTo>
                    <a:pt x="258" y="928"/>
                  </a:lnTo>
                  <a:lnTo>
                    <a:pt x="264" y="926"/>
                  </a:lnTo>
                  <a:lnTo>
                    <a:pt x="270" y="924"/>
                  </a:lnTo>
                  <a:lnTo>
                    <a:pt x="276" y="920"/>
                  </a:lnTo>
                  <a:lnTo>
                    <a:pt x="282" y="918"/>
                  </a:lnTo>
                  <a:lnTo>
                    <a:pt x="288" y="918"/>
                  </a:lnTo>
                  <a:lnTo>
                    <a:pt x="294" y="916"/>
                  </a:lnTo>
                  <a:lnTo>
                    <a:pt x="300" y="912"/>
                  </a:lnTo>
                  <a:lnTo>
                    <a:pt x="306" y="910"/>
                  </a:lnTo>
                  <a:lnTo>
                    <a:pt x="312" y="908"/>
                  </a:lnTo>
                  <a:lnTo>
                    <a:pt x="318" y="908"/>
                  </a:lnTo>
                  <a:lnTo>
                    <a:pt x="324" y="906"/>
                  </a:lnTo>
                  <a:lnTo>
                    <a:pt x="330" y="904"/>
                  </a:lnTo>
                  <a:lnTo>
                    <a:pt x="338" y="904"/>
                  </a:lnTo>
                  <a:lnTo>
                    <a:pt x="342" y="902"/>
                  </a:lnTo>
                  <a:lnTo>
                    <a:pt x="348" y="898"/>
                  </a:lnTo>
                  <a:lnTo>
                    <a:pt x="354" y="896"/>
                  </a:lnTo>
                  <a:lnTo>
                    <a:pt x="360" y="896"/>
                  </a:lnTo>
                  <a:lnTo>
                    <a:pt x="366" y="892"/>
                  </a:lnTo>
                  <a:lnTo>
                    <a:pt x="372" y="896"/>
                  </a:lnTo>
                  <a:lnTo>
                    <a:pt x="378" y="896"/>
                  </a:lnTo>
                  <a:lnTo>
                    <a:pt x="384" y="894"/>
                  </a:lnTo>
                  <a:lnTo>
                    <a:pt x="388" y="888"/>
                  </a:lnTo>
                  <a:lnTo>
                    <a:pt x="394" y="882"/>
                  </a:lnTo>
                  <a:lnTo>
                    <a:pt x="400" y="878"/>
                  </a:lnTo>
                  <a:lnTo>
                    <a:pt x="406" y="876"/>
                  </a:lnTo>
                  <a:lnTo>
                    <a:pt x="414" y="872"/>
                  </a:lnTo>
                  <a:lnTo>
                    <a:pt x="418" y="870"/>
                  </a:lnTo>
                  <a:lnTo>
                    <a:pt x="426" y="866"/>
                  </a:lnTo>
                  <a:lnTo>
                    <a:pt x="432" y="864"/>
                  </a:lnTo>
                  <a:lnTo>
                    <a:pt x="438" y="862"/>
                  </a:lnTo>
                  <a:lnTo>
                    <a:pt x="444" y="860"/>
                  </a:lnTo>
                  <a:lnTo>
                    <a:pt x="450" y="858"/>
                  </a:lnTo>
                  <a:lnTo>
                    <a:pt x="456" y="856"/>
                  </a:lnTo>
                  <a:lnTo>
                    <a:pt x="462" y="854"/>
                  </a:lnTo>
                  <a:lnTo>
                    <a:pt x="468" y="850"/>
                  </a:lnTo>
                  <a:lnTo>
                    <a:pt x="474" y="848"/>
                  </a:lnTo>
                  <a:lnTo>
                    <a:pt x="480" y="846"/>
                  </a:lnTo>
                  <a:lnTo>
                    <a:pt x="486" y="846"/>
                  </a:lnTo>
                  <a:lnTo>
                    <a:pt x="482" y="850"/>
                  </a:lnTo>
                  <a:lnTo>
                    <a:pt x="488" y="850"/>
                  </a:lnTo>
                  <a:lnTo>
                    <a:pt x="494" y="850"/>
                  </a:lnTo>
                  <a:lnTo>
                    <a:pt x="500" y="846"/>
                  </a:lnTo>
                  <a:lnTo>
                    <a:pt x="496" y="850"/>
                  </a:lnTo>
                  <a:lnTo>
                    <a:pt x="490" y="850"/>
                  </a:lnTo>
                  <a:lnTo>
                    <a:pt x="488" y="850"/>
                  </a:lnTo>
                  <a:lnTo>
                    <a:pt x="494" y="844"/>
                  </a:lnTo>
                  <a:lnTo>
                    <a:pt x="494" y="838"/>
                  </a:lnTo>
                  <a:lnTo>
                    <a:pt x="500" y="834"/>
                  </a:lnTo>
                  <a:lnTo>
                    <a:pt x="506" y="830"/>
                  </a:lnTo>
                  <a:lnTo>
                    <a:pt x="512" y="826"/>
                  </a:lnTo>
                  <a:lnTo>
                    <a:pt x="518" y="822"/>
                  </a:lnTo>
                  <a:lnTo>
                    <a:pt x="524" y="816"/>
                  </a:lnTo>
                  <a:lnTo>
                    <a:pt x="530" y="812"/>
                  </a:lnTo>
                  <a:lnTo>
                    <a:pt x="536" y="808"/>
                  </a:lnTo>
                  <a:lnTo>
                    <a:pt x="542" y="806"/>
                  </a:lnTo>
                  <a:lnTo>
                    <a:pt x="548" y="806"/>
                  </a:lnTo>
                  <a:lnTo>
                    <a:pt x="554" y="804"/>
                  </a:lnTo>
                  <a:lnTo>
                    <a:pt x="560" y="806"/>
                  </a:lnTo>
                  <a:lnTo>
                    <a:pt x="554" y="802"/>
                  </a:lnTo>
                  <a:lnTo>
                    <a:pt x="548" y="804"/>
                  </a:lnTo>
                  <a:lnTo>
                    <a:pt x="550" y="798"/>
                  </a:lnTo>
                  <a:lnTo>
                    <a:pt x="556" y="792"/>
                  </a:lnTo>
                  <a:lnTo>
                    <a:pt x="562" y="790"/>
                  </a:lnTo>
                  <a:lnTo>
                    <a:pt x="566" y="786"/>
                  </a:lnTo>
                  <a:lnTo>
                    <a:pt x="572" y="784"/>
                  </a:lnTo>
                  <a:lnTo>
                    <a:pt x="578" y="782"/>
                  </a:lnTo>
                  <a:lnTo>
                    <a:pt x="584" y="778"/>
                  </a:lnTo>
                  <a:lnTo>
                    <a:pt x="592" y="776"/>
                  </a:lnTo>
                  <a:lnTo>
                    <a:pt x="598" y="774"/>
                  </a:lnTo>
                  <a:lnTo>
                    <a:pt x="604" y="772"/>
                  </a:lnTo>
                  <a:lnTo>
                    <a:pt x="608" y="770"/>
                  </a:lnTo>
                  <a:lnTo>
                    <a:pt x="614" y="766"/>
                  </a:lnTo>
                  <a:lnTo>
                    <a:pt x="620" y="760"/>
                  </a:lnTo>
                  <a:lnTo>
                    <a:pt x="626" y="756"/>
                  </a:lnTo>
                  <a:lnTo>
                    <a:pt x="632" y="756"/>
                  </a:lnTo>
                  <a:lnTo>
                    <a:pt x="638" y="752"/>
                  </a:lnTo>
                  <a:lnTo>
                    <a:pt x="644" y="748"/>
                  </a:lnTo>
                  <a:lnTo>
                    <a:pt x="650" y="744"/>
                  </a:lnTo>
                  <a:lnTo>
                    <a:pt x="652" y="744"/>
                  </a:lnTo>
                  <a:lnTo>
                    <a:pt x="646" y="746"/>
                  </a:lnTo>
                  <a:lnTo>
                    <a:pt x="640" y="748"/>
                  </a:lnTo>
                  <a:lnTo>
                    <a:pt x="634" y="754"/>
                  </a:lnTo>
                  <a:lnTo>
                    <a:pt x="628" y="754"/>
                  </a:lnTo>
                  <a:lnTo>
                    <a:pt x="622" y="758"/>
                  </a:lnTo>
                  <a:lnTo>
                    <a:pt x="616" y="760"/>
                  </a:lnTo>
                  <a:lnTo>
                    <a:pt x="610" y="762"/>
                  </a:lnTo>
                  <a:lnTo>
                    <a:pt x="604" y="764"/>
                  </a:lnTo>
                  <a:lnTo>
                    <a:pt x="598" y="764"/>
                  </a:lnTo>
                  <a:lnTo>
                    <a:pt x="592" y="766"/>
                  </a:lnTo>
                  <a:lnTo>
                    <a:pt x="586" y="768"/>
                  </a:lnTo>
                  <a:lnTo>
                    <a:pt x="580" y="770"/>
                  </a:lnTo>
                  <a:lnTo>
                    <a:pt x="574" y="770"/>
                  </a:lnTo>
                  <a:lnTo>
                    <a:pt x="568" y="772"/>
                  </a:lnTo>
                  <a:lnTo>
                    <a:pt x="562" y="774"/>
                  </a:lnTo>
                  <a:lnTo>
                    <a:pt x="556" y="774"/>
                  </a:lnTo>
                  <a:lnTo>
                    <a:pt x="550" y="776"/>
                  </a:lnTo>
                  <a:lnTo>
                    <a:pt x="544" y="778"/>
                  </a:lnTo>
                  <a:lnTo>
                    <a:pt x="538" y="774"/>
                  </a:lnTo>
                  <a:lnTo>
                    <a:pt x="544" y="770"/>
                  </a:lnTo>
                  <a:lnTo>
                    <a:pt x="542" y="762"/>
                  </a:lnTo>
                  <a:lnTo>
                    <a:pt x="548" y="760"/>
                  </a:lnTo>
                  <a:lnTo>
                    <a:pt x="554" y="756"/>
                  </a:lnTo>
                  <a:lnTo>
                    <a:pt x="560" y="752"/>
                  </a:lnTo>
                  <a:lnTo>
                    <a:pt x="566" y="750"/>
                  </a:lnTo>
                  <a:lnTo>
                    <a:pt x="572" y="752"/>
                  </a:lnTo>
                  <a:lnTo>
                    <a:pt x="572" y="758"/>
                  </a:lnTo>
                  <a:lnTo>
                    <a:pt x="574" y="758"/>
                  </a:lnTo>
                  <a:lnTo>
                    <a:pt x="578" y="752"/>
                  </a:lnTo>
                  <a:lnTo>
                    <a:pt x="570" y="750"/>
                  </a:lnTo>
                  <a:lnTo>
                    <a:pt x="568" y="744"/>
                  </a:lnTo>
                  <a:lnTo>
                    <a:pt x="568" y="742"/>
                  </a:lnTo>
                  <a:lnTo>
                    <a:pt x="564" y="748"/>
                  </a:lnTo>
                  <a:lnTo>
                    <a:pt x="558" y="750"/>
                  </a:lnTo>
                  <a:lnTo>
                    <a:pt x="552" y="754"/>
                  </a:lnTo>
                  <a:lnTo>
                    <a:pt x="546" y="756"/>
                  </a:lnTo>
                  <a:lnTo>
                    <a:pt x="540" y="760"/>
                  </a:lnTo>
                  <a:lnTo>
                    <a:pt x="534" y="760"/>
                  </a:lnTo>
                  <a:lnTo>
                    <a:pt x="540" y="756"/>
                  </a:lnTo>
                  <a:lnTo>
                    <a:pt x="534" y="760"/>
                  </a:lnTo>
                  <a:lnTo>
                    <a:pt x="528" y="764"/>
                  </a:lnTo>
                  <a:lnTo>
                    <a:pt x="522" y="770"/>
                  </a:lnTo>
                  <a:lnTo>
                    <a:pt x="516" y="770"/>
                  </a:lnTo>
                  <a:lnTo>
                    <a:pt x="512" y="774"/>
                  </a:lnTo>
                  <a:lnTo>
                    <a:pt x="508" y="780"/>
                  </a:lnTo>
                  <a:lnTo>
                    <a:pt x="506" y="786"/>
                  </a:lnTo>
                  <a:lnTo>
                    <a:pt x="498" y="790"/>
                  </a:lnTo>
                  <a:lnTo>
                    <a:pt x="492" y="792"/>
                  </a:lnTo>
                  <a:lnTo>
                    <a:pt x="486" y="790"/>
                  </a:lnTo>
                  <a:lnTo>
                    <a:pt x="488" y="782"/>
                  </a:lnTo>
                  <a:lnTo>
                    <a:pt x="490" y="778"/>
                  </a:lnTo>
                  <a:lnTo>
                    <a:pt x="492" y="772"/>
                  </a:lnTo>
                  <a:lnTo>
                    <a:pt x="494" y="766"/>
                  </a:lnTo>
                  <a:lnTo>
                    <a:pt x="488" y="764"/>
                  </a:lnTo>
                  <a:lnTo>
                    <a:pt x="494" y="760"/>
                  </a:lnTo>
                  <a:lnTo>
                    <a:pt x="488" y="758"/>
                  </a:lnTo>
                  <a:lnTo>
                    <a:pt x="482" y="762"/>
                  </a:lnTo>
                  <a:lnTo>
                    <a:pt x="476" y="766"/>
                  </a:lnTo>
                  <a:lnTo>
                    <a:pt x="468" y="768"/>
                  </a:lnTo>
                  <a:lnTo>
                    <a:pt x="472" y="762"/>
                  </a:lnTo>
                  <a:lnTo>
                    <a:pt x="472" y="760"/>
                  </a:lnTo>
                  <a:lnTo>
                    <a:pt x="468" y="762"/>
                  </a:lnTo>
                  <a:lnTo>
                    <a:pt x="464" y="756"/>
                  </a:lnTo>
                  <a:lnTo>
                    <a:pt x="470" y="752"/>
                  </a:lnTo>
                  <a:lnTo>
                    <a:pt x="464" y="750"/>
                  </a:lnTo>
                  <a:lnTo>
                    <a:pt x="456" y="752"/>
                  </a:lnTo>
                  <a:lnTo>
                    <a:pt x="452" y="754"/>
                  </a:lnTo>
                  <a:lnTo>
                    <a:pt x="444" y="756"/>
                  </a:lnTo>
                  <a:lnTo>
                    <a:pt x="438" y="758"/>
                  </a:lnTo>
                  <a:lnTo>
                    <a:pt x="432" y="762"/>
                  </a:lnTo>
                  <a:lnTo>
                    <a:pt x="426" y="760"/>
                  </a:lnTo>
                  <a:lnTo>
                    <a:pt x="420" y="762"/>
                  </a:lnTo>
                  <a:lnTo>
                    <a:pt x="414" y="764"/>
                  </a:lnTo>
                  <a:lnTo>
                    <a:pt x="408" y="766"/>
                  </a:lnTo>
                  <a:lnTo>
                    <a:pt x="402" y="766"/>
                  </a:lnTo>
                  <a:lnTo>
                    <a:pt x="396" y="770"/>
                  </a:lnTo>
                  <a:lnTo>
                    <a:pt x="390" y="774"/>
                  </a:lnTo>
                  <a:lnTo>
                    <a:pt x="384" y="776"/>
                  </a:lnTo>
                  <a:lnTo>
                    <a:pt x="378" y="776"/>
                  </a:lnTo>
                  <a:lnTo>
                    <a:pt x="372" y="778"/>
                  </a:lnTo>
                  <a:lnTo>
                    <a:pt x="366" y="780"/>
                  </a:lnTo>
                  <a:lnTo>
                    <a:pt x="358" y="776"/>
                  </a:lnTo>
                  <a:lnTo>
                    <a:pt x="352" y="778"/>
                  </a:lnTo>
                  <a:lnTo>
                    <a:pt x="358" y="774"/>
                  </a:lnTo>
                  <a:lnTo>
                    <a:pt x="366" y="774"/>
                  </a:lnTo>
                  <a:lnTo>
                    <a:pt x="372" y="770"/>
                  </a:lnTo>
                  <a:lnTo>
                    <a:pt x="376" y="768"/>
                  </a:lnTo>
                  <a:lnTo>
                    <a:pt x="384" y="766"/>
                  </a:lnTo>
                  <a:lnTo>
                    <a:pt x="384" y="760"/>
                  </a:lnTo>
                  <a:lnTo>
                    <a:pt x="390" y="756"/>
                  </a:lnTo>
                  <a:lnTo>
                    <a:pt x="396" y="750"/>
                  </a:lnTo>
                  <a:lnTo>
                    <a:pt x="402" y="750"/>
                  </a:lnTo>
                  <a:lnTo>
                    <a:pt x="408" y="748"/>
                  </a:lnTo>
                  <a:lnTo>
                    <a:pt x="414" y="746"/>
                  </a:lnTo>
                  <a:lnTo>
                    <a:pt x="408" y="746"/>
                  </a:lnTo>
                  <a:lnTo>
                    <a:pt x="402" y="746"/>
                  </a:lnTo>
                  <a:lnTo>
                    <a:pt x="396" y="748"/>
                  </a:lnTo>
                  <a:lnTo>
                    <a:pt x="398" y="742"/>
                  </a:lnTo>
                  <a:lnTo>
                    <a:pt x="402" y="736"/>
                  </a:lnTo>
                  <a:lnTo>
                    <a:pt x="408" y="736"/>
                  </a:lnTo>
                  <a:lnTo>
                    <a:pt x="414" y="730"/>
                  </a:lnTo>
                  <a:lnTo>
                    <a:pt x="420" y="728"/>
                  </a:lnTo>
                  <a:lnTo>
                    <a:pt x="426" y="726"/>
                  </a:lnTo>
                  <a:lnTo>
                    <a:pt x="432" y="722"/>
                  </a:lnTo>
                  <a:lnTo>
                    <a:pt x="438" y="722"/>
                  </a:lnTo>
                  <a:lnTo>
                    <a:pt x="440" y="716"/>
                  </a:lnTo>
                  <a:lnTo>
                    <a:pt x="444" y="710"/>
                  </a:lnTo>
                  <a:lnTo>
                    <a:pt x="448" y="704"/>
                  </a:lnTo>
                  <a:lnTo>
                    <a:pt x="450" y="698"/>
                  </a:lnTo>
                  <a:lnTo>
                    <a:pt x="456" y="692"/>
                  </a:lnTo>
                  <a:lnTo>
                    <a:pt x="454" y="688"/>
                  </a:lnTo>
                  <a:lnTo>
                    <a:pt x="460" y="684"/>
                  </a:lnTo>
                  <a:lnTo>
                    <a:pt x="466" y="680"/>
                  </a:lnTo>
                  <a:lnTo>
                    <a:pt x="472" y="676"/>
                  </a:lnTo>
                  <a:lnTo>
                    <a:pt x="466" y="676"/>
                  </a:lnTo>
                  <a:lnTo>
                    <a:pt x="460" y="680"/>
                  </a:lnTo>
                  <a:lnTo>
                    <a:pt x="464" y="674"/>
                  </a:lnTo>
                  <a:lnTo>
                    <a:pt x="472" y="668"/>
                  </a:lnTo>
                  <a:lnTo>
                    <a:pt x="478" y="664"/>
                  </a:lnTo>
                  <a:lnTo>
                    <a:pt x="484" y="662"/>
                  </a:lnTo>
                  <a:lnTo>
                    <a:pt x="490" y="658"/>
                  </a:lnTo>
                  <a:lnTo>
                    <a:pt x="496" y="654"/>
                  </a:lnTo>
                  <a:lnTo>
                    <a:pt x="502" y="652"/>
                  </a:lnTo>
                  <a:lnTo>
                    <a:pt x="508" y="650"/>
                  </a:lnTo>
                  <a:lnTo>
                    <a:pt x="514" y="648"/>
                  </a:lnTo>
                  <a:lnTo>
                    <a:pt x="520" y="646"/>
                  </a:lnTo>
                  <a:lnTo>
                    <a:pt x="524" y="644"/>
                  </a:lnTo>
                  <a:lnTo>
                    <a:pt x="520" y="646"/>
                  </a:lnTo>
                  <a:lnTo>
                    <a:pt x="512" y="648"/>
                  </a:lnTo>
                  <a:lnTo>
                    <a:pt x="514" y="642"/>
                  </a:lnTo>
                  <a:lnTo>
                    <a:pt x="508" y="648"/>
                  </a:lnTo>
                  <a:lnTo>
                    <a:pt x="502" y="650"/>
                  </a:lnTo>
                  <a:lnTo>
                    <a:pt x="496" y="652"/>
                  </a:lnTo>
                  <a:lnTo>
                    <a:pt x="490" y="656"/>
                  </a:lnTo>
                  <a:lnTo>
                    <a:pt x="482" y="660"/>
                  </a:lnTo>
                  <a:lnTo>
                    <a:pt x="478" y="662"/>
                  </a:lnTo>
                  <a:lnTo>
                    <a:pt x="470" y="666"/>
                  </a:lnTo>
                  <a:lnTo>
                    <a:pt x="464" y="668"/>
                  </a:lnTo>
                  <a:lnTo>
                    <a:pt x="458" y="670"/>
                  </a:lnTo>
                  <a:lnTo>
                    <a:pt x="452" y="672"/>
                  </a:lnTo>
                  <a:lnTo>
                    <a:pt x="456" y="678"/>
                  </a:lnTo>
                  <a:lnTo>
                    <a:pt x="448" y="682"/>
                  </a:lnTo>
                  <a:lnTo>
                    <a:pt x="444" y="686"/>
                  </a:lnTo>
                  <a:lnTo>
                    <a:pt x="438" y="688"/>
                  </a:lnTo>
                  <a:lnTo>
                    <a:pt x="432" y="690"/>
                  </a:lnTo>
                  <a:lnTo>
                    <a:pt x="426" y="688"/>
                  </a:lnTo>
                  <a:lnTo>
                    <a:pt x="420" y="692"/>
                  </a:lnTo>
                  <a:lnTo>
                    <a:pt x="414" y="694"/>
                  </a:lnTo>
                  <a:lnTo>
                    <a:pt x="408" y="696"/>
                  </a:lnTo>
                  <a:lnTo>
                    <a:pt x="402" y="698"/>
                  </a:lnTo>
                  <a:lnTo>
                    <a:pt x="396" y="698"/>
                  </a:lnTo>
                  <a:lnTo>
                    <a:pt x="390" y="700"/>
                  </a:lnTo>
                  <a:lnTo>
                    <a:pt x="384" y="700"/>
                  </a:lnTo>
                  <a:lnTo>
                    <a:pt x="376" y="702"/>
                  </a:lnTo>
                  <a:lnTo>
                    <a:pt x="370" y="702"/>
                  </a:lnTo>
                  <a:lnTo>
                    <a:pt x="364" y="702"/>
                  </a:lnTo>
                  <a:lnTo>
                    <a:pt x="358" y="702"/>
                  </a:lnTo>
                  <a:lnTo>
                    <a:pt x="354" y="702"/>
                  </a:lnTo>
                  <a:lnTo>
                    <a:pt x="346" y="700"/>
                  </a:lnTo>
                  <a:lnTo>
                    <a:pt x="350" y="694"/>
                  </a:lnTo>
                  <a:lnTo>
                    <a:pt x="356" y="692"/>
                  </a:lnTo>
                  <a:lnTo>
                    <a:pt x="360" y="688"/>
                  </a:lnTo>
                  <a:lnTo>
                    <a:pt x="354" y="686"/>
                  </a:lnTo>
                  <a:lnTo>
                    <a:pt x="354" y="680"/>
                  </a:lnTo>
                  <a:lnTo>
                    <a:pt x="356" y="678"/>
                  </a:lnTo>
                  <a:lnTo>
                    <a:pt x="356" y="672"/>
                  </a:lnTo>
                  <a:lnTo>
                    <a:pt x="360" y="668"/>
                  </a:lnTo>
                  <a:lnTo>
                    <a:pt x="354" y="670"/>
                  </a:lnTo>
                  <a:lnTo>
                    <a:pt x="352" y="670"/>
                  </a:lnTo>
                  <a:lnTo>
                    <a:pt x="346" y="668"/>
                  </a:lnTo>
                  <a:lnTo>
                    <a:pt x="344" y="664"/>
                  </a:lnTo>
                  <a:lnTo>
                    <a:pt x="350" y="660"/>
                  </a:lnTo>
                  <a:lnTo>
                    <a:pt x="356" y="658"/>
                  </a:lnTo>
                  <a:lnTo>
                    <a:pt x="350" y="656"/>
                  </a:lnTo>
                  <a:lnTo>
                    <a:pt x="344" y="658"/>
                  </a:lnTo>
                  <a:lnTo>
                    <a:pt x="350" y="652"/>
                  </a:lnTo>
                  <a:lnTo>
                    <a:pt x="356" y="650"/>
                  </a:lnTo>
                  <a:lnTo>
                    <a:pt x="362" y="648"/>
                  </a:lnTo>
                  <a:lnTo>
                    <a:pt x="370" y="646"/>
                  </a:lnTo>
                  <a:lnTo>
                    <a:pt x="376" y="644"/>
                  </a:lnTo>
                  <a:lnTo>
                    <a:pt x="380" y="640"/>
                  </a:lnTo>
                  <a:lnTo>
                    <a:pt x="388" y="638"/>
                  </a:lnTo>
                  <a:lnTo>
                    <a:pt x="392" y="632"/>
                  </a:lnTo>
                  <a:lnTo>
                    <a:pt x="398" y="634"/>
                  </a:lnTo>
                  <a:lnTo>
                    <a:pt x="406" y="632"/>
                  </a:lnTo>
                  <a:lnTo>
                    <a:pt x="400" y="638"/>
                  </a:lnTo>
                  <a:lnTo>
                    <a:pt x="406" y="638"/>
                  </a:lnTo>
                  <a:lnTo>
                    <a:pt x="412" y="638"/>
                  </a:lnTo>
                  <a:lnTo>
                    <a:pt x="412" y="646"/>
                  </a:lnTo>
                  <a:lnTo>
                    <a:pt x="406" y="646"/>
                  </a:lnTo>
                  <a:lnTo>
                    <a:pt x="398" y="650"/>
                  </a:lnTo>
                  <a:lnTo>
                    <a:pt x="392" y="652"/>
                  </a:lnTo>
                  <a:lnTo>
                    <a:pt x="390" y="654"/>
                  </a:lnTo>
                  <a:lnTo>
                    <a:pt x="396" y="652"/>
                  </a:lnTo>
                  <a:lnTo>
                    <a:pt x="402" y="650"/>
                  </a:lnTo>
                  <a:lnTo>
                    <a:pt x="408" y="648"/>
                  </a:lnTo>
                  <a:lnTo>
                    <a:pt x="414" y="646"/>
                  </a:lnTo>
                  <a:lnTo>
                    <a:pt x="420" y="644"/>
                  </a:lnTo>
                  <a:lnTo>
                    <a:pt x="426" y="642"/>
                  </a:lnTo>
                  <a:lnTo>
                    <a:pt x="432" y="640"/>
                  </a:lnTo>
                  <a:lnTo>
                    <a:pt x="428" y="646"/>
                  </a:lnTo>
                  <a:lnTo>
                    <a:pt x="422" y="652"/>
                  </a:lnTo>
                  <a:lnTo>
                    <a:pt x="428" y="652"/>
                  </a:lnTo>
                  <a:lnTo>
                    <a:pt x="434" y="650"/>
                  </a:lnTo>
                  <a:lnTo>
                    <a:pt x="440" y="648"/>
                  </a:lnTo>
                  <a:lnTo>
                    <a:pt x="446" y="646"/>
                  </a:lnTo>
                  <a:lnTo>
                    <a:pt x="452" y="642"/>
                  </a:lnTo>
                  <a:lnTo>
                    <a:pt x="448" y="636"/>
                  </a:lnTo>
                  <a:lnTo>
                    <a:pt x="442" y="636"/>
                  </a:lnTo>
                  <a:lnTo>
                    <a:pt x="448" y="634"/>
                  </a:lnTo>
                  <a:lnTo>
                    <a:pt x="454" y="634"/>
                  </a:lnTo>
                  <a:lnTo>
                    <a:pt x="460" y="632"/>
                  </a:lnTo>
                  <a:lnTo>
                    <a:pt x="454" y="630"/>
                  </a:lnTo>
                  <a:lnTo>
                    <a:pt x="460" y="628"/>
                  </a:lnTo>
                  <a:lnTo>
                    <a:pt x="454" y="628"/>
                  </a:lnTo>
                  <a:lnTo>
                    <a:pt x="448" y="630"/>
                  </a:lnTo>
                  <a:lnTo>
                    <a:pt x="442" y="632"/>
                  </a:lnTo>
                  <a:lnTo>
                    <a:pt x="436" y="636"/>
                  </a:lnTo>
                  <a:lnTo>
                    <a:pt x="430" y="634"/>
                  </a:lnTo>
                  <a:lnTo>
                    <a:pt x="424" y="634"/>
                  </a:lnTo>
                  <a:lnTo>
                    <a:pt x="418" y="634"/>
                  </a:lnTo>
                  <a:lnTo>
                    <a:pt x="412" y="634"/>
                  </a:lnTo>
                  <a:lnTo>
                    <a:pt x="406" y="630"/>
                  </a:lnTo>
                  <a:lnTo>
                    <a:pt x="400" y="632"/>
                  </a:lnTo>
                  <a:lnTo>
                    <a:pt x="394" y="630"/>
                  </a:lnTo>
                  <a:lnTo>
                    <a:pt x="388" y="632"/>
                  </a:lnTo>
                  <a:lnTo>
                    <a:pt x="392" y="626"/>
                  </a:lnTo>
                  <a:lnTo>
                    <a:pt x="396" y="626"/>
                  </a:lnTo>
                  <a:lnTo>
                    <a:pt x="404" y="624"/>
                  </a:lnTo>
                  <a:lnTo>
                    <a:pt x="410" y="620"/>
                  </a:lnTo>
                  <a:lnTo>
                    <a:pt x="416" y="620"/>
                  </a:lnTo>
                  <a:lnTo>
                    <a:pt x="410" y="618"/>
                  </a:lnTo>
                  <a:lnTo>
                    <a:pt x="404" y="622"/>
                  </a:lnTo>
                  <a:lnTo>
                    <a:pt x="406" y="616"/>
                  </a:lnTo>
                  <a:lnTo>
                    <a:pt x="412" y="612"/>
                  </a:lnTo>
                  <a:lnTo>
                    <a:pt x="406" y="616"/>
                  </a:lnTo>
                  <a:lnTo>
                    <a:pt x="400" y="616"/>
                  </a:lnTo>
                  <a:lnTo>
                    <a:pt x="404" y="610"/>
                  </a:lnTo>
                  <a:lnTo>
                    <a:pt x="410" y="610"/>
                  </a:lnTo>
                  <a:lnTo>
                    <a:pt x="416" y="604"/>
                  </a:lnTo>
                  <a:lnTo>
                    <a:pt x="418" y="604"/>
                  </a:lnTo>
                  <a:lnTo>
                    <a:pt x="412" y="604"/>
                  </a:lnTo>
                  <a:lnTo>
                    <a:pt x="406" y="610"/>
                  </a:lnTo>
                  <a:lnTo>
                    <a:pt x="400" y="612"/>
                  </a:lnTo>
                  <a:lnTo>
                    <a:pt x="394" y="616"/>
                  </a:lnTo>
                  <a:lnTo>
                    <a:pt x="388" y="620"/>
                  </a:lnTo>
                  <a:lnTo>
                    <a:pt x="380" y="620"/>
                  </a:lnTo>
                  <a:lnTo>
                    <a:pt x="382" y="616"/>
                  </a:lnTo>
                  <a:lnTo>
                    <a:pt x="388" y="610"/>
                  </a:lnTo>
                  <a:lnTo>
                    <a:pt x="384" y="604"/>
                  </a:lnTo>
                  <a:lnTo>
                    <a:pt x="390" y="600"/>
                  </a:lnTo>
                  <a:lnTo>
                    <a:pt x="396" y="598"/>
                  </a:lnTo>
                  <a:lnTo>
                    <a:pt x="402" y="596"/>
                  </a:lnTo>
                  <a:lnTo>
                    <a:pt x="396" y="592"/>
                  </a:lnTo>
                  <a:lnTo>
                    <a:pt x="390" y="592"/>
                  </a:lnTo>
                  <a:lnTo>
                    <a:pt x="392" y="586"/>
                  </a:lnTo>
                  <a:lnTo>
                    <a:pt x="398" y="582"/>
                  </a:lnTo>
                  <a:lnTo>
                    <a:pt x="406" y="586"/>
                  </a:lnTo>
                  <a:lnTo>
                    <a:pt x="410" y="584"/>
                  </a:lnTo>
                  <a:lnTo>
                    <a:pt x="418" y="582"/>
                  </a:lnTo>
                  <a:lnTo>
                    <a:pt x="412" y="582"/>
                  </a:lnTo>
                  <a:lnTo>
                    <a:pt x="412" y="576"/>
                  </a:lnTo>
                  <a:lnTo>
                    <a:pt x="418" y="574"/>
                  </a:lnTo>
                  <a:lnTo>
                    <a:pt x="422" y="574"/>
                  </a:lnTo>
                  <a:lnTo>
                    <a:pt x="428" y="574"/>
                  </a:lnTo>
                  <a:lnTo>
                    <a:pt x="434" y="572"/>
                  </a:lnTo>
                  <a:lnTo>
                    <a:pt x="440" y="566"/>
                  </a:lnTo>
                  <a:lnTo>
                    <a:pt x="448" y="562"/>
                  </a:lnTo>
                  <a:lnTo>
                    <a:pt x="452" y="558"/>
                  </a:lnTo>
                  <a:lnTo>
                    <a:pt x="458" y="554"/>
                  </a:lnTo>
                  <a:lnTo>
                    <a:pt x="466" y="554"/>
                  </a:lnTo>
                  <a:lnTo>
                    <a:pt x="472" y="550"/>
                  </a:lnTo>
                  <a:lnTo>
                    <a:pt x="478" y="548"/>
                  </a:lnTo>
                  <a:lnTo>
                    <a:pt x="484" y="544"/>
                  </a:lnTo>
                  <a:lnTo>
                    <a:pt x="490" y="542"/>
                  </a:lnTo>
                  <a:lnTo>
                    <a:pt x="494" y="540"/>
                  </a:lnTo>
                  <a:lnTo>
                    <a:pt x="502" y="538"/>
                  </a:lnTo>
                  <a:lnTo>
                    <a:pt x="508" y="536"/>
                  </a:lnTo>
                  <a:lnTo>
                    <a:pt x="514" y="532"/>
                  </a:lnTo>
                  <a:lnTo>
                    <a:pt x="520" y="532"/>
                  </a:lnTo>
                  <a:lnTo>
                    <a:pt x="524" y="530"/>
                  </a:lnTo>
                  <a:lnTo>
                    <a:pt x="530" y="530"/>
                  </a:lnTo>
                  <a:lnTo>
                    <a:pt x="532" y="536"/>
                  </a:lnTo>
                  <a:lnTo>
                    <a:pt x="524" y="540"/>
                  </a:lnTo>
                  <a:lnTo>
                    <a:pt x="530" y="538"/>
                  </a:lnTo>
                  <a:lnTo>
                    <a:pt x="536" y="536"/>
                  </a:lnTo>
                  <a:lnTo>
                    <a:pt x="538" y="536"/>
                  </a:lnTo>
                  <a:lnTo>
                    <a:pt x="532" y="532"/>
                  </a:lnTo>
                  <a:lnTo>
                    <a:pt x="538" y="528"/>
                  </a:lnTo>
                  <a:lnTo>
                    <a:pt x="544" y="526"/>
                  </a:lnTo>
                  <a:lnTo>
                    <a:pt x="550" y="524"/>
                  </a:lnTo>
                  <a:lnTo>
                    <a:pt x="556" y="522"/>
                  </a:lnTo>
                  <a:lnTo>
                    <a:pt x="562" y="520"/>
                  </a:lnTo>
                  <a:lnTo>
                    <a:pt x="566" y="516"/>
                  </a:lnTo>
                  <a:lnTo>
                    <a:pt x="560" y="520"/>
                  </a:lnTo>
                  <a:lnTo>
                    <a:pt x="554" y="522"/>
                  </a:lnTo>
                  <a:lnTo>
                    <a:pt x="548" y="524"/>
                  </a:lnTo>
                  <a:lnTo>
                    <a:pt x="542" y="526"/>
                  </a:lnTo>
                  <a:lnTo>
                    <a:pt x="546" y="520"/>
                  </a:lnTo>
                  <a:lnTo>
                    <a:pt x="554" y="514"/>
                  </a:lnTo>
                  <a:lnTo>
                    <a:pt x="558" y="514"/>
                  </a:lnTo>
                  <a:lnTo>
                    <a:pt x="562" y="508"/>
                  </a:lnTo>
                  <a:lnTo>
                    <a:pt x="568" y="506"/>
                  </a:lnTo>
                  <a:lnTo>
                    <a:pt x="574" y="502"/>
                  </a:lnTo>
                  <a:lnTo>
                    <a:pt x="580" y="500"/>
                  </a:lnTo>
                  <a:lnTo>
                    <a:pt x="586" y="500"/>
                  </a:lnTo>
                  <a:lnTo>
                    <a:pt x="592" y="500"/>
                  </a:lnTo>
                  <a:lnTo>
                    <a:pt x="596" y="500"/>
                  </a:lnTo>
                  <a:lnTo>
                    <a:pt x="594" y="494"/>
                  </a:lnTo>
                  <a:lnTo>
                    <a:pt x="600" y="492"/>
                  </a:lnTo>
                  <a:lnTo>
                    <a:pt x="606" y="490"/>
                  </a:lnTo>
                  <a:lnTo>
                    <a:pt x="612" y="488"/>
                  </a:lnTo>
                  <a:lnTo>
                    <a:pt x="618" y="486"/>
                  </a:lnTo>
                  <a:lnTo>
                    <a:pt x="624" y="486"/>
                  </a:lnTo>
                  <a:lnTo>
                    <a:pt x="630" y="486"/>
                  </a:lnTo>
                  <a:lnTo>
                    <a:pt x="636" y="488"/>
                  </a:lnTo>
                  <a:lnTo>
                    <a:pt x="640" y="488"/>
                  </a:lnTo>
                  <a:lnTo>
                    <a:pt x="640" y="494"/>
                  </a:lnTo>
                  <a:lnTo>
                    <a:pt x="634" y="498"/>
                  </a:lnTo>
                  <a:lnTo>
                    <a:pt x="628" y="498"/>
                  </a:lnTo>
                  <a:lnTo>
                    <a:pt x="622" y="500"/>
                  </a:lnTo>
                  <a:lnTo>
                    <a:pt x="618" y="502"/>
                  </a:lnTo>
                  <a:lnTo>
                    <a:pt x="626" y="500"/>
                  </a:lnTo>
                  <a:lnTo>
                    <a:pt x="630" y="498"/>
                  </a:lnTo>
                  <a:lnTo>
                    <a:pt x="638" y="496"/>
                  </a:lnTo>
                  <a:lnTo>
                    <a:pt x="642" y="494"/>
                  </a:lnTo>
                  <a:lnTo>
                    <a:pt x="650" y="498"/>
                  </a:lnTo>
                  <a:lnTo>
                    <a:pt x="654" y="498"/>
                  </a:lnTo>
                  <a:lnTo>
                    <a:pt x="660" y="498"/>
                  </a:lnTo>
                  <a:lnTo>
                    <a:pt x="668" y="494"/>
                  </a:lnTo>
                  <a:lnTo>
                    <a:pt x="674" y="494"/>
                  </a:lnTo>
                  <a:lnTo>
                    <a:pt x="680" y="490"/>
                  </a:lnTo>
                  <a:lnTo>
                    <a:pt x="686" y="488"/>
                  </a:lnTo>
                  <a:lnTo>
                    <a:pt x="692" y="488"/>
                  </a:lnTo>
                  <a:lnTo>
                    <a:pt x="698" y="486"/>
                  </a:lnTo>
                  <a:lnTo>
                    <a:pt x="704" y="482"/>
                  </a:lnTo>
                  <a:lnTo>
                    <a:pt x="710" y="480"/>
                  </a:lnTo>
                  <a:lnTo>
                    <a:pt x="716" y="478"/>
                  </a:lnTo>
                  <a:lnTo>
                    <a:pt x="722" y="476"/>
                  </a:lnTo>
                  <a:lnTo>
                    <a:pt x="728" y="472"/>
                  </a:lnTo>
                  <a:lnTo>
                    <a:pt x="734" y="470"/>
                  </a:lnTo>
                  <a:lnTo>
                    <a:pt x="740" y="468"/>
                  </a:lnTo>
                  <a:lnTo>
                    <a:pt x="734" y="474"/>
                  </a:lnTo>
                  <a:lnTo>
                    <a:pt x="740" y="474"/>
                  </a:lnTo>
                  <a:lnTo>
                    <a:pt x="746" y="474"/>
                  </a:lnTo>
                  <a:lnTo>
                    <a:pt x="752" y="474"/>
                  </a:lnTo>
                  <a:lnTo>
                    <a:pt x="758" y="472"/>
                  </a:lnTo>
                  <a:lnTo>
                    <a:pt x="764" y="474"/>
                  </a:lnTo>
                  <a:lnTo>
                    <a:pt x="770" y="472"/>
                  </a:lnTo>
                  <a:lnTo>
                    <a:pt x="776" y="472"/>
                  </a:lnTo>
                  <a:lnTo>
                    <a:pt x="782" y="472"/>
                  </a:lnTo>
                  <a:lnTo>
                    <a:pt x="788" y="470"/>
                  </a:lnTo>
                  <a:lnTo>
                    <a:pt x="794" y="466"/>
                  </a:lnTo>
                  <a:lnTo>
                    <a:pt x="800" y="464"/>
                  </a:lnTo>
                  <a:lnTo>
                    <a:pt x="808" y="462"/>
                  </a:lnTo>
                  <a:lnTo>
                    <a:pt x="812" y="460"/>
                  </a:lnTo>
                  <a:lnTo>
                    <a:pt x="820" y="458"/>
                  </a:lnTo>
                  <a:lnTo>
                    <a:pt x="824" y="456"/>
                  </a:lnTo>
                  <a:lnTo>
                    <a:pt x="832" y="450"/>
                  </a:lnTo>
                  <a:lnTo>
                    <a:pt x="838" y="444"/>
                  </a:lnTo>
                  <a:lnTo>
                    <a:pt x="842" y="438"/>
                  </a:lnTo>
                  <a:lnTo>
                    <a:pt x="846" y="434"/>
                  </a:lnTo>
                  <a:lnTo>
                    <a:pt x="854" y="428"/>
                  </a:lnTo>
                  <a:lnTo>
                    <a:pt x="856" y="422"/>
                  </a:lnTo>
                  <a:lnTo>
                    <a:pt x="858" y="416"/>
                  </a:lnTo>
                  <a:lnTo>
                    <a:pt x="852" y="414"/>
                  </a:lnTo>
                  <a:lnTo>
                    <a:pt x="846" y="414"/>
                  </a:lnTo>
                  <a:lnTo>
                    <a:pt x="852" y="412"/>
                  </a:lnTo>
                  <a:lnTo>
                    <a:pt x="858" y="408"/>
                  </a:lnTo>
                  <a:lnTo>
                    <a:pt x="862" y="406"/>
                  </a:lnTo>
                  <a:lnTo>
                    <a:pt x="868" y="408"/>
                  </a:lnTo>
                  <a:lnTo>
                    <a:pt x="874" y="408"/>
                  </a:lnTo>
                  <a:lnTo>
                    <a:pt x="880" y="406"/>
                  </a:lnTo>
                  <a:lnTo>
                    <a:pt x="886" y="404"/>
                  </a:lnTo>
                  <a:lnTo>
                    <a:pt x="892" y="402"/>
                  </a:lnTo>
                  <a:lnTo>
                    <a:pt x="898" y="400"/>
                  </a:lnTo>
                  <a:lnTo>
                    <a:pt x="904" y="396"/>
                  </a:lnTo>
                  <a:lnTo>
                    <a:pt x="908" y="390"/>
                  </a:lnTo>
                  <a:lnTo>
                    <a:pt x="904" y="384"/>
                  </a:lnTo>
                  <a:lnTo>
                    <a:pt x="910" y="384"/>
                  </a:lnTo>
                  <a:lnTo>
                    <a:pt x="914" y="382"/>
                  </a:lnTo>
                  <a:lnTo>
                    <a:pt x="908" y="382"/>
                  </a:lnTo>
                  <a:lnTo>
                    <a:pt x="902" y="384"/>
                  </a:lnTo>
                  <a:lnTo>
                    <a:pt x="896" y="386"/>
                  </a:lnTo>
                  <a:lnTo>
                    <a:pt x="890" y="388"/>
                  </a:lnTo>
                  <a:lnTo>
                    <a:pt x="884" y="392"/>
                  </a:lnTo>
                  <a:lnTo>
                    <a:pt x="878" y="392"/>
                  </a:lnTo>
                  <a:lnTo>
                    <a:pt x="872" y="394"/>
                  </a:lnTo>
                  <a:lnTo>
                    <a:pt x="866" y="392"/>
                  </a:lnTo>
                  <a:lnTo>
                    <a:pt x="860" y="392"/>
                  </a:lnTo>
                  <a:lnTo>
                    <a:pt x="854" y="394"/>
                  </a:lnTo>
                  <a:lnTo>
                    <a:pt x="860" y="394"/>
                  </a:lnTo>
                  <a:lnTo>
                    <a:pt x="854" y="396"/>
                  </a:lnTo>
                  <a:lnTo>
                    <a:pt x="848" y="396"/>
                  </a:lnTo>
                  <a:lnTo>
                    <a:pt x="842" y="396"/>
                  </a:lnTo>
                  <a:lnTo>
                    <a:pt x="836" y="398"/>
                  </a:lnTo>
                  <a:lnTo>
                    <a:pt x="830" y="400"/>
                  </a:lnTo>
                  <a:lnTo>
                    <a:pt x="824" y="402"/>
                  </a:lnTo>
                  <a:lnTo>
                    <a:pt x="818" y="404"/>
                  </a:lnTo>
                  <a:lnTo>
                    <a:pt x="812" y="406"/>
                  </a:lnTo>
                  <a:lnTo>
                    <a:pt x="806" y="408"/>
                  </a:lnTo>
                  <a:lnTo>
                    <a:pt x="800" y="410"/>
                  </a:lnTo>
                  <a:lnTo>
                    <a:pt x="794" y="414"/>
                  </a:lnTo>
                  <a:lnTo>
                    <a:pt x="788" y="416"/>
                  </a:lnTo>
                  <a:lnTo>
                    <a:pt x="782" y="418"/>
                  </a:lnTo>
                  <a:lnTo>
                    <a:pt x="786" y="412"/>
                  </a:lnTo>
                  <a:lnTo>
                    <a:pt x="790" y="406"/>
                  </a:lnTo>
                  <a:lnTo>
                    <a:pt x="788" y="400"/>
                  </a:lnTo>
                  <a:lnTo>
                    <a:pt x="782" y="400"/>
                  </a:lnTo>
                  <a:lnTo>
                    <a:pt x="776" y="402"/>
                  </a:lnTo>
                  <a:lnTo>
                    <a:pt x="782" y="408"/>
                  </a:lnTo>
                  <a:lnTo>
                    <a:pt x="776" y="410"/>
                  </a:lnTo>
                  <a:lnTo>
                    <a:pt x="770" y="414"/>
                  </a:lnTo>
                  <a:lnTo>
                    <a:pt x="766" y="408"/>
                  </a:lnTo>
                  <a:lnTo>
                    <a:pt x="760" y="404"/>
                  </a:lnTo>
                  <a:lnTo>
                    <a:pt x="756" y="404"/>
                  </a:lnTo>
                  <a:lnTo>
                    <a:pt x="748" y="404"/>
                  </a:lnTo>
                  <a:lnTo>
                    <a:pt x="742" y="404"/>
                  </a:lnTo>
                  <a:lnTo>
                    <a:pt x="736" y="404"/>
                  </a:lnTo>
                  <a:lnTo>
                    <a:pt x="732" y="404"/>
                  </a:lnTo>
                  <a:lnTo>
                    <a:pt x="724" y="404"/>
                  </a:lnTo>
                  <a:lnTo>
                    <a:pt x="718" y="406"/>
                  </a:lnTo>
                  <a:lnTo>
                    <a:pt x="712" y="408"/>
                  </a:lnTo>
                  <a:lnTo>
                    <a:pt x="706" y="410"/>
                  </a:lnTo>
                  <a:lnTo>
                    <a:pt x="700" y="408"/>
                  </a:lnTo>
                  <a:lnTo>
                    <a:pt x="694" y="410"/>
                  </a:lnTo>
                  <a:lnTo>
                    <a:pt x="688" y="412"/>
                  </a:lnTo>
                  <a:lnTo>
                    <a:pt x="682" y="412"/>
                  </a:lnTo>
                  <a:lnTo>
                    <a:pt x="676" y="410"/>
                  </a:lnTo>
                  <a:lnTo>
                    <a:pt x="670" y="408"/>
                  </a:lnTo>
                  <a:lnTo>
                    <a:pt x="664" y="408"/>
                  </a:lnTo>
                  <a:lnTo>
                    <a:pt x="660" y="406"/>
                  </a:lnTo>
                  <a:lnTo>
                    <a:pt x="652" y="406"/>
                  </a:lnTo>
                  <a:lnTo>
                    <a:pt x="646" y="404"/>
                  </a:lnTo>
                  <a:lnTo>
                    <a:pt x="640" y="402"/>
                  </a:lnTo>
                  <a:lnTo>
                    <a:pt x="640" y="396"/>
                  </a:lnTo>
                  <a:lnTo>
                    <a:pt x="646" y="392"/>
                  </a:lnTo>
                  <a:lnTo>
                    <a:pt x="652" y="390"/>
                  </a:lnTo>
                  <a:lnTo>
                    <a:pt x="658" y="386"/>
                  </a:lnTo>
                  <a:lnTo>
                    <a:pt x="658" y="384"/>
                  </a:lnTo>
                  <a:lnTo>
                    <a:pt x="654" y="378"/>
                  </a:lnTo>
                  <a:lnTo>
                    <a:pt x="654" y="372"/>
                  </a:lnTo>
                  <a:lnTo>
                    <a:pt x="660" y="366"/>
                  </a:lnTo>
                  <a:lnTo>
                    <a:pt x="664" y="362"/>
                  </a:lnTo>
                  <a:lnTo>
                    <a:pt x="672" y="362"/>
                  </a:lnTo>
                  <a:lnTo>
                    <a:pt x="664" y="364"/>
                  </a:lnTo>
                  <a:lnTo>
                    <a:pt x="660" y="368"/>
                  </a:lnTo>
                  <a:lnTo>
                    <a:pt x="664" y="372"/>
                  </a:lnTo>
                  <a:lnTo>
                    <a:pt x="672" y="370"/>
                  </a:lnTo>
                  <a:lnTo>
                    <a:pt x="678" y="368"/>
                  </a:lnTo>
                  <a:lnTo>
                    <a:pt x="684" y="364"/>
                  </a:lnTo>
                  <a:lnTo>
                    <a:pt x="688" y="362"/>
                  </a:lnTo>
                  <a:lnTo>
                    <a:pt x="696" y="362"/>
                  </a:lnTo>
                  <a:lnTo>
                    <a:pt x="702" y="364"/>
                  </a:lnTo>
                  <a:lnTo>
                    <a:pt x="704" y="364"/>
                  </a:lnTo>
                  <a:lnTo>
                    <a:pt x="698" y="358"/>
                  </a:lnTo>
                  <a:lnTo>
                    <a:pt x="694" y="358"/>
                  </a:lnTo>
                  <a:lnTo>
                    <a:pt x="686" y="356"/>
                  </a:lnTo>
                  <a:lnTo>
                    <a:pt x="680" y="356"/>
                  </a:lnTo>
                  <a:lnTo>
                    <a:pt x="676" y="356"/>
                  </a:lnTo>
                  <a:lnTo>
                    <a:pt x="670" y="354"/>
                  </a:lnTo>
                  <a:lnTo>
                    <a:pt x="664" y="354"/>
                  </a:lnTo>
                  <a:lnTo>
                    <a:pt x="658" y="354"/>
                  </a:lnTo>
                  <a:lnTo>
                    <a:pt x="652" y="348"/>
                  </a:lnTo>
                  <a:lnTo>
                    <a:pt x="646" y="344"/>
                  </a:lnTo>
                  <a:lnTo>
                    <a:pt x="646" y="338"/>
                  </a:lnTo>
                  <a:lnTo>
                    <a:pt x="652" y="336"/>
                  </a:lnTo>
                  <a:lnTo>
                    <a:pt x="658" y="334"/>
                  </a:lnTo>
                  <a:lnTo>
                    <a:pt x="664" y="332"/>
                  </a:lnTo>
                  <a:lnTo>
                    <a:pt x="668" y="332"/>
                  </a:lnTo>
                  <a:lnTo>
                    <a:pt x="662" y="334"/>
                  </a:lnTo>
                  <a:lnTo>
                    <a:pt x="656" y="336"/>
                  </a:lnTo>
                  <a:lnTo>
                    <a:pt x="650" y="338"/>
                  </a:lnTo>
                  <a:lnTo>
                    <a:pt x="656" y="338"/>
                  </a:lnTo>
                  <a:lnTo>
                    <a:pt x="662" y="336"/>
                  </a:lnTo>
                  <a:lnTo>
                    <a:pt x="668" y="336"/>
                  </a:lnTo>
                  <a:lnTo>
                    <a:pt x="674" y="334"/>
                  </a:lnTo>
                  <a:lnTo>
                    <a:pt x="680" y="334"/>
                  </a:lnTo>
                  <a:lnTo>
                    <a:pt x="686" y="328"/>
                  </a:lnTo>
                  <a:lnTo>
                    <a:pt x="692" y="328"/>
                  </a:lnTo>
                  <a:lnTo>
                    <a:pt x="698" y="324"/>
                  </a:lnTo>
                  <a:lnTo>
                    <a:pt x="706" y="324"/>
                  </a:lnTo>
                  <a:lnTo>
                    <a:pt x="710" y="326"/>
                  </a:lnTo>
                  <a:lnTo>
                    <a:pt x="718" y="324"/>
                  </a:lnTo>
                  <a:lnTo>
                    <a:pt x="722" y="322"/>
                  </a:lnTo>
                  <a:lnTo>
                    <a:pt x="728" y="318"/>
                  </a:lnTo>
                  <a:lnTo>
                    <a:pt x="736" y="318"/>
                  </a:lnTo>
                  <a:lnTo>
                    <a:pt x="740" y="316"/>
                  </a:lnTo>
                  <a:lnTo>
                    <a:pt x="748" y="314"/>
                  </a:lnTo>
                  <a:lnTo>
                    <a:pt x="754" y="312"/>
                  </a:lnTo>
                  <a:lnTo>
                    <a:pt x="760" y="310"/>
                  </a:lnTo>
                  <a:lnTo>
                    <a:pt x="766" y="310"/>
                  </a:lnTo>
                  <a:lnTo>
                    <a:pt x="772" y="308"/>
                  </a:lnTo>
                  <a:lnTo>
                    <a:pt x="778" y="308"/>
                  </a:lnTo>
                  <a:lnTo>
                    <a:pt x="784" y="310"/>
                  </a:lnTo>
                  <a:lnTo>
                    <a:pt x="790" y="312"/>
                  </a:lnTo>
                  <a:lnTo>
                    <a:pt x="796" y="312"/>
                  </a:lnTo>
                  <a:lnTo>
                    <a:pt x="802" y="310"/>
                  </a:lnTo>
                  <a:lnTo>
                    <a:pt x="808" y="308"/>
                  </a:lnTo>
                  <a:lnTo>
                    <a:pt x="802" y="304"/>
                  </a:lnTo>
                  <a:lnTo>
                    <a:pt x="808" y="300"/>
                  </a:lnTo>
                  <a:lnTo>
                    <a:pt x="814" y="298"/>
                  </a:lnTo>
                  <a:lnTo>
                    <a:pt x="820" y="296"/>
                  </a:lnTo>
                  <a:lnTo>
                    <a:pt x="826" y="294"/>
                  </a:lnTo>
                  <a:lnTo>
                    <a:pt x="832" y="294"/>
                  </a:lnTo>
                  <a:lnTo>
                    <a:pt x="838" y="292"/>
                  </a:lnTo>
                  <a:lnTo>
                    <a:pt x="846" y="292"/>
                  </a:lnTo>
                  <a:lnTo>
                    <a:pt x="852" y="290"/>
                  </a:lnTo>
                  <a:lnTo>
                    <a:pt x="858" y="292"/>
                  </a:lnTo>
                  <a:lnTo>
                    <a:pt x="862" y="290"/>
                  </a:lnTo>
                  <a:lnTo>
                    <a:pt x="868" y="288"/>
                  </a:lnTo>
                  <a:lnTo>
                    <a:pt x="874" y="286"/>
                  </a:lnTo>
                  <a:lnTo>
                    <a:pt x="880" y="286"/>
                  </a:lnTo>
                  <a:lnTo>
                    <a:pt x="886" y="284"/>
                  </a:lnTo>
                  <a:lnTo>
                    <a:pt x="892" y="284"/>
                  </a:lnTo>
                  <a:lnTo>
                    <a:pt x="898" y="282"/>
                  </a:lnTo>
                  <a:lnTo>
                    <a:pt x="904" y="282"/>
                  </a:lnTo>
                  <a:lnTo>
                    <a:pt x="910" y="282"/>
                  </a:lnTo>
                  <a:lnTo>
                    <a:pt x="916" y="282"/>
                  </a:lnTo>
                  <a:lnTo>
                    <a:pt x="922" y="282"/>
                  </a:lnTo>
                  <a:lnTo>
                    <a:pt x="928" y="282"/>
                  </a:lnTo>
                  <a:lnTo>
                    <a:pt x="922" y="282"/>
                  </a:lnTo>
                  <a:lnTo>
                    <a:pt x="918" y="288"/>
                  </a:lnTo>
                  <a:lnTo>
                    <a:pt x="912" y="290"/>
                  </a:lnTo>
                  <a:lnTo>
                    <a:pt x="906" y="294"/>
                  </a:lnTo>
                  <a:lnTo>
                    <a:pt x="900" y="298"/>
                  </a:lnTo>
                  <a:lnTo>
                    <a:pt x="894" y="302"/>
                  </a:lnTo>
                  <a:lnTo>
                    <a:pt x="888" y="304"/>
                  </a:lnTo>
                  <a:lnTo>
                    <a:pt x="882" y="304"/>
                  </a:lnTo>
                  <a:lnTo>
                    <a:pt x="876" y="306"/>
                  </a:lnTo>
                  <a:lnTo>
                    <a:pt x="882" y="306"/>
                  </a:lnTo>
                  <a:lnTo>
                    <a:pt x="884" y="312"/>
                  </a:lnTo>
                  <a:lnTo>
                    <a:pt x="890" y="314"/>
                  </a:lnTo>
                  <a:lnTo>
                    <a:pt x="896" y="312"/>
                  </a:lnTo>
                  <a:lnTo>
                    <a:pt x="902" y="312"/>
                  </a:lnTo>
                  <a:lnTo>
                    <a:pt x="908" y="314"/>
                  </a:lnTo>
                  <a:lnTo>
                    <a:pt x="914" y="314"/>
                  </a:lnTo>
                  <a:lnTo>
                    <a:pt x="920" y="312"/>
                  </a:lnTo>
                  <a:lnTo>
                    <a:pt x="926" y="312"/>
                  </a:lnTo>
                  <a:lnTo>
                    <a:pt x="932" y="312"/>
                  </a:lnTo>
                  <a:lnTo>
                    <a:pt x="926" y="318"/>
                  </a:lnTo>
                  <a:lnTo>
                    <a:pt x="932" y="316"/>
                  </a:lnTo>
                  <a:lnTo>
                    <a:pt x="938" y="314"/>
                  </a:lnTo>
                  <a:lnTo>
                    <a:pt x="944" y="316"/>
                  </a:lnTo>
                  <a:lnTo>
                    <a:pt x="952" y="314"/>
                  </a:lnTo>
                  <a:lnTo>
                    <a:pt x="958" y="314"/>
                  </a:lnTo>
                  <a:lnTo>
                    <a:pt x="964" y="316"/>
                  </a:lnTo>
                  <a:lnTo>
                    <a:pt x="970" y="316"/>
                  </a:lnTo>
                  <a:lnTo>
                    <a:pt x="976" y="314"/>
                  </a:lnTo>
                  <a:lnTo>
                    <a:pt x="974" y="314"/>
                  </a:lnTo>
                  <a:lnTo>
                    <a:pt x="980" y="312"/>
                  </a:lnTo>
                  <a:lnTo>
                    <a:pt x="986" y="308"/>
                  </a:lnTo>
                  <a:lnTo>
                    <a:pt x="992" y="306"/>
                  </a:lnTo>
                  <a:lnTo>
                    <a:pt x="998" y="304"/>
                  </a:lnTo>
                  <a:lnTo>
                    <a:pt x="1002" y="302"/>
                  </a:lnTo>
                  <a:lnTo>
                    <a:pt x="1010" y="302"/>
                  </a:lnTo>
                  <a:lnTo>
                    <a:pt x="1014" y="304"/>
                  </a:lnTo>
                  <a:lnTo>
                    <a:pt x="1008" y="310"/>
                  </a:lnTo>
                  <a:lnTo>
                    <a:pt x="1014" y="308"/>
                  </a:lnTo>
                  <a:lnTo>
                    <a:pt x="1020" y="306"/>
                  </a:lnTo>
                  <a:lnTo>
                    <a:pt x="1026" y="300"/>
                  </a:lnTo>
                  <a:lnTo>
                    <a:pt x="1020" y="294"/>
                  </a:lnTo>
                  <a:lnTo>
                    <a:pt x="1014" y="294"/>
                  </a:lnTo>
                  <a:lnTo>
                    <a:pt x="1008" y="294"/>
                  </a:lnTo>
                  <a:lnTo>
                    <a:pt x="1002" y="294"/>
                  </a:lnTo>
                  <a:lnTo>
                    <a:pt x="996" y="296"/>
                  </a:lnTo>
                  <a:lnTo>
                    <a:pt x="990" y="298"/>
                  </a:lnTo>
                  <a:lnTo>
                    <a:pt x="994" y="294"/>
                  </a:lnTo>
                  <a:lnTo>
                    <a:pt x="1000" y="290"/>
                  </a:lnTo>
                  <a:lnTo>
                    <a:pt x="1006" y="286"/>
                  </a:lnTo>
                  <a:lnTo>
                    <a:pt x="1006" y="280"/>
                  </a:lnTo>
                  <a:lnTo>
                    <a:pt x="1006" y="274"/>
                  </a:lnTo>
                  <a:lnTo>
                    <a:pt x="1000" y="274"/>
                  </a:lnTo>
                  <a:lnTo>
                    <a:pt x="1002" y="268"/>
                  </a:lnTo>
                  <a:lnTo>
                    <a:pt x="1008" y="264"/>
                  </a:lnTo>
                  <a:lnTo>
                    <a:pt x="1014" y="262"/>
                  </a:lnTo>
                  <a:lnTo>
                    <a:pt x="1020" y="262"/>
                  </a:lnTo>
                  <a:lnTo>
                    <a:pt x="1020" y="268"/>
                  </a:lnTo>
                  <a:lnTo>
                    <a:pt x="1018" y="274"/>
                  </a:lnTo>
                  <a:lnTo>
                    <a:pt x="1012" y="276"/>
                  </a:lnTo>
                  <a:lnTo>
                    <a:pt x="1010" y="282"/>
                  </a:lnTo>
                  <a:lnTo>
                    <a:pt x="1010" y="288"/>
                  </a:lnTo>
                  <a:lnTo>
                    <a:pt x="1018" y="290"/>
                  </a:lnTo>
                  <a:lnTo>
                    <a:pt x="1024" y="290"/>
                  </a:lnTo>
                  <a:lnTo>
                    <a:pt x="1030" y="288"/>
                  </a:lnTo>
                  <a:lnTo>
                    <a:pt x="1036" y="286"/>
                  </a:lnTo>
                  <a:lnTo>
                    <a:pt x="1042" y="292"/>
                  </a:lnTo>
                  <a:lnTo>
                    <a:pt x="1048" y="296"/>
                  </a:lnTo>
                  <a:lnTo>
                    <a:pt x="1054" y="296"/>
                  </a:lnTo>
                  <a:lnTo>
                    <a:pt x="1060" y="294"/>
                  </a:lnTo>
                  <a:lnTo>
                    <a:pt x="1066" y="294"/>
                  </a:lnTo>
                  <a:lnTo>
                    <a:pt x="1072" y="294"/>
                  </a:lnTo>
                  <a:lnTo>
                    <a:pt x="1078" y="290"/>
                  </a:lnTo>
                  <a:lnTo>
                    <a:pt x="1084" y="286"/>
                  </a:lnTo>
                  <a:lnTo>
                    <a:pt x="1088" y="280"/>
                  </a:lnTo>
                  <a:lnTo>
                    <a:pt x="1082" y="280"/>
                  </a:lnTo>
                  <a:lnTo>
                    <a:pt x="1074" y="282"/>
                  </a:lnTo>
                  <a:lnTo>
                    <a:pt x="1070" y="282"/>
                  </a:lnTo>
                  <a:lnTo>
                    <a:pt x="1062" y="278"/>
                  </a:lnTo>
                  <a:lnTo>
                    <a:pt x="1056" y="278"/>
                  </a:lnTo>
                  <a:lnTo>
                    <a:pt x="1050" y="278"/>
                  </a:lnTo>
                  <a:lnTo>
                    <a:pt x="1044" y="282"/>
                  </a:lnTo>
                  <a:lnTo>
                    <a:pt x="1042" y="282"/>
                  </a:lnTo>
                  <a:lnTo>
                    <a:pt x="1036" y="286"/>
                  </a:lnTo>
                  <a:lnTo>
                    <a:pt x="1034" y="286"/>
                  </a:lnTo>
                  <a:lnTo>
                    <a:pt x="1028" y="286"/>
                  </a:lnTo>
                  <a:lnTo>
                    <a:pt x="1024" y="284"/>
                  </a:lnTo>
                  <a:lnTo>
                    <a:pt x="1024" y="278"/>
                  </a:lnTo>
                  <a:lnTo>
                    <a:pt x="1024" y="276"/>
                  </a:lnTo>
                  <a:lnTo>
                    <a:pt x="1030" y="272"/>
                  </a:lnTo>
                  <a:lnTo>
                    <a:pt x="1032" y="270"/>
                  </a:lnTo>
                  <a:lnTo>
                    <a:pt x="1038" y="266"/>
                  </a:lnTo>
                  <a:lnTo>
                    <a:pt x="1044" y="264"/>
                  </a:lnTo>
                  <a:lnTo>
                    <a:pt x="1050" y="260"/>
                  </a:lnTo>
                  <a:lnTo>
                    <a:pt x="1052" y="260"/>
                  </a:lnTo>
                  <a:lnTo>
                    <a:pt x="1058" y="260"/>
                  </a:lnTo>
                  <a:lnTo>
                    <a:pt x="1054" y="254"/>
                  </a:lnTo>
                  <a:lnTo>
                    <a:pt x="1048" y="256"/>
                  </a:lnTo>
                  <a:lnTo>
                    <a:pt x="1042" y="256"/>
                  </a:lnTo>
                  <a:lnTo>
                    <a:pt x="1036" y="256"/>
                  </a:lnTo>
                  <a:lnTo>
                    <a:pt x="1036" y="254"/>
                  </a:lnTo>
                  <a:lnTo>
                    <a:pt x="1030" y="258"/>
                  </a:lnTo>
                  <a:lnTo>
                    <a:pt x="1024" y="258"/>
                  </a:lnTo>
                  <a:lnTo>
                    <a:pt x="1028" y="254"/>
                  </a:lnTo>
                  <a:lnTo>
                    <a:pt x="1036" y="252"/>
                  </a:lnTo>
                  <a:lnTo>
                    <a:pt x="1040" y="248"/>
                  </a:lnTo>
                  <a:lnTo>
                    <a:pt x="1036" y="248"/>
                  </a:lnTo>
                  <a:lnTo>
                    <a:pt x="1030" y="252"/>
                  </a:lnTo>
                  <a:lnTo>
                    <a:pt x="1026" y="254"/>
                  </a:lnTo>
                  <a:lnTo>
                    <a:pt x="1020" y="256"/>
                  </a:lnTo>
                  <a:lnTo>
                    <a:pt x="1014" y="256"/>
                  </a:lnTo>
                  <a:lnTo>
                    <a:pt x="1008" y="256"/>
                  </a:lnTo>
                  <a:lnTo>
                    <a:pt x="1002" y="256"/>
                  </a:lnTo>
                  <a:lnTo>
                    <a:pt x="996" y="256"/>
                  </a:lnTo>
                  <a:lnTo>
                    <a:pt x="990" y="254"/>
                  </a:lnTo>
                  <a:lnTo>
                    <a:pt x="984" y="252"/>
                  </a:lnTo>
                  <a:lnTo>
                    <a:pt x="978" y="252"/>
                  </a:lnTo>
                  <a:lnTo>
                    <a:pt x="980" y="246"/>
                  </a:lnTo>
                  <a:lnTo>
                    <a:pt x="986" y="242"/>
                  </a:lnTo>
                  <a:lnTo>
                    <a:pt x="990" y="236"/>
                  </a:lnTo>
                  <a:lnTo>
                    <a:pt x="994" y="230"/>
                  </a:lnTo>
                  <a:lnTo>
                    <a:pt x="998" y="224"/>
                  </a:lnTo>
                  <a:lnTo>
                    <a:pt x="996" y="218"/>
                  </a:lnTo>
                  <a:lnTo>
                    <a:pt x="992" y="212"/>
                  </a:lnTo>
                  <a:lnTo>
                    <a:pt x="990" y="210"/>
                  </a:lnTo>
                  <a:lnTo>
                    <a:pt x="986" y="204"/>
                  </a:lnTo>
                  <a:lnTo>
                    <a:pt x="984" y="198"/>
                  </a:lnTo>
                  <a:lnTo>
                    <a:pt x="978" y="194"/>
                  </a:lnTo>
                  <a:lnTo>
                    <a:pt x="972" y="192"/>
                  </a:lnTo>
                  <a:lnTo>
                    <a:pt x="966" y="192"/>
                  </a:lnTo>
                  <a:lnTo>
                    <a:pt x="966" y="186"/>
                  </a:lnTo>
                  <a:lnTo>
                    <a:pt x="960" y="180"/>
                  </a:lnTo>
                  <a:lnTo>
                    <a:pt x="954" y="178"/>
                  </a:lnTo>
                  <a:lnTo>
                    <a:pt x="948" y="178"/>
                  </a:lnTo>
                  <a:lnTo>
                    <a:pt x="952" y="178"/>
                  </a:lnTo>
                  <a:lnTo>
                    <a:pt x="954" y="178"/>
                  </a:lnTo>
                  <a:lnTo>
                    <a:pt x="960" y="176"/>
                  </a:lnTo>
                  <a:lnTo>
                    <a:pt x="966" y="176"/>
                  </a:lnTo>
                  <a:lnTo>
                    <a:pt x="972" y="174"/>
                  </a:lnTo>
                  <a:lnTo>
                    <a:pt x="978" y="170"/>
                  </a:lnTo>
                  <a:lnTo>
                    <a:pt x="984" y="168"/>
                  </a:lnTo>
                  <a:lnTo>
                    <a:pt x="990" y="164"/>
                  </a:lnTo>
                  <a:lnTo>
                    <a:pt x="996" y="160"/>
                  </a:lnTo>
                  <a:lnTo>
                    <a:pt x="1002" y="158"/>
                  </a:lnTo>
                  <a:lnTo>
                    <a:pt x="1008" y="154"/>
                  </a:lnTo>
                  <a:lnTo>
                    <a:pt x="1014" y="150"/>
                  </a:lnTo>
                  <a:lnTo>
                    <a:pt x="1020" y="146"/>
                  </a:lnTo>
                  <a:lnTo>
                    <a:pt x="1026" y="146"/>
                  </a:lnTo>
                  <a:lnTo>
                    <a:pt x="1032" y="146"/>
                  </a:lnTo>
                  <a:lnTo>
                    <a:pt x="1038" y="148"/>
                  </a:lnTo>
                  <a:lnTo>
                    <a:pt x="1044" y="148"/>
                  </a:lnTo>
                  <a:lnTo>
                    <a:pt x="1050" y="148"/>
                  </a:lnTo>
                  <a:lnTo>
                    <a:pt x="1056" y="148"/>
                  </a:lnTo>
                  <a:lnTo>
                    <a:pt x="1062" y="146"/>
                  </a:lnTo>
                  <a:lnTo>
                    <a:pt x="1070" y="146"/>
                  </a:lnTo>
                  <a:lnTo>
                    <a:pt x="1076" y="146"/>
                  </a:lnTo>
                  <a:lnTo>
                    <a:pt x="1082" y="146"/>
                  </a:lnTo>
                  <a:lnTo>
                    <a:pt x="1088" y="144"/>
                  </a:lnTo>
                  <a:lnTo>
                    <a:pt x="1094" y="144"/>
                  </a:lnTo>
                  <a:lnTo>
                    <a:pt x="1100" y="144"/>
                  </a:lnTo>
                  <a:lnTo>
                    <a:pt x="1106" y="144"/>
                  </a:lnTo>
                  <a:lnTo>
                    <a:pt x="1112" y="142"/>
                  </a:lnTo>
                  <a:lnTo>
                    <a:pt x="1118" y="142"/>
                  </a:lnTo>
                  <a:lnTo>
                    <a:pt x="1124" y="140"/>
                  </a:lnTo>
                  <a:lnTo>
                    <a:pt x="1130" y="140"/>
                  </a:lnTo>
                  <a:lnTo>
                    <a:pt x="1136" y="138"/>
                  </a:lnTo>
                  <a:lnTo>
                    <a:pt x="1142" y="136"/>
                  </a:lnTo>
                  <a:lnTo>
                    <a:pt x="1148" y="134"/>
                  </a:lnTo>
                  <a:lnTo>
                    <a:pt x="1154" y="134"/>
                  </a:lnTo>
                  <a:lnTo>
                    <a:pt x="1160" y="130"/>
                  </a:lnTo>
                  <a:lnTo>
                    <a:pt x="1166" y="130"/>
                  </a:lnTo>
                  <a:lnTo>
                    <a:pt x="1172" y="126"/>
                  </a:lnTo>
                  <a:lnTo>
                    <a:pt x="1178" y="124"/>
                  </a:lnTo>
                  <a:lnTo>
                    <a:pt x="1184" y="122"/>
                  </a:lnTo>
                  <a:lnTo>
                    <a:pt x="1190" y="120"/>
                  </a:lnTo>
                  <a:lnTo>
                    <a:pt x="1196" y="116"/>
                  </a:lnTo>
                  <a:lnTo>
                    <a:pt x="1202" y="114"/>
                  </a:lnTo>
                  <a:lnTo>
                    <a:pt x="1196" y="118"/>
                  </a:lnTo>
                  <a:lnTo>
                    <a:pt x="1190" y="120"/>
                  </a:lnTo>
                  <a:lnTo>
                    <a:pt x="1196" y="118"/>
                  </a:lnTo>
                  <a:lnTo>
                    <a:pt x="1202" y="116"/>
                  </a:lnTo>
                  <a:lnTo>
                    <a:pt x="1208" y="112"/>
                  </a:lnTo>
                  <a:lnTo>
                    <a:pt x="1214" y="110"/>
                  </a:lnTo>
                  <a:lnTo>
                    <a:pt x="1222" y="104"/>
                  </a:lnTo>
                  <a:lnTo>
                    <a:pt x="1226" y="102"/>
                  </a:lnTo>
                  <a:lnTo>
                    <a:pt x="1234" y="100"/>
                  </a:lnTo>
                  <a:lnTo>
                    <a:pt x="1240" y="96"/>
                  </a:lnTo>
                  <a:lnTo>
                    <a:pt x="1246" y="94"/>
                  </a:lnTo>
                  <a:lnTo>
                    <a:pt x="1252" y="92"/>
                  </a:lnTo>
                  <a:lnTo>
                    <a:pt x="1258" y="90"/>
                  </a:lnTo>
                  <a:lnTo>
                    <a:pt x="1264" y="88"/>
                  </a:lnTo>
                  <a:lnTo>
                    <a:pt x="1270" y="86"/>
                  </a:lnTo>
                  <a:lnTo>
                    <a:pt x="1276" y="84"/>
                  </a:lnTo>
                  <a:lnTo>
                    <a:pt x="1282" y="82"/>
                  </a:lnTo>
                  <a:lnTo>
                    <a:pt x="1284" y="82"/>
                  </a:lnTo>
                  <a:lnTo>
                    <a:pt x="1290" y="78"/>
                  </a:lnTo>
                  <a:lnTo>
                    <a:pt x="1296" y="76"/>
                  </a:lnTo>
                  <a:lnTo>
                    <a:pt x="1302" y="74"/>
                  </a:lnTo>
                  <a:lnTo>
                    <a:pt x="1308" y="72"/>
                  </a:lnTo>
                  <a:lnTo>
                    <a:pt x="1314" y="70"/>
                  </a:lnTo>
                  <a:lnTo>
                    <a:pt x="1320" y="68"/>
                  </a:lnTo>
                  <a:lnTo>
                    <a:pt x="1326" y="66"/>
                  </a:lnTo>
                  <a:lnTo>
                    <a:pt x="1332" y="64"/>
                  </a:lnTo>
                  <a:lnTo>
                    <a:pt x="1340" y="62"/>
                  </a:lnTo>
                  <a:lnTo>
                    <a:pt x="1334" y="66"/>
                  </a:lnTo>
                  <a:lnTo>
                    <a:pt x="1334" y="68"/>
                  </a:lnTo>
                  <a:lnTo>
                    <a:pt x="1328" y="70"/>
                  </a:lnTo>
                  <a:lnTo>
                    <a:pt x="1334" y="70"/>
                  </a:lnTo>
                  <a:lnTo>
                    <a:pt x="1340" y="68"/>
                  </a:lnTo>
                  <a:lnTo>
                    <a:pt x="1346" y="66"/>
                  </a:lnTo>
                  <a:lnTo>
                    <a:pt x="1352" y="66"/>
                  </a:lnTo>
                  <a:lnTo>
                    <a:pt x="1358" y="66"/>
                  </a:lnTo>
                  <a:lnTo>
                    <a:pt x="1364" y="66"/>
                  </a:lnTo>
                  <a:lnTo>
                    <a:pt x="1370" y="64"/>
                  </a:lnTo>
                  <a:lnTo>
                    <a:pt x="1378" y="64"/>
                  </a:lnTo>
                  <a:lnTo>
                    <a:pt x="1384" y="62"/>
                  </a:lnTo>
                  <a:lnTo>
                    <a:pt x="1390" y="60"/>
                  </a:lnTo>
                  <a:lnTo>
                    <a:pt x="1396" y="58"/>
                  </a:lnTo>
                  <a:lnTo>
                    <a:pt x="1402" y="58"/>
                  </a:lnTo>
                  <a:lnTo>
                    <a:pt x="1408" y="56"/>
                  </a:lnTo>
                  <a:lnTo>
                    <a:pt x="1414" y="54"/>
                  </a:lnTo>
                  <a:lnTo>
                    <a:pt x="1420" y="52"/>
                  </a:lnTo>
                  <a:lnTo>
                    <a:pt x="1426" y="50"/>
                  </a:lnTo>
                  <a:lnTo>
                    <a:pt x="1432" y="50"/>
                  </a:lnTo>
                  <a:lnTo>
                    <a:pt x="1438" y="48"/>
                  </a:lnTo>
                  <a:lnTo>
                    <a:pt x="1444" y="48"/>
                  </a:lnTo>
                  <a:lnTo>
                    <a:pt x="1446" y="48"/>
                  </a:lnTo>
                  <a:lnTo>
                    <a:pt x="1440" y="52"/>
                  </a:lnTo>
                  <a:lnTo>
                    <a:pt x="1434" y="54"/>
                  </a:lnTo>
                  <a:lnTo>
                    <a:pt x="1428" y="54"/>
                  </a:lnTo>
                  <a:lnTo>
                    <a:pt x="1434" y="54"/>
                  </a:lnTo>
                  <a:lnTo>
                    <a:pt x="1436" y="54"/>
                  </a:lnTo>
                  <a:lnTo>
                    <a:pt x="1432" y="56"/>
                  </a:lnTo>
                  <a:lnTo>
                    <a:pt x="1426" y="58"/>
                  </a:lnTo>
                  <a:lnTo>
                    <a:pt x="1420" y="62"/>
                  </a:lnTo>
                  <a:lnTo>
                    <a:pt x="1426" y="60"/>
                  </a:lnTo>
                  <a:lnTo>
                    <a:pt x="1422" y="66"/>
                  </a:lnTo>
                  <a:lnTo>
                    <a:pt x="1428" y="62"/>
                  </a:lnTo>
                  <a:lnTo>
                    <a:pt x="1434" y="58"/>
                  </a:lnTo>
                  <a:lnTo>
                    <a:pt x="1440" y="56"/>
                  </a:lnTo>
                  <a:lnTo>
                    <a:pt x="1446" y="52"/>
                  </a:lnTo>
                  <a:lnTo>
                    <a:pt x="1452" y="54"/>
                  </a:lnTo>
                  <a:lnTo>
                    <a:pt x="1458" y="52"/>
                  </a:lnTo>
                  <a:lnTo>
                    <a:pt x="1464" y="52"/>
                  </a:lnTo>
                  <a:lnTo>
                    <a:pt x="1470" y="52"/>
                  </a:lnTo>
                  <a:lnTo>
                    <a:pt x="1464" y="52"/>
                  </a:lnTo>
                  <a:lnTo>
                    <a:pt x="1458" y="52"/>
                  </a:lnTo>
                  <a:lnTo>
                    <a:pt x="1452" y="52"/>
                  </a:lnTo>
                  <a:lnTo>
                    <a:pt x="1452" y="46"/>
                  </a:lnTo>
                  <a:lnTo>
                    <a:pt x="1450" y="44"/>
                  </a:lnTo>
                  <a:lnTo>
                    <a:pt x="1444" y="46"/>
                  </a:lnTo>
                  <a:lnTo>
                    <a:pt x="1450" y="44"/>
                  </a:lnTo>
                  <a:lnTo>
                    <a:pt x="1454" y="42"/>
                  </a:lnTo>
                  <a:lnTo>
                    <a:pt x="1460" y="42"/>
                  </a:lnTo>
                  <a:lnTo>
                    <a:pt x="1466" y="40"/>
                  </a:lnTo>
                  <a:lnTo>
                    <a:pt x="1472" y="38"/>
                  </a:lnTo>
                  <a:lnTo>
                    <a:pt x="1478" y="36"/>
                  </a:lnTo>
                  <a:lnTo>
                    <a:pt x="1484" y="34"/>
                  </a:lnTo>
                  <a:lnTo>
                    <a:pt x="1490" y="34"/>
                  </a:lnTo>
                  <a:lnTo>
                    <a:pt x="1496" y="32"/>
                  </a:lnTo>
                  <a:lnTo>
                    <a:pt x="1502" y="32"/>
                  </a:lnTo>
                  <a:lnTo>
                    <a:pt x="1496" y="34"/>
                  </a:lnTo>
                  <a:lnTo>
                    <a:pt x="1490" y="36"/>
                  </a:lnTo>
                  <a:lnTo>
                    <a:pt x="1496" y="38"/>
                  </a:lnTo>
                  <a:lnTo>
                    <a:pt x="1502" y="38"/>
                  </a:lnTo>
                  <a:lnTo>
                    <a:pt x="1508" y="36"/>
                  </a:lnTo>
                  <a:lnTo>
                    <a:pt x="1514" y="36"/>
                  </a:lnTo>
                  <a:lnTo>
                    <a:pt x="1520" y="36"/>
                  </a:lnTo>
                  <a:lnTo>
                    <a:pt x="1526" y="36"/>
                  </a:lnTo>
                  <a:lnTo>
                    <a:pt x="1532" y="34"/>
                  </a:lnTo>
                  <a:lnTo>
                    <a:pt x="1538" y="34"/>
                  </a:lnTo>
                  <a:lnTo>
                    <a:pt x="1544" y="34"/>
                  </a:lnTo>
                  <a:lnTo>
                    <a:pt x="1552" y="34"/>
                  </a:lnTo>
                  <a:lnTo>
                    <a:pt x="1558" y="32"/>
                  </a:lnTo>
                  <a:lnTo>
                    <a:pt x="1564" y="32"/>
                  </a:lnTo>
                  <a:lnTo>
                    <a:pt x="1570" y="30"/>
                  </a:lnTo>
                  <a:lnTo>
                    <a:pt x="1576" y="28"/>
                  </a:lnTo>
                  <a:lnTo>
                    <a:pt x="1582" y="28"/>
                  </a:lnTo>
                  <a:lnTo>
                    <a:pt x="1588" y="26"/>
                  </a:lnTo>
                  <a:lnTo>
                    <a:pt x="1594" y="24"/>
                  </a:lnTo>
                  <a:lnTo>
                    <a:pt x="1600" y="22"/>
                  </a:lnTo>
                  <a:lnTo>
                    <a:pt x="1606" y="20"/>
                  </a:lnTo>
                  <a:lnTo>
                    <a:pt x="1612" y="20"/>
                  </a:lnTo>
                  <a:lnTo>
                    <a:pt x="1618" y="18"/>
                  </a:lnTo>
                  <a:lnTo>
                    <a:pt x="1624" y="16"/>
                  </a:lnTo>
                  <a:lnTo>
                    <a:pt x="1630" y="12"/>
                  </a:lnTo>
                  <a:lnTo>
                    <a:pt x="1636" y="12"/>
                  </a:lnTo>
                  <a:lnTo>
                    <a:pt x="1642" y="10"/>
                  </a:lnTo>
                  <a:lnTo>
                    <a:pt x="1648" y="6"/>
                  </a:lnTo>
                  <a:lnTo>
                    <a:pt x="1654" y="6"/>
                  </a:lnTo>
                  <a:lnTo>
                    <a:pt x="1660" y="4"/>
                  </a:lnTo>
                  <a:lnTo>
                    <a:pt x="1666" y="2"/>
                  </a:lnTo>
                  <a:lnTo>
                    <a:pt x="1672" y="0"/>
                  </a:lnTo>
                  <a:lnTo>
                    <a:pt x="1666" y="2"/>
                  </a:lnTo>
                  <a:lnTo>
                    <a:pt x="1660" y="6"/>
                  </a:lnTo>
                  <a:lnTo>
                    <a:pt x="1666" y="8"/>
                  </a:lnTo>
                  <a:lnTo>
                    <a:pt x="1672" y="10"/>
                  </a:lnTo>
                  <a:lnTo>
                    <a:pt x="1678" y="12"/>
                  </a:lnTo>
                  <a:lnTo>
                    <a:pt x="1684" y="12"/>
                  </a:lnTo>
                  <a:lnTo>
                    <a:pt x="1686" y="18"/>
                  </a:lnTo>
                  <a:lnTo>
                    <a:pt x="1680" y="20"/>
                  </a:lnTo>
                  <a:lnTo>
                    <a:pt x="1674" y="22"/>
                  </a:lnTo>
                  <a:lnTo>
                    <a:pt x="1668" y="24"/>
                  </a:lnTo>
                  <a:lnTo>
                    <a:pt x="1662" y="26"/>
                  </a:lnTo>
                  <a:lnTo>
                    <a:pt x="1654" y="26"/>
                  </a:lnTo>
                  <a:lnTo>
                    <a:pt x="1648" y="28"/>
                  </a:lnTo>
                  <a:lnTo>
                    <a:pt x="1642" y="28"/>
                  </a:lnTo>
                  <a:lnTo>
                    <a:pt x="1642" y="34"/>
                  </a:lnTo>
                  <a:lnTo>
                    <a:pt x="1636" y="38"/>
                  </a:lnTo>
                  <a:lnTo>
                    <a:pt x="1642" y="36"/>
                  </a:lnTo>
                  <a:lnTo>
                    <a:pt x="1648" y="34"/>
                  </a:lnTo>
                  <a:lnTo>
                    <a:pt x="1654" y="32"/>
                  </a:lnTo>
                  <a:lnTo>
                    <a:pt x="1660" y="32"/>
                  </a:lnTo>
                  <a:lnTo>
                    <a:pt x="1668" y="30"/>
                  </a:lnTo>
                  <a:lnTo>
                    <a:pt x="1672" y="28"/>
                  </a:lnTo>
                  <a:lnTo>
                    <a:pt x="1680" y="26"/>
                  </a:lnTo>
                  <a:lnTo>
                    <a:pt x="1684" y="24"/>
                  </a:lnTo>
                  <a:lnTo>
                    <a:pt x="1692" y="22"/>
                  </a:lnTo>
                  <a:lnTo>
                    <a:pt x="1696" y="18"/>
                  </a:lnTo>
                  <a:lnTo>
                    <a:pt x="1704" y="16"/>
                  </a:lnTo>
                  <a:lnTo>
                    <a:pt x="1710" y="16"/>
                  </a:lnTo>
                  <a:lnTo>
                    <a:pt x="1704" y="20"/>
                  </a:lnTo>
                  <a:lnTo>
                    <a:pt x="1710" y="18"/>
                  </a:lnTo>
                  <a:lnTo>
                    <a:pt x="1716" y="18"/>
                  </a:lnTo>
                  <a:lnTo>
                    <a:pt x="1718" y="24"/>
                  </a:lnTo>
                  <a:lnTo>
                    <a:pt x="1712" y="28"/>
                  </a:lnTo>
                  <a:lnTo>
                    <a:pt x="1706" y="30"/>
                  </a:lnTo>
                  <a:lnTo>
                    <a:pt x="1698" y="30"/>
                  </a:lnTo>
                  <a:lnTo>
                    <a:pt x="1704" y="34"/>
                  </a:lnTo>
                  <a:lnTo>
                    <a:pt x="1710" y="34"/>
                  </a:lnTo>
                  <a:lnTo>
                    <a:pt x="1718" y="36"/>
                  </a:lnTo>
                  <a:lnTo>
                    <a:pt x="1724" y="34"/>
                  </a:lnTo>
                  <a:lnTo>
                    <a:pt x="1730" y="34"/>
                  </a:lnTo>
                  <a:lnTo>
                    <a:pt x="1736" y="32"/>
                  </a:lnTo>
                  <a:lnTo>
                    <a:pt x="1742" y="30"/>
                  </a:lnTo>
                  <a:lnTo>
                    <a:pt x="1748" y="30"/>
                  </a:lnTo>
                  <a:lnTo>
                    <a:pt x="1754" y="30"/>
                  </a:lnTo>
                  <a:lnTo>
                    <a:pt x="1760" y="30"/>
                  </a:lnTo>
                  <a:lnTo>
                    <a:pt x="1766" y="28"/>
                  </a:lnTo>
                  <a:lnTo>
                    <a:pt x="1772" y="28"/>
                  </a:lnTo>
                  <a:lnTo>
                    <a:pt x="1778" y="30"/>
                  </a:lnTo>
                  <a:lnTo>
                    <a:pt x="1784" y="30"/>
                  </a:lnTo>
                  <a:lnTo>
                    <a:pt x="1790" y="30"/>
                  </a:lnTo>
                  <a:lnTo>
                    <a:pt x="1796" y="30"/>
                  </a:lnTo>
                  <a:lnTo>
                    <a:pt x="1802" y="32"/>
                  </a:lnTo>
                  <a:lnTo>
                    <a:pt x="1796" y="36"/>
                  </a:lnTo>
                  <a:lnTo>
                    <a:pt x="1790" y="38"/>
                  </a:lnTo>
                  <a:lnTo>
                    <a:pt x="1784" y="42"/>
                  </a:lnTo>
                  <a:lnTo>
                    <a:pt x="1778" y="44"/>
                  </a:lnTo>
                  <a:lnTo>
                    <a:pt x="1784" y="46"/>
                  </a:lnTo>
                  <a:lnTo>
                    <a:pt x="1790" y="48"/>
                  </a:lnTo>
                  <a:lnTo>
                    <a:pt x="1784" y="48"/>
                  </a:lnTo>
                  <a:lnTo>
                    <a:pt x="1778" y="48"/>
                  </a:lnTo>
                  <a:lnTo>
                    <a:pt x="1772" y="48"/>
                  </a:lnTo>
                  <a:lnTo>
                    <a:pt x="1764" y="50"/>
                  </a:lnTo>
                  <a:lnTo>
                    <a:pt x="1772" y="50"/>
                  </a:lnTo>
                  <a:lnTo>
                    <a:pt x="1778" y="50"/>
                  </a:lnTo>
                  <a:lnTo>
                    <a:pt x="1784" y="50"/>
                  </a:lnTo>
                  <a:lnTo>
                    <a:pt x="1790" y="50"/>
                  </a:lnTo>
                  <a:lnTo>
                    <a:pt x="1796" y="50"/>
                  </a:lnTo>
                  <a:lnTo>
                    <a:pt x="1802" y="50"/>
                  </a:lnTo>
                  <a:lnTo>
                    <a:pt x="1796" y="52"/>
                  </a:lnTo>
                  <a:lnTo>
                    <a:pt x="1790" y="54"/>
                  </a:lnTo>
                  <a:lnTo>
                    <a:pt x="1796" y="56"/>
                  </a:lnTo>
                  <a:lnTo>
                    <a:pt x="1802" y="56"/>
                  </a:lnTo>
                  <a:lnTo>
                    <a:pt x="1808" y="58"/>
                  </a:lnTo>
                  <a:lnTo>
                    <a:pt x="1814" y="58"/>
                  </a:lnTo>
                  <a:lnTo>
                    <a:pt x="1820" y="56"/>
                  </a:lnTo>
                  <a:lnTo>
                    <a:pt x="1826" y="54"/>
                  </a:lnTo>
                  <a:lnTo>
                    <a:pt x="1828" y="56"/>
                  </a:lnTo>
                  <a:lnTo>
                    <a:pt x="1834" y="54"/>
                  </a:lnTo>
                  <a:lnTo>
                    <a:pt x="1840" y="54"/>
                  </a:lnTo>
                  <a:lnTo>
                    <a:pt x="1846" y="52"/>
                  </a:lnTo>
                  <a:lnTo>
                    <a:pt x="1852" y="52"/>
                  </a:lnTo>
                  <a:lnTo>
                    <a:pt x="1858" y="54"/>
                  </a:lnTo>
                  <a:lnTo>
                    <a:pt x="1852" y="56"/>
                  </a:lnTo>
                  <a:lnTo>
                    <a:pt x="1858" y="56"/>
                  </a:lnTo>
                  <a:lnTo>
                    <a:pt x="1864" y="56"/>
                  </a:lnTo>
                  <a:lnTo>
                    <a:pt x="1870" y="54"/>
                  </a:lnTo>
                  <a:lnTo>
                    <a:pt x="1876" y="54"/>
                  </a:lnTo>
                  <a:lnTo>
                    <a:pt x="1884" y="54"/>
                  </a:lnTo>
                  <a:lnTo>
                    <a:pt x="1888" y="52"/>
                  </a:lnTo>
                  <a:lnTo>
                    <a:pt x="1894" y="52"/>
                  </a:lnTo>
                  <a:lnTo>
                    <a:pt x="1900" y="54"/>
                  </a:lnTo>
                  <a:lnTo>
                    <a:pt x="1906" y="52"/>
                  </a:lnTo>
                  <a:lnTo>
                    <a:pt x="1912" y="54"/>
                  </a:lnTo>
                  <a:lnTo>
                    <a:pt x="1920" y="58"/>
                  </a:lnTo>
                  <a:lnTo>
                    <a:pt x="1926" y="58"/>
                  </a:lnTo>
                  <a:lnTo>
                    <a:pt x="1932" y="62"/>
                  </a:lnTo>
                  <a:lnTo>
                    <a:pt x="1938" y="62"/>
                  </a:lnTo>
                  <a:lnTo>
                    <a:pt x="1940" y="62"/>
                  </a:lnTo>
                  <a:lnTo>
                    <a:pt x="1944" y="62"/>
                  </a:lnTo>
                  <a:lnTo>
                    <a:pt x="1950" y="64"/>
                  </a:lnTo>
                  <a:lnTo>
                    <a:pt x="1950" y="66"/>
                  </a:lnTo>
                  <a:lnTo>
                    <a:pt x="1956" y="70"/>
                  </a:lnTo>
                  <a:lnTo>
                    <a:pt x="1962" y="70"/>
                  </a:lnTo>
                  <a:lnTo>
                    <a:pt x="1968" y="70"/>
                  </a:lnTo>
                  <a:lnTo>
                    <a:pt x="1976" y="72"/>
                  </a:lnTo>
                  <a:lnTo>
                    <a:pt x="1980" y="70"/>
                  </a:lnTo>
                  <a:lnTo>
                    <a:pt x="1986" y="70"/>
                  </a:lnTo>
                  <a:lnTo>
                    <a:pt x="1992" y="70"/>
                  </a:lnTo>
                  <a:lnTo>
                    <a:pt x="1998" y="70"/>
                  </a:lnTo>
                  <a:lnTo>
                    <a:pt x="2004" y="70"/>
                  </a:lnTo>
                  <a:lnTo>
                    <a:pt x="2010" y="70"/>
                  </a:lnTo>
                  <a:lnTo>
                    <a:pt x="2016" y="72"/>
                  </a:lnTo>
                  <a:lnTo>
                    <a:pt x="2022" y="72"/>
                  </a:lnTo>
                  <a:lnTo>
                    <a:pt x="2028" y="72"/>
                  </a:lnTo>
                  <a:lnTo>
                    <a:pt x="2030" y="78"/>
                  </a:lnTo>
                  <a:lnTo>
                    <a:pt x="2036" y="76"/>
                  </a:lnTo>
                  <a:lnTo>
                    <a:pt x="2042" y="80"/>
                  </a:lnTo>
                  <a:lnTo>
                    <a:pt x="2038" y="82"/>
                  </a:lnTo>
                  <a:lnTo>
                    <a:pt x="2042" y="82"/>
                  </a:lnTo>
                  <a:lnTo>
                    <a:pt x="2044" y="82"/>
                  </a:lnTo>
                  <a:lnTo>
                    <a:pt x="2050" y="82"/>
                  </a:lnTo>
                  <a:lnTo>
                    <a:pt x="2056" y="82"/>
                  </a:lnTo>
                  <a:lnTo>
                    <a:pt x="2062" y="84"/>
                  </a:lnTo>
                  <a:lnTo>
                    <a:pt x="2068" y="82"/>
                  </a:lnTo>
                  <a:lnTo>
                    <a:pt x="2072" y="82"/>
                  </a:lnTo>
                  <a:lnTo>
                    <a:pt x="2078" y="80"/>
                  </a:lnTo>
                  <a:lnTo>
                    <a:pt x="2084" y="78"/>
                  </a:lnTo>
                  <a:lnTo>
                    <a:pt x="2090" y="78"/>
                  </a:lnTo>
                  <a:lnTo>
                    <a:pt x="2096" y="78"/>
                  </a:lnTo>
                  <a:lnTo>
                    <a:pt x="2092" y="82"/>
                  </a:lnTo>
                  <a:lnTo>
                    <a:pt x="2094" y="82"/>
                  </a:lnTo>
                  <a:lnTo>
                    <a:pt x="2100" y="76"/>
                  </a:lnTo>
                  <a:lnTo>
                    <a:pt x="2106" y="78"/>
                  </a:lnTo>
                  <a:lnTo>
                    <a:pt x="2112" y="76"/>
                  </a:lnTo>
                  <a:lnTo>
                    <a:pt x="2118" y="76"/>
                  </a:lnTo>
                  <a:lnTo>
                    <a:pt x="2124" y="76"/>
                  </a:lnTo>
                  <a:lnTo>
                    <a:pt x="2130" y="76"/>
                  </a:lnTo>
                  <a:lnTo>
                    <a:pt x="2136" y="74"/>
                  </a:lnTo>
                  <a:lnTo>
                    <a:pt x="2142" y="76"/>
                  </a:lnTo>
                  <a:lnTo>
                    <a:pt x="2148" y="78"/>
                  </a:lnTo>
                  <a:lnTo>
                    <a:pt x="2154" y="78"/>
                  </a:lnTo>
                  <a:lnTo>
                    <a:pt x="2158" y="82"/>
                  </a:lnTo>
                  <a:lnTo>
                    <a:pt x="2158" y="88"/>
                  </a:lnTo>
                  <a:lnTo>
                    <a:pt x="2164" y="90"/>
                  </a:lnTo>
                  <a:lnTo>
                    <a:pt x="2172" y="92"/>
                  </a:lnTo>
                  <a:lnTo>
                    <a:pt x="2178" y="94"/>
                  </a:lnTo>
                  <a:lnTo>
                    <a:pt x="2180" y="96"/>
                  </a:lnTo>
                  <a:lnTo>
                    <a:pt x="2182" y="102"/>
                  </a:lnTo>
                  <a:lnTo>
                    <a:pt x="2188" y="102"/>
                  </a:lnTo>
                  <a:lnTo>
                    <a:pt x="2194" y="100"/>
                  </a:lnTo>
                  <a:lnTo>
                    <a:pt x="2200" y="102"/>
                  </a:lnTo>
                  <a:lnTo>
                    <a:pt x="2196" y="104"/>
                  </a:lnTo>
                  <a:lnTo>
                    <a:pt x="2188" y="110"/>
                  </a:lnTo>
                  <a:lnTo>
                    <a:pt x="2180" y="116"/>
                  </a:lnTo>
                  <a:lnTo>
                    <a:pt x="2172" y="122"/>
                  </a:lnTo>
                  <a:lnTo>
                    <a:pt x="2166" y="128"/>
                  </a:lnTo>
                  <a:lnTo>
                    <a:pt x="2158" y="134"/>
                  </a:lnTo>
                  <a:lnTo>
                    <a:pt x="2150" y="140"/>
                  </a:lnTo>
                  <a:lnTo>
                    <a:pt x="2142" y="146"/>
                  </a:lnTo>
                  <a:lnTo>
                    <a:pt x="2134" y="152"/>
                  </a:lnTo>
                  <a:lnTo>
                    <a:pt x="2126" y="158"/>
                  </a:lnTo>
                  <a:lnTo>
                    <a:pt x="2120" y="164"/>
                  </a:lnTo>
                  <a:lnTo>
                    <a:pt x="2112" y="168"/>
                  </a:lnTo>
                  <a:lnTo>
                    <a:pt x="2104" y="174"/>
                  </a:lnTo>
                  <a:lnTo>
                    <a:pt x="2096" y="180"/>
                  </a:lnTo>
                  <a:lnTo>
                    <a:pt x="2088" y="188"/>
                  </a:lnTo>
                  <a:lnTo>
                    <a:pt x="2080" y="192"/>
                  </a:lnTo>
                  <a:lnTo>
                    <a:pt x="2074" y="198"/>
                  </a:lnTo>
                  <a:lnTo>
                    <a:pt x="2066" y="204"/>
                  </a:lnTo>
                  <a:lnTo>
                    <a:pt x="2058" y="210"/>
                  </a:lnTo>
                  <a:lnTo>
                    <a:pt x="2050" y="216"/>
                  </a:lnTo>
                  <a:lnTo>
                    <a:pt x="2042" y="222"/>
                  </a:lnTo>
                  <a:lnTo>
                    <a:pt x="2036" y="228"/>
                  </a:lnTo>
                  <a:lnTo>
                    <a:pt x="2028" y="232"/>
                  </a:lnTo>
                  <a:lnTo>
                    <a:pt x="2028" y="234"/>
                  </a:lnTo>
                  <a:lnTo>
                    <a:pt x="2020" y="240"/>
                  </a:lnTo>
                  <a:lnTo>
                    <a:pt x="2012" y="246"/>
                  </a:lnTo>
                  <a:lnTo>
                    <a:pt x="2004" y="252"/>
                  </a:lnTo>
                  <a:lnTo>
                    <a:pt x="1998" y="258"/>
                  </a:lnTo>
                  <a:lnTo>
                    <a:pt x="1990" y="264"/>
                  </a:lnTo>
                  <a:lnTo>
                    <a:pt x="1982" y="270"/>
                  </a:lnTo>
                  <a:lnTo>
                    <a:pt x="1974" y="276"/>
                  </a:lnTo>
                  <a:lnTo>
                    <a:pt x="1968" y="282"/>
                  </a:lnTo>
                  <a:lnTo>
                    <a:pt x="1960" y="288"/>
                  </a:lnTo>
                  <a:lnTo>
                    <a:pt x="1952" y="294"/>
                  </a:lnTo>
                  <a:lnTo>
                    <a:pt x="1944" y="300"/>
                  </a:lnTo>
                  <a:lnTo>
                    <a:pt x="1938" y="306"/>
                  </a:lnTo>
                  <a:lnTo>
                    <a:pt x="1930" y="312"/>
                  </a:lnTo>
                  <a:lnTo>
                    <a:pt x="1922" y="318"/>
                  </a:lnTo>
                  <a:lnTo>
                    <a:pt x="1914" y="324"/>
                  </a:lnTo>
                  <a:lnTo>
                    <a:pt x="1908" y="330"/>
                  </a:lnTo>
                  <a:lnTo>
                    <a:pt x="1900" y="336"/>
                  </a:lnTo>
                  <a:lnTo>
                    <a:pt x="1892" y="342"/>
                  </a:lnTo>
                  <a:lnTo>
                    <a:pt x="1884" y="348"/>
                  </a:lnTo>
                  <a:lnTo>
                    <a:pt x="1878" y="354"/>
                  </a:lnTo>
                  <a:lnTo>
                    <a:pt x="1870" y="360"/>
                  </a:lnTo>
                  <a:lnTo>
                    <a:pt x="1862" y="366"/>
                  </a:lnTo>
                  <a:lnTo>
                    <a:pt x="1856" y="372"/>
                  </a:lnTo>
                  <a:lnTo>
                    <a:pt x="1848" y="378"/>
                  </a:lnTo>
                  <a:lnTo>
                    <a:pt x="1840" y="384"/>
                  </a:lnTo>
                  <a:lnTo>
                    <a:pt x="1832" y="390"/>
                  </a:lnTo>
                  <a:lnTo>
                    <a:pt x="1824" y="398"/>
                  </a:lnTo>
                  <a:lnTo>
                    <a:pt x="1820" y="400"/>
                  </a:lnTo>
                  <a:lnTo>
                    <a:pt x="1814" y="406"/>
                  </a:lnTo>
                  <a:lnTo>
                    <a:pt x="1806" y="414"/>
                  </a:lnTo>
                  <a:lnTo>
                    <a:pt x="1798" y="418"/>
                  </a:lnTo>
                  <a:lnTo>
                    <a:pt x="1792" y="426"/>
                  </a:lnTo>
                  <a:lnTo>
                    <a:pt x="1784" y="432"/>
                  </a:lnTo>
                  <a:lnTo>
                    <a:pt x="1776" y="438"/>
                  </a:lnTo>
                  <a:lnTo>
                    <a:pt x="1770" y="444"/>
                  </a:lnTo>
                  <a:lnTo>
                    <a:pt x="1762" y="450"/>
                  </a:lnTo>
                  <a:lnTo>
                    <a:pt x="1754" y="456"/>
                  </a:lnTo>
                  <a:lnTo>
                    <a:pt x="1748" y="462"/>
                  </a:lnTo>
                  <a:lnTo>
                    <a:pt x="1740" y="468"/>
                  </a:lnTo>
                  <a:lnTo>
                    <a:pt x="1732" y="474"/>
                  </a:lnTo>
                  <a:lnTo>
                    <a:pt x="1726" y="480"/>
                  </a:lnTo>
                  <a:lnTo>
                    <a:pt x="1718" y="486"/>
                  </a:lnTo>
                  <a:lnTo>
                    <a:pt x="1710" y="494"/>
                  </a:lnTo>
                  <a:lnTo>
                    <a:pt x="1704" y="500"/>
                  </a:lnTo>
                  <a:lnTo>
                    <a:pt x="1696" y="506"/>
                  </a:lnTo>
                  <a:lnTo>
                    <a:pt x="1690" y="512"/>
                  </a:lnTo>
                  <a:lnTo>
                    <a:pt x="1682" y="518"/>
                  </a:lnTo>
                  <a:lnTo>
                    <a:pt x="1676" y="524"/>
                  </a:lnTo>
                  <a:lnTo>
                    <a:pt x="1668" y="530"/>
                  </a:lnTo>
                  <a:lnTo>
                    <a:pt x="1660" y="536"/>
                  </a:lnTo>
                  <a:lnTo>
                    <a:pt x="1654" y="542"/>
                  </a:lnTo>
                  <a:lnTo>
                    <a:pt x="1646" y="548"/>
                  </a:lnTo>
                  <a:lnTo>
                    <a:pt x="1640" y="556"/>
                  </a:lnTo>
                  <a:lnTo>
                    <a:pt x="1632" y="562"/>
                  </a:lnTo>
                  <a:lnTo>
                    <a:pt x="1624" y="568"/>
                  </a:lnTo>
                  <a:lnTo>
                    <a:pt x="1618" y="574"/>
                  </a:lnTo>
                  <a:lnTo>
                    <a:pt x="1612" y="580"/>
                  </a:lnTo>
                  <a:lnTo>
                    <a:pt x="1608" y="582"/>
                  </a:lnTo>
                  <a:lnTo>
                    <a:pt x="1602" y="588"/>
                  </a:lnTo>
                  <a:lnTo>
                    <a:pt x="1594" y="594"/>
                  </a:lnTo>
                  <a:lnTo>
                    <a:pt x="1586" y="600"/>
                  </a:lnTo>
                  <a:lnTo>
                    <a:pt x="1580" y="608"/>
                  </a:lnTo>
                  <a:lnTo>
                    <a:pt x="1572" y="614"/>
                  </a:lnTo>
                  <a:lnTo>
                    <a:pt x="1566" y="620"/>
                  </a:lnTo>
                  <a:lnTo>
                    <a:pt x="1558" y="626"/>
                  </a:lnTo>
                  <a:lnTo>
                    <a:pt x="1552" y="632"/>
                  </a:lnTo>
                  <a:lnTo>
                    <a:pt x="1544" y="638"/>
                  </a:lnTo>
                  <a:lnTo>
                    <a:pt x="1538" y="646"/>
                  </a:lnTo>
                  <a:lnTo>
                    <a:pt x="1530" y="652"/>
                  </a:lnTo>
                  <a:lnTo>
                    <a:pt x="1524" y="658"/>
                  </a:lnTo>
                  <a:lnTo>
                    <a:pt x="1516" y="664"/>
                  </a:lnTo>
                  <a:lnTo>
                    <a:pt x="1514" y="672"/>
                  </a:lnTo>
                  <a:lnTo>
                    <a:pt x="1520" y="672"/>
                  </a:lnTo>
                  <a:lnTo>
                    <a:pt x="1526" y="674"/>
                  </a:lnTo>
                  <a:lnTo>
                    <a:pt x="1532" y="672"/>
                  </a:lnTo>
                  <a:lnTo>
                    <a:pt x="1538" y="670"/>
                  </a:lnTo>
                  <a:lnTo>
                    <a:pt x="1544" y="674"/>
                  </a:lnTo>
                  <a:lnTo>
                    <a:pt x="1550" y="676"/>
                  </a:lnTo>
                  <a:lnTo>
                    <a:pt x="1552" y="676"/>
                  </a:lnTo>
                  <a:lnTo>
                    <a:pt x="1560" y="674"/>
                  </a:lnTo>
                  <a:lnTo>
                    <a:pt x="1566" y="672"/>
                  </a:lnTo>
                  <a:lnTo>
                    <a:pt x="1570" y="670"/>
                  </a:lnTo>
                  <a:lnTo>
                    <a:pt x="1578" y="668"/>
                  </a:lnTo>
                  <a:lnTo>
                    <a:pt x="1584" y="668"/>
                  </a:lnTo>
                  <a:lnTo>
                    <a:pt x="1592" y="668"/>
                  </a:lnTo>
                  <a:lnTo>
                    <a:pt x="1600" y="668"/>
                  </a:lnTo>
                  <a:lnTo>
                    <a:pt x="1606" y="668"/>
                  </a:lnTo>
                  <a:lnTo>
                    <a:pt x="1598" y="674"/>
                  </a:lnTo>
                  <a:lnTo>
                    <a:pt x="1590" y="678"/>
                  </a:lnTo>
                  <a:lnTo>
                    <a:pt x="1584" y="682"/>
                  </a:lnTo>
                  <a:lnTo>
                    <a:pt x="1584" y="688"/>
                  </a:lnTo>
                  <a:lnTo>
                    <a:pt x="1584" y="690"/>
                  </a:lnTo>
                  <a:lnTo>
                    <a:pt x="1590" y="692"/>
                  </a:lnTo>
                  <a:lnTo>
                    <a:pt x="1592" y="698"/>
                  </a:lnTo>
                  <a:lnTo>
                    <a:pt x="1590" y="706"/>
                  </a:lnTo>
                  <a:lnTo>
                    <a:pt x="1592" y="712"/>
                  </a:lnTo>
                  <a:lnTo>
                    <a:pt x="1596" y="718"/>
                  </a:lnTo>
                  <a:lnTo>
                    <a:pt x="1598" y="724"/>
                  </a:lnTo>
                  <a:lnTo>
                    <a:pt x="1600" y="726"/>
                  </a:lnTo>
                  <a:lnTo>
                    <a:pt x="1602" y="734"/>
                  </a:lnTo>
                  <a:lnTo>
                    <a:pt x="1602" y="740"/>
                  </a:lnTo>
                  <a:lnTo>
                    <a:pt x="1598" y="746"/>
                  </a:lnTo>
                  <a:lnTo>
                    <a:pt x="1594" y="752"/>
                  </a:lnTo>
                  <a:lnTo>
                    <a:pt x="1590" y="758"/>
                  </a:lnTo>
                  <a:lnTo>
                    <a:pt x="1596" y="756"/>
                  </a:lnTo>
                  <a:lnTo>
                    <a:pt x="1602" y="754"/>
                  </a:lnTo>
                  <a:lnTo>
                    <a:pt x="1608" y="752"/>
                  </a:lnTo>
                  <a:lnTo>
                    <a:pt x="1616" y="750"/>
                  </a:lnTo>
                  <a:lnTo>
                    <a:pt x="1622" y="748"/>
                  </a:lnTo>
                  <a:lnTo>
                    <a:pt x="1628" y="746"/>
                  </a:lnTo>
                  <a:lnTo>
                    <a:pt x="1634" y="744"/>
                  </a:lnTo>
                  <a:lnTo>
                    <a:pt x="1642" y="742"/>
                  </a:lnTo>
                  <a:lnTo>
                    <a:pt x="1650" y="742"/>
                  </a:lnTo>
                  <a:lnTo>
                    <a:pt x="1654" y="738"/>
                  </a:lnTo>
                  <a:lnTo>
                    <a:pt x="1662" y="734"/>
                  </a:lnTo>
                  <a:lnTo>
                    <a:pt x="1668" y="730"/>
                  </a:lnTo>
                  <a:lnTo>
                    <a:pt x="1674" y="722"/>
                  </a:lnTo>
                  <a:lnTo>
                    <a:pt x="1680" y="724"/>
                  </a:lnTo>
                  <a:lnTo>
                    <a:pt x="1688" y="720"/>
                  </a:lnTo>
                  <a:lnTo>
                    <a:pt x="1690" y="714"/>
                  </a:lnTo>
                  <a:lnTo>
                    <a:pt x="1696" y="712"/>
                  </a:lnTo>
                  <a:lnTo>
                    <a:pt x="1702" y="712"/>
                  </a:lnTo>
                  <a:lnTo>
                    <a:pt x="1710" y="710"/>
                  </a:lnTo>
                  <a:lnTo>
                    <a:pt x="1716" y="710"/>
                  </a:lnTo>
                  <a:lnTo>
                    <a:pt x="1722" y="708"/>
                  </a:lnTo>
                  <a:lnTo>
                    <a:pt x="1728" y="706"/>
                  </a:lnTo>
                  <a:lnTo>
                    <a:pt x="1734" y="704"/>
                  </a:lnTo>
                  <a:lnTo>
                    <a:pt x="1740" y="702"/>
                  </a:lnTo>
                  <a:lnTo>
                    <a:pt x="1748" y="708"/>
                  </a:lnTo>
                  <a:lnTo>
                    <a:pt x="1750" y="714"/>
                  </a:lnTo>
                  <a:lnTo>
                    <a:pt x="1752" y="714"/>
                  </a:lnTo>
                  <a:lnTo>
                    <a:pt x="1748" y="720"/>
                  </a:lnTo>
                  <a:lnTo>
                    <a:pt x="1742" y="724"/>
                  </a:lnTo>
                  <a:lnTo>
                    <a:pt x="1738" y="730"/>
                  </a:lnTo>
                  <a:lnTo>
                    <a:pt x="1740" y="736"/>
                  </a:lnTo>
                  <a:lnTo>
                    <a:pt x="1744" y="740"/>
                  </a:lnTo>
                  <a:lnTo>
                    <a:pt x="1750" y="746"/>
                  </a:lnTo>
                  <a:lnTo>
                    <a:pt x="1746" y="752"/>
                  </a:lnTo>
                  <a:lnTo>
                    <a:pt x="1744" y="758"/>
                  </a:lnTo>
                  <a:lnTo>
                    <a:pt x="1744" y="764"/>
                  </a:lnTo>
                  <a:lnTo>
                    <a:pt x="1750" y="768"/>
                  </a:lnTo>
                  <a:lnTo>
                    <a:pt x="1754" y="774"/>
                  </a:lnTo>
                  <a:lnTo>
                    <a:pt x="1754" y="780"/>
                  </a:lnTo>
                  <a:lnTo>
                    <a:pt x="1756" y="784"/>
                  </a:lnTo>
                  <a:lnTo>
                    <a:pt x="1756" y="790"/>
                  </a:lnTo>
                  <a:lnTo>
                    <a:pt x="1750" y="794"/>
                  </a:lnTo>
                  <a:lnTo>
                    <a:pt x="1750" y="800"/>
                  </a:lnTo>
                  <a:lnTo>
                    <a:pt x="1750" y="806"/>
                  </a:lnTo>
                  <a:lnTo>
                    <a:pt x="1748" y="812"/>
                  </a:lnTo>
                  <a:lnTo>
                    <a:pt x="1746" y="818"/>
                  </a:lnTo>
                  <a:lnTo>
                    <a:pt x="1746" y="824"/>
                  </a:lnTo>
                  <a:lnTo>
                    <a:pt x="1744" y="830"/>
                  </a:lnTo>
                  <a:lnTo>
                    <a:pt x="1742" y="836"/>
                  </a:lnTo>
                  <a:lnTo>
                    <a:pt x="1742" y="842"/>
                  </a:lnTo>
                  <a:lnTo>
                    <a:pt x="1740" y="848"/>
                  </a:lnTo>
                  <a:lnTo>
                    <a:pt x="1740" y="854"/>
                  </a:lnTo>
                  <a:lnTo>
                    <a:pt x="1740" y="858"/>
                  </a:lnTo>
                  <a:lnTo>
                    <a:pt x="1738" y="866"/>
                  </a:lnTo>
                  <a:lnTo>
                    <a:pt x="1732" y="870"/>
                  </a:lnTo>
                  <a:lnTo>
                    <a:pt x="1728" y="876"/>
                  </a:lnTo>
                  <a:lnTo>
                    <a:pt x="1734" y="880"/>
                  </a:lnTo>
                  <a:lnTo>
                    <a:pt x="1726" y="886"/>
                  </a:lnTo>
                  <a:lnTo>
                    <a:pt x="1726" y="892"/>
                  </a:lnTo>
                  <a:lnTo>
                    <a:pt x="1724" y="898"/>
                  </a:lnTo>
                  <a:lnTo>
                    <a:pt x="1722" y="904"/>
                  </a:lnTo>
                  <a:lnTo>
                    <a:pt x="1722" y="908"/>
                  </a:lnTo>
                  <a:lnTo>
                    <a:pt x="1728" y="908"/>
                  </a:lnTo>
                  <a:lnTo>
                    <a:pt x="1734" y="910"/>
                  </a:lnTo>
                  <a:lnTo>
                    <a:pt x="1740" y="914"/>
                  </a:lnTo>
                  <a:lnTo>
                    <a:pt x="1746" y="920"/>
                  </a:lnTo>
                  <a:lnTo>
                    <a:pt x="1752" y="922"/>
                  </a:lnTo>
                  <a:lnTo>
                    <a:pt x="1758" y="924"/>
                  </a:lnTo>
                  <a:lnTo>
                    <a:pt x="1758" y="930"/>
                  </a:lnTo>
                  <a:lnTo>
                    <a:pt x="1764" y="932"/>
                  </a:lnTo>
                  <a:lnTo>
                    <a:pt x="1764" y="938"/>
                  </a:lnTo>
                  <a:lnTo>
                    <a:pt x="1770" y="940"/>
                  </a:lnTo>
                  <a:lnTo>
                    <a:pt x="1776" y="940"/>
                  </a:lnTo>
                  <a:lnTo>
                    <a:pt x="1774" y="946"/>
                  </a:lnTo>
                  <a:lnTo>
                    <a:pt x="1768" y="952"/>
                  </a:lnTo>
                  <a:lnTo>
                    <a:pt x="1762" y="956"/>
                  </a:lnTo>
                  <a:lnTo>
                    <a:pt x="1756" y="958"/>
                  </a:lnTo>
                  <a:lnTo>
                    <a:pt x="1754" y="960"/>
                  </a:lnTo>
                  <a:lnTo>
                    <a:pt x="1750" y="962"/>
                  </a:lnTo>
                  <a:lnTo>
                    <a:pt x="1748" y="968"/>
                  </a:lnTo>
                  <a:lnTo>
                    <a:pt x="1742" y="974"/>
                  </a:lnTo>
                  <a:lnTo>
                    <a:pt x="1738" y="980"/>
                  </a:lnTo>
                  <a:lnTo>
                    <a:pt x="1734" y="986"/>
                  </a:lnTo>
                  <a:lnTo>
                    <a:pt x="1732" y="992"/>
                  </a:lnTo>
                  <a:lnTo>
                    <a:pt x="1730" y="994"/>
                  </a:lnTo>
                  <a:lnTo>
                    <a:pt x="1724" y="996"/>
                  </a:lnTo>
                  <a:lnTo>
                    <a:pt x="1718" y="1000"/>
                  </a:lnTo>
                  <a:lnTo>
                    <a:pt x="1714" y="1004"/>
                  </a:lnTo>
                  <a:lnTo>
                    <a:pt x="1706" y="1008"/>
                  </a:lnTo>
                  <a:lnTo>
                    <a:pt x="1702" y="1010"/>
                  </a:lnTo>
                  <a:lnTo>
                    <a:pt x="1694" y="1014"/>
                  </a:lnTo>
                  <a:lnTo>
                    <a:pt x="1688" y="1018"/>
                  </a:lnTo>
                  <a:lnTo>
                    <a:pt x="1684" y="1020"/>
                  </a:lnTo>
                  <a:lnTo>
                    <a:pt x="1678" y="1024"/>
                  </a:lnTo>
                  <a:lnTo>
                    <a:pt x="1672" y="1024"/>
                  </a:lnTo>
                  <a:lnTo>
                    <a:pt x="1664" y="1028"/>
                  </a:lnTo>
                  <a:lnTo>
                    <a:pt x="1670" y="1020"/>
                  </a:lnTo>
                  <a:lnTo>
                    <a:pt x="1674" y="1014"/>
                  </a:lnTo>
                  <a:lnTo>
                    <a:pt x="1668" y="1020"/>
                  </a:lnTo>
                  <a:lnTo>
                    <a:pt x="1662" y="1024"/>
                  </a:lnTo>
                  <a:lnTo>
                    <a:pt x="1656" y="1026"/>
                  </a:lnTo>
                  <a:lnTo>
                    <a:pt x="1658" y="1020"/>
                  </a:lnTo>
                  <a:lnTo>
                    <a:pt x="1664" y="1014"/>
                  </a:lnTo>
                  <a:lnTo>
                    <a:pt x="1668" y="1008"/>
                  </a:lnTo>
                  <a:lnTo>
                    <a:pt x="1672" y="1006"/>
                  </a:lnTo>
                  <a:lnTo>
                    <a:pt x="1678" y="1006"/>
                  </a:lnTo>
                  <a:lnTo>
                    <a:pt x="1684" y="1004"/>
                  </a:lnTo>
                  <a:lnTo>
                    <a:pt x="1690" y="1000"/>
                  </a:lnTo>
                  <a:lnTo>
                    <a:pt x="1696" y="998"/>
                  </a:lnTo>
                  <a:lnTo>
                    <a:pt x="1702" y="994"/>
                  </a:lnTo>
                  <a:lnTo>
                    <a:pt x="1710" y="990"/>
                  </a:lnTo>
                  <a:lnTo>
                    <a:pt x="1704" y="994"/>
                  </a:lnTo>
                  <a:lnTo>
                    <a:pt x="1696" y="998"/>
                  </a:lnTo>
                  <a:lnTo>
                    <a:pt x="1692" y="1000"/>
                  </a:lnTo>
                  <a:lnTo>
                    <a:pt x="1686" y="1002"/>
                  </a:lnTo>
                  <a:lnTo>
                    <a:pt x="1680" y="1002"/>
                  </a:lnTo>
                  <a:lnTo>
                    <a:pt x="1674" y="1006"/>
                  </a:lnTo>
                  <a:lnTo>
                    <a:pt x="1670" y="1000"/>
                  </a:lnTo>
                  <a:lnTo>
                    <a:pt x="1676" y="996"/>
                  </a:lnTo>
                  <a:lnTo>
                    <a:pt x="1684" y="994"/>
                  </a:lnTo>
                  <a:lnTo>
                    <a:pt x="1688" y="994"/>
                  </a:lnTo>
                  <a:lnTo>
                    <a:pt x="1694" y="992"/>
                  </a:lnTo>
                  <a:lnTo>
                    <a:pt x="1702" y="992"/>
                  </a:lnTo>
                  <a:lnTo>
                    <a:pt x="1694" y="992"/>
                  </a:lnTo>
                  <a:lnTo>
                    <a:pt x="1688" y="992"/>
                  </a:lnTo>
                  <a:lnTo>
                    <a:pt x="1694" y="986"/>
                  </a:lnTo>
                  <a:lnTo>
                    <a:pt x="1698" y="980"/>
                  </a:lnTo>
                  <a:lnTo>
                    <a:pt x="1704" y="974"/>
                  </a:lnTo>
                  <a:lnTo>
                    <a:pt x="1708" y="968"/>
                  </a:lnTo>
                  <a:lnTo>
                    <a:pt x="1712" y="962"/>
                  </a:lnTo>
                  <a:lnTo>
                    <a:pt x="1712" y="956"/>
                  </a:lnTo>
                  <a:lnTo>
                    <a:pt x="1712" y="950"/>
                  </a:lnTo>
                  <a:lnTo>
                    <a:pt x="1718" y="946"/>
                  </a:lnTo>
                  <a:lnTo>
                    <a:pt x="1724" y="942"/>
                  </a:lnTo>
                  <a:lnTo>
                    <a:pt x="1730" y="938"/>
                  </a:lnTo>
                  <a:lnTo>
                    <a:pt x="1724" y="942"/>
                  </a:lnTo>
                  <a:lnTo>
                    <a:pt x="1718" y="944"/>
                  </a:lnTo>
                  <a:lnTo>
                    <a:pt x="1712" y="946"/>
                  </a:lnTo>
                  <a:lnTo>
                    <a:pt x="1706" y="948"/>
                  </a:lnTo>
                  <a:lnTo>
                    <a:pt x="1702" y="948"/>
                  </a:lnTo>
                  <a:lnTo>
                    <a:pt x="1696" y="950"/>
                  </a:lnTo>
                  <a:lnTo>
                    <a:pt x="1690" y="952"/>
                  </a:lnTo>
                  <a:lnTo>
                    <a:pt x="1694" y="950"/>
                  </a:lnTo>
                  <a:lnTo>
                    <a:pt x="1696" y="948"/>
                  </a:lnTo>
                  <a:lnTo>
                    <a:pt x="1700" y="948"/>
                  </a:lnTo>
                  <a:lnTo>
                    <a:pt x="1694" y="950"/>
                  </a:lnTo>
                  <a:lnTo>
                    <a:pt x="1688" y="950"/>
                  </a:lnTo>
                  <a:lnTo>
                    <a:pt x="1682" y="952"/>
                  </a:lnTo>
                  <a:lnTo>
                    <a:pt x="1676" y="954"/>
                  </a:lnTo>
                  <a:lnTo>
                    <a:pt x="1670" y="956"/>
                  </a:lnTo>
                  <a:lnTo>
                    <a:pt x="1670" y="962"/>
                  </a:lnTo>
                  <a:lnTo>
                    <a:pt x="1664" y="964"/>
                  </a:lnTo>
                  <a:lnTo>
                    <a:pt x="1658" y="970"/>
                  </a:lnTo>
                  <a:lnTo>
                    <a:pt x="1652" y="968"/>
                  </a:lnTo>
                  <a:lnTo>
                    <a:pt x="1650" y="974"/>
                  </a:lnTo>
                  <a:lnTo>
                    <a:pt x="1644" y="978"/>
                  </a:lnTo>
                  <a:lnTo>
                    <a:pt x="1638" y="972"/>
                  </a:lnTo>
                  <a:lnTo>
                    <a:pt x="1642" y="966"/>
                  </a:lnTo>
                  <a:lnTo>
                    <a:pt x="1650" y="962"/>
                  </a:lnTo>
                  <a:lnTo>
                    <a:pt x="1654" y="960"/>
                  </a:lnTo>
                  <a:lnTo>
                    <a:pt x="1660" y="956"/>
                  </a:lnTo>
                  <a:lnTo>
                    <a:pt x="1668" y="950"/>
                  </a:lnTo>
                  <a:lnTo>
                    <a:pt x="1674" y="948"/>
                  </a:lnTo>
                  <a:lnTo>
                    <a:pt x="1678" y="942"/>
                  </a:lnTo>
                  <a:lnTo>
                    <a:pt x="1684" y="936"/>
                  </a:lnTo>
                  <a:lnTo>
                    <a:pt x="1690" y="934"/>
                  </a:lnTo>
                  <a:lnTo>
                    <a:pt x="1696" y="934"/>
                  </a:lnTo>
                  <a:lnTo>
                    <a:pt x="1702" y="934"/>
                  </a:lnTo>
                  <a:lnTo>
                    <a:pt x="1708" y="934"/>
                  </a:lnTo>
                  <a:lnTo>
                    <a:pt x="1702" y="932"/>
                  </a:lnTo>
                  <a:lnTo>
                    <a:pt x="1700" y="932"/>
                  </a:lnTo>
                  <a:lnTo>
                    <a:pt x="1694" y="932"/>
                  </a:lnTo>
                  <a:lnTo>
                    <a:pt x="1694" y="926"/>
                  </a:lnTo>
                  <a:lnTo>
                    <a:pt x="1692" y="924"/>
                  </a:lnTo>
                  <a:lnTo>
                    <a:pt x="1692" y="928"/>
                  </a:lnTo>
                  <a:lnTo>
                    <a:pt x="1684" y="934"/>
                  </a:lnTo>
                  <a:lnTo>
                    <a:pt x="1678" y="938"/>
                  </a:lnTo>
                  <a:lnTo>
                    <a:pt x="1672" y="934"/>
                  </a:lnTo>
                  <a:lnTo>
                    <a:pt x="1674" y="926"/>
                  </a:lnTo>
                  <a:lnTo>
                    <a:pt x="1680" y="922"/>
                  </a:lnTo>
                  <a:lnTo>
                    <a:pt x="1684" y="916"/>
                  </a:lnTo>
                  <a:lnTo>
                    <a:pt x="1686" y="914"/>
                  </a:lnTo>
                  <a:lnTo>
                    <a:pt x="1686" y="922"/>
                  </a:lnTo>
                  <a:lnTo>
                    <a:pt x="1690" y="922"/>
                  </a:lnTo>
                  <a:lnTo>
                    <a:pt x="1688" y="920"/>
                  </a:lnTo>
                  <a:lnTo>
                    <a:pt x="1688" y="914"/>
                  </a:lnTo>
                  <a:lnTo>
                    <a:pt x="1692" y="908"/>
                  </a:lnTo>
                  <a:lnTo>
                    <a:pt x="1686" y="906"/>
                  </a:lnTo>
                  <a:lnTo>
                    <a:pt x="1692" y="902"/>
                  </a:lnTo>
                  <a:lnTo>
                    <a:pt x="1696" y="896"/>
                  </a:lnTo>
                  <a:lnTo>
                    <a:pt x="1702" y="894"/>
                  </a:lnTo>
                  <a:lnTo>
                    <a:pt x="1696" y="896"/>
                  </a:lnTo>
                  <a:lnTo>
                    <a:pt x="1692" y="896"/>
                  </a:lnTo>
                  <a:lnTo>
                    <a:pt x="1688" y="890"/>
                  </a:lnTo>
                  <a:lnTo>
                    <a:pt x="1688" y="884"/>
                  </a:lnTo>
                  <a:lnTo>
                    <a:pt x="1694" y="884"/>
                  </a:lnTo>
                  <a:lnTo>
                    <a:pt x="1698" y="878"/>
                  </a:lnTo>
                  <a:lnTo>
                    <a:pt x="1692" y="880"/>
                  </a:lnTo>
                  <a:lnTo>
                    <a:pt x="1686" y="876"/>
                  </a:lnTo>
                  <a:lnTo>
                    <a:pt x="1684" y="870"/>
                  </a:lnTo>
                  <a:lnTo>
                    <a:pt x="1678" y="874"/>
                  </a:lnTo>
                  <a:lnTo>
                    <a:pt x="1672" y="872"/>
                  </a:lnTo>
                  <a:lnTo>
                    <a:pt x="1674" y="866"/>
                  </a:lnTo>
                  <a:lnTo>
                    <a:pt x="1680" y="862"/>
                  </a:lnTo>
                  <a:lnTo>
                    <a:pt x="1686" y="862"/>
                  </a:lnTo>
                  <a:lnTo>
                    <a:pt x="1692" y="862"/>
                  </a:lnTo>
                  <a:lnTo>
                    <a:pt x="1698" y="862"/>
                  </a:lnTo>
                  <a:lnTo>
                    <a:pt x="1704" y="860"/>
                  </a:lnTo>
                  <a:lnTo>
                    <a:pt x="1698" y="860"/>
                  </a:lnTo>
                  <a:lnTo>
                    <a:pt x="1692" y="862"/>
                  </a:lnTo>
                  <a:lnTo>
                    <a:pt x="1686" y="860"/>
                  </a:lnTo>
                  <a:lnTo>
                    <a:pt x="1692" y="856"/>
                  </a:lnTo>
                  <a:lnTo>
                    <a:pt x="1690" y="850"/>
                  </a:lnTo>
                  <a:lnTo>
                    <a:pt x="1696" y="846"/>
                  </a:lnTo>
                  <a:lnTo>
                    <a:pt x="1702" y="844"/>
                  </a:lnTo>
                  <a:lnTo>
                    <a:pt x="1696" y="844"/>
                  </a:lnTo>
                  <a:lnTo>
                    <a:pt x="1696" y="838"/>
                  </a:lnTo>
                  <a:lnTo>
                    <a:pt x="1702" y="836"/>
                  </a:lnTo>
                  <a:lnTo>
                    <a:pt x="1708" y="840"/>
                  </a:lnTo>
                  <a:lnTo>
                    <a:pt x="1714" y="846"/>
                  </a:lnTo>
                  <a:lnTo>
                    <a:pt x="1714" y="840"/>
                  </a:lnTo>
                  <a:lnTo>
                    <a:pt x="1708" y="834"/>
                  </a:lnTo>
                  <a:lnTo>
                    <a:pt x="1710" y="828"/>
                  </a:lnTo>
                  <a:lnTo>
                    <a:pt x="1716" y="822"/>
                  </a:lnTo>
                  <a:lnTo>
                    <a:pt x="1722" y="824"/>
                  </a:lnTo>
                  <a:lnTo>
                    <a:pt x="1728" y="824"/>
                  </a:lnTo>
                  <a:lnTo>
                    <a:pt x="1734" y="826"/>
                  </a:lnTo>
                  <a:lnTo>
                    <a:pt x="1728" y="824"/>
                  </a:lnTo>
                  <a:lnTo>
                    <a:pt x="1722" y="822"/>
                  </a:lnTo>
                  <a:lnTo>
                    <a:pt x="1716" y="822"/>
                  </a:lnTo>
                  <a:lnTo>
                    <a:pt x="1710" y="826"/>
                  </a:lnTo>
                  <a:lnTo>
                    <a:pt x="1704" y="830"/>
                  </a:lnTo>
                  <a:lnTo>
                    <a:pt x="1702" y="824"/>
                  </a:lnTo>
                  <a:lnTo>
                    <a:pt x="1706" y="818"/>
                  </a:lnTo>
                  <a:lnTo>
                    <a:pt x="1712" y="818"/>
                  </a:lnTo>
                  <a:lnTo>
                    <a:pt x="1716" y="812"/>
                  </a:lnTo>
                  <a:lnTo>
                    <a:pt x="1722" y="808"/>
                  </a:lnTo>
                  <a:lnTo>
                    <a:pt x="1716" y="812"/>
                  </a:lnTo>
                  <a:lnTo>
                    <a:pt x="1710" y="816"/>
                  </a:lnTo>
                  <a:lnTo>
                    <a:pt x="1704" y="818"/>
                  </a:lnTo>
                  <a:lnTo>
                    <a:pt x="1702" y="812"/>
                  </a:lnTo>
                  <a:lnTo>
                    <a:pt x="1706" y="806"/>
                  </a:lnTo>
                  <a:lnTo>
                    <a:pt x="1712" y="802"/>
                  </a:lnTo>
                  <a:lnTo>
                    <a:pt x="1718" y="798"/>
                  </a:lnTo>
                  <a:lnTo>
                    <a:pt x="1722" y="792"/>
                  </a:lnTo>
                  <a:lnTo>
                    <a:pt x="1730" y="790"/>
                  </a:lnTo>
                  <a:lnTo>
                    <a:pt x="1734" y="786"/>
                  </a:lnTo>
                  <a:lnTo>
                    <a:pt x="1742" y="784"/>
                  </a:lnTo>
                  <a:lnTo>
                    <a:pt x="1744" y="784"/>
                  </a:lnTo>
                  <a:lnTo>
                    <a:pt x="1738" y="784"/>
                  </a:lnTo>
                  <a:lnTo>
                    <a:pt x="1732" y="786"/>
                  </a:lnTo>
                  <a:lnTo>
                    <a:pt x="1726" y="790"/>
                  </a:lnTo>
                  <a:lnTo>
                    <a:pt x="1720" y="794"/>
                  </a:lnTo>
                  <a:lnTo>
                    <a:pt x="1714" y="796"/>
                  </a:lnTo>
                  <a:lnTo>
                    <a:pt x="1708" y="802"/>
                  </a:lnTo>
                  <a:lnTo>
                    <a:pt x="1702" y="804"/>
                  </a:lnTo>
                  <a:lnTo>
                    <a:pt x="1698" y="798"/>
                  </a:lnTo>
                  <a:lnTo>
                    <a:pt x="1696" y="796"/>
                  </a:lnTo>
                  <a:lnTo>
                    <a:pt x="1694" y="796"/>
                  </a:lnTo>
                  <a:lnTo>
                    <a:pt x="1692" y="794"/>
                  </a:lnTo>
                  <a:lnTo>
                    <a:pt x="1686" y="792"/>
                  </a:lnTo>
                  <a:lnTo>
                    <a:pt x="1690" y="786"/>
                  </a:lnTo>
                  <a:lnTo>
                    <a:pt x="1692" y="782"/>
                  </a:lnTo>
                  <a:lnTo>
                    <a:pt x="1692" y="776"/>
                  </a:lnTo>
                  <a:lnTo>
                    <a:pt x="1698" y="772"/>
                  </a:lnTo>
                  <a:lnTo>
                    <a:pt x="1704" y="766"/>
                  </a:lnTo>
                  <a:lnTo>
                    <a:pt x="1698" y="768"/>
                  </a:lnTo>
                  <a:lnTo>
                    <a:pt x="1698" y="762"/>
                  </a:lnTo>
                  <a:lnTo>
                    <a:pt x="1704" y="756"/>
                  </a:lnTo>
                  <a:lnTo>
                    <a:pt x="1708" y="750"/>
                  </a:lnTo>
                  <a:lnTo>
                    <a:pt x="1712" y="744"/>
                  </a:lnTo>
                  <a:lnTo>
                    <a:pt x="1714" y="738"/>
                  </a:lnTo>
                  <a:lnTo>
                    <a:pt x="1718" y="732"/>
                  </a:lnTo>
                  <a:lnTo>
                    <a:pt x="1724" y="728"/>
                  </a:lnTo>
                  <a:lnTo>
                    <a:pt x="1730" y="724"/>
                  </a:lnTo>
                  <a:lnTo>
                    <a:pt x="1724" y="726"/>
                  </a:lnTo>
                  <a:lnTo>
                    <a:pt x="1718" y="732"/>
                  </a:lnTo>
                  <a:lnTo>
                    <a:pt x="1712" y="734"/>
                  </a:lnTo>
                  <a:lnTo>
                    <a:pt x="1710" y="734"/>
                  </a:lnTo>
                  <a:lnTo>
                    <a:pt x="1710" y="740"/>
                  </a:lnTo>
                  <a:lnTo>
                    <a:pt x="1708" y="744"/>
                  </a:lnTo>
                  <a:lnTo>
                    <a:pt x="1706" y="740"/>
                  </a:lnTo>
                  <a:lnTo>
                    <a:pt x="1702" y="744"/>
                  </a:lnTo>
                  <a:lnTo>
                    <a:pt x="1698" y="750"/>
                  </a:lnTo>
                  <a:lnTo>
                    <a:pt x="1692" y="756"/>
                  </a:lnTo>
                  <a:lnTo>
                    <a:pt x="1690" y="762"/>
                  </a:lnTo>
                  <a:lnTo>
                    <a:pt x="1686" y="768"/>
                  </a:lnTo>
                  <a:lnTo>
                    <a:pt x="1684" y="774"/>
                  </a:lnTo>
                  <a:lnTo>
                    <a:pt x="1678" y="778"/>
                  </a:lnTo>
                  <a:lnTo>
                    <a:pt x="1676" y="784"/>
                  </a:lnTo>
                  <a:lnTo>
                    <a:pt x="1672" y="790"/>
                  </a:lnTo>
                  <a:lnTo>
                    <a:pt x="1668" y="796"/>
                  </a:lnTo>
                  <a:lnTo>
                    <a:pt x="1662" y="800"/>
                  </a:lnTo>
                  <a:lnTo>
                    <a:pt x="1656" y="804"/>
                  </a:lnTo>
                  <a:lnTo>
                    <a:pt x="1650" y="802"/>
                  </a:lnTo>
                  <a:lnTo>
                    <a:pt x="1652" y="794"/>
                  </a:lnTo>
                  <a:lnTo>
                    <a:pt x="1654" y="790"/>
                  </a:lnTo>
                  <a:lnTo>
                    <a:pt x="1648" y="794"/>
                  </a:lnTo>
                  <a:lnTo>
                    <a:pt x="1642" y="790"/>
                  </a:lnTo>
                  <a:lnTo>
                    <a:pt x="1638" y="792"/>
                  </a:lnTo>
                  <a:lnTo>
                    <a:pt x="1630" y="792"/>
                  </a:lnTo>
                  <a:lnTo>
                    <a:pt x="1636" y="786"/>
                  </a:lnTo>
                  <a:lnTo>
                    <a:pt x="1642" y="782"/>
                  </a:lnTo>
                  <a:lnTo>
                    <a:pt x="1646" y="778"/>
                  </a:lnTo>
                  <a:lnTo>
                    <a:pt x="1648" y="770"/>
                  </a:lnTo>
                  <a:lnTo>
                    <a:pt x="1650" y="764"/>
                  </a:lnTo>
                  <a:lnTo>
                    <a:pt x="1656" y="762"/>
                  </a:lnTo>
                  <a:lnTo>
                    <a:pt x="1662" y="762"/>
                  </a:lnTo>
                  <a:lnTo>
                    <a:pt x="1668" y="760"/>
                  </a:lnTo>
                  <a:lnTo>
                    <a:pt x="1662" y="758"/>
                  </a:lnTo>
                  <a:lnTo>
                    <a:pt x="1656" y="762"/>
                  </a:lnTo>
                  <a:lnTo>
                    <a:pt x="1658" y="756"/>
                  </a:lnTo>
                  <a:lnTo>
                    <a:pt x="1652" y="756"/>
                  </a:lnTo>
                  <a:lnTo>
                    <a:pt x="1650" y="762"/>
                  </a:lnTo>
                  <a:lnTo>
                    <a:pt x="1644" y="768"/>
                  </a:lnTo>
                  <a:lnTo>
                    <a:pt x="1638" y="770"/>
                  </a:lnTo>
                  <a:lnTo>
                    <a:pt x="1632" y="764"/>
                  </a:lnTo>
                  <a:lnTo>
                    <a:pt x="1634" y="758"/>
                  </a:lnTo>
                  <a:lnTo>
                    <a:pt x="1632" y="752"/>
                  </a:lnTo>
                  <a:lnTo>
                    <a:pt x="1630" y="758"/>
                  </a:lnTo>
                  <a:lnTo>
                    <a:pt x="1624" y="756"/>
                  </a:lnTo>
                  <a:lnTo>
                    <a:pt x="1620" y="752"/>
                  </a:lnTo>
                  <a:lnTo>
                    <a:pt x="1616" y="756"/>
                  </a:lnTo>
                  <a:lnTo>
                    <a:pt x="1610" y="758"/>
                  </a:lnTo>
                  <a:lnTo>
                    <a:pt x="1604" y="760"/>
                  </a:lnTo>
                  <a:lnTo>
                    <a:pt x="1598" y="764"/>
                  </a:lnTo>
                  <a:lnTo>
                    <a:pt x="1604" y="762"/>
                  </a:lnTo>
                  <a:lnTo>
                    <a:pt x="1610" y="760"/>
                  </a:lnTo>
                  <a:lnTo>
                    <a:pt x="1616" y="762"/>
                  </a:lnTo>
                  <a:lnTo>
                    <a:pt x="1622" y="762"/>
                  </a:lnTo>
                  <a:lnTo>
                    <a:pt x="1620" y="768"/>
                  </a:lnTo>
                  <a:lnTo>
                    <a:pt x="1622" y="774"/>
                  </a:lnTo>
                  <a:lnTo>
                    <a:pt x="1628" y="770"/>
                  </a:lnTo>
                  <a:lnTo>
                    <a:pt x="1622" y="776"/>
                  </a:lnTo>
                  <a:lnTo>
                    <a:pt x="1616" y="778"/>
                  </a:lnTo>
                  <a:lnTo>
                    <a:pt x="1620" y="778"/>
                  </a:lnTo>
                  <a:lnTo>
                    <a:pt x="1628" y="776"/>
                  </a:lnTo>
                  <a:lnTo>
                    <a:pt x="1630" y="782"/>
                  </a:lnTo>
                  <a:lnTo>
                    <a:pt x="1624" y="784"/>
                  </a:lnTo>
                  <a:lnTo>
                    <a:pt x="1624" y="790"/>
                  </a:lnTo>
                  <a:lnTo>
                    <a:pt x="1620" y="794"/>
                  </a:lnTo>
                  <a:lnTo>
                    <a:pt x="1612" y="796"/>
                  </a:lnTo>
                  <a:lnTo>
                    <a:pt x="1608" y="798"/>
                  </a:lnTo>
                  <a:lnTo>
                    <a:pt x="1610" y="792"/>
                  </a:lnTo>
                  <a:lnTo>
                    <a:pt x="1604" y="790"/>
                  </a:lnTo>
                  <a:lnTo>
                    <a:pt x="1598" y="794"/>
                  </a:lnTo>
                  <a:lnTo>
                    <a:pt x="1604" y="792"/>
                  </a:lnTo>
                  <a:lnTo>
                    <a:pt x="1598" y="796"/>
                  </a:lnTo>
                  <a:lnTo>
                    <a:pt x="1592" y="794"/>
                  </a:lnTo>
                  <a:lnTo>
                    <a:pt x="1588" y="800"/>
                  </a:lnTo>
                  <a:lnTo>
                    <a:pt x="1582" y="804"/>
                  </a:lnTo>
                  <a:lnTo>
                    <a:pt x="1580" y="804"/>
                  </a:lnTo>
                  <a:lnTo>
                    <a:pt x="1582" y="798"/>
                  </a:lnTo>
                  <a:lnTo>
                    <a:pt x="1578" y="794"/>
                  </a:lnTo>
                  <a:lnTo>
                    <a:pt x="1572" y="792"/>
                  </a:lnTo>
                  <a:lnTo>
                    <a:pt x="1566" y="786"/>
                  </a:lnTo>
                  <a:lnTo>
                    <a:pt x="1562" y="782"/>
                  </a:lnTo>
                  <a:lnTo>
                    <a:pt x="1568" y="776"/>
                  </a:lnTo>
                  <a:lnTo>
                    <a:pt x="1562" y="776"/>
                  </a:lnTo>
                  <a:lnTo>
                    <a:pt x="1558" y="770"/>
                  </a:lnTo>
                  <a:lnTo>
                    <a:pt x="1558" y="764"/>
                  </a:lnTo>
                  <a:lnTo>
                    <a:pt x="1562" y="758"/>
                  </a:lnTo>
                  <a:lnTo>
                    <a:pt x="1560" y="752"/>
                  </a:lnTo>
                  <a:lnTo>
                    <a:pt x="1554" y="748"/>
                  </a:lnTo>
                  <a:lnTo>
                    <a:pt x="1548" y="746"/>
                  </a:lnTo>
                  <a:lnTo>
                    <a:pt x="1554" y="742"/>
                  </a:lnTo>
                  <a:lnTo>
                    <a:pt x="1558" y="742"/>
                  </a:lnTo>
                  <a:lnTo>
                    <a:pt x="1552" y="742"/>
                  </a:lnTo>
                  <a:lnTo>
                    <a:pt x="1546" y="744"/>
                  </a:lnTo>
                  <a:lnTo>
                    <a:pt x="1544" y="744"/>
                  </a:lnTo>
                  <a:lnTo>
                    <a:pt x="1540" y="738"/>
                  </a:lnTo>
                  <a:lnTo>
                    <a:pt x="1534" y="734"/>
                  </a:lnTo>
                  <a:lnTo>
                    <a:pt x="1532" y="728"/>
                  </a:lnTo>
                  <a:lnTo>
                    <a:pt x="1526" y="732"/>
                  </a:lnTo>
                  <a:lnTo>
                    <a:pt x="1522" y="726"/>
                  </a:lnTo>
                  <a:lnTo>
                    <a:pt x="1516" y="722"/>
                  </a:lnTo>
                  <a:lnTo>
                    <a:pt x="1522" y="716"/>
                  </a:lnTo>
                  <a:lnTo>
                    <a:pt x="1528" y="714"/>
                  </a:lnTo>
                  <a:lnTo>
                    <a:pt x="1534" y="712"/>
                  </a:lnTo>
                  <a:lnTo>
                    <a:pt x="1540" y="710"/>
                  </a:lnTo>
                  <a:lnTo>
                    <a:pt x="1544" y="704"/>
                  </a:lnTo>
                  <a:lnTo>
                    <a:pt x="1548" y="698"/>
                  </a:lnTo>
                  <a:lnTo>
                    <a:pt x="1554" y="694"/>
                  </a:lnTo>
                  <a:lnTo>
                    <a:pt x="1560" y="692"/>
                  </a:lnTo>
                  <a:lnTo>
                    <a:pt x="1562" y="698"/>
                  </a:lnTo>
                  <a:lnTo>
                    <a:pt x="1556" y="702"/>
                  </a:lnTo>
                  <a:lnTo>
                    <a:pt x="1550" y="708"/>
                  </a:lnTo>
                  <a:lnTo>
                    <a:pt x="1548" y="714"/>
                  </a:lnTo>
                  <a:lnTo>
                    <a:pt x="1552" y="708"/>
                  </a:lnTo>
                  <a:lnTo>
                    <a:pt x="1558" y="702"/>
                  </a:lnTo>
                  <a:lnTo>
                    <a:pt x="1566" y="700"/>
                  </a:lnTo>
                  <a:lnTo>
                    <a:pt x="1570" y="698"/>
                  </a:lnTo>
                  <a:lnTo>
                    <a:pt x="1578" y="702"/>
                  </a:lnTo>
                  <a:lnTo>
                    <a:pt x="1572" y="698"/>
                  </a:lnTo>
                  <a:lnTo>
                    <a:pt x="1566" y="692"/>
                  </a:lnTo>
                  <a:lnTo>
                    <a:pt x="1566" y="688"/>
                  </a:lnTo>
                  <a:lnTo>
                    <a:pt x="1560" y="688"/>
                  </a:lnTo>
                  <a:lnTo>
                    <a:pt x="1558" y="688"/>
                  </a:lnTo>
                  <a:lnTo>
                    <a:pt x="1552" y="692"/>
                  </a:lnTo>
                  <a:lnTo>
                    <a:pt x="1546" y="694"/>
                  </a:lnTo>
                  <a:lnTo>
                    <a:pt x="1540" y="698"/>
                  </a:lnTo>
                  <a:lnTo>
                    <a:pt x="1534" y="700"/>
                  </a:lnTo>
                  <a:lnTo>
                    <a:pt x="1528" y="702"/>
                  </a:lnTo>
                  <a:lnTo>
                    <a:pt x="1522" y="704"/>
                  </a:lnTo>
                  <a:lnTo>
                    <a:pt x="1516" y="706"/>
                  </a:lnTo>
                  <a:lnTo>
                    <a:pt x="1510" y="706"/>
                  </a:lnTo>
                  <a:lnTo>
                    <a:pt x="1504" y="708"/>
                  </a:lnTo>
                  <a:lnTo>
                    <a:pt x="1498" y="708"/>
                  </a:lnTo>
                  <a:lnTo>
                    <a:pt x="1492" y="708"/>
                  </a:lnTo>
                  <a:lnTo>
                    <a:pt x="1486" y="708"/>
                  </a:lnTo>
                  <a:lnTo>
                    <a:pt x="1480" y="706"/>
                  </a:lnTo>
                  <a:lnTo>
                    <a:pt x="1474" y="702"/>
                  </a:lnTo>
                  <a:lnTo>
                    <a:pt x="1468" y="700"/>
                  </a:lnTo>
                  <a:lnTo>
                    <a:pt x="1462" y="698"/>
                  </a:lnTo>
                  <a:lnTo>
                    <a:pt x="1468" y="694"/>
                  </a:lnTo>
                  <a:lnTo>
                    <a:pt x="1474" y="690"/>
                  </a:lnTo>
                  <a:lnTo>
                    <a:pt x="1476" y="688"/>
                  </a:lnTo>
                  <a:lnTo>
                    <a:pt x="1478" y="684"/>
                  </a:lnTo>
                  <a:lnTo>
                    <a:pt x="1472" y="684"/>
                  </a:lnTo>
                  <a:lnTo>
                    <a:pt x="1466" y="688"/>
                  </a:lnTo>
                  <a:lnTo>
                    <a:pt x="1460" y="690"/>
                  </a:lnTo>
                  <a:lnTo>
                    <a:pt x="1452" y="692"/>
                  </a:lnTo>
                  <a:lnTo>
                    <a:pt x="1448" y="688"/>
                  </a:lnTo>
                  <a:lnTo>
                    <a:pt x="1442" y="688"/>
                  </a:lnTo>
                  <a:lnTo>
                    <a:pt x="1434" y="686"/>
                  </a:lnTo>
                  <a:lnTo>
                    <a:pt x="1430" y="686"/>
                  </a:lnTo>
                  <a:lnTo>
                    <a:pt x="1422" y="684"/>
                  </a:lnTo>
                  <a:lnTo>
                    <a:pt x="1418" y="684"/>
                  </a:lnTo>
                  <a:lnTo>
                    <a:pt x="1410" y="682"/>
                  </a:lnTo>
                  <a:lnTo>
                    <a:pt x="1404" y="682"/>
                  </a:lnTo>
                  <a:lnTo>
                    <a:pt x="1398" y="684"/>
                  </a:lnTo>
                  <a:lnTo>
                    <a:pt x="1392" y="684"/>
                  </a:lnTo>
                  <a:lnTo>
                    <a:pt x="1388" y="686"/>
                  </a:lnTo>
                  <a:lnTo>
                    <a:pt x="1380" y="686"/>
                  </a:lnTo>
                  <a:lnTo>
                    <a:pt x="1374" y="686"/>
                  </a:lnTo>
                  <a:lnTo>
                    <a:pt x="1368" y="686"/>
                  </a:lnTo>
                  <a:lnTo>
                    <a:pt x="1362" y="686"/>
                  </a:lnTo>
                  <a:lnTo>
                    <a:pt x="1358" y="688"/>
                  </a:lnTo>
                  <a:lnTo>
                    <a:pt x="1350" y="688"/>
                  </a:lnTo>
                  <a:lnTo>
                    <a:pt x="1346" y="688"/>
                  </a:lnTo>
                  <a:lnTo>
                    <a:pt x="1340" y="688"/>
                  </a:lnTo>
                  <a:lnTo>
                    <a:pt x="1346" y="686"/>
                  </a:lnTo>
                  <a:lnTo>
                    <a:pt x="1342" y="680"/>
                  </a:lnTo>
                  <a:lnTo>
                    <a:pt x="1336" y="678"/>
                  </a:lnTo>
                  <a:lnTo>
                    <a:pt x="1330" y="676"/>
                  </a:lnTo>
                  <a:lnTo>
                    <a:pt x="1326" y="672"/>
                  </a:lnTo>
                  <a:lnTo>
                    <a:pt x="1320" y="670"/>
                  </a:lnTo>
                  <a:lnTo>
                    <a:pt x="1326" y="664"/>
                  </a:lnTo>
                  <a:lnTo>
                    <a:pt x="1332" y="662"/>
                  </a:lnTo>
                  <a:lnTo>
                    <a:pt x="1338" y="660"/>
                  </a:lnTo>
                  <a:lnTo>
                    <a:pt x="1344" y="654"/>
                  </a:lnTo>
                  <a:lnTo>
                    <a:pt x="1350" y="650"/>
                  </a:lnTo>
                  <a:lnTo>
                    <a:pt x="1356" y="646"/>
                  </a:lnTo>
                  <a:lnTo>
                    <a:pt x="1362" y="646"/>
                  </a:lnTo>
                  <a:lnTo>
                    <a:pt x="1364" y="644"/>
                  </a:lnTo>
                  <a:lnTo>
                    <a:pt x="1358" y="646"/>
                  </a:lnTo>
                  <a:lnTo>
                    <a:pt x="1352" y="648"/>
                  </a:lnTo>
                  <a:lnTo>
                    <a:pt x="1346" y="650"/>
                  </a:lnTo>
                  <a:lnTo>
                    <a:pt x="1340" y="654"/>
                  </a:lnTo>
                  <a:lnTo>
                    <a:pt x="1334" y="654"/>
                  </a:lnTo>
                  <a:lnTo>
                    <a:pt x="1328" y="658"/>
                  </a:lnTo>
                  <a:lnTo>
                    <a:pt x="1322" y="660"/>
                  </a:lnTo>
                  <a:lnTo>
                    <a:pt x="1316" y="664"/>
                  </a:lnTo>
                  <a:lnTo>
                    <a:pt x="1310" y="666"/>
                  </a:lnTo>
                  <a:lnTo>
                    <a:pt x="1304" y="668"/>
                  </a:lnTo>
                  <a:lnTo>
                    <a:pt x="1298" y="664"/>
                  </a:lnTo>
                  <a:lnTo>
                    <a:pt x="1292" y="660"/>
                  </a:lnTo>
                  <a:lnTo>
                    <a:pt x="1286" y="660"/>
                  </a:lnTo>
                  <a:lnTo>
                    <a:pt x="1292" y="656"/>
                  </a:lnTo>
                  <a:lnTo>
                    <a:pt x="1298" y="654"/>
                  </a:lnTo>
                  <a:lnTo>
                    <a:pt x="1304" y="650"/>
                  </a:lnTo>
                  <a:lnTo>
                    <a:pt x="1310" y="648"/>
                  </a:lnTo>
                  <a:lnTo>
                    <a:pt x="1304" y="648"/>
                  </a:lnTo>
                  <a:lnTo>
                    <a:pt x="1298" y="650"/>
                  </a:lnTo>
                  <a:lnTo>
                    <a:pt x="1292" y="650"/>
                  </a:lnTo>
                  <a:lnTo>
                    <a:pt x="1298" y="646"/>
                  </a:lnTo>
                  <a:lnTo>
                    <a:pt x="1292" y="646"/>
                  </a:lnTo>
                  <a:lnTo>
                    <a:pt x="1286" y="648"/>
                  </a:lnTo>
                  <a:lnTo>
                    <a:pt x="1280" y="650"/>
                  </a:lnTo>
                  <a:lnTo>
                    <a:pt x="1286" y="646"/>
                  </a:lnTo>
                  <a:lnTo>
                    <a:pt x="1292" y="644"/>
                  </a:lnTo>
                  <a:lnTo>
                    <a:pt x="1298" y="642"/>
                  </a:lnTo>
                  <a:lnTo>
                    <a:pt x="1290" y="642"/>
                  </a:lnTo>
                  <a:lnTo>
                    <a:pt x="1286" y="644"/>
                  </a:lnTo>
                  <a:lnTo>
                    <a:pt x="1278" y="644"/>
                  </a:lnTo>
                  <a:lnTo>
                    <a:pt x="1274" y="646"/>
                  </a:lnTo>
                  <a:lnTo>
                    <a:pt x="1268" y="644"/>
                  </a:lnTo>
                  <a:lnTo>
                    <a:pt x="1274" y="642"/>
                  </a:lnTo>
                  <a:lnTo>
                    <a:pt x="1280" y="640"/>
                  </a:lnTo>
                  <a:lnTo>
                    <a:pt x="1286" y="640"/>
                  </a:lnTo>
                  <a:lnTo>
                    <a:pt x="1292" y="638"/>
                  </a:lnTo>
                  <a:lnTo>
                    <a:pt x="1298" y="636"/>
                  </a:lnTo>
                  <a:lnTo>
                    <a:pt x="1300" y="636"/>
                  </a:lnTo>
                  <a:lnTo>
                    <a:pt x="1294" y="634"/>
                  </a:lnTo>
                  <a:lnTo>
                    <a:pt x="1288" y="636"/>
                  </a:lnTo>
                  <a:lnTo>
                    <a:pt x="1282" y="638"/>
                  </a:lnTo>
                  <a:lnTo>
                    <a:pt x="1278" y="636"/>
                  </a:lnTo>
                  <a:lnTo>
                    <a:pt x="1276" y="630"/>
                  </a:lnTo>
                  <a:lnTo>
                    <a:pt x="1282" y="630"/>
                  </a:lnTo>
                  <a:lnTo>
                    <a:pt x="1286" y="624"/>
                  </a:lnTo>
                  <a:lnTo>
                    <a:pt x="1292" y="624"/>
                  </a:lnTo>
                  <a:lnTo>
                    <a:pt x="1298" y="620"/>
                  </a:lnTo>
                  <a:lnTo>
                    <a:pt x="1304" y="620"/>
                  </a:lnTo>
                  <a:lnTo>
                    <a:pt x="1310" y="620"/>
                  </a:lnTo>
                  <a:lnTo>
                    <a:pt x="1304" y="618"/>
                  </a:lnTo>
                  <a:lnTo>
                    <a:pt x="1298" y="618"/>
                  </a:lnTo>
                  <a:lnTo>
                    <a:pt x="1292" y="620"/>
                  </a:lnTo>
                  <a:lnTo>
                    <a:pt x="1286" y="622"/>
                  </a:lnTo>
                  <a:lnTo>
                    <a:pt x="1280" y="624"/>
                  </a:lnTo>
                  <a:lnTo>
                    <a:pt x="1274" y="628"/>
                  </a:lnTo>
                  <a:lnTo>
                    <a:pt x="1268" y="630"/>
                  </a:lnTo>
                  <a:lnTo>
                    <a:pt x="1262" y="626"/>
                  </a:lnTo>
                  <a:lnTo>
                    <a:pt x="1256" y="630"/>
                  </a:lnTo>
                  <a:lnTo>
                    <a:pt x="1250" y="630"/>
                  </a:lnTo>
                  <a:lnTo>
                    <a:pt x="1244" y="632"/>
                  </a:lnTo>
                  <a:lnTo>
                    <a:pt x="1250" y="626"/>
                  </a:lnTo>
                  <a:lnTo>
                    <a:pt x="1244" y="630"/>
                  </a:lnTo>
                  <a:lnTo>
                    <a:pt x="1238" y="632"/>
                  </a:lnTo>
                  <a:lnTo>
                    <a:pt x="1244" y="626"/>
                  </a:lnTo>
                  <a:lnTo>
                    <a:pt x="1248" y="622"/>
                  </a:lnTo>
                  <a:lnTo>
                    <a:pt x="1256" y="616"/>
                  </a:lnTo>
                  <a:lnTo>
                    <a:pt x="1248" y="620"/>
                  </a:lnTo>
                  <a:lnTo>
                    <a:pt x="1242" y="624"/>
                  </a:lnTo>
                  <a:lnTo>
                    <a:pt x="1236" y="628"/>
                  </a:lnTo>
                  <a:lnTo>
                    <a:pt x="1230" y="634"/>
                  </a:lnTo>
                  <a:lnTo>
                    <a:pt x="1226" y="636"/>
                  </a:lnTo>
                  <a:lnTo>
                    <a:pt x="1230" y="630"/>
                  </a:lnTo>
                  <a:lnTo>
                    <a:pt x="1224" y="632"/>
                  </a:lnTo>
                  <a:lnTo>
                    <a:pt x="1218" y="638"/>
                  </a:lnTo>
                  <a:lnTo>
                    <a:pt x="1216" y="632"/>
                  </a:lnTo>
                  <a:lnTo>
                    <a:pt x="1222" y="626"/>
                  </a:lnTo>
                  <a:lnTo>
                    <a:pt x="1228" y="622"/>
                  </a:lnTo>
                  <a:lnTo>
                    <a:pt x="1234" y="620"/>
                  </a:lnTo>
                  <a:lnTo>
                    <a:pt x="1240" y="616"/>
                  </a:lnTo>
                  <a:lnTo>
                    <a:pt x="1246" y="614"/>
                  </a:lnTo>
                  <a:lnTo>
                    <a:pt x="1252" y="610"/>
                  </a:lnTo>
                  <a:lnTo>
                    <a:pt x="1254" y="608"/>
                  </a:lnTo>
                  <a:lnTo>
                    <a:pt x="1248" y="612"/>
                  </a:lnTo>
                  <a:lnTo>
                    <a:pt x="1242" y="614"/>
                  </a:lnTo>
                  <a:lnTo>
                    <a:pt x="1236" y="616"/>
                  </a:lnTo>
                  <a:lnTo>
                    <a:pt x="1230" y="620"/>
                  </a:lnTo>
                  <a:lnTo>
                    <a:pt x="1224" y="622"/>
                  </a:lnTo>
                  <a:lnTo>
                    <a:pt x="1218" y="620"/>
                  </a:lnTo>
                  <a:lnTo>
                    <a:pt x="1212" y="622"/>
                  </a:lnTo>
                  <a:lnTo>
                    <a:pt x="1206" y="622"/>
                  </a:lnTo>
                  <a:lnTo>
                    <a:pt x="1200" y="626"/>
                  </a:lnTo>
                  <a:lnTo>
                    <a:pt x="1206" y="626"/>
                  </a:lnTo>
                  <a:lnTo>
                    <a:pt x="1212" y="622"/>
                  </a:lnTo>
                  <a:lnTo>
                    <a:pt x="1218" y="622"/>
                  </a:lnTo>
                  <a:lnTo>
                    <a:pt x="1212" y="626"/>
                  </a:lnTo>
                  <a:lnTo>
                    <a:pt x="1206" y="630"/>
                  </a:lnTo>
                  <a:lnTo>
                    <a:pt x="1200" y="632"/>
                  </a:lnTo>
                  <a:lnTo>
                    <a:pt x="1194" y="636"/>
                  </a:lnTo>
                  <a:lnTo>
                    <a:pt x="1188" y="638"/>
                  </a:lnTo>
                  <a:lnTo>
                    <a:pt x="1182" y="636"/>
                  </a:lnTo>
                  <a:lnTo>
                    <a:pt x="1176" y="638"/>
                  </a:lnTo>
                  <a:lnTo>
                    <a:pt x="1182" y="638"/>
                  </a:lnTo>
                  <a:lnTo>
                    <a:pt x="1176" y="640"/>
                  </a:lnTo>
                  <a:lnTo>
                    <a:pt x="1170" y="642"/>
                  </a:lnTo>
                  <a:lnTo>
                    <a:pt x="1164" y="646"/>
                  </a:lnTo>
                  <a:lnTo>
                    <a:pt x="1170" y="644"/>
                  </a:lnTo>
                  <a:lnTo>
                    <a:pt x="1176" y="642"/>
                  </a:lnTo>
                  <a:lnTo>
                    <a:pt x="1182" y="640"/>
                  </a:lnTo>
                  <a:lnTo>
                    <a:pt x="1176" y="646"/>
                  </a:lnTo>
                  <a:lnTo>
                    <a:pt x="1182" y="644"/>
                  </a:lnTo>
                  <a:lnTo>
                    <a:pt x="1188" y="642"/>
                  </a:lnTo>
                  <a:lnTo>
                    <a:pt x="1184" y="648"/>
                  </a:lnTo>
                  <a:lnTo>
                    <a:pt x="1178" y="652"/>
                  </a:lnTo>
                  <a:lnTo>
                    <a:pt x="1172" y="654"/>
                  </a:lnTo>
                  <a:lnTo>
                    <a:pt x="1166" y="652"/>
                  </a:lnTo>
                  <a:lnTo>
                    <a:pt x="1160" y="654"/>
                  </a:lnTo>
                  <a:lnTo>
                    <a:pt x="1154" y="656"/>
                  </a:lnTo>
                  <a:lnTo>
                    <a:pt x="1148" y="660"/>
                  </a:lnTo>
                  <a:lnTo>
                    <a:pt x="1154" y="658"/>
                  </a:lnTo>
                  <a:lnTo>
                    <a:pt x="1160" y="656"/>
                  </a:lnTo>
                  <a:lnTo>
                    <a:pt x="1166" y="656"/>
                  </a:lnTo>
                  <a:lnTo>
                    <a:pt x="1172" y="658"/>
                  </a:lnTo>
                  <a:lnTo>
                    <a:pt x="1178" y="654"/>
                  </a:lnTo>
                  <a:lnTo>
                    <a:pt x="1184" y="652"/>
                  </a:lnTo>
                  <a:lnTo>
                    <a:pt x="1184" y="658"/>
                  </a:lnTo>
                  <a:lnTo>
                    <a:pt x="1180" y="662"/>
                  </a:lnTo>
                  <a:lnTo>
                    <a:pt x="1172" y="664"/>
                  </a:lnTo>
                  <a:lnTo>
                    <a:pt x="1166" y="666"/>
                  </a:lnTo>
                  <a:lnTo>
                    <a:pt x="1160" y="666"/>
                  </a:lnTo>
                  <a:lnTo>
                    <a:pt x="1154" y="672"/>
                  </a:lnTo>
                  <a:lnTo>
                    <a:pt x="1148" y="672"/>
                  </a:lnTo>
                  <a:lnTo>
                    <a:pt x="1142" y="676"/>
                  </a:lnTo>
                  <a:lnTo>
                    <a:pt x="1148" y="676"/>
                  </a:lnTo>
                  <a:lnTo>
                    <a:pt x="1154" y="672"/>
                  </a:lnTo>
                  <a:lnTo>
                    <a:pt x="1148" y="680"/>
                  </a:lnTo>
                  <a:lnTo>
                    <a:pt x="1154" y="676"/>
                  </a:lnTo>
                  <a:lnTo>
                    <a:pt x="1148" y="680"/>
                  </a:lnTo>
                  <a:lnTo>
                    <a:pt x="1142" y="682"/>
                  </a:lnTo>
                  <a:lnTo>
                    <a:pt x="1136" y="684"/>
                  </a:lnTo>
                  <a:lnTo>
                    <a:pt x="1130" y="686"/>
                  </a:lnTo>
                  <a:lnTo>
                    <a:pt x="1128" y="688"/>
                  </a:lnTo>
                  <a:lnTo>
                    <a:pt x="1124" y="688"/>
                  </a:lnTo>
                  <a:lnTo>
                    <a:pt x="1120" y="688"/>
                  </a:lnTo>
                  <a:lnTo>
                    <a:pt x="1116" y="692"/>
                  </a:lnTo>
                  <a:lnTo>
                    <a:pt x="1110" y="694"/>
                  </a:lnTo>
                  <a:lnTo>
                    <a:pt x="1104" y="692"/>
                  </a:lnTo>
                  <a:lnTo>
                    <a:pt x="1096" y="692"/>
                  </a:lnTo>
                  <a:lnTo>
                    <a:pt x="1092" y="690"/>
                  </a:lnTo>
                  <a:lnTo>
                    <a:pt x="1094" y="688"/>
                  </a:lnTo>
                  <a:lnTo>
                    <a:pt x="1100" y="686"/>
                  </a:lnTo>
                  <a:lnTo>
                    <a:pt x="1094" y="688"/>
                  </a:lnTo>
                  <a:lnTo>
                    <a:pt x="1088" y="688"/>
                  </a:lnTo>
                  <a:lnTo>
                    <a:pt x="1082" y="692"/>
                  </a:lnTo>
                  <a:lnTo>
                    <a:pt x="1076" y="698"/>
                  </a:lnTo>
                  <a:lnTo>
                    <a:pt x="1082" y="692"/>
                  </a:lnTo>
                  <a:lnTo>
                    <a:pt x="1082" y="688"/>
                  </a:lnTo>
                  <a:lnTo>
                    <a:pt x="1088" y="684"/>
                  </a:lnTo>
                  <a:lnTo>
                    <a:pt x="1082" y="684"/>
                  </a:lnTo>
                  <a:lnTo>
                    <a:pt x="1078" y="688"/>
                  </a:lnTo>
                  <a:lnTo>
                    <a:pt x="1074" y="692"/>
                  </a:lnTo>
                  <a:lnTo>
                    <a:pt x="1066" y="694"/>
                  </a:lnTo>
                  <a:lnTo>
                    <a:pt x="1060" y="698"/>
                  </a:lnTo>
                  <a:lnTo>
                    <a:pt x="1054" y="700"/>
                  </a:lnTo>
                  <a:lnTo>
                    <a:pt x="1054" y="706"/>
                  </a:lnTo>
                  <a:lnTo>
                    <a:pt x="1054" y="700"/>
                  </a:lnTo>
                  <a:lnTo>
                    <a:pt x="1058" y="696"/>
                  </a:lnTo>
                  <a:lnTo>
                    <a:pt x="1054" y="698"/>
                  </a:lnTo>
                  <a:lnTo>
                    <a:pt x="1046" y="698"/>
                  </a:lnTo>
                  <a:lnTo>
                    <a:pt x="1044" y="704"/>
                  </a:lnTo>
                  <a:lnTo>
                    <a:pt x="1036" y="710"/>
                  </a:lnTo>
                  <a:lnTo>
                    <a:pt x="1036" y="704"/>
                  </a:lnTo>
                  <a:lnTo>
                    <a:pt x="1034" y="702"/>
                  </a:lnTo>
                  <a:lnTo>
                    <a:pt x="1032" y="704"/>
                  </a:lnTo>
                  <a:lnTo>
                    <a:pt x="1026" y="710"/>
                  </a:lnTo>
                  <a:lnTo>
                    <a:pt x="1022" y="712"/>
                  </a:lnTo>
                  <a:lnTo>
                    <a:pt x="1016" y="714"/>
                  </a:lnTo>
                  <a:lnTo>
                    <a:pt x="1010" y="716"/>
                  </a:lnTo>
                  <a:lnTo>
                    <a:pt x="1004" y="720"/>
                  </a:lnTo>
                  <a:lnTo>
                    <a:pt x="998" y="722"/>
                  </a:lnTo>
                  <a:lnTo>
                    <a:pt x="992" y="722"/>
                  </a:lnTo>
                  <a:lnTo>
                    <a:pt x="998" y="718"/>
                  </a:lnTo>
                  <a:lnTo>
                    <a:pt x="1004" y="716"/>
                  </a:lnTo>
                  <a:lnTo>
                    <a:pt x="1010" y="712"/>
                  </a:lnTo>
                  <a:lnTo>
                    <a:pt x="1016" y="708"/>
                  </a:lnTo>
                  <a:lnTo>
                    <a:pt x="1010" y="710"/>
                  </a:lnTo>
                  <a:lnTo>
                    <a:pt x="1004" y="714"/>
                  </a:lnTo>
                  <a:lnTo>
                    <a:pt x="998" y="716"/>
                  </a:lnTo>
                  <a:lnTo>
                    <a:pt x="992" y="720"/>
                  </a:lnTo>
                  <a:lnTo>
                    <a:pt x="986" y="724"/>
                  </a:lnTo>
                  <a:lnTo>
                    <a:pt x="990" y="718"/>
                  </a:lnTo>
                  <a:lnTo>
                    <a:pt x="984" y="718"/>
                  </a:lnTo>
                  <a:lnTo>
                    <a:pt x="978" y="724"/>
                  </a:lnTo>
                  <a:lnTo>
                    <a:pt x="972" y="726"/>
                  </a:lnTo>
                  <a:lnTo>
                    <a:pt x="966" y="728"/>
                  </a:lnTo>
                  <a:lnTo>
                    <a:pt x="960" y="730"/>
                  </a:lnTo>
                  <a:lnTo>
                    <a:pt x="954" y="732"/>
                  </a:lnTo>
                  <a:lnTo>
                    <a:pt x="948" y="738"/>
                  </a:lnTo>
                  <a:lnTo>
                    <a:pt x="942" y="734"/>
                  </a:lnTo>
                  <a:lnTo>
                    <a:pt x="936" y="732"/>
                  </a:lnTo>
                  <a:lnTo>
                    <a:pt x="938" y="738"/>
                  </a:lnTo>
                  <a:lnTo>
                    <a:pt x="932" y="738"/>
                  </a:lnTo>
                  <a:lnTo>
                    <a:pt x="926" y="736"/>
                  </a:lnTo>
                  <a:lnTo>
                    <a:pt x="920" y="738"/>
                  </a:lnTo>
                  <a:lnTo>
                    <a:pt x="914" y="740"/>
                  </a:lnTo>
                  <a:lnTo>
                    <a:pt x="906" y="742"/>
                  </a:lnTo>
                  <a:lnTo>
                    <a:pt x="900" y="740"/>
                  </a:lnTo>
                  <a:lnTo>
                    <a:pt x="900" y="734"/>
                  </a:lnTo>
                  <a:lnTo>
                    <a:pt x="906" y="730"/>
                  </a:lnTo>
                  <a:lnTo>
                    <a:pt x="912" y="730"/>
                  </a:lnTo>
                  <a:lnTo>
                    <a:pt x="918" y="724"/>
                  </a:lnTo>
                  <a:lnTo>
                    <a:pt x="926" y="724"/>
                  </a:lnTo>
                  <a:lnTo>
                    <a:pt x="932" y="722"/>
                  </a:lnTo>
                  <a:lnTo>
                    <a:pt x="938" y="722"/>
                  </a:lnTo>
                  <a:lnTo>
                    <a:pt x="942" y="720"/>
                  </a:lnTo>
                  <a:lnTo>
                    <a:pt x="950" y="718"/>
                  </a:lnTo>
                  <a:lnTo>
                    <a:pt x="956" y="716"/>
                  </a:lnTo>
                  <a:lnTo>
                    <a:pt x="962" y="714"/>
                  </a:lnTo>
                  <a:lnTo>
                    <a:pt x="968" y="710"/>
                  </a:lnTo>
                  <a:lnTo>
                    <a:pt x="974" y="708"/>
                  </a:lnTo>
                  <a:lnTo>
                    <a:pt x="980" y="706"/>
                  </a:lnTo>
                  <a:lnTo>
                    <a:pt x="974" y="704"/>
                  </a:lnTo>
                  <a:lnTo>
                    <a:pt x="968" y="706"/>
                  </a:lnTo>
                  <a:lnTo>
                    <a:pt x="962" y="708"/>
                  </a:lnTo>
                  <a:lnTo>
                    <a:pt x="956" y="710"/>
                  </a:lnTo>
                  <a:lnTo>
                    <a:pt x="950" y="712"/>
                  </a:lnTo>
                  <a:lnTo>
                    <a:pt x="944" y="712"/>
                  </a:lnTo>
                  <a:lnTo>
                    <a:pt x="938" y="706"/>
                  </a:lnTo>
                  <a:lnTo>
                    <a:pt x="944" y="702"/>
                  </a:lnTo>
                  <a:lnTo>
                    <a:pt x="950" y="698"/>
                  </a:lnTo>
                  <a:lnTo>
                    <a:pt x="956" y="694"/>
                  </a:lnTo>
                  <a:lnTo>
                    <a:pt x="962" y="690"/>
                  </a:lnTo>
                  <a:lnTo>
                    <a:pt x="964" y="688"/>
                  </a:lnTo>
                  <a:lnTo>
                    <a:pt x="970" y="686"/>
                  </a:lnTo>
                  <a:lnTo>
                    <a:pt x="976" y="684"/>
                  </a:lnTo>
                  <a:lnTo>
                    <a:pt x="982" y="682"/>
                  </a:lnTo>
                  <a:lnTo>
                    <a:pt x="988" y="680"/>
                  </a:lnTo>
                  <a:lnTo>
                    <a:pt x="994" y="676"/>
                  </a:lnTo>
                  <a:lnTo>
                    <a:pt x="1000" y="674"/>
                  </a:lnTo>
                  <a:lnTo>
                    <a:pt x="1006" y="668"/>
                  </a:lnTo>
                  <a:lnTo>
                    <a:pt x="1012" y="666"/>
                  </a:lnTo>
                  <a:lnTo>
                    <a:pt x="1014" y="666"/>
                  </a:lnTo>
                  <a:lnTo>
                    <a:pt x="1020" y="660"/>
                  </a:lnTo>
                  <a:lnTo>
                    <a:pt x="1026" y="656"/>
                  </a:lnTo>
                  <a:lnTo>
                    <a:pt x="1030" y="650"/>
                  </a:lnTo>
                  <a:lnTo>
                    <a:pt x="1034" y="644"/>
                  </a:lnTo>
                  <a:lnTo>
                    <a:pt x="1040" y="642"/>
                  </a:lnTo>
                  <a:lnTo>
                    <a:pt x="1046" y="640"/>
                  </a:lnTo>
                  <a:lnTo>
                    <a:pt x="1052" y="640"/>
                  </a:lnTo>
                  <a:lnTo>
                    <a:pt x="1058" y="640"/>
                  </a:lnTo>
                  <a:lnTo>
                    <a:pt x="1064" y="638"/>
                  </a:lnTo>
                  <a:lnTo>
                    <a:pt x="1070" y="636"/>
                  </a:lnTo>
                  <a:lnTo>
                    <a:pt x="1076" y="634"/>
                  </a:lnTo>
                  <a:lnTo>
                    <a:pt x="1082" y="630"/>
                  </a:lnTo>
                  <a:lnTo>
                    <a:pt x="1086" y="630"/>
                  </a:lnTo>
                  <a:lnTo>
                    <a:pt x="1094" y="628"/>
                  </a:lnTo>
                  <a:lnTo>
                    <a:pt x="1100" y="626"/>
                  </a:lnTo>
                  <a:lnTo>
                    <a:pt x="1106" y="624"/>
                  </a:lnTo>
                  <a:lnTo>
                    <a:pt x="1108" y="630"/>
                  </a:lnTo>
                  <a:lnTo>
                    <a:pt x="1112" y="632"/>
                  </a:lnTo>
                  <a:lnTo>
                    <a:pt x="1118" y="630"/>
                  </a:lnTo>
                  <a:lnTo>
                    <a:pt x="1124" y="630"/>
                  </a:lnTo>
                  <a:lnTo>
                    <a:pt x="1130" y="628"/>
                  </a:lnTo>
                  <a:lnTo>
                    <a:pt x="1136" y="630"/>
                  </a:lnTo>
                  <a:lnTo>
                    <a:pt x="1142" y="630"/>
                  </a:lnTo>
                  <a:lnTo>
                    <a:pt x="1148" y="632"/>
                  </a:lnTo>
                  <a:lnTo>
                    <a:pt x="1154" y="634"/>
                  </a:lnTo>
                  <a:lnTo>
                    <a:pt x="1160" y="634"/>
                  </a:lnTo>
                  <a:lnTo>
                    <a:pt x="1154" y="630"/>
                  </a:lnTo>
                  <a:lnTo>
                    <a:pt x="1148" y="628"/>
                  </a:lnTo>
                  <a:lnTo>
                    <a:pt x="1142" y="626"/>
                  </a:lnTo>
                  <a:lnTo>
                    <a:pt x="1138" y="620"/>
                  </a:lnTo>
                  <a:lnTo>
                    <a:pt x="1134" y="618"/>
                  </a:lnTo>
                  <a:lnTo>
                    <a:pt x="1138" y="614"/>
                  </a:lnTo>
                  <a:lnTo>
                    <a:pt x="1144" y="612"/>
                  </a:lnTo>
                  <a:lnTo>
                    <a:pt x="1150" y="608"/>
                  </a:lnTo>
                  <a:lnTo>
                    <a:pt x="1156" y="606"/>
                  </a:lnTo>
                  <a:lnTo>
                    <a:pt x="1162" y="604"/>
                  </a:lnTo>
                  <a:lnTo>
                    <a:pt x="1168" y="602"/>
                  </a:lnTo>
                  <a:lnTo>
                    <a:pt x="1174" y="600"/>
                  </a:lnTo>
                  <a:lnTo>
                    <a:pt x="1180" y="600"/>
                  </a:lnTo>
                  <a:lnTo>
                    <a:pt x="1186" y="598"/>
                  </a:lnTo>
                  <a:lnTo>
                    <a:pt x="1192" y="596"/>
                  </a:lnTo>
                  <a:lnTo>
                    <a:pt x="1188" y="594"/>
                  </a:lnTo>
                  <a:lnTo>
                    <a:pt x="1182" y="596"/>
                  </a:lnTo>
                  <a:lnTo>
                    <a:pt x="1176" y="596"/>
                  </a:lnTo>
                  <a:lnTo>
                    <a:pt x="1170" y="598"/>
                  </a:lnTo>
                  <a:lnTo>
                    <a:pt x="1164" y="600"/>
                  </a:lnTo>
                  <a:lnTo>
                    <a:pt x="1158" y="602"/>
                  </a:lnTo>
                  <a:lnTo>
                    <a:pt x="1152" y="606"/>
                  </a:lnTo>
                  <a:lnTo>
                    <a:pt x="1146" y="610"/>
                  </a:lnTo>
                  <a:lnTo>
                    <a:pt x="1142" y="612"/>
                  </a:lnTo>
                  <a:lnTo>
                    <a:pt x="1136" y="610"/>
                  </a:lnTo>
                  <a:lnTo>
                    <a:pt x="1130" y="610"/>
                  </a:lnTo>
                  <a:lnTo>
                    <a:pt x="1124" y="610"/>
                  </a:lnTo>
                  <a:lnTo>
                    <a:pt x="1122" y="604"/>
                  </a:lnTo>
                  <a:lnTo>
                    <a:pt x="1124" y="604"/>
                  </a:lnTo>
                  <a:lnTo>
                    <a:pt x="1116" y="608"/>
                  </a:lnTo>
                  <a:lnTo>
                    <a:pt x="1112" y="608"/>
                  </a:lnTo>
                  <a:lnTo>
                    <a:pt x="1106" y="612"/>
                  </a:lnTo>
                  <a:lnTo>
                    <a:pt x="1100" y="612"/>
                  </a:lnTo>
                  <a:lnTo>
                    <a:pt x="1094" y="612"/>
                  </a:lnTo>
                  <a:lnTo>
                    <a:pt x="1086" y="616"/>
                  </a:lnTo>
                  <a:lnTo>
                    <a:pt x="1082" y="618"/>
                  </a:lnTo>
                  <a:lnTo>
                    <a:pt x="1074" y="620"/>
                  </a:lnTo>
                  <a:lnTo>
                    <a:pt x="1070" y="624"/>
                  </a:lnTo>
                  <a:lnTo>
                    <a:pt x="1062" y="624"/>
                  </a:lnTo>
                  <a:lnTo>
                    <a:pt x="1056" y="626"/>
                  </a:lnTo>
                  <a:lnTo>
                    <a:pt x="1050" y="626"/>
                  </a:lnTo>
                  <a:lnTo>
                    <a:pt x="1044" y="628"/>
                  </a:lnTo>
                  <a:lnTo>
                    <a:pt x="1038" y="630"/>
                  </a:lnTo>
                  <a:lnTo>
                    <a:pt x="1032" y="632"/>
                  </a:lnTo>
                  <a:lnTo>
                    <a:pt x="1026" y="634"/>
                  </a:lnTo>
                  <a:lnTo>
                    <a:pt x="1022" y="640"/>
                  </a:lnTo>
                  <a:lnTo>
                    <a:pt x="1016" y="642"/>
                  </a:lnTo>
                  <a:lnTo>
                    <a:pt x="1010" y="644"/>
                  </a:lnTo>
                  <a:lnTo>
                    <a:pt x="1004" y="646"/>
                  </a:lnTo>
                  <a:lnTo>
                    <a:pt x="998" y="648"/>
                  </a:lnTo>
                  <a:lnTo>
                    <a:pt x="992" y="652"/>
                  </a:lnTo>
                  <a:lnTo>
                    <a:pt x="986" y="654"/>
                  </a:lnTo>
                  <a:lnTo>
                    <a:pt x="978" y="656"/>
                  </a:lnTo>
                  <a:lnTo>
                    <a:pt x="972" y="658"/>
                  </a:lnTo>
                  <a:lnTo>
                    <a:pt x="970" y="664"/>
                  </a:lnTo>
                  <a:lnTo>
                    <a:pt x="964" y="666"/>
                  </a:lnTo>
                  <a:lnTo>
                    <a:pt x="958" y="668"/>
                  </a:lnTo>
                  <a:lnTo>
                    <a:pt x="952" y="672"/>
                  </a:lnTo>
                  <a:lnTo>
                    <a:pt x="944" y="672"/>
                  </a:lnTo>
                  <a:lnTo>
                    <a:pt x="938" y="676"/>
                  </a:lnTo>
                  <a:lnTo>
                    <a:pt x="932" y="674"/>
                  </a:lnTo>
                  <a:lnTo>
                    <a:pt x="926" y="670"/>
                  </a:lnTo>
                  <a:lnTo>
                    <a:pt x="920" y="670"/>
                  </a:lnTo>
                  <a:lnTo>
                    <a:pt x="926" y="672"/>
                  </a:lnTo>
                  <a:lnTo>
                    <a:pt x="928" y="676"/>
                  </a:lnTo>
                  <a:lnTo>
                    <a:pt x="930" y="682"/>
                  </a:lnTo>
                  <a:lnTo>
                    <a:pt x="924" y="688"/>
                  </a:lnTo>
                  <a:lnTo>
                    <a:pt x="920" y="688"/>
                  </a:lnTo>
                  <a:lnTo>
                    <a:pt x="914" y="692"/>
                  </a:lnTo>
                  <a:lnTo>
                    <a:pt x="908" y="696"/>
                  </a:lnTo>
                  <a:lnTo>
                    <a:pt x="902" y="698"/>
                  </a:lnTo>
                  <a:lnTo>
                    <a:pt x="896" y="698"/>
                  </a:lnTo>
                  <a:lnTo>
                    <a:pt x="890" y="698"/>
                  </a:lnTo>
                  <a:lnTo>
                    <a:pt x="884" y="698"/>
                  </a:lnTo>
                  <a:lnTo>
                    <a:pt x="878" y="700"/>
                  </a:lnTo>
                  <a:lnTo>
                    <a:pt x="884" y="700"/>
                  </a:lnTo>
                  <a:lnTo>
                    <a:pt x="882" y="706"/>
                  </a:lnTo>
                  <a:lnTo>
                    <a:pt x="876" y="708"/>
                  </a:lnTo>
                  <a:lnTo>
                    <a:pt x="870" y="710"/>
                  </a:lnTo>
                  <a:lnTo>
                    <a:pt x="862" y="710"/>
                  </a:lnTo>
                  <a:lnTo>
                    <a:pt x="856" y="712"/>
                  </a:lnTo>
                  <a:lnTo>
                    <a:pt x="862" y="708"/>
                  </a:lnTo>
                  <a:lnTo>
                    <a:pt x="856" y="710"/>
                  </a:lnTo>
                  <a:lnTo>
                    <a:pt x="850" y="712"/>
                  </a:lnTo>
                  <a:lnTo>
                    <a:pt x="844" y="712"/>
                  </a:lnTo>
                  <a:lnTo>
                    <a:pt x="840" y="718"/>
                  </a:lnTo>
                  <a:lnTo>
                    <a:pt x="834" y="718"/>
                  </a:lnTo>
                  <a:lnTo>
                    <a:pt x="828" y="718"/>
                  </a:lnTo>
                  <a:lnTo>
                    <a:pt x="826" y="724"/>
                  </a:lnTo>
                  <a:lnTo>
                    <a:pt x="820" y="726"/>
                  </a:lnTo>
                  <a:lnTo>
                    <a:pt x="814" y="726"/>
                  </a:lnTo>
                  <a:lnTo>
                    <a:pt x="808" y="728"/>
                  </a:lnTo>
                  <a:lnTo>
                    <a:pt x="802" y="730"/>
                  </a:lnTo>
                  <a:lnTo>
                    <a:pt x="808" y="730"/>
                  </a:lnTo>
                  <a:lnTo>
                    <a:pt x="802" y="732"/>
                  </a:lnTo>
                  <a:lnTo>
                    <a:pt x="796" y="734"/>
                  </a:lnTo>
                  <a:lnTo>
                    <a:pt x="790" y="736"/>
                  </a:lnTo>
                  <a:lnTo>
                    <a:pt x="784" y="740"/>
                  </a:lnTo>
                  <a:lnTo>
                    <a:pt x="778" y="744"/>
                  </a:lnTo>
                  <a:lnTo>
                    <a:pt x="772" y="750"/>
                  </a:lnTo>
                  <a:lnTo>
                    <a:pt x="778" y="748"/>
                  </a:lnTo>
                  <a:lnTo>
                    <a:pt x="784" y="748"/>
                  </a:lnTo>
                  <a:lnTo>
                    <a:pt x="790" y="748"/>
                  </a:lnTo>
                  <a:lnTo>
                    <a:pt x="796" y="748"/>
                  </a:lnTo>
                  <a:lnTo>
                    <a:pt x="802" y="752"/>
                  </a:lnTo>
                  <a:lnTo>
                    <a:pt x="804" y="760"/>
                  </a:lnTo>
                  <a:lnTo>
                    <a:pt x="798" y="762"/>
                  </a:lnTo>
                  <a:lnTo>
                    <a:pt x="792" y="766"/>
                  </a:lnTo>
                  <a:lnTo>
                    <a:pt x="786" y="770"/>
                  </a:lnTo>
                  <a:lnTo>
                    <a:pt x="780" y="772"/>
                  </a:lnTo>
                  <a:lnTo>
                    <a:pt x="774" y="774"/>
                  </a:lnTo>
                  <a:lnTo>
                    <a:pt x="768" y="776"/>
                  </a:lnTo>
                  <a:lnTo>
                    <a:pt x="762" y="778"/>
                  </a:lnTo>
                  <a:lnTo>
                    <a:pt x="756" y="778"/>
                  </a:lnTo>
                  <a:lnTo>
                    <a:pt x="750" y="782"/>
                  </a:lnTo>
                  <a:lnTo>
                    <a:pt x="744" y="786"/>
                  </a:lnTo>
                  <a:lnTo>
                    <a:pt x="736" y="786"/>
                  </a:lnTo>
                  <a:lnTo>
                    <a:pt x="730" y="790"/>
                  </a:lnTo>
                  <a:lnTo>
                    <a:pt x="724" y="794"/>
                  </a:lnTo>
                  <a:lnTo>
                    <a:pt x="718" y="796"/>
                  </a:lnTo>
                  <a:lnTo>
                    <a:pt x="712" y="796"/>
                  </a:lnTo>
                  <a:lnTo>
                    <a:pt x="706" y="800"/>
                  </a:lnTo>
                  <a:lnTo>
                    <a:pt x="712" y="798"/>
                  </a:lnTo>
                  <a:lnTo>
                    <a:pt x="718" y="796"/>
                  </a:lnTo>
                  <a:lnTo>
                    <a:pt x="712" y="800"/>
                  </a:lnTo>
                  <a:lnTo>
                    <a:pt x="706" y="804"/>
                  </a:lnTo>
                  <a:lnTo>
                    <a:pt x="700" y="808"/>
                  </a:lnTo>
                  <a:lnTo>
                    <a:pt x="694" y="812"/>
                  </a:lnTo>
                  <a:lnTo>
                    <a:pt x="694" y="806"/>
                  </a:lnTo>
                  <a:lnTo>
                    <a:pt x="688" y="810"/>
                  </a:lnTo>
                  <a:lnTo>
                    <a:pt x="682" y="810"/>
                  </a:lnTo>
                  <a:lnTo>
                    <a:pt x="678" y="816"/>
                  </a:lnTo>
                  <a:lnTo>
                    <a:pt x="672" y="814"/>
                  </a:lnTo>
                  <a:lnTo>
                    <a:pt x="666" y="816"/>
                  </a:lnTo>
                  <a:lnTo>
                    <a:pt x="660" y="816"/>
                  </a:lnTo>
                  <a:lnTo>
                    <a:pt x="654" y="816"/>
                  </a:lnTo>
                  <a:lnTo>
                    <a:pt x="648" y="820"/>
                  </a:lnTo>
                  <a:lnTo>
                    <a:pt x="642" y="824"/>
                  </a:lnTo>
                  <a:lnTo>
                    <a:pt x="636" y="826"/>
                  </a:lnTo>
                  <a:lnTo>
                    <a:pt x="630" y="828"/>
                  </a:lnTo>
                  <a:lnTo>
                    <a:pt x="624" y="830"/>
                  </a:lnTo>
                  <a:lnTo>
                    <a:pt x="616" y="834"/>
                  </a:lnTo>
                  <a:lnTo>
                    <a:pt x="612" y="832"/>
                  </a:lnTo>
                  <a:lnTo>
                    <a:pt x="606" y="832"/>
                  </a:lnTo>
                  <a:lnTo>
                    <a:pt x="600" y="838"/>
                  </a:lnTo>
                  <a:lnTo>
                    <a:pt x="594" y="840"/>
                  </a:lnTo>
                  <a:lnTo>
                    <a:pt x="588" y="840"/>
                  </a:lnTo>
                  <a:lnTo>
                    <a:pt x="584" y="846"/>
                  </a:lnTo>
                  <a:lnTo>
                    <a:pt x="578" y="846"/>
                  </a:lnTo>
                  <a:lnTo>
                    <a:pt x="572" y="848"/>
                  </a:lnTo>
                  <a:lnTo>
                    <a:pt x="566" y="846"/>
                  </a:lnTo>
                  <a:lnTo>
                    <a:pt x="562" y="854"/>
                  </a:lnTo>
                  <a:lnTo>
                    <a:pt x="556" y="850"/>
                  </a:lnTo>
                  <a:lnTo>
                    <a:pt x="550" y="854"/>
                  </a:lnTo>
                  <a:lnTo>
                    <a:pt x="544" y="854"/>
                  </a:lnTo>
                  <a:lnTo>
                    <a:pt x="536" y="858"/>
                  </a:lnTo>
                  <a:lnTo>
                    <a:pt x="530" y="860"/>
                  </a:lnTo>
                  <a:lnTo>
                    <a:pt x="524" y="862"/>
                  </a:lnTo>
                  <a:lnTo>
                    <a:pt x="532" y="862"/>
                  </a:lnTo>
                  <a:lnTo>
                    <a:pt x="526" y="866"/>
                  </a:lnTo>
                  <a:lnTo>
                    <a:pt x="522" y="872"/>
                  </a:lnTo>
                  <a:lnTo>
                    <a:pt x="516" y="874"/>
                  </a:lnTo>
                  <a:lnTo>
                    <a:pt x="510" y="878"/>
                  </a:lnTo>
                  <a:lnTo>
                    <a:pt x="502" y="878"/>
                  </a:lnTo>
                  <a:lnTo>
                    <a:pt x="498" y="882"/>
                  </a:lnTo>
                  <a:lnTo>
                    <a:pt x="492" y="882"/>
                  </a:lnTo>
                  <a:lnTo>
                    <a:pt x="486" y="886"/>
                  </a:lnTo>
                  <a:lnTo>
                    <a:pt x="478" y="884"/>
                  </a:lnTo>
                  <a:lnTo>
                    <a:pt x="472" y="888"/>
                  </a:lnTo>
                  <a:lnTo>
                    <a:pt x="468" y="890"/>
                  </a:lnTo>
                  <a:lnTo>
                    <a:pt x="460" y="892"/>
                  </a:lnTo>
                  <a:lnTo>
                    <a:pt x="454" y="896"/>
                  </a:lnTo>
                  <a:lnTo>
                    <a:pt x="450" y="890"/>
                  </a:lnTo>
                  <a:lnTo>
                    <a:pt x="444" y="892"/>
                  </a:lnTo>
                  <a:lnTo>
                    <a:pt x="438" y="896"/>
                  </a:lnTo>
                  <a:lnTo>
                    <a:pt x="432" y="900"/>
                  </a:lnTo>
                  <a:lnTo>
                    <a:pt x="430" y="906"/>
                  </a:lnTo>
                  <a:lnTo>
                    <a:pt x="424" y="906"/>
                  </a:lnTo>
                  <a:lnTo>
                    <a:pt x="418" y="906"/>
                  </a:lnTo>
                  <a:lnTo>
                    <a:pt x="412" y="904"/>
                  </a:lnTo>
                  <a:lnTo>
                    <a:pt x="406" y="906"/>
                  </a:lnTo>
                  <a:lnTo>
                    <a:pt x="400" y="908"/>
                  </a:lnTo>
                  <a:lnTo>
                    <a:pt x="394" y="908"/>
                  </a:lnTo>
                  <a:lnTo>
                    <a:pt x="400" y="910"/>
                  </a:lnTo>
                  <a:lnTo>
                    <a:pt x="398" y="916"/>
                  </a:lnTo>
                  <a:lnTo>
                    <a:pt x="392" y="914"/>
                  </a:lnTo>
                  <a:lnTo>
                    <a:pt x="386" y="914"/>
                  </a:lnTo>
                  <a:lnTo>
                    <a:pt x="380" y="918"/>
                  </a:lnTo>
                  <a:lnTo>
                    <a:pt x="374" y="916"/>
                  </a:lnTo>
                  <a:lnTo>
                    <a:pt x="366" y="918"/>
                  </a:lnTo>
                  <a:lnTo>
                    <a:pt x="362" y="922"/>
                  </a:lnTo>
                  <a:lnTo>
                    <a:pt x="356" y="924"/>
                  </a:lnTo>
                  <a:lnTo>
                    <a:pt x="350" y="926"/>
                  </a:lnTo>
                  <a:lnTo>
                    <a:pt x="344" y="928"/>
                  </a:lnTo>
                  <a:lnTo>
                    <a:pt x="350" y="928"/>
                  </a:lnTo>
                  <a:lnTo>
                    <a:pt x="356" y="924"/>
                  </a:lnTo>
                  <a:lnTo>
                    <a:pt x="362" y="926"/>
                  </a:lnTo>
                  <a:lnTo>
                    <a:pt x="356" y="932"/>
                  </a:lnTo>
                  <a:lnTo>
                    <a:pt x="362" y="932"/>
                  </a:lnTo>
                  <a:lnTo>
                    <a:pt x="356" y="934"/>
                  </a:lnTo>
                  <a:lnTo>
                    <a:pt x="350" y="936"/>
                  </a:lnTo>
                  <a:lnTo>
                    <a:pt x="344" y="938"/>
                  </a:lnTo>
                  <a:lnTo>
                    <a:pt x="338" y="940"/>
                  </a:lnTo>
                  <a:lnTo>
                    <a:pt x="334" y="946"/>
                  </a:lnTo>
                  <a:lnTo>
                    <a:pt x="330" y="948"/>
                  </a:lnTo>
                  <a:lnTo>
                    <a:pt x="334" y="942"/>
                  </a:lnTo>
                  <a:lnTo>
                    <a:pt x="338" y="938"/>
                  </a:lnTo>
                  <a:lnTo>
                    <a:pt x="344" y="934"/>
                  </a:lnTo>
                  <a:lnTo>
                    <a:pt x="338" y="934"/>
                  </a:lnTo>
                  <a:lnTo>
                    <a:pt x="332" y="938"/>
                  </a:lnTo>
                  <a:lnTo>
                    <a:pt x="326" y="942"/>
                  </a:lnTo>
                  <a:lnTo>
                    <a:pt x="320" y="948"/>
                  </a:lnTo>
                  <a:lnTo>
                    <a:pt x="316" y="950"/>
                  </a:lnTo>
                  <a:lnTo>
                    <a:pt x="308" y="948"/>
                  </a:lnTo>
                  <a:lnTo>
                    <a:pt x="304" y="950"/>
                  </a:lnTo>
                  <a:lnTo>
                    <a:pt x="296" y="954"/>
                  </a:lnTo>
                  <a:lnTo>
                    <a:pt x="290" y="952"/>
                  </a:lnTo>
                  <a:lnTo>
                    <a:pt x="286" y="954"/>
                  </a:lnTo>
                  <a:lnTo>
                    <a:pt x="280" y="954"/>
                  </a:lnTo>
                  <a:lnTo>
                    <a:pt x="272" y="958"/>
                  </a:lnTo>
                  <a:lnTo>
                    <a:pt x="266" y="958"/>
                  </a:lnTo>
                  <a:lnTo>
                    <a:pt x="262" y="962"/>
                  </a:lnTo>
                  <a:lnTo>
                    <a:pt x="254" y="968"/>
                  </a:lnTo>
                  <a:lnTo>
                    <a:pt x="248" y="970"/>
                  </a:lnTo>
                  <a:lnTo>
                    <a:pt x="242" y="974"/>
                  </a:lnTo>
                  <a:lnTo>
                    <a:pt x="236" y="974"/>
                  </a:lnTo>
                  <a:lnTo>
                    <a:pt x="244" y="972"/>
                  </a:lnTo>
                  <a:lnTo>
                    <a:pt x="250" y="966"/>
                  </a:lnTo>
                  <a:lnTo>
                    <a:pt x="256" y="962"/>
                  </a:lnTo>
                  <a:lnTo>
                    <a:pt x="250" y="958"/>
                  </a:lnTo>
                  <a:lnTo>
                    <a:pt x="244" y="960"/>
                  </a:lnTo>
                  <a:lnTo>
                    <a:pt x="240" y="960"/>
                  </a:lnTo>
                  <a:lnTo>
                    <a:pt x="234" y="964"/>
                  </a:lnTo>
                  <a:lnTo>
                    <a:pt x="228" y="964"/>
                  </a:lnTo>
                  <a:lnTo>
                    <a:pt x="222" y="968"/>
                  </a:lnTo>
                  <a:lnTo>
                    <a:pt x="214" y="970"/>
                  </a:lnTo>
                  <a:lnTo>
                    <a:pt x="210" y="968"/>
                  </a:lnTo>
                  <a:lnTo>
                    <a:pt x="204" y="974"/>
                  </a:lnTo>
                  <a:lnTo>
                    <a:pt x="198" y="976"/>
                  </a:lnTo>
                  <a:lnTo>
                    <a:pt x="192" y="980"/>
                  </a:lnTo>
                  <a:lnTo>
                    <a:pt x="194" y="974"/>
                  </a:lnTo>
                  <a:lnTo>
                    <a:pt x="188" y="976"/>
                  </a:lnTo>
                  <a:lnTo>
                    <a:pt x="182" y="980"/>
                  </a:lnTo>
                  <a:lnTo>
                    <a:pt x="176" y="982"/>
                  </a:lnTo>
                  <a:lnTo>
                    <a:pt x="170" y="980"/>
                  </a:lnTo>
                  <a:lnTo>
                    <a:pt x="164" y="982"/>
                  </a:lnTo>
                  <a:lnTo>
                    <a:pt x="158" y="984"/>
                  </a:lnTo>
                  <a:lnTo>
                    <a:pt x="150" y="986"/>
                  </a:lnTo>
                  <a:lnTo>
                    <a:pt x="146" y="988"/>
                  </a:lnTo>
                  <a:lnTo>
                    <a:pt x="140" y="986"/>
                  </a:lnTo>
                  <a:lnTo>
                    <a:pt x="134" y="988"/>
                  </a:lnTo>
                  <a:lnTo>
                    <a:pt x="138" y="982"/>
                  </a:lnTo>
                  <a:lnTo>
                    <a:pt x="146" y="978"/>
                  </a:lnTo>
                  <a:lnTo>
                    <a:pt x="150" y="976"/>
                  </a:lnTo>
                  <a:lnTo>
                    <a:pt x="156" y="976"/>
                  </a:lnTo>
                  <a:lnTo>
                    <a:pt x="164" y="976"/>
                  </a:lnTo>
                  <a:lnTo>
                    <a:pt x="158" y="972"/>
                  </a:lnTo>
                  <a:lnTo>
                    <a:pt x="150" y="970"/>
                  </a:lnTo>
                  <a:lnTo>
                    <a:pt x="146" y="972"/>
                  </a:lnTo>
                  <a:lnTo>
                    <a:pt x="140" y="974"/>
                  </a:lnTo>
                  <a:lnTo>
                    <a:pt x="134" y="978"/>
                  </a:lnTo>
                  <a:lnTo>
                    <a:pt x="128" y="982"/>
                  </a:lnTo>
                  <a:lnTo>
                    <a:pt x="122" y="986"/>
                  </a:lnTo>
                  <a:lnTo>
                    <a:pt x="116" y="990"/>
                  </a:lnTo>
                  <a:lnTo>
                    <a:pt x="110" y="992"/>
                  </a:lnTo>
                  <a:lnTo>
                    <a:pt x="104" y="996"/>
                  </a:lnTo>
                  <a:lnTo>
                    <a:pt x="98" y="996"/>
                  </a:lnTo>
                  <a:lnTo>
                    <a:pt x="92" y="1000"/>
                  </a:lnTo>
                  <a:lnTo>
                    <a:pt x="86" y="1006"/>
                  </a:lnTo>
                  <a:lnTo>
                    <a:pt x="80" y="1002"/>
                  </a:lnTo>
                  <a:lnTo>
                    <a:pt x="74" y="1008"/>
                  </a:lnTo>
                  <a:lnTo>
                    <a:pt x="68" y="1010"/>
                  </a:lnTo>
                  <a:lnTo>
                    <a:pt x="62" y="1010"/>
                  </a:lnTo>
                  <a:lnTo>
                    <a:pt x="68" y="1006"/>
                  </a:lnTo>
                  <a:lnTo>
                    <a:pt x="68" y="1000"/>
                  </a:lnTo>
                  <a:lnTo>
                    <a:pt x="70" y="994"/>
                  </a:lnTo>
                  <a:lnTo>
                    <a:pt x="64" y="994"/>
                  </a:lnTo>
                  <a:lnTo>
                    <a:pt x="62" y="1000"/>
                  </a:lnTo>
                  <a:lnTo>
                    <a:pt x="56" y="1006"/>
                  </a:lnTo>
                  <a:lnTo>
                    <a:pt x="52" y="1010"/>
                  </a:lnTo>
                  <a:lnTo>
                    <a:pt x="46" y="10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4" name="Freeform 302"/>
            <p:cNvSpPr>
              <a:spLocks/>
            </p:cNvSpPr>
            <p:nvPr/>
          </p:nvSpPr>
          <p:spPr bwMode="auto">
            <a:xfrm>
              <a:off x="2286000" y="2139950"/>
              <a:ext cx="165100" cy="34925"/>
            </a:xfrm>
            <a:custGeom>
              <a:avLst/>
              <a:gdLst>
                <a:gd name="T0" fmla="*/ 2147483647 w 404"/>
                <a:gd name="T1" fmla="*/ 2147483647 h 88"/>
                <a:gd name="T2" fmla="*/ 2147483647 w 404"/>
                <a:gd name="T3" fmla="*/ 2147483647 h 88"/>
                <a:gd name="T4" fmla="*/ 2147483647 w 404"/>
                <a:gd name="T5" fmla="*/ 2147483647 h 88"/>
                <a:gd name="T6" fmla="*/ 2147483647 w 404"/>
                <a:gd name="T7" fmla="*/ 2147483647 h 88"/>
                <a:gd name="T8" fmla="*/ 2147483647 w 404"/>
                <a:gd name="T9" fmla="*/ 2147483647 h 88"/>
                <a:gd name="T10" fmla="*/ 2147483647 w 404"/>
                <a:gd name="T11" fmla="*/ 2147483647 h 88"/>
                <a:gd name="T12" fmla="*/ 2147483647 w 404"/>
                <a:gd name="T13" fmla="*/ 2147483647 h 88"/>
                <a:gd name="T14" fmla="*/ 2147483647 w 404"/>
                <a:gd name="T15" fmla="*/ 2147483647 h 88"/>
                <a:gd name="T16" fmla="*/ 2147483647 w 404"/>
                <a:gd name="T17" fmla="*/ 2147483647 h 88"/>
                <a:gd name="T18" fmla="*/ 2147483647 w 404"/>
                <a:gd name="T19" fmla="*/ 2147483647 h 88"/>
                <a:gd name="T20" fmla="*/ 2147483647 w 404"/>
                <a:gd name="T21" fmla="*/ 2147483647 h 88"/>
                <a:gd name="T22" fmla="*/ 2147483647 w 404"/>
                <a:gd name="T23" fmla="*/ 2147483647 h 88"/>
                <a:gd name="T24" fmla="*/ 2147483647 w 404"/>
                <a:gd name="T25" fmla="*/ 2147483647 h 88"/>
                <a:gd name="T26" fmla="*/ 2147483647 w 404"/>
                <a:gd name="T27" fmla="*/ 2147483647 h 88"/>
                <a:gd name="T28" fmla="*/ 2147483647 w 404"/>
                <a:gd name="T29" fmla="*/ 2147483647 h 88"/>
                <a:gd name="T30" fmla="*/ 2147483647 w 404"/>
                <a:gd name="T31" fmla="*/ 2147483647 h 88"/>
                <a:gd name="T32" fmla="*/ 2147483647 w 404"/>
                <a:gd name="T33" fmla="*/ 2147483647 h 88"/>
                <a:gd name="T34" fmla="*/ 2147483647 w 404"/>
                <a:gd name="T35" fmla="*/ 2147483647 h 88"/>
                <a:gd name="T36" fmla="*/ 2147483647 w 404"/>
                <a:gd name="T37" fmla="*/ 2147483647 h 88"/>
                <a:gd name="T38" fmla="*/ 2147483647 w 404"/>
                <a:gd name="T39" fmla="*/ 2147483647 h 88"/>
                <a:gd name="T40" fmla="*/ 2147483647 w 404"/>
                <a:gd name="T41" fmla="*/ 2147483647 h 88"/>
                <a:gd name="T42" fmla="*/ 2147483647 w 404"/>
                <a:gd name="T43" fmla="*/ 2147483647 h 88"/>
                <a:gd name="T44" fmla="*/ 2147483647 w 404"/>
                <a:gd name="T45" fmla="*/ 2147483647 h 88"/>
                <a:gd name="T46" fmla="*/ 2147483647 w 404"/>
                <a:gd name="T47" fmla="*/ 2147483647 h 88"/>
                <a:gd name="T48" fmla="*/ 2147483647 w 404"/>
                <a:gd name="T49" fmla="*/ 2147483647 h 88"/>
                <a:gd name="T50" fmla="*/ 2147483647 w 404"/>
                <a:gd name="T51" fmla="*/ 0 h 88"/>
                <a:gd name="T52" fmla="*/ 2147483647 w 404"/>
                <a:gd name="T53" fmla="*/ 2147483647 h 88"/>
                <a:gd name="T54" fmla="*/ 2147483647 w 404"/>
                <a:gd name="T55" fmla="*/ 2147483647 h 88"/>
                <a:gd name="T56" fmla="*/ 2147483647 w 404"/>
                <a:gd name="T57" fmla="*/ 2147483647 h 88"/>
                <a:gd name="T58" fmla="*/ 2147483647 w 404"/>
                <a:gd name="T59" fmla="*/ 2147483647 h 88"/>
                <a:gd name="T60" fmla="*/ 2147483647 w 404"/>
                <a:gd name="T61" fmla="*/ 2147483647 h 88"/>
                <a:gd name="T62" fmla="*/ 2147483647 w 404"/>
                <a:gd name="T63" fmla="*/ 2147483647 h 88"/>
                <a:gd name="T64" fmla="*/ 2147483647 w 404"/>
                <a:gd name="T65" fmla="*/ 2147483647 h 88"/>
                <a:gd name="T66" fmla="*/ 2147483647 w 404"/>
                <a:gd name="T67" fmla="*/ 2147483647 h 88"/>
                <a:gd name="T68" fmla="*/ 2147483647 w 404"/>
                <a:gd name="T69" fmla="*/ 2147483647 h 88"/>
                <a:gd name="T70" fmla="*/ 2147483647 w 404"/>
                <a:gd name="T71" fmla="*/ 2147483647 h 88"/>
                <a:gd name="T72" fmla="*/ 2147483647 w 404"/>
                <a:gd name="T73" fmla="*/ 2147483647 h 88"/>
                <a:gd name="T74" fmla="*/ 2147483647 w 404"/>
                <a:gd name="T75" fmla="*/ 2147483647 h 88"/>
                <a:gd name="T76" fmla="*/ 2147483647 w 404"/>
                <a:gd name="T77" fmla="*/ 2147483647 h 88"/>
                <a:gd name="T78" fmla="*/ 2147483647 w 404"/>
                <a:gd name="T79" fmla="*/ 2147483647 h 88"/>
                <a:gd name="T80" fmla="*/ 2147483647 w 404"/>
                <a:gd name="T81" fmla="*/ 2147483647 h 88"/>
                <a:gd name="T82" fmla="*/ 2147483647 w 404"/>
                <a:gd name="T83" fmla="*/ 2147483647 h 88"/>
                <a:gd name="T84" fmla="*/ 2147483647 w 404"/>
                <a:gd name="T85" fmla="*/ 2147483647 h 88"/>
                <a:gd name="T86" fmla="*/ 2147483647 w 404"/>
                <a:gd name="T87" fmla="*/ 2147483647 h 88"/>
                <a:gd name="T88" fmla="*/ 2147483647 w 404"/>
                <a:gd name="T89" fmla="*/ 2147483647 h 88"/>
                <a:gd name="T90" fmla="*/ 2147483647 w 404"/>
                <a:gd name="T91" fmla="*/ 2147483647 h 88"/>
                <a:gd name="T92" fmla="*/ 2147483647 w 404"/>
                <a:gd name="T93" fmla="*/ 2147483647 h 88"/>
                <a:gd name="T94" fmla="*/ 2147483647 w 404"/>
                <a:gd name="T95" fmla="*/ 2147483647 h 88"/>
                <a:gd name="T96" fmla="*/ 2147483647 w 404"/>
                <a:gd name="T97" fmla="*/ 2147483647 h 88"/>
                <a:gd name="T98" fmla="*/ 2147483647 w 404"/>
                <a:gd name="T99" fmla="*/ 2147483647 h 88"/>
                <a:gd name="T100" fmla="*/ 2147483647 w 404"/>
                <a:gd name="T101" fmla="*/ 2147483647 h 88"/>
                <a:gd name="T102" fmla="*/ 2147483647 w 404"/>
                <a:gd name="T103" fmla="*/ 2147483647 h 88"/>
                <a:gd name="T104" fmla="*/ 2147483647 w 404"/>
                <a:gd name="T105" fmla="*/ 2147483647 h 88"/>
                <a:gd name="T106" fmla="*/ 2147483647 w 404"/>
                <a:gd name="T107" fmla="*/ 2147483647 h 88"/>
                <a:gd name="T108" fmla="*/ 2147483647 w 404"/>
                <a:gd name="T109" fmla="*/ 2147483647 h 88"/>
                <a:gd name="T110" fmla="*/ 2147483647 w 404"/>
                <a:gd name="T111" fmla="*/ 2147483647 h 88"/>
                <a:gd name="T112" fmla="*/ 2147483647 w 404"/>
                <a:gd name="T113" fmla="*/ 2147483647 h 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04"/>
                <a:gd name="T172" fmla="*/ 0 h 88"/>
                <a:gd name="T173" fmla="*/ 404 w 404"/>
                <a:gd name="T174" fmla="*/ 88 h 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04" h="88">
                  <a:moveTo>
                    <a:pt x="106" y="88"/>
                  </a:moveTo>
                  <a:lnTo>
                    <a:pt x="112" y="88"/>
                  </a:lnTo>
                  <a:lnTo>
                    <a:pt x="118" y="86"/>
                  </a:lnTo>
                  <a:lnTo>
                    <a:pt x="122" y="84"/>
                  </a:lnTo>
                  <a:lnTo>
                    <a:pt x="128" y="82"/>
                  </a:lnTo>
                  <a:lnTo>
                    <a:pt x="136" y="82"/>
                  </a:lnTo>
                  <a:lnTo>
                    <a:pt x="138" y="76"/>
                  </a:lnTo>
                  <a:lnTo>
                    <a:pt x="144" y="74"/>
                  </a:lnTo>
                  <a:lnTo>
                    <a:pt x="150" y="68"/>
                  </a:lnTo>
                  <a:lnTo>
                    <a:pt x="156" y="64"/>
                  </a:lnTo>
                  <a:lnTo>
                    <a:pt x="162" y="64"/>
                  </a:lnTo>
                  <a:lnTo>
                    <a:pt x="160" y="68"/>
                  </a:lnTo>
                  <a:lnTo>
                    <a:pt x="156" y="76"/>
                  </a:lnTo>
                  <a:lnTo>
                    <a:pt x="164" y="76"/>
                  </a:lnTo>
                  <a:lnTo>
                    <a:pt x="170" y="74"/>
                  </a:lnTo>
                  <a:lnTo>
                    <a:pt x="176" y="72"/>
                  </a:lnTo>
                  <a:lnTo>
                    <a:pt x="182" y="68"/>
                  </a:lnTo>
                  <a:lnTo>
                    <a:pt x="188" y="66"/>
                  </a:lnTo>
                  <a:lnTo>
                    <a:pt x="194" y="66"/>
                  </a:lnTo>
                  <a:lnTo>
                    <a:pt x="198" y="64"/>
                  </a:lnTo>
                  <a:lnTo>
                    <a:pt x="206" y="60"/>
                  </a:lnTo>
                  <a:lnTo>
                    <a:pt x="198" y="56"/>
                  </a:lnTo>
                  <a:lnTo>
                    <a:pt x="204" y="54"/>
                  </a:lnTo>
                  <a:lnTo>
                    <a:pt x="212" y="52"/>
                  </a:lnTo>
                  <a:lnTo>
                    <a:pt x="216" y="54"/>
                  </a:lnTo>
                  <a:lnTo>
                    <a:pt x="224" y="52"/>
                  </a:lnTo>
                  <a:lnTo>
                    <a:pt x="228" y="52"/>
                  </a:lnTo>
                  <a:lnTo>
                    <a:pt x="234" y="48"/>
                  </a:lnTo>
                  <a:lnTo>
                    <a:pt x="240" y="44"/>
                  </a:lnTo>
                  <a:lnTo>
                    <a:pt x="246" y="40"/>
                  </a:lnTo>
                  <a:lnTo>
                    <a:pt x="254" y="40"/>
                  </a:lnTo>
                  <a:lnTo>
                    <a:pt x="260" y="40"/>
                  </a:lnTo>
                  <a:lnTo>
                    <a:pt x="266" y="38"/>
                  </a:lnTo>
                  <a:lnTo>
                    <a:pt x="260" y="44"/>
                  </a:lnTo>
                  <a:lnTo>
                    <a:pt x="254" y="46"/>
                  </a:lnTo>
                  <a:lnTo>
                    <a:pt x="248" y="50"/>
                  </a:lnTo>
                  <a:lnTo>
                    <a:pt x="240" y="54"/>
                  </a:lnTo>
                  <a:lnTo>
                    <a:pt x="234" y="56"/>
                  </a:lnTo>
                  <a:lnTo>
                    <a:pt x="228" y="60"/>
                  </a:lnTo>
                  <a:lnTo>
                    <a:pt x="236" y="64"/>
                  </a:lnTo>
                  <a:lnTo>
                    <a:pt x="242" y="68"/>
                  </a:lnTo>
                  <a:lnTo>
                    <a:pt x="248" y="66"/>
                  </a:lnTo>
                  <a:lnTo>
                    <a:pt x="254" y="66"/>
                  </a:lnTo>
                  <a:lnTo>
                    <a:pt x="260" y="64"/>
                  </a:lnTo>
                  <a:lnTo>
                    <a:pt x="266" y="64"/>
                  </a:lnTo>
                  <a:lnTo>
                    <a:pt x="272" y="58"/>
                  </a:lnTo>
                  <a:lnTo>
                    <a:pt x="278" y="52"/>
                  </a:lnTo>
                  <a:lnTo>
                    <a:pt x="284" y="52"/>
                  </a:lnTo>
                  <a:lnTo>
                    <a:pt x="292" y="50"/>
                  </a:lnTo>
                  <a:lnTo>
                    <a:pt x="298" y="50"/>
                  </a:lnTo>
                  <a:lnTo>
                    <a:pt x="304" y="50"/>
                  </a:lnTo>
                  <a:lnTo>
                    <a:pt x="310" y="50"/>
                  </a:lnTo>
                  <a:lnTo>
                    <a:pt x="318" y="50"/>
                  </a:lnTo>
                  <a:lnTo>
                    <a:pt x="324" y="48"/>
                  </a:lnTo>
                  <a:lnTo>
                    <a:pt x="330" y="46"/>
                  </a:lnTo>
                  <a:lnTo>
                    <a:pt x="338" y="44"/>
                  </a:lnTo>
                  <a:lnTo>
                    <a:pt x="342" y="38"/>
                  </a:lnTo>
                  <a:lnTo>
                    <a:pt x="336" y="34"/>
                  </a:lnTo>
                  <a:lnTo>
                    <a:pt x="342" y="32"/>
                  </a:lnTo>
                  <a:lnTo>
                    <a:pt x="350" y="34"/>
                  </a:lnTo>
                  <a:lnTo>
                    <a:pt x="356" y="34"/>
                  </a:lnTo>
                  <a:lnTo>
                    <a:pt x="362" y="32"/>
                  </a:lnTo>
                  <a:lnTo>
                    <a:pt x="356" y="28"/>
                  </a:lnTo>
                  <a:lnTo>
                    <a:pt x="354" y="22"/>
                  </a:lnTo>
                  <a:lnTo>
                    <a:pt x="360" y="20"/>
                  </a:lnTo>
                  <a:lnTo>
                    <a:pt x="366" y="18"/>
                  </a:lnTo>
                  <a:lnTo>
                    <a:pt x="372" y="18"/>
                  </a:lnTo>
                  <a:lnTo>
                    <a:pt x="378" y="18"/>
                  </a:lnTo>
                  <a:lnTo>
                    <a:pt x="384" y="16"/>
                  </a:lnTo>
                  <a:lnTo>
                    <a:pt x="392" y="16"/>
                  </a:lnTo>
                  <a:lnTo>
                    <a:pt x="398" y="14"/>
                  </a:lnTo>
                  <a:lnTo>
                    <a:pt x="404" y="12"/>
                  </a:lnTo>
                  <a:lnTo>
                    <a:pt x="400" y="6"/>
                  </a:lnTo>
                  <a:lnTo>
                    <a:pt x="394" y="6"/>
                  </a:lnTo>
                  <a:lnTo>
                    <a:pt x="388" y="2"/>
                  </a:lnTo>
                  <a:lnTo>
                    <a:pt x="382" y="0"/>
                  </a:lnTo>
                  <a:lnTo>
                    <a:pt x="376" y="0"/>
                  </a:lnTo>
                  <a:lnTo>
                    <a:pt x="370" y="0"/>
                  </a:lnTo>
                  <a:lnTo>
                    <a:pt x="364" y="0"/>
                  </a:lnTo>
                  <a:lnTo>
                    <a:pt x="358" y="4"/>
                  </a:lnTo>
                  <a:lnTo>
                    <a:pt x="352" y="4"/>
                  </a:lnTo>
                  <a:lnTo>
                    <a:pt x="358" y="8"/>
                  </a:lnTo>
                  <a:lnTo>
                    <a:pt x="352" y="12"/>
                  </a:lnTo>
                  <a:lnTo>
                    <a:pt x="346" y="12"/>
                  </a:lnTo>
                  <a:lnTo>
                    <a:pt x="340" y="10"/>
                  </a:lnTo>
                  <a:lnTo>
                    <a:pt x="334" y="14"/>
                  </a:lnTo>
                  <a:lnTo>
                    <a:pt x="328" y="12"/>
                  </a:lnTo>
                  <a:lnTo>
                    <a:pt x="322" y="12"/>
                  </a:lnTo>
                  <a:lnTo>
                    <a:pt x="316" y="10"/>
                  </a:lnTo>
                  <a:lnTo>
                    <a:pt x="308" y="10"/>
                  </a:lnTo>
                  <a:lnTo>
                    <a:pt x="302" y="10"/>
                  </a:lnTo>
                  <a:lnTo>
                    <a:pt x="296" y="10"/>
                  </a:lnTo>
                  <a:lnTo>
                    <a:pt x="290" y="10"/>
                  </a:lnTo>
                  <a:lnTo>
                    <a:pt x="284" y="10"/>
                  </a:lnTo>
                  <a:lnTo>
                    <a:pt x="278" y="10"/>
                  </a:lnTo>
                  <a:lnTo>
                    <a:pt x="270" y="12"/>
                  </a:lnTo>
                  <a:lnTo>
                    <a:pt x="264" y="12"/>
                  </a:lnTo>
                  <a:lnTo>
                    <a:pt x="258" y="12"/>
                  </a:lnTo>
                  <a:lnTo>
                    <a:pt x="254" y="12"/>
                  </a:lnTo>
                  <a:lnTo>
                    <a:pt x="246" y="14"/>
                  </a:lnTo>
                  <a:lnTo>
                    <a:pt x="240" y="18"/>
                  </a:lnTo>
                  <a:lnTo>
                    <a:pt x="234" y="20"/>
                  </a:lnTo>
                  <a:lnTo>
                    <a:pt x="228" y="20"/>
                  </a:lnTo>
                  <a:lnTo>
                    <a:pt x="224" y="22"/>
                  </a:lnTo>
                  <a:lnTo>
                    <a:pt x="216" y="22"/>
                  </a:lnTo>
                  <a:lnTo>
                    <a:pt x="212" y="24"/>
                  </a:lnTo>
                  <a:lnTo>
                    <a:pt x="204" y="26"/>
                  </a:lnTo>
                  <a:lnTo>
                    <a:pt x="198" y="28"/>
                  </a:lnTo>
                  <a:lnTo>
                    <a:pt x="192" y="30"/>
                  </a:lnTo>
                  <a:lnTo>
                    <a:pt x="186" y="32"/>
                  </a:lnTo>
                  <a:lnTo>
                    <a:pt x="180" y="34"/>
                  </a:lnTo>
                  <a:lnTo>
                    <a:pt x="174" y="34"/>
                  </a:lnTo>
                  <a:lnTo>
                    <a:pt x="168" y="38"/>
                  </a:lnTo>
                  <a:lnTo>
                    <a:pt x="162" y="40"/>
                  </a:lnTo>
                  <a:lnTo>
                    <a:pt x="156" y="42"/>
                  </a:lnTo>
                  <a:lnTo>
                    <a:pt x="148" y="42"/>
                  </a:lnTo>
                  <a:lnTo>
                    <a:pt x="142" y="42"/>
                  </a:lnTo>
                  <a:lnTo>
                    <a:pt x="136" y="44"/>
                  </a:lnTo>
                  <a:lnTo>
                    <a:pt x="130" y="46"/>
                  </a:lnTo>
                  <a:lnTo>
                    <a:pt x="124" y="46"/>
                  </a:lnTo>
                  <a:lnTo>
                    <a:pt x="118" y="48"/>
                  </a:lnTo>
                  <a:lnTo>
                    <a:pt x="112" y="50"/>
                  </a:lnTo>
                  <a:lnTo>
                    <a:pt x="106" y="52"/>
                  </a:lnTo>
                  <a:lnTo>
                    <a:pt x="98" y="56"/>
                  </a:lnTo>
                  <a:lnTo>
                    <a:pt x="92" y="56"/>
                  </a:lnTo>
                  <a:lnTo>
                    <a:pt x="86" y="58"/>
                  </a:lnTo>
                  <a:lnTo>
                    <a:pt x="80" y="58"/>
                  </a:lnTo>
                  <a:lnTo>
                    <a:pt x="74" y="58"/>
                  </a:lnTo>
                  <a:lnTo>
                    <a:pt x="68" y="58"/>
                  </a:lnTo>
                  <a:lnTo>
                    <a:pt x="62" y="60"/>
                  </a:lnTo>
                  <a:lnTo>
                    <a:pt x="56" y="60"/>
                  </a:lnTo>
                  <a:lnTo>
                    <a:pt x="50" y="60"/>
                  </a:lnTo>
                  <a:lnTo>
                    <a:pt x="44" y="62"/>
                  </a:lnTo>
                  <a:lnTo>
                    <a:pt x="38" y="64"/>
                  </a:lnTo>
                  <a:lnTo>
                    <a:pt x="32" y="66"/>
                  </a:lnTo>
                  <a:lnTo>
                    <a:pt x="26" y="68"/>
                  </a:lnTo>
                  <a:lnTo>
                    <a:pt x="20" y="68"/>
                  </a:lnTo>
                  <a:lnTo>
                    <a:pt x="14" y="72"/>
                  </a:lnTo>
                  <a:lnTo>
                    <a:pt x="8" y="74"/>
                  </a:lnTo>
                  <a:lnTo>
                    <a:pt x="0" y="76"/>
                  </a:lnTo>
                  <a:lnTo>
                    <a:pt x="8" y="76"/>
                  </a:lnTo>
                  <a:lnTo>
                    <a:pt x="14" y="72"/>
                  </a:lnTo>
                  <a:lnTo>
                    <a:pt x="20" y="72"/>
                  </a:lnTo>
                  <a:lnTo>
                    <a:pt x="26" y="72"/>
                  </a:lnTo>
                  <a:lnTo>
                    <a:pt x="20" y="74"/>
                  </a:lnTo>
                  <a:lnTo>
                    <a:pt x="26" y="74"/>
                  </a:lnTo>
                  <a:lnTo>
                    <a:pt x="20" y="76"/>
                  </a:lnTo>
                  <a:lnTo>
                    <a:pt x="14" y="80"/>
                  </a:lnTo>
                  <a:lnTo>
                    <a:pt x="8" y="82"/>
                  </a:lnTo>
                  <a:lnTo>
                    <a:pt x="14" y="84"/>
                  </a:lnTo>
                  <a:lnTo>
                    <a:pt x="20" y="84"/>
                  </a:lnTo>
                  <a:lnTo>
                    <a:pt x="26" y="82"/>
                  </a:lnTo>
                  <a:lnTo>
                    <a:pt x="32" y="80"/>
                  </a:lnTo>
                  <a:lnTo>
                    <a:pt x="38" y="78"/>
                  </a:lnTo>
                  <a:lnTo>
                    <a:pt x="46" y="78"/>
                  </a:lnTo>
                  <a:lnTo>
                    <a:pt x="52" y="80"/>
                  </a:lnTo>
                  <a:lnTo>
                    <a:pt x="58" y="84"/>
                  </a:lnTo>
                  <a:lnTo>
                    <a:pt x="64" y="82"/>
                  </a:lnTo>
                  <a:lnTo>
                    <a:pt x="70" y="82"/>
                  </a:lnTo>
                  <a:lnTo>
                    <a:pt x="76" y="80"/>
                  </a:lnTo>
                  <a:lnTo>
                    <a:pt x="82" y="76"/>
                  </a:lnTo>
                  <a:lnTo>
                    <a:pt x="88" y="74"/>
                  </a:lnTo>
                  <a:lnTo>
                    <a:pt x="94" y="72"/>
                  </a:lnTo>
                  <a:lnTo>
                    <a:pt x="100" y="72"/>
                  </a:lnTo>
                  <a:lnTo>
                    <a:pt x="94" y="76"/>
                  </a:lnTo>
                  <a:lnTo>
                    <a:pt x="100" y="80"/>
                  </a:lnTo>
                  <a:lnTo>
                    <a:pt x="94" y="84"/>
                  </a:lnTo>
                  <a:lnTo>
                    <a:pt x="88" y="88"/>
                  </a:lnTo>
                  <a:lnTo>
                    <a:pt x="94" y="88"/>
                  </a:lnTo>
                  <a:lnTo>
                    <a:pt x="100" y="86"/>
                  </a:lnTo>
                  <a:lnTo>
                    <a:pt x="106" y="8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5" name="Freeform 303"/>
            <p:cNvSpPr>
              <a:spLocks/>
            </p:cNvSpPr>
            <p:nvPr/>
          </p:nvSpPr>
          <p:spPr bwMode="auto">
            <a:xfrm>
              <a:off x="2498725" y="2311400"/>
              <a:ext cx="74613" cy="34925"/>
            </a:xfrm>
            <a:custGeom>
              <a:avLst/>
              <a:gdLst>
                <a:gd name="T0" fmla="*/ 2147483647 w 182"/>
                <a:gd name="T1" fmla="*/ 2147483647 h 84"/>
                <a:gd name="T2" fmla="*/ 2147483647 w 182"/>
                <a:gd name="T3" fmla="*/ 2147483647 h 84"/>
                <a:gd name="T4" fmla="*/ 2147483647 w 182"/>
                <a:gd name="T5" fmla="*/ 2147483647 h 84"/>
                <a:gd name="T6" fmla="*/ 2147483647 w 182"/>
                <a:gd name="T7" fmla="*/ 2147483647 h 84"/>
                <a:gd name="T8" fmla="*/ 2147483647 w 182"/>
                <a:gd name="T9" fmla="*/ 2147483647 h 84"/>
                <a:gd name="T10" fmla="*/ 2147483647 w 182"/>
                <a:gd name="T11" fmla="*/ 2147483647 h 84"/>
                <a:gd name="T12" fmla="*/ 2147483647 w 182"/>
                <a:gd name="T13" fmla="*/ 2147483647 h 84"/>
                <a:gd name="T14" fmla="*/ 2147483647 w 182"/>
                <a:gd name="T15" fmla="*/ 2147483647 h 84"/>
                <a:gd name="T16" fmla="*/ 2147483647 w 182"/>
                <a:gd name="T17" fmla="*/ 2147483647 h 84"/>
                <a:gd name="T18" fmla="*/ 2147483647 w 182"/>
                <a:gd name="T19" fmla="*/ 2147483647 h 84"/>
                <a:gd name="T20" fmla="*/ 2147483647 w 182"/>
                <a:gd name="T21" fmla="*/ 2147483647 h 84"/>
                <a:gd name="T22" fmla="*/ 2147483647 w 182"/>
                <a:gd name="T23" fmla="*/ 2147483647 h 84"/>
                <a:gd name="T24" fmla="*/ 2147483647 w 182"/>
                <a:gd name="T25" fmla="*/ 2147483647 h 84"/>
                <a:gd name="T26" fmla="*/ 2147483647 w 182"/>
                <a:gd name="T27" fmla="*/ 2147483647 h 84"/>
                <a:gd name="T28" fmla="*/ 2147483647 w 182"/>
                <a:gd name="T29" fmla="*/ 2147483647 h 84"/>
                <a:gd name="T30" fmla="*/ 2147483647 w 182"/>
                <a:gd name="T31" fmla="*/ 2147483647 h 84"/>
                <a:gd name="T32" fmla="*/ 2147483647 w 182"/>
                <a:gd name="T33" fmla="*/ 2147483647 h 84"/>
                <a:gd name="T34" fmla="*/ 2147483647 w 182"/>
                <a:gd name="T35" fmla="*/ 0 h 84"/>
                <a:gd name="T36" fmla="*/ 2147483647 w 182"/>
                <a:gd name="T37" fmla="*/ 2147483647 h 84"/>
                <a:gd name="T38" fmla="*/ 2147483647 w 182"/>
                <a:gd name="T39" fmla="*/ 2147483647 h 84"/>
                <a:gd name="T40" fmla="*/ 2147483647 w 182"/>
                <a:gd name="T41" fmla="*/ 2147483647 h 84"/>
                <a:gd name="T42" fmla="*/ 2147483647 w 182"/>
                <a:gd name="T43" fmla="*/ 2147483647 h 84"/>
                <a:gd name="T44" fmla="*/ 2147483647 w 182"/>
                <a:gd name="T45" fmla="*/ 2147483647 h 84"/>
                <a:gd name="T46" fmla="*/ 2147483647 w 182"/>
                <a:gd name="T47" fmla="*/ 2147483647 h 84"/>
                <a:gd name="T48" fmla="*/ 2147483647 w 182"/>
                <a:gd name="T49" fmla="*/ 2147483647 h 84"/>
                <a:gd name="T50" fmla="*/ 2147483647 w 182"/>
                <a:gd name="T51" fmla="*/ 2147483647 h 84"/>
                <a:gd name="T52" fmla="*/ 2147483647 w 182"/>
                <a:gd name="T53" fmla="*/ 2147483647 h 84"/>
                <a:gd name="T54" fmla="*/ 2147483647 w 182"/>
                <a:gd name="T55" fmla="*/ 2147483647 h 84"/>
                <a:gd name="T56" fmla="*/ 2147483647 w 182"/>
                <a:gd name="T57" fmla="*/ 2147483647 h 84"/>
                <a:gd name="T58" fmla="*/ 2147483647 w 182"/>
                <a:gd name="T59" fmla="*/ 2147483647 h 84"/>
                <a:gd name="T60" fmla="*/ 2147483647 w 182"/>
                <a:gd name="T61" fmla="*/ 2147483647 h 84"/>
                <a:gd name="T62" fmla="*/ 2147483647 w 182"/>
                <a:gd name="T63" fmla="*/ 2147483647 h 84"/>
                <a:gd name="T64" fmla="*/ 2147483647 w 182"/>
                <a:gd name="T65" fmla="*/ 2147483647 h 84"/>
                <a:gd name="T66" fmla="*/ 2147483647 w 182"/>
                <a:gd name="T67" fmla="*/ 2147483647 h 84"/>
                <a:gd name="T68" fmla="*/ 2147483647 w 182"/>
                <a:gd name="T69" fmla="*/ 2147483647 h 84"/>
                <a:gd name="T70" fmla="*/ 2147483647 w 182"/>
                <a:gd name="T71" fmla="*/ 2147483647 h 84"/>
                <a:gd name="T72" fmla="*/ 2147483647 w 182"/>
                <a:gd name="T73" fmla="*/ 2147483647 h 84"/>
                <a:gd name="T74" fmla="*/ 2147483647 w 182"/>
                <a:gd name="T75" fmla="*/ 2147483647 h 84"/>
                <a:gd name="T76" fmla="*/ 2147483647 w 182"/>
                <a:gd name="T77" fmla="*/ 2147483647 h 84"/>
                <a:gd name="T78" fmla="*/ 2147483647 w 182"/>
                <a:gd name="T79" fmla="*/ 2147483647 h 8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2"/>
                <a:gd name="T121" fmla="*/ 0 h 84"/>
                <a:gd name="T122" fmla="*/ 182 w 182"/>
                <a:gd name="T123" fmla="*/ 84 h 8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2" h="84">
                  <a:moveTo>
                    <a:pt x="102" y="84"/>
                  </a:moveTo>
                  <a:lnTo>
                    <a:pt x="108" y="84"/>
                  </a:lnTo>
                  <a:lnTo>
                    <a:pt x="114" y="82"/>
                  </a:lnTo>
                  <a:lnTo>
                    <a:pt x="122" y="80"/>
                  </a:lnTo>
                  <a:lnTo>
                    <a:pt x="126" y="78"/>
                  </a:lnTo>
                  <a:lnTo>
                    <a:pt x="134" y="76"/>
                  </a:lnTo>
                  <a:lnTo>
                    <a:pt x="138" y="74"/>
                  </a:lnTo>
                  <a:lnTo>
                    <a:pt x="146" y="72"/>
                  </a:lnTo>
                  <a:lnTo>
                    <a:pt x="152" y="68"/>
                  </a:lnTo>
                  <a:lnTo>
                    <a:pt x="158" y="66"/>
                  </a:lnTo>
                  <a:lnTo>
                    <a:pt x="164" y="68"/>
                  </a:lnTo>
                  <a:lnTo>
                    <a:pt x="170" y="66"/>
                  </a:lnTo>
                  <a:lnTo>
                    <a:pt x="176" y="64"/>
                  </a:lnTo>
                  <a:lnTo>
                    <a:pt x="182" y="60"/>
                  </a:lnTo>
                  <a:lnTo>
                    <a:pt x="176" y="58"/>
                  </a:lnTo>
                  <a:lnTo>
                    <a:pt x="170" y="60"/>
                  </a:lnTo>
                  <a:lnTo>
                    <a:pt x="164" y="62"/>
                  </a:lnTo>
                  <a:lnTo>
                    <a:pt x="158" y="58"/>
                  </a:lnTo>
                  <a:lnTo>
                    <a:pt x="162" y="54"/>
                  </a:lnTo>
                  <a:lnTo>
                    <a:pt x="162" y="48"/>
                  </a:lnTo>
                  <a:lnTo>
                    <a:pt x="166" y="42"/>
                  </a:lnTo>
                  <a:lnTo>
                    <a:pt x="160" y="42"/>
                  </a:lnTo>
                  <a:lnTo>
                    <a:pt x="154" y="48"/>
                  </a:lnTo>
                  <a:lnTo>
                    <a:pt x="156" y="42"/>
                  </a:lnTo>
                  <a:lnTo>
                    <a:pt x="162" y="38"/>
                  </a:lnTo>
                  <a:lnTo>
                    <a:pt x="162" y="32"/>
                  </a:lnTo>
                  <a:lnTo>
                    <a:pt x="156" y="26"/>
                  </a:lnTo>
                  <a:lnTo>
                    <a:pt x="150" y="26"/>
                  </a:lnTo>
                  <a:lnTo>
                    <a:pt x="144" y="22"/>
                  </a:lnTo>
                  <a:lnTo>
                    <a:pt x="140" y="16"/>
                  </a:lnTo>
                  <a:lnTo>
                    <a:pt x="138" y="12"/>
                  </a:lnTo>
                  <a:lnTo>
                    <a:pt x="132" y="14"/>
                  </a:lnTo>
                  <a:lnTo>
                    <a:pt x="134" y="8"/>
                  </a:lnTo>
                  <a:lnTo>
                    <a:pt x="128" y="6"/>
                  </a:lnTo>
                  <a:lnTo>
                    <a:pt x="122" y="0"/>
                  </a:lnTo>
                  <a:lnTo>
                    <a:pt x="116" y="0"/>
                  </a:lnTo>
                  <a:lnTo>
                    <a:pt x="108" y="4"/>
                  </a:lnTo>
                  <a:lnTo>
                    <a:pt x="104" y="4"/>
                  </a:lnTo>
                  <a:lnTo>
                    <a:pt x="96" y="8"/>
                  </a:lnTo>
                  <a:lnTo>
                    <a:pt x="90" y="12"/>
                  </a:lnTo>
                  <a:lnTo>
                    <a:pt x="84" y="16"/>
                  </a:lnTo>
                  <a:lnTo>
                    <a:pt x="88" y="22"/>
                  </a:lnTo>
                  <a:lnTo>
                    <a:pt x="82" y="18"/>
                  </a:lnTo>
                  <a:lnTo>
                    <a:pt x="76" y="18"/>
                  </a:lnTo>
                  <a:lnTo>
                    <a:pt x="70" y="20"/>
                  </a:lnTo>
                  <a:lnTo>
                    <a:pt x="64" y="26"/>
                  </a:lnTo>
                  <a:lnTo>
                    <a:pt x="68" y="32"/>
                  </a:lnTo>
                  <a:lnTo>
                    <a:pt x="62" y="34"/>
                  </a:lnTo>
                  <a:lnTo>
                    <a:pt x="56" y="36"/>
                  </a:lnTo>
                  <a:lnTo>
                    <a:pt x="50" y="36"/>
                  </a:lnTo>
                  <a:lnTo>
                    <a:pt x="44" y="42"/>
                  </a:lnTo>
                  <a:lnTo>
                    <a:pt x="38" y="42"/>
                  </a:lnTo>
                  <a:lnTo>
                    <a:pt x="32" y="44"/>
                  </a:lnTo>
                  <a:lnTo>
                    <a:pt x="26" y="44"/>
                  </a:lnTo>
                  <a:lnTo>
                    <a:pt x="20" y="42"/>
                  </a:lnTo>
                  <a:lnTo>
                    <a:pt x="14" y="44"/>
                  </a:lnTo>
                  <a:lnTo>
                    <a:pt x="8" y="44"/>
                  </a:lnTo>
                  <a:lnTo>
                    <a:pt x="2" y="48"/>
                  </a:lnTo>
                  <a:lnTo>
                    <a:pt x="0" y="54"/>
                  </a:lnTo>
                  <a:lnTo>
                    <a:pt x="2" y="60"/>
                  </a:lnTo>
                  <a:lnTo>
                    <a:pt x="8" y="60"/>
                  </a:lnTo>
                  <a:lnTo>
                    <a:pt x="14" y="56"/>
                  </a:lnTo>
                  <a:lnTo>
                    <a:pt x="20" y="54"/>
                  </a:lnTo>
                  <a:lnTo>
                    <a:pt x="26" y="56"/>
                  </a:lnTo>
                  <a:lnTo>
                    <a:pt x="20" y="60"/>
                  </a:lnTo>
                  <a:lnTo>
                    <a:pt x="26" y="64"/>
                  </a:lnTo>
                  <a:lnTo>
                    <a:pt x="32" y="66"/>
                  </a:lnTo>
                  <a:lnTo>
                    <a:pt x="38" y="64"/>
                  </a:lnTo>
                  <a:lnTo>
                    <a:pt x="44" y="60"/>
                  </a:lnTo>
                  <a:lnTo>
                    <a:pt x="40" y="66"/>
                  </a:lnTo>
                  <a:lnTo>
                    <a:pt x="46" y="70"/>
                  </a:lnTo>
                  <a:lnTo>
                    <a:pt x="54" y="70"/>
                  </a:lnTo>
                  <a:lnTo>
                    <a:pt x="58" y="72"/>
                  </a:lnTo>
                  <a:lnTo>
                    <a:pt x="64" y="78"/>
                  </a:lnTo>
                  <a:lnTo>
                    <a:pt x="70" y="78"/>
                  </a:lnTo>
                  <a:lnTo>
                    <a:pt x="74" y="80"/>
                  </a:lnTo>
                  <a:lnTo>
                    <a:pt x="82" y="80"/>
                  </a:lnTo>
                  <a:lnTo>
                    <a:pt x="88" y="78"/>
                  </a:lnTo>
                  <a:lnTo>
                    <a:pt x="92" y="80"/>
                  </a:lnTo>
                  <a:lnTo>
                    <a:pt x="100" y="82"/>
                  </a:lnTo>
                  <a:lnTo>
                    <a:pt x="102" y="8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6" name="Freeform 304"/>
            <p:cNvSpPr>
              <a:spLocks/>
            </p:cNvSpPr>
            <p:nvPr/>
          </p:nvSpPr>
          <p:spPr bwMode="auto">
            <a:xfrm>
              <a:off x="2519363" y="2114550"/>
              <a:ext cx="68262" cy="9525"/>
            </a:xfrm>
            <a:custGeom>
              <a:avLst/>
              <a:gdLst>
                <a:gd name="T0" fmla="*/ 2147483647 w 164"/>
                <a:gd name="T1" fmla="*/ 2147483647 h 24"/>
                <a:gd name="T2" fmla="*/ 2147483647 w 164"/>
                <a:gd name="T3" fmla="*/ 2147483647 h 24"/>
                <a:gd name="T4" fmla="*/ 2147483647 w 164"/>
                <a:gd name="T5" fmla="*/ 2147483647 h 24"/>
                <a:gd name="T6" fmla="*/ 2147483647 w 164"/>
                <a:gd name="T7" fmla="*/ 2147483647 h 24"/>
                <a:gd name="T8" fmla="*/ 2147483647 w 164"/>
                <a:gd name="T9" fmla="*/ 2147483647 h 24"/>
                <a:gd name="T10" fmla="*/ 2147483647 w 164"/>
                <a:gd name="T11" fmla="*/ 2147483647 h 24"/>
                <a:gd name="T12" fmla="*/ 2147483647 w 164"/>
                <a:gd name="T13" fmla="*/ 2147483647 h 24"/>
                <a:gd name="T14" fmla="*/ 2147483647 w 164"/>
                <a:gd name="T15" fmla="*/ 2147483647 h 24"/>
                <a:gd name="T16" fmla="*/ 2147483647 w 164"/>
                <a:gd name="T17" fmla="*/ 2147483647 h 24"/>
                <a:gd name="T18" fmla="*/ 2147483647 w 164"/>
                <a:gd name="T19" fmla="*/ 2147483647 h 24"/>
                <a:gd name="T20" fmla="*/ 2147483647 w 164"/>
                <a:gd name="T21" fmla="*/ 0 h 24"/>
                <a:gd name="T22" fmla="*/ 2147483647 w 164"/>
                <a:gd name="T23" fmla="*/ 0 h 24"/>
                <a:gd name="T24" fmla="*/ 2147483647 w 164"/>
                <a:gd name="T25" fmla="*/ 0 h 24"/>
                <a:gd name="T26" fmla="*/ 2147483647 w 164"/>
                <a:gd name="T27" fmla="*/ 0 h 24"/>
                <a:gd name="T28" fmla="*/ 2147483647 w 164"/>
                <a:gd name="T29" fmla="*/ 0 h 24"/>
                <a:gd name="T30" fmla="*/ 2147483647 w 164"/>
                <a:gd name="T31" fmla="*/ 2147483647 h 24"/>
                <a:gd name="T32" fmla="*/ 2147483647 w 164"/>
                <a:gd name="T33" fmla="*/ 2147483647 h 24"/>
                <a:gd name="T34" fmla="*/ 2147483647 w 164"/>
                <a:gd name="T35" fmla="*/ 2147483647 h 24"/>
                <a:gd name="T36" fmla="*/ 2147483647 w 164"/>
                <a:gd name="T37" fmla="*/ 2147483647 h 24"/>
                <a:gd name="T38" fmla="*/ 2147483647 w 164"/>
                <a:gd name="T39" fmla="*/ 2147483647 h 24"/>
                <a:gd name="T40" fmla="*/ 2147483647 w 164"/>
                <a:gd name="T41" fmla="*/ 2147483647 h 24"/>
                <a:gd name="T42" fmla="*/ 2147483647 w 164"/>
                <a:gd name="T43" fmla="*/ 2147483647 h 24"/>
                <a:gd name="T44" fmla="*/ 2147483647 w 164"/>
                <a:gd name="T45" fmla="*/ 2147483647 h 24"/>
                <a:gd name="T46" fmla="*/ 2147483647 w 164"/>
                <a:gd name="T47" fmla="*/ 2147483647 h 24"/>
                <a:gd name="T48" fmla="*/ 2147483647 w 164"/>
                <a:gd name="T49" fmla="*/ 2147483647 h 24"/>
                <a:gd name="T50" fmla="*/ 2147483647 w 164"/>
                <a:gd name="T51" fmla="*/ 2147483647 h 24"/>
                <a:gd name="T52" fmla="*/ 2147483647 w 164"/>
                <a:gd name="T53" fmla="*/ 2147483647 h 24"/>
                <a:gd name="T54" fmla="*/ 2147483647 w 164"/>
                <a:gd name="T55" fmla="*/ 2147483647 h 24"/>
                <a:gd name="T56" fmla="*/ 2147483647 w 164"/>
                <a:gd name="T57" fmla="*/ 2147483647 h 24"/>
                <a:gd name="T58" fmla="*/ 2147483647 w 164"/>
                <a:gd name="T59" fmla="*/ 2147483647 h 24"/>
                <a:gd name="T60" fmla="*/ 2147483647 w 164"/>
                <a:gd name="T61" fmla="*/ 2147483647 h 24"/>
                <a:gd name="T62" fmla="*/ 2147483647 w 164"/>
                <a:gd name="T63" fmla="*/ 2147483647 h 24"/>
                <a:gd name="T64" fmla="*/ 2147483647 w 164"/>
                <a:gd name="T65" fmla="*/ 2147483647 h 24"/>
                <a:gd name="T66" fmla="*/ 0 w 164"/>
                <a:gd name="T67" fmla="*/ 2147483647 h 24"/>
                <a:gd name="T68" fmla="*/ 2147483647 w 164"/>
                <a:gd name="T69" fmla="*/ 2147483647 h 24"/>
                <a:gd name="T70" fmla="*/ 2147483647 w 164"/>
                <a:gd name="T71" fmla="*/ 2147483647 h 24"/>
                <a:gd name="T72" fmla="*/ 2147483647 w 164"/>
                <a:gd name="T73" fmla="*/ 2147483647 h 24"/>
                <a:gd name="T74" fmla="*/ 2147483647 w 164"/>
                <a:gd name="T75" fmla="*/ 2147483647 h 24"/>
                <a:gd name="T76" fmla="*/ 2147483647 w 164"/>
                <a:gd name="T77" fmla="*/ 2147483647 h 24"/>
                <a:gd name="T78" fmla="*/ 2147483647 w 164"/>
                <a:gd name="T79" fmla="*/ 2147483647 h 24"/>
                <a:gd name="T80" fmla="*/ 2147483647 w 164"/>
                <a:gd name="T81" fmla="*/ 2147483647 h 24"/>
                <a:gd name="T82" fmla="*/ 2147483647 w 164"/>
                <a:gd name="T83" fmla="*/ 2147483647 h 24"/>
                <a:gd name="T84" fmla="*/ 2147483647 w 164"/>
                <a:gd name="T85" fmla="*/ 2147483647 h 24"/>
                <a:gd name="T86" fmla="*/ 2147483647 w 164"/>
                <a:gd name="T87" fmla="*/ 2147483647 h 24"/>
                <a:gd name="T88" fmla="*/ 2147483647 w 164"/>
                <a:gd name="T89" fmla="*/ 2147483647 h 24"/>
                <a:gd name="T90" fmla="*/ 2147483647 w 164"/>
                <a:gd name="T91" fmla="*/ 2147483647 h 24"/>
                <a:gd name="T92" fmla="*/ 2147483647 w 164"/>
                <a:gd name="T93" fmla="*/ 2147483647 h 24"/>
                <a:gd name="T94" fmla="*/ 2147483647 w 164"/>
                <a:gd name="T95" fmla="*/ 2147483647 h 24"/>
                <a:gd name="T96" fmla="*/ 2147483647 w 164"/>
                <a:gd name="T97" fmla="*/ 2147483647 h 24"/>
                <a:gd name="T98" fmla="*/ 2147483647 w 164"/>
                <a:gd name="T99" fmla="*/ 2147483647 h 24"/>
                <a:gd name="T100" fmla="*/ 2147483647 w 164"/>
                <a:gd name="T101" fmla="*/ 2147483647 h 24"/>
                <a:gd name="T102" fmla="*/ 2147483647 w 164"/>
                <a:gd name="T103" fmla="*/ 2147483647 h 24"/>
                <a:gd name="T104" fmla="*/ 2147483647 w 164"/>
                <a:gd name="T105" fmla="*/ 2147483647 h 24"/>
                <a:gd name="T106" fmla="*/ 2147483647 w 164"/>
                <a:gd name="T107" fmla="*/ 2147483647 h 2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4"/>
                <a:gd name="T163" fmla="*/ 0 h 24"/>
                <a:gd name="T164" fmla="*/ 164 w 164"/>
                <a:gd name="T165" fmla="*/ 24 h 2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4" h="24">
                  <a:moveTo>
                    <a:pt x="124" y="22"/>
                  </a:moveTo>
                  <a:lnTo>
                    <a:pt x="132" y="22"/>
                  </a:lnTo>
                  <a:lnTo>
                    <a:pt x="138" y="22"/>
                  </a:lnTo>
                  <a:lnTo>
                    <a:pt x="144" y="22"/>
                  </a:lnTo>
                  <a:lnTo>
                    <a:pt x="150" y="20"/>
                  </a:lnTo>
                  <a:lnTo>
                    <a:pt x="156" y="18"/>
                  </a:lnTo>
                  <a:lnTo>
                    <a:pt x="162" y="14"/>
                  </a:lnTo>
                  <a:lnTo>
                    <a:pt x="164" y="10"/>
                  </a:lnTo>
                  <a:lnTo>
                    <a:pt x="158" y="8"/>
                  </a:lnTo>
                  <a:lnTo>
                    <a:pt x="152" y="2"/>
                  </a:lnTo>
                  <a:lnTo>
                    <a:pt x="146" y="0"/>
                  </a:lnTo>
                  <a:lnTo>
                    <a:pt x="140" y="0"/>
                  </a:lnTo>
                  <a:lnTo>
                    <a:pt x="134" y="0"/>
                  </a:lnTo>
                  <a:lnTo>
                    <a:pt x="128" y="0"/>
                  </a:lnTo>
                  <a:lnTo>
                    <a:pt x="122" y="0"/>
                  </a:lnTo>
                  <a:lnTo>
                    <a:pt x="116" y="2"/>
                  </a:lnTo>
                  <a:lnTo>
                    <a:pt x="110" y="2"/>
                  </a:lnTo>
                  <a:lnTo>
                    <a:pt x="102" y="4"/>
                  </a:lnTo>
                  <a:lnTo>
                    <a:pt x="96" y="4"/>
                  </a:lnTo>
                  <a:lnTo>
                    <a:pt x="90" y="8"/>
                  </a:lnTo>
                  <a:lnTo>
                    <a:pt x="84" y="8"/>
                  </a:lnTo>
                  <a:lnTo>
                    <a:pt x="78" y="10"/>
                  </a:lnTo>
                  <a:lnTo>
                    <a:pt x="72" y="10"/>
                  </a:lnTo>
                  <a:lnTo>
                    <a:pt x="64" y="10"/>
                  </a:lnTo>
                  <a:lnTo>
                    <a:pt x="58" y="10"/>
                  </a:lnTo>
                  <a:lnTo>
                    <a:pt x="52" y="10"/>
                  </a:lnTo>
                  <a:lnTo>
                    <a:pt x="44" y="12"/>
                  </a:lnTo>
                  <a:lnTo>
                    <a:pt x="38" y="12"/>
                  </a:lnTo>
                  <a:lnTo>
                    <a:pt x="32" y="12"/>
                  </a:lnTo>
                  <a:lnTo>
                    <a:pt x="26" y="14"/>
                  </a:lnTo>
                  <a:lnTo>
                    <a:pt x="20" y="14"/>
                  </a:lnTo>
                  <a:lnTo>
                    <a:pt x="14" y="16"/>
                  </a:lnTo>
                  <a:lnTo>
                    <a:pt x="6" y="18"/>
                  </a:lnTo>
                  <a:lnTo>
                    <a:pt x="0" y="20"/>
                  </a:lnTo>
                  <a:lnTo>
                    <a:pt x="6" y="22"/>
                  </a:lnTo>
                  <a:lnTo>
                    <a:pt x="12" y="22"/>
                  </a:lnTo>
                  <a:lnTo>
                    <a:pt x="18" y="20"/>
                  </a:lnTo>
                  <a:lnTo>
                    <a:pt x="26" y="20"/>
                  </a:lnTo>
                  <a:lnTo>
                    <a:pt x="32" y="20"/>
                  </a:lnTo>
                  <a:lnTo>
                    <a:pt x="38" y="20"/>
                  </a:lnTo>
                  <a:lnTo>
                    <a:pt x="44" y="18"/>
                  </a:lnTo>
                  <a:lnTo>
                    <a:pt x="50" y="20"/>
                  </a:lnTo>
                  <a:lnTo>
                    <a:pt x="56" y="24"/>
                  </a:lnTo>
                  <a:lnTo>
                    <a:pt x="62" y="24"/>
                  </a:lnTo>
                  <a:lnTo>
                    <a:pt x="68" y="22"/>
                  </a:lnTo>
                  <a:lnTo>
                    <a:pt x="74" y="22"/>
                  </a:lnTo>
                  <a:lnTo>
                    <a:pt x="80" y="18"/>
                  </a:lnTo>
                  <a:lnTo>
                    <a:pt x="86" y="18"/>
                  </a:lnTo>
                  <a:lnTo>
                    <a:pt x="92" y="22"/>
                  </a:lnTo>
                  <a:lnTo>
                    <a:pt x="100" y="22"/>
                  </a:lnTo>
                  <a:lnTo>
                    <a:pt x="106" y="24"/>
                  </a:lnTo>
                  <a:lnTo>
                    <a:pt x="112" y="22"/>
                  </a:lnTo>
                  <a:lnTo>
                    <a:pt x="120" y="22"/>
                  </a:lnTo>
                  <a:lnTo>
                    <a:pt x="124" y="2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7" name="Freeform 305"/>
            <p:cNvSpPr>
              <a:spLocks/>
            </p:cNvSpPr>
            <p:nvPr/>
          </p:nvSpPr>
          <p:spPr bwMode="auto">
            <a:xfrm>
              <a:off x="2616200" y="2409825"/>
              <a:ext cx="136525" cy="69850"/>
            </a:xfrm>
            <a:custGeom>
              <a:avLst/>
              <a:gdLst>
                <a:gd name="T0" fmla="*/ 2147483647 w 334"/>
                <a:gd name="T1" fmla="*/ 2147483647 h 170"/>
                <a:gd name="T2" fmla="*/ 2147483647 w 334"/>
                <a:gd name="T3" fmla="*/ 2147483647 h 170"/>
                <a:gd name="T4" fmla="*/ 2147483647 w 334"/>
                <a:gd name="T5" fmla="*/ 2147483647 h 170"/>
                <a:gd name="T6" fmla="*/ 2147483647 w 334"/>
                <a:gd name="T7" fmla="*/ 2147483647 h 170"/>
                <a:gd name="T8" fmla="*/ 2147483647 w 334"/>
                <a:gd name="T9" fmla="*/ 2147483647 h 170"/>
                <a:gd name="T10" fmla="*/ 2147483647 w 334"/>
                <a:gd name="T11" fmla="*/ 2147483647 h 170"/>
                <a:gd name="T12" fmla="*/ 2147483647 w 334"/>
                <a:gd name="T13" fmla="*/ 2147483647 h 170"/>
                <a:gd name="T14" fmla="*/ 2147483647 w 334"/>
                <a:gd name="T15" fmla="*/ 2147483647 h 170"/>
                <a:gd name="T16" fmla="*/ 2147483647 w 334"/>
                <a:gd name="T17" fmla="*/ 2147483647 h 170"/>
                <a:gd name="T18" fmla="*/ 2147483647 w 334"/>
                <a:gd name="T19" fmla="*/ 2147483647 h 170"/>
                <a:gd name="T20" fmla="*/ 2147483647 w 334"/>
                <a:gd name="T21" fmla="*/ 2147483647 h 170"/>
                <a:gd name="T22" fmla="*/ 2147483647 w 334"/>
                <a:gd name="T23" fmla="*/ 2147483647 h 170"/>
                <a:gd name="T24" fmla="*/ 2147483647 w 334"/>
                <a:gd name="T25" fmla="*/ 2147483647 h 170"/>
                <a:gd name="T26" fmla="*/ 2147483647 w 334"/>
                <a:gd name="T27" fmla="*/ 2147483647 h 170"/>
                <a:gd name="T28" fmla="*/ 2147483647 w 334"/>
                <a:gd name="T29" fmla="*/ 2147483647 h 170"/>
                <a:gd name="T30" fmla="*/ 2147483647 w 334"/>
                <a:gd name="T31" fmla="*/ 2147483647 h 170"/>
                <a:gd name="T32" fmla="*/ 2147483647 w 334"/>
                <a:gd name="T33" fmla="*/ 2147483647 h 170"/>
                <a:gd name="T34" fmla="*/ 2147483647 w 334"/>
                <a:gd name="T35" fmla="*/ 2147483647 h 170"/>
                <a:gd name="T36" fmla="*/ 2147483647 w 334"/>
                <a:gd name="T37" fmla="*/ 2147483647 h 170"/>
                <a:gd name="T38" fmla="*/ 2147483647 w 334"/>
                <a:gd name="T39" fmla="*/ 2147483647 h 170"/>
                <a:gd name="T40" fmla="*/ 2147483647 w 334"/>
                <a:gd name="T41" fmla="*/ 2147483647 h 170"/>
                <a:gd name="T42" fmla="*/ 2147483647 w 334"/>
                <a:gd name="T43" fmla="*/ 2147483647 h 170"/>
                <a:gd name="T44" fmla="*/ 2147483647 w 334"/>
                <a:gd name="T45" fmla="*/ 2147483647 h 170"/>
                <a:gd name="T46" fmla="*/ 2147483647 w 334"/>
                <a:gd name="T47" fmla="*/ 2147483647 h 170"/>
                <a:gd name="T48" fmla="*/ 2147483647 w 334"/>
                <a:gd name="T49" fmla="*/ 2147483647 h 170"/>
                <a:gd name="T50" fmla="*/ 2147483647 w 334"/>
                <a:gd name="T51" fmla="*/ 2147483647 h 170"/>
                <a:gd name="T52" fmla="*/ 2147483647 w 334"/>
                <a:gd name="T53" fmla="*/ 2147483647 h 170"/>
                <a:gd name="T54" fmla="*/ 2147483647 w 334"/>
                <a:gd name="T55" fmla="*/ 2147483647 h 170"/>
                <a:gd name="T56" fmla="*/ 2147483647 w 334"/>
                <a:gd name="T57" fmla="*/ 2147483647 h 170"/>
                <a:gd name="T58" fmla="*/ 2147483647 w 334"/>
                <a:gd name="T59" fmla="*/ 2147483647 h 170"/>
                <a:gd name="T60" fmla="*/ 2147483647 w 334"/>
                <a:gd name="T61" fmla="*/ 2147483647 h 170"/>
                <a:gd name="T62" fmla="*/ 2147483647 w 334"/>
                <a:gd name="T63" fmla="*/ 2147483647 h 170"/>
                <a:gd name="T64" fmla="*/ 2147483647 w 334"/>
                <a:gd name="T65" fmla="*/ 2147483647 h 170"/>
                <a:gd name="T66" fmla="*/ 2147483647 w 334"/>
                <a:gd name="T67" fmla="*/ 2147483647 h 170"/>
                <a:gd name="T68" fmla="*/ 2147483647 w 334"/>
                <a:gd name="T69" fmla="*/ 2147483647 h 170"/>
                <a:gd name="T70" fmla="*/ 2147483647 w 334"/>
                <a:gd name="T71" fmla="*/ 2147483647 h 170"/>
                <a:gd name="T72" fmla="*/ 2147483647 w 334"/>
                <a:gd name="T73" fmla="*/ 2147483647 h 170"/>
                <a:gd name="T74" fmla="*/ 2147483647 w 334"/>
                <a:gd name="T75" fmla="*/ 2147483647 h 170"/>
                <a:gd name="T76" fmla="*/ 2147483647 w 334"/>
                <a:gd name="T77" fmla="*/ 2147483647 h 170"/>
                <a:gd name="T78" fmla="*/ 2147483647 w 334"/>
                <a:gd name="T79" fmla="*/ 0 h 170"/>
                <a:gd name="T80" fmla="*/ 2147483647 w 334"/>
                <a:gd name="T81" fmla="*/ 2147483647 h 170"/>
                <a:gd name="T82" fmla="*/ 2147483647 w 334"/>
                <a:gd name="T83" fmla="*/ 2147483647 h 170"/>
                <a:gd name="T84" fmla="*/ 2147483647 w 334"/>
                <a:gd name="T85" fmla="*/ 2147483647 h 170"/>
                <a:gd name="T86" fmla="*/ 2147483647 w 334"/>
                <a:gd name="T87" fmla="*/ 2147483647 h 170"/>
                <a:gd name="T88" fmla="*/ 2147483647 w 334"/>
                <a:gd name="T89" fmla="*/ 2147483647 h 170"/>
                <a:gd name="T90" fmla="*/ 2147483647 w 334"/>
                <a:gd name="T91" fmla="*/ 2147483647 h 170"/>
                <a:gd name="T92" fmla="*/ 2147483647 w 334"/>
                <a:gd name="T93" fmla="*/ 2147483647 h 170"/>
                <a:gd name="T94" fmla="*/ 2147483647 w 334"/>
                <a:gd name="T95" fmla="*/ 2147483647 h 170"/>
                <a:gd name="T96" fmla="*/ 2147483647 w 334"/>
                <a:gd name="T97" fmla="*/ 2147483647 h 170"/>
                <a:gd name="T98" fmla="*/ 2147483647 w 334"/>
                <a:gd name="T99" fmla="*/ 2147483647 h 170"/>
                <a:gd name="T100" fmla="*/ 2147483647 w 334"/>
                <a:gd name="T101" fmla="*/ 2147483647 h 170"/>
                <a:gd name="T102" fmla="*/ 2147483647 w 334"/>
                <a:gd name="T103" fmla="*/ 2147483647 h 170"/>
                <a:gd name="T104" fmla="*/ 2147483647 w 334"/>
                <a:gd name="T105" fmla="*/ 2147483647 h 170"/>
                <a:gd name="T106" fmla="*/ 2147483647 w 334"/>
                <a:gd name="T107" fmla="*/ 2147483647 h 170"/>
                <a:gd name="T108" fmla="*/ 2147483647 w 334"/>
                <a:gd name="T109" fmla="*/ 2147483647 h 170"/>
                <a:gd name="T110" fmla="*/ 2147483647 w 334"/>
                <a:gd name="T111" fmla="*/ 2147483647 h 1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34"/>
                <a:gd name="T169" fmla="*/ 0 h 170"/>
                <a:gd name="T170" fmla="*/ 334 w 334"/>
                <a:gd name="T171" fmla="*/ 170 h 17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34" h="170">
                  <a:moveTo>
                    <a:pt x="76" y="130"/>
                  </a:moveTo>
                  <a:lnTo>
                    <a:pt x="76" y="136"/>
                  </a:lnTo>
                  <a:lnTo>
                    <a:pt x="72" y="142"/>
                  </a:lnTo>
                  <a:lnTo>
                    <a:pt x="68" y="148"/>
                  </a:lnTo>
                  <a:lnTo>
                    <a:pt x="62" y="154"/>
                  </a:lnTo>
                  <a:lnTo>
                    <a:pt x="58" y="160"/>
                  </a:lnTo>
                  <a:lnTo>
                    <a:pt x="56" y="166"/>
                  </a:lnTo>
                  <a:lnTo>
                    <a:pt x="62" y="170"/>
                  </a:lnTo>
                  <a:lnTo>
                    <a:pt x="68" y="170"/>
                  </a:lnTo>
                  <a:lnTo>
                    <a:pt x="74" y="170"/>
                  </a:lnTo>
                  <a:lnTo>
                    <a:pt x="80" y="166"/>
                  </a:lnTo>
                  <a:lnTo>
                    <a:pt x="86" y="166"/>
                  </a:lnTo>
                  <a:lnTo>
                    <a:pt x="92" y="164"/>
                  </a:lnTo>
                  <a:lnTo>
                    <a:pt x="98" y="162"/>
                  </a:lnTo>
                  <a:lnTo>
                    <a:pt x="104" y="158"/>
                  </a:lnTo>
                  <a:lnTo>
                    <a:pt x="110" y="158"/>
                  </a:lnTo>
                  <a:lnTo>
                    <a:pt x="116" y="154"/>
                  </a:lnTo>
                  <a:lnTo>
                    <a:pt x="122" y="148"/>
                  </a:lnTo>
                  <a:lnTo>
                    <a:pt x="128" y="144"/>
                  </a:lnTo>
                  <a:lnTo>
                    <a:pt x="134" y="140"/>
                  </a:lnTo>
                  <a:lnTo>
                    <a:pt x="140" y="138"/>
                  </a:lnTo>
                  <a:lnTo>
                    <a:pt x="146" y="140"/>
                  </a:lnTo>
                  <a:lnTo>
                    <a:pt x="152" y="136"/>
                  </a:lnTo>
                  <a:lnTo>
                    <a:pt x="158" y="134"/>
                  </a:lnTo>
                  <a:lnTo>
                    <a:pt x="164" y="132"/>
                  </a:lnTo>
                  <a:lnTo>
                    <a:pt x="170" y="128"/>
                  </a:lnTo>
                  <a:lnTo>
                    <a:pt x="176" y="128"/>
                  </a:lnTo>
                  <a:lnTo>
                    <a:pt x="180" y="124"/>
                  </a:lnTo>
                  <a:lnTo>
                    <a:pt x="182" y="116"/>
                  </a:lnTo>
                  <a:lnTo>
                    <a:pt x="188" y="112"/>
                  </a:lnTo>
                  <a:lnTo>
                    <a:pt x="194" y="108"/>
                  </a:lnTo>
                  <a:lnTo>
                    <a:pt x="202" y="110"/>
                  </a:lnTo>
                  <a:lnTo>
                    <a:pt x="208" y="106"/>
                  </a:lnTo>
                  <a:lnTo>
                    <a:pt x="214" y="106"/>
                  </a:lnTo>
                  <a:lnTo>
                    <a:pt x="218" y="104"/>
                  </a:lnTo>
                  <a:lnTo>
                    <a:pt x="218" y="110"/>
                  </a:lnTo>
                  <a:lnTo>
                    <a:pt x="212" y="114"/>
                  </a:lnTo>
                  <a:lnTo>
                    <a:pt x="218" y="116"/>
                  </a:lnTo>
                  <a:lnTo>
                    <a:pt x="224" y="118"/>
                  </a:lnTo>
                  <a:lnTo>
                    <a:pt x="230" y="118"/>
                  </a:lnTo>
                  <a:lnTo>
                    <a:pt x="236" y="120"/>
                  </a:lnTo>
                  <a:lnTo>
                    <a:pt x="238" y="124"/>
                  </a:lnTo>
                  <a:lnTo>
                    <a:pt x="232" y="128"/>
                  </a:lnTo>
                  <a:lnTo>
                    <a:pt x="226" y="130"/>
                  </a:lnTo>
                  <a:lnTo>
                    <a:pt x="226" y="136"/>
                  </a:lnTo>
                  <a:lnTo>
                    <a:pt x="232" y="136"/>
                  </a:lnTo>
                  <a:lnTo>
                    <a:pt x="238" y="136"/>
                  </a:lnTo>
                  <a:lnTo>
                    <a:pt x="244" y="134"/>
                  </a:lnTo>
                  <a:lnTo>
                    <a:pt x="248" y="136"/>
                  </a:lnTo>
                  <a:lnTo>
                    <a:pt x="256" y="138"/>
                  </a:lnTo>
                  <a:lnTo>
                    <a:pt x="260" y="142"/>
                  </a:lnTo>
                  <a:lnTo>
                    <a:pt x="266" y="142"/>
                  </a:lnTo>
                  <a:lnTo>
                    <a:pt x="274" y="146"/>
                  </a:lnTo>
                  <a:lnTo>
                    <a:pt x="278" y="148"/>
                  </a:lnTo>
                  <a:lnTo>
                    <a:pt x="286" y="150"/>
                  </a:lnTo>
                  <a:lnTo>
                    <a:pt x="292" y="144"/>
                  </a:lnTo>
                  <a:lnTo>
                    <a:pt x="298" y="144"/>
                  </a:lnTo>
                  <a:lnTo>
                    <a:pt x="304" y="140"/>
                  </a:lnTo>
                  <a:lnTo>
                    <a:pt x="310" y="138"/>
                  </a:lnTo>
                  <a:lnTo>
                    <a:pt x="316" y="136"/>
                  </a:lnTo>
                  <a:lnTo>
                    <a:pt x="322" y="132"/>
                  </a:lnTo>
                  <a:lnTo>
                    <a:pt x="328" y="132"/>
                  </a:lnTo>
                  <a:lnTo>
                    <a:pt x="334" y="132"/>
                  </a:lnTo>
                  <a:lnTo>
                    <a:pt x="332" y="126"/>
                  </a:lnTo>
                  <a:lnTo>
                    <a:pt x="326" y="124"/>
                  </a:lnTo>
                  <a:lnTo>
                    <a:pt x="320" y="122"/>
                  </a:lnTo>
                  <a:lnTo>
                    <a:pt x="326" y="122"/>
                  </a:lnTo>
                  <a:lnTo>
                    <a:pt x="328" y="116"/>
                  </a:lnTo>
                  <a:lnTo>
                    <a:pt x="324" y="114"/>
                  </a:lnTo>
                  <a:lnTo>
                    <a:pt x="320" y="110"/>
                  </a:lnTo>
                  <a:lnTo>
                    <a:pt x="314" y="110"/>
                  </a:lnTo>
                  <a:lnTo>
                    <a:pt x="308" y="114"/>
                  </a:lnTo>
                  <a:lnTo>
                    <a:pt x="302" y="112"/>
                  </a:lnTo>
                  <a:lnTo>
                    <a:pt x="296" y="110"/>
                  </a:lnTo>
                  <a:lnTo>
                    <a:pt x="290" y="114"/>
                  </a:lnTo>
                  <a:lnTo>
                    <a:pt x="284" y="114"/>
                  </a:lnTo>
                  <a:lnTo>
                    <a:pt x="278" y="114"/>
                  </a:lnTo>
                  <a:lnTo>
                    <a:pt x="272" y="116"/>
                  </a:lnTo>
                  <a:lnTo>
                    <a:pt x="266" y="116"/>
                  </a:lnTo>
                  <a:lnTo>
                    <a:pt x="270" y="110"/>
                  </a:lnTo>
                  <a:lnTo>
                    <a:pt x="278" y="110"/>
                  </a:lnTo>
                  <a:lnTo>
                    <a:pt x="284" y="108"/>
                  </a:lnTo>
                  <a:lnTo>
                    <a:pt x="290" y="104"/>
                  </a:lnTo>
                  <a:lnTo>
                    <a:pt x="286" y="98"/>
                  </a:lnTo>
                  <a:lnTo>
                    <a:pt x="290" y="92"/>
                  </a:lnTo>
                  <a:lnTo>
                    <a:pt x="294" y="86"/>
                  </a:lnTo>
                  <a:lnTo>
                    <a:pt x="292" y="80"/>
                  </a:lnTo>
                  <a:lnTo>
                    <a:pt x="288" y="74"/>
                  </a:lnTo>
                  <a:lnTo>
                    <a:pt x="282" y="74"/>
                  </a:lnTo>
                  <a:lnTo>
                    <a:pt x="276" y="68"/>
                  </a:lnTo>
                  <a:lnTo>
                    <a:pt x="270" y="70"/>
                  </a:lnTo>
                  <a:lnTo>
                    <a:pt x="264" y="68"/>
                  </a:lnTo>
                  <a:lnTo>
                    <a:pt x="260" y="62"/>
                  </a:lnTo>
                  <a:lnTo>
                    <a:pt x="256" y="60"/>
                  </a:lnTo>
                  <a:lnTo>
                    <a:pt x="248" y="58"/>
                  </a:lnTo>
                  <a:lnTo>
                    <a:pt x="246" y="52"/>
                  </a:lnTo>
                  <a:lnTo>
                    <a:pt x="248" y="46"/>
                  </a:lnTo>
                  <a:lnTo>
                    <a:pt x="242" y="44"/>
                  </a:lnTo>
                  <a:lnTo>
                    <a:pt x="236" y="44"/>
                  </a:lnTo>
                  <a:lnTo>
                    <a:pt x="230" y="44"/>
                  </a:lnTo>
                  <a:lnTo>
                    <a:pt x="224" y="42"/>
                  </a:lnTo>
                  <a:lnTo>
                    <a:pt x="218" y="42"/>
                  </a:lnTo>
                  <a:lnTo>
                    <a:pt x="220" y="36"/>
                  </a:lnTo>
                  <a:lnTo>
                    <a:pt x="214" y="30"/>
                  </a:lnTo>
                  <a:lnTo>
                    <a:pt x="208" y="26"/>
                  </a:lnTo>
                  <a:lnTo>
                    <a:pt x="202" y="30"/>
                  </a:lnTo>
                  <a:lnTo>
                    <a:pt x="196" y="34"/>
                  </a:lnTo>
                  <a:lnTo>
                    <a:pt x="188" y="38"/>
                  </a:lnTo>
                  <a:lnTo>
                    <a:pt x="184" y="42"/>
                  </a:lnTo>
                  <a:lnTo>
                    <a:pt x="182" y="36"/>
                  </a:lnTo>
                  <a:lnTo>
                    <a:pt x="186" y="30"/>
                  </a:lnTo>
                  <a:lnTo>
                    <a:pt x="180" y="24"/>
                  </a:lnTo>
                  <a:lnTo>
                    <a:pt x="186" y="20"/>
                  </a:lnTo>
                  <a:lnTo>
                    <a:pt x="192" y="18"/>
                  </a:lnTo>
                  <a:lnTo>
                    <a:pt x="192" y="12"/>
                  </a:lnTo>
                  <a:lnTo>
                    <a:pt x="196" y="6"/>
                  </a:lnTo>
                  <a:lnTo>
                    <a:pt x="190" y="4"/>
                  </a:lnTo>
                  <a:lnTo>
                    <a:pt x="184" y="6"/>
                  </a:lnTo>
                  <a:lnTo>
                    <a:pt x="186" y="0"/>
                  </a:lnTo>
                  <a:lnTo>
                    <a:pt x="180" y="0"/>
                  </a:lnTo>
                  <a:lnTo>
                    <a:pt x="174" y="0"/>
                  </a:lnTo>
                  <a:lnTo>
                    <a:pt x="168" y="4"/>
                  </a:lnTo>
                  <a:lnTo>
                    <a:pt x="162" y="6"/>
                  </a:lnTo>
                  <a:lnTo>
                    <a:pt x="156" y="10"/>
                  </a:lnTo>
                  <a:lnTo>
                    <a:pt x="150" y="14"/>
                  </a:lnTo>
                  <a:lnTo>
                    <a:pt x="144" y="20"/>
                  </a:lnTo>
                  <a:lnTo>
                    <a:pt x="138" y="26"/>
                  </a:lnTo>
                  <a:lnTo>
                    <a:pt x="132" y="30"/>
                  </a:lnTo>
                  <a:lnTo>
                    <a:pt x="128" y="36"/>
                  </a:lnTo>
                  <a:lnTo>
                    <a:pt x="124" y="42"/>
                  </a:lnTo>
                  <a:lnTo>
                    <a:pt x="120" y="48"/>
                  </a:lnTo>
                  <a:lnTo>
                    <a:pt x="114" y="52"/>
                  </a:lnTo>
                  <a:lnTo>
                    <a:pt x="110" y="58"/>
                  </a:lnTo>
                  <a:lnTo>
                    <a:pt x="104" y="64"/>
                  </a:lnTo>
                  <a:lnTo>
                    <a:pt x="100" y="68"/>
                  </a:lnTo>
                  <a:lnTo>
                    <a:pt x="92" y="72"/>
                  </a:lnTo>
                  <a:lnTo>
                    <a:pt x="88" y="76"/>
                  </a:lnTo>
                  <a:lnTo>
                    <a:pt x="82" y="82"/>
                  </a:lnTo>
                  <a:lnTo>
                    <a:pt x="76" y="88"/>
                  </a:lnTo>
                  <a:lnTo>
                    <a:pt x="72" y="94"/>
                  </a:lnTo>
                  <a:lnTo>
                    <a:pt x="72" y="100"/>
                  </a:lnTo>
                  <a:lnTo>
                    <a:pt x="72" y="106"/>
                  </a:lnTo>
                  <a:lnTo>
                    <a:pt x="66" y="110"/>
                  </a:lnTo>
                  <a:lnTo>
                    <a:pt x="60" y="112"/>
                  </a:lnTo>
                  <a:lnTo>
                    <a:pt x="54" y="114"/>
                  </a:lnTo>
                  <a:lnTo>
                    <a:pt x="48" y="114"/>
                  </a:lnTo>
                  <a:lnTo>
                    <a:pt x="42" y="116"/>
                  </a:lnTo>
                  <a:lnTo>
                    <a:pt x="36" y="118"/>
                  </a:lnTo>
                  <a:lnTo>
                    <a:pt x="30" y="120"/>
                  </a:lnTo>
                  <a:lnTo>
                    <a:pt x="24" y="122"/>
                  </a:lnTo>
                  <a:lnTo>
                    <a:pt x="18" y="126"/>
                  </a:lnTo>
                  <a:lnTo>
                    <a:pt x="12" y="130"/>
                  </a:lnTo>
                  <a:lnTo>
                    <a:pt x="6" y="132"/>
                  </a:lnTo>
                  <a:lnTo>
                    <a:pt x="0" y="138"/>
                  </a:lnTo>
                  <a:lnTo>
                    <a:pt x="6" y="144"/>
                  </a:lnTo>
                  <a:lnTo>
                    <a:pt x="12" y="144"/>
                  </a:lnTo>
                  <a:lnTo>
                    <a:pt x="18" y="142"/>
                  </a:lnTo>
                  <a:lnTo>
                    <a:pt x="24" y="138"/>
                  </a:lnTo>
                  <a:lnTo>
                    <a:pt x="30" y="136"/>
                  </a:lnTo>
                  <a:lnTo>
                    <a:pt x="36" y="136"/>
                  </a:lnTo>
                  <a:lnTo>
                    <a:pt x="42" y="138"/>
                  </a:lnTo>
                  <a:lnTo>
                    <a:pt x="48" y="138"/>
                  </a:lnTo>
                  <a:lnTo>
                    <a:pt x="54" y="136"/>
                  </a:lnTo>
                  <a:lnTo>
                    <a:pt x="60" y="134"/>
                  </a:lnTo>
                  <a:lnTo>
                    <a:pt x="66" y="134"/>
                  </a:lnTo>
                  <a:lnTo>
                    <a:pt x="72" y="132"/>
                  </a:lnTo>
                  <a:lnTo>
                    <a:pt x="76" y="13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8" name="Freeform 306"/>
            <p:cNvSpPr>
              <a:spLocks/>
            </p:cNvSpPr>
            <p:nvPr/>
          </p:nvSpPr>
          <p:spPr bwMode="auto">
            <a:xfrm>
              <a:off x="2636838" y="2179638"/>
              <a:ext cx="12700" cy="1587"/>
            </a:xfrm>
            <a:custGeom>
              <a:avLst/>
              <a:gdLst>
                <a:gd name="T0" fmla="*/ 2147483647 w 32"/>
                <a:gd name="T1" fmla="*/ 2147483647 h 4"/>
                <a:gd name="T2" fmla="*/ 2147483647 w 32"/>
                <a:gd name="T3" fmla="*/ 0 h 4"/>
                <a:gd name="T4" fmla="*/ 2147483647 w 32"/>
                <a:gd name="T5" fmla="*/ 2147483647 h 4"/>
                <a:gd name="T6" fmla="*/ 2147483647 w 32"/>
                <a:gd name="T7" fmla="*/ 2147483647 h 4"/>
                <a:gd name="T8" fmla="*/ 2147483647 w 32"/>
                <a:gd name="T9" fmla="*/ 2147483647 h 4"/>
                <a:gd name="T10" fmla="*/ 2147483647 w 32"/>
                <a:gd name="T11" fmla="*/ 2147483647 h 4"/>
                <a:gd name="T12" fmla="*/ 0 w 32"/>
                <a:gd name="T13" fmla="*/ 2147483647 h 4"/>
                <a:gd name="T14" fmla="*/ 2147483647 w 32"/>
                <a:gd name="T15" fmla="*/ 2147483647 h 4"/>
                <a:gd name="T16" fmla="*/ 2147483647 w 32"/>
                <a:gd name="T17" fmla="*/ 2147483647 h 4"/>
                <a:gd name="T18" fmla="*/ 2147483647 w 32"/>
                <a:gd name="T19" fmla="*/ 2147483647 h 4"/>
                <a:gd name="T20" fmla="*/ 2147483647 w 32"/>
                <a:gd name="T21" fmla="*/ 2147483647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4"/>
                <a:gd name="T35" fmla="*/ 32 w 32"/>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4">
                  <a:moveTo>
                    <a:pt x="24" y="4"/>
                  </a:moveTo>
                  <a:lnTo>
                    <a:pt x="32" y="0"/>
                  </a:lnTo>
                  <a:lnTo>
                    <a:pt x="24" y="2"/>
                  </a:lnTo>
                  <a:lnTo>
                    <a:pt x="18" y="2"/>
                  </a:lnTo>
                  <a:lnTo>
                    <a:pt x="12" y="2"/>
                  </a:lnTo>
                  <a:lnTo>
                    <a:pt x="6" y="2"/>
                  </a:lnTo>
                  <a:lnTo>
                    <a:pt x="0" y="4"/>
                  </a:lnTo>
                  <a:lnTo>
                    <a:pt x="6" y="4"/>
                  </a:lnTo>
                  <a:lnTo>
                    <a:pt x="12" y="4"/>
                  </a:lnTo>
                  <a:lnTo>
                    <a:pt x="18" y="2"/>
                  </a:lnTo>
                  <a:lnTo>
                    <a:pt x="24"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89" name="Freeform 307"/>
            <p:cNvSpPr>
              <a:spLocks/>
            </p:cNvSpPr>
            <p:nvPr/>
          </p:nvSpPr>
          <p:spPr bwMode="auto">
            <a:xfrm>
              <a:off x="2654300" y="2101850"/>
              <a:ext cx="88900" cy="31750"/>
            </a:xfrm>
            <a:custGeom>
              <a:avLst/>
              <a:gdLst>
                <a:gd name="T0" fmla="*/ 2147483647 w 218"/>
                <a:gd name="T1" fmla="*/ 2147483647 h 80"/>
                <a:gd name="T2" fmla="*/ 2147483647 w 218"/>
                <a:gd name="T3" fmla="*/ 2147483647 h 80"/>
                <a:gd name="T4" fmla="*/ 2147483647 w 218"/>
                <a:gd name="T5" fmla="*/ 2147483647 h 80"/>
                <a:gd name="T6" fmla="*/ 2147483647 w 218"/>
                <a:gd name="T7" fmla="*/ 2147483647 h 80"/>
                <a:gd name="T8" fmla="*/ 2147483647 w 218"/>
                <a:gd name="T9" fmla="*/ 2147483647 h 80"/>
                <a:gd name="T10" fmla="*/ 2147483647 w 218"/>
                <a:gd name="T11" fmla="*/ 2147483647 h 80"/>
                <a:gd name="T12" fmla="*/ 2147483647 w 218"/>
                <a:gd name="T13" fmla="*/ 2147483647 h 80"/>
                <a:gd name="T14" fmla="*/ 2147483647 w 218"/>
                <a:gd name="T15" fmla="*/ 2147483647 h 80"/>
                <a:gd name="T16" fmla="*/ 2147483647 w 218"/>
                <a:gd name="T17" fmla="*/ 2147483647 h 80"/>
                <a:gd name="T18" fmla="*/ 2147483647 w 218"/>
                <a:gd name="T19" fmla="*/ 2147483647 h 80"/>
                <a:gd name="T20" fmla="*/ 2147483647 w 218"/>
                <a:gd name="T21" fmla="*/ 2147483647 h 80"/>
                <a:gd name="T22" fmla="*/ 2147483647 w 218"/>
                <a:gd name="T23" fmla="*/ 2147483647 h 80"/>
                <a:gd name="T24" fmla="*/ 2147483647 w 218"/>
                <a:gd name="T25" fmla="*/ 2147483647 h 80"/>
                <a:gd name="T26" fmla="*/ 2147483647 w 218"/>
                <a:gd name="T27" fmla="*/ 2147483647 h 80"/>
                <a:gd name="T28" fmla="*/ 2147483647 w 218"/>
                <a:gd name="T29" fmla="*/ 2147483647 h 80"/>
                <a:gd name="T30" fmla="*/ 2147483647 w 218"/>
                <a:gd name="T31" fmla="*/ 2147483647 h 80"/>
                <a:gd name="T32" fmla="*/ 2147483647 w 218"/>
                <a:gd name="T33" fmla="*/ 2147483647 h 80"/>
                <a:gd name="T34" fmla="*/ 2147483647 w 218"/>
                <a:gd name="T35" fmla="*/ 2147483647 h 80"/>
                <a:gd name="T36" fmla="*/ 2147483647 w 218"/>
                <a:gd name="T37" fmla="*/ 2147483647 h 80"/>
                <a:gd name="T38" fmla="*/ 2147483647 w 218"/>
                <a:gd name="T39" fmla="*/ 2147483647 h 80"/>
                <a:gd name="T40" fmla="*/ 2147483647 w 218"/>
                <a:gd name="T41" fmla="*/ 2147483647 h 80"/>
                <a:gd name="T42" fmla="*/ 2147483647 w 218"/>
                <a:gd name="T43" fmla="*/ 2147483647 h 80"/>
                <a:gd name="T44" fmla="*/ 2147483647 w 218"/>
                <a:gd name="T45" fmla="*/ 2147483647 h 80"/>
                <a:gd name="T46" fmla="*/ 2147483647 w 218"/>
                <a:gd name="T47" fmla="*/ 2147483647 h 80"/>
                <a:gd name="T48" fmla="*/ 2147483647 w 218"/>
                <a:gd name="T49" fmla="*/ 2147483647 h 80"/>
                <a:gd name="T50" fmla="*/ 2147483647 w 218"/>
                <a:gd name="T51" fmla="*/ 2147483647 h 80"/>
                <a:gd name="T52" fmla="*/ 2147483647 w 218"/>
                <a:gd name="T53" fmla="*/ 2147483647 h 80"/>
                <a:gd name="T54" fmla="*/ 2147483647 w 218"/>
                <a:gd name="T55" fmla="*/ 2147483647 h 80"/>
                <a:gd name="T56" fmla="*/ 2147483647 w 218"/>
                <a:gd name="T57" fmla="*/ 2147483647 h 80"/>
                <a:gd name="T58" fmla="*/ 2147483647 w 218"/>
                <a:gd name="T59" fmla="*/ 2147483647 h 80"/>
                <a:gd name="T60" fmla="*/ 2147483647 w 218"/>
                <a:gd name="T61" fmla="*/ 2147483647 h 80"/>
                <a:gd name="T62" fmla="*/ 2147483647 w 218"/>
                <a:gd name="T63" fmla="*/ 2147483647 h 80"/>
                <a:gd name="T64" fmla="*/ 2147483647 w 218"/>
                <a:gd name="T65" fmla="*/ 2147483647 h 80"/>
                <a:gd name="T66" fmla="*/ 2147483647 w 218"/>
                <a:gd name="T67" fmla="*/ 2147483647 h 80"/>
                <a:gd name="T68" fmla="*/ 2147483647 w 218"/>
                <a:gd name="T69" fmla="*/ 2147483647 h 80"/>
                <a:gd name="T70" fmla="*/ 2147483647 w 218"/>
                <a:gd name="T71" fmla="*/ 2147483647 h 80"/>
                <a:gd name="T72" fmla="*/ 2147483647 w 218"/>
                <a:gd name="T73" fmla="*/ 2147483647 h 80"/>
                <a:gd name="T74" fmla="*/ 2147483647 w 218"/>
                <a:gd name="T75" fmla="*/ 2147483647 h 80"/>
                <a:gd name="T76" fmla="*/ 2147483647 w 218"/>
                <a:gd name="T77" fmla="*/ 2147483647 h 80"/>
                <a:gd name="T78" fmla="*/ 2147483647 w 218"/>
                <a:gd name="T79" fmla="*/ 2147483647 h 80"/>
                <a:gd name="T80" fmla="*/ 2147483647 w 218"/>
                <a:gd name="T81" fmla="*/ 2147483647 h 80"/>
                <a:gd name="T82" fmla="*/ 2147483647 w 218"/>
                <a:gd name="T83" fmla="*/ 2147483647 h 80"/>
                <a:gd name="T84" fmla="*/ 2147483647 w 218"/>
                <a:gd name="T85" fmla="*/ 2147483647 h 80"/>
                <a:gd name="T86" fmla="*/ 2147483647 w 218"/>
                <a:gd name="T87" fmla="*/ 2147483647 h 80"/>
                <a:gd name="T88" fmla="*/ 2147483647 w 218"/>
                <a:gd name="T89" fmla="*/ 2147483647 h 80"/>
                <a:gd name="T90" fmla="*/ 0 w 218"/>
                <a:gd name="T91" fmla="*/ 2147483647 h 8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8"/>
                <a:gd name="T139" fmla="*/ 0 h 80"/>
                <a:gd name="T140" fmla="*/ 218 w 218"/>
                <a:gd name="T141" fmla="*/ 80 h 8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8" h="80">
                  <a:moveTo>
                    <a:pt x="0" y="44"/>
                  </a:moveTo>
                  <a:lnTo>
                    <a:pt x="0" y="50"/>
                  </a:lnTo>
                  <a:lnTo>
                    <a:pt x="6" y="56"/>
                  </a:lnTo>
                  <a:lnTo>
                    <a:pt x="12" y="56"/>
                  </a:lnTo>
                  <a:lnTo>
                    <a:pt x="18" y="58"/>
                  </a:lnTo>
                  <a:lnTo>
                    <a:pt x="20" y="58"/>
                  </a:lnTo>
                  <a:lnTo>
                    <a:pt x="26" y="58"/>
                  </a:lnTo>
                  <a:lnTo>
                    <a:pt x="32" y="54"/>
                  </a:lnTo>
                  <a:lnTo>
                    <a:pt x="40" y="54"/>
                  </a:lnTo>
                  <a:lnTo>
                    <a:pt x="46" y="54"/>
                  </a:lnTo>
                  <a:lnTo>
                    <a:pt x="52" y="52"/>
                  </a:lnTo>
                  <a:lnTo>
                    <a:pt x="58" y="52"/>
                  </a:lnTo>
                  <a:lnTo>
                    <a:pt x="66" y="50"/>
                  </a:lnTo>
                  <a:lnTo>
                    <a:pt x="72" y="50"/>
                  </a:lnTo>
                  <a:lnTo>
                    <a:pt x="78" y="50"/>
                  </a:lnTo>
                  <a:lnTo>
                    <a:pt x="84" y="50"/>
                  </a:lnTo>
                  <a:lnTo>
                    <a:pt x="78" y="54"/>
                  </a:lnTo>
                  <a:lnTo>
                    <a:pt x="84" y="56"/>
                  </a:lnTo>
                  <a:lnTo>
                    <a:pt x="90" y="56"/>
                  </a:lnTo>
                  <a:lnTo>
                    <a:pt x="96" y="56"/>
                  </a:lnTo>
                  <a:lnTo>
                    <a:pt x="102" y="56"/>
                  </a:lnTo>
                  <a:lnTo>
                    <a:pt x="108" y="56"/>
                  </a:lnTo>
                  <a:lnTo>
                    <a:pt x="114" y="56"/>
                  </a:lnTo>
                  <a:lnTo>
                    <a:pt x="120" y="58"/>
                  </a:lnTo>
                  <a:lnTo>
                    <a:pt x="128" y="60"/>
                  </a:lnTo>
                  <a:lnTo>
                    <a:pt x="134" y="60"/>
                  </a:lnTo>
                  <a:lnTo>
                    <a:pt x="138" y="66"/>
                  </a:lnTo>
                  <a:lnTo>
                    <a:pt x="132" y="68"/>
                  </a:lnTo>
                  <a:lnTo>
                    <a:pt x="130" y="74"/>
                  </a:lnTo>
                  <a:lnTo>
                    <a:pt x="138" y="78"/>
                  </a:lnTo>
                  <a:lnTo>
                    <a:pt x="144" y="78"/>
                  </a:lnTo>
                  <a:lnTo>
                    <a:pt x="148" y="80"/>
                  </a:lnTo>
                  <a:lnTo>
                    <a:pt x="154" y="80"/>
                  </a:lnTo>
                  <a:lnTo>
                    <a:pt x="160" y="80"/>
                  </a:lnTo>
                  <a:lnTo>
                    <a:pt x="166" y="80"/>
                  </a:lnTo>
                  <a:lnTo>
                    <a:pt x="174" y="78"/>
                  </a:lnTo>
                  <a:lnTo>
                    <a:pt x="180" y="78"/>
                  </a:lnTo>
                  <a:lnTo>
                    <a:pt x="186" y="76"/>
                  </a:lnTo>
                  <a:lnTo>
                    <a:pt x="192" y="76"/>
                  </a:lnTo>
                  <a:lnTo>
                    <a:pt x="200" y="70"/>
                  </a:lnTo>
                  <a:lnTo>
                    <a:pt x="206" y="68"/>
                  </a:lnTo>
                  <a:lnTo>
                    <a:pt x="204" y="62"/>
                  </a:lnTo>
                  <a:lnTo>
                    <a:pt x="200" y="56"/>
                  </a:lnTo>
                  <a:lnTo>
                    <a:pt x="194" y="54"/>
                  </a:lnTo>
                  <a:lnTo>
                    <a:pt x="200" y="48"/>
                  </a:lnTo>
                  <a:lnTo>
                    <a:pt x="208" y="46"/>
                  </a:lnTo>
                  <a:lnTo>
                    <a:pt x="214" y="44"/>
                  </a:lnTo>
                  <a:lnTo>
                    <a:pt x="218" y="42"/>
                  </a:lnTo>
                  <a:lnTo>
                    <a:pt x="212" y="38"/>
                  </a:lnTo>
                  <a:lnTo>
                    <a:pt x="206" y="38"/>
                  </a:lnTo>
                  <a:lnTo>
                    <a:pt x="210" y="36"/>
                  </a:lnTo>
                  <a:lnTo>
                    <a:pt x="214" y="34"/>
                  </a:lnTo>
                  <a:lnTo>
                    <a:pt x="214" y="32"/>
                  </a:lnTo>
                  <a:lnTo>
                    <a:pt x="210" y="32"/>
                  </a:lnTo>
                  <a:lnTo>
                    <a:pt x="202" y="28"/>
                  </a:lnTo>
                  <a:lnTo>
                    <a:pt x="196" y="30"/>
                  </a:lnTo>
                  <a:lnTo>
                    <a:pt x="190" y="30"/>
                  </a:lnTo>
                  <a:lnTo>
                    <a:pt x="184" y="30"/>
                  </a:lnTo>
                  <a:lnTo>
                    <a:pt x="178" y="28"/>
                  </a:lnTo>
                  <a:lnTo>
                    <a:pt x="184" y="24"/>
                  </a:lnTo>
                  <a:lnTo>
                    <a:pt x="190" y="24"/>
                  </a:lnTo>
                  <a:lnTo>
                    <a:pt x="184" y="22"/>
                  </a:lnTo>
                  <a:lnTo>
                    <a:pt x="178" y="16"/>
                  </a:lnTo>
                  <a:lnTo>
                    <a:pt x="172" y="16"/>
                  </a:lnTo>
                  <a:lnTo>
                    <a:pt x="166" y="16"/>
                  </a:lnTo>
                  <a:lnTo>
                    <a:pt x="160" y="16"/>
                  </a:lnTo>
                  <a:lnTo>
                    <a:pt x="154" y="18"/>
                  </a:lnTo>
                  <a:lnTo>
                    <a:pt x="148" y="18"/>
                  </a:lnTo>
                  <a:lnTo>
                    <a:pt x="142" y="18"/>
                  </a:lnTo>
                  <a:lnTo>
                    <a:pt x="138" y="22"/>
                  </a:lnTo>
                  <a:lnTo>
                    <a:pt x="130" y="24"/>
                  </a:lnTo>
                  <a:lnTo>
                    <a:pt x="124" y="26"/>
                  </a:lnTo>
                  <a:lnTo>
                    <a:pt x="130" y="20"/>
                  </a:lnTo>
                  <a:lnTo>
                    <a:pt x="136" y="16"/>
                  </a:lnTo>
                  <a:lnTo>
                    <a:pt x="134" y="10"/>
                  </a:lnTo>
                  <a:lnTo>
                    <a:pt x="134" y="4"/>
                  </a:lnTo>
                  <a:lnTo>
                    <a:pt x="126" y="4"/>
                  </a:lnTo>
                  <a:lnTo>
                    <a:pt x="120" y="4"/>
                  </a:lnTo>
                  <a:lnTo>
                    <a:pt x="114" y="2"/>
                  </a:lnTo>
                  <a:lnTo>
                    <a:pt x="108" y="0"/>
                  </a:lnTo>
                  <a:lnTo>
                    <a:pt x="102" y="2"/>
                  </a:lnTo>
                  <a:lnTo>
                    <a:pt x="96" y="2"/>
                  </a:lnTo>
                  <a:lnTo>
                    <a:pt x="88" y="2"/>
                  </a:lnTo>
                  <a:lnTo>
                    <a:pt x="82" y="4"/>
                  </a:lnTo>
                  <a:lnTo>
                    <a:pt x="76" y="4"/>
                  </a:lnTo>
                  <a:lnTo>
                    <a:pt x="70" y="4"/>
                  </a:lnTo>
                  <a:lnTo>
                    <a:pt x="62" y="4"/>
                  </a:lnTo>
                  <a:lnTo>
                    <a:pt x="56" y="4"/>
                  </a:lnTo>
                  <a:lnTo>
                    <a:pt x="50" y="4"/>
                  </a:lnTo>
                  <a:lnTo>
                    <a:pt x="44" y="6"/>
                  </a:lnTo>
                  <a:lnTo>
                    <a:pt x="38" y="8"/>
                  </a:lnTo>
                  <a:lnTo>
                    <a:pt x="32" y="10"/>
                  </a:lnTo>
                  <a:lnTo>
                    <a:pt x="26" y="14"/>
                  </a:lnTo>
                  <a:lnTo>
                    <a:pt x="32" y="18"/>
                  </a:lnTo>
                  <a:lnTo>
                    <a:pt x="38" y="18"/>
                  </a:lnTo>
                  <a:lnTo>
                    <a:pt x="44" y="16"/>
                  </a:lnTo>
                  <a:lnTo>
                    <a:pt x="50" y="18"/>
                  </a:lnTo>
                  <a:lnTo>
                    <a:pt x="44" y="22"/>
                  </a:lnTo>
                  <a:lnTo>
                    <a:pt x="38" y="24"/>
                  </a:lnTo>
                  <a:lnTo>
                    <a:pt x="32" y="26"/>
                  </a:lnTo>
                  <a:lnTo>
                    <a:pt x="26" y="28"/>
                  </a:lnTo>
                  <a:lnTo>
                    <a:pt x="32" y="28"/>
                  </a:lnTo>
                  <a:lnTo>
                    <a:pt x="38" y="28"/>
                  </a:lnTo>
                  <a:lnTo>
                    <a:pt x="44" y="26"/>
                  </a:lnTo>
                  <a:lnTo>
                    <a:pt x="50" y="24"/>
                  </a:lnTo>
                  <a:lnTo>
                    <a:pt x="56" y="22"/>
                  </a:lnTo>
                  <a:lnTo>
                    <a:pt x="62" y="20"/>
                  </a:lnTo>
                  <a:lnTo>
                    <a:pt x="68" y="20"/>
                  </a:lnTo>
                  <a:lnTo>
                    <a:pt x="74" y="20"/>
                  </a:lnTo>
                  <a:lnTo>
                    <a:pt x="70" y="26"/>
                  </a:lnTo>
                  <a:lnTo>
                    <a:pt x="62" y="28"/>
                  </a:lnTo>
                  <a:lnTo>
                    <a:pt x="56" y="28"/>
                  </a:lnTo>
                  <a:lnTo>
                    <a:pt x="58" y="32"/>
                  </a:lnTo>
                  <a:lnTo>
                    <a:pt x="64" y="30"/>
                  </a:lnTo>
                  <a:lnTo>
                    <a:pt x="70" y="28"/>
                  </a:lnTo>
                  <a:lnTo>
                    <a:pt x="78" y="30"/>
                  </a:lnTo>
                  <a:lnTo>
                    <a:pt x="84" y="30"/>
                  </a:lnTo>
                  <a:lnTo>
                    <a:pt x="78" y="34"/>
                  </a:lnTo>
                  <a:lnTo>
                    <a:pt x="70" y="36"/>
                  </a:lnTo>
                  <a:lnTo>
                    <a:pt x="64" y="36"/>
                  </a:lnTo>
                  <a:lnTo>
                    <a:pt x="58" y="36"/>
                  </a:lnTo>
                  <a:lnTo>
                    <a:pt x="52" y="36"/>
                  </a:lnTo>
                  <a:lnTo>
                    <a:pt x="60" y="38"/>
                  </a:lnTo>
                  <a:lnTo>
                    <a:pt x="66" y="38"/>
                  </a:lnTo>
                  <a:lnTo>
                    <a:pt x="72" y="38"/>
                  </a:lnTo>
                  <a:lnTo>
                    <a:pt x="66" y="42"/>
                  </a:lnTo>
                  <a:lnTo>
                    <a:pt x="60" y="44"/>
                  </a:lnTo>
                  <a:lnTo>
                    <a:pt x="52" y="44"/>
                  </a:lnTo>
                  <a:lnTo>
                    <a:pt x="48" y="44"/>
                  </a:lnTo>
                  <a:lnTo>
                    <a:pt x="42" y="42"/>
                  </a:lnTo>
                  <a:lnTo>
                    <a:pt x="36" y="42"/>
                  </a:lnTo>
                  <a:lnTo>
                    <a:pt x="30" y="40"/>
                  </a:lnTo>
                  <a:lnTo>
                    <a:pt x="24" y="40"/>
                  </a:lnTo>
                  <a:lnTo>
                    <a:pt x="18" y="40"/>
                  </a:lnTo>
                  <a:lnTo>
                    <a:pt x="10" y="42"/>
                  </a:lnTo>
                  <a:lnTo>
                    <a:pt x="4" y="44"/>
                  </a:lnTo>
                  <a:lnTo>
                    <a:pt x="0" y="4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0" name="Freeform 308"/>
            <p:cNvSpPr>
              <a:spLocks/>
            </p:cNvSpPr>
            <p:nvPr/>
          </p:nvSpPr>
          <p:spPr bwMode="auto">
            <a:xfrm>
              <a:off x="2655888" y="2155825"/>
              <a:ext cx="23812" cy="4763"/>
            </a:xfrm>
            <a:custGeom>
              <a:avLst/>
              <a:gdLst>
                <a:gd name="T0" fmla="*/ 2147483647 w 62"/>
                <a:gd name="T1" fmla="*/ 0 h 10"/>
                <a:gd name="T2" fmla="*/ 2147483647 w 62"/>
                <a:gd name="T3" fmla="*/ 0 h 10"/>
                <a:gd name="T4" fmla="*/ 2147483647 w 62"/>
                <a:gd name="T5" fmla="*/ 0 h 10"/>
                <a:gd name="T6" fmla="*/ 2147483647 w 62"/>
                <a:gd name="T7" fmla="*/ 0 h 10"/>
                <a:gd name="T8" fmla="*/ 2147483647 w 62"/>
                <a:gd name="T9" fmla="*/ 0 h 10"/>
                <a:gd name="T10" fmla="*/ 2147483647 w 62"/>
                <a:gd name="T11" fmla="*/ 0 h 10"/>
                <a:gd name="T12" fmla="*/ 2147483647 w 62"/>
                <a:gd name="T13" fmla="*/ 2147483647 h 10"/>
                <a:gd name="T14" fmla="*/ 2147483647 w 62"/>
                <a:gd name="T15" fmla="*/ 2147483647 h 10"/>
                <a:gd name="T16" fmla="*/ 2147483647 w 62"/>
                <a:gd name="T17" fmla="*/ 2147483647 h 10"/>
                <a:gd name="T18" fmla="*/ 2147483647 w 62"/>
                <a:gd name="T19" fmla="*/ 2147483647 h 10"/>
                <a:gd name="T20" fmla="*/ 2147483647 w 62"/>
                <a:gd name="T21" fmla="*/ 2147483647 h 10"/>
                <a:gd name="T22" fmla="*/ 0 w 62"/>
                <a:gd name="T23" fmla="*/ 2147483647 h 10"/>
                <a:gd name="T24" fmla="*/ 2147483647 w 62"/>
                <a:gd name="T25" fmla="*/ 2147483647 h 10"/>
                <a:gd name="T26" fmla="*/ 2147483647 w 62"/>
                <a:gd name="T27" fmla="*/ 2147483647 h 10"/>
                <a:gd name="T28" fmla="*/ 2147483647 w 62"/>
                <a:gd name="T29" fmla="*/ 2147483647 h 10"/>
                <a:gd name="T30" fmla="*/ 2147483647 w 62"/>
                <a:gd name="T31" fmla="*/ 2147483647 h 10"/>
                <a:gd name="T32" fmla="*/ 2147483647 w 62"/>
                <a:gd name="T33" fmla="*/ 2147483647 h 10"/>
                <a:gd name="T34" fmla="*/ 2147483647 w 62"/>
                <a:gd name="T35" fmla="*/ 2147483647 h 10"/>
                <a:gd name="T36" fmla="*/ 2147483647 w 62"/>
                <a:gd name="T37" fmla="*/ 2147483647 h 10"/>
                <a:gd name="T38" fmla="*/ 2147483647 w 62"/>
                <a:gd name="T39" fmla="*/ 2147483647 h 10"/>
                <a:gd name="T40" fmla="*/ 2147483647 w 62"/>
                <a:gd name="T41" fmla="*/ 0 h 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2"/>
                <a:gd name="T64" fmla="*/ 0 h 10"/>
                <a:gd name="T65" fmla="*/ 62 w 62"/>
                <a:gd name="T66" fmla="*/ 10 h 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2" h="10">
                  <a:moveTo>
                    <a:pt x="60" y="0"/>
                  </a:moveTo>
                  <a:lnTo>
                    <a:pt x="62" y="0"/>
                  </a:lnTo>
                  <a:lnTo>
                    <a:pt x="54" y="0"/>
                  </a:lnTo>
                  <a:lnTo>
                    <a:pt x="50" y="0"/>
                  </a:lnTo>
                  <a:lnTo>
                    <a:pt x="42" y="0"/>
                  </a:lnTo>
                  <a:lnTo>
                    <a:pt x="36" y="0"/>
                  </a:lnTo>
                  <a:lnTo>
                    <a:pt x="30" y="2"/>
                  </a:lnTo>
                  <a:lnTo>
                    <a:pt x="24" y="4"/>
                  </a:lnTo>
                  <a:lnTo>
                    <a:pt x="18" y="4"/>
                  </a:lnTo>
                  <a:lnTo>
                    <a:pt x="12" y="4"/>
                  </a:lnTo>
                  <a:lnTo>
                    <a:pt x="6" y="6"/>
                  </a:lnTo>
                  <a:lnTo>
                    <a:pt x="0" y="10"/>
                  </a:lnTo>
                  <a:lnTo>
                    <a:pt x="6" y="10"/>
                  </a:lnTo>
                  <a:lnTo>
                    <a:pt x="12" y="8"/>
                  </a:lnTo>
                  <a:lnTo>
                    <a:pt x="18" y="8"/>
                  </a:lnTo>
                  <a:lnTo>
                    <a:pt x="26" y="6"/>
                  </a:lnTo>
                  <a:lnTo>
                    <a:pt x="32" y="6"/>
                  </a:lnTo>
                  <a:lnTo>
                    <a:pt x="40" y="4"/>
                  </a:lnTo>
                  <a:lnTo>
                    <a:pt x="46" y="4"/>
                  </a:lnTo>
                  <a:lnTo>
                    <a:pt x="52" y="2"/>
                  </a:lnTo>
                  <a:lnTo>
                    <a:pt x="6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1" name="Freeform 309"/>
            <p:cNvSpPr>
              <a:spLocks/>
            </p:cNvSpPr>
            <p:nvPr/>
          </p:nvSpPr>
          <p:spPr bwMode="auto">
            <a:xfrm>
              <a:off x="2657475" y="2482850"/>
              <a:ext cx="47625" cy="20638"/>
            </a:xfrm>
            <a:custGeom>
              <a:avLst/>
              <a:gdLst>
                <a:gd name="T0" fmla="*/ 2147483647 w 118"/>
                <a:gd name="T1" fmla="*/ 2147483647 h 50"/>
                <a:gd name="T2" fmla="*/ 0 w 118"/>
                <a:gd name="T3" fmla="*/ 2147483647 h 50"/>
                <a:gd name="T4" fmla="*/ 2147483647 w 118"/>
                <a:gd name="T5" fmla="*/ 2147483647 h 50"/>
                <a:gd name="T6" fmla="*/ 0 w 118"/>
                <a:gd name="T7" fmla="*/ 2147483647 h 50"/>
                <a:gd name="T8" fmla="*/ 2147483647 w 118"/>
                <a:gd name="T9" fmla="*/ 2147483647 h 50"/>
                <a:gd name="T10" fmla="*/ 2147483647 w 118"/>
                <a:gd name="T11" fmla="*/ 2147483647 h 50"/>
                <a:gd name="T12" fmla="*/ 2147483647 w 118"/>
                <a:gd name="T13" fmla="*/ 2147483647 h 50"/>
                <a:gd name="T14" fmla="*/ 2147483647 w 118"/>
                <a:gd name="T15" fmla="*/ 2147483647 h 50"/>
                <a:gd name="T16" fmla="*/ 2147483647 w 118"/>
                <a:gd name="T17" fmla="*/ 2147483647 h 50"/>
                <a:gd name="T18" fmla="*/ 2147483647 w 118"/>
                <a:gd name="T19" fmla="*/ 2147483647 h 50"/>
                <a:gd name="T20" fmla="*/ 2147483647 w 118"/>
                <a:gd name="T21" fmla="*/ 2147483647 h 50"/>
                <a:gd name="T22" fmla="*/ 2147483647 w 118"/>
                <a:gd name="T23" fmla="*/ 2147483647 h 50"/>
                <a:gd name="T24" fmla="*/ 2147483647 w 118"/>
                <a:gd name="T25" fmla="*/ 2147483647 h 50"/>
                <a:gd name="T26" fmla="*/ 2147483647 w 118"/>
                <a:gd name="T27" fmla="*/ 2147483647 h 50"/>
                <a:gd name="T28" fmla="*/ 2147483647 w 118"/>
                <a:gd name="T29" fmla="*/ 2147483647 h 50"/>
                <a:gd name="T30" fmla="*/ 2147483647 w 118"/>
                <a:gd name="T31" fmla="*/ 2147483647 h 50"/>
                <a:gd name="T32" fmla="*/ 2147483647 w 118"/>
                <a:gd name="T33" fmla="*/ 2147483647 h 50"/>
                <a:gd name="T34" fmla="*/ 2147483647 w 118"/>
                <a:gd name="T35" fmla="*/ 2147483647 h 50"/>
                <a:gd name="T36" fmla="*/ 2147483647 w 118"/>
                <a:gd name="T37" fmla="*/ 2147483647 h 50"/>
                <a:gd name="T38" fmla="*/ 2147483647 w 118"/>
                <a:gd name="T39" fmla="*/ 2147483647 h 50"/>
                <a:gd name="T40" fmla="*/ 2147483647 w 118"/>
                <a:gd name="T41" fmla="*/ 2147483647 h 50"/>
                <a:gd name="T42" fmla="*/ 2147483647 w 118"/>
                <a:gd name="T43" fmla="*/ 2147483647 h 50"/>
                <a:gd name="T44" fmla="*/ 2147483647 w 118"/>
                <a:gd name="T45" fmla="*/ 2147483647 h 50"/>
                <a:gd name="T46" fmla="*/ 2147483647 w 118"/>
                <a:gd name="T47" fmla="*/ 2147483647 h 50"/>
                <a:gd name="T48" fmla="*/ 2147483647 w 118"/>
                <a:gd name="T49" fmla="*/ 2147483647 h 50"/>
                <a:gd name="T50" fmla="*/ 2147483647 w 118"/>
                <a:gd name="T51" fmla="*/ 0 h 50"/>
                <a:gd name="T52" fmla="*/ 2147483647 w 118"/>
                <a:gd name="T53" fmla="*/ 2147483647 h 50"/>
                <a:gd name="T54" fmla="*/ 2147483647 w 118"/>
                <a:gd name="T55" fmla="*/ 2147483647 h 50"/>
                <a:gd name="T56" fmla="*/ 2147483647 w 118"/>
                <a:gd name="T57" fmla="*/ 2147483647 h 50"/>
                <a:gd name="T58" fmla="*/ 2147483647 w 118"/>
                <a:gd name="T59" fmla="*/ 2147483647 h 50"/>
                <a:gd name="T60" fmla="*/ 2147483647 w 118"/>
                <a:gd name="T61" fmla="*/ 2147483647 h 50"/>
                <a:gd name="T62" fmla="*/ 2147483647 w 118"/>
                <a:gd name="T63" fmla="*/ 2147483647 h 50"/>
                <a:gd name="T64" fmla="*/ 2147483647 w 118"/>
                <a:gd name="T65" fmla="*/ 2147483647 h 50"/>
                <a:gd name="T66" fmla="*/ 2147483647 w 118"/>
                <a:gd name="T67" fmla="*/ 2147483647 h 50"/>
                <a:gd name="T68" fmla="*/ 2147483647 w 118"/>
                <a:gd name="T69" fmla="*/ 2147483647 h 50"/>
                <a:gd name="T70" fmla="*/ 2147483647 w 118"/>
                <a:gd name="T71" fmla="*/ 2147483647 h 50"/>
                <a:gd name="T72" fmla="*/ 2147483647 w 118"/>
                <a:gd name="T73" fmla="*/ 2147483647 h 50"/>
                <a:gd name="T74" fmla="*/ 2147483647 w 118"/>
                <a:gd name="T75" fmla="*/ 2147483647 h 50"/>
                <a:gd name="T76" fmla="*/ 2147483647 w 118"/>
                <a:gd name="T77" fmla="*/ 2147483647 h 50"/>
                <a:gd name="T78" fmla="*/ 2147483647 w 118"/>
                <a:gd name="T79" fmla="*/ 2147483647 h 50"/>
                <a:gd name="T80" fmla="*/ 2147483647 w 118"/>
                <a:gd name="T81" fmla="*/ 2147483647 h 50"/>
                <a:gd name="T82" fmla="*/ 2147483647 w 118"/>
                <a:gd name="T83" fmla="*/ 2147483647 h 50"/>
                <a:gd name="T84" fmla="*/ 2147483647 w 118"/>
                <a:gd name="T85" fmla="*/ 2147483647 h 50"/>
                <a:gd name="T86" fmla="*/ 2147483647 w 118"/>
                <a:gd name="T87" fmla="*/ 2147483647 h 5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8"/>
                <a:gd name="T133" fmla="*/ 0 h 50"/>
                <a:gd name="T134" fmla="*/ 118 w 118"/>
                <a:gd name="T135" fmla="*/ 50 h 5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8" h="50">
                  <a:moveTo>
                    <a:pt x="2" y="32"/>
                  </a:moveTo>
                  <a:lnTo>
                    <a:pt x="0" y="38"/>
                  </a:lnTo>
                  <a:lnTo>
                    <a:pt x="4" y="44"/>
                  </a:lnTo>
                  <a:lnTo>
                    <a:pt x="0" y="50"/>
                  </a:lnTo>
                  <a:lnTo>
                    <a:pt x="6" y="50"/>
                  </a:lnTo>
                  <a:lnTo>
                    <a:pt x="12" y="48"/>
                  </a:lnTo>
                  <a:lnTo>
                    <a:pt x="18" y="46"/>
                  </a:lnTo>
                  <a:lnTo>
                    <a:pt x="24" y="46"/>
                  </a:lnTo>
                  <a:lnTo>
                    <a:pt x="30" y="50"/>
                  </a:lnTo>
                  <a:lnTo>
                    <a:pt x="36" y="48"/>
                  </a:lnTo>
                  <a:lnTo>
                    <a:pt x="42" y="46"/>
                  </a:lnTo>
                  <a:lnTo>
                    <a:pt x="48" y="44"/>
                  </a:lnTo>
                  <a:lnTo>
                    <a:pt x="54" y="42"/>
                  </a:lnTo>
                  <a:lnTo>
                    <a:pt x="60" y="38"/>
                  </a:lnTo>
                  <a:lnTo>
                    <a:pt x="66" y="34"/>
                  </a:lnTo>
                  <a:lnTo>
                    <a:pt x="72" y="34"/>
                  </a:lnTo>
                  <a:lnTo>
                    <a:pt x="78" y="28"/>
                  </a:lnTo>
                  <a:lnTo>
                    <a:pt x="84" y="26"/>
                  </a:lnTo>
                  <a:lnTo>
                    <a:pt x="90" y="24"/>
                  </a:lnTo>
                  <a:lnTo>
                    <a:pt x="96" y="22"/>
                  </a:lnTo>
                  <a:lnTo>
                    <a:pt x="102" y="20"/>
                  </a:lnTo>
                  <a:lnTo>
                    <a:pt x="108" y="18"/>
                  </a:lnTo>
                  <a:lnTo>
                    <a:pt x="112" y="12"/>
                  </a:lnTo>
                  <a:lnTo>
                    <a:pt x="118" y="6"/>
                  </a:lnTo>
                  <a:lnTo>
                    <a:pt x="112" y="2"/>
                  </a:lnTo>
                  <a:lnTo>
                    <a:pt x="106" y="0"/>
                  </a:lnTo>
                  <a:lnTo>
                    <a:pt x="100" y="2"/>
                  </a:lnTo>
                  <a:lnTo>
                    <a:pt x="94" y="4"/>
                  </a:lnTo>
                  <a:lnTo>
                    <a:pt x="88" y="2"/>
                  </a:lnTo>
                  <a:lnTo>
                    <a:pt x="80" y="4"/>
                  </a:lnTo>
                  <a:lnTo>
                    <a:pt x="76" y="4"/>
                  </a:lnTo>
                  <a:lnTo>
                    <a:pt x="68" y="8"/>
                  </a:lnTo>
                  <a:lnTo>
                    <a:pt x="64" y="8"/>
                  </a:lnTo>
                  <a:lnTo>
                    <a:pt x="56" y="8"/>
                  </a:lnTo>
                  <a:lnTo>
                    <a:pt x="50" y="4"/>
                  </a:lnTo>
                  <a:lnTo>
                    <a:pt x="46" y="6"/>
                  </a:lnTo>
                  <a:lnTo>
                    <a:pt x="38" y="10"/>
                  </a:lnTo>
                  <a:lnTo>
                    <a:pt x="34" y="14"/>
                  </a:lnTo>
                  <a:lnTo>
                    <a:pt x="28" y="20"/>
                  </a:lnTo>
                  <a:lnTo>
                    <a:pt x="22" y="22"/>
                  </a:lnTo>
                  <a:lnTo>
                    <a:pt x="16" y="26"/>
                  </a:lnTo>
                  <a:lnTo>
                    <a:pt x="10" y="30"/>
                  </a:lnTo>
                  <a:lnTo>
                    <a:pt x="4" y="32"/>
                  </a:lnTo>
                  <a:lnTo>
                    <a:pt x="2" y="3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2" name="Freeform 310"/>
            <p:cNvSpPr>
              <a:spLocks/>
            </p:cNvSpPr>
            <p:nvPr/>
          </p:nvSpPr>
          <p:spPr bwMode="auto">
            <a:xfrm>
              <a:off x="2698750" y="2179638"/>
              <a:ext cx="20638" cy="6350"/>
            </a:xfrm>
            <a:custGeom>
              <a:avLst/>
              <a:gdLst>
                <a:gd name="T0" fmla="*/ 2147483647 w 50"/>
                <a:gd name="T1" fmla="*/ 2147483647 h 16"/>
                <a:gd name="T2" fmla="*/ 2147483647 w 50"/>
                <a:gd name="T3" fmla="*/ 2147483647 h 16"/>
                <a:gd name="T4" fmla="*/ 2147483647 w 50"/>
                <a:gd name="T5" fmla="*/ 0 h 16"/>
                <a:gd name="T6" fmla="*/ 2147483647 w 50"/>
                <a:gd name="T7" fmla="*/ 2147483647 h 16"/>
                <a:gd name="T8" fmla="*/ 2147483647 w 50"/>
                <a:gd name="T9" fmla="*/ 2147483647 h 16"/>
                <a:gd name="T10" fmla="*/ 2147483647 w 50"/>
                <a:gd name="T11" fmla="*/ 2147483647 h 16"/>
                <a:gd name="T12" fmla="*/ 2147483647 w 50"/>
                <a:gd name="T13" fmla="*/ 2147483647 h 16"/>
                <a:gd name="T14" fmla="*/ 2147483647 w 50"/>
                <a:gd name="T15" fmla="*/ 2147483647 h 16"/>
                <a:gd name="T16" fmla="*/ 0 w 50"/>
                <a:gd name="T17" fmla="*/ 2147483647 h 16"/>
                <a:gd name="T18" fmla="*/ 0 w 50"/>
                <a:gd name="T19" fmla="*/ 2147483647 h 16"/>
                <a:gd name="T20" fmla="*/ 2147483647 w 50"/>
                <a:gd name="T21" fmla="*/ 2147483647 h 16"/>
                <a:gd name="T22" fmla="*/ 2147483647 w 50"/>
                <a:gd name="T23" fmla="*/ 2147483647 h 16"/>
                <a:gd name="T24" fmla="*/ 2147483647 w 50"/>
                <a:gd name="T25" fmla="*/ 2147483647 h 16"/>
                <a:gd name="T26" fmla="*/ 2147483647 w 50"/>
                <a:gd name="T27" fmla="*/ 2147483647 h 16"/>
                <a:gd name="T28" fmla="*/ 2147483647 w 50"/>
                <a:gd name="T29" fmla="*/ 2147483647 h 16"/>
                <a:gd name="T30" fmla="*/ 2147483647 w 50"/>
                <a:gd name="T31" fmla="*/ 2147483647 h 16"/>
                <a:gd name="T32" fmla="*/ 2147483647 w 50"/>
                <a:gd name="T33" fmla="*/ 2147483647 h 16"/>
                <a:gd name="T34" fmla="*/ 2147483647 w 50"/>
                <a:gd name="T35" fmla="*/ 2147483647 h 16"/>
                <a:gd name="T36" fmla="*/ 2147483647 w 50"/>
                <a:gd name="T37" fmla="*/ 2147483647 h 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0"/>
                <a:gd name="T58" fmla="*/ 0 h 16"/>
                <a:gd name="T59" fmla="*/ 50 w 50"/>
                <a:gd name="T60" fmla="*/ 16 h 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0" h="16">
                  <a:moveTo>
                    <a:pt x="50" y="4"/>
                  </a:moveTo>
                  <a:lnTo>
                    <a:pt x="44" y="2"/>
                  </a:lnTo>
                  <a:lnTo>
                    <a:pt x="38" y="0"/>
                  </a:lnTo>
                  <a:lnTo>
                    <a:pt x="32" y="4"/>
                  </a:lnTo>
                  <a:lnTo>
                    <a:pt x="26" y="6"/>
                  </a:lnTo>
                  <a:lnTo>
                    <a:pt x="18" y="6"/>
                  </a:lnTo>
                  <a:lnTo>
                    <a:pt x="12" y="8"/>
                  </a:lnTo>
                  <a:lnTo>
                    <a:pt x="6" y="8"/>
                  </a:lnTo>
                  <a:lnTo>
                    <a:pt x="0" y="12"/>
                  </a:lnTo>
                  <a:lnTo>
                    <a:pt x="0" y="16"/>
                  </a:lnTo>
                  <a:lnTo>
                    <a:pt x="6" y="16"/>
                  </a:lnTo>
                  <a:lnTo>
                    <a:pt x="12" y="14"/>
                  </a:lnTo>
                  <a:lnTo>
                    <a:pt x="18" y="12"/>
                  </a:lnTo>
                  <a:lnTo>
                    <a:pt x="24" y="8"/>
                  </a:lnTo>
                  <a:lnTo>
                    <a:pt x="30" y="6"/>
                  </a:lnTo>
                  <a:lnTo>
                    <a:pt x="36" y="10"/>
                  </a:lnTo>
                  <a:lnTo>
                    <a:pt x="42" y="8"/>
                  </a:lnTo>
                  <a:lnTo>
                    <a:pt x="50" y="8"/>
                  </a:lnTo>
                  <a:lnTo>
                    <a:pt x="50" y="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3" name="Freeform 311"/>
            <p:cNvSpPr>
              <a:spLocks/>
            </p:cNvSpPr>
            <p:nvPr/>
          </p:nvSpPr>
          <p:spPr bwMode="auto">
            <a:xfrm>
              <a:off x="2735263" y="2149475"/>
              <a:ext cx="254000" cy="57150"/>
            </a:xfrm>
            <a:custGeom>
              <a:avLst/>
              <a:gdLst>
                <a:gd name="T0" fmla="*/ 2147483647 w 624"/>
                <a:gd name="T1" fmla="*/ 2147483647 h 138"/>
                <a:gd name="T2" fmla="*/ 2147483647 w 624"/>
                <a:gd name="T3" fmla="*/ 2147483647 h 138"/>
                <a:gd name="T4" fmla="*/ 2147483647 w 624"/>
                <a:gd name="T5" fmla="*/ 2147483647 h 138"/>
                <a:gd name="T6" fmla="*/ 2147483647 w 624"/>
                <a:gd name="T7" fmla="*/ 2147483647 h 138"/>
                <a:gd name="T8" fmla="*/ 2147483647 w 624"/>
                <a:gd name="T9" fmla="*/ 2147483647 h 138"/>
                <a:gd name="T10" fmla="*/ 2147483647 w 624"/>
                <a:gd name="T11" fmla="*/ 2147483647 h 138"/>
                <a:gd name="T12" fmla="*/ 2147483647 w 624"/>
                <a:gd name="T13" fmla="*/ 2147483647 h 138"/>
                <a:gd name="T14" fmla="*/ 2147483647 w 624"/>
                <a:gd name="T15" fmla="*/ 2147483647 h 138"/>
                <a:gd name="T16" fmla="*/ 2147483647 w 624"/>
                <a:gd name="T17" fmla="*/ 2147483647 h 138"/>
                <a:gd name="T18" fmla="*/ 2147483647 w 624"/>
                <a:gd name="T19" fmla="*/ 2147483647 h 138"/>
                <a:gd name="T20" fmla="*/ 2147483647 w 624"/>
                <a:gd name="T21" fmla="*/ 2147483647 h 138"/>
                <a:gd name="T22" fmla="*/ 2147483647 w 624"/>
                <a:gd name="T23" fmla="*/ 2147483647 h 138"/>
                <a:gd name="T24" fmla="*/ 2147483647 w 624"/>
                <a:gd name="T25" fmla="*/ 2147483647 h 138"/>
                <a:gd name="T26" fmla="*/ 2147483647 w 624"/>
                <a:gd name="T27" fmla="*/ 2147483647 h 138"/>
                <a:gd name="T28" fmla="*/ 2147483647 w 624"/>
                <a:gd name="T29" fmla="*/ 2147483647 h 138"/>
                <a:gd name="T30" fmla="*/ 2147483647 w 624"/>
                <a:gd name="T31" fmla="*/ 2147483647 h 138"/>
                <a:gd name="T32" fmla="*/ 2147483647 w 624"/>
                <a:gd name="T33" fmla="*/ 2147483647 h 138"/>
                <a:gd name="T34" fmla="*/ 2147483647 w 624"/>
                <a:gd name="T35" fmla="*/ 2147483647 h 138"/>
                <a:gd name="T36" fmla="*/ 2147483647 w 624"/>
                <a:gd name="T37" fmla="*/ 2147483647 h 138"/>
                <a:gd name="T38" fmla="*/ 2147483647 w 624"/>
                <a:gd name="T39" fmla="*/ 2147483647 h 138"/>
                <a:gd name="T40" fmla="*/ 2147483647 w 624"/>
                <a:gd name="T41" fmla="*/ 2147483647 h 138"/>
                <a:gd name="T42" fmla="*/ 2147483647 w 624"/>
                <a:gd name="T43" fmla="*/ 2147483647 h 138"/>
                <a:gd name="T44" fmla="*/ 2147483647 w 624"/>
                <a:gd name="T45" fmla="*/ 2147483647 h 138"/>
                <a:gd name="T46" fmla="*/ 2147483647 w 624"/>
                <a:gd name="T47" fmla="*/ 2147483647 h 138"/>
                <a:gd name="T48" fmla="*/ 2147483647 w 624"/>
                <a:gd name="T49" fmla="*/ 2147483647 h 138"/>
                <a:gd name="T50" fmla="*/ 2147483647 w 624"/>
                <a:gd name="T51" fmla="*/ 2147483647 h 138"/>
                <a:gd name="T52" fmla="*/ 2147483647 w 624"/>
                <a:gd name="T53" fmla="*/ 2147483647 h 138"/>
                <a:gd name="T54" fmla="*/ 2147483647 w 624"/>
                <a:gd name="T55" fmla="*/ 2147483647 h 138"/>
                <a:gd name="T56" fmla="*/ 2147483647 w 624"/>
                <a:gd name="T57" fmla="*/ 2147483647 h 138"/>
                <a:gd name="T58" fmla="*/ 2147483647 w 624"/>
                <a:gd name="T59" fmla="*/ 2147483647 h 138"/>
                <a:gd name="T60" fmla="*/ 2147483647 w 624"/>
                <a:gd name="T61" fmla="*/ 2147483647 h 138"/>
                <a:gd name="T62" fmla="*/ 2147483647 w 624"/>
                <a:gd name="T63" fmla="*/ 2147483647 h 138"/>
                <a:gd name="T64" fmla="*/ 2147483647 w 624"/>
                <a:gd name="T65" fmla="*/ 2147483647 h 138"/>
                <a:gd name="T66" fmla="*/ 2147483647 w 624"/>
                <a:gd name="T67" fmla="*/ 2147483647 h 138"/>
                <a:gd name="T68" fmla="*/ 2147483647 w 624"/>
                <a:gd name="T69" fmla="*/ 2147483647 h 138"/>
                <a:gd name="T70" fmla="*/ 2147483647 w 624"/>
                <a:gd name="T71" fmla="*/ 2147483647 h 138"/>
                <a:gd name="T72" fmla="*/ 2147483647 w 624"/>
                <a:gd name="T73" fmla="*/ 2147483647 h 138"/>
                <a:gd name="T74" fmla="*/ 2147483647 w 624"/>
                <a:gd name="T75" fmla="*/ 2147483647 h 138"/>
                <a:gd name="T76" fmla="*/ 2147483647 w 624"/>
                <a:gd name="T77" fmla="*/ 2147483647 h 138"/>
                <a:gd name="T78" fmla="*/ 2147483647 w 624"/>
                <a:gd name="T79" fmla="*/ 2147483647 h 138"/>
                <a:gd name="T80" fmla="*/ 2147483647 w 624"/>
                <a:gd name="T81" fmla="*/ 2147483647 h 138"/>
                <a:gd name="T82" fmla="*/ 2147483647 w 624"/>
                <a:gd name="T83" fmla="*/ 2147483647 h 138"/>
                <a:gd name="T84" fmla="*/ 2147483647 w 624"/>
                <a:gd name="T85" fmla="*/ 2147483647 h 138"/>
                <a:gd name="T86" fmla="*/ 2147483647 w 624"/>
                <a:gd name="T87" fmla="*/ 2147483647 h 138"/>
                <a:gd name="T88" fmla="*/ 2147483647 w 624"/>
                <a:gd name="T89" fmla="*/ 2147483647 h 138"/>
                <a:gd name="T90" fmla="*/ 2147483647 w 624"/>
                <a:gd name="T91" fmla="*/ 2147483647 h 138"/>
                <a:gd name="T92" fmla="*/ 2147483647 w 624"/>
                <a:gd name="T93" fmla="*/ 2147483647 h 138"/>
                <a:gd name="T94" fmla="*/ 2147483647 w 624"/>
                <a:gd name="T95" fmla="*/ 2147483647 h 138"/>
                <a:gd name="T96" fmla="*/ 2147483647 w 624"/>
                <a:gd name="T97" fmla="*/ 2147483647 h 138"/>
                <a:gd name="T98" fmla="*/ 2147483647 w 624"/>
                <a:gd name="T99" fmla="*/ 2147483647 h 138"/>
                <a:gd name="T100" fmla="*/ 2147483647 w 624"/>
                <a:gd name="T101" fmla="*/ 0 h 138"/>
                <a:gd name="T102" fmla="*/ 2147483647 w 624"/>
                <a:gd name="T103" fmla="*/ 2147483647 h 138"/>
                <a:gd name="T104" fmla="*/ 2147483647 w 624"/>
                <a:gd name="T105" fmla="*/ 2147483647 h 138"/>
                <a:gd name="T106" fmla="*/ 2147483647 w 624"/>
                <a:gd name="T107" fmla="*/ 2147483647 h 138"/>
                <a:gd name="T108" fmla="*/ 2147483647 w 624"/>
                <a:gd name="T109" fmla="*/ 2147483647 h 138"/>
                <a:gd name="T110" fmla="*/ 2147483647 w 624"/>
                <a:gd name="T111" fmla="*/ 2147483647 h 138"/>
                <a:gd name="T112" fmla="*/ 2147483647 w 624"/>
                <a:gd name="T113" fmla="*/ 2147483647 h 1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24"/>
                <a:gd name="T172" fmla="*/ 0 h 138"/>
                <a:gd name="T173" fmla="*/ 624 w 624"/>
                <a:gd name="T174" fmla="*/ 138 h 1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24" h="138">
                  <a:moveTo>
                    <a:pt x="90" y="42"/>
                  </a:moveTo>
                  <a:lnTo>
                    <a:pt x="96" y="42"/>
                  </a:lnTo>
                  <a:lnTo>
                    <a:pt x="102" y="38"/>
                  </a:lnTo>
                  <a:lnTo>
                    <a:pt x="108" y="38"/>
                  </a:lnTo>
                  <a:lnTo>
                    <a:pt x="114" y="38"/>
                  </a:lnTo>
                  <a:lnTo>
                    <a:pt x="120" y="36"/>
                  </a:lnTo>
                  <a:lnTo>
                    <a:pt x="128" y="36"/>
                  </a:lnTo>
                  <a:lnTo>
                    <a:pt x="128" y="42"/>
                  </a:lnTo>
                  <a:lnTo>
                    <a:pt x="132" y="46"/>
                  </a:lnTo>
                  <a:lnTo>
                    <a:pt x="128" y="52"/>
                  </a:lnTo>
                  <a:lnTo>
                    <a:pt x="130" y="58"/>
                  </a:lnTo>
                  <a:lnTo>
                    <a:pt x="138" y="60"/>
                  </a:lnTo>
                  <a:lnTo>
                    <a:pt x="130" y="66"/>
                  </a:lnTo>
                  <a:lnTo>
                    <a:pt x="130" y="72"/>
                  </a:lnTo>
                  <a:lnTo>
                    <a:pt x="124" y="76"/>
                  </a:lnTo>
                  <a:lnTo>
                    <a:pt x="118" y="78"/>
                  </a:lnTo>
                  <a:lnTo>
                    <a:pt x="112" y="80"/>
                  </a:lnTo>
                  <a:lnTo>
                    <a:pt x="106" y="82"/>
                  </a:lnTo>
                  <a:lnTo>
                    <a:pt x="100" y="84"/>
                  </a:lnTo>
                  <a:lnTo>
                    <a:pt x="94" y="88"/>
                  </a:lnTo>
                  <a:lnTo>
                    <a:pt x="88" y="92"/>
                  </a:lnTo>
                  <a:lnTo>
                    <a:pt x="84" y="98"/>
                  </a:lnTo>
                  <a:lnTo>
                    <a:pt x="90" y="100"/>
                  </a:lnTo>
                  <a:lnTo>
                    <a:pt x="96" y="100"/>
                  </a:lnTo>
                  <a:lnTo>
                    <a:pt x="90" y="104"/>
                  </a:lnTo>
                  <a:lnTo>
                    <a:pt x="84" y="106"/>
                  </a:lnTo>
                  <a:lnTo>
                    <a:pt x="82" y="112"/>
                  </a:lnTo>
                  <a:lnTo>
                    <a:pt x="76" y="118"/>
                  </a:lnTo>
                  <a:lnTo>
                    <a:pt x="78" y="122"/>
                  </a:lnTo>
                  <a:lnTo>
                    <a:pt x="84" y="122"/>
                  </a:lnTo>
                  <a:lnTo>
                    <a:pt x="90" y="126"/>
                  </a:lnTo>
                  <a:lnTo>
                    <a:pt x="96" y="126"/>
                  </a:lnTo>
                  <a:lnTo>
                    <a:pt x="104" y="128"/>
                  </a:lnTo>
                  <a:lnTo>
                    <a:pt x="106" y="122"/>
                  </a:lnTo>
                  <a:lnTo>
                    <a:pt x="112" y="122"/>
                  </a:lnTo>
                  <a:lnTo>
                    <a:pt x="118" y="118"/>
                  </a:lnTo>
                  <a:lnTo>
                    <a:pt x="124" y="116"/>
                  </a:lnTo>
                  <a:lnTo>
                    <a:pt x="130" y="114"/>
                  </a:lnTo>
                  <a:lnTo>
                    <a:pt x="124" y="120"/>
                  </a:lnTo>
                  <a:lnTo>
                    <a:pt x="118" y="122"/>
                  </a:lnTo>
                  <a:lnTo>
                    <a:pt x="124" y="122"/>
                  </a:lnTo>
                  <a:lnTo>
                    <a:pt x="124" y="128"/>
                  </a:lnTo>
                  <a:lnTo>
                    <a:pt x="130" y="130"/>
                  </a:lnTo>
                  <a:lnTo>
                    <a:pt x="138" y="128"/>
                  </a:lnTo>
                  <a:lnTo>
                    <a:pt x="144" y="132"/>
                  </a:lnTo>
                  <a:lnTo>
                    <a:pt x="148" y="130"/>
                  </a:lnTo>
                  <a:lnTo>
                    <a:pt x="154" y="132"/>
                  </a:lnTo>
                  <a:lnTo>
                    <a:pt x="160" y="132"/>
                  </a:lnTo>
                  <a:lnTo>
                    <a:pt x="166" y="132"/>
                  </a:lnTo>
                  <a:lnTo>
                    <a:pt x="172" y="130"/>
                  </a:lnTo>
                  <a:lnTo>
                    <a:pt x="180" y="130"/>
                  </a:lnTo>
                  <a:lnTo>
                    <a:pt x="186" y="128"/>
                  </a:lnTo>
                  <a:lnTo>
                    <a:pt x="192" y="124"/>
                  </a:lnTo>
                  <a:lnTo>
                    <a:pt x="198" y="122"/>
                  </a:lnTo>
                  <a:lnTo>
                    <a:pt x="204" y="118"/>
                  </a:lnTo>
                  <a:lnTo>
                    <a:pt x="200" y="126"/>
                  </a:lnTo>
                  <a:lnTo>
                    <a:pt x="206" y="124"/>
                  </a:lnTo>
                  <a:lnTo>
                    <a:pt x="212" y="120"/>
                  </a:lnTo>
                  <a:lnTo>
                    <a:pt x="218" y="116"/>
                  </a:lnTo>
                  <a:lnTo>
                    <a:pt x="224" y="116"/>
                  </a:lnTo>
                  <a:lnTo>
                    <a:pt x="228" y="120"/>
                  </a:lnTo>
                  <a:lnTo>
                    <a:pt x="224" y="120"/>
                  </a:lnTo>
                  <a:lnTo>
                    <a:pt x="216" y="126"/>
                  </a:lnTo>
                  <a:lnTo>
                    <a:pt x="210" y="128"/>
                  </a:lnTo>
                  <a:lnTo>
                    <a:pt x="204" y="134"/>
                  </a:lnTo>
                  <a:lnTo>
                    <a:pt x="210" y="136"/>
                  </a:lnTo>
                  <a:lnTo>
                    <a:pt x="218" y="136"/>
                  </a:lnTo>
                  <a:lnTo>
                    <a:pt x="224" y="136"/>
                  </a:lnTo>
                  <a:lnTo>
                    <a:pt x="230" y="136"/>
                  </a:lnTo>
                  <a:lnTo>
                    <a:pt x="236" y="134"/>
                  </a:lnTo>
                  <a:lnTo>
                    <a:pt x="242" y="136"/>
                  </a:lnTo>
                  <a:lnTo>
                    <a:pt x="248" y="134"/>
                  </a:lnTo>
                  <a:lnTo>
                    <a:pt x="254" y="132"/>
                  </a:lnTo>
                  <a:lnTo>
                    <a:pt x="262" y="136"/>
                  </a:lnTo>
                  <a:lnTo>
                    <a:pt x="266" y="134"/>
                  </a:lnTo>
                  <a:lnTo>
                    <a:pt x="274" y="136"/>
                  </a:lnTo>
                  <a:lnTo>
                    <a:pt x="280" y="136"/>
                  </a:lnTo>
                  <a:lnTo>
                    <a:pt x="280" y="130"/>
                  </a:lnTo>
                  <a:lnTo>
                    <a:pt x="286" y="134"/>
                  </a:lnTo>
                  <a:lnTo>
                    <a:pt x="292" y="136"/>
                  </a:lnTo>
                  <a:lnTo>
                    <a:pt x="298" y="134"/>
                  </a:lnTo>
                  <a:lnTo>
                    <a:pt x="304" y="130"/>
                  </a:lnTo>
                  <a:lnTo>
                    <a:pt x="304" y="134"/>
                  </a:lnTo>
                  <a:lnTo>
                    <a:pt x="310" y="136"/>
                  </a:lnTo>
                  <a:lnTo>
                    <a:pt x="316" y="134"/>
                  </a:lnTo>
                  <a:lnTo>
                    <a:pt x="322" y="134"/>
                  </a:lnTo>
                  <a:lnTo>
                    <a:pt x="328" y="134"/>
                  </a:lnTo>
                  <a:lnTo>
                    <a:pt x="334" y="128"/>
                  </a:lnTo>
                  <a:lnTo>
                    <a:pt x="336" y="134"/>
                  </a:lnTo>
                  <a:lnTo>
                    <a:pt x="342" y="134"/>
                  </a:lnTo>
                  <a:lnTo>
                    <a:pt x="348" y="134"/>
                  </a:lnTo>
                  <a:lnTo>
                    <a:pt x="354" y="128"/>
                  </a:lnTo>
                  <a:lnTo>
                    <a:pt x="360" y="124"/>
                  </a:lnTo>
                  <a:lnTo>
                    <a:pt x="354" y="130"/>
                  </a:lnTo>
                  <a:lnTo>
                    <a:pt x="362" y="134"/>
                  </a:lnTo>
                  <a:lnTo>
                    <a:pt x="368" y="134"/>
                  </a:lnTo>
                  <a:lnTo>
                    <a:pt x="374" y="134"/>
                  </a:lnTo>
                  <a:lnTo>
                    <a:pt x="380" y="134"/>
                  </a:lnTo>
                  <a:lnTo>
                    <a:pt x="386" y="134"/>
                  </a:lnTo>
                  <a:lnTo>
                    <a:pt x="392" y="132"/>
                  </a:lnTo>
                  <a:lnTo>
                    <a:pt x="400" y="132"/>
                  </a:lnTo>
                  <a:lnTo>
                    <a:pt x="406" y="132"/>
                  </a:lnTo>
                  <a:lnTo>
                    <a:pt x="412" y="132"/>
                  </a:lnTo>
                  <a:lnTo>
                    <a:pt x="418" y="130"/>
                  </a:lnTo>
                  <a:lnTo>
                    <a:pt x="424" y="126"/>
                  </a:lnTo>
                  <a:lnTo>
                    <a:pt x="430" y="122"/>
                  </a:lnTo>
                  <a:lnTo>
                    <a:pt x="430" y="116"/>
                  </a:lnTo>
                  <a:lnTo>
                    <a:pt x="436" y="114"/>
                  </a:lnTo>
                  <a:lnTo>
                    <a:pt x="444" y="118"/>
                  </a:lnTo>
                  <a:lnTo>
                    <a:pt x="440" y="122"/>
                  </a:lnTo>
                  <a:lnTo>
                    <a:pt x="438" y="128"/>
                  </a:lnTo>
                  <a:lnTo>
                    <a:pt x="444" y="134"/>
                  </a:lnTo>
                  <a:lnTo>
                    <a:pt x="448" y="134"/>
                  </a:lnTo>
                  <a:lnTo>
                    <a:pt x="456" y="134"/>
                  </a:lnTo>
                  <a:lnTo>
                    <a:pt x="462" y="134"/>
                  </a:lnTo>
                  <a:lnTo>
                    <a:pt x="468" y="136"/>
                  </a:lnTo>
                  <a:lnTo>
                    <a:pt x="474" y="136"/>
                  </a:lnTo>
                  <a:lnTo>
                    <a:pt x="480" y="138"/>
                  </a:lnTo>
                  <a:lnTo>
                    <a:pt x="486" y="136"/>
                  </a:lnTo>
                  <a:lnTo>
                    <a:pt x="494" y="134"/>
                  </a:lnTo>
                  <a:lnTo>
                    <a:pt x="498" y="134"/>
                  </a:lnTo>
                  <a:lnTo>
                    <a:pt x="506" y="132"/>
                  </a:lnTo>
                  <a:lnTo>
                    <a:pt x="512" y="130"/>
                  </a:lnTo>
                  <a:lnTo>
                    <a:pt x="518" y="130"/>
                  </a:lnTo>
                  <a:lnTo>
                    <a:pt x="524" y="130"/>
                  </a:lnTo>
                  <a:lnTo>
                    <a:pt x="530" y="132"/>
                  </a:lnTo>
                  <a:lnTo>
                    <a:pt x="536" y="132"/>
                  </a:lnTo>
                  <a:lnTo>
                    <a:pt x="542" y="130"/>
                  </a:lnTo>
                  <a:lnTo>
                    <a:pt x="548" y="130"/>
                  </a:lnTo>
                  <a:lnTo>
                    <a:pt x="554" y="130"/>
                  </a:lnTo>
                  <a:lnTo>
                    <a:pt x="560" y="124"/>
                  </a:lnTo>
                  <a:lnTo>
                    <a:pt x="566" y="120"/>
                  </a:lnTo>
                  <a:lnTo>
                    <a:pt x="562" y="114"/>
                  </a:lnTo>
                  <a:lnTo>
                    <a:pt x="566" y="110"/>
                  </a:lnTo>
                  <a:lnTo>
                    <a:pt x="574" y="112"/>
                  </a:lnTo>
                  <a:lnTo>
                    <a:pt x="574" y="116"/>
                  </a:lnTo>
                  <a:lnTo>
                    <a:pt x="580" y="118"/>
                  </a:lnTo>
                  <a:lnTo>
                    <a:pt x="588" y="116"/>
                  </a:lnTo>
                  <a:lnTo>
                    <a:pt x="594" y="116"/>
                  </a:lnTo>
                  <a:lnTo>
                    <a:pt x="600" y="114"/>
                  </a:lnTo>
                  <a:lnTo>
                    <a:pt x="606" y="114"/>
                  </a:lnTo>
                  <a:lnTo>
                    <a:pt x="602" y="108"/>
                  </a:lnTo>
                  <a:lnTo>
                    <a:pt x="596" y="106"/>
                  </a:lnTo>
                  <a:lnTo>
                    <a:pt x="590" y="106"/>
                  </a:lnTo>
                  <a:lnTo>
                    <a:pt x="584" y="108"/>
                  </a:lnTo>
                  <a:lnTo>
                    <a:pt x="578" y="110"/>
                  </a:lnTo>
                  <a:lnTo>
                    <a:pt x="570" y="110"/>
                  </a:lnTo>
                  <a:lnTo>
                    <a:pt x="574" y="104"/>
                  </a:lnTo>
                  <a:lnTo>
                    <a:pt x="580" y="104"/>
                  </a:lnTo>
                  <a:lnTo>
                    <a:pt x="586" y="104"/>
                  </a:lnTo>
                  <a:lnTo>
                    <a:pt x="588" y="102"/>
                  </a:lnTo>
                  <a:lnTo>
                    <a:pt x="594" y="100"/>
                  </a:lnTo>
                  <a:lnTo>
                    <a:pt x="600" y="98"/>
                  </a:lnTo>
                  <a:lnTo>
                    <a:pt x="606" y="98"/>
                  </a:lnTo>
                  <a:lnTo>
                    <a:pt x="612" y="96"/>
                  </a:lnTo>
                  <a:lnTo>
                    <a:pt x="618" y="94"/>
                  </a:lnTo>
                  <a:lnTo>
                    <a:pt x="624" y="88"/>
                  </a:lnTo>
                  <a:lnTo>
                    <a:pt x="618" y="82"/>
                  </a:lnTo>
                  <a:lnTo>
                    <a:pt x="612" y="82"/>
                  </a:lnTo>
                  <a:lnTo>
                    <a:pt x="608" y="82"/>
                  </a:lnTo>
                  <a:lnTo>
                    <a:pt x="604" y="82"/>
                  </a:lnTo>
                  <a:lnTo>
                    <a:pt x="598" y="84"/>
                  </a:lnTo>
                  <a:lnTo>
                    <a:pt x="604" y="82"/>
                  </a:lnTo>
                  <a:lnTo>
                    <a:pt x="608" y="80"/>
                  </a:lnTo>
                  <a:lnTo>
                    <a:pt x="612" y="80"/>
                  </a:lnTo>
                  <a:lnTo>
                    <a:pt x="612" y="78"/>
                  </a:lnTo>
                  <a:lnTo>
                    <a:pt x="606" y="74"/>
                  </a:lnTo>
                  <a:lnTo>
                    <a:pt x="600" y="74"/>
                  </a:lnTo>
                  <a:lnTo>
                    <a:pt x="594" y="74"/>
                  </a:lnTo>
                  <a:lnTo>
                    <a:pt x="588" y="74"/>
                  </a:lnTo>
                  <a:lnTo>
                    <a:pt x="582" y="74"/>
                  </a:lnTo>
                  <a:lnTo>
                    <a:pt x="576" y="74"/>
                  </a:lnTo>
                  <a:lnTo>
                    <a:pt x="570" y="72"/>
                  </a:lnTo>
                  <a:lnTo>
                    <a:pt x="576" y="68"/>
                  </a:lnTo>
                  <a:lnTo>
                    <a:pt x="570" y="66"/>
                  </a:lnTo>
                  <a:lnTo>
                    <a:pt x="564" y="64"/>
                  </a:lnTo>
                  <a:lnTo>
                    <a:pt x="558" y="64"/>
                  </a:lnTo>
                  <a:lnTo>
                    <a:pt x="552" y="64"/>
                  </a:lnTo>
                  <a:lnTo>
                    <a:pt x="544" y="64"/>
                  </a:lnTo>
                  <a:lnTo>
                    <a:pt x="540" y="64"/>
                  </a:lnTo>
                  <a:lnTo>
                    <a:pt x="532" y="62"/>
                  </a:lnTo>
                  <a:lnTo>
                    <a:pt x="528" y="64"/>
                  </a:lnTo>
                  <a:lnTo>
                    <a:pt x="520" y="64"/>
                  </a:lnTo>
                  <a:lnTo>
                    <a:pt x="514" y="66"/>
                  </a:lnTo>
                  <a:lnTo>
                    <a:pt x="508" y="68"/>
                  </a:lnTo>
                  <a:lnTo>
                    <a:pt x="502" y="68"/>
                  </a:lnTo>
                  <a:lnTo>
                    <a:pt x="496" y="68"/>
                  </a:lnTo>
                  <a:lnTo>
                    <a:pt x="490" y="68"/>
                  </a:lnTo>
                  <a:lnTo>
                    <a:pt x="484" y="66"/>
                  </a:lnTo>
                  <a:lnTo>
                    <a:pt x="478" y="66"/>
                  </a:lnTo>
                  <a:lnTo>
                    <a:pt x="470" y="64"/>
                  </a:lnTo>
                  <a:lnTo>
                    <a:pt x="464" y="66"/>
                  </a:lnTo>
                  <a:lnTo>
                    <a:pt x="458" y="68"/>
                  </a:lnTo>
                  <a:lnTo>
                    <a:pt x="452" y="68"/>
                  </a:lnTo>
                  <a:lnTo>
                    <a:pt x="446" y="70"/>
                  </a:lnTo>
                  <a:lnTo>
                    <a:pt x="438" y="70"/>
                  </a:lnTo>
                  <a:lnTo>
                    <a:pt x="432" y="72"/>
                  </a:lnTo>
                  <a:lnTo>
                    <a:pt x="426" y="74"/>
                  </a:lnTo>
                  <a:lnTo>
                    <a:pt x="420" y="72"/>
                  </a:lnTo>
                  <a:lnTo>
                    <a:pt x="414" y="72"/>
                  </a:lnTo>
                  <a:lnTo>
                    <a:pt x="408" y="74"/>
                  </a:lnTo>
                  <a:lnTo>
                    <a:pt x="402" y="76"/>
                  </a:lnTo>
                  <a:lnTo>
                    <a:pt x="396" y="78"/>
                  </a:lnTo>
                  <a:lnTo>
                    <a:pt x="390" y="78"/>
                  </a:lnTo>
                  <a:lnTo>
                    <a:pt x="384" y="76"/>
                  </a:lnTo>
                  <a:lnTo>
                    <a:pt x="378" y="78"/>
                  </a:lnTo>
                  <a:lnTo>
                    <a:pt x="372" y="78"/>
                  </a:lnTo>
                  <a:lnTo>
                    <a:pt x="364" y="80"/>
                  </a:lnTo>
                  <a:lnTo>
                    <a:pt x="372" y="84"/>
                  </a:lnTo>
                  <a:lnTo>
                    <a:pt x="378" y="86"/>
                  </a:lnTo>
                  <a:lnTo>
                    <a:pt x="372" y="86"/>
                  </a:lnTo>
                  <a:lnTo>
                    <a:pt x="366" y="86"/>
                  </a:lnTo>
                  <a:lnTo>
                    <a:pt x="360" y="84"/>
                  </a:lnTo>
                  <a:lnTo>
                    <a:pt x="354" y="86"/>
                  </a:lnTo>
                  <a:lnTo>
                    <a:pt x="348" y="86"/>
                  </a:lnTo>
                  <a:lnTo>
                    <a:pt x="342" y="88"/>
                  </a:lnTo>
                  <a:lnTo>
                    <a:pt x="336" y="88"/>
                  </a:lnTo>
                  <a:lnTo>
                    <a:pt x="342" y="86"/>
                  </a:lnTo>
                  <a:lnTo>
                    <a:pt x="336" y="82"/>
                  </a:lnTo>
                  <a:lnTo>
                    <a:pt x="330" y="82"/>
                  </a:lnTo>
                  <a:lnTo>
                    <a:pt x="324" y="76"/>
                  </a:lnTo>
                  <a:lnTo>
                    <a:pt x="318" y="76"/>
                  </a:lnTo>
                  <a:lnTo>
                    <a:pt x="312" y="76"/>
                  </a:lnTo>
                  <a:lnTo>
                    <a:pt x="306" y="78"/>
                  </a:lnTo>
                  <a:lnTo>
                    <a:pt x="300" y="84"/>
                  </a:lnTo>
                  <a:lnTo>
                    <a:pt x="302" y="78"/>
                  </a:lnTo>
                  <a:lnTo>
                    <a:pt x="296" y="78"/>
                  </a:lnTo>
                  <a:lnTo>
                    <a:pt x="290" y="78"/>
                  </a:lnTo>
                  <a:lnTo>
                    <a:pt x="282" y="80"/>
                  </a:lnTo>
                  <a:lnTo>
                    <a:pt x="276" y="82"/>
                  </a:lnTo>
                  <a:lnTo>
                    <a:pt x="270" y="82"/>
                  </a:lnTo>
                  <a:lnTo>
                    <a:pt x="276" y="80"/>
                  </a:lnTo>
                  <a:lnTo>
                    <a:pt x="270" y="76"/>
                  </a:lnTo>
                  <a:lnTo>
                    <a:pt x="264" y="72"/>
                  </a:lnTo>
                  <a:lnTo>
                    <a:pt x="258" y="74"/>
                  </a:lnTo>
                  <a:lnTo>
                    <a:pt x="252" y="76"/>
                  </a:lnTo>
                  <a:lnTo>
                    <a:pt x="252" y="82"/>
                  </a:lnTo>
                  <a:lnTo>
                    <a:pt x="246" y="84"/>
                  </a:lnTo>
                  <a:lnTo>
                    <a:pt x="240" y="82"/>
                  </a:lnTo>
                  <a:lnTo>
                    <a:pt x="238" y="76"/>
                  </a:lnTo>
                  <a:lnTo>
                    <a:pt x="232" y="76"/>
                  </a:lnTo>
                  <a:lnTo>
                    <a:pt x="224" y="78"/>
                  </a:lnTo>
                  <a:lnTo>
                    <a:pt x="218" y="78"/>
                  </a:lnTo>
                  <a:lnTo>
                    <a:pt x="224" y="78"/>
                  </a:lnTo>
                  <a:lnTo>
                    <a:pt x="218" y="76"/>
                  </a:lnTo>
                  <a:lnTo>
                    <a:pt x="224" y="74"/>
                  </a:lnTo>
                  <a:lnTo>
                    <a:pt x="232" y="76"/>
                  </a:lnTo>
                  <a:lnTo>
                    <a:pt x="238" y="74"/>
                  </a:lnTo>
                  <a:lnTo>
                    <a:pt x="244" y="72"/>
                  </a:lnTo>
                  <a:lnTo>
                    <a:pt x="250" y="68"/>
                  </a:lnTo>
                  <a:lnTo>
                    <a:pt x="246" y="62"/>
                  </a:lnTo>
                  <a:lnTo>
                    <a:pt x="240" y="62"/>
                  </a:lnTo>
                  <a:lnTo>
                    <a:pt x="234" y="64"/>
                  </a:lnTo>
                  <a:lnTo>
                    <a:pt x="236" y="58"/>
                  </a:lnTo>
                  <a:lnTo>
                    <a:pt x="232" y="54"/>
                  </a:lnTo>
                  <a:lnTo>
                    <a:pt x="226" y="56"/>
                  </a:lnTo>
                  <a:lnTo>
                    <a:pt x="220" y="58"/>
                  </a:lnTo>
                  <a:lnTo>
                    <a:pt x="214" y="58"/>
                  </a:lnTo>
                  <a:lnTo>
                    <a:pt x="208" y="58"/>
                  </a:lnTo>
                  <a:lnTo>
                    <a:pt x="202" y="56"/>
                  </a:lnTo>
                  <a:lnTo>
                    <a:pt x="196" y="56"/>
                  </a:lnTo>
                  <a:lnTo>
                    <a:pt x="190" y="58"/>
                  </a:lnTo>
                  <a:lnTo>
                    <a:pt x="184" y="60"/>
                  </a:lnTo>
                  <a:lnTo>
                    <a:pt x="178" y="62"/>
                  </a:lnTo>
                  <a:lnTo>
                    <a:pt x="184" y="58"/>
                  </a:lnTo>
                  <a:lnTo>
                    <a:pt x="192" y="58"/>
                  </a:lnTo>
                  <a:lnTo>
                    <a:pt x="198" y="54"/>
                  </a:lnTo>
                  <a:lnTo>
                    <a:pt x="204" y="54"/>
                  </a:lnTo>
                  <a:lnTo>
                    <a:pt x="210" y="52"/>
                  </a:lnTo>
                  <a:lnTo>
                    <a:pt x="216" y="52"/>
                  </a:lnTo>
                  <a:lnTo>
                    <a:pt x="222" y="52"/>
                  </a:lnTo>
                  <a:lnTo>
                    <a:pt x="228" y="52"/>
                  </a:lnTo>
                  <a:lnTo>
                    <a:pt x="222" y="50"/>
                  </a:lnTo>
                  <a:lnTo>
                    <a:pt x="216" y="50"/>
                  </a:lnTo>
                  <a:lnTo>
                    <a:pt x="210" y="50"/>
                  </a:lnTo>
                  <a:lnTo>
                    <a:pt x="202" y="52"/>
                  </a:lnTo>
                  <a:lnTo>
                    <a:pt x="208" y="50"/>
                  </a:lnTo>
                  <a:lnTo>
                    <a:pt x="202" y="46"/>
                  </a:lnTo>
                  <a:lnTo>
                    <a:pt x="196" y="46"/>
                  </a:lnTo>
                  <a:lnTo>
                    <a:pt x="190" y="46"/>
                  </a:lnTo>
                  <a:lnTo>
                    <a:pt x="184" y="46"/>
                  </a:lnTo>
                  <a:lnTo>
                    <a:pt x="190" y="46"/>
                  </a:lnTo>
                  <a:lnTo>
                    <a:pt x="184" y="42"/>
                  </a:lnTo>
                  <a:lnTo>
                    <a:pt x="192" y="42"/>
                  </a:lnTo>
                  <a:lnTo>
                    <a:pt x="198" y="44"/>
                  </a:lnTo>
                  <a:lnTo>
                    <a:pt x="204" y="44"/>
                  </a:lnTo>
                  <a:lnTo>
                    <a:pt x="210" y="46"/>
                  </a:lnTo>
                  <a:lnTo>
                    <a:pt x="216" y="46"/>
                  </a:lnTo>
                  <a:lnTo>
                    <a:pt x="222" y="46"/>
                  </a:lnTo>
                  <a:lnTo>
                    <a:pt x="228" y="48"/>
                  </a:lnTo>
                  <a:lnTo>
                    <a:pt x="234" y="48"/>
                  </a:lnTo>
                  <a:lnTo>
                    <a:pt x="228" y="46"/>
                  </a:lnTo>
                  <a:lnTo>
                    <a:pt x="234" y="46"/>
                  </a:lnTo>
                  <a:lnTo>
                    <a:pt x="240" y="46"/>
                  </a:lnTo>
                  <a:lnTo>
                    <a:pt x="242" y="46"/>
                  </a:lnTo>
                  <a:lnTo>
                    <a:pt x="248" y="46"/>
                  </a:lnTo>
                  <a:lnTo>
                    <a:pt x="254" y="46"/>
                  </a:lnTo>
                  <a:lnTo>
                    <a:pt x="262" y="46"/>
                  </a:lnTo>
                  <a:lnTo>
                    <a:pt x="268" y="46"/>
                  </a:lnTo>
                  <a:lnTo>
                    <a:pt x="274" y="44"/>
                  </a:lnTo>
                  <a:lnTo>
                    <a:pt x="268" y="38"/>
                  </a:lnTo>
                  <a:lnTo>
                    <a:pt x="262" y="38"/>
                  </a:lnTo>
                  <a:lnTo>
                    <a:pt x="256" y="36"/>
                  </a:lnTo>
                  <a:lnTo>
                    <a:pt x="254" y="36"/>
                  </a:lnTo>
                  <a:lnTo>
                    <a:pt x="248" y="34"/>
                  </a:lnTo>
                  <a:lnTo>
                    <a:pt x="242" y="34"/>
                  </a:lnTo>
                  <a:lnTo>
                    <a:pt x="236" y="34"/>
                  </a:lnTo>
                  <a:lnTo>
                    <a:pt x="230" y="32"/>
                  </a:lnTo>
                  <a:lnTo>
                    <a:pt x="224" y="32"/>
                  </a:lnTo>
                  <a:lnTo>
                    <a:pt x="216" y="30"/>
                  </a:lnTo>
                  <a:lnTo>
                    <a:pt x="210" y="30"/>
                  </a:lnTo>
                  <a:lnTo>
                    <a:pt x="204" y="30"/>
                  </a:lnTo>
                  <a:lnTo>
                    <a:pt x="210" y="28"/>
                  </a:lnTo>
                  <a:lnTo>
                    <a:pt x="216" y="30"/>
                  </a:lnTo>
                  <a:lnTo>
                    <a:pt x="224" y="28"/>
                  </a:lnTo>
                  <a:lnTo>
                    <a:pt x="230" y="30"/>
                  </a:lnTo>
                  <a:lnTo>
                    <a:pt x="236" y="30"/>
                  </a:lnTo>
                  <a:lnTo>
                    <a:pt x="242" y="30"/>
                  </a:lnTo>
                  <a:lnTo>
                    <a:pt x="238" y="24"/>
                  </a:lnTo>
                  <a:lnTo>
                    <a:pt x="232" y="20"/>
                  </a:lnTo>
                  <a:lnTo>
                    <a:pt x="226" y="20"/>
                  </a:lnTo>
                  <a:lnTo>
                    <a:pt x="220" y="18"/>
                  </a:lnTo>
                  <a:lnTo>
                    <a:pt x="214" y="18"/>
                  </a:lnTo>
                  <a:lnTo>
                    <a:pt x="208" y="18"/>
                  </a:lnTo>
                  <a:lnTo>
                    <a:pt x="200" y="20"/>
                  </a:lnTo>
                  <a:lnTo>
                    <a:pt x="194" y="20"/>
                  </a:lnTo>
                  <a:lnTo>
                    <a:pt x="188" y="22"/>
                  </a:lnTo>
                  <a:lnTo>
                    <a:pt x="182" y="22"/>
                  </a:lnTo>
                  <a:lnTo>
                    <a:pt x="176" y="24"/>
                  </a:lnTo>
                  <a:lnTo>
                    <a:pt x="170" y="22"/>
                  </a:lnTo>
                  <a:lnTo>
                    <a:pt x="164" y="24"/>
                  </a:lnTo>
                  <a:lnTo>
                    <a:pt x="158" y="22"/>
                  </a:lnTo>
                  <a:lnTo>
                    <a:pt x="152" y="22"/>
                  </a:lnTo>
                  <a:lnTo>
                    <a:pt x="146" y="22"/>
                  </a:lnTo>
                  <a:lnTo>
                    <a:pt x="138" y="26"/>
                  </a:lnTo>
                  <a:lnTo>
                    <a:pt x="134" y="28"/>
                  </a:lnTo>
                  <a:lnTo>
                    <a:pt x="126" y="30"/>
                  </a:lnTo>
                  <a:lnTo>
                    <a:pt x="120" y="30"/>
                  </a:lnTo>
                  <a:lnTo>
                    <a:pt x="114" y="32"/>
                  </a:lnTo>
                  <a:lnTo>
                    <a:pt x="120" y="30"/>
                  </a:lnTo>
                  <a:lnTo>
                    <a:pt x="126" y="28"/>
                  </a:lnTo>
                  <a:lnTo>
                    <a:pt x="132" y="26"/>
                  </a:lnTo>
                  <a:lnTo>
                    <a:pt x="138" y="22"/>
                  </a:lnTo>
                  <a:lnTo>
                    <a:pt x="144" y="20"/>
                  </a:lnTo>
                  <a:lnTo>
                    <a:pt x="148" y="14"/>
                  </a:lnTo>
                  <a:lnTo>
                    <a:pt x="142" y="10"/>
                  </a:lnTo>
                  <a:lnTo>
                    <a:pt x="136" y="6"/>
                  </a:lnTo>
                  <a:lnTo>
                    <a:pt x="130" y="6"/>
                  </a:lnTo>
                  <a:lnTo>
                    <a:pt x="124" y="8"/>
                  </a:lnTo>
                  <a:lnTo>
                    <a:pt x="118" y="8"/>
                  </a:lnTo>
                  <a:lnTo>
                    <a:pt x="112" y="6"/>
                  </a:lnTo>
                  <a:lnTo>
                    <a:pt x="104" y="4"/>
                  </a:lnTo>
                  <a:lnTo>
                    <a:pt x="100" y="4"/>
                  </a:lnTo>
                  <a:lnTo>
                    <a:pt x="92" y="2"/>
                  </a:lnTo>
                  <a:lnTo>
                    <a:pt x="86" y="2"/>
                  </a:lnTo>
                  <a:lnTo>
                    <a:pt x="80" y="0"/>
                  </a:lnTo>
                  <a:lnTo>
                    <a:pt x="74" y="0"/>
                  </a:lnTo>
                  <a:lnTo>
                    <a:pt x="68" y="0"/>
                  </a:lnTo>
                  <a:lnTo>
                    <a:pt x="62" y="0"/>
                  </a:lnTo>
                  <a:lnTo>
                    <a:pt x="56" y="0"/>
                  </a:lnTo>
                  <a:lnTo>
                    <a:pt x="50" y="0"/>
                  </a:lnTo>
                  <a:lnTo>
                    <a:pt x="42" y="0"/>
                  </a:lnTo>
                  <a:lnTo>
                    <a:pt x="36" y="4"/>
                  </a:lnTo>
                  <a:lnTo>
                    <a:pt x="30" y="4"/>
                  </a:lnTo>
                  <a:lnTo>
                    <a:pt x="24" y="4"/>
                  </a:lnTo>
                  <a:lnTo>
                    <a:pt x="18" y="6"/>
                  </a:lnTo>
                  <a:lnTo>
                    <a:pt x="20" y="12"/>
                  </a:lnTo>
                  <a:lnTo>
                    <a:pt x="26" y="12"/>
                  </a:lnTo>
                  <a:lnTo>
                    <a:pt x="20" y="12"/>
                  </a:lnTo>
                  <a:lnTo>
                    <a:pt x="14" y="16"/>
                  </a:lnTo>
                  <a:lnTo>
                    <a:pt x="8" y="12"/>
                  </a:lnTo>
                  <a:lnTo>
                    <a:pt x="0" y="16"/>
                  </a:lnTo>
                  <a:lnTo>
                    <a:pt x="8" y="18"/>
                  </a:lnTo>
                  <a:lnTo>
                    <a:pt x="14" y="18"/>
                  </a:lnTo>
                  <a:lnTo>
                    <a:pt x="20" y="22"/>
                  </a:lnTo>
                  <a:lnTo>
                    <a:pt x="26" y="24"/>
                  </a:lnTo>
                  <a:lnTo>
                    <a:pt x="32" y="24"/>
                  </a:lnTo>
                  <a:lnTo>
                    <a:pt x="38" y="24"/>
                  </a:lnTo>
                  <a:lnTo>
                    <a:pt x="44" y="22"/>
                  </a:lnTo>
                  <a:lnTo>
                    <a:pt x="38" y="26"/>
                  </a:lnTo>
                  <a:lnTo>
                    <a:pt x="32" y="28"/>
                  </a:lnTo>
                  <a:lnTo>
                    <a:pt x="26" y="28"/>
                  </a:lnTo>
                  <a:lnTo>
                    <a:pt x="20" y="28"/>
                  </a:lnTo>
                  <a:lnTo>
                    <a:pt x="20" y="34"/>
                  </a:lnTo>
                  <a:lnTo>
                    <a:pt x="28" y="34"/>
                  </a:lnTo>
                  <a:lnTo>
                    <a:pt x="34" y="34"/>
                  </a:lnTo>
                  <a:lnTo>
                    <a:pt x="40" y="34"/>
                  </a:lnTo>
                  <a:lnTo>
                    <a:pt x="46" y="36"/>
                  </a:lnTo>
                  <a:lnTo>
                    <a:pt x="52" y="36"/>
                  </a:lnTo>
                  <a:lnTo>
                    <a:pt x="58" y="38"/>
                  </a:lnTo>
                  <a:lnTo>
                    <a:pt x="52" y="38"/>
                  </a:lnTo>
                  <a:lnTo>
                    <a:pt x="46" y="38"/>
                  </a:lnTo>
                  <a:lnTo>
                    <a:pt x="38" y="40"/>
                  </a:lnTo>
                  <a:lnTo>
                    <a:pt x="32" y="40"/>
                  </a:lnTo>
                  <a:lnTo>
                    <a:pt x="38" y="42"/>
                  </a:lnTo>
                  <a:lnTo>
                    <a:pt x="46" y="42"/>
                  </a:lnTo>
                  <a:lnTo>
                    <a:pt x="52" y="40"/>
                  </a:lnTo>
                  <a:lnTo>
                    <a:pt x="58" y="38"/>
                  </a:lnTo>
                  <a:lnTo>
                    <a:pt x="64" y="40"/>
                  </a:lnTo>
                  <a:lnTo>
                    <a:pt x="70" y="40"/>
                  </a:lnTo>
                  <a:lnTo>
                    <a:pt x="78" y="40"/>
                  </a:lnTo>
                  <a:lnTo>
                    <a:pt x="84" y="42"/>
                  </a:lnTo>
                  <a:lnTo>
                    <a:pt x="90"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4" name="Freeform 312"/>
            <p:cNvSpPr>
              <a:spLocks/>
            </p:cNvSpPr>
            <p:nvPr/>
          </p:nvSpPr>
          <p:spPr bwMode="auto">
            <a:xfrm>
              <a:off x="2874963" y="2349500"/>
              <a:ext cx="52387" cy="26988"/>
            </a:xfrm>
            <a:custGeom>
              <a:avLst/>
              <a:gdLst>
                <a:gd name="T0" fmla="*/ 2147483647 w 130"/>
                <a:gd name="T1" fmla="*/ 2147483647 h 66"/>
                <a:gd name="T2" fmla="*/ 0 w 130"/>
                <a:gd name="T3" fmla="*/ 2147483647 h 66"/>
                <a:gd name="T4" fmla="*/ 2147483647 w 130"/>
                <a:gd name="T5" fmla="*/ 2147483647 h 66"/>
                <a:gd name="T6" fmla="*/ 2147483647 w 130"/>
                <a:gd name="T7" fmla="*/ 2147483647 h 66"/>
                <a:gd name="T8" fmla="*/ 2147483647 w 130"/>
                <a:gd name="T9" fmla="*/ 2147483647 h 66"/>
                <a:gd name="T10" fmla="*/ 2147483647 w 130"/>
                <a:gd name="T11" fmla="*/ 2147483647 h 66"/>
                <a:gd name="T12" fmla="*/ 2147483647 w 130"/>
                <a:gd name="T13" fmla="*/ 2147483647 h 66"/>
                <a:gd name="T14" fmla="*/ 2147483647 w 130"/>
                <a:gd name="T15" fmla="*/ 2147483647 h 66"/>
                <a:gd name="T16" fmla="*/ 2147483647 w 130"/>
                <a:gd name="T17" fmla="*/ 2147483647 h 66"/>
                <a:gd name="T18" fmla="*/ 2147483647 w 130"/>
                <a:gd name="T19" fmla="*/ 2147483647 h 66"/>
                <a:gd name="T20" fmla="*/ 2147483647 w 130"/>
                <a:gd name="T21" fmla="*/ 2147483647 h 66"/>
                <a:gd name="T22" fmla="*/ 2147483647 w 130"/>
                <a:gd name="T23" fmla="*/ 2147483647 h 66"/>
                <a:gd name="T24" fmla="*/ 2147483647 w 130"/>
                <a:gd name="T25" fmla="*/ 2147483647 h 66"/>
                <a:gd name="T26" fmla="*/ 2147483647 w 130"/>
                <a:gd name="T27" fmla="*/ 2147483647 h 66"/>
                <a:gd name="T28" fmla="*/ 2147483647 w 130"/>
                <a:gd name="T29" fmla="*/ 2147483647 h 66"/>
                <a:gd name="T30" fmla="*/ 2147483647 w 130"/>
                <a:gd name="T31" fmla="*/ 2147483647 h 66"/>
                <a:gd name="T32" fmla="*/ 2147483647 w 130"/>
                <a:gd name="T33" fmla="*/ 2147483647 h 66"/>
                <a:gd name="T34" fmla="*/ 2147483647 w 130"/>
                <a:gd name="T35" fmla="*/ 2147483647 h 66"/>
                <a:gd name="T36" fmla="*/ 2147483647 w 130"/>
                <a:gd name="T37" fmla="*/ 2147483647 h 66"/>
                <a:gd name="T38" fmla="*/ 2147483647 w 130"/>
                <a:gd name="T39" fmla="*/ 2147483647 h 66"/>
                <a:gd name="T40" fmla="*/ 2147483647 w 130"/>
                <a:gd name="T41" fmla="*/ 2147483647 h 66"/>
                <a:gd name="T42" fmla="*/ 2147483647 w 130"/>
                <a:gd name="T43" fmla="*/ 2147483647 h 66"/>
                <a:gd name="T44" fmla="*/ 2147483647 w 130"/>
                <a:gd name="T45" fmla="*/ 2147483647 h 66"/>
                <a:gd name="T46" fmla="*/ 2147483647 w 130"/>
                <a:gd name="T47" fmla="*/ 2147483647 h 66"/>
                <a:gd name="T48" fmla="*/ 2147483647 w 130"/>
                <a:gd name="T49" fmla="*/ 2147483647 h 66"/>
                <a:gd name="T50" fmla="*/ 2147483647 w 130"/>
                <a:gd name="T51" fmla="*/ 2147483647 h 66"/>
                <a:gd name="T52" fmla="*/ 2147483647 w 130"/>
                <a:gd name="T53" fmla="*/ 2147483647 h 66"/>
                <a:gd name="T54" fmla="*/ 2147483647 w 130"/>
                <a:gd name="T55" fmla="*/ 2147483647 h 66"/>
                <a:gd name="T56" fmla="*/ 2147483647 w 130"/>
                <a:gd name="T57" fmla="*/ 2147483647 h 66"/>
                <a:gd name="T58" fmla="*/ 2147483647 w 130"/>
                <a:gd name="T59" fmla="*/ 0 h 66"/>
                <a:gd name="T60" fmla="*/ 2147483647 w 130"/>
                <a:gd name="T61" fmla="*/ 0 h 66"/>
                <a:gd name="T62" fmla="*/ 2147483647 w 130"/>
                <a:gd name="T63" fmla="*/ 2147483647 h 66"/>
                <a:gd name="T64" fmla="*/ 2147483647 w 130"/>
                <a:gd name="T65" fmla="*/ 2147483647 h 66"/>
                <a:gd name="T66" fmla="*/ 2147483647 w 130"/>
                <a:gd name="T67" fmla="*/ 0 h 66"/>
                <a:gd name="T68" fmla="*/ 2147483647 w 130"/>
                <a:gd name="T69" fmla="*/ 2147483647 h 66"/>
                <a:gd name="T70" fmla="*/ 2147483647 w 130"/>
                <a:gd name="T71" fmla="*/ 2147483647 h 66"/>
                <a:gd name="T72" fmla="*/ 2147483647 w 130"/>
                <a:gd name="T73" fmla="*/ 2147483647 h 66"/>
                <a:gd name="T74" fmla="*/ 2147483647 w 130"/>
                <a:gd name="T75" fmla="*/ 2147483647 h 66"/>
                <a:gd name="T76" fmla="*/ 2147483647 w 130"/>
                <a:gd name="T77" fmla="*/ 2147483647 h 66"/>
                <a:gd name="T78" fmla="*/ 2147483647 w 130"/>
                <a:gd name="T79" fmla="*/ 2147483647 h 66"/>
                <a:gd name="T80" fmla="*/ 2147483647 w 130"/>
                <a:gd name="T81" fmla="*/ 2147483647 h 66"/>
                <a:gd name="T82" fmla="*/ 2147483647 w 130"/>
                <a:gd name="T83" fmla="*/ 2147483647 h 66"/>
                <a:gd name="T84" fmla="*/ 2147483647 w 130"/>
                <a:gd name="T85" fmla="*/ 2147483647 h 66"/>
                <a:gd name="T86" fmla="*/ 2147483647 w 130"/>
                <a:gd name="T87" fmla="*/ 2147483647 h 66"/>
                <a:gd name="T88" fmla="*/ 2147483647 w 130"/>
                <a:gd name="T89" fmla="*/ 2147483647 h 66"/>
                <a:gd name="T90" fmla="*/ 2147483647 w 130"/>
                <a:gd name="T91" fmla="*/ 2147483647 h 66"/>
                <a:gd name="T92" fmla="*/ 2147483647 w 130"/>
                <a:gd name="T93" fmla="*/ 2147483647 h 66"/>
                <a:gd name="T94" fmla="*/ 2147483647 w 130"/>
                <a:gd name="T95" fmla="*/ 2147483647 h 66"/>
                <a:gd name="T96" fmla="*/ 0 w 130"/>
                <a:gd name="T97" fmla="*/ 2147483647 h 66"/>
                <a:gd name="T98" fmla="*/ 2147483647 w 130"/>
                <a:gd name="T99" fmla="*/ 2147483647 h 6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0"/>
                <a:gd name="T151" fmla="*/ 0 h 66"/>
                <a:gd name="T152" fmla="*/ 130 w 130"/>
                <a:gd name="T153" fmla="*/ 66 h 6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0" h="66">
                  <a:moveTo>
                    <a:pt x="2" y="54"/>
                  </a:moveTo>
                  <a:lnTo>
                    <a:pt x="0" y="60"/>
                  </a:lnTo>
                  <a:lnTo>
                    <a:pt x="6" y="66"/>
                  </a:lnTo>
                  <a:lnTo>
                    <a:pt x="12" y="66"/>
                  </a:lnTo>
                  <a:lnTo>
                    <a:pt x="18" y="66"/>
                  </a:lnTo>
                  <a:lnTo>
                    <a:pt x="24" y="66"/>
                  </a:lnTo>
                  <a:lnTo>
                    <a:pt x="30" y="66"/>
                  </a:lnTo>
                  <a:lnTo>
                    <a:pt x="36" y="64"/>
                  </a:lnTo>
                  <a:lnTo>
                    <a:pt x="42" y="64"/>
                  </a:lnTo>
                  <a:lnTo>
                    <a:pt x="48" y="64"/>
                  </a:lnTo>
                  <a:lnTo>
                    <a:pt x="54" y="64"/>
                  </a:lnTo>
                  <a:lnTo>
                    <a:pt x="62" y="62"/>
                  </a:lnTo>
                  <a:lnTo>
                    <a:pt x="68" y="62"/>
                  </a:lnTo>
                  <a:lnTo>
                    <a:pt x="74" y="58"/>
                  </a:lnTo>
                  <a:lnTo>
                    <a:pt x="80" y="58"/>
                  </a:lnTo>
                  <a:lnTo>
                    <a:pt x="84" y="56"/>
                  </a:lnTo>
                  <a:lnTo>
                    <a:pt x="92" y="54"/>
                  </a:lnTo>
                  <a:lnTo>
                    <a:pt x="98" y="50"/>
                  </a:lnTo>
                  <a:lnTo>
                    <a:pt x="104" y="46"/>
                  </a:lnTo>
                  <a:lnTo>
                    <a:pt x="108" y="40"/>
                  </a:lnTo>
                  <a:lnTo>
                    <a:pt x="112" y="34"/>
                  </a:lnTo>
                  <a:lnTo>
                    <a:pt x="114" y="28"/>
                  </a:lnTo>
                  <a:lnTo>
                    <a:pt x="116" y="22"/>
                  </a:lnTo>
                  <a:lnTo>
                    <a:pt x="122" y="20"/>
                  </a:lnTo>
                  <a:lnTo>
                    <a:pt x="128" y="14"/>
                  </a:lnTo>
                  <a:lnTo>
                    <a:pt x="130" y="8"/>
                  </a:lnTo>
                  <a:lnTo>
                    <a:pt x="124" y="6"/>
                  </a:lnTo>
                  <a:lnTo>
                    <a:pt x="118" y="6"/>
                  </a:lnTo>
                  <a:lnTo>
                    <a:pt x="112" y="2"/>
                  </a:lnTo>
                  <a:lnTo>
                    <a:pt x="106" y="0"/>
                  </a:lnTo>
                  <a:lnTo>
                    <a:pt x="100" y="0"/>
                  </a:lnTo>
                  <a:lnTo>
                    <a:pt x="94" y="2"/>
                  </a:lnTo>
                  <a:lnTo>
                    <a:pt x="88" y="2"/>
                  </a:lnTo>
                  <a:lnTo>
                    <a:pt x="82" y="0"/>
                  </a:lnTo>
                  <a:lnTo>
                    <a:pt x="76" y="2"/>
                  </a:lnTo>
                  <a:lnTo>
                    <a:pt x="68" y="2"/>
                  </a:lnTo>
                  <a:lnTo>
                    <a:pt x="64" y="4"/>
                  </a:lnTo>
                  <a:lnTo>
                    <a:pt x="56" y="6"/>
                  </a:lnTo>
                  <a:lnTo>
                    <a:pt x="50" y="10"/>
                  </a:lnTo>
                  <a:lnTo>
                    <a:pt x="46" y="12"/>
                  </a:lnTo>
                  <a:lnTo>
                    <a:pt x="38" y="16"/>
                  </a:lnTo>
                  <a:lnTo>
                    <a:pt x="34" y="20"/>
                  </a:lnTo>
                  <a:lnTo>
                    <a:pt x="28" y="24"/>
                  </a:lnTo>
                  <a:lnTo>
                    <a:pt x="22" y="28"/>
                  </a:lnTo>
                  <a:lnTo>
                    <a:pt x="16" y="30"/>
                  </a:lnTo>
                  <a:lnTo>
                    <a:pt x="10" y="36"/>
                  </a:lnTo>
                  <a:lnTo>
                    <a:pt x="6" y="42"/>
                  </a:lnTo>
                  <a:lnTo>
                    <a:pt x="4" y="48"/>
                  </a:lnTo>
                  <a:lnTo>
                    <a:pt x="0" y="54"/>
                  </a:lnTo>
                  <a:lnTo>
                    <a:pt x="2"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5" name="Freeform 313"/>
            <p:cNvSpPr>
              <a:spLocks/>
            </p:cNvSpPr>
            <p:nvPr/>
          </p:nvSpPr>
          <p:spPr bwMode="auto">
            <a:xfrm>
              <a:off x="2922588" y="2220913"/>
              <a:ext cx="73025" cy="23812"/>
            </a:xfrm>
            <a:custGeom>
              <a:avLst/>
              <a:gdLst>
                <a:gd name="T0" fmla="*/ 2147483647 w 180"/>
                <a:gd name="T1" fmla="*/ 2147483647 h 58"/>
                <a:gd name="T2" fmla="*/ 2147483647 w 180"/>
                <a:gd name="T3" fmla="*/ 2147483647 h 58"/>
                <a:gd name="T4" fmla="*/ 2147483647 w 180"/>
                <a:gd name="T5" fmla="*/ 2147483647 h 58"/>
                <a:gd name="T6" fmla="*/ 2147483647 w 180"/>
                <a:gd name="T7" fmla="*/ 2147483647 h 58"/>
                <a:gd name="T8" fmla="*/ 2147483647 w 180"/>
                <a:gd name="T9" fmla="*/ 2147483647 h 58"/>
                <a:gd name="T10" fmla="*/ 2147483647 w 180"/>
                <a:gd name="T11" fmla="*/ 2147483647 h 58"/>
                <a:gd name="T12" fmla="*/ 2147483647 w 180"/>
                <a:gd name="T13" fmla="*/ 2147483647 h 58"/>
                <a:gd name="T14" fmla="*/ 2147483647 w 180"/>
                <a:gd name="T15" fmla="*/ 2147483647 h 58"/>
                <a:gd name="T16" fmla="*/ 2147483647 w 180"/>
                <a:gd name="T17" fmla="*/ 2147483647 h 58"/>
                <a:gd name="T18" fmla="*/ 2147483647 w 180"/>
                <a:gd name="T19" fmla="*/ 2147483647 h 58"/>
                <a:gd name="T20" fmla="*/ 2147483647 w 180"/>
                <a:gd name="T21" fmla="*/ 2147483647 h 58"/>
                <a:gd name="T22" fmla="*/ 2147483647 w 180"/>
                <a:gd name="T23" fmla="*/ 2147483647 h 58"/>
                <a:gd name="T24" fmla="*/ 2147483647 w 180"/>
                <a:gd name="T25" fmla="*/ 2147483647 h 58"/>
                <a:gd name="T26" fmla="*/ 2147483647 w 180"/>
                <a:gd name="T27" fmla="*/ 2147483647 h 58"/>
                <a:gd name="T28" fmla="*/ 2147483647 w 180"/>
                <a:gd name="T29" fmla="*/ 2147483647 h 58"/>
                <a:gd name="T30" fmla="*/ 2147483647 w 180"/>
                <a:gd name="T31" fmla="*/ 2147483647 h 58"/>
                <a:gd name="T32" fmla="*/ 2147483647 w 180"/>
                <a:gd name="T33" fmla="*/ 2147483647 h 58"/>
                <a:gd name="T34" fmla="*/ 2147483647 w 180"/>
                <a:gd name="T35" fmla="*/ 2147483647 h 58"/>
                <a:gd name="T36" fmla="*/ 2147483647 w 180"/>
                <a:gd name="T37" fmla="*/ 2147483647 h 58"/>
                <a:gd name="T38" fmla="*/ 2147483647 w 180"/>
                <a:gd name="T39" fmla="*/ 2147483647 h 58"/>
                <a:gd name="T40" fmla="*/ 2147483647 w 180"/>
                <a:gd name="T41" fmla="*/ 2147483647 h 58"/>
                <a:gd name="T42" fmla="*/ 2147483647 w 180"/>
                <a:gd name="T43" fmla="*/ 2147483647 h 58"/>
                <a:gd name="T44" fmla="*/ 2147483647 w 180"/>
                <a:gd name="T45" fmla="*/ 2147483647 h 58"/>
                <a:gd name="T46" fmla="*/ 2147483647 w 180"/>
                <a:gd name="T47" fmla="*/ 2147483647 h 58"/>
                <a:gd name="T48" fmla="*/ 2147483647 w 180"/>
                <a:gd name="T49" fmla="*/ 2147483647 h 58"/>
                <a:gd name="T50" fmla="*/ 2147483647 w 180"/>
                <a:gd name="T51" fmla="*/ 2147483647 h 58"/>
                <a:gd name="T52" fmla="*/ 2147483647 w 180"/>
                <a:gd name="T53" fmla="*/ 2147483647 h 58"/>
                <a:gd name="T54" fmla="*/ 2147483647 w 180"/>
                <a:gd name="T55" fmla="*/ 2147483647 h 58"/>
                <a:gd name="T56" fmla="*/ 2147483647 w 180"/>
                <a:gd name="T57" fmla="*/ 2147483647 h 58"/>
                <a:gd name="T58" fmla="*/ 2147483647 w 180"/>
                <a:gd name="T59" fmla="*/ 2147483647 h 58"/>
                <a:gd name="T60" fmla="*/ 0 w 180"/>
                <a:gd name="T61" fmla="*/ 2147483647 h 58"/>
                <a:gd name="T62" fmla="*/ 2147483647 w 180"/>
                <a:gd name="T63" fmla="*/ 2147483647 h 58"/>
                <a:gd name="T64" fmla="*/ 2147483647 w 180"/>
                <a:gd name="T65" fmla="*/ 2147483647 h 58"/>
                <a:gd name="T66" fmla="*/ 2147483647 w 180"/>
                <a:gd name="T67" fmla="*/ 2147483647 h 5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58"/>
                <a:gd name="T104" fmla="*/ 180 w 180"/>
                <a:gd name="T105" fmla="*/ 58 h 5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58">
                  <a:moveTo>
                    <a:pt x="12" y="50"/>
                  </a:moveTo>
                  <a:lnTo>
                    <a:pt x="18" y="54"/>
                  </a:lnTo>
                  <a:lnTo>
                    <a:pt x="24" y="58"/>
                  </a:lnTo>
                  <a:lnTo>
                    <a:pt x="30" y="58"/>
                  </a:lnTo>
                  <a:lnTo>
                    <a:pt x="36" y="58"/>
                  </a:lnTo>
                  <a:lnTo>
                    <a:pt x="42" y="58"/>
                  </a:lnTo>
                  <a:lnTo>
                    <a:pt x="48" y="56"/>
                  </a:lnTo>
                  <a:lnTo>
                    <a:pt x="54" y="54"/>
                  </a:lnTo>
                  <a:lnTo>
                    <a:pt x="62" y="54"/>
                  </a:lnTo>
                  <a:lnTo>
                    <a:pt x="68" y="52"/>
                  </a:lnTo>
                  <a:lnTo>
                    <a:pt x="74" y="52"/>
                  </a:lnTo>
                  <a:lnTo>
                    <a:pt x="80" y="50"/>
                  </a:lnTo>
                  <a:lnTo>
                    <a:pt x="88" y="50"/>
                  </a:lnTo>
                  <a:lnTo>
                    <a:pt x="94" y="50"/>
                  </a:lnTo>
                  <a:lnTo>
                    <a:pt x="100" y="50"/>
                  </a:lnTo>
                  <a:lnTo>
                    <a:pt x="106" y="50"/>
                  </a:lnTo>
                  <a:lnTo>
                    <a:pt x="112" y="50"/>
                  </a:lnTo>
                  <a:lnTo>
                    <a:pt x="120" y="50"/>
                  </a:lnTo>
                  <a:lnTo>
                    <a:pt x="126" y="52"/>
                  </a:lnTo>
                  <a:lnTo>
                    <a:pt x="130" y="52"/>
                  </a:lnTo>
                  <a:lnTo>
                    <a:pt x="138" y="52"/>
                  </a:lnTo>
                  <a:lnTo>
                    <a:pt x="142" y="52"/>
                  </a:lnTo>
                  <a:lnTo>
                    <a:pt x="148" y="52"/>
                  </a:lnTo>
                  <a:lnTo>
                    <a:pt x="154" y="54"/>
                  </a:lnTo>
                  <a:lnTo>
                    <a:pt x="160" y="54"/>
                  </a:lnTo>
                  <a:lnTo>
                    <a:pt x="168" y="54"/>
                  </a:lnTo>
                  <a:lnTo>
                    <a:pt x="172" y="52"/>
                  </a:lnTo>
                  <a:lnTo>
                    <a:pt x="180" y="50"/>
                  </a:lnTo>
                  <a:lnTo>
                    <a:pt x="174" y="46"/>
                  </a:lnTo>
                  <a:lnTo>
                    <a:pt x="178" y="40"/>
                  </a:lnTo>
                  <a:lnTo>
                    <a:pt x="172" y="36"/>
                  </a:lnTo>
                  <a:lnTo>
                    <a:pt x="174" y="30"/>
                  </a:lnTo>
                  <a:lnTo>
                    <a:pt x="166" y="26"/>
                  </a:lnTo>
                  <a:lnTo>
                    <a:pt x="162" y="20"/>
                  </a:lnTo>
                  <a:lnTo>
                    <a:pt x="156" y="14"/>
                  </a:lnTo>
                  <a:lnTo>
                    <a:pt x="150" y="12"/>
                  </a:lnTo>
                  <a:lnTo>
                    <a:pt x="146" y="12"/>
                  </a:lnTo>
                  <a:lnTo>
                    <a:pt x="138" y="10"/>
                  </a:lnTo>
                  <a:lnTo>
                    <a:pt x="134" y="8"/>
                  </a:lnTo>
                  <a:lnTo>
                    <a:pt x="126" y="6"/>
                  </a:lnTo>
                  <a:lnTo>
                    <a:pt x="120" y="6"/>
                  </a:lnTo>
                  <a:lnTo>
                    <a:pt x="114" y="8"/>
                  </a:lnTo>
                  <a:lnTo>
                    <a:pt x="108" y="8"/>
                  </a:lnTo>
                  <a:lnTo>
                    <a:pt x="102" y="8"/>
                  </a:lnTo>
                  <a:lnTo>
                    <a:pt x="96" y="8"/>
                  </a:lnTo>
                  <a:lnTo>
                    <a:pt x="90" y="8"/>
                  </a:lnTo>
                  <a:lnTo>
                    <a:pt x="82" y="8"/>
                  </a:lnTo>
                  <a:lnTo>
                    <a:pt x="78" y="8"/>
                  </a:lnTo>
                  <a:lnTo>
                    <a:pt x="70" y="8"/>
                  </a:lnTo>
                  <a:lnTo>
                    <a:pt x="64" y="6"/>
                  </a:lnTo>
                  <a:lnTo>
                    <a:pt x="58" y="4"/>
                  </a:lnTo>
                  <a:lnTo>
                    <a:pt x="56" y="4"/>
                  </a:lnTo>
                  <a:lnTo>
                    <a:pt x="50" y="4"/>
                  </a:lnTo>
                  <a:lnTo>
                    <a:pt x="44" y="2"/>
                  </a:lnTo>
                  <a:lnTo>
                    <a:pt x="38" y="0"/>
                  </a:lnTo>
                  <a:lnTo>
                    <a:pt x="32" y="2"/>
                  </a:lnTo>
                  <a:lnTo>
                    <a:pt x="24" y="2"/>
                  </a:lnTo>
                  <a:lnTo>
                    <a:pt x="20" y="8"/>
                  </a:lnTo>
                  <a:lnTo>
                    <a:pt x="12" y="10"/>
                  </a:lnTo>
                  <a:lnTo>
                    <a:pt x="12" y="16"/>
                  </a:lnTo>
                  <a:lnTo>
                    <a:pt x="6" y="18"/>
                  </a:lnTo>
                  <a:lnTo>
                    <a:pt x="0" y="22"/>
                  </a:lnTo>
                  <a:lnTo>
                    <a:pt x="6" y="28"/>
                  </a:lnTo>
                  <a:lnTo>
                    <a:pt x="12" y="30"/>
                  </a:lnTo>
                  <a:lnTo>
                    <a:pt x="18" y="30"/>
                  </a:lnTo>
                  <a:lnTo>
                    <a:pt x="18" y="36"/>
                  </a:lnTo>
                  <a:lnTo>
                    <a:pt x="14" y="42"/>
                  </a:lnTo>
                  <a:lnTo>
                    <a:pt x="14" y="48"/>
                  </a:lnTo>
                  <a:lnTo>
                    <a:pt x="12" y="5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6" name="Freeform 314"/>
            <p:cNvSpPr>
              <a:spLocks/>
            </p:cNvSpPr>
            <p:nvPr/>
          </p:nvSpPr>
          <p:spPr bwMode="auto">
            <a:xfrm>
              <a:off x="2836863" y="2909888"/>
              <a:ext cx="52387" cy="30162"/>
            </a:xfrm>
            <a:custGeom>
              <a:avLst/>
              <a:gdLst>
                <a:gd name="T0" fmla="*/ 2147483647 w 128"/>
                <a:gd name="T1" fmla="*/ 2147483647 h 74"/>
                <a:gd name="T2" fmla="*/ 2147483647 w 128"/>
                <a:gd name="T3" fmla="*/ 2147483647 h 74"/>
                <a:gd name="T4" fmla="*/ 2147483647 w 128"/>
                <a:gd name="T5" fmla="*/ 2147483647 h 74"/>
                <a:gd name="T6" fmla="*/ 2147483647 w 128"/>
                <a:gd name="T7" fmla="*/ 2147483647 h 74"/>
                <a:gd name="T8" fmla="*/ 2147483647 w 128"/>
                <a:gd name="T9" fmla="*/ 2147483647 h 74"/>
                <a:gd name="T10" fmla="*/ 2147483647 w 128"/>
                <a:gd name="T11" fmla="*/ 2147483647 h 74"/>
                <a:gd name="T12" fmla="*/ 2147483647 w 128"/>
                <a:gd name="T13" fmla="*/ 2147483647 h 74"/>
                <a:gd name="T14" fmla="*/ 2147483647 w 128"/>
                <a:gd name="T15" fmla="*/ 2147483647 h 74"/>
                <a:gd name="T16" fmla="*/ 2147483647 w 128"/>
                <a:gd name="T17" fmla="*/ 2147483647 h 74"/>
                <a:gd name="T18" fmla="*/ 2147483647 w 128"/>
                <a:gd name="T19" fmla="*/ 2147483647 h 74"/>
                <a:gd name="T20" fmla="*/ 2147483647 w 128"/>
                <a:gd name="T21" fmla="*/ 2147483647 h 74"/>
                <a:gd name="T22" fmla="*/ 2147483647 w 128"/>
                <a:gd name="T23" fmla="*/ 2147483647 h 74"/>
                <a:gd name="T24" fmla="*/ 2147483647 w 128"/>
                <a:gd name="T25" fmla="*/ 2147483647 h 74"/>
                <a:gd name="T26" fmla="*/ 2147483647 w 128"/>
                <a:gd name="T27" fmla="*/ 2147483647 h 74"/>
                <a:gd name="T28" fmla="*/ 2147483647 w 128"/>
                <a:gd name="T29" fmla="*/ 2147483647 h 74"/>
                <a:gd name="T30" fmla="*/ 2147483647 w 128"/>
                <a:gd name="T31" fmla="*/ 2147483647 h 74"/>
                <a:gd name="T32" fmla="*/ 2147483647 w 128"/>
                <a:gd name="T33" fmla="*/ 2147483647 h 74"/>
                <a:gd name="T34" fmla="*/ 2147483647 w 128"/>
                <a:gd name="T35" fmla="*/ 2147483647 h 74"/>
                <a:gd name="T36" fmla="*/ 2147483647 w 128"/>
                <a:gd name="T37" fmla="*/ 2147483647 h 74"/>
                <a:gd name="T38" fmla="*/ 2147483647 w 128"/>
                <a:gd name="T39" fmla="*/ 2147483647 h 74"/>
                <a:gd name="T40" fmla="*/ 2147483647 w 128"/>
                <a:gd name="T41" fmla="*/ 2147483647 h 74"/>
                <a:gd name="T42" fmla="*/ 2147483647 w 128"/>
                <a:gd name="T43" fmla="*/ 2147483647 h 74"/>
                <a:gd name="T44" fmla="*/ 2147483647 w 128"/>
                <a:gd name="T45" fmla="*/ 2147483647 h 74"/>
                <a:gd name="T46" fmla="*/ 2147483647 w 128"/>
                <a:gd name="T47" fmla="*/ 2147483647 h 74"/>
                <a:gd name="T48" fmla="*/ 2147483647 w 128"/>
                <a:gd name="T49" fmla="*/ 2147483647 h 74"/>
                <a:gd name="T50" fmla="*/ 2147483647 w 128"/>
                <a:gd name="T51" fmla="*/ 2147483647 h 74"/>
                <a:gd name="T52" fmla="*/ 2147483647 w 128"/>
                <a:gd name="T53" fmla="*/ 2147483647 h 74"/>
                <a:gd name="T54" fmla="*/ 2147483647 w 128"/>
                <a:gd name="T55" fmla="*/ 2147483647 h 74"/>
                <a:gd name="T56" fmla="*/ 2147483647 w 128"/>
                <a:gd name="T57" fmla="*/ 2147483647 h 74"/>
                <a:gd name="T58" fmla="*/ 2147483647 w 128"/>
                <a:gd name="T59" fmla="*/ 2147483647 h 74"/>
                <a:gd name="T60" fmla="*/ 2147483647 w 128"/>
                <a:gd name="T61" fmla="*/ 2147483647 h 74"/>
                <a:gd name="T62" fmla="*/ 2147483647 w 128"/>
                <a:gd name="T63" fmla="*/ 2147483647 h 74"/>
                <a:gd name="T64" fmla="*/ 2147483647 w 128"/>
                <a:gd name="T65" fmla="*/ 2147483647 h 74"/>
                <a:gd name="T66" fmla="*/ 2147483647 w 128"/>
                <a:gd name="T67" fmla="*/ 2147483647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28"/>
                <a:gd name="T103" fmla="*/ 0 h 74"/>
                <a:gd name="T104" fmla="*/ 128 w 128"/>
                <a:gd name="T105" fmla="*/ 74 h 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28" h="74">
                  <a:moveTo>
                    <a:pt x="28" y="54"/>
                  </a:moveTo>
                  <a:lnTo>
                    <a:pt x="26" y="50"/>
                  </a:lnTo>
                  <a:lnTo>
                    <a:pt x="30" y="46"/>
                  </a:lnTo>
                  <a:lnTo>
                    <a:pt x="24" y="44"/>
                  </a:lnTo>
                  <a:lnTo>
                    <a:pt x="18" y="46"/>
                  </a:lnTo>
                  <a:lnTo>
                    <a:pt x="12" y="42"/>
                  </a:lnTo>
                  <a:lnTo>
                    <a:pt x="16" y="34"/>
                  </a:lnTo>
                  <a:lnTo>
                    <a:pt x="18" y="30"/>
                  </a:lnTo>
                  <a:lnTo>
                    <a:pt x="12" y="30"/>
                  </a:lnTo>
                  <a:lnTo>
                    <a:pt x="6" y="30"/>
                  </a:lnTo>
                  <a:lnTo>
                    <a:pt x="0" y="26"/>
                  </a:lnTo>
                  <a:lnTo>
                    <a:pt x="4" y="22"/>
                  </a:lnTo>
                  <a:lnTo>
                    <a:pt x="10" y="18"/>
                  </a:lnTo>
                  <a:lnTo>
                    <a:pt x="14" y="12"/>
                  </a:lnTo>
                  <a:lnTo>
                    <a:pt x="22" y="8"/>
                  </a:lnTo>
                  <a:lnTo>
                    <a:pt x="26" y="4"/>
                  </a:lnTo>
                  <a:lnTo>
                    <a:pt x="32" y="0"/>
                  </a:lnTo>
                  <a:lnTo>
                    <a:pt x="30" y="8"/>
                  </a:lnTo>
                  <a:lnTo>
                    <a:pt x="28" y="12"/>
                  </a:lnTo>
                  <a:lnTo>
                    <a:pt x="22" y="16"/>
                  </a:lnTo>
                  <a:lnTo>
                    <a:pt x="26" y="22"/>
                  </a:lnTo>
                  <a:lnTo>
                    <a:pt x="28" y="28"/>
                  </a:lnTo>
                  <a:lnTo>
                    <a:pt x="28" y="34"/>
                  </a:lnTo>
                  <a:lnTo>
                    <a:pt x="22" y="40"/>
                  </a:lnTo>
                  <a:lnTo>
                    <a:pt x="28" y="42"/>
                  </a:lnTo>
                  <a:lnTo>
                    <a:pt x="34" y="40"/>
                  </a:lnTo>
                  <a:lnTo>
                    <a:pt x="36" y="34"/>
                  </a:lnTo>
                  <a:lnTo>
                    <a:pt x="42" y="34"/>
                  </a:lnTo>
                  <a:lnTo>
                    <a:pt x="48" y="40"/>
                  </a:lnTo>
                  <a:lnTo>
                    <a:pt x="52" y="38"/>
                  </a:lnTo>
                  <a:lnTo>
                    <a:pt x="58" y="42"/>
                  </a:lnTo>
                  <a:lnTo>
                    <a:pt x="64" y="44"/>
                  </a:lnTo>
                  <a:lnTo>
                    <a:pt x="70" y="44"/>
                  </a:lnTo>
                  <a:lnTo>
                    <a:pt x="76" y="42"/>
                  </a:lnTo>
                  <a:lnTo>
                    <a:pt x="82" y="42"/>
                  </a:lnTo>
                  <a:lnTo>
                    <a:pt x="88" y="42"/>
                  </a:lnTo>
                  <a:lnTo>
                    <a:pt x="94" y="40"/>
                  </a:lnTo>
                  <a:lnTo>
                    <a:pt x="100" y="40"/>
                  </a:lnTo>
                  <a:lnTo>
                    <a:pt x="106" y="40"/>
                  </a:lnTo>
                  <a:lnTo>
                    <a:pt x="110" y="40"/>
                  </a:lnTo>
                  <a:lnTo>
                    <a:pt x="116" y="40"/>
                  </a:lnTo>
                  <a:lnTo>
                    <a:pt x="122" y="40"/>
                  </a:lnTo>
                  <a:lnTo>
                    <a:pt x="128" y="42"/>
                  </a:lnTo>
                  <a:lnTo>
                    <a:pt x="122" y="44"/>
                  </a:lnTo>
                  <a:lnTo>
                    <a:pt x="116" y="46"/>
                  </a:lnTo>
                  <a:lnTo>
                    <a:pt x="110" y="48"/>
                  </a:lnTo>
                  <a:lnTo>
                    <a:pt x="104" y="48"/>
                  </a:lnTo>
                  <a:lnTo>
                    <a:pt x="98" y="54"/>
                  </a:lnTo>
                  <a:lnTo>
                    <a:pt x="92" y="58"/>
                  </a:lnTo>
                  <a:lnTo>
                    <a:pt x="86" y="60"/>
                  </a:lnTo>
                  <a:lnTo>
                    <a:pt x="92" y="62"/>
                  </a:lnTo>
                  <a:lnTo>
                    <a:pt x="90" y="68"/>
                  </a:lnTo>
                  <a:lnTo>
                    <a:pt x="86" y="74"/>
                  </a:lnTo>
                  <a:lnTo>
                    <a:pt x="80" y="74"/>
                  </a:lnTo>
                  <a:lnTo>
                    <a:pt x="74" y="74"/>
                  </a:lnTo>
                  <a:lnTo>
                    <a:pt x="68" y="74"/>
                  </a:lnTo>
                  <a:lnTo>
                    <a:pt x="68" y="68"/>
                  </a:lnTo>
                  <a:lnTo>
                    <a:pt x="62" y="68"/>
                  </a:lnTo>
                  <a:lnTo>
                    <a:pt x="68" y="64"/>
                  </a:lnTo>
                  <a:lnTo>
                    <a:pt x="68" y="60"/>
                  </a:lnTo>
                  <a:lnTo>
                    <a:pt x="62" y="56"/>
                  </a:lnTo>
                  <a:lnTo>
                    <a:pt x="66" y="52"/>
                  </a:lnTo>
                  <a:lnTo>
                    <a:pt x="60" y="56"/>
                  </a:lnTo>
                  <a:lnTo>
                    <a:pt x="56" y="56"/>
                  </a:lnTo>
                  <a:lnTo>
                    <a:pt x="52" y="62"/>
                  </a:lnTo>
                  <a:lnTo>
                    <a:pt x="46" y="62"/>
                  </a:lnTo>
                  <a:lnTo>
                    <a:pt x="40" y="60"/>
                  </a:lnTo>
                  <a:lnTo>
                    <a:pt x="34" y="58"/>
                  </a:lnTo>
                  <a:lnTo>
                    <a:pt x="28"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7" name="Freeform 315"/>
            <p:cNvSpPr>
              <a:spLocks/>
            </p:cNvSpPr>
            <p:nvPr/>
          </p:nvSpPr>
          <p:spPr bwMode="auto">
            <a:xfrm>
              <a:off x="2868613" y="2828925"/>
              <a:ext cx="53975" cy="23813"/>
            </a:xfrm>
            <a:custGeom>
              <a:avLst/>
              <a:gdLst>
                <a:gd name="T0" fmla="*/ 2147483647 w 132"/>
                <a:gd name="T1" fmla="*/ 2147483647 h 58"/>
                <a:gd name="T2" fmla="*/ 2147483647 w 132"/>
                <a:gd name="T3" fmla="*/ 2147483647 h 58"/>
                <a:gd name="T4" fmla="*/ 2147483647 w 132"/>
                <a:gd name="T5" fmla="*/ 2147483647 h 58"/>
                <a:gd name="T6" fmla="*/ 2147483647 w 132"/>
                <a:gd name="T7" fmla="*/ 2147483647 h 58"/>
                <a:gd name="T8" fmla="*/ 2147483647 w 132"/>
                <a:gd name="T9" fmla="*/ 2147483647 h 58"/>
                <a:gd name="T10" fmla="*/ 2147483647 w 132"/>
                <a:gd name="T11" fmla="*/ 2147483647 h 58"/>
                <a:gd name="T12" fmla="*/ 2147483647 w 132"/>
                <a:gd name="T13" fmla="*/ 2147483647 h 58"/>
                <a:gd name="T14" fmla="*/ 2147483647 w 132"/>
                <a:gd name="T15" fmla="*/ 2147483647 h 58"/>
                <a:gd name="T16" fmla="*/ 2147483647 w 132"/>
                <a:gd name="T17" fmla="*/ 2147483647 h 58"/>
                <a:gd name="T18" fmla="*/ 2147483647 w 132"/>
                <a:gd name="T19" fmla="*/ 2147483647 h 58"/>
                <a:gd name="T20" fmla="*/ 2147483647 w 132"/>
                <a:gd name="T21" fmla="*/ 2147483647 h 58"/>
                <a:gd name="T22" fmla="*/ 2147483647 w 132"/>
                <a:gd name="T23" fmla="*/ 2147483647 h 58"/>
                <a:gd name="T24" fmla="*/ 2147483647 w 132"/>
                <a:gd name="T25" fmla="*/ 2147483647 h 58"/>
                <a:gd name="T26" fmla="*/ 2147483647 w 132"/>
                <a:gd name="T27" fmla="*/ 2147483647 h 58"/>
                <a:gd name="T28" fmla="*/ 2147483647 w 132"/>
                <a:gd name="T29" fmla="*/ 2147483647 h 58"/>
                <a:gd name="T30" fmla="*/ 2147483647 w 132"/>
                <a:gd name="T31" fmla="*/ 2147483647 h 58"/>
                <a:gd name="T32" fmla="*/ 2147483647 w 132"/>
                <a:gd name="T33" fmla="*/ 2147483647 h 58"/>
                <a:gd name="T34" fmla="*/ 2147483647 w 132"/>
                <a:gd name="T35" fmla="*/ 2147483647 h 58"/>
                <a:gd name="T36" fmla="*/ 2147483647 w 132"/>
                <a:gd name="T37" fmla="*/ 2147483647 h 58"/>
                <a:gd name="T38" fmla="*/ 2147483647 w 132"/>
                <a:gd name="T39" fmla="*/ 2147483647 h 58"/>
                <a:gd name="T40" fmla="*/ 2147483647 w 132"/>
                <a:gd name="T41" fmla="*/ 2147483647 h 58"/>
                <a:gd name="T42" fmla="*/ 2147483647 w 132"/>
                <a:gd name="T43" fmla="*/ 2147483647 h 58"/>
                <a:gd name="T44" fmla="*/ 2147483647 w 132"/>
                <a:gd name="T45" fmla="*/ 2147483647 h 58"/>
                <a:gd name="T46" fmla="*/ 2147483647 w 132"/>
                <a:gd name="T47" fmla="*/ 2147483647 h 58"/>
                <a:gd name="T48" fmla="*/ 2147483647 w 132"/>
                <a:gd name="T49" fmla="*/ 2147483647 h 58"/>
                <a:gd name="T50" fmla="*/ 2147483647 w 132"/>
                <a:gd name="T51" fmla="*/ 2147483647 h 58"/>
                <a:gd name="T52" fmla="*/ 2147483647 w 132"/>
                <a:gd name="T53" fmla="*/ 2147483647 h 58"/>
                <a:gd name="T54" fmla="*/ 2147483647 w 132"/>
                <a:gd name="T55" fmla="*/ 2147483647 h 58"/>
                <a:gd name="T56" fmla="*/ 2147483647 w 132"/>
                <a:gd name="T57" fmla="*/ 2147483647 h 58"/>
                <a:gd name="T58" fmla="*/ 2147483647 w 132"/>
                <a:gd name="T59" fmla="*/ 2147483647 h 58"/>
                <a:gd name="T60" fmla="*/ 2147483647 w 132"/>
                <a:gd name="T61" fmla="*/ 2147483647 h 58"/>
                <a:gd name="T62" fmla="*/ 2147483647 w 132"/>
                <a:gd name="T63" fmla="*/ 2147483647 h 58"/>
                <a:gd name="T64" fmla="*/ 2147483647 w 132"/>
                <a:gd name="T65" fmla="*/ 2147483647 h 58"/>
                <a:gd name="T66" fmla="*/ 2147483647 w 132"/>
                <a:gd name="T67" fmla="*/ 2147483647 h 58"/>
                <a:gd name="T68" fmla="*/ 2147483647 w 132"/>
                <a:gd name="T69" fmla="*/ 2147483647 h 58"/>
                <a:gd name="T70" fmla="*/ 2147483647 w 132"/>
                <a:gd name="T71" fmla="*/ 2147483647 h 58"/>
                <a:gd name="T72" fmla="*/ 2147483647 w 132"/>
                <a:gd name="T73" fmla="*/ 2147483647 h 58"/>
                <a:gd name="T74" fmla="*/ 2147483647 w 132"/>
                <a:gd name="T75" fmla="*/ 2147483647 h 58"/>
                <a:gd name="T76" fmla="*/ 0 w 132"/>
                <a:gd name="T77" fmla="*/ 2147483647 h 58"/>
                <a:gd name="T78" fmla="*/ 2147483647 w 132"/>
                <a:gd name="T79" fmla="*/ 2147483647 h 58"/>
                <a:gd name="T80" fmla="*/ 2147483647 w 132"/>
                <a:gd name="T81" fmla="*/ 2147483647 h 58"/>
                <a:gd name="T82" fmla="*/ 2147483647 w 132"/>
                <a:gd name="T83" fmla="*/ 0 h 58"/>
                <a:gd name="T84" fmla="*/ 2147483647 w 132"/>
                <a:gd name="T85" fmla="*/ 0 h 58"/>
                <a:gd name="T86" fmla="*/ 2147483647 w 132"/>
                <a:gd name="T87" fmla="*/ 2147483647 h 58"/>
                <a:gd name="T88" fmla="*/ 2147483647 w 132"/>
                <a:gd name="T89" fmla="*/ 2147483647 h 58"/>
                <a:gd name="T90" fmla="*/ 2147483647 w 132"/>
                <a:gd name="T91" fmla="*/ 2147483647 h 58"/>
                <a:gd name="T92" fmla="*/ 2147483647 w 132"/>
                <a:gd name="T93" fmla="*/ 2147483647 h 58"/>
                <a:gd name="T94" fmla="*/ 2147483647 w 132"/>
                <a:gd name="T95" fmla="*/ 2147483647 h 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32"/>
                <a:gd name="T145" fmla="*/ 0 h 58"/>
                <a:gd name="T146" fmla="*/ 132 w 132"/>
                <a:gd name="T147" fmla="*/ 58 h 5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32" h="58">
                  <a:moveTo>
                    <a:pt x="54" y="8"/>
                  </a:moveTo>
                  <a:lnTo>
                    <a:pt x="58" y="8"/>
                  </a:lnTo>
                  <a:lnTo>
                    <a:pt x="64" y="10"/>
                  </a:lnTo>
                  <a:lnTo>
                    <a:pt x="70" y="12"/>
                  </a:lnTo>
                  <a:lnTo>
                    <a:pt x="76" y="12"/>
                  </a:lnTo>
                  <a:lnTo>
                    <a:pt x="82" y="16"/>
                  </a:lnTo>
                  <a:lnTo>
                    <a:pt x="88" y="20"/>
                  </a:lnTo>
                  <a:lnTo>
                    <a:pt x="94" y="22"/>
                  </a:lnTo>
                  <a:lnTo>
                    <a:pt x="100" y="24"/>
                  </a:lnTo>
                  <a:lnTo>
                    <a:pt x="106" y="30"/>
                  </a:lnTo>
                  <a:lnTo>
                    <a:pt x="112" y="36"/>
                  </a:lnTo>
                  <a:lnTo>
                    <a:pt x="118" y="38"/>
                  </a:lnTo>
                  <a:lnTo>
                    <a:pt x="124" y="40"/>
                  </a:lnTo>
                  <a:lnTo>
                    <a:pt x="130" y="46"/>
                  </a:lnTo>
                  <a:lnTo>
                    <a:pt x="132" y="52"/>
                  </a:lnTo>
                  <a:lnTo>
                    <a:pt x="130" y="58"/>
                  </a:lnTo>
                  <a:lnTo>
                    <a:pt x="122" y="58"/>
                  </a:lnTo>
                  <a:lnTo>
                    <a:pt x="118" y="58"/>
                  </a:lnTo>
                  <a:lnTo>
                    <a:pt x="112" y="58"/>
                  </a:lnTo>
                  <a:lnTo>
                    <a:pt x="106" y="58"/>
                  </a:lnTo>
                  <a:lnTo>
                    <a:pt x="100" y="58"/>
                  </a:lnTo>
                  <a:lnTo>
                    <a:pt x="94" y="56"/>
                  </a:lnTo>
                  <a:lnTo>
                    <a:pt x="88" y="54"/>
                  </a:lnTo>
                  <a:lnTo>
                    <a:pt x="82" y="54"/>
                  </a:lnTo>
                  <a:lnTo>
                    <a:pt x="76" y="52"/>
                  </a:lnTo>
                  <a:lnTo>
                    <a:pt x="70" y="50"/>
                  </a:lnTo>
                  <a:lnTo>
                    <a:pt x="64" y="50"/>
                  </a:lnTo>
                  <a:lnTo>
                    <a:pt x="58" y="48"/>
                  </a:lnTo>
                  <a:lnTo>
                    <a:pt x="52" y="44"/>
                  </a:lnTo>
                  <a:lnTo>
                    <a:pt x="46" y="40"/>
                  </a:lnTo>
                  <a:lnTo>
                    <a:pt x="40" y="38"/>
                  </a:lnTo>
                  <a:lnTo>
                    <a:pt x="38" y="32"/>
                  </a:lnTo>
                  <a:lnTo>
                    <a:pt x="36" y="26"/>
                  </a:lnTo>
                  <a:lnTo>
                    <a:pt x="30" y="20"/>
                  </a:lnTo>
                  <a:lnTo>
                    <a:pt x="24" y="16"/>
                  </a:lnTo>
                  <a:lnTo>
                    <a:pt x="18" y="16"/>
                  </a:lnTo>
                  <a:lnTo>
                    <a:pt x="12" y="12"/>
                  </a:lnTo>
                  <a:lnTo>
                    <a:pt x="6" y="8"/>
                  </a:lnTo>
                  <a:lnTo>
                    <a:pt x="0" y="6"/>
                  </a:lnTo>
                  <a:lnTo>
                    <a:pt x="6" y="2"/>
                  </a:lnTo>
                  <a:lnTo>
                    <a:pt x="12" y="2"/>
                  </a:lnTo>
                  <a:lnTo>
                    <a:pt x="18" y="0"/>
                  </a:lnTo>
                  <a:lnTo>
                    <a:pt x="24" y="0"/>
                  </a:lnTo>
                  <a:lnTo>
                    <a:pt x="30" y="4"/>
                  </a:lnTo>
                  <a:lnTo>
                    <a:pt x="36" y="4"/>
                  </a:lnTo>
                  <a:lnTo>
                    <a:pt x="42" y="4"/>
                  </a:lnTo>
                  <a:lnTo>
                    <a:pt x="48" y="6"/>
                  </a:lnTo>
                  <a:lnTo>
                    <a:pt x="54" y="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8" name="Freeform 316"/>
            <p:cNvSpPr>
              <a:spLocks/>
            </p:cNvSpPr>
            <p:nvPr/>
          </p:nvSpPr>
          <p:spPr bwMode="auto">
            <a:xfrm>
              <a:off x="2894013" y="2909888"/>
              <a:ext cx="39687" cy="41275"/>
            </a:xfrm>
            <a:custGeom>
              <a:avLst/>
              <a:gdLst>
                <a:gd name="T0" fmla="*/ 0 w 98"/>
                <a:gd name="T1" fmla="*/ 2147483647 h 100"/>
                <a:gd name="T2" fmla="*/ 0 w 98"/>
                <a:gd name="T3" fmla="*/ 2147483647 h 100"/>
                <a:gd name="T4" fmla="*/ 2147483647 w 98"/>
                <a:gd name="T5" fmla="*/ 2147483647 h 100"/>
                <a:gd name="T6" fmla="*/ 2147483647 w 98"/>
                <a:gd name="T7" fmla="*/ 2147483647 h 100"/>
                <a:gd name="T8" fmla="*/ 2147483647 w 98"/>
                <a:gd name="T9" fmla="*/ 2147483647 h 100"/>
                <a:gd name="T10" fmla="*/ 2147483647 w 98"/>
                <a:gd name="T11" fmla="*/ 2147483647 h 100"/>
                <a:gd name="T12" fmla="*/ 2147483647 w 98"/>
                <a:gd name="T13" fmla="*/ 2147483647 h 100"/>
                <a:gd name="T14" fmla="*/ 2147483647 w 98"/>
                <a:gd name="T15" fmla="*/ 2147483647 h 100"/>
                <a:gd name="T16" fmla="*/ 2147483647 w 98"/>
                <a:gd name="T17" fmla="*/ 2147483647 h 100"/>
                <a:gd name="T18" fmla="*/ 2147483647 w 98"/>
                <a:gd name="T19" fmla="*/ 0 h 100"/>
                <a:gd name="T20" fmla="*/ 2147483647 w 98"/>
                <a:gd name="T21" fmla="*/ 2147483647 h 100"/>
                <a:gd name="T22" fmla="*/ 2147483647 w 98"/>
                <a:gd name="T23" fmla="*/ 2147483647 h 100"/>
                <a:gd name="T24" fmla="*/ 2147483647 w 98"/>
                <a:gd name="T25" fmla="*/ 2147483647 h 100"/>
                <a:gd name="T26" fmla="*/ 2147483647 w 98"/>
                <a:gd name="T27" fmla="*/ 2147483647 h 100"/>
                <a:gd name="T28" fmla="*/ 2147483647 w 98"/>
                <a:gd name="T29" fmla="*/ 2147483647 h 100"/>
                <a:gd name="T30" fmla="*/ 2147483647 w 98"/>
                <a:gd name="T31" fmla="*/ 2147483647 h 100"/>
                <a:gd name="T32" fmla="*/ 2147483647 w 98"/>
                <a:gd name="T33" fmla="*/ 2147483647 h 100"/>
                <a:gd name="T34" fmla="*/ 2147483647 w 98"/>
                <a:gd name="T35" fmla="*/ 2147483647 h 100"/>
                <a:gd name="T36" fmla="*/ 2147483647 w 98"/>
                <a:gd name="T37" fmla="*/ 2147483647 h 100"/>
                <a:gd name="T38" fmla="*/ 2147483647 w 98"/>
                <a:gd name="T39" fmla="*/ 2147483647 h 100"/>
                <a:gd name="T40" fmla="*/ 2147483647 w 98"/>
                <a:gd name="T41" fmla="*/ 2147483647 h 100"/>
                <a:gd name="T42" fmla="*/ 2147483647 w 98"/>
                <a:gd name="T43" fmla="*/ 2147483647 h 100"/>
                <a:gd name="T44" fmla="*/ 2147483647 w 98"/>
                <a:gd name="T45" fmla="*/ 2147483647 h 100"/>
                <a:gd name="T46" fmla="*/ 2147483647 w 98"/>
                <a:gd name="T47" fmla="*/ 2147483647 h 100"/>
                <a:gd name="T48" fmla="*/ 2147483647 w 98"/>
                <a:gd name="T49" fmla="*/ 2147483647 h 100"/>
                <a:gd name="T50" fmla="*/ 2147483647 w 98"/>
                <a:gd name="T51" fmla="*/ 2147483647 h 100"/>
                <a:gd name="T52" fmla="*/ 2147483647 w 98"/>
                <a:gd name="T53" fmla="*/ 2147483647 h 100"/>
                <a:gd name="T54" fmla="*/ 2147483647 w 98"/>
                <a:gd name="T55" fmla="*/ 2147483647 h 100"/>
                <a:gd name="T56" fmla="*/ 2147483647 w 98"/>
                <a:gd name="T57" fmla="*/ 2147483647 h 100"/>
                <a:gd name="T58" fmla="*/ 2147483647 w 98"/>
                <a:gd name="T59" fmla="*/ 2147483647 h 100"/>
                <a:gd name="T60" fmla="*/ 2147483647 w 98"/>
                <a:gd name="T61" fmla="*/ 2147483647 h 100"/>
                <a:gd name="T62" fmla="*/ 2147483647 w 98"/>
                <a:gd name="T63" fmla="*/ 2147483647 h 100"/>
                <a:gd name="T64" fmla="*/ 2147483647 w 98"/>
                <a:gd name="T65" fmla="*/ 2147483647 h 100"/>
                <a:gd name="T66" fmla="*/ 2147483647 w 98"/>
                <a:gd name="T67" fmla="*/ 2147483647 h 100"/>
                <a:gd name="T68" fmla="*/ 2147483647 w 98"/>
                <a:gd name="T69" fmla="*/ 2147483647 h 100"/>
                <a:gd name="T70" fmla="*/ 2147483647 w 98"/>
                <a:gd name="T71" fmla="*/ 2147483647 h 100"/>
                <a:gd name="T72" fmla="*/ 2147483647 w 98"/>
                <a:gd name="T73" fmla="*/ 2147483647 h 100"/>
                <a:gd name="T74" fmla="*/ 2147483647 w 98"/>
                <a:gd name="T75" fmla="*/ 2147483647 h 100"/>
                <a:gd name="T76" fmla="*/ 2147483647 w 98"/>
                <a:gd name="T77" fmla="*/ 2147483647 h 100"/>
                <a:gd name="T78" fmla="*/ 2147483647 w 98"/>
                <a:gd name="T79" fmla="*/ 2147483647 h 100"/>
                <a:gd name="T80" fmla="*/ 2147483647 w 98"/>
                <a:gd name="T81" fmla="*/ 2147483647 h 100"/>
                <a:gd name="T82" fmla="*/ 2147483647 w 98"/>
                <a:gd name="T83" fmla="*/ 2147483647 h 100"/>
                <a:gd name="T84" fmla="*/ 2147483647 w 98"/>
                <a:gd name="T85" fmla="*/ 2147483647 h 100"/>
                <a:gd name="T86" fmla="*/ 2147483647 w 98"/>
                <a:gd name="T87" fmla="*/ 2147483647 h 100"/>
                <a:gd name="T88" fmla="*/ 2147483647 w 98"/>
                <a:gd name="T89" fmla="*/ 2147483647 h 100"/>
                <a:gd name="T90" fmla="*/ 2147483647 w 98"/>
                <a:gd name="T91" fmla="*/ 2147483647 h 100"/>
                <a:gd name="T92" fmla="*/ 2147483647 w 98"/>
                <a:gd name="T93" fmla="*/ 2147483647 h 100"/>
                <a:gd name="T94" fmla="*/ 2147483647 w 98"/>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8"/>
                <a:gd name="T145" fmla="*/ 0 h 100"/>
                <a:gd name="T146" fmla="*/ 98 w 98"/>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8" h="100">
                  <a:moveTo>
                    <a:pt x="2" y="98"/>
                  </a:moveTo>
                  <a:lnTo>
                    <a:pt x="0" y="94"/>
                  </a:lnTo>
                  <a:lnTo>
                    <a:pt x="0" y="88"/>
                  </a:lnTo>
                  <a:lnTo>
                    <a:pt x="0" y="82"/>
                  </a:lnTo>
                  <a:lnTo>
                    <a:pt x="2" y="76"/>
                  </a:lnTo>
                  <a:lnTo>
                    <a:pt x="2" y="70"/>
                  </a:lnTo>
                  <a:lnTo>
                    <a:pt x="6" y="64"/>
                  </a:lnTo>
                  <a:lnTo>
                    <a:pt x="12" y="58"/>
                  </a:lnTo>
                  <a:lnTo>
                    <a:pt x="18" y="56"/>
                  </a:lnTo>
                  <a:lnTo>
                    <a:pt x="24" y="50"/>
                  </a:lnTo>
                  <a:lnTo>
                    <a:pt x="30" y="44"/>
                  </a:lnTo>
                  <a:lnTo>
                    <a:pt x="36" y="40"/>
                  </a:lnTo>
                  <a:lnTo>
                    <a:pt x="40" y="34"/>
                  </a:lnTo>
                  <a:lnTo>
                    <a:pt x="44" y="28"/>
                  </a:lnTo>
                  <a:lnTo>
                    <a:pt x="50" y="24"/>
                  </a:lnTo>
                  <a:lnTo>
                    <a:pt x="54" y="20"/>
                  </a:lnTo>
                  <a:lnTo>
                    <a:pt x="60" y="14"/>
                  </a:lnTo>
                  <a:lnTo>
                    <a:pt x="66" y="10"/>
                  </a:lnTo>
                  <a:lnTo>
                    <a:pt x="72" y="6"/>
                  </a:lnTo>
                  <a:lnTo>
                    <a:pt x="78" y="0"/>
                  </a:lnTo>
                  <a:lnTo>
                    <a:pt x="84" y="6"/>
                  </a:lnTo>
                  <a:lnTo>
                    <a:pt x="82" y="12"/>
                  </a:lnTo>
                  <a:lnTo>
                    <a:pt x="88" y="14"/>
                  </a:lnTo>
                  <a:lnTo>
                    <a:pt x="86" y="20"/>
                  </a:lnTo>
                  <a:lnTo>
                    <a:pt x="80" y="26"/>
                  </a:lnTo>
                  <a:lnTo>
                    <a:pt x="76" y="32"/>
                  </a:lnTo>
                  <a:lnTo>
                    <a:pt x="72" y="38"/>
                  </a:lnTo>
                  <a:lnTo>
                    <a:pt x="68" y="44"/>
                  </a:lnTo>
                  <a:lnTo>
                    <a:pt x="62" y="50"/>
                  </a:lnTo>
                  <a:lnTo>
                    <a:pt x="58" y="56"/>
                  </a:lnTo>
                  <a:lnTo>
                    <a:pt x="62" y="52"/>
                  </a:lnTo>
                  <a:lnTo>
                    <a:pt x="70" y="52"/>
                  </a:lnTo>
                  <a:lnTo>
                    <a:pt x="62" y="56"/>
                  </a:lnTo>
                  <a:lnTo>
                    <a:pt x="58" y="60"/>
                  </a:lnTo>
                  <a:lnTo>
                    <a:pt x="50" y="64"/>
                  </a:lnTo>
                  <a:lnTo>
                    <a:pt x="44" y="66"/>
                  </a:lnTo>
                  <a:lnTo>
                    <a:pt x="40" y="66"/>
                  </a:lnTo>
                  <a:lnTo>
                    <a:pt x="34" y="70"/>
                  </a:lnTo>
                  <a:lnTo>
                    <a:pt x="28" y="74"/>
                  </a:lnTo>
                  <a:lnTo>
                    <a:pt x="34" y="70"/>
                  </a:lnTo>
                  <a:lnTo>
                    <a:pt x="40" y="68"/>
                  </a:lnTo>
                  <a:lnTo>
                    <a:pt x="44" y="68"/>
                  </a:lnTo>
                  <a:lnTo>
                    <a:pt x="40" y="74"/>
                  </a:lnTo>
                  <a:lnTo>
                    <a:pt x="36" y="76"/>
                  </a:lnTo>
                  <a:lnTo>
                    <a:pt x="30" y="78"/>
                  </a:lnTo>
                  <a:lnTo>
                    <a:pt x="28" y="82"/>
                  </a:lnTo>
                  <a:lnTo>
                    <a:pt x="22" y="84"/>
                  </a:lnTo>
                  <a:lnTo>
                    <a:pt x="20" y="90"/>
                  </a:lnTo>
                  <a:lnTo>
                    <a:pt x="28" y="88"/>
                  </a:lnTo>
                  <a:lnTo>
                    <a:pt x="32" y="88"/>
                  </a:lnTo>
                  <a:lnTo>
                    <a:pt x="32" y="94"/>
                  </a:lnTo>
                  <a:lnTo>
                    <a:pt x="38" y="90"/>
                  </a:lnTo>
                  <a:lnTo>
                    <a:pt x="40" y="84"/>
                  </a:lnTo>
                  <a:lnTo>
                    <a:pt x="46" y="82"/>
                  </a:lnTo>
                  <a:lnTo>
                    <a:pt x="54" y="78"/>
                  </a:lnTo>
                  <a:lnTo>
                    <a:pt x="58" y="72"/>
                  </a:lnTo>
                  <a:lnTo>
                    <a:pt x="54" y="74"/>
                  </a:lnTo>
                  <a:lnTo>
                    <a:pt x="48" y="78"/>
                  </a:lnTo>
                  <a:lnTo>
                    <a:pt x="42" y="74"/>
                  </a:lnTo>
                  <a:lnTo>
                    <a:pt x="44" y="72"/>
                  </a:lnTo>
                  <a:lnTo>
                    <a:pt x="50" y="70"/>
                  </a:lnTo>
                  <a:lnTo>
                    <a:pt x="56" y="66"/>
                  </a:lnTo>
                  <a:lnTo>
                    <a:pt x="62" y="64"/>
                  </a:lnTo>
                  <a:lnTo>
                    <a:pt x="68" y="58"/>
                  </a:lnTo>
                  <a:lnTo>
                    <a:pt x="74" y="54"/>
                  </a:lnTo>
                  <a:lnTo>
                    <a:pt x="68" y="56"/>
                  </a:lnTo>
                  <a:lnTo>
                    <a:pt x="62" y="60"/>
                  </a:lnTo>
                  <a:lnTo>
                    <a:pt x="56" y="62"/>
                  </a:lnTo>
                  <a:lnTo>
                    <a:pt x="62" y="58"/>
                  </a:lnTo>
                  <a:lnTo>
                    <a:pt x="68" y="54"/>
                  </a:lnTo>
                  <a:lnTo>
                    <a:pt x="74" y="48"/>
                  </a:lnTo>
                  <a:lnTo>
                    <a:pt x="80" y="54"/>
                  </a:lnTo>
                  <a:lnTo>
                    <a:pt x="78" y="60"/>
                  </a:lnTo>
                  <a:lnTo>
                    <a:pt x="84" y="54"/>
                  </a:lnTo>
                  <a:lnTo>
                    <a:pt x="90" y="56"/>
                  </a:lnTo>
                  <a:lnTo>
                    <a:pt x="92" y="60"/>
                  </a:lnTo>
                  <a:lnTo>
                    <a:pt x="98" y="60"/>
                  </a:lnTo>
                  <a:lnTo>
                    <a:pt x="94" y="66"/>
                  </a:lnTo>
                  <a:lnTo>
                    <a:pt x="88" y="70"/>
                  </a:lnTo>
                  <a:lnTo>
                    <a:pt x="94" y="74"/>
                  </a:lnTo>
                  <a:lnTo>
                    <a:pt x="88" y="76"/>
                  </a:lnTo>
                  <a:lnTo>
                    <a:pt x="82" y="78"/>
                  </a:lnTo>
                  <a:lnTo>
                    <a:pt x="74" y="80"/>
                  </a:lnTo>
                  <a:lnTo>
                    <a:pt x="74" y="86"/>
                  </a:lnTo>
                  <a:lnTo>
                    <a:pt x="68" y="88"/>
                  </a:lnTo>
                  <a:lnTo>
                    <a:pt x="62" y="92"/>
                  </a:lnTo>
                  <a:lnTo>
                    <a:pt x="56" y="94"/>
                  </a:lnTo>
                  <a:lnTo>
                    <a:pt x="50" y="96"/>
                  </a:lnTo>
                  <a:lnTo>
                    <a:pt x="44" y="96"/>
                  </a:lnTo>
                  <a:lnTo>
                    <a:pt x="38" y="100"/>
                  </a:lnTo>
                  <a:lnTo>
                    <a:pt x="32" y="98"/>
                  </a:lnTo>
                  <a:lnTo>
                    <a:pt x="26" y="96"/>
                  </a:lnTo>
                  <a:lnTo>
                    <a:pt x="20" y="98"/>
                  </a:lnTo>
                  <a:lnTo>
                    <a:pt x="14" y="100"/>
                  </a:lnTo>
                  <a:lnTo>
                    <a:pt x="8" y="98"/>
                  </a:lnTo>
                  <a:lnTo>
                    <a:pt x="2" y="98"/>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499" name="Freeform 317"/>
            <p:cNvSpPr>
              <a:spLocks/>
            </p:cNvSpPr>
            <p:nvPr/>
          </p:nvSpPr>
          <p:spPr bwMode="auto">
            <a:xfrm>
              <a:off x="4492625" y="2087563"/>
              <a:ext cx="169863" cy="71437"/>
            </a:xfrm>
            <a:custGeom>
              <a:avLst/>
              <a:gdLst>
                <a:gd name="T0" fmla="*/ 2147483647 w 418"/>
                <a:gd name="T1" fmla="*/ 2147483647 h 174"/>
                <a:gd name="T2" fmla="*/ 2147483647 w 418"/>
                <a:gd name="T3" fmla="*/ 2147483647 h 174"/>
                <a:gd name="T4" fmla="*/ 2147483647 w 418"/>
                <a:gd name="T5" fmla="*/ 2147483647 h 174"/>
                <a:gd name="T6" fmla="*/ 2147483647 w 418"/>
                <a:gd name="T7" fmla="*/ 2147483647 h 174"/>
                <a:gd name="T8" fmla="*/ 2147483647 w 418"/>
                <a:gd name="T9" fmla="*/ 2147483647 h 174"/>
                <a:gd name="T10" fmla="*/ 2147483647 w 418"/>
                <a:gd name="T11" fmla="*/ 2147483647 h 174"/>
                <a:gd name="T12" fmla="*/ 2147483647 w 418"/>
                <a:gd name="T13" fmla="*/ 2147483647 h 174"/>
                <a:gd name="T14" fmla="*/ 2147483647 w 418"/>
                <a:gd name="T15" fmla="*/ 2147483647 h 174"/>
                <a:gd name="T16" fmla="*/ 2147483647 w 418"/>
                <a:gd name="T17" fmla="*/ 2147483647 h 174"/>
                <a:gd name="T18" fmla="*/ 2147483647 w 418"/>
                <a:gd name="T19" fmla="*/ 2147483647 h 174"/>
                <a:gd name="T20" fmla="*/ 2147483647 w 418"/>
                <a:gd name="T21" fmla="*/ 2147483647 h 174"/>
                <a:gd name="T22" fmla="*/ 2147483647 w 418"/>
                <a:gd name="T23" fmla="*/ 2147483647 h 174"/>
                <a:gd name="T24" fmla="*/ 2147483647 w 418"/>
                <a:gd name="T25" fmla="*/ 2147483647 h 174"/>
                <a:gd name="T26" fmla="*/ 2147483647 w 418"/>
                <a:gd name="T27" fmla="*/ 2147483647 h 174"/>
                <a:gd name="T28" fmla="*/ 2147483647 w 418"/>
                <a:gd name="T29" fmla="*/ 2147483647 h 174"/>
                <a:gd name="T30" fmla="*/ 2147483647 w 418"/>
                <a:gd name="T31" fmla="*/ 2147483647 h 174"/>
                <a:gd name="T32" fmla="*/ 2147483647 w 418"/>
                <a:gd name="T33" fmla="*/ 2147483647 h 174"/>
                <a:gd name="T34" fmla="*/ 2147483647 w 418"/>
                <a:gd name="T35" fmla="*/ 2147483647 h 174"/>
                <a:gd name="T36" fmla="*/ 2147483647 w 418"/>
                <a:gd name="T37" fmla="*/ 2147483647 h 174"/>
                <a:gd name="T38" fmla="*/ 2147483647 w 418"/>
                <a:gd name="T39" fmla="*/ 2147483647 h 174"/>
                <a:gd name="T40" fmla="*/ 2147483647 w 418"/>
                <a:gd name="T41" fmla="*/ 2147483647 h 174"/>
                <a:gd name="T42" fmla="*/ 2147483647 w 418"/>
                <a:gd name="T43" fmla="*/ 2147483647 h 174"/>
                <a:gd name="T44" fmla="*/ 2147483647 w 418"/>
                <a:gd name="T45" fmla="*/ 2147483647 h 174"/>
                <a:gd name="T46" fmla="*/ 2147483647 w 418"/>
                <a:gd name="T47" fmla="*/ 2147483647 h 174"/>
                <a:gd name="T48" fmla="*/ 2147483647 w 418"/>
                <a:gd name="T49" fmla="*/ 2147483647 h 174"/>
                <a:gd name="T50" fmla="*/ 2147483647 w 418"/>
                <a:gd name="T51" fmla="*/ 2147483647 h 174"/>
                <a:gd name="T52" fmla="*/ 2147483647 w 418"/>
                <a:gd name="T53" fmla="*/ 2147483647 h 174"/>
                <a:gd name="T54" fmla="*/ 2147483647 w 418"/>
                <a:gd name="T55" fmla="*/ 2147483647 h 174"/>
                <a:gd name="T56" fmla="*/ 2147483647 w 418"/>
                <a:gd name="T57" fmla="*/ 2147483647 h 174"/>
                <a:gd name="T58" fmla="*/ 2147483647 w 418"/>
                <a:gd name="T59" fmla="*/ 2147483647 h 174"/>
                <a:gd name="T60" fmla="*/ 2147483647 w 418"/>
                <a:gd name="T61" fmla="*/ 2147483647 h 174"/>
                <a:gd name="T62" fmla="*/ 2147483647 w 418"/>
                <a:gd name="T63" fmla="*/ 2147483647 h 174"/>
                <a:gd name="T64" fmla="*/ 2147483647 w 418"/>
                <a:gd name="T65" fmla="*/ 2147483647 h 174"/>
                <a:gd name="T66" fmla="*/ 2147483647 w 418"/>
                <a:gd name="T67" fmla="*/ 2147483647 h 174"/>
                <a:gd name="T68" fmla="*/ 2147483647 w 418"/>
                <a:gd name="T69" fmla="*/ 2147483647 h 174"/>
                <a:gd name="T70" fmla="*/ 2147483647 w 418"/>
                <a:gd name="T71" fmla="*/ 2147483647 h 174"/>
                <a:gd name="T72" fmla="*/ 2147483647 w 418"/>
                <a:gd name="T73" fmla="*/ 2147483647 h 174"/>
                <a:gd name="T74" fmla="*/ 2147483647 w 418"/>
                <a:gd name="T75" fmla="*/ 2147483647 h 174"/>
                <a:gd name="T76" fmla="*/ 2147483647 w 418"/>
                <a:gd name="T77" fmla="*/ 2147483647 h 174"/>
                <a:gd name="T78" fmla="*/ 2147483647 w 418"/>
                <a:gd name="T79" fmla="*/ 2147483647 h 174"/>
                <a:gd name="T80" fmla="*/ 2147483647 w 418"/>
                <a:gd name="T81" fmla="*/ 2147483647 h 174"/>
                <a:gd name="T82" fmla="*/ 2147483647 w 418"/>
                <a:gd name="T83" fmla="*/ 2147483647 h 174"/>
                <a:gd name="T84" fmla="*/ 2147483647 w 418"/>
                <a:gd name="T85" fmla="*/ 2147483647 h 174"/>
                <a:gd name="T86" fmla="*/ 2147483647 w 418"/>
                <a:gd name="T87" fmla="*/ 2147483647 h 174"/>
                <a:gd name="T88" fmla="*/ 2147483647 w 418"/>
                <a:gd name="T89" fmla="*/ 2147483647 h 174"/>
                <a:gd name="T90" fmla="*/ 2147483647 w 418"/>
                <a:gd name="T91" fmla="*/ 2147483647 h 174"/>
                <a:gd name="T92" fmla="*/ 2147483647 w 418"/>
                <a:gd name="T93" fmla="*/ 2147483647 h 174"/>
                <a:gd name="T94" fmla="*/ 2147483647 w 418"/>
                <a:gd name="T95" fmla="*/ 0 h 174"/>
                <a:gd name="T96" fmla="*/ 2147483647 w 418"/>
                <a:gd name="T97" fmla="*/ 2147483647 h 174"/>
                <a:gd name="T98" fmla="*/ 2147483647 w 418"/>
                <a:gd name="T99" fmla="*/ 2147483647 h 174"/>
                <a:gd name="T100" fmla="*/ 2147483647 w 418"/>
                <a:gd name="T101" fmla="*/ 2147483647 h 174"/>
                <a:gd name="T102" fmla="*/ 2147483647 w 418"/>
                <a:gd name="T103" fmla="*/ 2147483647 h 174"/>
                <a:gd name="T104" fmla="*/ 2147483647 w 418"/>
                <a:gd name="T105" fmla="*/ 2147483647 h 174"/>
                <a:gd name="T106" fmla="*/ 2147483647 w 418"/>
                <a:gd name="T107" fmla="*/ 2147483647 h 174"/>
                <a:gd name="T108" fmla="*/ 2147483647 w 418"/>
                <a:gd name="T109" fmla="*/ 2147483647 h 174"/>
                <a:gd name="T110" fmla="*/ 2147483647 w 418"/>
                <a:gd name="T111" fmla="*/ 2147483647 h 174"/>
                <a:gd name="T112" fmla="*/ 2147483647 w 418"/>
                <a:gd name="T113" fmla="*/ 2147483647 h 174"/>
                <a:gd name="T114" fmla="*/ 2147483647 w 418"/>
                <a:gd name="T115" fmla="*/ 2147483647 h 174"/>
                <a:gd name="T116" fmla="*/ 2147483647 w 418"/>
                <a:gd name="T117" fmla="*/ 2147483647 h 174"/>
                <a:gd name="T118" fmla="*/ 2147483647 w 418"/>
                <a:gd name="T119" fmla="*/ 2147483647 h 174"/>
                <a:gd name="T120" fmla="*/ 0 w 418"/>
                <a:gd name="T121" fmla="*/ 2147483647 h 17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18"/>
                <a:gd name="T184" fmla="*/ 0 h 174"/>
                <a:gd name="T185" fmla="*/ 418 w 418"/>
                <a:gd name="T186" fmla="*/ 174 h 17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18" h="174">
                  <a:moveTo>
                    <a:pt x="18" y="42"/>
                  </a:moveTo>
                  <a:lnTo>
                    <a:pt x="20" y="46"/>
                  </a:lnTo>
                  <a:lnTo>
                    <a:pt x="26" y="46"/>
                  </a:lnTo>
                  <a:lnTo>
                    <a:pt x="32" y="44"/>
                  </a:lnTo>
                  <a:lnTo>
                    <a:pt x="38" y="42"/>
                  </a:lnTo>
                  <a:lnTo>
                    <a:pt x="34" y="36"/>
                  </a:lnTo>
                  <a:lnTo>
                    <a:pt x="40" y="38"/>
                  </a:lnTo>
                  <a:lnTo>
                    <a:pt x="46" y="36"/>
                  </a:lnTo>
                  <a:lnTo>
                    <a:pt x="52" y="42"/>
                  </a:lnTo>
                  <a:lnTo>
                    <a:pt x="44" y="44"/>
                  </a:lnTo>
                  <a:lnTo>
                    <a:pt x="38" y="48"/>
                  </a:lnTo>
                  <a:lnTo>
                    <a:pt x="54" y="52"/>
                  </a:lnTo>
                  <a:lnTo>
                    <a:pt x="50" y="56"/>
                  </a:lnTo>
                  <a:lnTo>
                    <a:pt x="38" y="54"/>
                  </a:lnTo>
                  <a:lnTo>
                    <a:pt x="32" y="52"/>
                  </a:lnTo>
                  <a:lnTo>
                    <a:pt x="26" y="52"/>
                  </a:lnTo>
                  <a:lnTo>
                    <a:pt x="20" y="54"/>
                  </a:lnTo>
                  <a:lnTo>
                    <a:pt x="26" y="56"/>
                  </a:lnTo>
                  <a:lnTo>
                    <a:pt x="32" y="60"/>
                  </a:lnTo>
                  <a:lnTo>
                    <a:pt x="32" y="64"/>
                  </a:lnTo>
                  <a:lnTo>
                    <a:pt x="38" y="68"/>
                  </a:lnTo>
                  <a:lnTo>
                    <a:pt x="44" y="72"/>
                  </a:lnTo>
                  <a:lnTo>
                    <a:pt x="52" y="72"/>
                  </a:lnTo>
                  <a:lnTo>
                    <a:pt x="58" y="74"/>
                  </a:lnTo>
                  <a:lnTo>
                    <a:pt x="64" y="74"/>
                  </a:lnTo>
                  <a:lnTo>
                    <a:pt x="70" y="76"/>
                  </a:lnTo>
                  <a:lnTo>
                    <a:pt x="76" y="74"/>
                  </a:lnTo>
                  <a:lnTo>
                    <a:pt x="84" y="76"/>
                  </a:lnTo>
                  <a:lnTo>
                    <a:pt x="76" y="76"/>
                  </a:lnTo>
                  <a:lnTo>
                    <a:pt x="70" y="76"/>
                  </a:lnTo>
                  <a:lnTo>
                    <a:pt x="64" y="76"/>
                  </a:lnTo>
                  <a:lnTo>
                    <a:pt x="58" y="78"/>
                  </a:lnTo>
                  <a:lnTo>
                    <a:pt x="62" y="82"/>
                  </a:lnTo>
                  <a:lnTo>
                    <a:pt x="70" y="84"/>
                  </a:lnTo>
                  <a:lnTo>
                    <a:pt x="76" y="84"/>
                  </a:lnTo>
                  <a:lnTo>
                    <a:pt x="78" y="90"/>
                  </a:lnTo>
                  <a:lnTo>
                    <a:pt x="84" y="90"/>
                  </a:lnTo>
                  <a:lnTo>
                    <a:pt x="90" y="90"/>
                  </a:lnTo>
                  <a:lnTo>
                    <a:pt x="96" y="90"/>
                  </a:lnTo>
                  <a:lnTo>
                    <a:pt x="104" y="92"/>
                  </a:lnTo>
                  <a:lnTo>
                    <a:pt x="110" y="92"/>
                  </a:lnTo>
                  <a:lnTo>
                    <a:pt x="116" y="88"/>
                  </a:lnTo>
                  <a:lnTo>
                    <a:pt x="122" y="88"/>
                  </a:lnTo>
                  <a:lnTo>
                    <a:pt x="128" y="88"/>
                  </a:lnTo>
                  <a:lnTo>
                    <a:pt x="132" y="82"/>
                  </a:lnTo>
                  <a:lnTo>
                    <a:pt x="138" y="82"/>
                  </a:lnTo>
                  <a:lnTo>
                    <a:pt x="144" y="82"/>
                  </a:lnTo>
                  <a:lnTo>
                    <a:pt x="150" y="82"/>
                  </a:lnTo>
                  <a:lnTo>
                    <a:pt x="144" y="78"/>
                  </a:lnTo>
                  <a:lnTo>
                    <a:pt x="138" y="76"/>
                  </a:lnTo>
                  <a:lnTo>
                    <a:pt x="144" y="74"/>
                  </a:lnTo>
                  <a:lnTo>
                    <a:pt x="142" y="68"/>
                  </a:lnTo>
                  <a:lnTo>
                    <a:pt x="148" y="66"/>
                  </a:lnTo>
                  <a:lnTo>
                    <a:pt x="154" y="64"/>
                  </a:lnTo>
                  <a:lnTo>
                    <a:pt x="158" y="70"/>
                  </a:lnTo>
                  <a:lnTo>
                    <a:pt x="164" y="70"/>
                  </a:lnTo>
                  <a:lnTo>
                    <a:pt x="170" y="66"/>
                  </a:lnTo>
                  <a:lnTo>
                    <a:pt x="174" y="60"/>
                  </a:lnTo>
                  <a:lnTo>
                    <a:pt x="180" y="64"/>
                  </a:lnTo>
                  <a:lnTo>
                    <a:pt x="178" y="70"/>
                  </a:lnTo>
                  <a:lnTo>
                    <a:pt x="172" y="72"/>
                  </a:lnTo>
                  <a:lnTo>
                    <a:pt x="178" y="78"/>
                  </a:lnTo>
                  <a:lnTo>
                    <a:pt x="184" y="78"/>
                  </a:lnTo>
                  <a:lnTo>
                    <a:pt x="192" y="78"/>
                  </a:lnTo>
                  <a:lnTo>
                    <a:pt x="198" y="78"/>
                  </a:lnTo>
                  <a:lnTo>
                    <a:pt x="204" y="76"/>
                  </a:lnTo>
                  <a:lnTo>
                    <a:pt x="210" y="74"/>
                  </a:lnTo>
                  <a:lnTo>
                    <a:pt x="216" y="68"/>
                  </a:lnTo>
                  <a:lnTo>
                    <a:pt x="222" y="66"/>
                  </a:lnTo>
                  <a:lnTo>
                    <a:pt x="228" y="68"/>
                  </a:lnTo>
                  <a:lnTo>
                    <a:pt x="234" y="68"/>
                  </a:lnTo>
                  <a:lnTo>
                    <a:pt x="228" y="70"/>
                  </a:lnTo>
                  <a:lnTo>
                    <a:pt x="222" y="74"/>
                  </a:lnTo>
                  <a:lnTo>
                    <a:pt x="218" y="80"/>
                  </a:lnTo>
                  <a:lnTo>
                    <a:pt x="224" y="80"/>
                  </a:lnTo>
                  <a:lnTo>
                    <a:pt x="230" y="82"/>
                  </a:lnTo>
                  <a:lnTo>
                    <a:pt x="236" y="82"/>
                  </a:lnTo>
                  <a:lnTo>
                    <a:pt x="244" y="82"/>
                  </a:lnTo>
                  <a:lnTo>
                    <a:pt x="250" y="82"/>
                  </a:lnTo>
                  <a:lnTo>
                    <a:pt x="244" y="82"/>
                  </a:lnTo>
                  <a:lnTo>
                    <a:pt x="238" y="84"/>
                  </a:lnTo>
                  <a:lnTo>
                    <a:pt x="230" y="84"/>
                  </a:lnTo>
                  <a:lnTo>
                    <a:pt x="224" y="84"/>
                  </a:lnTo>
                  <a:lnTo>
                    <a:pt x="218" y="84"/>
                  </a:lnTo>
                  <a:lnTo>
                    <a:pt x="212" y="84"/>
                  </a:lnTo>
                  <a:lnTo>
                    <a:pt x="206" y="84"/>
                  </a:lnTo>
                  <a:lnTo>
                    <a:pt x="200" y="84"/>
                  </a:lnTo>
                  <a:lnTo>
                    <a:pt x="194" y="84"/>
                  </a:lnTo>
                  <a:lnTo>
                    <a:pt x="188" y="90"/>
                  </a:lnTo>
                  <a:lnTo>
                    <a:pt x="182" y="90"/>
                  </a:lnTo>
                  <a:lnTo>
                    <a:pt x="174" y="90"/>
                  </a:lnTo>
                  <a:lnTo>
                    <a:pt x="168" y="94"/>
                  </a:lnTo>
                  <a:lnTo>
                    <a:pt x="162" y="96"/>
                  </a:lnTo>
                  <a:lnTo>
                    <a:pt x="156" y="96"/>
                  </a:lnTo>
                  <a:lnTo>
                    <a:pt x="150" y="96"/>
                  </a:lnTo>
                  <a:lnTo>
                    <a:pt x="144" y="96"/>
                  </a:lnTo>
                  <a:lnTo>
                    <a:pt x="138" y="96"/>
                  </a:lnTo>
                  <a:lnTo>
                    <a:pt x="132" y="98"/>
                  </a:lnTo>
                  <a:lnTo>
                    <a:pt x="136" y="104"/>
                  </a:lnTo>
                  <a:lnTo>
                    <a:pt x="130" y="100"/>
                  </a:lnTo>
                  <a:lnTo>
                    <a:pt x="124" y="98"/>
                  </a:lnTo>
                  <a:lnTo>
                    <a:pt x="118" y="96"/>
                  </a:lnTo>
                  <a:lnTo>
                    <a:pt x="112" y="98"/>
                  </a:lnTo>
                  <a:lnTo>
                    <a:pt x="108" y="104"/>
                  </a:lnTo>
                  <a:lnTo>
                    <a:pt x="108" y="110"/>
                  </a:lnTo>
                  <a:lnTo>
                    <a:pt x="114" y="116"/>
                  </a:lnTo>
                  <a:lnTo>
                    <a:pt x="120" y="116"/>
                  </a:lnTo>
                  <a:lnTo>
                    <a:pt x="126" y="114"/>
                  </a:lnTo>
                  <a:lnTo>
                    <a:pt x="132" y="114"/>
                  </a:lnTo>
                  <a:lnTo>
                    <a:pt x="138" y="114"/>
                  </a:lnTo>
                  <a:lnTo>
                    <a:pt x="144" y="112"/>
                  </a:lnTo>
                  <a:lnTo>
                    <a:pt x="152" y="114"/>
                  </a:lnTo>
                  <a:lnTo>
                    <a:pt x="158" y="112"/>
                  </a:lnTo>
                  <a:lnTo>
                    <a:pt x="164" y="112"/>
                  </a:lnTo>
                  <a:lnTo>
                    <a:pt x="170" y="112"/>
                  </a:lnTo>
                  <a:lnTo>
                    <a:pt x="176" y="110"/>
                  </a:lnTo>
                  <a:lnTo>
                    <a:pt x="182" y="108"/>
                  </a:lnTo>
                  <a:lnTo>
                    <a:pt x="188" y="108"/>
                  </a:lnTo>
                  <a:lnTo>
                    <a:pt x="194" y="110"/>
                  </a:lnTo>
                  <a:lnTo>
                    <a:pt x="200" y="110"/>
                  </a:lnTo>
                  <a:lnTo>
                    <a:pt x="206" y="110"/>
                  </a:lnTo>
                  <a:lnTo>
                    <a:pt x="214" y="110"/>
                  </a:lnTo>
                  <a:lnTo>
                    <a:pt x="218" y="110"/>
                  </a:lnTo>
                  <a:lnTo>
                    <a:pt x="226" y="108"/>
                  </a:lnTo>
                  <a:lnTo>
                    <a:pt x="232" y="108"/>
                  </a:lnTo>
                  <a:lnTo>
                    <a:pt x="238" y="106"/>
                  </a:lnTo>
                  <a:lnTo>
                    <a:pt x="244" y="106"/>
                  </a:lnTo>
                  <a:lnTo>
                    <a:pt x="242" y="112"/>
                  </a:lnTo>
                  <a:lnTo>
                    <a:pt x="248" y="112"/>
                  </a:lnTo>
                  <a:lnTo>
                    <a:pt x="242" y="112"/>
                  </a:lnTo>
                  <a:lnTo>
                    <a:pt x="236" y="112"/>
                  </a:lnTo>
                  <a:lnTo>
                    <a:pt x="230" y="112"/>
                  </a:lnTo>
                  <a:lnTo>
                    <a:pt x="222" y="112"/>
                  </a:lnTo>
                  <a:lnTo>
                    <a:pt x="216" y="112"/>
                  </a:lnTo>
                  <a:lnTo>
                    <a:pt x="210" y="114"/>
                  </a:lnTo>
                  <a:lnTo>
                    <a:pt x="204" y="114"/>
                  </a:lnTo>
                  <a:lnTo>
                    <a:pt x="198" y="114"/>
                  </a:lnTo>
                  <a:lnTo>
                    <a:pt x="192" y="114"/>
                  </a:lnTo>
                  <a:lnTo>
                    <a:pt x="184" y="116"/>
                  </a:lnTo>
                  <a:lnTo>
                    <a:pt x="178" y="116"/>
                  </a:lnTo>
                  <a:lnTo>
                    <a:pt x="172" y="116"/>
                  </a:lnTo>
                  <a:lnTo>
                    <a:pt x="166" y="118"/>
                  </a:lnTo>
                  <a:lnTo>
                    <a:pt x="160" y="118"/>
                  </a:lnTo>
                  <a:lnTo>
                    <a:pt x="154" y="120"/>
                  </a:lnTo>
                  <a:lnTo>
                    <a:pt x="160" y="120"/>
                  </a:lnTo>
                  <a:lnTo>
                    <a:pt x="166" y="122"/>
                  </a:lnTo>
                  <a:lnTo>
                    <a:pt x="172" y="120"/>
                  </a:lnTo>
                  <a:lnTo>
                    <a:pt x="178" y="122"/>
                  </a:lnTo>
                  <a:lnTo>
                    <a:pt x="186" y="122"/>
                  </a:lnTo>
                  <a:lnTo>
                    <a:pt x="192" y="124"/>
                  </a:lnTo>
                  <a:lnTo>
                    <a:pt x="198" y="124"/>
                  </a:lnTo>
                  <a:lnTo>
                    <a:pt x="204" y="124"/>
                  </a:lnTo>
                  <a:lnTo>
                    <a:pt x="210" y="128"/>
                  </a:lnTo>
                  <a:lnTo>
                    <a:pt x="216" y="130"/>
                  </a:lnTo>
                  <a:lnTo>
                    <a:pt x="210" y="130"/>
                  </a:lnTo>
                  <a:lnTo>
                    <a:pt x="204" y="128"/>
                  </a:lnTo>
                  <a:lnTo>
                    <a:pt x="198" y="126"/>
                  </a:lnTo>
                  <a:lnTo>
                    <a:pt x="190" y="126"/>
                  </a:lnTo>
                  <a:lnTo>
                    <a:pt x="184" y="126"/>
                  </a:lnTo>
                  <a:lnTo>
                    <a:pt x="178" y="124"/>
                  </a:lnTo>
                  <a:lnTo>
                    <a:pt x="172" y="124"/>
                  </a:lnTo>
                  <a:lnTo>
                    <a:pt x="166" y="124"/>
                  </a:lnTo>
                  <a:lnTo>
                    <a:pt x="160" y="124"/>
                  </a:lnTo>
                  <a:lnTo>
                    <a:pt x="154" y="128"/>
                  </a:lnTo>
                  <a:lnTo>
                    <a:pt x="148" y="126"/>
                  </a:lnTo>
                  <a:lnTo>
                    <a:pt x="142" y="124"/>
                  </a:lnTo>
                  <a:lnTo>
                    <a:pt x="136" y="124"/>
                  </a:lnTo>
                  <a:lnTo>
                    <a:pt x="130" y="124"/>
                  </a:lnTo>
                  <a:lnTo>
                    <a:pt x="124" y="128"/>
                  </a:lnTo>
                  <a:lnTo>
                    <a:pt x="128" y="134"/>
                  </a:lnTo>
                  <a:lnTo>
                    <a:pt x="134" y="138"/>
                  </a:lnTo>
                  <a:lnTo>
                    <a:pt x="140" y="142"/>
                  </a:lnTo>
                  <a:lnTo>
                    <a:pt x="146" y="144"/>
                  </a:lnTo>
                  <a:lnTo>
                    <a:pt x="152" y="144"/>
                  </a:lnTo>
                  <a:lnTo>
                    <a:pt x="160" y="146"/>
                  </a:lnTo>
                  <a:lnTo>
                    <a:pt x="166" y="146"/>
                  </a:lnTo>
                  <a:lnTo>
                    <a:pt x="172" y="150"/>
                  </a:lnTo>
                  <a:lnTo>
                    <a:pt x="178" y="152"/>
                  </a:lnTo>
                  <a:lnTo>
                    <a:pt x="184" y="152"/>
                  </a:lnTo>
                  <a:lnTo>
                    <a:pt x="190" y="152"/>
                  </a:lnTo>
                  <a:lnTo>
                    <a:pt x="196" y="152"/>
                  </a:lnTo>
                  <a:lnTo>
                    <a:pt x="202" y="150"/>
                  </a:lnTo>
                  <a:lnTo>
                    <a:pt x="210" y="148"/>
                  </a:lnTo>
                  <a:lnTo>
                    <a:pt x="214" y="152"/>
                  </a:lnTo>
                  <a:lnTo>
                    <a:pt x="222" y="152"/>
                  </a:lnTo>
                  <a:lnTo>
                    <a:pt x="228" y="154"/>
                  </a:lnTo>
                  <a:lnTo>
                    <a:pt x="222" y="156"/>
                  </a:lnTo>
                  <a:lnTo>
                    <a:pt x="216" y="154"/>
                  </a:lnTo>
                  <a:lnTo>
                    <a:pt x="210" y="154"/>
                  </a:lnTo>
                  <a:lnTo>
                    <a:pt x="202" y="156"/>
                  </a:lnTo>
                  <a:lnTo>
                    <a:pt x="196" y="156"/>
                  </a:lnTo>
                  <a:lnTo>
                    <a:pt x="190" y="160"/>
                  </a:lnTo>
                  <a:lnTo>
                    <a:pt x="196" y="162"/>
                  </a:lnTo>
                  <a:lnTo>
                    <a:pt x="202" y="164"/>
                  </a:lnTo>
                  <a:lnTo>
                    <a:pt x="208" y="166"/>
                  </a:lnTo>
                  <a:lnTo>
                    <a:pt x="214" y="166"/>
                  </a:lnTo>
                  <a:lnTo>
                    <a:pt x="220" y="170"/>
                  </a:lnTo>
                  <a:lnTo>
                    <a:pt x="224" y="174"/>
                  </a:lnTo>
                  <a:lnTo>
                    <a:pt x="230" y="172"/>
                  </a:lnTo>
                  <a:lnTo>
                    <a:pt x="236" y="174"/>
                  </a:lnTo>
                  <a:lnTo>
                    <a:pt x="242" y="174"/>
                  </a:lnTo>
                  <a:lnTo>
                    <a:pt x="248" y="174"/>
                  </a:lnTo>
                  <a:lnTo>
                    <a:pt x="254" y="170"/>
                  </a:lnTo>
                  <a:lnTo>
                    <a:pt x="252" y="166"/>
                  </a:lnTo>
                  <a:lnTo>
                    <a:pt x="248" y="162"/>
                  </a:lnTo>
                  <a:lnTo>
                    <a:pt x="254" y="158"/>
                  </a:lnTo>
                  <a:lnTo>
                    <a:pt x="260" y="156"/>
                  </a:lnTo>
                  <a:lnTo>
                    <a:pt x="256" y="150"/>
                  </a:lnTo>
                  <a:lnTo>
                    <a:pt x="264" y="148"/>
                  </a:lnTo>
                  <a:lnTo>
                    <a:pt x="266" y="140"/>
                  </a:lnTo>
                  <a:lnTo>
                    <a:pt x="270" y="136"/>
                  </a:lnTo>
                  <a:lnTo>
                    <a:pt x="274" y="130"/>
                  </a:lnTo>
                  <a:lnTo>
                    <a:pt x="282" y="128"/>
                  </a:lnTo>
                  <a:lnTo>
                    <a:pt x="286" y="128"/>
                  </a:lnTo>
                  <a:lnTo>
                    <a:pt x="294" y="128"/>
                  </a:lnTo>
                  <a:lnTo>
                    <a:pt x="300" y="124"/>
                  </a:lnTo>
                  <a:lnTo>
                    <a:pt x="300" y="118"/>
                  </a:lnTo>
                  <a:lnTo>
                    <a:pt x="304" y="112"/>
                  </a:lnTo>
                  <a:lnTo>
                    <a:pt x="300" y="106"/>
                  </a:lnTo>
                  <a:lnTo>
                    <a:pt x="302" y="100"/>
                  </a:lnTo>
                  <a:lnTo>
                    <a:pt x="308" y="98"/>
                  </a:lnTo>
                  <a:lnTo>
                    <a:pt x="314" y="100"/>
                  </a:lnTo>
                  <a:lnTo>
                    <a:pt x="320" y="98"/>
                  </a:lnTo>
                  <a:lnTo>
                    <a:pt x="326" y="96"/>
                  </a:lnTo>
                  <a:lnTo>
                    <a:pt x="320" y="92"/>
                  </a:lnTo>
                  <a:lnTo>
                    <a:pt x="326" y="90"/>
                  </a:lnTo>
                  <a:lnTo>
                    <a:pt x="324" y="84"/>
                  </a:lnTo>
                  <a:lnTo>
                    <a:pt x="322" y="78"/>
                  </a:lnTo>
                  <a:lnTo>
                    <a:pt x="328" y="78"/>
                  </a:lnTo>
                  <a:lnTo>
                    <a:pt x="334" y="78"/>
                  </a:lnTo>
                  <a:lnTo>
                    <a:pt x="340" y="76"/>
                  </a:lnTo>
                  <a:lnTo>
                    <a:pt x="348" y="70"/>
                  </a:lnTo>
                  <a:lnTo>
                    <a:pt x="354" y="70"/>
                  </a:lnTo>
                  <a:lnTo>
                    <a:pt x="360" y="72"/>
                  </a:lnTo>
                  <a:lnTo>
                    <a:pt x="362" y="70"/>
                  </a:lnTo>
                  <a:lnTo>
                    <a:pt x="368" y="68"/>
                  </a:lnTo>
                  <a:lnTo>
                    <a:pt x="374" y="68"/>
                  </a:lnTo>
                  <a:lnTo>
                    <a:pt x="380" y="70"/>
                  </a:lnTo>
                  <a:lnTo>
                    <a:pt x="386" y="68"/>
                  </a:lnTo>
                  <a:lnTo>
                    <a:pt x="392" y="68"/>
                  </a:lnTo>
                  <a:lnTo>
                    <a:pt x="398" y="68"/>
                  </a:lnTo>
                  <a:lnTo>
                    <a:pt x="404" y="68"/>
                  </a:lnTo>
                  <a:lnTo>
                    <a:pt x="410" y="68"/>
                  </a:lnTo>
                  <a:lnTo>
                    <a:pt x="416" y="64"/>
                  </a:lnTo>
                  <a:lnTo>
                    <a:pt x="418" y="60"/>
                  </a:lnTo>
                  <a:lnTo>
                    <a:pt x="412" y="58"/>
                  </a:lnTo>
                  <a:lnTo>
                    <a:pt x="406" y="58"/>
                  </a:lnTo>
                  <a:lnTo>
                    <a:pt x="400" y="56"/>
                  </a:lnTo>
                  <a:lnTo>
                    <a:pt x="394" y="56"/>
                  </a:lnTo>
                  <a:lnTo>
                    <a:pt x="388" y="56"/>
                  </a:lnTo>
                  <a:lnTo>
                    <a:pt x="382" y="54"/>
                  </a:lnTo>
                  <a:lnTo>
                    <a:pt x="376" y="54"/>
                  </a:lnTo>
                  <a:lnTo>
                    <a:pt x="370" y="52"/>
                  </a:lnTo>
                  <a:lnTo>
                    <a:pt x="362" y="52"/>
                  </a:lnTo>
                  <a:lnTo>
                    <a:pt x="358" y="50"/>
                  </a:lnTo>
                  <a:lnTo>
                    <a:pt x="352" y="48"/>
                  </a:lnTo>
                  <a:lnTo>
                    <a:pt x="346" y="44"/>
                  </a:lnTo>
                  <a:lnTo>
                    <a:pt x="340" y="44"/>
                  </a:lnTo>
                  <a:lnTo>
                    <a:pt x="334" y="42"/>
                  </a:lnTo>
                  <a:lnTo>
                    <a:pt x="328" y="42"/>
                  </a:lnTo>
                  <a:lnTo>
                    <a:pt x="322" y="44"/>
                  </a:lnTo>
                  <a:lnTo>
                    <a:pt x="316" y="44"/>
                  </a:lnTo>
                  <a:lnTo>
                    <a:pt x="310" y="40"/>
                  </a:lnTo>
                  <a:lnTo>
                    <a:pt x="304" y="38"/>
                  </a:lnTo>
                  <a:lnTo>
                    <a:pt x="310" y="34"/>
                  </a:lnTo>
                  <a:lnTo>
                    <a:pt x="308" y="28"/>
                  </a:lnTo>
                  <a:lnTo>
                    <a:pt x="302" y="24"/>
                  </a:lnTo>
                  <a:lnTo>
                    <a:pt x="296" y="22"/>
                  </a:lnTo>
                  <a:lnTo>
                    <a:pt x="290" y="20"/>
                  </a:lnTo>
                  <a:lnTo>
                    <a:pt x="284" y="20"/>
                  </a:lnTo>
                  <a:lnTo>
                    <a:pt x="278" y="24"/>
                  </a:lnTo>
                  <a:lnTo>
                    <a:pt x="274" y="30"/>
                  </a:lnTo>
                  <a:lnTo>
                    <a:pt x="268" y="30"/>
                  </a:lnTo>
                  <a:lnTo>
                    <a:pt x="264" y="24"/>
                  </a:lnTo>
                  <a:lnTo>
                    <a:pt x="270" y="20"/>
                  </a:lnTo>
                  <a:lnTo>
                    <a:pt x="274" y="14"/>
                  </a:lnTo>
                  <a:lnTo>
                    <a:pt x="268" y="12"/>
                  </a:lnTo>
                  <a:lnTo>
                    <a:pt x="262" y="10"/>
                  </a:lnTo>
                  <a:lnTo>
                    <a:pt x="256" y="8"/>
                  </a:lnTo>
                  <a:lnTo>
                    <a:pt x="250" y="6"/>
                  </a:lnTo>
                  <a:lnTo>
                    <a:pt x="244" y="6"/>
                  </a:lnTo>
                  <a:lnTo>
                    <a:pt x="238" y="4"/>
                  </a:lnTo>
                  <a:lnTo>
                    <a:pt x="232" y="8"/>
                  </a:lnTo>
                  <a:lnTo>
                    <a:pt x="226" y="6"/>
                  </a:lnTo>
                  <a:lnTo>
                    <a:pt x="220" y="2"/>
                  </a:lnTo>
                  <a:lnTo>
                    <a:pt x="214" y="0"/>
                  </a:lnTo>
                  <a:lnTo>
                    <a:pt x="210" y="0"/>
                  </a:lnTo>
                  <a:lnTo>
                    <a:pt x="208" y="0"/>
                  </a:lnTo>
                  <a:lnTo>
                    <a:pt x="206" y="2"/>
                  </a:lnTo>
                  <a:lnTo>
                    <a:pt x="206" y="8"/>
                  </a:lnTo>
                  <a:lnTo>
                    <a:pt x="200" y="8"/>
                  </a:lnTo>
                  <a:lnTo>
                    <a:pt x="194" y="12"/>
                  </a:lnTo>
                  <a:lnTo>
                    <a:pt x="198" y="18"/>
                  </a:lnTo>
                  <a:lnTo>
                    <a:pt x="202" y="24"/>
                  </a:lnTo>
                  <a:lnTo>
                    <a:pt x="206" y="30"/>
                  </a:lnTo>
                  <a:lnTo>
                    <a:pt x="208" y="36"/>
                  </a:lnTo>
                  <a:lnTo>
                    <a:pt x="214" y="40"/>
                  </a:lnTo>
                  <a:lnTo>
                    <a:pt x="218" y="44"/>
                  </a:lnTo>
                  <a:lnTo>
                    <a:pt x="224" y="50"/>
                  </a:lnTo>
                  <a:lnTo>
                    <a:pt x="226" y="56"/>
                  </a:lnTo>
                  <a:lnTo>
                    <a:pt x="220" y="52"/>
                  </a:lnTo>
                  <a:lnTo>
                    <a:pt x="214" y="48"/>
                  </a:lnTo>
                  <a:lnTo>
                    <a:pt x="208" y="44"/>
                  </a:lnTo>
                  <a:lnTo>
                    <a:pt x="202" y="44"/>
                  </a:lnTo>
                  <a:lnTo>
                    <a:pt x="196" y="44"/>
                  </a:lnTo>
                  <a:lnTo>
                    <a:pt x="198" y="38"/>
                  </a:lnTo>
                  <a:lnTo>
                    <a:pt x="192" y="36"/>
                  </a:lnTo>
                  <a:lnTo>
                    <a:pt x="186" y="30"/>
                  </a:lnTo>
                  <a:lnTo>
                    <a:pt x="180" y="24"/>
                  </a:lnTo>
                  <a:lnTo>
                    <a:pt x="174" y="20"/>
                  </a:lnTo>
                  <a:lnTo>
                    <a:pt x="168" y="16"/>
                  </a:lnTo>
                  <a:lnTo>
                    <a:pt x="164" y="14"/>
                  </a:lnTo>
                  <a:lnTo>
                    <a:pt x="156" y="12"/>
                  </a:lnTo>
                  <a:lnTo>
                    <a:pt x="150" y="12"/>
                  </a:lnTo>
                  <a:lnTo>
                    <a:pt x="144" y="16"/>
                  </a:lnTo>
                  <a:lnTo>
                    <a:pt x="140" y="22"/>
                  </a:lnTo>
                  <a:lnTo>
                    <a:pt x="132" y="22"/>
                  </a:lnTo>
                  <a:lnTo>
                    <a:pt x="126" y="26"/>
                  </a:lnTo>
                  <a:lnTo>
                    <a:pt x="130" y="32"/>
                  </a:lnTo>
                  <a:lnTo>
                    <a:pt x="130" y="38"/>
                  </a:lnTo>
                  <a:lnTo>
                    <a:pt x="124" y="32"/>
                  </a:lnTo>
                  <a:lnTo>
                    <a:pt x="118" y="30"/>
                  </a:lnTo>
                  <a:lnTo>
                    <a:pt x="112" y="26"/>
                  </a:lnTo>
                  <a:lnTo>
                    <a:pt x="106" y="30"/>
                  </a:lnTo>
                  <a:lnTo>
                    <a:pt x="100" y="28"/>
                  </a:lnTo>
                  <a:lnTo>
                    <a:pt x="102" y="22"/>
                  </a:lnTo>
                  <a:lnTo>
                    <a:pt x="96" y="22"/>
                  </a:lnTo>
                  <a:lnTo>
                    <a:pt x="90" y="22"/>
                  </a:lnTo>
                  <a:lnTo>
                    <a:pt x="84" y="22"/>
                  </a:lnTo>
                  <a:lnTo>
                    <a:pt x="76" y="24"/>
                  </a:lnTo>
                  <a:lnTo>
                    <a:pt x="70" y="22"/>
                  </a:lnTo>
                  <a:lnTo>
                    <a:pt x="76" y="22"/>
                  </a:lnTo>
                  <a:lnTo>
                    <a:pt x="82" y="20"/>
                  </a:lnTo>
                  <a:lnTo>
                    <a:pt x="88" y="18"/>
                  </a:lnTo>
                  <a:lnTo>
                    <a:pt x="94" y="18"/>
                  </a:lnTo>
                  <a:lnTo>
                    <a:pt x="100" y="18"/>
                  </a:lnTo>
                  <a:lnTo>
                    <a:pt x="108" y="16"/>
                  </a:lnTo>
                  <a:lnTo>
                    <a:pt x="114" y="16"/>
                  </a:lnTo>
                  <a:lnTo>
                    <a:pt x="120" y="16"/>
                  </a:lnTo>
                  <a:lnTo>
                    <a:pt x="126" y="14"/>
                  </a:lnTo>
                  <a:lnTo>
                    <a:pt x="122" y="8"/>
                  </a:lnTo>
                  <a:lnTo>
                    <a:pt x="116" y="8"/>
                  </a:lnTo>
                  <a:lnTo>
                    <a:pt x="110" y="10"/>
                  </a:lnTo>
                  <a:lnTo>
                    <a:pt x="104" y="10"/>
                  </a:lnTo>
                  <a:lnTo>
                    <a:pt x="98" y="10"/>
                  </a:lnTo>
                  <a:lnTo>
                    <a:pt x="92" y="10"/>
                  </a:lnTo>
                  <a:lnTo>
                    <a:pt x="86" y="12"/>
                  </a:lnTo>
                  <a:lnTo>
                    <a:pt x="80" y="14"/>
                  </a:lnTo>
                  <a:lnTo>
                    <a:pt x="74" y="14"/>
                  </a:lnTo>
                  <a:lnTo>
                    <a:pt x="66" y="12"/>
                  </a:lnTo>
                  <a:lnTo>
                    <a:pt x="62" y="10"/>
                  </a:lnTo>
                  <a:lnTo>
                    <a:pt x="54" y="12"/>
                  </a:lnTo>
                  <a:lnTo>
                    <a:pt x="56" y="18"/>
                  </a:lnTo>
                  <a:lnTo>
                    <a:pt x="50" y="18"/>
                  </a:lnTo>
                  <a:lnTo>
                    <a:pt x="44" y="12"/>
                  </a:lnTo>
                  <a:lnTo>
                    <a:pt x="40" y="10"/>
                  </a:lnTo>
                  <a:lnTo>
                    <a:pt x="32" y="12"/>
                  </a:lnTo>
                  <a:lnTo>
                    <a:pt x="26" y="14"/>
                  </a:lnTo>
                  <a:lnTo>
                    <a:pt x="20" y="18"/>
                  </a:lnTo>
                  <a:lnTo>
                    <a:pt x="26" y="20"/>
                  </a:lnTo>
                  <a:lnTo>
                    <a:pt x="20" y="20"/>
                  </a:lnTo>
                  <a:lnTo>
                    <a:pt x="14" y="20"/>
                  </a:lnTo>
                  <a:lnTo>
                    <a:pt x="6" y="22"/>
                  </a:lnTo>
                  <a:lnTo>
                    <a:pt x="14" y="24"/>
                  </a:lnTo>
                  <a:lnTo>
                    <a:pt x="8" y="24"/>
                  </a:lnTo>
                  <a:lnTo>
                    <a:pt x="0" y="26"/>
                  </a:lnTo>
                  <a:lnTo>
                    <a:pt x="6" y="28"/>
                  </a:lnTo>
                  <a:lnTo>
                    <a:pt x="6" y="34"/>
                  </a:lnTo>
                  <a:lnTo>
                    <a:pt x="12" y="36"/>
                  </a:lnTo>
                  <a:lnTo>
                    <a:pt x="18" y="4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0" name="Freeform 318"/>
            <p:cNvSpPr>
              <a:spLocks/>
            </p:cNvSpPr>
            <p:nvPr/>
          </p:nvSpPr>
          <p:spPr bwMode="auto">
            <a:xfrm>
              <a:off x="4600575" y="2079625"/>
              <a:ext cx="146050" cy="25400"/>
            </a:xfrm>
            <a:custGeom>
              <a:avLst/>
              <a:gdLst>
                <a:gd name="T0" fmla="*/ 2147483647 w 358"/>
                <a:gd name="T1" fmla="*/ 2147483647 h 64"/>
                <a:gd name="T2" fmla="*/ 2147483647 w 358"/>
                <a:gd name="T3" fmla="*/ 2147483647 h 64"/>
                <a:gd name="T4" fmla="*/ 2147483647 w 358"/>
                <a:gd name="T5" fmla="*/ 2147483647 h 64"/>
                <a:gd name="T6" fmla="*/ 2147483647 w 358"/>
                <a:gd name="T7" fmla="*/ 2147483647 h 64"/>
                <a:gd name="T8" fmla="*/ 2147483647 w 358"/>
                <a:gd name="T9" fmla="*/ 2147483647 h 64"/>
                <a:gd name="T10" fmla="*/ 2147483647 w 358"/>
                <a:gd name="T11" fmla="*/ 2147483647 h 64"/>
                <a:gd name="T12" fmla="*/ 2147483647 w 358"/>
                <a:gd name="T13" fmla="*/ 2147483647 h 64"/>
                <a:gd name="T14" fmla="*/ 2147483647 w 358"/>
                <a:gd name="T15" fmla="*/ 2147483647 h 64"/>
                <a:gd name="T16" fmla="*/ 2147483647 w 358"/>
                <a:gd name="T17" fmla="*/ 2147483647 h 64"/>
                <a:gd name="T18" fmla="*/ 2147483647 w 358"/>
                <a:gd name="T19" fmla="*/ 2147483647 h 64"/>
                <a:gd name="T20" fmla="*/ 2147483647 w 358"/>
                <a:gd name="T21" fmla="*/ 2147483647 h 64"/>
                <a:gd name="T22" fmla="*/ 2147483647 w 358"/>
                <a:gd name="T23" fmla="*/ 2147483647 h 64"/>
                <a:gd name="T24" fmla="*/ 2147483647 w 358"/>
                <a:gd name="T25" fmla="*/ 2147483647 h 64"/>
                <a:gd name="T26" fmla="*/ 2147483647 w 358"/>
                <a:gd name="T27" fmla="*/ 2147483647 h 64"/>
                <a:gd name="T28" fmla="*/ 2147483647 w 358"/>
                <a:gd name="T29" fmla="*/ 2147483647 h 64"/>
                <a:gd name="T30" fmla="*/ 2147483647 w 358"/>
                <a:gd name="T31" fmla="*/ 2147483647 h 64"/>
                <a:gd name="T32" fmla="*/ 2147483647 w 358"/>
                <a:gd name="T33" fmla="*/ 2147483647 h 64"/>
                <a:gd name="T34" fmla="*/ 2147483647 w 358"/>
                <a:gd name="T35" fmla="*/ 2147483647 h 64"/>
                <a:gd name="T36" fmla="*/ 2147483647 w 358"/>
                <a:gd name="T37" fmla="*/ 2147483647 h 64"/>
                <a:gd name="T38" fmla="*/ 2147483647 w 358"/>
                <a:gd name="T39" fmla="*/ 2147483647 h 64"/>
                <a:gd name="T40" fmla="*/ 2147483647 w 358"/>
                <a:gd name="T41" fmla="*/ 2147483647 h 64"/>
                <a:gd name="T42" fmla="*/ 2147483647 w 358"/>
                <a:gd name="T43" fmla="*/ 2147483647 h 64"/>
                <a:gd name="T44" fmla="*/ 2147483647 w 358"/>
                <a:gd name="T45" fmla="*/ 2147483647 h 64"/>
                <a:gd name="T46" fmla="*/ 2147483647 w 358"/>
                <a:gd name="T47" fmla="*/ 2147483647 h 64"/>
                <a:gd name="T48" fmla="*/ 2147483647 w 358"/>
                <a:gd name="T49" fmla="*/ 2147483647 h 64"/>
                <a:gd name="T50" fmla="*/ 2147483647 w 358"/>
                <a:gd name="T51" fmla="*/ 2147483647 h 64"/>
                <a:gd name="T52" fmla="*/ 2147483647 w 358"/>
                <a:gd name="T53" fmla="*/ 2147483647 h 64"/>
                <a:gd name="T54" fmla="*/ 2147483647 w 358"/>
                <a:gd name="T55" fmla="*/ 2147483647 h 64"/>
                <a:gd name="T56" fmla="*/ 2147483647 w 358"/>
                <a:gd name="T57" fmla="*/ 2147483647 h 64"/>
                <a:gd name="T58" fmla="*/ 2147483647 w 358"/>
                <a:gd name="T59" fmla="*/ 2147483647 h 64"/>
                <a:gd name="T60" fmla="*/ 2147483647 w 358"/>
                <a:gd name="T61" fmla="*/ 2147483647 h 64"/>
                <a:gd name="T62" fmla="*/ 2147483647 w 358"/>
                <a:gd name="T63" fmla="*/ 2147483647 h 64"/>
                <a:gd name="T64" fmla="*/ 2147483647 w 358"/>
                <a:gd name="T65" fmla="*/ 2147483647 h 64"/>
                <a:gd name="T66" fmla="*/ 2147483647 w 358"/>
                <a:gd name="T67" fmla="*/ 2147483647 h 64"/>
                <a:gd name="T68" fmla="*/ 2147483647 w 358"/>
                <a:gd name="T69" fmla="*/ 2147483647 h 64"/>
                <a:gd name="T70" fmla="*/ 2147483647 w 358"/>
                <a:gd name="T71" fmla="*/ 2147483647 h 64"/>
                <a:gd name="T72" fmla="*/ 2147483647 w 358"/>
                <a:gd name="T73" fmla="*/ 2147483647 h 64"/>
                <a:gd name="T74" fmla="*/ 2147483647 w 358"/>
                <a:gd name="T75" fmla="*/ 2147483647 h 64"/>
                <a:gd name="T76" fmla="*/ 2147483647 w 358"/>
                <a:gd name="T77" fmla="*/ 2147483647 h 64"/>
                <a:gd name="T78" fmla="*/ 2147483647 w 358"/>
                <a:gd name="T79" fmla="*/ 2147483647 h 64"/>
                <a:gd name="T80" fmla="*/ 2147483647 w 358"/>
                <a:gd name="T81" fmla="*/ 2147483647 h 64"/>
                <a:gd name="T82" fmla="*/ 2147483647 w 358"/>
                <a:gd name="T83" fmla="*/ 2147483647 h 64"/>
                <a:gd name="T84" fmla="*/ 2147483647 w 358"/>
                <a:gd name="T85" fmla="*/ 2147483647 h 64"/>
                <a:gd name="T86" fmla="*/ 2147483647 w 358"/>
                <a:gd name="T87" fmla="*/ 2147483647 h 64"/>
                <a:gd name="T88" fmla="*/ 2147483647 w 358"/>
                <a:gd name="T89" fmla="*/ 2147483647 h 64"/>
                <a:gd name="T90" fmla="*/ 2147483647 w 358"/>
                <a:gd name="T91" fmla="*/ 2147483647 h 64"/>
                <a:gd name="T92" fmla="*/ 2147483647 w 358"/>
                <a:gd name="T93" fmla="*/ 2147483647 h 64"/>
                <a:gd name="T94" fmla="*/ 2147483647 w 358"/>
                <a:gd name="T95" fmla="*/ 2147483647 h 64"/>
                <a:gd name="T96" fmla="*/ 2147483647 w 358"/>
                <a:gd name="T97" fmla="*/ 2147483647 h 6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58"/>
                <a:gd name="T148" fmla="*/ 0 h 64"/>
                <a:gd name="T149" fmla="*/ 358 w 358"/>
                <a:gd name="T150" fmla="*/ 64 h 6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58" h="64">
                  <a:moveTo>
                    <a:pt x="30" y="24"/>
                  </a:moveTo>
                  <a:lnTo>
                    <a:pt x="24" y="26"/>
                  </a:lnTo>
                  <a:lnTo>
                    <a:pt x="18" y="28"/>
                  </a:lnTo>
                  <a:lnTo>
                    <a:pt x="12" y="28"/>
                  </a:lnTo>
                  <a:lnTo>
                    <a:pt x="18" y="30"/>
                  </a:lnTo>
                  <a:lnTo>
                    <a:pt x="22" y="34"/>
                  </a:lnTo>
                  <a:lnTo>
                    <a:pt x="30" y="34"/>
                  </a:lnTo>
                  <a:lnTo>
                    <a:pt x="36" y="36"/>
                  </a:lnTo>
                  <a:lnTo>
                    <a:pt x="42" y="38"/>
                  </a:lnTo>
                  <a:lnTo>
                    <a:pt x="48" y="38"/>
                  </a:lnTo>
                  <a:lnTo>
                    <a:pt x="54" y="38"/>
                  </a:lnTo>
                  <a:lnTo>
                    <a:pt x="60" y="36"/>
                  </a:lnTo>
                  <a:lnTo>
                    <a:pt x="68" y="38"/>
                  </a:lnTo>
                  <a:lnTo>
                    <a:pt x="74" y="38"/>
                  </a:lnTo>
                  <a:lnTo>
                    <a:pt x="80" y="36"/>
                  </a:lnTo>
                  <a:lnTo>
                    <a:pt x="84" y="36"/>
                  </a:lnTo>
                  <a:lnTo>
                    <a:pt x="90" y="36"/>
                  </a:lnTo>
                  <a:lnTo>
                    <a:pt x="98" y="34"/>
                  </a:lnTo>
                  <a:lnTo>
                    <a:pt x="104" y="34"/>
                  </a:lnTo>
                  <a:lnTo>
                    <a:pt x="110" y="34"/>
                  </a:lnTo>
                  <a:lnTo>
                    <a:pt x="116" y="34"/>
                  </a:lnTo>
                  <a:lnTo>
                    <a:pt x="122" y="32"/>
                  </a:lnTo>
                  <a:lnTo>
                    <a:pt x="128" y="32"/>
                  </a:lnTo>
                  <a:lnTo>
                    <a:pt x="134" y="32"/>
                  </a:lnTo>
                  <a:lnTo>
                    <a:pt x="142" y="32"/>
                  </a:lnTo>
                  <a:lnTo>
                    <a:pt x="146" y="32"/>
                  </a:lnTo>
                  <a:lnTo>
                    <a:pt x="152" y="32"/>
                  </a:lnTo>
                  <a:lnTo>
                    <a:pt x="160" y="36"/>
                  </a:lnTo>
                  <a:lnTo>
                    <a:pt x="166" y="34"/>
                  </a:lnTo>
                  <a:lnTo>
                    <a:pt x="172" y="34"/>
                  </a:lnTo>
                  <a:lnTo>
                    <a:pt x="166" y="36"/>
                  </a:lnTo>
                  <a:lnTo>
                    <a:pt x="158" y="36"/>
                  </a:lnTo>
                  <a:lnTo>
                    <a:pt x="152" y="38"/>
                  </a:lnTo>
                  <a:lnTo>
                    <a:pt x="146" y="38"/>
                  </a:lnTo>
                  <a:lnTo>
                    <a:pt x="138" y="38"/>
                  </a:lnTo>
                  <a:lnTo>
                    <a:pt x="132" y="38"/>
                  </a:lnTo>
                  <a:lnTo>
                    <a:pt x="126" y="38"/>
                  </a:lnTo>
                  <a:lnTo>
                    <a:pt x="120" y="38"/>
                  </a:lnTo>
                  <a:lnTo>
                    <a:pt x="112" y="40"/>
                  </a:lnTo>
                  <a:lnTo>
                    <a:pt x="106" y="40"/>
                  </a:lnTo>
                  <a:lnTo>
                    <a:pt x="112" y="42"/>
                  </a:lnTo>
                  <a:lnTo>
                    <a:pt x="118" y="44"/>
                  </a:lnTo>
                  <a:lnTo>
                    <a:pt x="124" y="44"/>
                  </a:lnTo>
                  <a:lnTo>
                    <a:pt x="118" y="44"/>
                  </a:lnTo>
                  <a:lnTo>
                    <a:pt x="112" y="44"/>
                  </a:lnTo>
                  <a:lnTo>
                    <a:pt x="104" y="44"/>
                  </a:lnTo>
                  <a:lnTo>
                    <a:pt x="98" y="44"/>
                  </a:lnTo>
                  <a:lnTo>
                    <a:pt x="92" y="42"/>
                  </a:lnTo>
                  <a:lnTo>
                    <a:pt x="86" y="42"/>
                  </a:lnTo>
                  <a:lnTo>
                    <a:pt x="78" y="42"/>
                  </a:lnTo>
                  <a:lnTo>
                    <a:pt x="74" y="42"/>
                  </a:lnTo>
                  <a:lnTo>
                    <a:pt x="78" y="46"/>
                  </a:lnTo>
                  <a:lnTo>
                    <a:pt x="86" y="48"/>
                  </a:lnTo>
                  <a:lnTo>
                    <a:pt x="92" y="50"/>
                  </a:lnTo>
                  <a:lnTo>
                    <a:pt x="98" y="50"/>
                  </a:lnTo>
                  <a:lnTo>
                    <a:pt x="106" y="50"/>
                  </a:lnTo>
                  <a:lnTo>
                    <a:pt x="112" y="50"/>
                  </a:lnTo>
                  <a:lnTo>
                    <a:pt x="118" y="52"/>
                  </a:lnTo>
                  <a:lnTo>
                    <a:pt x="124" y="56"/>
                  </a:lnTo>
                  <a:lnTo>
                    <a:pt x="130" y="54"/>
                  </a:lnTo>
                  <a:lnTo>
                    <a:pt x="136" y="54"/>
                  </a:lnTo>
                  <a:lnTo>
                    <a:pt x="144" y="54"/>
                  </a:lnTo>
                  <a:lnTo>
                    <a:pt x="150" y="54"/>
                  </a:lnTo>
                  <a:lnTo>
                    <a:pt x="156" y="56"/>
                  </a:lnTo>
                  <a:lnTo>
                    <a:pt x="162" y="54"/>
                  </a:lnTo>
                  <a:lnTo>
                    <a:pt x="168" y="52"/>
                  </a:lnTo>
                  <a:lnTo>
                    <a:pt x="176" y="52"/>
                  </a:lnTo>
                  <a:lnTo>
                    <a:pt x="184" y="54"/>
                  </a:lnTo>
                  <a:lnTo>
                    <a:pt x="188" y="54"/>
                  </a:lnTo>
                  <a:lnTo>
                    <a:pt x="196" y="52"/>
                  </a:lnTo>
                  <a:lnTo>
                    <a:pt x="190" y="58"/>
                  </a:lnTo>
                  <a:lnTo>
                    <a:pt x="196" y="60"/>
                  </a:lnTo>
                  <a:lnTo>
                    <a:pt x="202" y="62"/>
                  </a:lnTo>
                  <a:lnTo>
                    <a:pt x="208" y="62"/>
                  </a:lnTo>
                  <a:lnTo>
                    <a:pt x="214" y="64"/>
                  </a:lnTo>
                  <a:lnTo>
                    <a:pt x="220" y="64"/>
                  </a:lnTo>
                  <a:lnTo>
                    <a:pt x="226" y="64"/>
                  </a:lnTo>
                  <a:lnTo>
                    <a:pt x="232" y="64"/>
                  </a:lnTo>
                  <a:lnTo>
                    <a:pt x="240" y="64"/>
                  </a:lnTo>
                  <a:lnTo>
                    <a:pt x="246" y="64"/>
                  </a:lnTo>
                  <a:lnTo>
                    <a:pt x="252" y="62"/>
                  </a:lnTo>
                  <a:lnTo>
                    <a:pt x="258" y="58"/>
                  </a:lnTo>
                  <a:lnTo>
                    <a:pt x="264" y="58"/>
                  </a:lnTo>
                  <a:lnTo>
                    <a:pt x="270" y="56"/>
                  </a:lnTo>
                  <a:lnTo>
                    <a:pt x="276" y="54"/>
                  </a:lnTo>
                  <a:lnTo>
                    <a:pt x="282" y="58"/>
                  </a:lnTo>
                  <a:lnTo>
                    <a:pt x="288" y="56"/>
                  </a:lnTo>
                  <a:lnTo>
                    <a:pt x="294" y="56"/>
                  </a:lnTo>
                  <a:lnTo>
                    <a:pt x="302" y="54"/>
                  </a:lnTo>
                  <a:lnTo>
                    <a:pt x="306" y="52"/>
                  </a:lnTo>
                  <a:lnTo>
                    <a:pt x="314" y="48"/>
                  </a:lnTo>
                  <a:lnTo>
                    <a:pt x="308" y="44"/>
                  </a:lnTo>
                  <a:lnTo>
                    <a:pt x="314" y="42"/>
                  </a:lnTo>
                  <a:lnTo>
                    <a:pt x="320" y="40"/>
                  </a:lnTo>
                  <a:lnTo>
                    <a:pt x="328" y="40"/>
                  </a:lnTo>
                  <a:lnTo>
                    <a:pt x="334" y="38"/>
                  </a:lnTo>
                  <a:lnTo>
                    <a:pt x="340" y="34"/>
                  </a:lnTo>
                  <a:lnTo>
                    <a:pt x="346" y="32"/>
                  </a:lnTo>
                  <a:lnTo>
                    <a:pt x="352" y="32"/>
                  </a:lnTo>
                  <a:lnTo>
                    <a:pt x="358" y="30"/>
                  </a:lnTo>
                  <a:lnTo>
                    <a:pt x="356" y="24"/>
                  </a:lnTo>
                  <a:lnTo>
                    <a:pt x="350" y="18"/>
                  </a:lnTo>
                  <a:lnTo>
                    <a:pt x="344" y="16"/>
                  </a:lnTo>
                  <a:lnTo>
                    <a:pt x="338" y="16"/>
                  </a:lnTo>
                  <a:lnTo>
                    <a:pt x="332" y="16"/>
                  </a:lnTo>
                  <a:lnTo>
                    <a:pt x="326" y="16"/>
                  </a:lnTo>
                  <a:lnTo>
                    <a:pt x="320" y="16"/>
                  </a:lnTo>
                  <a:lnTo>
                    <a:pt x="314" y="16"/>
                  </a:lnTo>
                  <a:lnTo>
                    <a:pt x="308" y="16"/>
                  </a:lnTo>
                  <a:lnTo>
                    <a:pt x="302" y="16"/>
                  </a:lnTo>
                  <a:lnTo>
                    <a:pt x="296" y="14"/>
                  </a:lnTo>
                  <a:lnTo>
                    <a:pt x="290" y="14"/>
                  </a:lnTo>
                  <a:lnTo>
                    <a:pt x="282" y="14"/>
                  </a:lnTo>
                  <a:lnTo>
                    <a:pt x="276" y="12"/>
                  </a:lnTo>
                  <a:lnTo>
                    <a:pt x="270" y="12"/>
                  </a:lnTo>
                  <a:lnTo>
                    <a:pt x="264" y="12"/>
                  </a:lnTo>
                  <a:lnTo>
                    <a:pt x="256" y="10"/>
                  </a:lnTo>
                  <a:lnTo>
                    <a:pt x="252" y="12"/>
                  </a:lnTo>
                  <a:lnTo>
                    <a:pt x="244" y="6"/>
                  </a:lnTo>
                  <a:lnTo>
                    <a:pt x="238" y="8"/>
                  </a:lnTo>
                  <a:lnTo>
                    <a:pt x="246" y="10"/>
                  </a:lnTo>
                  <a:lnTo>
                    <a:pt x="240" y="12"/>
                  </a:lnTo>
                  <a:lnTo>
                    <a:pt x="234" y="10"/>
                  </a:lnTo>
                  <a:lnTo>
                    <a:pt x="228" y="10"/>
                  </a:lnTo>
                  <a:lnTo>
                    <a:pt x="222" y="16"/>
                  </a:lnTo>
                  <a:lnTo>
                    <a:pt x="216" y="18"/>
                  </a:lnTo>
                  <a:lnTo>
                    <a:pt x="208" y="18"/>
                  </a:lnTo>
                  <a:lnTo>
                    <a:pt x="202" y="16"/>
                  </a:lnTo>
                  <a:lnTo>
                    <a:pt x="196" y="18"/>
                  </a:lnTo>
                  <a:lnTo>
                    <a:pt x="202" y="12"/>
                  </a:lnTo>
                  <a:lnTo>
                    <a:pt x="200" y="6"/>
                  </a:lnTo>
                  <a:lnTo>
                    <a:pt x="206" y="6"/>
                  </a:lnTo>
                  <a:lnTo>
                    <a:pt x="200" y="2"/>
                  </a:lnTo>
                  <a:lnTo>
                    <a:pt x="194" y="2"/>
                  </a:lnTo>
                  <a:lnTo>
                    <a:pt x="188" y="0"/>
                  </a:lnTo>
                  <a:lnTo>
                    <a:pt x="188" y="6"/>
                  </a:lnTo>
                  <a:lnTo>
                    <a:pt x="180" y="8"/>
                  </a:lnTo>
                  <a:lnTo>
                    <a:pt x="174" y="4"/>
                  </a:lnTo>
                  <a:lnTo>
                    <a:pt x="180" y="10"/>
                  </a:lnTo>
                  <a:lnTo>
                    <a:pt x="174" y="16"/>
                  </a:lnTo>
                  <a:lnTo>
                    <a:pt x="176" y="22"/>
                  </a:lnTo>
                  <a:lnTo>
                    <a:pt x="174" y="24"/>
                  </a:lnTo>
                  <a:lnTo>
                    <a:pt x="168" y="24"/>
                  </a:lnTo>
                  <a:lnTo>
                    <a:pt x="162" y="20"/>
                  </a:lnTo>
                  <a:lnTo>
                    <a:pt x="156" y="18"/>
                  </a:lnTo>
                  <a:lnTo>
                    <a:pt x="150" y="18"/>
                  </a:lnTo>
                  <a:lnTo>
                    <a:pt x="144" y="18"/>
                  </a:lnTo>
                  <a:lnTo>
                    <a:pt x="150" y="16"/>
                  </a:lnTo>
                  <a:lnTo>
                    <a:pt x="144" y="14"/>
                  </a:lnTo>
                  <a:lnTo>
                    <a:pt x="138" y="12"/>
                  </a:lnTo>
                  <a:lnTo>
                    <a:pt x="132" y="14"/>
                  </a:lnTo>
                  <a:lnTo>
                    <a:pt x="126" y="14"/>
                  </a:lnTo>
                  <a:lnTo>
                    <a:pt x="120" y="14"/>
                  </a:lnTo>
                  <a:lnTo>
                    <a:pt x="112" y="14"/>
                  </a:lnTo>
                  <a:lnTo>
                    <a:pt x="108" y="10"/>
                  </a:lnTo>
                  <a:lnTo>
                    <a:pt x="100" y="10"/>
                  </a:lnTo>
                  <a:lnTo>
                    <a:pt x="94" y="4"/>
                  </a:lnTo>
                  <a:lnTo>
                    <a:pt x="88" y="6"/>
                  </a:lnTo>
                  <a:lnTo>
                    <a:pt x="82" y="4"/>
                  </a:lnTo>
                  <a:lnTo>
                    <a:pt x="76" y="2"/>
                  </a:lnTo>
                  <a:lnTo>
                    <a:pt x="70" y="2"/>
                  </a:lnTo>
                  <a:lnTo>
                    <a:pt x="64" y="2"/>
                  </a:lnTo>
                  <a:lnTo>
                    <a:pt x="70" y="6"/>
                  </a:lnTo>
                  <a:lnTo>
                    <a:pt x="78" y="6"/>
                  </a:lnTo>
                  <a:lnTo>
                    <a:pt x="70" y="12"/>
                  </a:lnTo>
                  <a:lnTo>
                    <a:pt x="64" y="14"/>
                  </a:lnTo>
                  <a:lnTo>
                    <a:pt x="58" y="10"/>
                  </a:lnTo>
                  <a:lnTo>
                    <a:pt x="52" y="8"/>
                  </a:lnTo>
                  <a:lnTo>
                    <a:pt x="46" y="8"/>
                  </a:lnTo>
                  <a:lnTo>
                    <a:pt x="50" y="14"/>
                  </a:lnTo>
                  <a:lnTo>
                    <a:pt x="56" y="16"/>
                  </a:lnTo>
                  <a:lnTo>
                    <a:pt x="64" y="16"/>
                  </a:lnTo>
                  <a:lnTo>
                    <a:pt x="56" y="20"/>
                  </a:lnTo>
                  <a:lnTo>
                    <a:pt x="50" y="18"/>
                  </a:lnTo>
                  <a:lnTo>
                    <a:pt x="44" y="18"/>
                  </a:lnTo>
                  <a:lnTo>
                    <a:pt x="38" y="14"/>
                  </a:lnTo>
                  <a:lnTo>
                    <a:pt x="32" y="14"/>
                  </a:lnTo>
                  <a:lnTo>
                    <a:pt x="26" y="16"/>
                  </a:lnTo>
                  <a:lnTo>
                    <a:pt x="20" y="16"/>
                  </a:lnTo>
                  <a:lnTo>
                    <a:pt x="14" y="16"/>
                  </a:lnTo>
                  <a:lnTo>
                    <a:pt x="8" y="16"/>
                  </a:lnTo>
                  <a:lnTo>
                    <a:pt x="0" y="16"/>
                  </a:lnTo>
                  <a:lnTo>
                    <a:pt x="6" y="18"/>
                  </a:lnTo>
                  <a:lnTo>
                    <a:pt x="14" y="20"/>
                  </a:lnTo>
                  <a:lnTo>
                    <a:pt x="20" y="20"/>
                  </a:lnTo>
                  <a:lnTo>
                    <a:pt x="14" y="20"/>
                  </a:lnTo>
                  <a:lnTo>
                    <a:pt x="18" y="22"/>
                  </a:lnTo>
                  <a:lnTo>
                    <a:pt x="26" y="22"/>
                  </a:lnTo>
                  <a:lnTo>
                    <a:pt x="32" y="24"/>
                  </a:lnTo>
                  <a:lnTo>
                    <a:pt x="38" y="22"/>
                  </a:lnTo>
                  <a:lnTo>
                    <a:pt x="36" y="24"/>
                  </a:lnTo>
                  <a:lnTo>
                    <a:pt x="32" y="24"/>
                  </a:lnTo>
                  <a:lnTo>
                    <a:pt x="30" y="2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1" name="Freeform 319"/>
            <p:cNvSpPr>
              <a:spLocks/>
            </p:cNvSpPr>
            <p:nvPr/>
          </p:nvSpPr>
          <p:spPr bwMode="auto">
            <a:xfrm>
              <a:off x="4654550" y="2124075"/>
              <a:ext cx="63500" cy="22225"/>
            </a:xfrm>
            <a:custGeom>
              <a:avLst/>
              <a:gdLst>
                <a:gd name="T0" fmla="*/ 2147483647 w 156"/>
                <a:gd name="T1" fmla="*/ 2147483647 h 52"/>
                <a:gd name="T2" fmla="*/ 2147483647 w 156"/>
                <a:gd name="T3" fmla="*/ 2147483647 h 52"/>
                <a:gd name="T4" fmla="*/ 2147483647 w 156"/>
                <a:gd name="T5" fmla="*/ 2147483647 h 52"/>
                <a:gd name="T6" fmla="*/ 2147483647 w 156"/>
                <a:gd name="T7" fmla="*/ 2147483647 h 52"/>
                <a:gd name="T8" fmla="*/ 2147483647 w 156"/>
                <a:gd name="T9" fmla="*/ 2147483647 h 52"/>
                <a:gd name="T10" fmla="*/ 2147483647 w 156"/>
                <a:gd name="T11" fmla="*/ 2147483647 h 52"/>
                <a:gd name="T12" fmla="*/ 2147483647 w 156"/>
                <a:gd name="T13" fmla="*/ 2147483647 h 52"/>
                <a:gd name="T14" fmla="*/ 2147483647 w 156"/>
                <a:gd name="T15" fmla="*/ 2147483647 h 52"/>
                <a:gd name="T16" fmla="*/ 2147483647 w 156"/>
                <a:gd name="T17" fmla="*/ 2147483647 h 52"/>
                <a:gd name="T18" fmla="*/ 2147483647 w 156"/>
                <a:gd name="T19" fmla="*/ 2147483647 h 52"/>
                <a:gd name="T20" fmla="*/ 2147483647 w 156"/>
                <a:gd name="T21" fmla="*/ 2147483647 h 52"/>
                <a:gd name="T22" fmla="*/ 2147483647 w 156"/>
                <a:gd name="T23" fmla="*/ 2147483647 h 52"/>
                <a:gd name="T24" fmla="*/ 2147483647 w 156"/>
                <a:gd name="T25" fmla="*/ 2147483647 h 52"/>
                <a:gd name="T26" fmla="*/ 2147483647 w 156"/>
                <a:gd name="T27" fmla="*/ 2147483647 h 52"/>
                <a:gd name="T28" fmla="*/ 2147483647 w 156"/>
                <a:gd name="T29" fmla="*/ 2147483647 h 52"/>
                <a:gd name="T30" fmla="*/ 2147483647 w 156"/>
                <a:gd name="T31" fmla="*/ 2147483647 h 52"/>
                <a:gd name="T32" fmla="*/ 2147483647 w 156"/>
                <a:gd name="T33" fmla="*/ 2147483647 h 52"/>
                <a:gd name="T34" fmla="*/ 2147483647 w 156"/>
                <a:gd name="T35" fmla="*/ 2147483647 h 52"/>
                <a:gd name="T36" fmla="*/ 2147483647 w 156"/>
                <a:gd name="T37" fmla="*/ 2147483647 h 52"/>
                <a:gd name="T38" fmla="*/ 2147483647 w 156"/>
                <a:gd name="T39" fmla="*/ 2147483647 h 52"/>
                <a:gd name="T40" fmla="*/ 2147483647 w 156"/>
                <a:gd name="T41" fmla="*/ 2147483647 h 52"/>
                <a:gd name="T42" fmla="*/ 2147483647 w 156"/>
                <a:gd name="T43" fmla="*/ 2147483647 h 52"/>
                <a:gd name="T44" fmla="*/ 2147483647 w 156"/>
                <a:gd name="T45" fmla="*/ 2147483647 h 52"/>
                <a:gd name="T46" fmla="*/ 2147483647 w 156"/>
                <a:gd name="T47" fmla="*/ 0 h 52"/>
                <a:gd name="T48" fmla="*/ 2147483647 w 156"/>
                <a:gd name="T49" fmla="*/ 2147483647 h 52"/>
                <a:gd name="T50" fmla="*/ 2147483647 w 156"/>
                <a:gd name="T51" fmla="*/ 2147483647 h 52"/>
                <a:gd name="T52" fmla="*/ 2147483647 w 156"/>
                <a:gd name="T53" fmla="*/ 2147483647 h 52"/>
                <a:gd name="T54" fmla="*/ 2147483647 w 156"/>
                <a:gd name="T55" fmla="*/ 2147483647 h 52"/>
                <a:gd name="T56" fmla="*/ 2147483647 w 156"/>
                <a:gd name="T57" fmla="*/ 2147483647 h 52"/>
                <a:gd name="T58" fmla="*/ 0 w 156"/>
                <a:gd name="T59" fmla="*/ 2147483647 h 52"/>
                <a:gd name="T60" fmla="*/ 2147483647 w 156"/>
                <a:gd name="T61" fmla="*/ 2147483647 h 52"/>
                <a:gd name="T62" fmla="*/ 2147483647 w 156"/>
                <a:gd name="T63" fmla="*/ 2147483647 h 52"/>
                <a:gd name="T64" fmla="*/ 2147483647 w 156"/>
                <a:gd name="T65" fmla="*/ 2147483647 h 52"/>
                <a:gd name="T66" fmla="*/ 2147483647 w 156"/>
                <a:gd name="T67" fmla="*/ 2147483647 h 52"/>
                <a:gd name="T68" fmla="*/ 2147483647 w 156"/>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6"/>
                <a:gd name="T106" fmla="*/ 0 h 52"/>
                <a:gd name="T107" fmla="*/ 156 w 156"/>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6" h="52">
                  <a:moveTo>
                    <a:pt x="2" y="40"/>
                  </a:moveTo>
                  <a:lnTo>
                    <a:pt x="8" y="42"/>
                  </a:lnTo>
                  <a:lnTo>
                    <a:pt x="14" y="42"/>
                  </a:lnTo>
                  <a:lnTo>
                    <a:pt x="20" y="40"/>
                  </a:lnTo>
                  <a:lnTo>
                    <a:pt x="26" y="40"/>
                  </a:lnTo>
                  <a:lnTo>
                    <a:pt x="32" y="40"/>
                  </a:lnTo>
                  <a:lnTo>
                    <a:pt x="38" y="40"/>
                  </a:lnTo>
                  <a:lnTo>
                    <a:pt x="46" y="40"/>
                  </a:lnTo>
                  <a:lnTo>
                    <a:pt x="52" y="40"/>
                  </a:lnTo>
                  <a:lnTo>
                    <a:pt x="58" y="38"/>
                  </a:lnTo>
                  <a:lnTo>
                    <a:pt x="64" y="36"/>
                  </a:lnTo>
                  <a:lnTo>
                    <a:pt x="70" y="36"/>
                  </a:lnTo>
                  <a:lnTo>
                    <a:pt x="76" y="36"/>
                  </a:lnTo>
                  <a:lnTo>
                    <a:pt x="70" y="40"/>
                  </a:lnTo>
                  <a:lnTo>
                    <a:pt x="64" y="42"/>
                  </a:lnTo>
                  <a:lnTo>
                    <a:pt x="64" y="48"/>
                  </a:lnTo>
                  <a:lnTo>
                    <a:pt x="70" y="50"/>
                  </a:lnTo>
                  <a:lnTo>
                    <a:pt x="76" y="52"/>
                  </a:lnTo>
                  <a:lnTo>
                    <a:pt x="82" y="50"/>
                  </a:lnTo>
                  <a:lnTo>
                    <a:pt x="88" y="46"/>
                  </a:lnTo>
                  <a:lnTo>
                    <a:pt x="94" y="44"/>
                  </a:lnTo>
                  <a:lnTo>
                    <a:pt x="100" y="44"/>
                  </a:lnTo>
                  <a:lnTo>
                    <a:pt x="106" y="44"/>
                  </a:lnTo>
                  <a:lnTo>
                    <a:pt x="114" y="42"/>
                  </a:lnTo>
                  <a:lnTo>
                    <a:pt x="120" y="40"/>
                  </a:lnTo>
                  <a:lnTo>
                    <a:pt x="124" y="34"/>
                  </a:lnTo>
                  <a:lnTo>
                    <a:pt x="132" y="30"/>
                  </a:lnTo>
                  <a:lnTo>
                    <a:pt x="136" y="30"/>
                  </a:lnTo>
                  <a:lnTo>
                    <a:pt x="144" y="28"/>
                  </a:lnTo>
                  <a:lnTo>
                    <a:pt x="148" y="28"/>
                  </a:lnTo>
                  <a:lnTo>
                    <a:pt x="156" y="28"/>
                  </a:lnTo>
                  <a:lnTo>
                    <a:pt x="148" y="24"/>
                  </a:lnTo>
                  <a:lnTo>
                    <a:pt x="144" y="20"/>
                  </a:lnTo>
                  <a:lnTo>
                    <a:pt x="136" y="20"/>
                  </a:lnTo>
                  <a:lnTo>
                    <a:pt x="132" y="20"/>
                  </a:lnTo>
                  <a:lnTo>
                    <a:pt x="126" y="20"/>
                  </a:lnTo>
                  <a:lnTo>
                    <a:pt x="120" y="22"/>
                  </a:lnTo>
                  <a:lnTo>
                    <a:pt x="112" y="20"/>
                  </a:lnTo>
                  <a:lnTo>
                    <a:pt x="106" y="20"/>
                  </a:lnTo>
                  <a:lnTo>
                    <a:pt x="100" y="16"/>
                  </a:lnTo>
                  <a:lnTo>
                    <a:pt x="94" y="16"/>
                  </a:lnTo>
                  <a:lnTo>
                    <a:pt x="88" y="14"/>
                  </a:lnTo>
                  <a:lnTo>
                    <a:pt x="94" y="8"/>
                  </a:lnTo>
                  <a:lnTo>
                    <a:pt x="100" y="6"/>
                  </a:lnTo>
                  <a:lnTo>
                    <a:pt x="94" y="4"/>
                  </a:lnTo>
                  <a:lnTo>
                    <a:pt x="88" y="2"/>
                  </a:lnTo>
                  <a:lnTo>
                    <a:pt x="82" y="2"/>
                  </a:lnTo>
                  <a:lnTo>
                    <a:pt x="76" y="0"/>
                  </a:lnTo>
                  <a:lnTo>
                    <a:pt x="70" y="2"/>
                  </a:lnTo>
                  <a:lnTo>
                    <a:pt x="64" y="2"/>
                  </a:lnTo>
                  <a:lnTo>
                    <a:pt x="58" y="4"/>
                  </a:lnTo>
                  <a:lnTo>
                    <a:pt x="52" y="4"/>
                  </a:lnTo>
                  <a:lnTo>
                    <a:pt x="46" y="4"/>
                  </a:lnTo>
                  <a:lnTo>
                    <a:pt x="38" y="2"/>
                  </a:lnTo>
                  <a:lnTo>
                    <a:pt x="32" y="2"/>
                  </a:lnTo>
                  <a:lnTo>
                    <a:pt x="26" y="4"/>
                  </a:lnTo>
                  <a:lnTo>
                    <a:pt x="20" y="4"/>
                  </a:lnTo>
                  <a:lnTo>
                    <a:pt x="14" y="6"/>
                  </a:lnTo>
                  <a:lnTo>
                    <a:pt x="8" y="6"/>
                  </a:lnTo>
                  <a:lnTo>
                    <a:pt x="0" y="6"/>
                  </a:lnTo>
                  <a:lnTo>
                    <a:pt x="8" y="12"/>
                  </a:lnTo>
                  <a:lnTo>
                    <a:pt x="14" y="14"/>
                  </a:lnTo>
                  <a:lnTo>
                    <a:pt x="20" y="16"/>
                  </a:lnTo>
                  <a:lnTo>
                    <a:pt x="26" y="16"/>
                  </a:lnTo>
                  <a:lnTo>
                    <a:pt x="22" y="22"/>
                  </a:lnTo>
                  <a:lnTo>
                    <a:pt x="18" y="26"/>
                  </a:lnTo>
                  <a:lnTo>
                    <a:pt x="16" y="32"/>
                  </a:lnTo>
                  <a:lnTo>
                    <a:pt x="10" y="34"/>
                  </a:lnTo>
                  <a:lnTo>
                    <a:pt x="4" y="36"/>
                  </a:lnTo>
                  <a:lnTo>
                    <a:pt x="2" y="4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2" name="Freeform 320"/>
            <p:cNvSpPr>
              <a:spLocks/>
            </p:cNvSpPr>
            <p:nvPr/>
          </p:nvSpPr>
          <p:spPr bwMode="auto">
            <a:xfrm>
              <a:off x="2478088" y="2222500"/>
              <a:ext cx="44450" cy="19050"/>
            </a:xfrm>
            <a:custGeom>
              <a:avLst/>
              <a:gdLst>
                <a:gd name="T0" fmla="*/ 0 w 108"/>
                <a:gd name="T1" fmla="*/ 2147483647 h 48"/>
                <a:gd name="T2" fmla="*/ 2147483647 w 108"/>
                <a:gd name="T3" fmla="*/ 2147483647 h 48"/>
                <a:gd name="T4" fmla="*/ 2147483647 w 108"/>
                <a:gd name="T5" fmla="*/ 2147483647 h 48"/>
                <a:gd name="T6" fmla="*/ 2147483647 w 108"/>
                <a:gd name="T7" fmla="*/ 2147483647 h 48"/>
                <a:gd name="T8" fmla="*/ 2147483647 w 108"/>
                <a:gd name="T9" fmla="*/ 2147483647 h 48"/>
                <a:gd name="T10" fmla="*/ 2147483647 w 108"/>
                <a:gd name="T11" fmla="*/ 2147483647 h 48"/>
                <a:gd name="T12" fmla="*/ 2147483647 w 108"/>
                <a:gd name="T13" fmla="*/ 2147483647 h 48"/>
                <a:gd name="T14" fmla="*/ 2147483647 w 108"/>
                <a:gd name="T15" fmla="*/ 2147483647 h 48"/>
                <a:gd name="T16" fmla="*/ 2147483647 w 108"/>
                <a:gd name="T17" fmla="*/ 2147483647 h 48"/>
                <a:gd name="T18" fmla="*/ 2147483647 w 108"/>
                <a:gd name="T19" fmla="*/ 2147483647 h 48"/>
                <a:gd name="T20" fmla="*/ 2147483647 w 108"/>
                <a:gd name="T21" fmla="*/ 2147483647 h 48"/>
                <a:gd name="T22" fmla="*/ 2147483647 w 108"/>
                <a:gd name="T23" fmla="*/ 2147483647 h 48"/>
                <a:gd name="T24" fmla="*/ 2147483647 w 108"/>
                <a:gd name="T25" fmla="*/ 2147483647 h 48"/>
                <a:gd name="T26" fmla="*/ 2147483647 w 108"/>
                <a:gd name="T27" fmla="*/ 2147483647 h 48"/>
                <a:gd name="T28" fmla="*/ 2147483647 w 108"/>
                <a:gd name="T29" fmla="*/ 2147483647 h 48"/>
                <a:gd name="T30" fmla="*/ 2147483647 w 108"/>
                <a:gd name="T31" fmla="*/ 2147483647 h 48"/>
                <a:gd name="T32" fmla="*/ 2147483647 w 108"/>
                <a:gd name="T33" fmla="*/ 2147483647 h 48"/>
                <a:gd name="T34" fmla="*/ 2147483647 w 108"/>
                <a:gd name="T35" fmla="*/ 2147483647 h 48"/>
                <a:gd name="T36" fmla="*/ 2147483647 w 108"/>
                <a:gd name="T37" fmla="*/ 2147483647 h 48"/>
                <a:gd name="T38" fmla="*/ 2147483647 w 108"/>
                <a:gd name="T39" fmla="*/ 2147483647 h 48"/>
                <a:gd name="T40" fmla="*/ 2147483647 w 108"/>
                <a:gd name="T41" fmla="*/ 2147483647 h 48"/>
                <a:gd name="T42" fmla="*/ 2147483647 w 108"/>
                <a:gd name="T43" fmla="*/ 2147483647 h 48"/>
                <a:gd name="T44" fmla="*/ 2147483647 w 108"/>
                <a:gd name="T45" fmla="*/ 2147483647 h 48"/>
                <a:gd name="T46" fmla="*/ 2147483647 w 108"/>
                <a:gd name="T47" fmla="*/ 2147483647 h 48"/>
                <a:gd name="T48" fmla="*/ 2147483647 w 108"/>
                <a:gd name="T49" fmla="*/ 2147483647 h 48"/>
                <a:gd name="T50" fmla="*/ 2147483647 w 108"/>
                <a:gd name="T51" fmla="*/ 2147483647 h 48"/>
                <a:gd name="T52" fmla="*/ 2147483647 w 108"/>
                <a:gd name="T53" fmla="*/ 0 h 48"/>
                <a:gd name="T54" fmla="*/ 2147483647 w 108"/>
                <a:gd name="T55" fmla="*/ 0 h 48"/>
                <a:gd name="T56" fmla="*/ 2147483647 w 108"/>
                <a:gd name="T57" fmla="*/ 0 h 48"/>
                <a:gd name="T58" fmla="*/ 2147483647 w 108"/>
                <a:gd name="T59" fmla="*/ 0 h 48"/>
                <a:gd name="T60" fmla="*/ 2147483647 w 108"/>
                <a:gd name="T61" fmla="*/ 2147483647 h 48"/>
                <a:gd name="T62" fmla="*/ 2147483647 w 108"/>
                <a:gd name="T63" fmla="*/ 2147483647 h 48"/>
                <a:gd name="T64" fmla="*/ 2147483647 w 108"/>
                <a:gd name="T65" fmla="*/ 2147483647 h 48"/>
                <a:gd name="T66" fmla="*/ 2147483647 w 108"/>
                <a:gd name="T67" fmla="*/ 2147483647 h 48"/>
                <a:gd name="T68" fmla="*/ 2147483647 w 108"/>
                <a:gd name="T69" fmla="*/ 2147483647 h 48"/>
                <a:gd name="T70" fmla="*/ 2147483647 w 108"/>
                <a:gd name="T71" fmla="*/ 2147483647 h 48"/>
                <a:gd name="T72" fmla="*/ 2147483647 w 108"/>
                <a:gd name="T73" fmla="*/ 2147483647 h 48"/>
                <a:gd name="T74" fmla="*/ 2147483647 w 108"/>
                <a:gd name="T75" fmla="*/ 2147483647 h 48"/>
                <a:gd name="T76" fmla="*/ 2147483647 w 108"/>
                <a:gd name="T77" fmla="*/ 2147483647 h 48"/>
                <a:gd name="T78" fmla="*/ 2147483647 w 108"/>
                <a:gd name="T79" fmla="*/ 2147483647 h 48"/>
                <a:gd name="T80" fmla="*/ 2147483647 w 108"/>
                <a:gd name="T81" fmla="*/ 2147483647 h 48"/>
                <a:gd name="T82" fmla="*/ 2147483647 w 108"/>
                <a:gd name="T83" fmla="*/ 2147483647 h 48"/>
                <a:gd name="T84" fmla="*/ 0 w 108"/>
                <a:gd name="T85" fmla="*/ 2147483647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8"/>
                <a:gd name="T130" fmla="*/ 0 h 48"/>
                <a:gd name="T131" fmla="*/ 108 w 108"/>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8" h="48">
                  <a:moveTo>
                    <a:pt x="0" y="16"/>
                  </a:moveTo>
                  <a:lnTo>
                    <a:pt x="6" y="16"/>
                  </a:lnTo>
                  <a:lnTo>
                    <a:pt x="12" y="18"/>
                  </a:lnTo>
                  <a:lnTo>
                    <a:pt x="18" y="22"/>
                  </a:lnTo>
                  <a:lnTo>
                    <a:pt x="24" y="26"/>
                  </a:lnTo>
                  <a:lnTo>
                    <a:pt x="18" y="30"/>
                  </a:lnTo>
                  <a:lnTo>
                    <a:pt x="26" y="32"/>
                  </a:lnTo>
                  <a:lnTo>
                    <a:pt x="26" y="38"/>
                  </a:lnTo>
                  <a:lnTo>
                    <a:pt x="30" y="44"/>
                  </a:lnTo>
                  <a:lnTo>
                    <a:pt x="28" y="48"/>
                  </a:lnTo>
                  <a:lnTo>
                    <a:pt x="36" y="48"/>
                  </a:lnTo>
                  <a:lnTo>
                    <a:pt x="40" y="44"/>
                  </a:lnTo>
                  <a:lnTo>
                    <a:pt x="46" y="42"/>
                  </a:lnTo>
                  <a:lnTo>
                    <a:pt x="52" y="40"/>
                  </a:lnTo>
                  <a:lnTo>
                    <a:pt x="58" y="36"/>
                  </a:lnTo>
                  <a:lnTo>
                    <a:pt x="66" y="36"/>
                  </a:lnTo>
                  <a:lnTo>
                    <a:pt x="72" y="32"/>
                  </a:lnTo>
                  <a:lnTo>
                    <a:pt x="78" y="30"/>
                  </a:lnTo>
                  <a:lnTo>
                    <a:pt x="82" y="26"/>
                  </a:lnTo>
                  <a:lnTo>
                    <a:pt x="88" y="24"/>
                  </a:lnTo>
                  <a:lnTo>
                    <a:pt x="94" y="20"/>
                  </a:lnTo>
                  <a:lnTo>
                    <a:pt x="102" y="16"/>
                  </a:lnTo>
                  <a:lnTo>
                    <a:pt x="108" y="14"/>
                  </a:lnTo>
                  <a:lnTo>
                    <a:pt x="108" y="6"/>
                  </a:lnTo>
                  <a:lnTo>
                    <a:pt x="102" y="6"/>
                  </a:lnTo>
                  <a:lnTo>
                    <a:pt x="102" y="4"/>
                  </a:lnTo>
                  <a:lnTo>
                    <a:pt x="94" y="0"/>
                  </a:lnTo>
                  <a:lnTo>
                    <a:pt x="90" y="0"/>
                  </a:lnTo>
                  <a:lnTo>
                    <a:pt x="82" y="0"/>
                  </a:lnTo>
                  <a:lnTo>
                    <a:pt x="76" y="0"/>
                  </a:lnTo>
                  <a:lnTo>
                    <a:pt x="70" y="2"/>
                  </a:lnTo>
                  <a:lnTo>
                    <a:pt x="64" y="2"/>
                  </a:lnTo>
                  <a:lnTo>
                    <a:pt x="56" y="2"/>
                  </a:lnTo>
                  <a:lnTo>
                    <a:pt x="52" y="2"/>
                  </a:lnTo>
                  <a:lnTo>
                    <a:pt x="44" y="2"/>
                  </a:lnTo>
                  <a:lnTo>
                    <a:pt x="38" y="2"/>
                  </a:lnTo>
                  <a:lnTo>
                    <a:pt x="32" y="2"/>
                  </a:lnTo>
                  <a:lnTo>
                    <a:pt x="26" y="4"/>
                  </a:lnTo>
                  <a:lnTo>
                    <a:pt x="20" y="6"/>
                  </a:lnTo>
                  <a:lnTo>
                    <a:pt x="14" y="10"/>
                  </a:lnTo>
                  <a:lnTo>
                    <a:pt x="8" y="10"/>
                  </a:lnTo>
                  <a:lnTo>
                    <a:pt x="2" y="14"/>
                  </a:lnTo>
                  <a:lnTo>
                    <a:pt x="0" y="16"/>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3" name="Freeform 321"/>
            <p:cNvSpPr>
              <a:spLocks/>
            </p:cNvSpPr>
            <p:nvPr/>
          </p:nvSpPr>
          <p:spPr bwMode="auto">
            <a:xfrm>
              <a:off x="2495550" y="2127250"/>
              <a:ext cx="73025" cy="17463"/>
            </a:xfrm>
            <a:custGeom>
              <a:avLst/>
              <a:gdLst>
                <a:gd name="T0" fmla="*/ 2147483647 w 178"/>
                <a:gd name="T1" fmla="*/ 2147483647 h 40"/>
                <a:gd name="T2" fmla="*/ 2147483647 w 178"/>
                <a:gd name="T3" fmla="*/ 2147483647 h 40"/>
                <a:gd name="T4" fmla="*/ 2147483647 w 178"/>
                <a:gd name="T5" fmla="*/ 0 h 40"/>
                <a:gd name="T6" fmla="*/ 2147483647 w 178"/>
                <a:gd name="T7" fmla="*/ 0 h 40"/>
                <a:gd name="T8" fmla="*/ 2147483647 w 178"/>
                <a:gd name="T9" fmla="*/ 0 h 40"/>
                <a:gd name="T10" fmla="*/ 2147483647 w 178"/>
                <a:gd name="T11" fmla="*/ 0 h 40"/>
                <a:gd name="T12" fmla="*/ 2147483647 w 178"/>
                <a:gd name="T13" fmla="*/ 0 h 40"/>
                <a:gd name="T14" fmla="*/ 2147483647 w 178"/>
                <a:gd name="T15" fmla="*/ 2147483647 h 40"/>
                <a:gd name="T16" fmla="*/ 2147483647 w 178"/>
                <a:gd name="T17" fmla="*/ 2147483647 h 40"/>
                <a:gd name="T18" fmla="*/ 2147483647 w 178"/>
                <a:gd name="T19" fmla="*/ 2147483647 h 40"/>
                <a:gd name="T20" fmla="*/ 2147483647 w 178"/>
                <a:gd name="T21" fmla="*/ 2147483647 h 40"/>
                <a:gd name="T22" fmla="*/ 2147483647 w 178"/>
                <a:gd name="T23" fmla="*/ 2147483647 h 40"/>
                <a:gd name="T24" fmla="*/ 2147483647 w 178"/>
                <a:gd name="T25" fmla="*/ 2147483647 h 40"/>
                <a:gd name="T26" fmla="*/ 2147483647 w 178"/>
                <a:gd name="T27" fmla="*/ 2147483647 h 40"/>
                <a:gd name="T28" fmla="*/ 2147483647 w 178"/>
                <a:gd name="T29" fmla="*/ 2147483647 h 40"/>
                <a:gd name="T30" fmla="*/ 2147483647 w 178"/>
                <a:gd name="T31" fmla="*/ 2147483647 h 40"/>
                <a:gd name="T32" fmla="*/ 0 w 178"/>
                <a:gd name="T33" fmla="*/ 2147483647 h 40"/>
                <a:gd name="T34" fmla="*/ 2147483647 w 178"/>
                <a:gd name="T35" fmla="*/ 2147483647 h 40"/>
                <a:gd name="T36" fmla="*/ 2147483647 w 178"/>
                <a:gd name="T37" fmla="*/ 2147483647 h 40"/>
                <a:gd name="T38" fmla="*/ 2147483647 w 178"/>
                <a:gd name="T39" fmla="*/ 2147483647 h 40"/>
                <a:gd name="T40" fmla="*/ 2147483647 w 178"/>
                <a:gd name="T41" fmla="*/ 2147483647 h 40"/>
                <a:gd name="T42" fmla="*/ 2147483647 w 178"/>
                <a:gd name="T43" fmla="*/ 2147483647 h 40"/>
                <a:gd name="T44" fmla="*/ 2147483647 w 178"/>
                <a:gd name="T45" fmla="*/ 2147483647 h 40"/>
                <a:gd name="T46" fmla="*/ 2147483647 w 178"/>
                <a:gd name="T47" fmla="*/ 2147483647 h 40"/>
                <a:gd name="T48" fmla="*/ 2147483647 w 178"/>
                <a:gd name="T49" fmla="*/ 2147483647 h 40"/>
                <a:gd name="T50" fmla="*/ 2147483647 w 178"/>
                <a:gd name="T51" fmla="*/ 2147483647 h 40"/>
                <a:gd name="T52" fmla="*/ 2147483647 w 178"/>
                <a:gd name="T53" fmla="*/ 2147483647 h 40"/>
                <a:gd name="T54" fmla="*/ 2147483647 w 178"/>
                <a:gd name="T55" fmla="*/ 2147483647 h 40"/>
                <a:gd name="T56" fmla="*/ 2147483647 w 178"/>
                <a:gd name="T57" fmla="*/ 2147483647 h 40"/>
                <a:gd name="T58" fmla="*/ 2147483647 w 178"/>
                <a:gd name="T59" fmla="*/ 2147483647 h 40"/>
                <a:gd name="T60" fmla="*/ 2147483647 w 178"/>
                <a:gd name="T61" fmla="*/ 2147483647 h 40"/>
                <a:gd name="T62" fmla="*/ 2147483647 w 178"/>
                <a:gd name="T63" fmla="*/ 2147483647 h 40"/>
                <a:gd name="T64" fmla="*/ 2147483647 w 178"/>
                <a:gd name="T65" fmla="*/ 2147483647 h 4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8"/>
                <a:gd name="T100" fmla="*/ 0 h 40"/>
                <a:gd name="T101" fmla="*/ 178 w 178"/>
                <a:gd name="T102" fmla="*/ 40 h 4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8" h="40">
                  <a:moveTo>
                    <a:pt x="154" y="10"/>
                  </a:moveTo>
                  <a:lnTo>
                    <a:pt x="160" y="8"/>
                  </a:lnTo>
                  <a:lnTo>
                    <a:pt x="166" y="8"/>
                  </a:lnTo>
                  <a:lnTo>
                    <a:pt x="172" y="6"/>
                  </a:lnTo>
                  <a:lnTo>
                    <a:pt x="178" y="4"/>
                  </a:lnTo>
                  <a:lnTo>
                    <a:pt x="172" y="0"/>
                  </a:lnTo>
                  <a:lnTo>
                    <a:pt x="168" y="0"/>
                  </a:lnTo>
                  <a:lnTo>
                    <a:pt x="162" y="0"/>
                  </a:lnTo>
                  <a:lnTo>
                    <a:pt x="156" y="0"/>
                  </a:lnTo>
                  <a:lnTo>
                    <a:pt x="148" y="0"/>
                  </a:lnTo>
                  <a:lnTo>
                    <a:pt x="142" y="0"/>
                  </a:lnTo>
                  <a:lnTo>
                    <a:pt x="136" y="0"/>
                  </a:lnTo>
                  <a:lnTo>
                    <a:pt x="130" y="2"/>
                  </a:lnTo>
                  <a:lnTo>
                    <a:pt x="124" y="0"/>
                  </a:lnTo>
                  <a:lnTo>
                    <a:pt x="118" y="2"/>
                  </a:lnTo>
                  <a:lnTo>
                    <a:pt x="112" y="2"/>
                  </a:lnTo>
                  <a:lnTo>
                    <a:pt x="104" y="2"/>
                  </a:lnTo>
                  <a:lnTo>
                    <a:pt x="98" y="4"/>
                  </a:lnTo>
                  <a:lnTo>
                    <a:pt x="92" y="4"/>
                  </a:lnTo>
                  <a:lnTo>
                    <a:pt x="86" y="4"/>
                  </a:lnTo>
                  <a:lnTo>
                    <a:pt x="80" y="4"/>
                  </a:lnTo>
                  <a:lnTo>
                    <a:pt x="74" y="6"/>
                  </a:lnTo>
                  <a:lnTo>
                    <a:pt x="68" y="6"/>
                  </a:lnTo>
                  <a:lnTo>
                    <a:pt x="62" y="6"/>
                  </a:lnTo>
                  <a:lnTo>
                    <a:pt x="56" y="6"/>
                  </a:lnTo>
                  <a:lnTo>
                    <a:pt x="48" y="8"/>
                  </a:lnTo>
                  <a:lnTo>
                    <a:pt x="42" y="8"/>
                  </a:lnTo>
                  <a:lnTo>
                    <a:pt x="36" y="10"/>
                  </a:lnTo>
                  <a:lnTo>
                    <a:pt x="30" y="10"/>
                  </a:lnTo>
                  <a:lnTo>
                    <a:pt x="24" y="10"/>
                  </a:lnTo>
                  <a:lnTo>
                    <a:pt x="20" y="12"/>
                  </a:lnTo>
                  <a:lnTo>
                    <a:pt x="12" y="16"/>
                  </a:lnTo>
                  <a:lnTo>
                    <a:pt x="6" y="22"/>
                  </a:lnTo>
                  <a:lnTo>
                    <a:pt x="0" y="26"/>
                  </a:lnTo>
                  <a:lnTo>
                    <a:pt x="2" y="32"/>
                  </a:lnTo>
                  <a:lnTo>
                    <a:pt x="8" y="34"/>
                  </a:lnTo>
                  <a:lnTo>
                    <a:pt x="14" y="32"/>
                  </a:lnTo>
                  <a:lnTo>
                    <a:pt x="18" y="40"/>
                  </a:lnTo>
                  <a:lnTo>
                    <a:pt x="24" y="40"/>
                  </a:lnTo>
                  <a:lnTo>
                    <a:pt x="30" y="40"/>
                  </a:lnTo>
                  <a:lnTo>
                    <a:pt x="36" y="38"/>
                  </a:lnTo>
                  <a:lnTo>
                    <a:pt x="44" y="38"/>
                  </a:lnTo>
                  <a:lnTo>
                    <a:pt x="50" y="36"/>
                  </a:lnTo>
                  <a:lnTo>
                    <a:pt x="56" y="36"/>
                  </a:lnTo>
                  <a:lnTo>
                    <a:pt x="62" y="36"/>
                  </a:lnTo>
                  <a:lnTo>
                    <a:pt x="68" y="36"/>
                  </a:lnTo>
                  <a:lnTo>
                    <a:pt x="74" y="36"/>
                  </a:lnTo>
                  <a:lnTo>
                    <a:pt x="80" y="36"/>
                  </a:lnTo>
                  <a:lnTo>
                    <a:pt x="88" y="34"/>
                  </a:lnTo>
                  <a:lnTo>
                    <a:pt x="94" y="34"/>
                  </a:lnTo>
                  <a:lnTo>
                    <a:pt x="100" y="32"/>
                  </a:lnTo>
                  <a:lnTo>
                    <a:pt x="108" y="32"/>
                  </a:lnTo>
                  <a:lnTo>
                    <a:pt x="114" y="30"/>
                  </a:lnTo>
                  <a:lnTo>
                    <a:pt x="120" y="28"/>
                  </a:lnTo>
                  <a:lnTo>
                    <a:pt x="126" y="24"/>
                  </a:lnTo>
                  <a:lnTo>
                    <a:pt x="132" y="20"/>
                  </a:lnTo>
                  <a:lnTo>
                    <a:pt x="126" y="16"/>
                  </a:lnTo>
                  <a:lnTo>
                    <a:pt x="120" y="18"/>
                  </a:lnTo>
                  <a:lnTo>
                    <a:pt x="114" y="18"/>
                  </a:lnTo>
                  <a:lnTo>
                    <a:pt x="120" y="12"/>
                  </a:lnTo>
                  <a:lnTo>
                    <a:pt x="126" y="12"/>
                  </a:lnTo>
                  <a:lnTo>
                    <a:pt x="132" y="12"/>
                  </a:lnTo>
                  <a:lnTo>
                    <a:pt x="138" y="10"/>
                  </a:lnTo>
                  <a:lnTo>
                    <a:pt x="146" y="10"/>
                  </a:lnTo>
                  <a:lnTo>
                    <a:pt x="152" y="10"/>
                  </a:lnTo>
                  <a:lnTo>
                    <a:pt x="154" y="1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4" name="Freeform 322"/>
            <p:cNvSpPr>
              <a:spLocks/>
            </p:cNvSpPr>
            <p:nvPr/>
          </p:nvSpPr>
          <p:spPr bwMode="auto">
            <a:xfrm>
              <a:off x="2606675" y="2157413"/>
              <a:ext cx="107950" cy="38100"/>
            </a:xfrm>
            <a:custGeom>
              <a:avLst/>
              <a:gdLst>
                <a:gd name="T0" fmla="*/ 2147483647 w 262"/>
                <a:gd name="T1" fmla="*/ 2147483647 h 92"/>
                <a:gd name="T2" fmla="*/ 2147483647 w 262"/>
                <a:gd name="T3" fmla="*/ 2147483647 h 92"/>
                <a:gd name="T4" fmla="*/ 2147483647 w 262"/>
                <a:gd name="T5" fmla="*/ 2147483647 h 92"/>
                <a:gd name="T6" fmla="*/ 2147483647 w 262"/>
                <a:gd name="T7" fmla="*/ 2147483647 h 92"/>
                <a:gd name="T8" fmla="*/ 2147483647 w 262"/>
                <a:gd name="T9" fmla="*/ 2147483647 h 92"/>
                <a:gd name="T10" fmla="*/ 2147483647 w 262"/>
                <a:gd name="T11" fmla="*/ 2147483647 h 92"/>
                <a:gd name="T12" fmla="*/ 2147483647 w 262"/>
                <a:gd name="T13" fmla="*/ 2147483647 h 92"/>
                <a:gd name="T14" fmla="*/ 2147483647 w 262"/>
                <a:gd name="T15" fmla="*/ 2147483647 h 92"/>
                <a:gd name="T16" fmla="*/ 2147483647 w 262"/>
                <a:gd name="T17" fmla="*/ 2147483647 h 92"/>
                <a:gd name="T18" fmla="*/ 2147483647 w 262"/>
                <a:gd name="T19" fmla="*/ 2147483647 h 92"/>
                <a:gd name="T20" fmla="*/ 2147483647 w 262"/>
                <a:gd name="T21" fmla="*/ 2147483647 h 92"/>
                <a:gd name="T22" fmla="*/ 2147483647 w 262"/>
                <a:gd name="T23" fmla="*/ 2147483647 h 92"/>
                <a:gd name="T24" fmla="*/ 2147483647 w 262"/>
                <a:gd name="T25" fmla="*/ 2147483647 h 92"/>
                <a:gd name="T26" fmla="*/ 2147483647 w 262"/>
                <a:gd name="T27" fmla="*/ 2147483647 h 92"/>
                <a:gd name="T28" fmla="*/ 2147483647 w 262"/>
                <a:gd name="T29" fmla="*/ 2147483647 h 92"/>
                <a:gd name="T30" fmla="*/ 2147483647 w 262"/>
                <a:gd name="T31" fmla="*/ 2147483647 h 92"/>
                <a:gd name="T32" fmla="*/ 2147483647 w 262"/>
                <a:gd name="T33" fmla="*/ 2147483647 h 92"/>
                <a:gd name="T34" fmla="*/ 2147483647 w 262"/>
                <a:gd name="T35" fmla="*/ 2147483647 h 92"/>
                <a:gd name="T36" fmla="*/ 2147483647 w 262"/>
                <a:gd name="T37" fmla="*/ 2147483647 h 92"/>
                <a:gd name="T38" fmla="*/ 2147483647 w 262"/>
                <a:gd name="T39" fmla="*/ 2147483647 h 92"/>
                <a:gd name="T40" fmla="*/ 2147483647 w 262"/>
                <a:gd name="T41" fmla="*/ 2147483647 h 92"/>
                <a:gd name="T42" fmla="*/ 2147483647 w 262"/>
                <a:gd name="T43" fmla="*/ 2147483647 h 92"/>
                <a:gd name="T44" fmla="*/ 2147483647 w 262"/>
                <a:gd name="T45" fmla="*/ 2147483647 h 92"/>
                <a:gd name="T46" fmla="*/ 2147483647 w 262"/>
                <a:gd name="T47" fmla="*/ 2147483647 h 92"/>
                <a:gd name="T48" fmla="*/ 2147483647 w 262"/>
                <a:gd name="T49" fmla="*/ 2147483647 h 92"/>
                <a:gd name="T50" fmla="*/ 2147483647 w 262"/>
                <a:gd name="T51" fmla="*/ 2147483647 h 92"/>
                <a:gd name="T52" fmla="*/ 2147483647 w 262"/>
                <a:gd name="T53" fmla="*/ 2147483647 h 92"/>
                <a:gd name="T54" fmla="*/ 2147483647 w 262"/>
                <a:gd name="T55" fmla="*/ 2147483647 h 92"/>
                <a:gd name="T56" fmla="*/ 2147483647 w 262"/>
                <a:gd name="T57" fmla="*/ 2147483647 h 92"/>
                <a:gd name="T58" fmla="*/ 2147483647 w 262"/>
                <a:gd name="T59" fmla="*/ 2147483647 h 92"/>
                <a:gd name="T60" fmla="*/ 2147483647 w 262"/>
                <a:gd name="T61" fmla="*/ 2147483647 h 92"/>
                <a:gd name="T62" fmla="*/ 2147483647 w 262"/>
                <a:gd name="T63" fmla="*/ 2147483647 h 92"/>
                <a:gd name="T64" fmla="*/ 2147483647 w 262"/>
                <a:gd name="T65" fmla="*/ 2147483647 h 92"/>
                <a:gd name="T66" fmla="*/ 2147483647 w 262"/>
                <a:gd name="T67" fmla="*/ 2147483647 h 92"/>
                <a:gd name="T68" fmla="*/ 2147483647 w 262"/>
                <a:gd name="T69" fmla="*/ 2147483647 h 92"/>
                <a:gd name="T70" fmla="*/ 2147483647 w 262"/>
                <a:gd name="T71" fmla="*/ 2147483647 h 92"/>
                <a:gd name="T72" fmla="*/ 2147483647 w 262"/>
                <a:gd name="T73" fmla="*/ 2147483647 h 92"/>
                <a:gd name="T74" fmla="*/ 2147483647 w 262"/>
                <a:gd name="T75" fmla="*/ 2147483647 h 92"/>
                <a:gd name="T76" fmla="*/ 0 w 262"/>
                <a:gd name="T77" fmla="*/ 2147483647 h 92"/>
                <a:gd name="T78" fmla="*/ 2147483647 w 262"/>
                <a:gd name="T79" fmla="*/ 2147483647 h 92"/>
                <a:gd name="T80" fmla="*/ 2147483647 w 262"/>
                <a:gd name="T81" fmla="*/ 2147483647 h 92"/>
                <a:gd name="T82" fmla="*/ 2147483647 w 262"/>
                <a:gd name="T83" fmla="*/ 2147483647 h 92"/>
                <a:gd name="T84" fmla="*/ 2147483647 w 262"/>
                <a:gd name="T85" fmla="*/ 2147483647 h 92"/>
                <a:gd name="T86" fmla="*/ 2147483647 w 262"/>
                <a:gd name="T87" fmla="*/ 2147483647 h 92"/>
                <a:gd name="T88" fmla="*/ 2147483647 w 262"/>
                <a:gd name="T89" fmla="*/ 2147483647 h 92"/>
                <a:gd name="T90" fmla="*/ 2147483647 w 262"/>
                <a:gd name="T91" fmla="*/ 2147483647 h 92"/>
                <a:gd name="T92" fmla="*/ 2147483647 w 262"/>
                <a:gd name="T93" fmla="*/ 2147483647 h 92"/>
                <a:gd name="T94" fmla="*/ 2147483647 w 262"/>
                <a:gd name="T95" fmla="*/ 2147483647 h 92"/>
                <a:gd name="T96" fmla="*/ 2147483647 w 262"/>
                <a:gd name="T97" fmla="*/ 2147483647 h 92"/>
                <a:gd name="T98" fmla="*/ 2147483647 w 262"/>
                <a:gd name="T99" fmla="*/ 2147483647 h 92"/>
                <a:gd name="T100" fmla="*/ 2147483647 w 262"/>
                <a:gd name="T101" fmla="*/ 2147483647 h 92"/>
                <a:gd name="T102" fmla="*/ 2147483647 w 262"/>
                <a:gd name="T103" fmla="*/ 2147483647 h 92"/>
                <a:gd name="T104" fmla="*/ 2147483647 w 262"/>
                <a:gd name="T105" fmla="*/ 2147483647 h 92"/>
                <a:gd name="T106" fmla="*/ 2147483647 w 262"/>
                <a:gd name="T107" fmla="*/ 2147483647 h 92"/>
                <a:gd name="T108" fmla="*/ 2147483647 w 262"/>
                <a:gd name="T109" fmla="*/ 2147483647 h 92"/>
                <a:gd name="T110" fmla="*/ 2147483647 w 262"/>
                <a:gd name="T111" fmla="*/ 2147483647 h 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62"/>
                <a:gd name="T169" fmla="*/ 0 h 92"/>
                <a:gd name="T170" fmla="*/ 262 w 262"/>
                <a:gd name="T171" fmla="*/ 92 h 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62" h="92">
                  <a:moveTo>
                    <a:pt x="74" y="90"/>
                  </a:moveTo>
                  <a:lnTo>
                    <a:pt x="80" y="90"/>
                  </a:lnTo>
                  <a:lnTo>
                    <a:pt x="86" y="92"/>
                  </a:lnTo>
                  <a:lnTo>
                    <a:pt x="92" y="92"/>
                  </a:lnTo>
                  <a:lnTo>
                    <a:pt x="98" y="90"/>
                  </a:lnTo>
                  <a:lnTo>
                    <a:pt x="104" y="86"/>
                  </a:lnTo>
                  <a:lnTo>
                    <a:pt x="110" y="84"/>
                  </a:lnTo>
                  <a:lnTo>
                    <a:pt x="104" y="88"/>
                  </a:lnTo>
                  <a:lnTo>
                    <a:pt x="110" y="90"/>
                  </a:lnTo>
                  <a:lnTo>
                    <a:pt x="116" y="90"/>
                  </a:lnTo>
                  <a:lnTo>
                    <a:pt x="122" y="86"/>
                  </a:lnTo>
                  <a:lnTo>
                    <a:pt x="128" y="90"/>
                  </a:lnTo>
                  <a:lnTo>
                    <a:pt x="134" y="90"/>
                  </a:lnTo>
                  <a:lnTo>
                    <a:pt x="142" y="88"/>
                  </a:lnTo>
                  <a:lnTo>
                    <a:pt x="148" y="88"/>
                  </a:lnTo>
                  <a:lnTo>
                    <a:pt x="154" y="88"/>
                  </a:lnTo>
                  <a:lnTo>
                    <a:pt x="160" y="88"/>
                  </a:lnTo>
                  <a:lnTo>
                    <a:pt x="162" y="84"/>
                  </a:lnTo>
                  <a:lnTo>
                    <a:pt x="168" y="78"/>
                  </a:lnTo>
                  <a:lnTo>
                    <a:pt x="170" y="84"/>
                  </a:lnTo>
                  <a:lnTo>
                    <a:pt x="176" y="84"/>
                  </a:lnTo>
                  <a:lnTo>
                    <a:pt x="182" y="82"/>
                  </a:lnTo>
                  <a:lnTo>
                    <a:pt x="180" y="76"/>
                  </a:lnTo>
                  <a:lnTo>
                    <a:pt x="174" y="74"/>
                  </a:lnTo>
                  <a:lnTo>
                    <a:pt x="180" y="70"/>
                  </a:lnTo>
                  <a:lnTo>
                    <a:pt x="186" y="68"/>
                  </a:lnTo>
                  <a:lnTo>
                    <a:pt x="192" y="68"/>
                  </a:lnTo>
                  <a:lnTo>
                    <a:pt x="186" y="66"/>
                  </a:lnTo>
                  <a:lnTo>
                    <a:pt x="192" y="62"/>
                  </a:lnTo>
                  <a:lnTo>
                    <a:pt x="198" y="64"/>
                  </a:lnTo>
                  <a:lnTo>
                    <a:pt x="204" y="60"/>
                  </a:lnTo>
                  <a:lnTo>
                    <a:pt x="206" y="66"/>
                  </a:lnTo>
                  <a:lnTo>
                    <a:pt x="212" y="62"/>
                  </a:lnTo>
                  <a:lnTo>
                    <a:pt x="220" y="58"/>
                  </a:lnTo>
                  <a:lnTo>
                    <a:pt x="224" y="54"/>
                  </a:lnTo>
                  <a:lnTo>
                    <a:pt x="218" y="52"/>
                  </a:lnTo>
                  <a:lnTo>
                    <a:pt x="212" y="50"/>
                  </a:lnTo>
                  <a:lnTo>
                    <a:pt x="218" y="48"/>
                  </a:lnTo>
                  <a:lnTo>
                    <a:pt x="224" y="46"/>
                  </a:lnTo>
                  <a:lnTo>
                    <a:pt x="230" y="44"/>
                  </a:lnTo>
                  <a:lnTo>
                    <a:pt x="234" y="38"/>
                  </a:lnTo>
                  <a:lnTo>
                    <a:pt x="240" y="36"/>
                  </a:lnTo>
                  <a:lnTo>
                    <a:pt x="246" y="32"/>
                  </a:lnTo>
                  <a:lnTo>
                    <a:pt x="252" y="28"/>
                  </a:lnTo>
                  <a:lnTo>
                    <a:pt x="252" y="24"/>
                  </a:lnTo>
                  <a:lnTo>
                    <a:pt x="256" y="18"/>
                  </a:lnTo>
                  <a:lnTo>
                    <a:pt x="262" y="16"/>
                  </a:lnTo>
                  <a:lnTo>
                    <a:pt x="258" y="10"/>
                  </a:lnTo>
                  <a:lnTo>
                    <a:pt x="252" y="8"/>
                  </a:lnTo>
                  <a:lnTo>
                    <a:pt x="246" y="6"/>
                  </a:lnTo>
                  <a:lnTo>
                    <a:pt x="252" y="6"/>
                  </a:lnTo>
                  <a:lnTo>
                    <a:pt x="244" y="2"/>
                  </a:lnTo>
                  <a:lnTo>
                    <a:pt x="238" y="0"/>
                  </a:lnTo>
                  <a:lnTo>
                    <a:pt x="232" y="2"/>
                  </a:lnTo>
                  <a:lnTo>
                    <a:pt x="238" y="2"/>
                  </a:lnTo>
                  <a:lnTo>
                    <a:pt x="244" y="2"/>
                  </a:lnTo>
                  <a:lnTo>
                    <a:pt x="238" y="4"/>
                  </a:lnTo>
                  <a:lnTo>
                    <a:pt x="232" y="4"/>
                  </a:lnTo>
                  <a:lnTo>
                    <a:pt x="226" y="4"/>
                  </a:lnTo>
                  <a:lnTo>
                    <a:pt x="220" y="6"/>
                  </a:lnTo>
                  <a:lnTo>
                    <a:pt x="218" y="12"/>
                  </a:lnTo>
                  <a:lnTo>
                    <a:pt x="210" y="12"/>
                  </a:lnTo>
                  <a:lnTo>
                    <a:pt x="204" y="16"/>
                  </a:lnTo>
                  <a:lnTo>
                    <a:pt x="208" y="10"/>
                  </a:lnTo>
                  <a:lnTo>
                    <a:pt x="202" y="10"/>
                  </a:lnTo>
                  <a:lnTo>
                    <a:pt x="196" y="6"/>
                  </a:lnTo>
                  <a:lnTo>
                    <a:pt x="190" y="4"/>
                  </a:lnTo>
                  <a:lnTo>
                    <a:pt x="184" y="4"/>
                  </a:lnTo>
                  <a:lnTo>
                    <a:pt x="182" y="4"/>
                  </a:lnTo>
                  <a:lnTo>
                    <a:pt x="176" y="2"/>
                  </a:lnTo>
                  <a:lnTo>
                    <a:pt x="170" y="4"/>
                  </a:lnTo>
                  <a:lnTo>
                    <a:pt x="164" y="4"/>
                  </a:lnTo>
                  <a:lnTo>
                    <a:pt x="158" y="6"/>
                  </a:lnTo>
                  <a:lnTo>
                    <a:pt x="152" y="6"/>
                  </a:lnTo>
                  <a:lnTo>
                    <a:pt x="144" y="8"/>
                  </a:lnTo>
                  <a:lnTo>
                    <a:pt x="138" y="10"/>
                  </a:lnTo>
                  <a:lnTo>
                    <a:pt x="138" y="16"/>
                  </a:lnTo>
                  <a:lnTo>
                    <a:pt x="144" y="18"/>
                  </a:lnTo>
                  <a:lnTo>
                    <a:pt x="150" y="16"/>
                  </a:lnTo>
                  <a:lnTo>
                    <a:pt x="156" y="18"/>
                  </a:lnTo>
                  <a:lnTo>
                    <a:pt x="162" y="20"/>
                  </a:lnTo>
                  <a:lnTo>
                    <a:pt x="160" y="22"/>
                  </a:lnTo>
                  <a:lnTo>
                    <a:pt x="154" y="20"/>
                  </a:lnTo>
                  <a:lnTo>
                    <a:pt x="146" y="22"/>
                  </a:lnTo>
                  <a:lnTo>
                    <a:pt x="140" y="22"/>
                  </a:lnTo>
                  <a:lnTo>
                    <a:pt x="146" y="26"/>
                  </a:lnTo>
                  <a:lnTo>
                    <a:pt x="152" y="26"/>
                  </a:lnTo>
                  <a:lnTo>
                    <a:pt x="154" y="26"/>
                  </a:lnTo>
                  <a:lnTo>
                    <a:pt x="160" y="28"/>
                  </a:lnTo>
                  <a:lnTo>
                    <a:pt x="168" y="28"/>
                  </a:lnTo>
                  <a:lnTo>
                    <a:pt x="162" y="30"/>
                  </a:lnTo>
                  <a:lnTo>
                    <a:pt x="156" y="30"/>
                  </a:lnTo>
                  <a:lnTo>
                    <a:pt x="150" y="28"/>
                  </a:lnTo>
                  <a:lnTo>
                    <a:pt x="144" y="30"/>
                  </a:lnTo>
                  <a:lnTo>
                    <a:pt x="144" y="34"/>
                  </a:lnTo>
                  <a:lnTo>
                    <a:pt x="142" y="36"/>
                  </a:lnTo>
                  <a:lnTo>
                    <a:pt x="148" y="40"/>
                  </a:lnTo>
                  <a:lnTo>
                    <a:pt x="154" y="38"/>
                  </a:lnTo>
                  <a:lnTo>
                    <a:pt x="156" y="38"/>
                  </a:lnTo>
                  <a:lnTo>
                    <a:pt x="148" y="40"/>
                  </a:lnTo>
                  <a:lnTo>
                    <a:pt x="144" y="42"/>
                  </a:lnTo>
                  <a:lnTo>
                    <a:pt x="136" y="42"/>
                  </a:lnTo>
                  <a:lnTo>
                    <a:pt x="134" y="40"/>
                  </a:lnTo>
                  <a:lnTo>
                    <a:pt x="130" y="42"/>
                  </a:lnTo>
                  <a:lnTo>
                    <a:pt x="132" y="36"/>
                  </a:lnTo>
                  <a:lnTo>
                    <a:pt x="124" y="32"/>
                  </a:lnTo>
                  <a:lnTo>
                    <a:pt x="130" y="30"/>
                  </a:lnTo>
                  <a:lnTo>
                    <a:pt x="124" y="32"/>
                  </a:lnTo>
                  <a:lnTo>
                    <a:pt x="118" y="32"/>
                  </a:lnTo>
                  <a:lnTo>
                    <a:pt x="122" y="26"/>
                  </a:lnTo>
                  <a:lnTo>
                    <a:pt x="114" y="24"/>
                  </a:lnTo>
                  <a:lnTo>
                    <a:pt x="118" y="18"/>
                  </a:lnTo>
                  <a:lnTo>
                    <a:pt x="112" y="14"/>
                  </a:lnTo>
                  <a:lnTo>
                    <a:pt x="106" y="14"/>
                  </a:lnTo>
                  <a:lnTo>
                    <a:pt x="100" y="12"/>
                  </a:lnTo>
                  <a:lnTo>
                    <a:pt x="94" y="14"/>
                  </a:lnTo>
                  <a:lnTo>
                    <a:pt x="88" y="16"/>
                  </a:lnTo>
                  <a:lnTo>
                    <a:pt x="82" y="18"/>
                  </a:lnTo>
                  <a:lnTo>
                    <a:pt x="76" y="20"/>
                  </a:lnTo>
                  <a:lnTo>
                    <a:pt x="70" y="24"/>
                  </a:lnTo>
                  <a:lnTo>
                    <a:pt x="76" y="24"/>
                  </a:lnTo>
                  <a:lnTo>
                    <a:pt x="82" y="24"/>
                  </a:lnTo>
                  <a:lnTo>
                    <a:pt x="88" y="24"/>
                  </a:lnTo>
                  <a:lnTo>
                    <a:pt x="94" y="24"/>
                  </a:lnTo>
                  <a:lnTo>
                    <a:pt x="100" y="24"/>
                  </a:lnTo>
                  <a:lnTo>
                    <a:pt x="94" y="26"/>
                  </a:lnTo>
                  <a:lnTo>
                    <a:pt x="88" y="26"/>
                  </a:lnTo>
                  <a:lnTo>
                    <a:pt x="82" y="28"/>
                  </a:lnTo>
                  <a:lnTo>
                    <a:pt x="76" y="30"/>
                  </a:lnTo>
                  <a:lnTo>
                    <a:pt x="70" y="32"/>
                  </a:lnTo>
                  <a:lnTo>
                    <a:pt x="72" y="38"/>
                  </a:lnTo>
                  <a:lnTo>
                    <a:pt x="78" y="36"/>
                  </a:lnTo>
                  <a:lnTo>
                    <a:pt x="84" y="36"/>
                  </a:lnTo>
                  <a:lnTo>
                    <a:pt x="76" y="38"/>
                  </a:lnTo>
                  <a:lnTo>
                    <a:pt x="72" y="40"/>
                  </a:lnTo>
                  <a:lnTo>
                    <a:pt x="74" y="46"/>
                  </a:lnTo>
                  <a:lnTo>
                    <a:pt x="80" y="48"/>
                  </a:lnTo>
                  <a:lnTo>
                    <a:pt x="86" y="46"/>
                  </a:lnTo>
                  <a:lnTo>
                    <a:pt x="80" y="48"/>
                  </a:lnTo>
                  <a:lnTo>
                    <a:pt x="74" y="50"/>
                  </a:lnTo>
                  <a:lnTo>
                    <a:pt x="68" y="50"/>
                  </a:lnTo>
                  <a:lnTo>
                    <a:pt x="62" y="44"/>
                  </a:lnTo>
                  <a:lnTo>
                    <a:pt x="54" y="42"/>
                  </a:lnTo>
                  <a:lnTo>
                    <a:pt x="50" y="42"/>
                  </a:lnTo>
                  <a:lnTo>
                    <a:pt x="44" y="44"/>
                  </a:lnTo>
                  <a:lnTo>
                    <a:pt x="38" y="44"/>
                  </a:lnTo>
                  <a:lnTo>
                    <a:pt x="30" y="46"/>
                  </a:lnTo>
                  <a:lnTo>
                    <a:pt x="36" y="48"/>
                  </a:lnTo>
                  <a:lnTo>
                    <a:pt x="30" y="52"/>
                  </a:lnTo>
                  <a:lnTo>
                    <a:pt x="24" y="50"/>
                  </a:lnTo>
                  <a:lnTo>
                    <a:pt x="18" y="52"/>
                  </a:lnTo>
                  <a:lnTo>
                    <a:pt x="12" y="54"/>
                  </a:lnTo>
                  <a:lnTo>
                    <a:pt x="6" y="56"/>
                  </a:lnTo>
                  <a:lnTo>
                    <a:pt x="0" y="56"/>
                  </a:lnTo>
                  <a:lnTo>
                    <a:pt x="0" y="62"/>
                  </a:lnTo>
                  <a:lnTo>
                    <a:pt x="6" y="62"/>
                  </a:lnTo>
                  <a:lnTo>
                    <a:pt x="12" y="62"/>
                  </a:lnTo>
                  <a:lnTo>
                    <a:pt x="18" y="60"/>
                  </a:lnTo>
                  <a:lnTo>
                    <a:pt x="24" y="60"/>
                  </a:lnTo>
                  <a:lnTo>
                    <a:pt x="32" y="60"/>
                  </a:lnTo>
                  <a:lnTo>
                    <a:pt x="38" y="60"/>
                  </a:lnTo>
                  <a:lnTo>
                    <a:pt x="44" y="58"/>
                  </a:lnTo>
                  <a:lnTo>
                    <a:pt x="50" y="58"/>
                  </a:lnTo>
                  <a:lnTo>
                    <a:pt x="56" y="58"/>
                  </a:lnTo>
                  <a:lnTo>
                    <a:pt x="62" y="58"/>
                  </a:lnTo>
                  <a:lnTo>
                    <a:pt x="68" y="58"/>
                  </a:lnTo>
                  <a:lnTo>
                    <a:pt x="76" y="58"/>
                  </a:lnTo>
                  <a:lnTo>
                    <a:pt x="80" y="58"/>
                  </a:lnTo>
                  <a:lnTo>
                    <a:pt x="88" y="56"/>
                  </a:lnTo>
                  <a:lnTo>
                    <a:pt x="92" y="56"/>
                  </a:lnTo>
                  <a:lnTo>
                    <a:pt x="100" y="56"/>
                  </a:lnTo>
                  <a:lnTo>
                    <a:pt x="106" y="56"/>
                  </a:lnTo>
                  <a:lnTo>
                    <a:pt x="112" y="54"/>
                  </a:lnTo>
                  <a:lnTo>
                    <a:pt x="118" y="54"/>
                  </a:lnTo>
                  <a:lnTo>
                    <a:pt x="124" y="54"/>
                  </a:lnTo>
                  <a:lnTo>
                    <a:pt x="130" y="54"/>
                  </a:lnTo>
                  <a:lnTo>
                    <a:pt x="136" y="52"/>
                  </a:lnTo>
                  <a:lnTo>
                    <a:pt x="144" y="54"/>
                  </a:lnTo>
                  <a:lnTo>
                    <a:pt x="150" y="52"/>
                  </a:lnTo>
                  <a:lnTo>
                    <a:pt x="156" y="52"/>
                  </a:lnTo>
                  <a:lnTo>
                    <a:pt x="162" y="52"/>
                  </a:lnTo>
                  <a:lnTo>
                    <a:pt x="156" y="54"/>
                  </a:lnTo>
                  <a:lnTo>
                    <a:pt x="148" y="54"/>
                  </a:lnTo>
                  <a:lnTo>
                    <a:pt x="144" y="54"/>
                  </a:lnTo>
                  <a:lnTo>
                    <a:pt x="136" y="54"/>
                  </a:lnTo>
                  <a:lnTo>
                    <a:pt x="130" y="54"/>
                  </a:lnTo>
                  <a:lnTo>
                    <a:pt x="126" y="54"/>
                  </a:lnTo>
                  <a:lnTo>
                    <a:pt x="118" y="58"/>
                  </a:lnTo>
                  <a:lnTo>
                    <a:pt x="112" y="60"/>
                  </a:lnTo>
                  <a:lnTo>
                    <a:pt x="110" y="60"/>
                  </a:lnTo>
                  <a:lnTo>
                    <a:pt x="116" y="60"/>
                  </a:lnTo>
                  <a:lnTo>
                    <a:pt x="110" y="62"/>
                  </a:lnTo>
                  <a:lnTo>
                    <a:pt x="102" y="62"/>
                  </a:lnTo>
                  <a:lnTo>
                    <a:pt x="96" y="62"/>
                  </a:lnTo>
                  <a:lnTo>
                    <a:pt x="104" y="62"/>
                  </a:lnTo>
                  <a:lnTo>
                    <a:pt x="108" y="62"/>
                  </a:lnTo>
                  <a:lnTo>
                    <a:pt x="106" y="64"/>
                  </a:lnTo>
                  <a:lnTo>
                    <a:pt x="100" y="64"/>
                  </a:lnTo>
                  <a:lnTo>
                    <a:pt x="92" y="64"/>
                  </a:lnTo>
                  <a:lnTo>
                    <a:pt x="100" y="64"/>
                  </a:lnTo>
                  <a:lnTo>
                    <a:pt x="92" y="66"/>
                  </a:lnTo>
                  <a:lnTo>
                    <a:pt x="86" y="66"/>
                  </a:lnTo>
                  <a:lnTo>
                    <a:pt x="80" y="66"/>
                  </a:lnTo>
                  <a:lnTo>
                    <a:pt x="74" y="66"/>
                  </a:lnTo>
                  <a:lnTo>
                    <a:pt x="80" y="68"/>
                  </a:lnTo>
                  <a:lnTo>
                    <a:pt x="74" y="70"/>
                  </a:lnTo>
                  <a:lnTo>
                    <a:pt x="68" y="70"/>
                  </a:lnTo>
                  <a:lnTo>
                    <a:pt x="76" y="74"/>
                  </a:lnTo>
                  <a:lnTo>
                    <a:pt x="82" y="74"/>
                  </a:lnTo>
                  <a:lnTo>
                    <a:pt x="76" y="74"/>
                  </a:lnTo>
                  <a:lnTo>
                    <a:pt x="82" y="76"/>
                  </a:lnTo>
                  <a:lnTo>
                    <a:pt x="88" y="76"/>
                  </a:lnTo>
                  <a:lnTo>
                    <a:pt x="90" y="76"/>
                  </a:lnTo>
                  <a:lnTo>
                    <a:pt x="90" y="78"/>
                  </a:lnTo>
                  <a:lnTo>
                    <a:pt x="84" y="78"/>
                  </a:lnTo>
                  <a:lnTo>
                    <a:pt x="76" y="78"/>
                  </a:lnTo>
                  <a:lnTo>
                    <a:pt x="72" y="78"/>
                  </a:lnTo>
                  <a:lnTo>
                    <a:pt x="64" y="78"/>
                  </a:lnTo>
                  <a:lnTo>
                    <a:pt x="64" y="84"/>
                  </a:lnTo>
                  <a:lnTo>
                    <a:pt x="70" y="90"/>
                  </a:lnTo>
                  <a:lnTo>
                    <a:pt x="74" y="9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5" name="Freeform 323"/>
            <p:cNvSpPr>
              <a:spLocks/>
            </p:cNvSpPr>
            <p:nvPr/>
          </p:nvSpPr>
          <p:spPr bwMode="auto">
            <a:xfrm>
              <a:off x="2695575" y="2179638"/>
              <a:ext cx="57150" cy="22225"/>
            </a:xfrm>
            <a:custGeom>
              <a:avLst/>
              <a:gdLst>
                <a:gd name="T0" fmla="*/ 2147483647 w 140"/>
                <a:gd name="T1" fmla="*/ 0 h 54"/>
                <a:gd name="T2" fmla="*/ 2147483647 w 140"/>
                <a:gd name="T3" fmla="*/ 0 h 54"/>
                <a:gd name="T4" fmla="*/ 2147483647 w 140"/>
                <a:gd name="T5" fmla="*/ 2147483647 h 54"/>
                <a:gd name="T6" fmla="*/ 2147483647 w 140"/>
                <a:gd name="T7" fmla="*/ 2147483647 h 54"/>
                <a:gd name="T8" fmla="*/ 2147483647 w 140"/>
                <a:gd name="T9" fmla="*/ 2147483647 h 54"/>
                <a:gd name="T10" fmla="*/ 2147483647 w 140"/>
                <a:gd name="T11" fmla="*/ 2147483647 h 54"/>
                <a:gd name="T12" fmla="*/ 2147483647 w 140"/>
                <a:gd name="T13" fmla="*/ 2147483647 h 54"/>
                <a:gd name="T14" fmla="*/ 2147483647 w 140"/>
                <a:gd name="T15" fmla="*/ 2147483647 h 54"/>
                <a:gd name="T16" fmla="*/ 2147483647 w 140"/>
                <a:gd name="T17" fmla="*/ 2147483647 h 54"/>
                <a:gd name="T18" fmla="*/ 2147483647 w 140"/>
                <a:gd name="T19" fmla="*/ 2147483647 h 54"/>
                <a:gd name="T20" fmla="*/ 2147483647 w 140"/>
                <a:gd name="T21" fmla="*/ 2147483647 h 54"/>
                <a:gd name="T22" fmla="*/ 2147483647 w 140"/>
                <a:gd name="T23" fmla="*/ 2147483647 h 54"/>
                <a:gd name="T24" fmla="*/ 2147483647 w 140"/>
                <a:gd name="T25" fmla="*/ 2147483647 h 54"/>
                <a:gd name="T26" fmla="*/ 2147483647 w 140"/>
                <a:gd name="T27" fmla="*/ 2147483647 h 54"/>
                <a:gd name="T28" fmla="*/ 2147483647 w 140"/>
                <a:gd name="T29" fmla="*/ 2147483647 h 54"/>
                <a:gd name="T30" fmla="*/ 2147483647 w 140"/>
                <a:gd name="T31" fmla="*/ 2147483647 h 54"/>
                <a:gd name="T32" fmla="*/ 2147483647 w 140"/>
                <a:gd name="T33" fmla="*/ 2147483647 h 54"/>
                <a:gd name="T34" fmla="*/ 2147483647 w 140"/>
                <a:gd name="T35" fmla="*/ 2147483647 h 54"/>
                <a:gd name="T36" fmla="*/ 2147483647 w 140"/>
                <a:gd name="T37" fmla="*/ 2147483647 h 54"/>
                <a:gd name="T38" fmla="*/ 2147483647 w 140"/>
                <a:gd name="T39" fmla="*/ 2147483647 h 54"/>
                <a:gd name="T40" fmla="*/ 2147483647 w 140"/>
                <a:gd name="T41" fmla="*/ 2147483647 h 54"/>
                <a:gd name="T42" fmla="*/ 2147483647 w 140"/>
                <a:gd name="T43" fmla="*/ 2147483647 h 54"/>
                <a:gd name="T44" fmla="*/ 2147483647 w 140"/>
                <a:gd name="T45" fmla="*/ 2147483647 h 54"/>
                <a:gd name="T46" fmla="*/ 2147483647 w 140"/>
                <a:gd name="T47" fmla="*/ 2147483647 h 54"/>
                <a:gd name="T48" fmla="*/ 0 w 140"/>
                <a:gd name="T49" fmla="*/ 2147483647 h 54"/>
                <a:gd name="T50" fmla="*/ 2147483647 w 140"/>
                <a:gd name="T51" fmla="*/ 2147483647 h 54"/>
                <a:gd name="T52" fmla="*/ 2147483647 w 140"/>
                <a:gd name="T53" fmla="*/ 2147483647 h 54"/>
                <a:gd name="T54" fmla="*/ 2147483647 w 140"/>
                <a:gd name="T55" fmla="*/ 2147483647 h 54"/>
                <a:gd name="T56" fmla="*/ 2147483647 w 140"/>
                <a:gd name="T57" fmla="*/ 2147483647 h 54"/>
                <a:gd name="T58" fmla="*/ 2147483647 w 140"/>
                <a:gd name="T59" fmla="*/ 2147483647 h 54"/>
                <a:gd name="T60" fmla="*/ 2147483647 w 140"/>
                <a:gd name="T61" fmla="*/ 2147483647 h 54"/>
                <a:gd name="T62" fmla="*/ 2147483647 w 140"/>
                <a:gd name="T63" fmla="*/ 2147483647 h 54"/>
                <a:gd name="T64" fmla="*/ 2147483647 w 140"/>
                <a:gd name="T65" fmla="*/ 2147483647 h 54"/>
                <a:gd name="T66" fmla="*/ 2147483647 w 140"/>
                <a:gd name="T67" fmla="*/ 2147483647 h 54"/>
                <a:gd name="T68" fmla="*/ 2147483647 w 140"/>
                <a:gd name="T69" fmla="*/ 2147483647 h 54"/>
                <a:gd name="T70" fmla="*/ 2147483647 w 140"/>
                <a:gd name="T71" fmla="*/ 2147483647 h 54"/>
                <a:gd name="T72" fmla="*/ 2147483647 w 140"/>
                <a:gd name="T73" fmla="*/ 2147483647 h 54"/>
                <a:gd name="T74" fmla="*/ 2147483647 w 140"/>
                <a:gd name="T75" fmla="*/ 2147483647 h 54"/>
                <a:gd name="T76" fmla="*/ 2147483647 w 140"/>
                <a:gd name="T77" fmla="*/ 2147483647 h 54"/>
                <a:gd name="T78" fmla="*/ 2147483647 w 140"/>
                <a:gd name="T79" fmla="*/ 2147483647 h 54"/>
                <a:gd name="T80" fmla="*/ 2147483647 w 140"/>
                <a:gd name="T81" fmla="*/ 2147483647 h 54"/>
                <a:gd name="T82" fmla="*/ 2147483647 w 140"/>
                <a:gd name="T83" fmla="*/ 2147483647 h 54"/>
                <a:gd name="T84" fmla="*/ 2147483647 w 140"/>
                <a:gd name="T85" fmla="*/ 2147483647 h 54"/>
                <a:gd name="T86" fmla="*/ 2147483647 w 140"/>
                <a:gd name="T87" fmla="*/ 2147483647 h 54"/>
                <a:gd name="T88" fmla="*/ 2147483647 w 140"/>
                <a:gd name="T89" fmla="*/ 2147483647 h 54"/>
                <a:gd name="T90" fmla="*/ 2147483647 w 140"/>
                <a:gd name="T91" fmla="*/ 2147483647 h 54"/>
                <a:gd name="T92" fmla="*/ 2147483647 w 140"/>
                <a:gd name="T93" fmla="*/ 2147483647 h 54"/>
                <a:gd name="T94" fmla="*/ 2147483647 w 140"/>
                <a:gd name="T95" fmla="*/ 2147483647 h 54"/>
                <a:gd name="T96" fmla="*/ 2147483647 w 140"/>
                <a:gd name="T97" fmla="*/ 2147483647 h 54"/>
                <a:gd name="T98" fmla="*/ 2147483647 w 140"/>
                <a:gd name="T99" fmla="*/ 2147483647 h 54"/>
                <a:gd name="T100" fmla="*/ 2147483647 w 140"/>
                <a:gd name="T101" fmla="*/ 2147483647 h 54"/>
                <a:gd name="T102" fmla="*/ 2147483647 w 140"/>
                <a:gd name="T103" fmla="*/ 2147483647 h 54"/>
                <a:gd name="T104" fmla="*/ 2147483647 w 140"/>
                <a:gd name="T105" fmla="*/ 2147483647 h 54"/>
                <a:gd name="T106" fmla="*/ 2147483647 w 140"/>
                <a:gd name="T107" fmla="*/ 2147483647 h 54"/>
                <a:gd name="T108" fmla="*/ 2147483647 w 140"/>
                <a:gd name="T109" fmla="*/ 2147483647 h 54"/>
                <a:gd name="T110" fmla="*/ 2147483647 w 140"/>
                <a:gd name="T111" fmla="*/ 0 h 54"/>
                <a:gd name="T112" fmla="*/ 2147483647 w 140"/>
                <a:gd name="T113" fmla="*/ 0 h 5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0"/>
                <a:gd name="T172" fmla="*/ 0 h 54"/>
                <a:gd name="T173" fmla="*/ 140 w 140"/>
                <a:gd name="T174" fmla="*/ 54 h 5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0" h="54">
                  <a:moveTo>
                    <a:pt x="110" y="0"/>
                  </a:moveTo>
                  <a:lnTo>
                    <a:pt x="104" y="0"/>
                  </a:lnTo>
                  <a:lnTo>
                    <a:pt x="96" y="2"/>
                  </a:lnTo>
                  <a:lnTo>
                    <a:pt x="90" y="2"/>
                  </a:lnTo>
                  <a:lnTo>
                    <a:pt x="84" y="4"/>
                  </a:lnTo>
                  <a:lnTo>
                    <a:pt x="78" y="4"/>
                  </a:lnTo>
                  <a:lnTo>
                    <a:pt x="72" y="6"/>
                  </a:lnTo>
                  <a:lnTo>
                    <a:pt x="66" y="6"/>
                  </a:lnTo>
                  <a:lnTo>
                    <a:pt x="60" y="8"/>
                  </a:lnTo>
                  <a:lnTo>
                    <a:pt x="54" y="12"/>
                  </a:lnTo>
                  <a:lnTo>
                    <a:pt x="48" y="12"/>
                  </a:lnTo>
                  <a:lnTo>
                    <a:pt x="42" y="12"/>
                  </a:lnTo>
                  <a:lnTo>
                    <a:pt x="48" y="12"/>
                  </a:lnTo>
                  <a:lnTo>
                    <a:pt x="54" y="14"/>
                  </a:lnTo>
                  <a:lnTo>
                    <a:pt x="48" y="14"/>
                  </a:lnTo>
                  <a:lnTo>
                    <a:pt x="42" y="16"/>
                  </a:lnTo>
                  <a:lnTo>
                    <a:pt x="36" y="18"/>
                  </a:lnTo>
                  <a:lnTo>
                    <a:pt x="42" y="18"/>
                  </a:lnTo>
                  <a:lnTo>
                    <a:pt x="36" y="20"/>
                  </a:lnTo>
                  <a:lnTo>
                    <a:pt x="30" y="22"/>
                  </a:lnTo>
                  <a:lnTo>
                    <a:pt x="24" y="22"/>
                  </a:lnTo>
                  <a:lnTo>
                    <a:pt x="18" y="24"/>
                  </a:lnTo>
                  <a:lnTo>
                    <a:pt x="12" y="26"/>
                  </a:lnTo>
                  <a:lnTo>
                    <a:pt x="6" y="28"/>
                  </a:lnTo>
                  <a:lnTo>
                    <a:pt x="0" y="32"/>
                  </a:lnTo>
                  <a:lnTo>
                    <a:pt x="6" y="34"/>
                  </a:lnTo>
                  <a:lnTo>
                    <a:pt x="12" y="36"/>
                  </a:lnTo>
                  <a:lnTo>
                    <a:pt x="18" y="34"/>
                  </a:lnTo>
                  <a:lnTo>
                    <a:pt x="14" y="40"/>
                  </a:lnTo>
                  <a:lnTo>
                    <a:pt x="20" y="44"/>
                  </a:lnTo>
                  <a:lnTo>
                    <a:pt x="26" y="44"/>
                  </a:lnTo>
                  <a:lnTo>
                    <a:pt x="32" y="44"/>
                  </a:lnTo>
                  <a:lnTo>
                    <a:pt x="38" y="44"/>
                  </a:lnTo>
                  <a:lnTo>
                    <a:pt x="44" y="48"/>
                  </a:lnTo>
                  <a:lnTo>
                    <a:pt x="50" y="50"/>
                  </a:lnTo>
                  <a:lnTo>
                    <a:pt x="56" y="54"/>
                  </a:lnTo>
                  <a:lnTo>
                    <a:pt x="62" y="54"/>
                  </a:lnTo>
                  <a:lnTo>
                    <a:pt x="68" y="54"/>
                  </a:lnTo>
                  <a:lnTo>
                    <a:pt x="74" y="54"/>
                  </a:lnTo>
                  <a:lnTo>
                    <a:pt x="80" y="52"/>
                  </a:lnTo>
                  <a:lnTo>
                    <a:pt x="86" y="54"/>
                  </a:lnTo>
                  <a:lnTo>
                    <a:pt x="92" y="52"/>
                  </a:lnTo>
                  <a:lnTo>
                    <a:pt x="100" y="52"/>
                  </a:lnTo>
                  <a:lnTo>
                    <a:pt x="106" y="52"/>
                  </a:lnTo>
                  <a:lnTo>
                    <a:pt x="112" y="48"/>
                  </a:lnTo>
                  <a:lnTo>
                    <a:pt x="118" y="44"/>
                  </a:lnTo>
                  <a:lnTo>
                    <a:pt x="122" y="40"/>
                  </a:lnTo>
                  <a:lnTo>
                    <a:pt x="126" y="34"/>
                  </a:lnTo>
                  <a:lnTo>
                    <a:pt x="134" y="28"/>
                  </a:lnTo>
                  <a:lnTo>
                    <a:pt x="138" y="22"/>
                  </a:lnTo>
                  <a:lnTo>
                    <a:pt x="140" y="16"/>
                  </a:lnTo>
                  <a:lnTo>
                    <a:pt x="134" y="12"/>
                  </a:lnTo>
                  <a:lnTo>
                    <a:pt x="130" y="6"/>
                  </a:lnTo>
                  <a:lnTo>
                    <a:pt x="124" y="2"/>
                  </a:lnTo>
                  <a:lnTo>
                    <a:pt x="118" y="2"/>
                  </a:lnTo>
                  <a:lnTo>
                    <a:pt x="112" y="0"/>
                  </a:lnTo>
                  <a:lnTo>
                    <a:pt x="11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6" name="Freeform 324"/>
            <p:cNvSpPr>
              <a:spLocks/>
            </p:cNvSpPr>
            <p:nvPr/>
          </p:nvSpPr>
          <p:spPr bwMode="auto">
            <a:xfrm>
              <a:off x="2757488" y="2112963"/>
              <a:ext cx="55562" cy="20637"/>
            </a:xfrm>
            <a:custGeom>
              <a:avLst/>
              <a:gdLst>
                <a:gd name="T0" fmla="*/ 2147483647 w 136"/>
                <a:gd name="T1" fmla="*/ 2147483647 h 52"/>
                <a:gd name="T2" fmla="*/ 2147483647 w 136"/>
                <a:gd name="T3" fmla="*/ 2147483647 h 52"/>
                <a:gd name="T4" fmla="*/ 2147483647 w 136"/>
                <a:gd name="T5" fmla="*/ 2147483647 h 52"/>
                <a:gd name="T6" fmla="*/ 2147483647 w 136"/>
                <a:gd name="T7" fmla="*/ 2147483647 h 52"/>
                <a:gd name="T8" fmla="*/ 2147483647 w 136"/>
                <a:gd name="T9" fmla="*/ 2147483647 h 52"/>
                <a:gd name="T10" fmla="*/ 2147483647 w 136"/>
                <a:gd name="T11" fmla="*/ 2147483647 h 52"/>
                <a:gd name="T12" fmla="*/ 2147483647 w 136"/>
                <a:gd name="T13" fmla="*/ 2147483647 h 52"/>
                <a:gd name="T14" fmla="*/ 2147483647 w 136"/>
                <a:gd name="T15" fmla="*/ 2147483647 h 52"/>
                <a:gd name="T16" fmla="*/ 2147483647 w 136"/>
                <a:gd name="T17" fmla="*/ 2147483647 h 52"/>
                <a:gd name="T18" fmla="*/ 2147483647 w 136"/>
                <a:gd name="T19" fmla="*/ 2147483647 h 52"/>
                <a:gd name="T20" fmla="*/ 2147483647 w 136"/>
                <a:gd name="T21" fmla="*/ 2147483647 h 52"/>
                <a:gd name="T22" fmla="*/ 2147483647 w 136"/>
                <a:gd name="T23" fmla="*/ 2147483647 h 52"/>
                <a:gd name="T24" fmla="*/ 2147483647 w 136"/>
                <a:gd name="T25" fmla="*/ 2147483647 h 52"/>
                <a:gd name="T26" fmla="*/ 2147483647 w 136"/>
                <a:gd name="T27" fmla="*/ 2147483647 h 52"/>
                <a:gd name="T28" fmla="*/ 2147483647 w 136"/>
                <a:gd name="T29" fmla="*/ 2147483647 h 52"/>
                <a:gd name="T30" fmla="*/ 2147483647 w 136"/>
                <a:gd name="T31" fmla="*/ 2147483647 h 52"/>
                <a:gd name="T32" fmla="*/ 2147483647 w 136"/>
                <a:gd name="T33" fmla="*/ 2147483647 h 52"/>
                <a:gd name="T34" fmla="*/ 2147483647 w 136"/>
                <a:gd name="T35" fmla="*/ 2147483647 h 52"/>
                <a:gd name="T36" fmla="*/ 2147483647 w 136"/>
                <a:gd name="T37" fmla="*/ 2147483647 h 52"/>
                <a:gd name="T38" fmla="*/ 2147483647 w 136"/>
                <a:gd name="T39" fmla="*/ 0 h 52"/>
                <a:gd name="T40" fmla="*/ 2147483647 w 136"/>
                <a:gd name="T41" fmla="*/ 0 h 52"/>
                <a:gd name="T42" fmla="*/ 2147483647 w 136"/>
                <a:gd name="T43" fmla="*/ 0 h 52"/>
                <a:gd name="T44" fmla="*/ 2147483647 w 136"/>
                <a:gd name="T45" fmla="*/ 2147483647 h 52"/>
                <a:gd name="T46" fmla="*/ 2147483647 w 136"/>
                <a:gd name="T47" fmla="*/ 2147483647 h 52"/>
                <a:gd name="T48" fmla="*/ 2147483647 w 136"/>
                <a:gd name="T49" fmla="*/ 2147483647 h 52"/>
                <a:gd name="T50" fmla="*/ 2147483647 w 136"/>
                <a:gd name="T51" fmla="*/ 2147483647 h 52"/>
                <a:gd name="T52" fmla="*/ 2147483647 w 136"/>
                <a:gd name="T53" fmla="*/ 2147483647 h 52"/>
                <a:gd name="T54" fmla="*/ 2147483647 w 136"/>
                <a:gd name="T55" fmla="*/ 2147483647 h 52"/>
                <a:gd name="T56" fmla="*/ 2147483647 w 136"/>
                <a:gd name="T57" fmla="*/ 2147483647 h 52"/>
                <a:gd name="T58" fmla="*/ 2147483647 w 136"/>
                <a:gd name="T59" fmla="*/ 2147483647 h 52"/>
                <a:gd name="T60" fmla="*/ 2147483647 w 136"/>
                <a:gd name="T61" fmla="*/ 2147483647 h 52"/>
                <a:gd name="T62" fmla="*/ 2147483647 w 136"/>
                <a:gd name="T63" fmla="*/ 2147483647 h 52"/>
                <a:gd name="T64" fmla="*/ 0 w 136"/>
                <a:gd name="T65" fmla="*/ 2147483647 h 52"/>
                <a:gd name="T66" fmla="*/ 2147483647 w 136"/>
                <a:gd name="T67" fmla="*/ 2147483647 h 52"/>
                <a:gd name="T68" fmla="*/ 2147483647 w 136"/>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6"/>
                <a:gd name="T106" fmla="*/ 0 h 52"/>
                <a:gd name="T107" fmla="*/ 136 w 136"/>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6" h="52">
                  <a:moveTo>
                    <a:pt x="16" y="52"/>
                  </a:moveTo>
                  <a:lnTo>
                    <a:pt x="22" y="52"/>
                  </a:lnTo>
                  <a:lnTo>
                    <a:pt x="28" y="50"/>
                  </a:lnTo>
                  <a:lnTo>
                    <a:pt x="36" y="50"/>
                  </a:lnTo>
                  <a:lnTo>
                    <a:pt x="28" y="48"/>
                  </a:lnTo>
                  <a:lnTo>
                    <a:pt x="34" y="48"/>
                  </a:lnTo>
                  <a:lnTo>
                    <a:pt x="40" y="46"/>
                  </a:lnTo>
                  <a:lnTo>
                    <a:pt x="46" y="48"/>
                  </a:lnTo>
                  <a:lnTo>
                    <a:pt x="52" y="48"/>
                  </a:lnTo>
                  <a:lnTo>
                    <a:pt x="58" y="48"/>
                  </a:lnTo>
                  <a:lnTo>
                    <a:pt x="66" y="46"/>
                  </a:lnTo>
                  <a:lnTo>
                    <a:pt x="72" y="46"/>
                  </a:lnTo>
                  <a:lnTo>
                    <a:pt x="78" y="44"/>
                  </a:lnTo>
                  <a:lnTo>
                    <a:pt x="84" y="44"/>
                  </a:lnTo>
                  <a:lnTo>
                    <a:pt x="92" y="42"/>
                  </a:lnTo>
                  <a:lnTo>
                    <a:pt x="98" y="44"/>
                  </a:lnTo>
                  <a:lnTo>
                    <a:pt x="104" y="42"/>
                  </a:lnTo>
                  <a:lnTo>
                    <a:pt x="108" y="40"/>
                  </a:lnTo>
                  <a:lnTo>
                    <a:pt x="116" y="36"/>
                  </a:lnTo>
                  <a:lnTo>
                    <a:pt x="110" y="30"/>
                  </a:lnTo>
                  <a:lnTo>
                    <a:pt x="104" y="30"/>
                  </a:lnTo>
                  <a:lnTo>
                    <a:pt x="112" y="28"/>
                  </a:lnTo>
                  <a:lnTo>
                    <a:pt x="118" y="28"/>
                  </a:lnTo>
                  <a:lnTo>
                    <a:pt x="124" y="26"/>
                  </a:lnTo>
                  <a:lnTo>
                    <a:pt x="130" y="26"/>
                  </a:lnTo>
                  <a:lnTo>
                    <a:pt x="136" y="24"/>
                  </a:lnTo>
                  <a:lnTo>
                    <a:pt x="130" y="18"/>
                  </a:lnTo>
                  <a:lnTo>
                    <a:pt x="124" y="16"/>
                  </a:lnTo>
                  <a:lnTo>
                    <a:pt x="116" y="16"/>
                  </a:lnTo>
                  <a:lnTo>
                    <a:pt x="112" y="16"/>
                  </a:lnTo>
                  <a:lnTo>
                    <a:pt x="104" y="16"/>
                  </a:lnTo>
                  <a:lnTo>
                    <a:pt x="98" y="16"/>
                  </a:lnTo>
                  <a:lnTo>
                    <a:pt x="92" y="14"/>
                  </a:lnTo>
                  <a:lnTo>
                    <a:pt x="98" y="12"/>
                  </a:lnTo>
                  <a:lnTo>
                    <a:pt x="92" y="8"/>
                  </a:lnTo>
                  <a:lnTo>
                    <a:pt x="86" y="6"/>
                  </a:lnTo>
                  <a:lnTo>
                    <a:pt x="80" y="6"/>
                  </a:lnTo>
                  <a:lnTo>
                    <a:pt x="74" y="4"/>
                  </a:lnTo>
                  <a:lnTo>
                    <a:pt x="68" y="2"/>
                  </a:lnTo>
                  <a:lnTo>
                    <a:pt x="62" y="0"/>
                  </a:lnTo>
                  <a:lnTo>
                    <a:pt x="56" y="0"/>
                  </a:lnTo>
                  <a:lnTo>
                    <a:pt x="50" y="0"/>
                  </a:lnTo>
                  <a:lnTo>
                    <a:pt x="44" y="0"/>
                  </a:lnTo>
                  <a:lnTo>
                    <a:pt x="38" y="0"/>
                  </a:lnTo>
                  <a:lnTo>
                    <a:pt x="32" y="2"/>
                  </a:lnTo>
                  <a:lnTo>
                    <a:pt x="26" y="4"/>
                  </a:lnTo>
                  <a:lnTo>
                    <a:pt x="20" y="8"/>
                  </a:lnTo>
                  <a:lnTo>
                    <a:pt x="24" y="14"/>
                  </a:lnTo>
                  <a:lnTo>
                    <a:pt x="18" y="14"/>
                  </a:lnTo>
                  <a:lnTo>
                    <a:pt x="10" y="14"/>
                  </a:lnTo>
                  <a:lnTo>
                    <a:pt x="6" y="18"/>
                  </a:lnTo>
                  <a:lnTo>
                    <a:pt x="12" y="22"/>
                  </a:lnTo>
                  <a:lnTo>
                    <a:pt x="6" y="26"/>
                  </a:lnTo>
                  <a:lnTo>
                    <a:pt x="12" y="28"/>
                  </a:lnTo>
                  <a:lnTo>
                    <a:pt x="6" y="30"/>
                  </a:lnTo>
                  <a:lnTo>
                    <a:pt x="12" y="30"/>
                  </a:lnTo>
                  <a:lnTo>
                    <a:pt x="18" y="32"/>
                  </a:lnTo>
                  <a:lnTo>
                    <a:pt x="24" y="30"/>
                  </a:lnTo>
                  <a:lnTo>
                    <a:pt x="32" y="32"/>
                  </a:lnTo>
                  <a:lnTo>
                    <a:pt x="38" y="34"/>
                  </a:lnTo>
                  <a:lnTo>
                    <a:pt x="32" y="38"/>
                  </a:lnTo>
                  <a:lnTo>
                    <a:pt x="26" y="38"/>
                  </a:lnTo>
                  <a:lnTo>
                    <a:pt x="18" y="38"/>
                  </a:lnTo>
                  <a:lnTo>
                    <a:pt x="14" y="38"/>
                  </a:lnTo>
                  <a:lnTo>
                    <a:pt x="8" y="36"/>
                  </a:lnTo>
                  <a:lnTo>
                    <a:pt x="0" y="38"/>
                  </a:lnTo>
                  <a:lnTo>
                    <a:pt x="6" y="42"/>
                  </a:lnTo>
                  <a:lnTo>
                    <a:pt x="12" y="44"/>
                  </a:lnTo>
                  <a:lnTo>
                    <a:pt x="18" y="46"/>
                  </a:lnTo>
                  <a:lnTo>
                    <a:pt x="12" y="48"/>
                  </a:lnTo>
                  <a:lnTo>
                    <a:pt x="16" y="5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7" name="Freeform 325"/>
            <p:cNvSpPr>
              <a:spLocks/>
            </p:cNvSpPr>
            <p:nvPr/>
          </p:nvSpPr>
          <p:spPr bwMode="auto">
            <a:xfrm>
              <a:off x="2998788" y="5700713"/>
              <a:ext cx="36512" cy="26987"/>
            </a:xfrm>
            <a:custGeom>
              <a:avLst/>
              <a:gdLst>
                <a:gd name="T0" fmla="*/ 0 w 92"/>
                <a:gd name="T1" fmla="*/ 2147483647 h 66"/>
                <a:gd name="T2" fmla="*/ 2147483647 w 92"/>
                <a:gd name="T3" fmla="*/ 2147483647 h 66"/>
                <a:gd name="T4" fmla="*/ 2147483647 w 92"/>
                <a:gd name="T5" fmla="*/ 2147483647 h 66"/>
                <a:gd name="T6" fmla="*/ 2147483647 w 92"/>
                <a:gd name="T7" fmla="*/ 2147483647 h 66"/>
                <a:gd name="T8" fmla="*/ 2147483647 w 92"/>
                <a:gd name="T9" fmla="*/ 2147483647 h 66"/>
                <a:gd name="T10" fmla="*/ 2147483647 w 92"/>
                <a:gd name="T11" fmla="*/ 2147483647 h 66"/>
                <a:gd name="T12" fmla="*/ 2147483647 w 92"/>
                <a:gd name="T13" fmla="*/ 2147483647 h 66"/>
                <a:gd name="T14" fmla="*/ 2147483647 w 92"/>
                <a:gd name="T15" fmla="*/ 2147483647 h 66"/>
                <a:gd name="T16" fmla="*/ 2147483647 w 92"/>
                <a:gd name="T17" fmla="*/ 2147483647 h 66"/>
                <a:gd name="T18" fmla="*/ 2147483647 w 92"/>
                <a:gd name="T19" fmla="*/ 2147483647 h 66"/>
                <a:gd name="T20" fmla="*/ 2147483647 w 92"/>
                <a:gd name="T21" fmla="*/ 2147483647 h 66"/>
                <a:gd name="T22" fmla="*/ 2147483647 w 92"/>
                <a:gd name="T23" fmla="*/ 2147483647 h 66"/>
                <a:gd name="T24" fmla="*/ 2147483647 w 92"/>
                <a:gd name="T25" fmla="*/ 2147483647 h 66"/>
                <a:gd name="T26" fmla="*/ 2147483647 w 92"/>
                <a:gd name="T27" fmla="*/ 2147483647 h 66"/>
                <a:gd name="T28" fmla="*/ 2147483647 w 92"/>
                <a:gd name="T29" fmla="*/ 2147483647 h 66"/>
                <a:gd name="T30" fmla="*/ 2147483647 w 92"/>
                <a:gd name="T31" fmla="*/ 2147483647 h 66"/>
                <a:gd name="T32" fmla="*/ 2147483647 w 92"/>
                <a:gd name="T33" fmla="*/ 2147483647 h 66"/>
                <a:gd name="T34" fmla="*/ 2147483647 w 92"/>
                <a:gd name="T35" fmla="*/ 2147483647 h 66"/>
                <a:gd name="T36" fmla="*/ 2147483647 w 92"/>
                <a:gd name="T37" fmla="*/ 2147483647 h 66"/>
                <a:gd name="T38" fmla="*/ 2147483647 w 92"/>
                <a:gd name="T39" fmla="*/ 2147483647 h 66"/>
                <a:gd name="T40" fmla="*/ 2147483647 w 92"/>
                <a:gd name="T41" fmla="*/ 2147483647 h 66"/>
                <a:gd name="T42" fmla="*/ 2147483647 w 92"/>
                <a:gd name="T43" fmla="*/ 2147483647 h 66"/>
                <a:gd name="T44" fmla="*/ 2147483647 w 92"/>
                <a:gd name="T45" fmla="*/ 2147483647 h 66"/>
                <a:gd name="T46" fmla="*/ 2147483647 w 92"/>
                <a:gd name="T47" fmla="*/ 2147483647 h 66"/>
                <a:gd name="T48" fmla="*/ 2147483647 w 92"/>
                <a:gd name="T49" fmla="*/ 2147483647 h 66"/>
                <a:gd name="T50" fmla="*/ 2147483647 w 92"/>
                <a:gd name="T51" fmla="*/ 2147483647 h 66"/>
                <a:gd name="T52" fmla="*/ 2147483647 w 92"/>
                <a:gd name="T53" fmla="*/ 2147483647 h 66"/>
                <a:gd name="T54" fmla="*/ 2147483647 w 92"/>
                <a:gd name="T55" fmla="*/ 2147483647 h 66"/>
                <a:gd name="T56" fmla="*/ 2147483647 w 92"/>
                <a:gd name="T57" fmla="*/ 2147483647 h 66"/>
                <a:gd name="T58" fmla="*/ 2147483647 w 92"/>
                <a:gd name="T59" fmla="*/ 0 h 66"/>
                <a:gd name="T60" fmla="*/ 2147483647 w 92"/>
                <a:gd name="T61" fmla="*/ 0 h 66"/>
                <a:gd name="T62" fmla="*/ 2147483647 w 92"/>
                <a:gd name="T63" fmla="*/ 2147483647 h 66"/>
                <a:gd name="T64" fmla="*/ 2147483647 w 92"/>
                <a:gd name="T65" fmla="*/ 2147483647 h 66"/>
                <a:gd name="T66" fmla="*/ 2147483647 w 92"/>
                <a:gd name="T67" fmla="*/ 2147483647 h 66"/>
                <a:gd name="T68" fmla="*/ 2147483647 w 92"/>
                <a:gd name="T69" fmla="*/ 2147483647 h 66"/>
                <a:gd name="T70" fmla="*/ 2147483647 w 92"/>
                <a:gd name="T71" fmla="*/ 2147483647 h 66"/>
                <a:gd name="T72" fmla="*/ 2147483647 w 92"/>
                <a:gd name="T73" fmla="*/ 2147483647 h 66"/>
                <a:gd name="T74" fmla="*/ 2147483647 w 92"/>
                <a:gd name="T75" fmla="*/ 2147483647 h 66"/>
                <a:gd name="T76" fmla="*/ 0 w 92"/>
                <a:gd name="T77" fmla="*/ 2147483647 h 6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2"/>
                <a:gd name="T118" fmla="*/ 0 h 66"/>
                <a:gd name="T119" fmla="*/ 92 w 92"/>
                <a:gd name="T120" fmla="*/ 66 h 6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2" h="66">
                  <a:moveTo>
                    <a:pt x="0" y="54"/>
                  </a:moveTo>
                  <a:lnTo>
                    <a:pt x="0" y="54"/>
                  </a:lnTo>
                  <a:lnTo>
                    <a:pt x="6" y="58"/>
                  </a:lnTo>
                  <a:lnTo>
                    <a:pt x="12" y="62"/>
                  </a:lnTo>
                  <a:lnTo>
                    <a:pt x="18" y="66"/>
                  </a:lnTo>
                  <a:lnTo>
                    <a:pt x="22" y="66"/>
                  </a:lnTo>
                  <a:lnTo>
                    <a:pt x="18" y="60"/>
                  </a:lnTo>
                  <a:lnTo>
                    <a:pt x="18" y="56"/>
                  </a:lnTo>
                  <a:lnTo>
                    <a:pt x="24" y="58"/>
                  </a:lnTo>
                  <a:lnTo>
                    <a:pt x="30" y="60"/>
                  </a:lnTo>
                  <a:lnTo>
                    <a:pt x="36" y="62"/>
                  </a:lnTo>
                  <a:lnTo>
                    <a:pt x="36" y="56"/>
                  </a:lnTo>
                  <a:lnTo>
                    <a:pt x="30" y="52"/>
                  </a:lnTo>
                  <a:lnTo>
                    <a:pt x="24" y="48"/>
                  </a:lnTo>
                  <a:lnTo>
                    <a:pt x="30" y="48"/>
                  </a:lnTo>
                  <a:lnTo>
                    <a:pt x="36" y="50"/>
                  </a:lnTo>
                  <a:lnTo>
                    <a:pt x="42" y="52"/>
                  </a:lnTo>
                  <a:lnTo>
                    <a:pt x="48" y="50"/>
                  </a:lnTo>
                  <a:lnTo>
                    <a:pt x="52" y="50"/>
                  </a:lnTo>
                  <a:lnTo>
                    <a:pt x="52" y="44"/>
                  </a:lnTo>
                  <a:lnTo>
                    <a:pt x="46" y="44"/>
                  </a:lnTo>
                  <a:lnTo>
                    <a:pt x="38" y="40"/>
                  </a:lnTo>
                  <a:lnTo>
                    <a:pt x="34" y="34"/>
                  </a:lnTo>
                  <a:lnTo>
                    <a:pt x="38" y="38"/>
                  </a:lnTo>
                  <a:lnTo>
                    <a:pt x="46" y="40"/>
                  </a:lnTo>
                  <a:lnTo>
                    <a:pt x="52" y="40"/>
                  </a:lnTo>
                  <a:lnTo>
                    <a:pt x="58" y="40"/>
                  </a:lnTo>
                  <a:lnTo>
                    <a:pt x="64" y="40"/>
                  </a:lnTo>
                  <a:lnTo>
                    <a:pt x="66" y="34"/>
                  </a:lnTo>
                  <a:lnTo>
                    <a:pt x="72" y="32"/>
                  </a:lnTo>
                  <a:lnTo>
                    <a:pt x="66" y="30"/>
                  </a:lnTo>
                  <a:lnTo>
                    <a:pt x="68" y="30"/>
                  </a:lnTo>
                  <a:lnTo>
                    <a:pt x="74" y="30"/>
                  </a:lnTo>
                  <a:lnTo>
                    <a:pt x="80" y="30"/>
                  </a:lnTo>
                  <a:lnTo>
                    <a:pt x="86" y="28"/>
                  </a:lnTo>
                  <a:lnTo>
                    <a:pt x="92" y="26"/>
                  </a:lnTo>
                  <a:lnTo>
                    <a:pt x="86" y="26"/>
                  </a:lnTo>
                  <a:lnTo>
                    <a:pt x="86" y="20"/>
                  </a:lnTo>
                  <a:lnTo>
                    <a:pt x="78" y="20"/>
                  </a:lnTo>
                  <a:lnTo>
                    <a:pt x="72" y="20"/>
                  </a:lnTo>
                  <a:lnTo>
                    <a:pt x="68" y="16"/>
                  </a:lnTo>
                  <a:lnTo>
                    <a:pt x="72" y="14"/>
                  </a:lnTo>
                  <a:lnTo>
                    <a:pt x="80" y="16"/>
                  </a:lnTo>
                  <a:lnTo>
                    <a:pt x="86" y="16"/>
                  </a:lnTo>
                  <a:lnTo>
                    <a:pt x="80" y="10"/>
                  </a:lnTo>
                  <a:lnTo>
                    <a:pt x="74" y="6"/>
                  </a:lnTo>
                  <a:lnTo>
                    <a:pt x="68" y="6"/>
                  </a:lnTo>
                  <a:lnTo>
                    <a:pt x="62" y="6"/>
                  </a:lnTo>
                  <a:lnTo>
                    <a:pt x="56" y="8"/>
                  </a:lnTo>
                  <a:lnTo>
                    <a:pt x="54" y="14"/>
                  </a:lnTo>
                  <a:lnTo>
                    <a:pt x="60" y="16"/>
                  </a:lnTo>
                  <a:lnTo>
                    <a:pt x="66" y="20"/>
                  </a:lnTo>
                  <a:lnTo>
                    <a:pt x="60" y="20"/>
                  </a:lnTo>
                  <a:lnTo>
                    <a:pt x="56" y="18"/>
                  </a:lnTo>
                  <a:lnTo>
                    <a:pt x="52" y="16"/>
                  </a:lnTo>
                  <a:lnTo>
                    <a:pt x="48" y="10"/>
                  </a:lnTo>
                  <a:lnTo>
                    <a:pt x="54" y="10"/>
                  </a:lnTo>
                  <a:lnTo>
                    <a:pt x="48" y="4"/>
                  </a:lnTo>
                  <a:lnTo>
                    <a:pt x="42" y="0"/>
                  </a:lnTo>
                  <a:lnTo>
                    <a:pt x="36" y="0"/>
                  </a:lnTo>
                  <a:lnTo>
                    <a:pt x="30" y="2"/>
                  </a:lnTo>
                  <a:lnTo>
                    <a:pt x="24" y="0"/>
                  </a:lnTo>
                  <a:lnTo>
                    <a:pt x="18" y="0"/>
                  </a:lnTo>
                  <a:lnTo>
                    <a:pt x="22" y="6"/>
                  </a:lnTo>
                  <a:lnTo>
                    <a:pt x="14" y="12"/>
                  </a:lnTo>
                  <a:lnTo>
                    <a:pt x="22" y="14"/>
                  </a:lnTo>
                  <a:lnTo>
                    <a:pt x="22" y="18"/>
                  </a:lnTo>
                  <a:lnTo>
                    <a:pt x="14" y="16"/>
                  </a:lnTo>
                  <a:lnTo>
                    <a:pt x="18" y="22"/>
                  </a:lnTo>
                  <a:lnTo>
                    <a:pt x="24" y="24"/>
                  </a:lnTo>
                  <a:lnTo>
                    <a:pt x="26" y="30"/>
                  </a:lnTo>
                  <a:lnTo>
                    <a:pt x="20" y="26"/>
                  </a:lnTo>
                  <a:lnTo>
                    <a:pt x="14" y="28"/>
                  </a:lnTo>
                  <a:lnTo>
                    <a:pt x="10" y="34"/>
                  </a:lnTo>
                  <a:lnTo>
                    <a:pt x="4" y="40"/>
                  </a:lnTo>
                  <a:lnTo>
                    <a:pt x="2" y="46"/>
                  </a:lnTo>
                  <a:lnTo>
                    <a:pt x="4" y="52"/>
                  </a:lnTo>
                  <a:lnTo>
                    <a:pt x="0"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8" name="Freeform 326"/>
            <p:cNvSpPr>
              <a:spLocks/>
            </p:cNvSpPr>
            <p:nvPr/>
          </p:nvSpPr>
          <p:spPr bwMode="auto">
            <a:xfrm>
              <a:off x="2816225" y="5737225"/>
              <a:ext cx="98425" cy="65088"/>
            </a:xfrm>
            <a:custGeom>
              <a:avLst/>
              <a:gdLst>
                <a:gd name="T0" fmla="*/ 2147483647 w 242"/>
                <a:gd name="T1" fmla="*/ 2147483647 h 158"/>
                <a:gd name="T2" fmla="*/ 2147483647 w 242"/>
                <a:gd name="T3" fmla="*/ 2147483647 h 158"/>
                <a:gd name="T4" fmla="*/ 2147483647 w 242"/>
                <a:gd name="T5" fmla="*/ 2147483647 h 158"/>
                <a:gd name="T6" fmla="*/ 2147483647 w 242"/>
                <a:gd name="T7" fmla="*/ 2147483647 h 158"/>
                <a:gd name="T8" fmla="*/ 2147483647 w 242"/>
                <a:gd name="T9" fmla="*/ 2147483647 h 158"/>
                <a:gd name="T10" fmla="*/ 2147483647 w 242"/>
                <a:gd name="T11" fmla="*/ 2147483647 h 158"/>
                <a:gd name="T12" fmla="*/ 2147483647 w 242"/>
                <a:gd name="T13" fmla="*/ 2147483647 h 158"/>
                <a:gd name="T14" fmla="*/ 2147483647 w 242"/>
                <a:gd name="T15" fmla="*/ 2147483647 h 158"/>
                <a:gd name="T16" fmla="*/ 2147483647 w 242"/>
                <a:gd name="T17" fmla="*/ 2147483647 h 158"/>
                <a:gd name="T18" fmla="*/ 2147483647 w 242"/>
                <a:gd name="T19" fmla="*/ 2147483647 h 158"/>
                <a:gd name="T20" fmla="*/ 2147483647 w 242"/>
                <a:gd name="T21" fmla="*/ 2147483647 h 158"/>
                <a:gd name="T22" fmla="*/ 2147483647 w 242"/>
                <a:gd name="T23" fmla="*/ 2147483647 h 158"/>
                <a:gd name="T24" fmla="*/ 2147483647 w 242"/>
                <a:gd name="T25" fmla="*/ 2147483647 h 158"/>
                <a:gd name="T26" fmla="*/ 2147483647 w 242"/>
                <a:gd name="T27" fmla="*/ 2147483647 h 158"/>
                <a:gd name="T28" fmla="*/ 2147483647 w 242"/>
                <a:gd name="T29" fmla="*/ 2147483647 h 158"/>
                <a:gd name="T30" fmla="*/ 2147483647 w 242"/>
                <a:gd name="T31" fmla="*/ 2147483647 h 158"/>
                <a:gd name="T32" fmla="*/ 2147483647 w 242"/>
                <a:gd name="T33" fmla="*/ 2147483647 h 158"/>
                <a:gd name="T34" fmla="*/ 2147483647 w 242"/>
                <a:gd name="T35" fmla="*/ 2147483647 h 158"/>
                <a:gd name="T36" fmla="*/ 2147483647 w 242"/>
                <a:gd name="T37" fmla="*/ 2147483647 h 158"/>
                <a:gd name="T38" fmla="*/ 2147483647 w 242"/>
                <a:gd name="T39" fmla="*/ 2147483647 h 158"/>
                <a:gd name="T40" fmla="*/ 2147483647 w 242"/>
                <a:gd name="T41" fmla="*/ 2147483647 h 158"/>
                <a:gd name="T42" fmla="*/ 2147483647 w 242"/>
                <a:gd name="T43" fmla="*/ 2147483647 h 158"/>
                <a:gd name="T44" fmla="*/ 2147483647 w 242"/>
                <a:gd name="T45" fmla="*/ 2147483647 h 158"/>
                <a:gd name="T46" fmla="*/ 2147483647 w 242"/>
                <a:gd name="T47" fmla="*/ 2147483647 h 158"/>
                <a:gd name="T48" fmla="*/ 2147483647 w 242"/>
                <a:gd name="T49" fmla="*/ 2147483647 h 158"/>
                <a:gd name="T50" fmla="*/ 2147483647 w 242"/>
                <a:gd name="T51" fmla="*/ 2147483647 h 158"/>
                <a:gd name="T52" fmla="*/ 2147483647 w 242"/>
                <a:gd name="T53" fmla="*/ 2147483647 h 158"/>
                <a:gd name="T54" fmla="*/ 2147483647 w 242"/>
                <a:gd name="T55" fmla="*/ 2147483647 h 158"/>
                <a:gd name="T56" fmla="*/ 2147483647 w 242"/>
                <a:gd name="T57" fmla="*/ 2147483647 h 158"/>
                <a:gd name="T58" fmla="*/ 2147483647 w 242"/>
                <a:gd name="T59" fmla="*/ 2147483647 h 158"/>
                <a:gd name="T60" fmla="*/ 2147483647 w 242"/>
                <a:gd name="T61" fmla="*/ 2147483647 h 158"/>
                <a:gd name="T62" fmla="*/ 2147483647 w 242"/>
                <a:gd name="T63" fmla="*/ 2147483647 h 158"/>
                <a:gd name="T64" fmla="*/ 2147483647 w 242"/>
                <a:gd name="T65" fmla="*/ 2147483647 h 158"/>
                <a:gd name="T66" fmla="*/ 2147483647 w 242"/>
                <a:gd name="T67" fmla="*/ 2147483647 h 158"/>
                <a:gd name="T68" fmla="*/ 2147483647 w 242"/>
                <a:gd name="T69" fmla="*/ 2147483647 h 158"/>
                <a:gd name="T70" fmla="*/ 2147483647 w 242"/>
                <a:gd name="T71" fmla="*/ 2147483647 h 158"/>
                <a:gd name="T72" fmla="*/ 2147483647 w 242"/>
                <a:gd name="T73" fmla="*/ 2147483647 h 158"/>
                <a:gd name="T74" fmla="*/ 2147483647 w 242"/>
                <a:gd name="T75" fmla="*/ 2147483647 h 158"/>
                <a:gd name="T76" fmla="*/ 2147483647 w 242"/>
                <a:gd name="T77" fmla="*/ 2147483647 h 158"/>
                <a:gd name="T78" fmla="*/ 2147483647 w 242"/>
                <a:gd name="T79" fmla="*/ 2147483647 h 158"/>
                <a:gd name="T80" fmla="*/ 2147483647 w 242"/>
                <a:gd name="T81" fmla="*/ 2147483647 h 158"/>
                <a:gd name="T82" fmla="*/ 2147483647 w 242"/>
                <a:gd name="T83" fmla="*/ 2147483647 h 158"/>
                <a:gd name="T84" fmla="*/ 2147483647 w 242"/>
                <a:gd name="T85" fmla="*/ 2147483647 h 158"/>
                <a:gd name="T86" fmla="*/ 2147483647 w 242"/>
                <a:gd name="T87" fmla="*/ 2147483647 h 158"/>
                <a:gd name="T88" fmla="*/ 2147483647 w 242"/>
                <a:gd name="T89" fmla="*/ 2147483647 h 158"/>
                <a:gd name="T90" fmla="*/ 2147483647 w 242"/>
                <a:gd name="T91" fmla="*/ 2147483647 h 158"/>
                <a:gd name="T92" fmla="*/ 2147483647 w 242"/>
                <a:gd name="T93" fmla="*/ 2147483647 h 158"/>
                <a:gd name="T94" fmla="*/ 2147483647 w 242"/>
                <a:gd name="T95" fmla="*/ 2147483647 h 158"/>
                <a:gd name="T96" fmla="*/ 2147483647 w 242"/>
                <a:gd name="T97" fmla="*/ 2147483647 h 158"/>
                <a:gd name="T98" fmla="*/ 2147483647 w 242"/>
                <a:gd name="T99" fmla="*/ 2147483647 h 158"/>
                <a:gd name="T100" fmla="*/ 2147483647 w 242"/>
                <a:gd name="T101" fmla="*/ 2147483647 h 158"/>
                <a:gd name="T102" fmla="*/ 2147483647 w 242"/>
                <a:gd name="T103" fmla="*/ 2147483647 h 158"/>
                <a:gd name="T104" fmla="*/ 2147483647 w 242"/>
                <a:gd name="T105" fmla="*/ 2147483647 h 158"/>
                <a:gd name="T106" fmla="*/ 2147483647 w 242"/>
                <a:gd name="T107" fmla="*/ 2147483647 h 158"/>
                <a:gd name="T108" fmla="*/ 2147483647 w 242"/>
                <a:gd name="T109" fmla="*/ 2147483647 h 158"/>
                <a:gd name="T110" fmla="*/ 0 w 242"/>
                <a:gd name="T111" fmla="*/ 2147483647 h 158"/>
                <a:gd name="T112" fmla="*/ 0 w 242"/>
                <a:gd name="T113" fmla="*/ 0 h 15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158"/>
                <a:gd name="T173" fmla="*/ 242 w 242"/>
                <a:gd name="T174" fmla="*/ 158 h 15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42" h="158">
                  <a:moveTo>
                    <a:pt x="0" y="0"/>
                  </a:moveTo>
                  <a:lnTo>
                    <a:pt x="4" y="4"/>
                  </a:lnTo>
                  <a:lnTo>
                    <a:pt x="6" y="6"/>
                  </a:lnTo>
                  <a:lnTo>
                    <a:pt x="12" y="10"/>
                  </a:lnTo>
                  <a:lnTo>
                    <a:pt x="18" y="14"/>
                  </a:lnTo>
                  <a:lnTo>
                    <a:pt x="24" y="18"/>
                  </a:lnTo>
                  <a:lnTo>
                    <a:pt x="30" y="24"/>
                  </a:lnTo>
                  <a:lnTo>
                    <a:pt x="34" y="30"/>
                  </a:lnTo>
                  <a:lnTo>
                    <a:pt x="28" y="24"/>
                  </a:lnTo>
                  <a:lnTo>
                    <a:pt x="22" y="24"/>
                  </a:lnTo>
                  <a:lnTo>
                    <a:pt x="20" y="30"/>
                  </a:lnTo>
                  <a:lnTo>
                    <a:pt x="20" y="36"/>
                  </a:lnTo>
                  <a:lnTo>
                    <a:pt x="26" y="40"/>
                  </a:lnTo>
                  <a:lnTo>
                    <a:pt x="32" y="42"/>
                  </a:lnTo>
                  <a:lnTo>
                    <a:pt x="38" y="42"/>
                  </a:lnTo>
                  <a:lnTo>
                    <a:pt x="44" y="42"/>
                  </a:lnTo>
                  <a:lnTo>
                    <a:pt x="50" y="48"/>
                  </a:lnTo>
                  <a:lnTo>
                    <a:pt x="54" y="54"/>
                  </a:lnTo>
                  <a:lnTo>
                    <a:pt x="58" y="60"/>
                  </a:lnTo>
                  <a:lnTo>
                    <a:pt x="66" y="64"/>
                  </a:lnTo>
                  <a:lnTo>
                    <a:pt x="72" y="68"/>
                  </a:lnTo>
                  <a:lnTo>
                    <a:pt x="76" y="70"/>
                  </a:lnTo>
                  <a:lnTo>
                    <a:pt x="82" y="76"/>
                  </a:lnTo>
                  <a:lnTo>
                    <a:pt x="88" y="76"/>
                  </a:lnTo>
                  <a:lnTo>
                    <a:pt x="94" y="82"/>
                  </a:lnTo>
                  <a:lnTo>
                    <a:pt x="100" y="86"/>
                  </a:lnTo>
                  <a:lnTo>
                    <a:pt x="106" y="88"/>
                  </a:lnTo>
                  <a:lnTo>
                    <a:pt x="112" y="92"/>
                  </a:lnTo>
                  <a:lnTo>
                    <a:pt x="118" y="94"/>
                  </a:lnTo>
                  <a:lnTo>
                    <a:pt x="124" y="96"/>
                  </a:lnTo>
                  <a:lnTo>
                    <a:pt x="130" y="98"/>
                  </a:lnTo>
                  <a:lnTo>
                    <a:pt x="136" y="102"/>
                  </a:lnTo>
                  <a:lnTo>
                    <a:pt x="142" y="104"/>
                  </a:lnTo>
                  <a:lnTo>
                    <a:pt x="148" y="106"/>
                  </a:lnTo>
                  <a:lnTo>
                    <a:pt x="152" y="110"/>
                  </a:lnTo>
                  <a:lnTo>
                    <a:pt x="158" y="114"/>
                  </a:lnTo>
                  <a:lnTo>
                    <a:pt x="164" y="116"/>
                  </a:lnTo>
                  <a:lnTo>
                    <a:pt x="170" y="118"/>
                  </a:lnTo>
                  <a:lnTo>
                    <a:pt x="178" y="122"/>
                  </a:lnTo>
                  <a:lnTo>
                    <a:pt x="182" y="124"/>
                  </a:lnTo>
                  <a:lnTo>
                    <a:pt x="190" y="126"/>
                  </a:lnTo>
                  <a:lnTo>
                    <a:pt x="194" y="128"/>
                  </a:lnTo>
                  <a:lnTo>
                    <a:pt x="202" y="130"/>
                  </a:lnTo>
                  <a:lnTo>
                    <a:pt x="208" y="132"/>
                  </a:lnTo>
                  <a:lnTo>
                    <a:pt x="212" y="132"/>
                  </a:lnTo>
                  <a:lnTo>
                    <a:pt x="218" y="132"/>
                  </a:lnTo>
                  <a:lnTo>
                    <a:pt x="224" y="132"/>
                  </a:lnTo>
                  <a:lnTo>
                    <a:pt x="230" y="132"/>
                  </a:lnTo>
                  <a:lnTo>
                    <a:pt x="236" y="130"/>
                  </a:lnTo>
                  <a:lnTo>
                    <a:pt x="242" y="132"/>
                  </a:lnTo>
                  <a:lnTo>
                    <a:pt x="242" y="138"/>
                  </a:lnTo>
                  <a:lnTo>
                    <a:pt x="242" y="144"/>
                  </a:lnTo>
                  <a:lnTo>
                    <a:pt x="242" y="148"/>
                  </a:lnTo>
                  <a:lnTo>
                    <a:pt x="236" y="148"/>
                  </a:lnTo>
                  <a:lnTo>
                    <a:pt x="228" y="150"/>
                  </a:lnTo>
                  <a:lnTo>
                    <a:pt x="224" y="152"/>
                  </a:lnTo>
                  <a:lnTo>
                    <a:pt x="216" y="148"/>
                  </a:lnTo>
                  <a:lnTo>
                    <a:pt x="212" y="148"/>
                  </a:lnTo>
                  <a:lnTo>
                    <a:pt x="204" y="152"/>
                  </a:lnTo>
                  <a:lnTo>
                    <a:pt x="198" y="154"/>
                  </a:lnTo>
                  <a:lnTo>
                    <a:pt x="192" y="154"/>
                  </a:lnTo>
                  <a:lnTo>
                    <a:pt x="186" y="158"/>
                  </a:lnTo>
                  <a:lnTo>
                    <a:pt x="180" y="156"/>
                  </a:lnTo>
                  <a:lnTo>
                    <a:pt x="174" y="154"/>
                  </a:lnTo>
                  <a:lnTo>
                    <a:pt x="170" y="152"/>
                  </a:lnTo>
                  <a:lnTo>
                    <a:pt x="162" y="150"/>
                  </a:lnTo>
                  <a:lnTo>
                    <a:pt x="156" y="148"/>
                  </a:lnTo>
                  <a:lnTo>
                    <a:pt x="150" y="148"/>
                  </a:lnTo>
                  <a:lnTo>
                    <a:pt x="144" y="148"/>
                  </a:lnTo>
                  <a:lnTo>
                    <a:pt x="138" y="148"/>
                  </a:lnTo>
                  <a:lnTo>
                    <a:pt x="132" y="148"/>
                  </a:lnTo>
                  <a:lnTo>
                    <a:pt x="126" y="146"/>
                  </a:lnTo>
                  <a:lnTo>
                    <a:pt x="120" y="148"/>
                  </a:lnTo>
                  <a:lnTo>
                    <a:pt x="114" y="146"/>
                  </a:lnTo>
                  <a:lnTo>
                    <a:pt x="108" y="146"/>
                  </a:lnTo>
                  <a:lnTo>
                    <a:pt x="102" y="144"/>
                  </a:lnTo>
                  <a:lnTo>
                    <a:pt x="96" y="144"/>
                  </a:lnTo>
                  <a:lnTo>
                    <a:pt x="90" y="142"/>
                  </a:lnTo>
                  <a:lnTo>
                    <a:pt x="88" y="142"/>
                  </a:lnTo>
                  <a:lnTo>
                    <a:pt x="86" y="142"/>
                  </a:lnTo>
                  <a:lnTo>
                    <a:pt x="80" y="144"/>
                  </a:lnTo>
                  <a:lnTo>
                    <a:pt x="76" y="144"/>
                  </a:lnTo>
                  <a:lnTo>
                    <a:pt x="70" y="142"/>
                  </a:lnTo>
                  <a:lnTo>
                    <a:pt x="68" y="140"/>
                  </a:lnTo>
                  <a:lnTo>
                    <a:pt x="66" y="136"/>
                  </a:lnTo>
                  <a:lnTo>
                    <a:pt x="64" y="130"/>
                  </a:lnTo>
                  <a:lnTo>
                    <a:pt x="60" y="124"/>
                  </a:lnTo>
                  <a:lnTo>
                    <a:pt x="58" y="122"/>
                  </a:lnTo>
                  <a:lnTo>
                    <a:pt x="58" y="120"/>
                  </a:lnTo>
                  <a:lnTo>
                    <a:pt x="54" y="114"/>
                  </a:lnTo>
                  <a:lnTo>
                    <a:pt x="52" y="108"/>
                  </a:lnTo>
                  <a:lnTo>
                    <a:pt x="48" y="102"/>
                  </a:lnTo>
                  <a:lnTo>
                    <a:pt x="46" y="96"/>
                  </a:lnTo>
                  <a:lnTo>
                    <a:pt x="42" y="90"/>
                  </a:lnTo>
                  <a:lnTo>
                    <a:pt x="40" y="84"/>
                  </a:lnTo>
                  <a:lnTo>
                    <a:pt x="38" y="80"/>
                  </a:lnTo>
                  <a:lnTo>
                    <a:pt x="34" y="74"/>
                  </a:lnTo>
                  <a:lnTo>
                    <a:pt x="32" y="68"/>
                  </a:lnTo>
                  <a:lnTo>
                    <a:pt x="30" y="62"/>
                  </a:lnTo>
                  <a:lnTo>
                    <a:pt x="26" y="56"/>
                  </a:lnTo>
                  <a:lnTo>
                    <a:pt x="24" y="50"/>
                  </a:lnTo>
                  <a:lnTo>
                    <a:pt x="20" y="44"/>
                  </a:lnTo>
                  <a:lnTo>
                    <a:pt x="16" y="38"/>
                  </a:lnTo>
                  <a:lnTo>
                    <a:pt x="14" y="32"/>
                  </a:lnTo>
                  <a:lnTo>
                    <a:pt x="12" y="26"/>
                  </a:lnTo>
                  <a:lnTo>
                    <a:pt x="12" y="24"/>
                  </a:lnTo>
                  <a:lnTo>
                    <a:pt x="10" y="22"/>
                  </a:lnTo>
                  <a:lnTo>
                    <a:pt x="8" y="18"/>
                  </a:lnTo>
                  <a:lnTo>
                    <a:pt x="6" y="14"/>
                  </a:lnTo>
                  <a:lnTo>
                    <a:pt x="4" y="8"/>
                  </a:lnTo>
                  <a:lnTo>
                    <a:pt x="0" y="2"/>
                  </a:lnTo>
                  <a:lnTo>
                    <a:pt x="0" y="0"/>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09" name="Freeform 327"/>
            <p:cNvSpPr>
              <a:spLocks/>
            </p:cNvSpPr>
            <p:nvPr/>
          </p:nvSpPr>
          <p:spPr bwMode="auto">
            <a:xfrm>
              <a:off x="2970213" y="5702300"/>
              <a:ext cx="30162" cy="23813"/>
            </a:xfrm>
            <a:custGeom>
              <a:avLst/>
              <a:gdLst>
                <a:gd name="T0" fmla="*/ 2147483647 w 74"/>
                <a:gd name="T1" fmla="*/ 2147483647 h 58"/>
                <a:gd name="T2" fmla="*/ 2147483647 w 74"/>
                <a:gd name="T3" fmla="*/ 2147483647 h 58"/>
                <a:gd name="T4" fmla="*/ 2147483647 w 74"/>
                <a:gd name="T5" fmla="*/ 2147483647 h 58"/>
                <a:gd name="T6" fmla="*/ 2147483647 w 74"/>
                <a:gd name="T7" fmla="*/ 2147483647 h 58"/>
                <a:gd name="T8" fmla="*/ 0 w 74"/>
                <a:gd name="T9" fmla="*/ 2147483647 h 58"/>
                <a:gd name="T10" fmla="*/ 2147483647 w 74"/>
                <a:gd name="T11" fmla="*/ 2147483647 h 58"/>
                <a:gd name="T12" fmla="*/ 2147483647 w 74"/>
                <a:gd name="T13" fmla="*/ 2147483647 h 58"/>
                <a:gd name="T14" fmla="*/ 2147483647 w 74"/>
                <a:gd name="T15" fmla="*/ 2147483647 h 58"/>
                <a:gd name="T16" fmla="*/ 2147483647 w 74"/>
                <a:gd name="T17" fmla="*/ 2147483647 h 58"/>
                <a:gd name="T18" fmla="*/ 2147483647 w 74"/>
                <a:gd name="T19" fmla="*/ 2147483647 h 58"/>
                <a:gd name="T20" fmla="*/ 2147483647 w 74"/>
                <a:gd name="T21" fmla="*/ 2147483647 h 58"/>
                <a:gd name="T22" fmla="*/ 2147483647 w 74"/>
                <a:gd name="T23" fmla="*/ 2147483647 h 58"/>
                <a:gd name="T24" fmla="*/ 2147483647 w 74"/>
                <a:gd name="T25" fmla="*/ 2147483647 h 58"/>
                <a:gd name="T26" fmla="*/ 2147483647 w 74"/>
                <a:gd name="T27" fmla="*/ 2147483647 h 58"/>
                <a:gd name="T28" fmla="*/ 2147483647 w 74"/>
                <a:gd name="T29" fmla="*/ 2147483647 h 58"/>
                <a:gd name="T30" fmla="*/ 2147483647 w 74"/>
                <a:gd name="T31" fmla="*/ 2147483647 h 58"/>
                <a:gd name="T32" fmla="*/ 2147483647 w 74"/>
                <a:gd name="T33" fmla="*/ 2147483647 h 58"/>
                <a:gd name="T34" fmla="*/ 2147483647 w 74"/>
                <a:gd name="T35" fmla="*/ 2147483647 h 58"/>
                <a:gd name="T36" fmla="*/ 2147483647 w 74"/>
                <a:gd name="T37" fmla="*/ 2147483647 h 58"/>
                <a:gd name="T38" fmla="*/ 2147483647 w 74"/>
                <a:gd name="T39" fmla="*/ 2147483647 h 58"/>
                <a:gd name="T40" fmla="*/ 2147483647 w 74"/>
                <a:gd name="T41" fmla="*/ 2147483647 h 58"/>
                <a:gd name="T42" fmla="*/ 2147483647 w 74"/>
                <a:gd name="T43" fmla="*/ 2147483647 h 58"/>
                <a:gd name="T44" fmla="*/ 2147483647 w 74"/>
                <a:gd name="T45" fmla="*/ 2147483647 h 58"/>
                <a:gd name="T46" fmla="*/ 2147483647 w 74"/>
                <a:gd name="T47" fmla="*/ 2147483647 h 58"/>
                <a:gd name="T48" fmla="*/ 2147483647 w 74"/>
                <a:gd name="T49" fmla="*/ 2147483647 h 58"/>
                <a:gd name="T50" fmla="*/ 2147483647 w 74"/>
                <a:gd name="T51" fmla="*/ 2147483647 h 58"/>
                <a:gd name="T52" fmla="*/ 2147483647 w 74"/>
                <a:gd name="T53" fmla="*/ 2147483647 h 58"/>
                <a:gd name="T54" fmla="*/ 2147483647 w 74"/>
                <a:gd name="T55" fmla="*/ 2147483647 h 58"/>
                <a:gd name="T56" fmla="*/ 2147483647 w 74"/>
                <a:gd name="T57" fmla="*/ 2147483647 h 58"/>
                <a:gd name="T58" fmla="*/ 2147483647 w 74"/>
                <a:gd name="T59" fmla="*/ 0 h 58"/>
                <a:gd name="T60" fmla="*/ 2147483647 w 74"/>
                <a:gd name="T61" fmla="*/ 2147483647 h 58"/>
                <a:gd name="T62" fmla="*/ 2147483647 w 74"/>
                <a:gd name="T63" fmla="*/ 2147483647 h 58"/>
                <a:gd name="T64" fmla="*/ 2147483647 w 74"/>
                <a:gd name="T65" fmla="*/ 2147483647 h 5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4"/>
                <a:gd name="T100" fmla="*/ 0 h 58"/>
                <a:gd name="T101" fmla="*/ 74 w 74"/>
                <a:gd name="T102" fmla="*/ 58 h 5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4" h="58">
                  <a:moveTo>
                    <a:pt x="34" y="2"/>
                  </a:moveTo>
                  <a:lnTo>
                    <a:pt x="36" y="6"/>
                  </a:lnTo>
                  <a:lnTo>
                    <a:pt x="36" y="8"/>
                  </a:lnTo>
                  <a:lnTo>
                    <a:pt x="30" y="10"/>
                  </a:lnTo>
                  <a:lnTo>
                    <a:pt x="24" y="8"/>
                  </a:lnTo>
                  <a:lnTo>
                    <a:pt x="18" y="6"/>
                  </a:lnTo>
                  <a:lnTo>
                    <a:pt x="12" y="2"/>
                  </a:lnTo>
                  <a:lnTo>
                    <a:pt x="6" y="2"/>
                  </a:lnTo>
                  <a:lnTo>
                    <a:pt x="0" y="2"/>
                  </a:lnTo>
                  <a:lnTo>
                    <a:pt x="8" y="6"/>
                  </a:lnTo>
                  <a:lnTo>
                    <a:pt x="12" y="6"/>
                  </a:lnTo>
                  <a:lnTo>
                    <a:pt x="14" y="12"/>
                  </a:lnTo>
                  <a:lnTo>
                    <a:pt x="20" y="14"/>
                  </a:lnTo>
                  <a:lnTo>
                    <a:pt x="28" y="16"/>
                  </a:lnTo>
                  <a:lnTo>
                    <a:pt x="32" y="20"/>
                  </a:lnTo>
                  <a:lnTo>
                    <a:pt x="38" y="22"/>
                  </a:lnTo>
                  <a:lnTo>
                    <a:pt x="36" y="22"/>
                  </a:lnTo>
                  <a:lnTo>
                    <a:pt x="28" y="20"/>
                  </a:lnTo>
                  <a:lnTo>
                    <a:pt x="24" y="20"/>
                  </a:lnTo>
                  <a:lnTo>
                    <a:pt x="16" y="22"/>
                  </a:lnTo>
                  <a:lnTo>
                    <a:pt x="12" y="24"/>
                  </a:lnTo>
                  <a:lnTo>
                    <a:pt x="16" y="30"/>
                  </a:lnTo>
                  <a:lnTo>
                    <a:pt x="22" y="26"/>
                  </a:lnTo>
                  <a:lnTo>
                    <a:pt x="28" y="24"/>
                  </a:lnTo>
                  <a:lnTo>
                    <a:pt x="34" y="28"/>
                  </a:lnTo>
                  <a:lnTo>
                    <a:pt x="28" y="28"/>
                  </a:lnTo>
                  <a:lnTo>
                    <a:pt x="28" y="34"/>
                  </a:lnTo>
                  <a:lnTo>
                    <a:pt x="24" y="26"/>
                  </a:lnTo>
                  <a:lnTo>
                    <a:pt x="24" y="32"/>
                  </a:lnTo>
                  <a:lnTo>
                    <a:pt x="22" y="40"/>
                  </a:lnTo>
                  <a:lnTo>
                    <a:pt x="28" y="36"/>
                  </a:lnTo>
                  <a:lnTo>
                    <a:pt x="24" y="42"/>
                  </a:lnTo>
                  <a:lnTo>
                    <a:pt x="18" y="40"/>
                  </a:lnTo>
                  <a:lnTo>
                    <a:pt x="12" y="44"/>
                  </a:lnTo>
                  <a:lnTo>
                    <a:pt x="6" y="44"/>
                  </a:lnTo>
                  <a:lnTo>
                    <a:pt x="0" y="46"/>
                  </a:lnTo>
                  <a:lnTo>
                    <a:pt x="6" y="50"/>
                  </a:lnTo>
                  <a:lnTo>
                    <a:pt x="12" y="52"/>
                  </a:lnTo>
                  <a:lnTo>
                    <a:pt x="18" y="54"/>
                  </a:lnTo>
                  <a:lnTo>
                    <a:pt x="12" y="50"/>
                  </a:lnTo>
                  <a:lnTo>
                    <a:pt x="18" y="50"/>
                  </a:lnTo>
                  <a:lnTo>
                    <a:pt x="22" y="56"/>
                  </a:lnTo>
                  <a:lnTo>
                    <a:pt x="28" y="58"/>
                  </a:lnTo>
                  <a:lnTo>
                    <a:pt x="30" y="52"/>
                  </a:lnTo>
                  <a:lnTo>
                    <a:pt x="36" y="54"/>
                  </a:lnTo>
                  <a:lnTo>
                    <a:pt x="40" y="48"/>
                  </a:lnTo>
                  <a:lnTo>
                    <a:pt x="38" y="42"/>
                  </a:lnTo>
                  <a:lnTo>
                    <a:pt x="44" y="42"/>
                  </a:lnTo>
                  <a:lnTo>
                    <a:pt x="50" y="40"/>
                  </a:lnTo>
                  <a:lnTo>
                    <a:pt x="54" y="42"/>
                  </a:lnTo>
                  <a:lnTo>
                    <a:pt x="58" y="36"/>
                  </a:lnTo>
                  <a:lnTo>
                    <a:pt x="60" y="30"/>
                  </a:lnTo>
                  <a:lnTo>
                    <a:pt x="64" y="24"/>
                  </a:lnTo>
                  <a:lnTo>
                    <a:pt x="66" y="18"/>
                  </a:lnTo>
                  <a:lnTo>
                    <a:pt x="72" y="14"/>
                  </a:lnTo>
                  <a:lnTo>
                    <a:pt x="74" y="8"/>
                  </a:lnTo>
                  <a:lnTo>
                    <a:pt x="74" y="2"/>
                  </a:lnTo>
                  <a:lnTo>
                    <a:pt x="70" y="0"/>
                  </a:lnTo>
                  <a:lnTo>
                    <a:pt x="64" y="0"/>
                  </a:lnTo>
                  <a:lnTo>
                    <a:pt x="64" y="6"/>
                  </a:lnTo>
                  <a:lnTo>
                    <a:pt x="58" y="4"/>
                  </a:lnTo>
                  <a:lnTo>
                    <a:pt x="52" y="6"/>
                  </a:lnTo>
                  <a:lnTo>
                    <a:pt x="46" y="4"/>
                  </a:lnTo>
                  <a:lnTo>
                    <a:pt x="40" y="2"/>
                  </a:lnTo>
                  <a:lnTo>
                    <a:pt x="34" y="2"/>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sp>
          <p:nvSpPr>
            <p:cNvPr id="1510" name="Freeform 328"/>
            <p:cNvSpPr>
              <a:spLocks/>
            </p:cNvSpPr>
            <p:nvPr/>
          </p:nvSpPr>
          <p:spPr bwMode="auto">
            <a:xfrm>
              <a:off x="2768600" y="5732463"/>
              <a:ext cx="76200" cy="66675"/>
            </a:xfrm>
            <a:custGeom>
              <a:avLst/>
              <a:gdLst>
                <a:gd name="T0" fmla="*/ 2147483647 w 186"/>
                <a:gd name="T1" fmla="*/ 2147483647 h 162"/>
                <a:gd name="T2" fmla="*/ 2147483647 w 186"/>
                <a:gd name="T3" fmla="*/ 2147483647 h 162"/>
                <a:gd name="T4" fmla="*/ 2147483647 w 186"/>
                <a:gd name="T5" fmla="*/ 2147483647 h 162"/>
                <a:gd name="T6" fmla="*/ 2147483647 w 186"/>
                <a:gd name="T7" fmla="*/ 2147483647 h 162"/>
                <a:gd name="T8" fmla="*/ 2147483647 w 186"/>
                <a:gd name="T9" fmla="*/ 2147483647 h 162"/>
                <a:gd name="T10" fmla="*/ 2147483647 w 186"/>
                <a:gd name="T11" fmla="*/ 2147483647 h 162"/>
                <a:gd name="T12" fmla="*/ 2147483647 w 186"/>
                <a:gd name="T13" fmla="*/ 2147483647 h 162"/>
                <a:gd name="T14" fmla="*/ 2147483647 w 186"/>
                <a:gd name="T15" fmla="*/ 2147483647 h 162"/>
                <a:gd name="T16" fmla="*/ 2147483647 w 186"/>
                <a:gd name="T17" fmla="*/ 2147483647 h 162"/>
                <a:gd name="T18" fmla="*/ 2147483647 w 186"/>
                <a:gd name="T19" fmla="*/ 2147483647 h 162"/>
                <a:gd name="T20" fmla="*/ 2147483647 w 186"/>
                <a:gd name="T21" fmla="*/ 2147483647 h 162"/>
                <a:gd name="T22" fmla="*/ 2147483647 w 186"/>
                <a:gd name="T23" fmla="*/ 2147483647 h 162"/>
                <a:gd name="T24" fmla="*/ 2147483647 w 186"/>
                <a:gd name="T25" fmla="*/ 2147483647 h 162"/>
                <a:gd name="T26" fmla="*/ 2147483647 w 186"/>
                <a:gd name="T27" fmla="*/ 2147483647 h 162"/>
                <a:gd name="T28" fmla="*/ 2147483647 w 186"/>
                <a:gd name="T29" fmla="*/ 2147483647 h 162"/>
                <a:gd name="T30" fmla="*/ 2147483647 w 186"/>
                <a:gd name="T31" fmla="*/ 2147483647 h 162"/>
                <a:gd name="T32" fmla="*/ 2147483647 w 186"/>
                <a:gd name="T33" fmla="*/ 2147483647 h 162"/>
                <a:gd name="T34" fmla="*/ 2147483647 w 186"/>
                <a:gd name="T35" fmla="*/ 2147483647 h 162"/>
                <a:gd name="T36" fmla="*/ 2147483647 w 186"/>
                <a:gd name="T37" fmla="*/ 2147483647 h 162"/>
                <a:gd name="T38" fmla="*/ 2147483647 w 186"/>
                <a:gd name="T39" fmla="*/ 2147483647 h 162"/>
                <a:gd name="T40" fmla="*/ 2147483647 w 186"/>
                <a:gd name="T41" fmla="*/ 2147483647 h 162"/>
                <a:gd name="T42" fmla="*/ 2147483647 w 186"/>
                <a:gd name="T43" fmla="*/ 2147483647 h 162"/>
                <a:gd name="T44" fmla="*/ 2147483647 w 186"/>
                <a:gd name="T45" fmla="*/ 2147483647 h 162"/>
                <a:gd name="T46" fmla="*/ 2147483647 w 186"/>
                <a:gd name="T47" fmla="*/ 2147483647 h 162"/>
                <a:gd name="T48" fmla="*/ 2147483647 w 186"/>
                <a:gd name="T49" fmla="*/ 2147483647 h 162"/>
                <a:gd name="T50" fmla="*/ 2147483647 w 186"/>
                <a:gd name="T51" fmla="*/ 2147483647 h 162"/>
                <a:gd name="T52" fmla="*/ 2147483647 w 186"/>
                <a:gd name="T53" fmla="*/ 2147483647 h 162"/>
                <a:gd name="T54" fmla="*/ 0 w 186"/>
                <a:gd name="T55" fmla="*/ 2147483647 h 162"/>
                <a:gd name="T56" fmla="*/ 2147483647 w 186"/>
                <a:gd name="T57" fmla="*/ 2147483647 h 162"/>
                <a:gd name="T58" fmla="*/ 2147483647 w 186"/>
                <a:gd name="T59" fmla="*/ 2147483647 h 162"/>
                <a:gd name="T60" fmla="*/ 2147483647 w 186"/>
                <a:gd name="T61" fmla="*/ 2147483647 h 162"/>
                <a:gd name="T62" fmla="*/ 2147483647 w 186"/>
                <a:gd name="T63" fmla="*/ 2147483647 h 162"/>
                <a:gd name="T64" fmla="*/ 2147483647 w 186"/>
                <a:gd name="T65" fmla="*/ 2147483647 h 162"/>
                <a:gd name="T66" fmla="*/ 2147483647 w 186"/>
                <a:gd name="T67" fmla="*/ 2147483647 h 162"/>
                <a:gd name="T68" fmla="*/ 2147483647 w 186"/>
                <a:gd name="T69" fmla="*/ 2147483647 h 162"/>
                <a:gd name="T70" fmla="*/ 2147483647 w 186"/>
                <a:gd name="T71" fmla="*/ 2147483647 h 162"/>
                <a:gd name="T72" fmla="*/ 2147483647 w 186"/>
                <a:gd name="T73" fmla="*/ 2147483647 h 162"/>
                <a:gd name="T74" fmla="*/ 2147483647 w 186"/>
                <a:gd name="T75" fmla="*/ 2147483647 h 162"/>
                <a:gd name="T76" fmla="*/ 2147483647 w 186"/>
                <a:gd name="T77" fmla="*/ 2147483647 h 162"/>
                <a:gd name="T78" fmla="*/ 2147483647 w 186"/>
                <a:gd name="T79" fmla="*/ 2147483647 h 162"/>
                <a:gd name="T80" fmla="*/ 2147483647 w 186"/>
                <a:gd name="T81" fmla="*/ 2147483647 h 162"/>
                <a:gd name="T82" fmla="*/ 2147483647 w 186"/>
                <a:gd name="T83" fmla="*/ 2147483647 h 162"/>
                <a:gd name="T84" fmla="*/ 2147483647 w 186"/>
                <a:gd name="T85" fmla="*/ 2147483647 h 162"/>
                <a:gd name="T86" fmla="*/ 2147483647 w 186"/>
                <a:gd name="T87" fmla="*/ 2147483647 h 162"/>
                <a:gd name="T88" fmla="*/ 2147483647 w 186"/>
                <a:gd name="T89" fmla="*/ 2147483647 h 162"/>
                <a:gd name="T90" fmla="*/ 2147483647 w 186"/>
                <a:gd name="T91" fmla="*/ 2147483647 h 162"/>
                <a:gd name="T92" fmla="*/ 2147483647 w 186"/>
                <a:gd name="T93" fmla="*/ 2147483647 h 162"/>
                <a:gd name="T94" fmla="*/ 2147483647 w 186"/>
                <a:gd name="T95" fmla="*/ 2147483647 h 162"/>
                <a:gd name="T96" fmla="*/ 2147483647 w 186"/>
                <a:gd name="T97" fmla="*/ 2147483647 h 162"/>
                <a:gd name="T98" fmla="*/ 2147483647 w 186"/>
                <a:gd name="T99" fmla="*/ 2147483647 h 162"/>
                <a:gd name="T100" fmla="*/ 2147483647 w 186"/>
                <a:gd name="T101" fmla="*/ 2147483647 h 162"/>
                <a:gd name="T102" fmla="*/ 2147483647 w 186"/>
                <a:gd name="T103" fmla="*/ 2147483647 h 162"/>
                <a:gd name="T104" fmla="*/ 2147483647 w 186"/>
                <a:gd name="T105" fmla="*/ 2147483647 h 1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6"/>
                <a:gd name="T160" fmla="*/ 0 h 162"/>
                <a:gd name="T161" fmla="*/ 186 w 186"/>
                <a:gd name="T162" fmla="*/ 162 h 1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6" h="162">
                  <a:moveTo>
                    <a:pt x="38" y="54"/>
                  </a:moveTo>
                  <a:lnTo>
                    <a:pt x="34" y="50"/>
                  </a:lnTo>
                  <a:lnTo>
                    <a:pt x="34" y="44"/>
                  </a:lnTo>
                  <a:lnTo>
                    <a:pt x="30" y="38"/>
                  </a:lnTo>
                  <a:lnTo>
                    <a:pt x="32" y="32"/>
                  </a:lnTo>
                  <a:lnTo>
                    <a:pt x="36" y="38"/>
                  </a:lnTo>
                  <a:lnTo>
                    <a:pt x="42" y="36"/>
                  </a:lnTo>
                  <a:lnTo>
                    <a:pt x="44" y="30"/>
                  </a:lnTo>
                  <a:lnTo>
                    <a:pt x="38" y="26"/>
                  </a:lnTo>
                  <a:lnTo>
                    <a:pt x="34" y="22"/>
                  </a:lnTo>
                  <a:lnTo>
                    <a:pt x="26" y="20"/>
                  </a:lnTo>
                  <a:lnTo>
                    <a:pt x="32" y="16"/>
                  </a:lnTo>
                  <a:lnTo>
                    <a:pt x="38" y="18"/>
                  </a:lnTo>
                  <a:lnTo>
                    <a:pt x="44" y="22"/>
                  </a:lnTo>
                  <a:lnTo>
                    <a:pt x="46" y="24"/>
                  </a:lnTo>
                  <a:lnTo>
                    <a:pt x="52" y="20"/>
                  </a:lnTo>
                  <a:lnTo>
                    <a:pt x="58" y="18"/>
                  </a:lnTo>
                  <a:lnTo>
                    <a:pt x="60" y="12"/>
                  </a:lnTo>
                  <a:lnTo>
                    <a:pt x="58" y="6"/>
                  </a:lnTo>
                  <a:lnTo>
                    <a:pt x="62" y="0"/>
                  </a:lnTo>
                  <a:lnTo>
                    <a:pt x="64" y="0"/>
                  </a:lnTo>
                  <a:lnTo>
                    <a:pt x="70" y="2"/>
                  </a:lnTo>
                  <a:lnTo>
                    <a:pt x="76" y="6"/>
                  </a:lnTo>
                  <a:lnTo>
                    <a:pt x="82" y="12"/>
                  </a:lnTo>
                  <a:lnTo>
                    <a:pt x="88" y="14"/>
                  </a:lnTo>
                  <a:lnTo>
                    <a:pt x="94" y="12"/>
                  </a:lnTo>
                  <a:lnTo>
                    <a:pt x="100" y="8"/>
                  </a:lnTo>
                  <a:lnTo>
                    <a:pt x="106" y="6"/>
                  </a:lnTo>
                  <a:lnTo>
                    <a:pt x="110" y="10"/>
                  </a:lnTo>
                  <a:lnTo>
                    <a:pt x="112" y="10"/>
                  </a:lnTo>
                  <a:lnTo>
                    <a:pt x="114" y="12"/>
                  </a:lnTo>
                  <a:lnTo>
                    <a:pt x="114" y="14"/>
                  </a:lnTo>
                  <a:lnTo>
                    <a:pt x="118" y="20"/>
                  </a:lnTo>
                  <a:lnTo>
                    <a:pt x="120" y="26"/>
                  </a:lnTo>
                  <a:lnTo>
                    <a:pt x="122" y="30"/>
                  </a:lnTo>
                  <a:lnTo>
                    <a:pt x="124" y="34"/>
                  </a:lnTo>
                  <a:lnTo>
                    <a:pt x="126" y="36"/>
                  </a:lnTo>
                  <a:lnTo>
                    <a:pt x="126" y="38"/>
                  </a:lnTo>
                  <a:lnTo>
                    <a:pt x="128" y="44"/>
                  </a:lnTo>
                  <a:lnTo>
                    <a:pt x="130" y="50"/>
                  </a:lnTo>
                  <a:lnTo>
                    <a:pt x="134" y="56"/>
                  </a:lnTo>
                  <a:lnTo>
                    <a:pt x="138" y="62"/>
                  </a:lnTo>
                  <a:lnTo>
                    <a:pt x="140" y="68"/>
                  </a:lnTo>
                  <a:lnTo>
                    <a:pt x="144" y="74"/>
                  </a:lnTo>
                  <a:lnTo>
                    <a:pt x="146" y="80"/>
                  </a:lnTo>
                  <a:lnTo>
                    <a:pt x="148" y="86"/>
                  </a:lnTo>
                  <a:lnTo>
                    <a:pt x="152" y="92"/>
                  </a:lnTo>
                  <a:lnTo>
                    <a:pt x="154" y="96"/>
                  </a:lnTo>
                  <a:lnTo>
                    <a:pt x="156" y="102"/>
                  </a:lnTo>
                  <a:lnTo>
                    <a:pt x="160" y="108"/>
                  </a:lnTo>
                  <a:lnTo>
                    <a:pt x="162" y="114"/>
                  </a:lnTo>
                  <a:lnTo>
                    <a:pt x="166" y="120"/>
                  </a:lnTo>
                  <a:lnTo>
                    <a:pt x="168" y="126"/>
                  </a:lnTo>
                  <a:lnTo>
                    <a:pt x="172" y="132"/>
                  </a:lnTo>
                  <a:lnTo>
                    <a:pt x="172" y="134"/>
                  </a:lnTo>
                  <a:lnTo>
                    <a:pt x="174" y="136"/>
                  </a:lnTo>
                  <a:lnTo>
                    <a:pt x="178" y="142"/>
                  </a:lnTo>
                  <a:lnTo>
                    <a:pt x="180" y="148"/>
                  </a:lnTo>
                  <a:lnTo>
                    <a:pt x="182" y="152"/>
                  </a:lnTo>
                  <a:lnTo>
                    <a:pt x="182" y="154"/>
                  </a:lnTo>
                  <a:lnTo>
                    <a:pt x="186" y="160"/>
                  </a:lnTo>
                  <a:lnTo>
                    <a:pt x="180" y="156"/>
                  </a:lnTo>
                  <a:lnTo>
                    <a:pt x="172" y="154"/>
                  </a:lnTo>
                  <a:lnTo>
                    <a:pt x="168" y="152"/>
                  </a:lnTo>
                  <a:lnTo>
                    <a:pt x="172" y="156"/>
                  </a:lnTo>
                  <a:lnTo>
                    <a:pt x="178" y="158"/>
                  </a:lnTo>
                  <a:lnTo>
                    <a:pt x="172" y="162"/>
                  </a:lnTo>
                  <a:lnTo>
                    <a:pt x="168" y="162"/>
                  </a:lnTo>
                  <a:lnTo>
                    <a:pt x="162" y="162"/>
                  </a:lnTo>
                  <a:lnTo>
                    <a:pt x="156" y="160"/>
                  </a:lnTo>
                  <a:lnTo>
                    <a:pt x="150" y="160"/>
                  </a:lnTo>
                  <a:lnTo>
                    <a:pt x="144" y="158"/>
                  </a:lnTo>
                  <a:lnTo>
                    <a:pt x="138" y="156"/>
                  </a:lnTo>
                  <a:lnTo>
                    <a:pt x="132" y="154"/>
                  </a:lnTo>
                  <a:lnTo>
                    <a:pt x="130" y="148"/>
                  </a:lnTo>
                  <a:lnTo>
                    <a:pt x="124" y="150"/>
                  </a:lnTo>
                  <a:lnTo>
                    <a:pt x="118" y="154"/>
                  </a:lnTo>
                  <a:lnTo>
                    <a:pt x="112" y="148"/>
                  </a:lnTo>
                  <a:lnTo>
                    <a:pt x="110" y="148"/>
                  </a:lnTo>
                  <a:lnTo>
                    <a:pt x="112" y="150"/>
                  </a:lnTo>
                  <a:lnTo>
                    <a:pt x="114" y="156"/>
                  </a:lnTo>
                  <a:lnTo>
                    <a:pt x="108" y="152"/>
                  </a:lnTo>
                  <a:lnTo>
                    <a:pt x="102" y="156"/>
                  </a:lnTo>
                  <a:lnTo>
                    <a:pt x="96" y="154"/>
                  </a:lnTo>
                  <a:lnTo>
                    <a:pt x="98" y="148"/>
                  </a:lnTo>
                  <a:lnTo>
                    <a:pt x="94" y="154"/>
                  </a:lnTo>
                  <a:lnTo>
                    <a:pt x="88" y="154"/>
                  </a:lnTo>
                  <a:lnTo>
                    <a:pt x="82" y="152"/>
                  </a:lnTo>
                  <a:lnTo>
                    <a:pt x="76" y="156"/>
                  </a:lnTo>
                  <a:lnTo>
                    <a:pt x="72" y="154"/>
                  </a:lnTo>
                  <a:lnTo>
                    <a:pt x="76" y="150"/>
                  </a:lnTo>
                  <a:lnTo>
                    <a:pt x="82" y="146"/>
                  </a:lnTo>
                  <a:lnTo>
                    <a:pt x="76" y="144"/>
                  </a:lnTo>
                  <a:lnTo>
                    <a:pt x="70" y="150"/>
                  </a:lnTo>
                  <a:lnTo>
                    <a:pt x="64" y="150"/>
                  </a:lnTo>
                  <a:lnTo>
                    <a:pt x="58" y="152"/>
                  </a:lnTo>
                  <a:lnTo>
                    <a:pt x="58" y="146"/>
                  </a:lnTo>
                  <a:lnTo>
                    <a:pt x="54" y="140"/>
                  </a:lnTo>
                  <a:lnTo>
                    <a:pt x="50" y="146"/>
                  </a:lnTo>
                  <a:lnTo>
                    <a:pt x="44" y="146"/>
                  </a:lnTo>
                  <a:lnTo>
                    <a:pt x="42" y="140"/>
                  </a:lnTo>
                  <a:lnTo>
                    <a:pt x="36" y="134"/>
                  </a:lnTo>
                  <a:lnTo>
                    <a:pt x="38" y="142"/>
                  </a:lnTo>
                  <a:lnTo>
                    <a:pt x="32" y="144"/>
                  </a:lnTo>
                  <a:lnTo>
                    <a:pt x="26" y="144"/>
                  </a:lnTo>
                  <a:lnTo>
                    <a:pt x="20" y="140"/>
                  </a:lnTo>
                  <a:lnTo>
                    <a:pt x="14" y="142"/>
                  </a:lnTo>
                  <a:lnTo>
                    <a:pt x="8" y="144"/>
                  </a:lnTo>
                  <a:lnTo>
                    <a:pt x="6" y="138"/>
                  </a:lnTo>
                  <a:lnTo>
                    <a:pt x="0" y="132"/>
                  </a:lnTo>
                  <a:lnTo>
                    <a:pt x="6" y="132"/>
                  </a:lnTo>
                  <a:lnTo>
                    <a:pt x="12" y="136"/>
                  </a:lnTo>
                  <a:lnTo>
                    <a:pt x="18" y="138"/>
                  </a:lnTo>
                  <a:lnTo>
                    <a:pt x="16" y="132"/>
                  </a:lnTo>
                  <a:lnTo>
                    <a:pt x="10" y="132"/>
                  </a:lnTo>
                  <a:lnTo>
                    <a:pt x="16" y="130"/>
                  </a:lnTo>
                  <a:lnTo>
                    <a:pt x="22" y="134"/>
                  </a:lnTo>
                  <a:lnTo>
                    <a:pt x="16" y="128"/>
                  </a:lnTo>
                  <a:lnTo>
                    <a:pt x="22" y="130"/>
                  </a:lnTo>
                  <a:lnTo>
                    <a:pt x="28" y="130"/>
                  </a:lnTo>
                  <a:lnTo>
                    <a:pt x="36" y="128"/>
                  </a:lnTo>
                  <a:lnTo>
                    <a:pt x="42" y="130"/>
                  </a:lnTo>
                  <a:lnTo>
                    <a:pt x="48" y="134"/>
                  </a:lnTo>
                  <a:lnTo>
                    <a:pt x="52" y="128"/>
                  </a:lnTo>
                  <a:lnTo>
                    <a:pt x="50" y="122"/>
                  </a:lnTo>
                  <a:lnTo>
                    <a:pt x="56" y="122"/>
                  </a:lnTo>
                  <a:lnTo>
                    <a:pt x="62" y="122"/>
                  </a:lnTo>
                  <a:lnTo>
                    <a:pt x="64" y="128"/>
                  </a:lnTo>
                  <a:lnTo>
                    <a:pt x="66" y="134"/>
                  </a:lnTo>
                  <a:lnTo>
                    <a:pt x="66" y="140"/>
                  </a:lnTo>
                  <a:lnTo>
                    <a:pt x="72" y="140"/>
                  </a:lnTo>
                  <a:lnTo>
                    <a:pt x="68" y="134"/>
                  </a:lnTo>
                  <a:lnTo>
                    <a:pt x="68" y="128"/>
                  </a:lnTo>
                  <a:lnTo>
                    <a:pt x="72" y="130"/>
                  </a:lnTo>
                  <a:lnTo>
                    <a:pt x="80" y="132"/>
                  </a:lnTo>
                  <a:lnTo>
                    <a:pt x="86" y="134"/>
                  </a:lnTo>
                  <a:lnTo>
                    <a:pt x="92" y="138"/>
                  </a:lnTo>
                  <a:lnTo>
                    <a:pt x="96" y="136"/>
                  </a:lnTo>
                  <a:lnTo>
                    <a:pt x="92" y="134"/>
                  </a:lnTo>
                  <a:lnTo>
                    <a:pt x="84" y="132"/>
                  </a:lnTo>
                  <a:lnTo>
                    <a:pt x="78" y="130"/>
                  </a:lnTo>
                  <a:lnTo>
                    <a:pt x="72" y="126"/>
                  </a:lnTo>
                  <a:lnTo>
                    <a:pt x="66" y="120"/>
                  </a:lnTo>
                  <a:lnTo>
                    <a:pt x="60" y="118"/>
                  </a:lnTo>
                  <a:lnTo>
                    <a:pt x="54" y="118"/>
                  </a:lnTo>
                  <a:lnTo>
                    <a:pt x="50" y="116"/>
                  </a:lnTo>
                  <a:lnTo>
                    <a:pt x="44" y="110"/>
                  </a:lnTo>
                  <a:lnTo>
                    <a:pt x="50" y="112"/>
                  </a:lnTo>
                  <a:lnTo>
                    <a:pt x="56" y="114"/>
                  </a:lnTo>
                  <a:lnTo>
                    <a:pt x="62" y="116"/>
                  </a:lnTo>
                  <a:lnTo>
                    <a:pt x="68" y="118"/>
                  </a:lnTo>
                  <a:lnTo>
                    <a:pt x="74" y="120"/>
                  </a:lnTo>
                  <a:lnTo>
                    <a:pt x="80" y="122"/>
                  </a:lnTo>
                  <a:lnTo>
                    <a:pt x="86" y="124"/>
                  </a:lnTo>
                  <a:lnTo>
                    <a:pt x="92" y="128"/>
                  </a:lnTo>
                  <a:lnTo>
                    <a:pt x="86" y="122"/>
                  </a:lnTo>
                  <a:lnTo>
                    <a:pt x="92" y="118"/>
                  </a:lnTo>
                  <a:lnTo>
                    <a:pt x="96" y="118"/>
                  </a:lnTo>
                  <a:lnTo>
                    <a:pt x="100" y="124"/>
                  </a:lnTo>
                  <a:lnTo>
                    <a:pt x="106" y="128"/>
                  </a:lnTo>
                  <a:lnTo>
                    <a:pt x="112" y="132"/>
                  </a:lnTo>
                  <a:lnTo>
                    <a:pt x="108" y="126"/>
                  </a:lnTo>
                  <a:lnTo>
                    <a:pt x="102" y="122"/>
                  </a:lnTo>
                  <a:lnTo>
                    <a:pt x="108" y="120"/>
                  </a:lnTo>
                  <a:lnTo>
                    <a:pt x="114" y="122"/>
                  </a:lnTo>
                  <a:lnTo>
                    <a:pt x="120" y="126"/>
                  </a:lnTo>
                  <a:lnTo>
                    <a:pt x="126" y="124"/>
                  </a:lnTo>
                  <a:lnTo>
                    <a:pt x="132" y="128"/>
                  </a:lnTo>
                  <a:lnTo>
                    <a:pt x="138" y="130"/>
                  </a:lnTo>
                  <a:lnTo>
                    <a:pt x="140" y="136"/>
                  </a:lnTo>
                  <a:lnTo>
                    <a:pt x="136" y="142"/>
                  </a:lnTo>
                  <a:lnTo>
                    <a:pt x="142" y="136"/>
                  </a:lnTo>
                  <a:lnTo>
                    <a:pt x="148" y="138"/>
                  </a:lnTo>
                  <a:lnTo>
                    <a:pt x="144" y="132"/>
                  </a:lnTo>
                  <a:lnTo>
                    <a:pt x="150" y="130"/>
                  </a:lnTo>
                  <a:lnTo>
                    <a:pt x="152" y="130"/>
                  </a:lnTo>
                  <a:lnTo>
                    <a:pt x="146" y="126"/>
                  </a:lnTo>
                  <a:lnTo>
                    <a:pt x="140" y="126"/>
                  </a:lnTo>
                  <a:lnTo>
                    <a:pt x="134" y="122"/>
                  </a:lnTo>
                  <a:lnTo>
                    <a:pt x="130" y="120"/>
                  </a:lnTo>
                  <a:lnTo>
                    <a:pt x="122" y="118"/>
                  </a:lnTo>
                  <a:lnTo>
                    <a:pt x="116" y="116"/>
                  </a:lnTo>
                  <a:lnTo>
                    <a:pt x="110" y="114"/>
                  </a:lnTo>
                  <a:lnTo>
                    <a:pt x="106" y="114"/>
                  </a:lnTo>
                  <a:lnTo>
                    <a:pt x="98" y="112"/>
                  </a:lnTo>
                  <a:lnTo>
                    <a:pt x="92" y="110"/>
                  </a:lnTo>
                  <a:lnTo>
                    <a:pt x="90" y="108"/>
                  </a:lnTo>
                  <a:lnTo>
                    <a:pt x="84" y="104"/>
                  </a:lnTo>
                  <a:lnTo>
                    <a:pt x="80" y="98"/>
                  </a:lnTo>
                  <a:lnTo>
                    <a:pt x="74" y="92"/>
                  </a:lnTo>
                  <a:lnTo>
                    <a:pt x="68" y="86"/>
                  </a:lnTo>
                  <a:lnTo>
                    <a:pt x="74" y="82"/>
                  </a:lnTo>
                  <a:lnTo>
                    <a:pt x="76" y="80"/>
                  </a:lnTo>
                  <a:lnTo>
                    <a:pt x="82" y="78"/>
                  </a:lnTo>
                  <a:lnTo>
                    <a:pt x="88" y="76"/>
                  </a:lnTo>
                  <a:lnTo>
                    <a:pt x="94" y="74"/>
                  </a:lnTo>
                  <a:lnTo>
                    <a:pt x="100" y="70"/>
                  </a:lnTo>
                  <a:lnTo>
                    <a:pt x="100" y="64"/>
                  </a:lnTo>
                  <a:lnTo>
                    <a:pt x="96" y="58"/>
                  </a:lnTo>
                  <a:lnTo>
                    <a:pt x="92" y="56"/>
                  </a:lnTo>
                  <a:lnTo>
                    <a:pt x="86" y="56"/>
                  </a:lnTo>
                  <a:lnTo>
                    <a:pt x="80" y="56"/>
                  </a:lnTo>
                  <a:lnTo>
                    <a:pt x="74" y="58"/>
                  </a:lnTo>
                  <a:lnTo>
                    <a:pt x="68" y="58"/>
                  </a:lnTo>
                  <a:lnTo>
                    <a:pt x="66" y="60"/>
                  </a:lnTo>
                  <a:lnTo>
                    <a:pt x="60" y="64"/>
                  </a:lnTo>
                  <a:lnTo>
                    <a:pt x="54" y="64"/>
                  </a:lnTo>
                  <a:lnTo>
                    <a:pt x="48" y="60"/>
                  </a:lnTo>
                  <a:lnTo>
                    <a:pt x="42" y="58"/>
                  </a:lnTo>
                  <a:lnTo>
                    <a:pt x="38" y="54"/>
                  </a:lnTo>
                  <a:close/>
                </a:path>
              </a:pathLst>
            </a:custGeom>
            <a:grpFill/>
            <a:ln>
              <a:noFill/>
            </a:ln>
          </p:spPr>
          <p:txBody>
            <a:bodyPr/>
            <a:lstStyle/>
            <a:p>
              <a:pPr>
                <a:lnSpc>
                  <a:spcPts val="1800"/>
                </a:lnSpc>
                <a:spcBef>
                  <a:spcPct val="50000"/>
                </a:spcBef>
                <a:buClr>
                  <a:srgbClr val="E20074"/>
                </a:buClr>
                <a:buSzPct val="75000"/>
                <a:buFont typeface="Wingdings" pitchFamily="2" charset="2"/>
                <a:buNone/>
                <a:defRPr/>
              </a:pPr>
              <a:endParaRPr lang="en-US">
                <a:solidFill>
                  <a:srgbClr val="FFFFFF"/>
                </a:solidFill>
                <a:latin typeface="Tele-GroteskFet" pitchFamily="2" charset="0"/>
              </a:endParaRPr>
            </a:p>
          </p:txBody>
        </p:sp>
      </p:grpSp>
      <p:sp>
        <p:nvSpPr>
          <p:cNvPr id="357413" name="Rectangle 4"/>
          <p:cNvSpPr>
            <a:spLocks noChangeArrowheads="1"/>
          </p:cNvSpPr>
          <p:nvPr/>
        </p:nvSpPr>
        <p:spPr bwMode="auto">
          <a:xfrm>
            <a:off x="292100" y="5505450"/>
            <a:ext cx="8601075" cy="376238"/>
          </a:xfrm>
          <a:prstGeom prst="rect">
            <a:avLst/>
          </a:prstGeom>
          <a:solidFill>
            <a:schemeClr val="tx2"/>
          </a:solidFill>
          <a:ln w="9525">
            <a:noFill/>
            <a:miter lim="800000"/>
            <a:headEnd/>
            <a:tailEnd/>
          </a:ln>
        </p:spPr>
        <p:txBody>
          <a:bodyPr lIns="144000" tIns="72000" rIns="144000" bIns="72000">
            <a:spAutoFit/>
          </a:bodyPr>
          <a:lstStyle/>
          <a:p>
            <a:pPr algn="ctr">
              <a:lnSpc>
                <a:spcPts val="1800"/>
              </a:lnSpc>
              <a:spcBef>
                <a:spcPct val="50000"/>
              </a:spcBef>
              <a:buClr>
                <a:srgbClr val="E20074"/>
              </a:buClr>
              <a:buSzPct val="75000"/>
              <a:buFont typeface="Wingdings" pitchFamily="2" charset="2"/>
              <a:buNone/>
            </a:pPr>
            <a:r>
              <a:rPr lang="en-US">
                <a:solidFill>
                  <a:srgbClr val="FFFFFF"/>
                </a:solidFill>
              </a:rPr>
              <a:t>Start-ups &amp; Industry partners</a:t>
            </a:r>
          </a:p>
        </p:txBody>
      </p:sp>
      <p:sp>
        <p:nvSpPr>
          <p:cNvPr id="357414" name="AutoShape 29"/>
          <p:cNvSpPr>
            <a:spLocks noChangeArrowheads="1"/>
          </p:cNvSpPr>
          <p:nvPr/>
        </p:nvSpPr>
        <p:spPr bwMode="gray">
          <a:xfrm>
            <a:off x="314325" y="1393825"/>
            <a:ext cx="4121150" cy="1952625"/>
          </a:xfrm>
          <a:prstGeom prst="roundRect">
            <a:avLst>
              <a:gd name="adj" fmla="val 2426"/>
            </a:avLst>
          </a:prstGeom>
          <a:noFill/>
          <a:ln w="9525">
            <a:noFill/>
            <a:round/>
            <a:headEnd/>
            <a:tailEnd/>
          </a:ln>
        </p:spPr>
        <p:txBody>
          <a:bodyPr lIns="90000" tIns="396000" rIns="54000" bIns="0"/>
          <a:lstStyle/>
          <a:p>
            <a:pPr marL="180975" indent="-180975">
              <a:lnSpc>
                <a:spcPts val="1800"/>
              </a:lnSpc>
              <a:spcBef>
                <a:spcPts val="300"/>
              </a:spcBef>
              <a:buClr>
                <a:srgbClr val="E20074"/>
              </a:buClr>
              <a:buSzPct val="75000"/>
              <a:buFont typeface="Wingdings" pitchFamily="2" charset="2"/>
              <a:buChar char="§"/>
              <a:tabLst>
                <a:tab pos="180975" algn="l"/>
              </a:tabLst>
            </a:pPr>
            <a:r>
              <a:rPr lang="en-US" sz="1600">
                <a:solidFill>
                  <a:srgbClr val="000000"/>
                </a:solidFill>
              </a:rPr>
              <a:t>Focus on scientific research</a:t>
            </a:r>
          </a:p>
          <a:p>
            <a:pPr marL="446088" lvl="1" indent="-84138">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Six professorships in universities in Berlin</a:t>
            </a:r>
          </a:p>
          <a:p>
            <a:pPr marL="446088" lvl="1" indent="-84138">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More than 150 high-potentials from around the globe</a:t>
            </a:r>
          </a:p>
          <a:p>
            <a:pPr marL="180975" indent="-180975">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Leading edge competence:</a:t>
            </a:r>
          </a:p>
          <a:p>
            <a:pPr marL="446088" lvl="1" indent="-84138">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250 publications per year, 1 patent per week</a:t>
            </a:r>
          </a:p>
          <a:p>
            <a:pPr marL="446088" lvl="1" indent="-84138">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One award per month, e.g. Scientific </a:t>
            </a:r>
            <a:br>
              <a:rPr lang="en-US" sz="1400">
                <a:solidFill>
                  <a:srgbClr val="000000"/>
                </a:solidFill>
              </a:rPr>
            </a:br>
            <a:r>
              <a:rPr lang="en-US" sz="1400">
                <a:solidFill>
                  <a:srgbClr val="000000"/>
                </a:solidFill>
              </a:rPr>
              <a:t>Leibnitz Award in 2011</a:t>
            </a:r>
          </a:p>
        </p:txBody>
      </p:sp>
      <p:sp>
        <p:nvSpPr>
          <p:cNvPr id="21522" name="AutoShape 29"/>
          <p:cNvSpPr>
            <a:spLocks noChangeArrowheads="1"/>
          </p:cNvSpPr>
          <p:nvPr/>
        </p:nvSpPr>
        <p:spPr bwMode="gray">
          <a:xfrm>
            <a:off x="4762500" y="1393825"/>
            <a:ext cx="4094163" cy="2236788"/>
          </a:xfrm>
          <a:prstGeom prst="roundRect">
            <a:avLst>
              <a:gd name="adj" fmla="val 2426"/>
            </a:avLst>
          </a:prstGeom>
          <a:noFill/>
          <a:ln>
            <a:noFill/>
          </a:ln>
          <a:extLst>
            <a:ext uri="{909E8E84-426E-40DD-AFC4-6F175D3DCCD1}"/>
            <a:ext uri="{91240B29-F687-4F45-9708-019B960494DF}"/>
          </a:extLst>
        </p:spPr>
        <p:txBody>
          <a:bodyPr lIns="90000" tIns="396000" rIns="54000" bIns="0"/>
          <a:lstStyle/>
          <a:p>
            <a:pPr marL="176213" indent="-176213">
              <a:lnSpc>
                <a:spcPts val="1800"/>
              </a:lnSpc>
              <a:spcBef>
                <a:spcPts val="300"/>
              </a:spcBef>
              <a:buClr>
                <a:srgbClr val="E20074"/>
              </a:buClr>
              <a:buSzPct val="75000"/>
              <a:buFont typeface="Wingdings" pitchFamily="2" charset="2"/>
              <a:buChar char="§"/>
              <a:tabLst>
                <a:tab pos="176213" algn="l"/>
              </a:tabLst>
              <a:defRPr/>
            </a:pPr>
            <a:r>
              <a:rPr lang="en-US" sz="1600">
                <a:solidFill>
                  <a:srgbClr val="000000"/>
                </a:solidFill>
                <a:latin typeface="Tele-GroteskFet" pitchFamily="2" charset="0"/>
              </a:rPr>
              <a:t>Focus on 7 key topics</a:t>
            </a:r>
          </a:p>
          <a:p>
            <a:pPr marL="358775" lvl="1" indent="-88900">
              <a:lnSpc>
                <a:spcPts val="1800"/>
              </a:lnSpc>
              <a:spcBef>
                <a:spcPts val="300"/>
              </a:spcBef>
              <a:buClr>
                <a:srgbClr val="E20074"/>
              </a:buClr>
              <a:buSzPct val="75000"/>
              <a:buFont typeface="Wingdings" pitchFamily="2" charset="2"/>
              <a:buChar char="§"/>
              <a:tabLst>
                <a:tab pos="176213" algn="l"/>
                <a:tab pos="358775" algn="l"/>
              </a:tabLst>
              <a:defRPr/>
            </a:pPr>
            <a:r>
              <a:rPr lang="en-US" sz="1400">
                <a:solidFill>
                  <a:srgbClr val="000000"/>
                </a:solidFill>
                <a:latin typeface="Tele-GroteskFet" pitchFamily="2" charset="0"/>
              </a:rPr>
              <a:t>180 Telekom experts</a:t>
            </a:r>
          </a:p>
          <a:p>
            <a:pPr marL="358775" lvl="1" indent="-88900">
              <a:lnSpc>
                <a:spcPts val="1800"/>
              </a:lnSpc>
              <a:spcBef>
                <a:spcPts val="300"/>
              </a:spcBef>
              <a:buClr>
                <a:srgbClr val="E20074"/>
              </a:buClr>
              <a:buSzPct val="75000"/>
              <a:buFont typeface="Wingdings" pitchFamily="2" charset="2"/>
              <a:buChar char="§"/>
              <a:tabLst>
                <a:tab pos="176213" algn="l"/>
                <a:tab pos="358775" algn="l"/>
              </a:tabLst>
              <a:defRPr/>
            </a:pPr>
            <a:r>
              <a:rPr lang="en-US" sz="1400">
                <a:solidFill>
                  <a:srgbClr val="000000"/>
                </a:solidFill>
                <a:latin typeface="Tele-GroteskFet" pitchFamily="2" charset="0"/>
              </a:rPr>
              <a:t>Competences all across the Telco value chain</a:t>
            </a:r>
          </a:p>
          <a:p>
            <a:pPr marL="358775" indent="-88900">
              <a:lnSpc>
                <a:spcPts val="1800"/>
              </a:lnSpc>
              <a:spcBef>
                <a:spcPts val="300"/>
              </a:spcBef>
              <a:buClr>
                <a:srgbClr val="E20074"/>
              </a:buClr>
              <a:buSzPct val="75000"/>
              <a:buFont typeface="Wingdings" pitchFamily="2" charset="2"/>
              <a:buChar char="§"/>
              <a:tabLst>
                <a:tab pos="176213" algn="l"/>
                <a:tab pos="358775" algn="l"/>
              </a:tabLst>
              <a:defRPr/>
            </a:pPr>
            <a:r>
              <a:rPr lang="en-US" sz="1400">
                <a:solidFill>
                  <a:srgbClr val="000000"/>
                </a:solidFill>
                <a:latin typeface="Tele-GroteskFet" pitchFamily="2" charset="0"/>
              </a:rPr>
              <a:t>Impact orientation:</a:t>
            </a:r>
          </a:p>
          <a:p>
            <a:pPr marL="808038" lvl="2" indent="-88900">
              <a:lnSpc>
                <a:spcPts val="1800"/>
              </a:lnSpc>
              <a:spcBef>
                <a:spcPct val="10000"/>
              </a:spcBef>
              <a:buClr>
                <a:srgbClr val="E20074"/>
              </a:buClr>
              <a:buSzPct val="75000"/>
              <a:buFont typeface="Wingdings" pitchFamily="2" charset="2"/>
              <a:buChar char="§"/>
              <a:tabLst>
                <a:tab pos="176213" algn="l"/>
                <a:tab pos="182563" algn="l"/>
              </a:tabLst>
              <a:defRPr/>
            </a:pPr>
            <a:r>
              <a:rPr lang="en-US" sz="1400">
                <a:solidFill>
                  <a:srgbClr val="000000"/>
                </a:solidFill>
                <a:latin typeface="Tele-GroteskFet" pitchFamily="2" charset="0"/>
              </a:rPr>
              <a:t>Gravity core for Telekom innovations in the double digit billions</a:t>
            </a:r>
          </a:p>
          <a:p>
            <a:pPr marL="1433513" lvl="3" indent="-88900">
              <a:lnSpc>
                <a:spcPts val="1800"/>
              </a:lnSpc>
              <a:spcBef>
                <a:spcPct val="10000"/>
              </a:spcBef>
              <a:buClr>
                <a:srgbClr val="E20074"/>
              </a:buClr>
              <a:buSzPct val="75000"/>
              <a:buFont typeface="Wingdings" pitchFamily="2" charset="2"/>
              <a:buChar char="§"/>
              <a:tabLst>
                <a:tab pos="176213" algn="l"/>
                <a:tab pos="182563" algn="l"/>
              </a:tabLst>
              <a:defRPr/>
            </a:pPr>
            <a:r>
              <a:rPr lang="en-US" sz="1400">
                <a:solidFill>
                  <a:srgbClr val="000000"/>
                </a:solidFill>
                <a:latin typeface="Tele-GroteskFet" pitchFamily="2" charset="0"/>
              </a:rPr>
              <a:t>Close cooperation with all business units of Deutsche Telekom</a:t>
            </a:r>
          </a:p>
        </p:txBody>
      </p:sp>
      <p:sp>
        <p:nvSpPr>
          <p:cNvPr id="357416" name="AutoShape 29"/>
          <p:cNvSpPr>
            <a:spLocks noChangeArrowheads="1"/>
          </p:cNvSpPr>
          <p:nvPr/>
        </p:nvSpPr>
        <p:spPr bwMode="gray">
          <a:xfrm>
            <a:off x="2916238" y="3598863"/>
            <a:ext cx="5237162" cy="1943100"/>
          </a:xfrm>
          <a:prstGeom prst="roundRect">
            <a:avLst>
              <a:gd name="adj" fmla="val 2426"/>
            </a:avLst>
          </a:prstGeom>
          <a:noFill/>
          <a:ln w="9525">
            <a:noFill/>
            <a:round/>
            <a:headEnd/>
            <a:tailEnd/>
          </a:ln>
        </p:spPr>
        <p:txBody>
          <a:bodyPr lIns="90000" tIns="396000" rIns="54000" bIns="0"/>
          <a:lstStyle/>
          <a:p>
            <a:pPr marL="180975" indent="-180975">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cs typeface="Times New Roman" pitchFamily="18" charset="0"/>
              </a:rPr>
              <a:t>Push results of the Open Innovation ideas</a:t>
            </a:r>
          </a:p>
          <a:p>
            <a:pPr marL="638175" lvl="1" indent="-180975">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Worldwide j</a:t>
            </a:r>
            <a:r>
              <a:rPr lang="en-US" sz="1400">
                <a:solidFill>
                  <a:srgbClr val="000000"/>
                </a:solidFill>
                <a:cs typeface="Times New Roman" pitchFamily="18" charset="0"/>
              </a:rPr>
              <a:t>oint innovation with SAP, </a:t>
            </a:r>
            <a:br>
              <a:rPr lang="en-US" sz="1400">
                <a:solidFill>
                  <a:srgbClr val="000000"/>
                </a:solidFill>
                <a:cs typeface="Times New Roman" pitchFamily="18" charset="0"/>
              </a:rPr>
            </a:br>
            <a:r>
              <a:rPr lang="en-US" sz="1400">
                <a:solidFill>
                  <a:srgbClr val="000000"/>
                </a:solidFill>
                <a:cs typeface="Times New Roman" pitchFamily="18" charset="0"/>
              </a:rPr>
              <a:t>Bell Labs, Ericsson, BMW, etc.</a:t>
            </a:r>
            <a:endParaRPr lang="en-US" sz="1400">
              <a:solidFill>
                <a:srgbClr val="000000"/>
              </a:solidFill>
            </a:endParaRPr>
          </a:p>
          <a:p>
            <a:pPr marL="638175" lvl="1" indent="-180975">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rPr>
              <a:t>Start-up network (Berlin, Silicon Valley, Israel)</a:t>
            </a:r>
          </a:p>
          <a:p>
            <a:pPr marL="180975" indent="-180975">
              <a:lnSpc>
                <a:spcPts val="1800"/>
              </a:lnSpc>
              <a:spcBef>
                <a:spcPts val="300"/>
              </a:spcBef>
              <a:buClr>
                <a:srgbClr val="E20074"/>
              </a:buClr>
              <a:buSzPct val="75000"/>
              <a:buFont typeface="Wingdings" pitchFamily="2" charset="2"/>
              <a:buChar char="§"/>
              <a:tabLst>
                <a:tab pos="180975" algn="l"/>
              </a:tabLst>
            </a:pPr>
            <a:r>
              <a:rPr lang="en-US" sz="1400">
                <a:solidFill>
                  <a:srgbClr val="000000"/>
                </a:solidFill>
                <a:cs typeface="Times New Roman" pitchFamily="18" charset="0"/>
              </a:rPr>
              <a:t>Track record of  new ventures – Trust2Core, SureNow</a:t>
            </a:r>
            <a:br>
              <a:rPr lang="en-US" sz="1400">
                <a:solidFill>
                  <a:srgbClr val="000000"/>
                </a:solidFill>
                <a:cs typeface="Times New Roman" pitchFamily="18" charset="0"/>
              </a:rPr>
            </a:br>
            <a:r>
              <a:rPr lang="en-US" sz="1400">
                <a:solidFill>
                  <a:srgbClr val="000000"/>
                </a:solidFill>
                <a:cs typeface="Times New Roman" pitchFamily="18" charset="0"/>
              </a:rPr>
              <a:t>QiSec, Zimory, Youchoose, Spotlight , etc.</a:t>
            </a:r>
          </a:p>
        </p:txBody>
      </p:sp>
      <p:sp>
        <p:nvSpPr>
          <p:cNvPr id="357417" name="Rectangle 4"/>
          <p:cNvSpPr>
            <a:spLocks noChangeArrowheads="1"/>
          </p:cNvSpPr>
          <p:nvPr/>
        </p:nvSpPr>
        <p:spPr bwMode="auto">
          <a:xfrm>
            <a:off x="4718050" y="1381125"/>
            <a:ext cx="4194175" cy="376238"/>
          </a:xfrm>
          <a:prstGeom prst="rect">
            <a:avLst/>
          </a:prstGeom>
          <a:solidFill>
            <a:schemeClr val="tx2"/>
          </a:solidFill>
          <a:ln w="9525">
            <a:noFill/>
            <a:miter lim="800000"/>
            <a:headEnd/>
            <a:tailEnd/>
          </a:ln>
        </p:spPr>
        <p:txBody>
          <a:bodyPr lIns="144000" tIns="72000" rIns="144000" bIns="72000">
            <a:spAutoFit/>
          </a:bodyPr>
          <a:lstStyle/>
          <a:p>
            <a:pPr algn="ctr">
              <a:lnSpc>
                <a:spcPts val="1800"/>
              </a:lnSpc>
              <a:spcBef>
                <a:spcPct val="50000"/>
              </a:spcBef>
              <a:buClr>
                <a:srgbClr val="E20074"/>
              </a:buClr>
              <a:buSzPct val="75000"/>
              <a:buFont typeface="Wingdings" pitchFamily="2" charset="2"/>
              <a:buNone/>
            </a:pPr>
            <a:r>
              <a:rPr lang="en-US">
                <a:solidFill>
                  <a:srgbClr val="FFFFFF"/>
                </a:solidFill>
              </a:rPr>
              <a:t>Innovation Development</a:t>
            </a: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7631"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67631" name="think-cell Folie" r:id="rId5" imgW="360" imgH="360" progId="">
              <p:embed/>
            </p:oleObj>
          </a:graphicData>
        </a:graphic>
      </p:graphicFrame>
      <p:sp>
        <p:nvSpPr>
          <p:cNvPr id="367633" name="Rectangle 1037"/>
          <p:cNvSpPr>
            <a:spLocks noGrp="1"/>
          </p:cNvSpPr>
          <p:nvPr>
            <p:ph type="ctrTitle"/>
          </p:nvPr>
        </p:nvSpPr>
        <p:spPr>
          <a:xfrm>
            <a:off x="304800" y="1773238"/>
            <a:ext cx="8496300" cy="1828800"/>
          </a:xfrm>
        </p:spPr>
        <p:txBody>
          <a:bodyPr/>
          <a:lstStyle/>
          <a:p>
            <a:pPr eaLnBrk="1" hangingPunct="1"/>
            <a:r>
              <a:rPr sz="4400">
                <a:latin typeface="TeleGrotesk Headline Ultra"/>
                <a:cs typeface="TeleGrotesk Headline Ultra"/>
              </a:rPr>
              <a:t>THE EU Notion</a:t>
            </a:r>
            <a:br>
              <a:rPr sz="4400">
                <a:latin typeface="TeleGrotesk Headline Ultra"/>
                <a:cs typeface="TeleGrotesk Headline Ultra"/>
              </a:rPr>
            </a:br>
            <a:r>
              <a:rPr sz="4400">
                <a:latin typeface="TeleGrotesk Headline"/>
                <a:cs typeface="TeleGrotesk Headline Ultra"/>
              </a:rPr>
              <a:t>AND</a:t>
            </a:r>
            <a:r>
              <a:rPr sz="4400">
                <a:latin typeface="TeleGrotesk Headline Ultra"/>
                <a:cs typeface="TeleGrotesk Headline Ultra"/>
              </a:rPr>
              <a:t/>
            </a:r>
            <a:br>
              <a:rPr sz="4400">
                <a:latin typeface="TeleGrotesk Headline Ultra"/>
                <a:cs typeface="TeleGrotesk Headline Ultra"/>
              </a:rPr>
            </a:br>
            <a:r>
              <a:rPr sz="4400">
                <a:latin typeface="TeleGrotesk Headline Ultra"/>
                <a:cs typeface="TeleGrotesk Headline Ultra"/>
              </a:rPr>
              <a:t>AN ICT View</a:t>
            </a:r>
            <a:endParaRPr lang="en-US" sz="4400">
              <a:latin typeface="TeleGrotesk Headline"/>
              <a:cs typeface="TeleGrotesk Headline Ultra"/>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58422" name="Object 22"/>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58422" name="think-cell Folie" r:id="rId5" imgW="360" imgH="360" progId="">
              <p:embed/>
            </p:oleObj>
          </a:graphicData>
        </a:graphic>
      </p:graphicFrame>
      <p:sp>
        <p:nvSpPr>
          <p:cNvPr id="358424" name="Datumsplatzhalter 3"/>
          <p:cNvSpPr>
            <a:spLocks noGrp="1"/>
          </p:cNvSpPr>
          <p:nvPr>
            <p:ph type="dt" sz="quarter" idx="10"/>
          </p:nvPr>
        </p:nvSpPr>
        <p:spPr>
          <a:xfrm>
            <a:off x="6804025" y="6430963"/>
            <a:ext cx="1800225" cy="139700"/>
          </a:xfrm>
          <a:noFill/>
        </p:spPr>
        <p:txBody>
          <a:bodyPr/>
          <a:lstStyle/>
          <a:p>
            <a:fld id="{62995F2E-D40C-4053-A516-5BF07E5B7F08}" type="datetime1">
              <a:rPr lang="en-US" smtClean="0">
                <a:latin typeface="Tele-GroteskNor"/>
              </a:rPr>
              <a:pPr/>
              <a:t>9/11/2013</a:t>
            </a:fld>
            <a:endParaRPr lang="en-US" smtClean="0">
              <a:latin typeface="Tele-GroteskNor"/>
            </a:endParaRPr>
          </a:p>
        </p:txBody>
      </p:sp>
      <p:sp>
        <p:nvSpPr>
          <p:cNvPr id="358425" name="Foliennummernplatzhalter 5"/>
          <p:cNvSpPr>
            <a:spLocks noGrp="1"/>
          </p:cNvSpPr>
          <p:nvPr>
            <p:ph type="sldNum" sz="quarter" idx="12"/>
          </p:nvPr>
        </p:nvSpPr>
        <p:spPr>
          <a:xfrm>
            <a:off x="8540750" y="6430963"/>
            <a:ext cx="288925" cy="139700"/>
          </a:xfrm>
          <a:noFill/>
        </p:spPr>
        <p:txBody>
          <a:bodyPr/>
          <a:lstStyle/>
          <a:p>
            <a:fld id="{3A5C1EFD-196C-4898-84EC-797D7084D8AF}" type="slidenum">
              <a:rPr lang="en-US" smtClean="0">
                <a:latin typeface="Tele-GroteskNor"/>
              </a:rPr>
              <a:pPr/>
              <a:t>6</a:t>
            </a:fld>
            <a:endParaRPr lang="en-US" smtClean="0">
              <a:latin typeface="Tele-GroteskNor"/>
            </a:endParaRPr>
          </a:p>
        </p:txBody>
      </p:sp>
      <p:pic>
        <p:nvPicPr>
          <p:cNvPr id="358426" name="Picture 1093" hidden="1"/>
          <p:cNvPicPr>
            <a:picLocks noChangeAspect="1" noChangeArrowheads="1"/>
          </p:cNvPicPr>
          <p:nvPr/>
        </p:nvPicPr>
        <p:blipFill>
          <a:blip r:embed="rId6"/>
          <a:srcRect/>
          <a:stretch>
            <a:fillRect/>
          </a:stretch>
        </p:blipFill>
        <p:spPr bwMode="auto">
          <a:xfrm>
            <a:off x="1588" y="1588"/>
            <a:ext cx="1587" cy="1587"/>
          </a:xfrm>
          <a:prstGeom prst="rect">
            <a:avLst/>
          </a:prstGeom>
          <a:noFill/>
          <a:ln w="9525">
            <a:noFill/>
            <a:miter lim="800000"/>
            <a:headEnd/>
            <a:tailEnd/>
          </a:ln>
        </p:spPr>
      </p:pic>
      <p:sp>
        <p:nvSpPr>
          <p:cNvPr id="358427" name="Rectangle 1026"/>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perspectives on a Smart Sustainable City</a:t>
            </a:r>
            <a:br>
              <a:rPr lang="en-US" smtClean="0">
                <a:latin typeface="TeleGrotesk Headline Ultra"/>
                <a:cs typeface="TeleGrotesk Headline Ultra"/>
              </a:rPr>
            </a:br>
            <a:r>
              <a:rPr lang="en-US" smtClean="0">
                <a:latin typeface="TeleGrotesk Headline"/>
                <a:cs typeface="TeleGrotesk Headline Ultra"/>
              </a:rPr>
              <a:t>Holistic motivation</a:t>
            </a:r>
          </a:p>
        </p:txBody>
      </p:sp>
      <p:sp>
        <p:nvSpPr>
          <p:cNvPr id="7176" name="Rectangle 2"/>
          <p:cNvSpPr>
            <a:spLocks noChangeArrowheads="1"/>
          </p:cNvSpPr>
          <p:nvPr/>
        </p:nvSpPr>
        <p:spPr bwMode="auto">
          <a:xfrm>
            <a:off x="319088" y="1782763"/>
            <a:ext cx="4175125" cy="4275137"/>
          </a:xfrm>
          <a:prstGeom prst="rect">
            <a:avLst/>
          </a:prstGeom>
          <a:solidFill>
            <a:schemeClr val="bg1"/>
          </a:solidFill>
          <a:ln w="38100">
            <a:solidFill>
              <a:schemeClr val="tx2"/>
            </a:solidFill>
            <a:miter lim="800000"/>
            <a:headEnd/>
            <a:tailEnd/>
          </a:ln>
          <a:effectLst/>
          <a:extLst>
            <a:ext uri="{AF507438-7753-43E0-B8FC-AC1667EBCBE1}"/>
          </a:extLst>
        </p:spPr>
        <p:txBody>
          <a:bodyPr lIns="144000" tIns="540000" rIns="144000"/>
          <a:lstStyle/>
          <a:p>
            <a:pPr marL="1588" lvl="1" defTabSz="914400">
              <a:lnSpc>
                <a:spcPct val="90000"/>
              </a:lnSpc>
              <a:spcBef>
                <a:spcPct val="50000"/>
              </a:spcBef>
              <a:buClr>
                <a:schemeClr val="tx2"/>
              </a:buClr>
              <a:buSzPct val="75000"/>
              <a:buFont typeface="Wingdings" pitchFamily="2" charset="2"/>
              <a:buNone/>
              <a:defRPr/>
            </a:pPr>
            <a:r>
              <a:rPr lang="en-US" dirty="0">
                <a:latin typeface="Tele-GroteskNor" pitchFamily="2" charset="0"/>
              </a:rPr>
              <a:t>Cities require a high degree of Information and communication technology to run their infrastructures – in a sustainable way. Cities are full of people and businesses with a need for modern ICT provided by operators:</a:t>
            </a:r>
          </a:p>
          <a:p>
            <a:pPr marL="287338" lvl="1" indent="-285750" defTabSz="914400">
              <a:lnSpc>
                <a:spcPct val="90000"/>
              </a:lnSpc>
              <a:spcBef>
                <a:spcPct val="50000"/>
              </a:spcBef>
              <a:buClr>
                <a:schemeClr val="tx2"/>
              </a:buClr>
              <a:buSzPct val="75000"/>
              <a:buFont typeface="Wingdings" pitchFamily="2" charset="2"/>
              <a:buChar char="§"/>
              <a:defRPr/>
            </a:pPr>
            <a:r>
              <a:rPr lang="en-US" dirty="0">
                <a:latin typeface="Tele-GroteskNor" pitchFamily="2" charset="0"/>
              </a:rPr>
              <a:t>Connectivity</a:t>
            </a:r>
          </a:p>
          <a:p>
            <a:pPr marL="287338" lvl="1" indent="-285750" defTabSz="914400">
              <a:lnSpc>
                <a:spcPct val="90000"/>
              </a:lnSpc>
              <a:spcBef>
                <a:spcPct val="50000"/>
              </a:spcBef>
              <a:buClr>
                <a:schemeClr val="tx2"/>
              </a:buClr>
              <a:buSzPct val="75000"/>
              <a:buFont typeface="Wingdings" pitchFamily="2" charset="2"/>
              <a:buChar char="§"/>
              <a:defRPr/>
            </a:pPr>
            <a:r>
              <a:rPr lang="en-US" dirty="0">
                <a:latin typeface="Tele-GroteskNor" pitchFamily="2" charset="0"/>
              </a:rPr>
              <a:t>Cloud IT and services</a:t>
            </a:r>
          </a:p>
          <a:p>
            <a:pPr marL="287338" lvl="1" indent="-285750" defTabSz="914400">
              <a:lnSpc>
                <a:spcPct val="90000"/>
              </a:lnSpc>
              <a:spcBef>
                <a:spcPct val="50000"/>
              </a:spcBef>
              <a:buClr>
                <a:schemeClr val="tx2"/>
              </a:buClr>
              <a:buSzPct val="75000"/>
              <a:buFont typeface="Wingdings" pitchFamily="2" charset="2"/>
              <a:buChar char="§"/>
              <a:defRPr/>
            </a:pPr>
            <a:r>
              <a:rPr lang="en-US" dirty="0">
                <a:latin typeface="Tele-GroteskNor" pitchFamily="2" charset="0"/>
              </a:rPr>
              <a:t>Trustworthy business processes</a:t>
            </a:r>
          </a:p>
          <a:p>
            <a:pPr marL="1588" lvl="1" defTabSz="914400">
              <a:lnSpc>
                <a:spcPct val="90000"/>
              </a:lnSpc>
              <a:spcBef>
                <a:spcPct val="50000"/>
              </a:spcBef>
              <a:buClr>
                <a:schemeClr val="tx2"/>
              </a:buClr>
              <a:buSzPct val="75000"/>
              <a:buFont typeface="Wingdings" pitchFamily="2" charset="2"/>
              <a:buNone/>
              <a:defRPr/>
            </a:pPr>
            <a:r>
              <a:rPr lang="en-US" dirty="0">
                <a:latin typeface="Tele-GroteskNor" pitchFamily="2" charset="0"/>
              </a:rPr>
              <a:t>The German IT Summit has created an extended notion of </a:t>
            </a:r>
            <a:r>
              <a:rPr lang="en-US" dirty="0">
                <a:latin typeface="+mj-lt"/>
              </a:rPr>
              <a:t>Intelligent Networks </a:t>
            </a:r>
            <a:r>
              <a:rPr lang="en-US" dirty="0">
                <a:latin typeface="+mn-lt"/>
              </a:rPr>
              <a:t>which conveys the necessary means also towards Smart Cities.</a:t>
            </a:r>
          </a:p>
          <a:p>
            <a:pPr marL="1588" lvl="1" defTabSz="914400">
              <a:lnSpc>
                <a:spcPct val="90000"/>
              </a:lnSpc>
              <a:spcBef>
                <a:spcPct val="50000"/>
              </a:spcBef>
              <a:buClr>
                <a:schemeClr val="tx2"/>
              </a:buClr>
              <a:buSzPct val="75000"/>
              <a:buFont typeface="Wingdings" pitchFamily="2" charset="2"/>
              <a:buNone/>
              <a:defRPr/>
            </a:pPr>
            <a:endParaRPr lang="en-US" dirty="0">
              <a:latin typeface="Tele-GroteskNor" pitchFamily="2" charset="0"/>
            </a:endParaRPr>
          </a:p>
        </p:txBody>
      </p:sp>
      <p:sp>
        <p:nvSpPr>
          <p:cNvPr id="358429" name="Rectangle 4"/>
          <p:cNvSpPr>
            <a:spLocks noChangeArrowheads="1"/>
          </p:cNvSpPr>
          <p:nvPr/>
        </p:nvSpPr>
        <p:spPr bwMode="auto">
          <a:xfrm>
            <a:off x="319088" y="1774825"/>
            <a:ext cx="4175125" cy="422275"/>
          </a:xfrm>
          <a:prstGeom prst="rect">
            <a:avLst/>
          </a:prstGeom>
          <a:solidFill>
            <a:schemeClr val="tx2"/>
          </a:solidFill>
          <a:ln w="9525">
            <a:noFill/>
            <a:miter lim="800000"/>
            <a:headEnd/>
            <a:tailEnd/>
          </a:ln>
        </p:spPr>
        <p:txBody>
          <a:bodyPr lIns="144000" tIns="72000" rIns="144000" bIns="72000">
            <a:spAutoFit/>
          </a:bodyPr>
          <a:lstStyle/>
          <a:p>
            <a:pPr defTabSz="914400">
              <a:lnSpc>
                <a:spcPct val="90000"/>
              </a:lnSpc>
              <a:spcBef>
                <a:spcPct val="50000"/>
              </a:spcBef>
              <a:buSzPct val="75000"/>
            </a:pPr>
            <a:r>
              <a:rPr lang="en-US" sz="2000">
                <a:solidFill>
                  <a:schemeClr val="bg1"/>
                </a:solidFill>
                <a:cs typeface="Arial" charset="0"/>
              </a:rPr>
              <a:t>Operator excellence</a:t>
            </a:r>
          </a:p>
        </p:txBody>
      </p:sp>
      <p:sp>
        <p:nvSpPr>
          <p:cNvPr id="358430" name="Rectangle 2"/>
          <p:cNvSpPr>
            <a:spLocks noChangeArrowheads="1"/>
          </p:cNvSpPr>
          <p:nvPr/>
        </p:nvSpPr>
        <p:spPr bwMode="auto">
          <a:xfrm>
            <a:off x="4654550" y="1790700"/>
            <a:ext cx="4175125" cy="4275138"/>
          </a:xfrm>
          <a:prstGeom prst="rect">
            <a:avLst/>
          </a:prstGeom>
          <a:solidFill>
            <a:schemeClr val="bg1"/>
          </a:solidFill>
          <a:ln w="38100">
            <a:solidFill>
              <a:schemeClr val="tx2"/>
            </a:solidFill>
            <a:miter lim="800000"/>
            <a:headEnd/>
            <a:tailEnd/>
          </a:ln>
        </p:spPr>
        <p:txBody>
          <a:bodyPr lIns="144000" tIns="540000" rIns="144000"/>
          <a:lstStyle/>
          <a:p>
            <a:pPr marL="1588" lvl="1" defTabSz="914400">
              <a:lnSpc>
                <a:spcPct val="90000"/>
              </a:lnSpc>
              <a:spcBef>
                <a:spcPct val="50000"/>
              </a:spcBef>
              <a:buClr>
                <a:schemeClr val="tx2"/>
              </a:buClr>
              <a:buSzPct val="75000"/>
              <a:buFont typeface="Wingdings" pitchFamily="2" charset="2"/>
              <a:buNone/>
            </a:pPr>
            <a:r>
              <a:rPr lang="en-US">
                <a:latin typeface="Tele-GroteskNor"/>
              </a:rPr>
              <a:t>A Smart City is a city well performing in six characteristics, built on the ‘smart’ combination of endowments and activities of self-decisive, independent and aware citizens. </a:t>
            </a:r>
          </a:p>
          <a:p>
            <a:pPr marL="1588" lvl="1" defTabSz="914400">
              <a:lnSpc>
                <a:spcPct val="90000"/>
              </a:lnSpc>
              <a:spcBef>
                <a:spcPct val="50000"/>
              </a:spcBef>
              <a:buClr>
                <a:schemeClr val="tx2"/>
              </a:buClr>
              <a:buSzPct val="75000"/>
              <a:buFont typeface="Wingdings" pitchFamily="2" charset="2"/>
              <a:buNone/>
            </a:pPr>
            <a:endParaRPr lang="en-US">
              <a:latin typeface="Tele-GroteskNor"/>
            </a:endParaRPr>
          </a:p>
          <a:p>
            <a:pPr marL="1588" lvl="1" defTabSz="914400">
              <a:lnSpc>
                <a:spcPct val="90000"/>
              </a:lnSpc>
              <a:spcBef>
                <a:spcPct val="50000"/>
              </a:spcBef>
              <a:buClr>
                <a:schemeClr val="tx2"/>
              </a:buClr>
              <a:buSzPct val="75000"/>
              <a:buFont typeface="Wingdings" pitchFamily="2" charset="2"/>
              <a:buNone/>
            </a:pPr>
            <a:endParaRPr lang="en-US">
              <a:latin typeface="Tele-GroteskNor"/>
            </a:endParaRPr>
          </a:p>
        </p:txBody>
      </p:sp>
      <p:sp>
        <p:nvSpPr>
          <p:cNvPr id="358431" name="Rectangle 4"/>
          <p:cNvSpPr>
            <a:spLocks noChangeArrowheads="1"/>
          </p:cNvSpPr>
          <p:nvPr/>
        </p:nvSpPr>
        <p:spPr bwMode="auto">
          <a:xfrm>
            <a:off x="4654550" y="1782763"/>
            <a:ext cx="4175125" cy="422275"/>
          </a:xfrm>
          <a:prstGeom prst="rect">
            <a:avLst/>
          </a:prstGeom>
          <a:solidFill>
            <a:schemeClr val="tx2"/>
          </a:solidFill>
          <a:ln w="9525">
            <a:noFill/>
            <a:miter lim="800000"/>
            <a:headEnd/>
            <a:tailEnd/>
          </a:ln>
        </p:spPr>
        <p:txBody>
          <a:bodyPr lIns="144000" tIns="72000" rIns="144000" bIns="72000">
            <a:spAutoFit/>
          </a:bodyPr>
          <a:lstStyle/>
          <a:p>
            <a:pPr defTabSz="914400">
              <a:lnSpc>
                <a:spcPct val="90000"/>
              </a:lnSpc>
              <a:spcBef>
                <a:spcPct val="50000"/>
              </a:spcBef>
              <a:buSzPct val="75000"/>
            </a:pPr>
            <a:r>
              <a:rPr lang="en-US" sz="2000">
                <a:solidFill>
                  <a:schemeClr val="bg1"/>
                </a:solidFill>
                <a:cs typeface="Arial" charset="0"/>
              </a:rPr>
              <a:t>European smart cities model</a:t>
            </a:r>
          </a:p>
        </p:txBody>
      </p:sp>
      <p:pic>
        <p:nvPicPr>
          <p:cNvPr id="358432" name="Picture 17"/>
          <p:cNvPicPr>
            <a:picLocks noChangeAspect="1" noChangeArrowheads="1"/>
          </p:cNvPicPr>
          <p:nvPr/>
        </p:nvPicPr>
        <p:blipFill>
          <a:blip r:embed="rId7"/>
          <a:srcRect/>
          <a:stretch>
            <a:fillRect/>
          </a:stretch>
        </p:blipFill>
        <p:spPr bwMode="gray">
          <a:xfrm>
            <a:off x="4979988" y="4098925"/>
            <a:ext cx="3646487" cy="1770063"/>
          </a:xfrm>
          <a:prstGeom prst="rect">
            <a:avLst/>
          </a:prstGeom>
          <a:noFill/>
          <a:ln w="9525">
            <a:noFill/>
            <a:miter lim="800000"/>
            <a:headEnd/>
            <a:tailEnd/>
          </a:ln>
        </p:spPr>
      </p:pic>
      <p:sp>
        <p:nvSpPr>
          <p:cNvPr id="358433" name="Rechteck 1"/>
          <p:cNvSpPr>
            <a:spLocks noChangeArrowheads="1"/>
          </p:cNvSpPr>
          <p:nvPr/>
        </p:nvSpPr>
        <p:spPr bwMode="auto">
          <a:xfrm>
            <a:off x="4654550" y="6000750"/>
            <a:ext cx="1550988" cy="323850"/>
          </a:xfrm>
          <a:prstGeom prst="rect">
            <a:avLst/>
          </a:prstGeom>
          <a:noFill/>
          <a:ln w="9525">
            <a:noFill/>
            <a:miter lim="800000"/>
            <a:headEnd/>
            <a:tailEnd/>
          </a:ln>
        </p:spPr>
        <p:txBody>
          <a:bodyPr wrap="none">
            <a:spAutoFit/>
          </a:bodyPr>
          <a:lstStyle/>
          <a:p>
            <a:pPr>
              <a:lnSpc>
                <a:spcPts val="1800"/>
              </a:lnSpc>
              <a:spcBef>
                <a:spcPct val="50000"/>
              </a:spcBef>
              <a:buClr>
                <a:schemeClr val="tx2"/>
              </a:buClr>
              <a:buSzPct val="75000"/>
              <a:buFont typeface="Wingdings" pitchFamily="2" charset="2"/>
              <a:buNone/>
            </a:pPr>
            <a:r>
              <a:rPr lang="en-US" sz="800"/>
              <a:t>* </a:t>
            </a:r>
            <a:r>
              <a:rPr lang="de-DE" sz="800" u="sng">
                <a:hlinkClick r:id="rId8"/>
              </a:rPr>
              <a:t>http://smart-cities.eu/model.html</a:t>
            </a:r>
            <a:endParaRPr lang="en-US" sz="80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59442" name="Object 18"/>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59442" name="think-cell Folie" r:id="rId4" imgW="360" imgH="360" progId="">
              <p:embed/>
            </p:oleObj>
          </a:graphicData>
        </a:graphic>
      </p:graphicFrame>
      <p:sp>
        <p:nvSpPr>
          <p:cNvPr id="359444" name="Title 1"/>
          <p:cNvSpPr>
            <a:spLocks noGrp="1"/>
          </p:cNvSpPr>
          <p:nvPr>
            <p:ph type="title"/>
          </p:nvPr>
        </p:nvSpPr>
        <p:spPr>
          <a:xfrm>
            <a:off x="304800" y="333375"/>
            <a:ext cx="8496300" cy="830263"/>
          </a:xfrm>
        </p:spPr>
        <p:txBody>
          <a:bodyPr/>
          <a:lstStyle/>
          <a:p>
            <a:pPr eaLnBrk="1" hangingPunct="1"/>
            <a:r>
              <a:rPr lang="en-US" smtClean="0">
                <a:latin typeface="TeleGrotesk Headline Ultra"/>
                <a:cs typeface="TeleGrotesk Headline Ultra"/>
              </a:rPr>
              <a:t>ICT provides the Intelligent Network</a:t>
            </a:r>
            <a:br>
              <a:rPr lang="en-US" smtClean="0">
                <a:latin typeface="TeleGrotesk Headline Ultra"/>
                <a:cs typeface="TeleGrotesk Headline Ultra"/>
              </a:rPr>
            </a:br>
            <a:r>
              <a:rPr lang="en-US" smtClean="0">
                <a:latin typeface="TeleGrotesk Headline"/>
                <a:cs typeface="TeleGrotesk Headline Ultra"/>
              </a:rPr>
              <a:t>Classification and overview</a:t>
            </a:r>
            <a:endParaRPr lang="en-US" smtClean="0">
              <a:latin typeface="TeleGrotesk Headline Ultra"/>
              <a:cs typeface="TeleGrotesk Headline Ultra"/>
            </a:endParaRPr>
          </a:p>
        </p:txBody>
      </p:sp>
      <p:sp>
        <p:nvSpPr>
          <p:cNvPr id="359445" name="Date Placeholder 3"/>
          <p:cNvSpPr>
            <a:spLocks noGrp="1"/>
          </p:cNvSpPr>
          <p:nvPr>
            <p:ph type="dt" sz="quarter" idx="10"/>
          </p:nvPr>
        </p:nvSpPr>
        <p:spPr>
          <a:xfrm>
            <a:off x="6804025" y="6430963"/>
            <a:ext cx="1800225" cy="139700"/>
          </a:xfrm>
          <a:noFill/>
        </p:spPr>
        <p:txBody>
          <a:bodyPr/>
          <a:lstStyle/>
          <a:p>
            <a:fld id="{F57758D8-D1D9-4C9B-9224-8549222A0787}" type="datetime1">
              <a:rPr lang="en-US" smtClean="0">
                <a:latin typeface="Tele-GroteskNor"/>
              </a:rPr>
              <a:pPr/>
              <a:t>9/11/2013</a:t>
            </a:fld>
            <a:endParaRPr lang="en-US" smtClean="0">
              <a:latin typeface="Tele-GroteskNor"/>
            </a:endParaRPr>
          </a:p>
        </p:txBody>
      </p:sp>
      <p:sp>
        <p:nvSpPr>
          <p:cNvPr id="359446" name="Slide Number Placeholder 5"/>
          <p:cNvSpPr>
            <a:spLocks noGrp="1"/>
          </p:cNvSpPr>
          <p:nvPr>
            <p:ph type="sldNum" sz="quarter" idx="12"/>
          </p:nvPr>
        </p:nvSpPr>
        <p:spPr>
          <a:xfrm>
            <a:off x="8540750" y="6430963"/>
            <a:ext cx="288925" cy="139700"/>
          </a:xfrm>
          <a:noFill/>
        </p:spPr>
        <p:txBody>
          <a:bodyPr/>
          <a:lstStyle/>
          <a:p>
            <a:fld id="{B9A060A3-B0D7-4EFD-ABBC-90677A08CAFA}" type="slidenum">
              <a:rPr lang="en-US" smtClean="0">
                <a:latin typeface="Tele-GroteskNor"/>
              </a:rPr>
              <a:pPr/>
              <a:t>7</a:t>
            </a:fld>
            <a:endParaRPr lang="en-US" smtClean="0">
              <a:latin typeface="Tele-GroteskNor"/>
            </a:endParaRPr>
          </a:p>
        </p:txBody>
      </p:sp>
      <p:sp>
        <p:nvSpPr>
          <p:cNvPr id="359447" name="Rectangle 3"/>
          <p:cNvSpPr>
            <a:spLocks noChangeArrowheads="1"/>
          </p:cNvSpPr>
          <p:nvPr/>
        </p:nvSpPr>
        <p:spPr bwMode="auto">
          <a:xfrm>
            <a:off x="315913" y="1766888"/>
            <a:ext cx="3951287" cy="4275137"/>
          </a:xfrm>
          <a:prstGeom prst="rect">
            <a:avLst/>
          </a:prstGeom>
          <a:solidFill>
            <a:schemeClr val="bg1"/>
          </a:solidFill>
          <a:ln w="38100">
            <a:solidFill>
              <a:schemeClr val="tx2"/>
            </a:solidFill>
            <a:miter lim="800000"/>
            <a:headEnd/>
            <a:tailEnd/>
          </a:ln>
        </p:spPr>
        <p:txBody>
          <a:bodyPr lIns="144000" tIns="792000" rIns="144000"/>
          <a:lstStyle/>
          <a:p>
            <a:pPr marL="182563" lvl="1" indent="-180975" defTabSz="914400">
              <a:lnSpc>
                <a:spcPct val="90000"/>
              </a:lnSpc>
              <a:spcBef>
                <a:spcPct val="25000"/>
              </a:spcBef>
              <a:buClr>
                <a:schemeClr val="tx2"/>
              </a:buClr>
              <a:buSzPct val="75000"/>
              <a:buFont typeface="Wingdings" pitchFamily="2" charset="2"/>
              <a:buChar char="§"/>
              <a:tabLst>
                <a:tab pos="182563" algn="l"/>
              </a:tabLst>
            </a:pPr>
            <a:r>
              <a:rPr lang="en-US">
                <a:latin typeface="Tele-GroteskNor"/>
              </a:rPr>
              <a:t>Intelligent networks are technically and in their application related to further current innovation fields.</a:t>
            </a:r>
          </a:p>
          <a:p>
            <a:pPr marL="182563" lvl="1" indent="-180975" defTabSz="914400">
              <a:lnSpc>
                <a:spcPct val="90000"/>
              </a:lnSpc>
              <a:spcBef>
                <a:spcPct val="25000"/>
              </a:spcBef>
              <a:buClr>
                <a:schemeClr val="tx2"/>
              </a:buClr>
              <a:buSzPct val="75000"/>
              <a:buFont typeface="Wingdings" pitchFamily="2" charset="2"/>
              <a:buChar char="§"/>
              <a:tabLst>
                <a:tab pos="182563" algn="l"/>
              </a:tabLst>
            </a:pPr>
            <a:r>
              <a:rPr lang="en-US">
                <a:latin typeface="Tele-GroteskNor"/>
              </a:rPr>
              <a:t>The concept of intelligent networks must be considered in the context of manifold dynamic developments and various actors.</a:t>
            </a:r>
          </a:p>
          <a:p>
            <a:pPr marL="182563" lvl="1" indent="-180975" defTabSz="914400">
              <a:lnSpc>
                <a:spcPct val="90000"/>
              </a:lnSpc>
              <a:spcBef>
                <a:spcPct val="25000"/>
              </a:spcBef>
              <a:buClr>
                <a:schemeClr val="tx2"/>
              </a:buClr>
              <a:buSzPct val="75000"/>
              <a:buFont typeface="Wingdings" pitchFamily="2" charset="2"/>
              <a:buChar char="§"/>
              <a:tabLst>
                <a:tab pos="182563" algn="l"/>
              </a:tabLst>
            </a:pPr>
            <a:r>
              <a:rPr lang="en-US">
                <a:latin typeface="Tele-GroteskNor"/>
              </a:rPr>
              <a:t>In this sense, the theoretical and scientific basis needs to be fostered and coordinated to improve the technology-neutral build-up of intelligent networks across the industries.</a:t>
            </a:r>
          </a:p>
        </p:txBody>
      </p:sp>
      <p:sp>
        <p:nvSpPr>
          <p:cNvPr id="359448" name="Rectangle 5"/>
          <p:cNvSpPr>
            <a:spLocks noChangeArrowheads="1"/>
          </p:cNvSpPr>
          <p:nvPr/>
        </p:nvSpPr>
        <p:spPr bwMode="auto">
          <a:xfrm>
            <a:off x="315913" y="1766888"/>
            <a:ext cx="3951287" cy="700087"/>
          </a:xfrm>
          <a:prstGeom prst="rect">
            <a:avLst/>
          </a:prstGeom>
          <a:solidFill>
            <a:schemeClr val="tx2"/>
          </a:solidFill>
          <a:ln w="38100" algn="ctr">
            <a:noFill/>
            <a:miter lim="800000"/>
            <a:headEnd/>
            <a:tailEnd/>
          </a:ln>
        </p:spPr>
        <p:txBody>
          <a:bodyPr lIns="144000" tIns="72000" rIns="144000" bIns="72000">
            <a:spAutoFit/>
          </a:bodyPr>
          <a:lstStyle/>
          <a:p>
            <a:pPr>
              <a:lnSpc>
                <a:spcPct val="90000"/>
              </a:lnSpc>
              <a:spcBef>
                <a:spcPct val="25000"/>
              </a:spcBef>
            </a:pPr>
            <a:r>
              <a:rPr lang="en-US" sz="2000">
                <a:solidFill>
                  <a:schemeClr val="bg1"/>
                </a:solidFill>
                <a:cs typeface="Arial" charset="0"/>
              </a:rPr>
              <a:t>Parallel developments in the context of intelligent networks</a:t>
            </a:r>
          </a:p>
        </p:txBody>
      </p:sp>
      <p:grpSp>
        <p:nvGrpSpPr>
          <p:cNvPr id="359449" name="Group 120"/>
          <p:cNvGrpSpPr>
            <a:grpSpLocks/>
          </p:cNvGrpSpPr>
          <p:nvPr/>
        </p:nvGrpSpPr>
        <p:grpSpPr bwMode="auto">
          <a:xfrm>
            <a:off x="4833938" y="1781175"/>
            <a:ext cx="4003675" cy="4260850"/>
            <a:chOff x="4833541" y="1781946"/>
            <a:chExt cx="4004843" cy="4259872"/>
          </a:xfrm>
        </p:grpSpPr>
        <p:grpSp>
          <p:nvGrpSpPr>
            <p:cNvPr id="359451" name="Group 116"/>
            <p:cNvGrpSpPr>
              <a:grpSpLocks/>
            </p:cNvGrpSpPr>
            <p:nvPr/>
          </p:nvGrpSpPr>
          <p:grpSpPr bwMode="auto">
            <a:xfrm>
              <a:off x="4833541" y="1781946"/>
              <a:ext cx="4004843" cy="4259872"/>
              <a:chOff x="4833541" y="1781946"/>
              <a:chExt cx="4004843" cy="4259872"/>
            </a:xfrm>
          </p:grpSpPr>
          <p:grpSp>
            <p:nvGrpSpPr>
              <p:cNvPr id="359453" name="Group 107"/>
              <p:cNvGrpSpPr>
                <a:grpSpLocks/>
              </p:cNvGrpSpPr>
              <p:nvPr/>
            </p:nvGrpSpPr>
            <p:grpSpPr bwMode="auto">
              <a:xfrm>
                <a:off x="4833541" y="1781946"/>
                <a:ext cx="4004843" cy="4259872"/>
                <a:chOff x="4477860" y="1717341"/>
                <a:chExt cx="4451473" cy="4686868"/>
              </a:xfrm>
            </p:grpSpPr>
            <p:grpSp>
              <p:nvGrpSpPr>
                <p:cNvPr id="359455" name="Group 42"/>
                <p:cNvGrpSpPr>
                  <a:grpSpLocks/>
                </p:cNvGrpSpPr>
                <p:nvPr/>
              </p:nvGrpSpPr>
              <p:grpSpPr bwMode="auto">
                <a:xfrm>
                  <a:off x="4923519" y="2197256"/>
                  <a:ext cx="3579794" cy="3579908"/>
                  <a:chOff x="4923519" y="2197256"/>
                  <a:chExt cx="3579794" cy="3579908"/>
                </a:xfrm>
              </p:grpSpPr>
              <p:grpSp>
                <p:nvGrpSpPr>
                  <p:cNvPr id="359472" name="Group 7"/>
                  <p:cNvGrpSpPr>
                    <a:grpSpLocks/>
                  </p:cNvGrpSpPr>
                  <p:nvPr/>
                </p:nvGrpSpPr>
                <p:grpSpPr bwMode="auto">
                  <a:xfrm rot="10800000">
                    <a:off x="6212395" y="3487461"/>
                    <a:ext cx="993967" cy="991309"/>
                    <a:chOff x="1345" y="955"/>
                    <a:chExt cx="766" cy="746"/>
                  </a:xfrm>
                </p:grpSpPr>
                <p:sp>
                  <p:nvSpPr>
                    <p:cNvPr id="359491" name="Freeform 7"/>
                    <p:cNvSpPr>
                      <a:spLocks/>
                    </p:cNvSpPr>
                    <p:nvPr/>
                  </p:nvSpPr>
                  <p:spPr bwMode="gray">
                    <a:xfrm>
                      <a:off x="1415" y="1430"/>
                      <a:ext cx="640" cy="271"/>
                    </a:xfrm>
                    <a:custGeom>
                      <a:avLst/>
                      <a:gdLst>
                        <a:gd name="T0" fmla="*/ 97 w 2140"/>
                        <a:gd name="T1" fmla="*/ 25 h 932"/>
                        <a:gd name="T2" fmla="*/ 101 w 2140"/>
                        <a:gd name="T3" fmla="*/ 25 h 932"/>
                        <a:gd name="T4" fmla="*/ 106 w 2140"/>
                        <a:gd name="T5" fmla="*/ 24 h 932"/>
                        <a:gd name="T6" fmla="*/ 112 w 2140"/>
                        <a:gd name="T7" fmla="*/ 22 h 932"/>
                        <a:gd name="T8" fmla="*/ 117 w 2140"/>
                        <a:gd name="T9" fmla="*/ 21 h 932"/>
                        <a:gd name="T10" fmla="*/ 120 w 2140"/>
                        <a:gd name="T11" fmla="*/ 19 h 932"/>
                        <a:gd name="T12" fmla="*/ 125 w 2140"/>
                        <a:gd name="T13" fmla="*/ 17 h 932"/>
                        <a:gd name="T14" fmla="*/ 129 w 2140"/>
                        <a:gd name="T15" fmla="*/ 14 h 932"/>
                        <a:gd name="T16" fmla="*/ 133 w 2140"/>
                        <a:gd name="T17" fmla="*/ 10 h 932"/>
                        <a:gd name="T18" fmla="*/ 137 w 2140"/>
                        <a:gd name="T19" fmla="*/ 7 h 932"/>
                        <a:gd name="T20" fmla="*/ 140 w 2140"/>
                        <a:gd name="T21" fmla="*/ 3 h 932"/>
                        <a:gd name="T22" fmla="*/ 155 w 2140"/>
                        <a:gd name="T23" fmla="*/ 27 h 932"/>
                        <a:gd name="T24" fmla="*/ 188 w 2140"/>
                        <a:gd name="T25" fmla="*/ 31 h 932"/>
                        <a:gd name="T26" fmla="*/ 183 w 2140"/>
                        <a:gd name="T27" fmla="*/ 38 h 932"/>
                        <a:gd name="T28" fmla="*/ 180 w 2140"/>
                        <a:gd name="T29" fmla="*/ 42 h 932"/>
                        <a:gd name="T30" fmla="*/ 173 w 2140"/>
                        <a:gd name="T31" fmla="*/ 48 h 932"/>
                        <a:gd name="T32" fmla="*/ 168 w 2140"/>
                        <a:gd name="T33" fmla="*/ 53 h 932"/>
                        <a:gd name="T34" fmla="*/ 162 w 2140"/>
                        <a:gd name="T35" fmla="*/ 57 h 932"/>
                        <a:gd name="T36" fmla="*/ 153 w 2140"/>
                        <a:gd name="T37" fmla="*/ 63 h 932"/>
                        <a:gd name="T38" fmla="*/ 146 w 2140"/>
                        <a:gd name="T39" fmla="*/ 67 h 932"/>
                        <a:gd name="T40" fmla="*/ 141 w 2140"/>
                        <a:gd name="T41" fmla="*/ 69 h 932"/>
                        <a:gd name="T42" fmla="*/ 136 w 2140"/>
                        <a:gd name="T43" fmla="*/ 71 h 932"/>
                        <a:gd name="T44" fmla="*/ 131 w 2140"/>
                        <a:gd name="T45" fmla="*/ 73 h 932"/>
                        <a:gd name="T46" fmla="*/ 125 w 2140"/>
                        <a:gd name="T47" fmla="*/ 75 h 932"/>
                        <a:gd name="T48" fmla="*/ 120 w 2140"/>
                        <a:gd name="T49" fmla="*/ 76 h 932"/>
                        <a:gd name="T50" fmla="*/ 115 w 2140"/>
                        <a:gd name="T51" fmla="*/ 77 h 932"/>
                        <a:gd name="T52" fmla="*/ 107 w 2140"/>
                        <a:gd name="T53" fmla="*/ 78 h 932"/>
                        <a:gd name="T54" fmla="*/ 101 w 2140"/>
                        <a:gd name="T55" fmla="*/ 79 h 932"/>
                        <a:gd name="T56" fmla="*/ 94 w 2140"/>
                        <a:gd name="T57" fmla="*/ 79 h 932"/>
                        <a:gd name="T58" fmla="*/ 85 w 2140"/>
                        <a:gd name="T59" fmla="*/ 79 h 932"/>
                        <a:gd name="T60" fmla="*/ 77 w 2140"/>
                        <a:gd name="T61" fmla="*/ 78 h 932"/>
                        <a:gd name="T62" fmla="*/ 69 w 2140"/>
                        <a:gd name="T63" fmla="*/ 76 h 932"/>
                        <a:gd name="T64" fmla="*/ 62 w 2140"/>
                        <a:gd name="T65" fmla="*/ 75 h 932"/>
                        <a:gd name="T66" fmla="*/ 56 w 2140"/>
                        <a:gd name="T67" fmla="*/ 73 h 932"/>
                        <a:gd name="T68" fmla="*/ 46 w 2140"/>
                        <a:gd name="T69" fmla="*/ 69 h 932"/>
                        <a:gd name="T70" fmla="*/ 37 w 2140"/>
                        <a:gd name="T71" fmla="*/ 65 h 932"/>
                        <a:gd name="T72" fmla="*/ 28 w 2140"/>
                        <a:gd name="T73" fmla="*/ 60 h 932"/>
                        <a:gd name="T74" fmla="*/ 23 w 2140"/>
                        <a:gd name="T75" fmla="*/ 56 h 932"/>
                        <a:gd name="T76" fmla="*/ 16 w 2140"/>
                        <a:gd name="T77" fmla="*/ 50 h 932"/>
                        <a:gd name="T78" fmla="*/ 8 w 2140"/>
                        <a:gd name="T79" fmla="*/ 43 h 932"/>
                        <a:gd name="T80" fmla="*/ 2 w 2140"/>
                        <a:gd name="T81" fmla="*/ 35 h 932"/>
                        <a:gd name="T82" fmla="*/ 33 w 2140"/>
                        <a:gd name="T83" fmla="*/ 5 h 932"/>
                        <a:gd name="T84" fmla="*/ 50 w 2140"/>
                        <a:gd name="T85" fmla="*/ 6 h 932"/>
                        <a:gd name="T86" fmla="*/ 56 w 2140"/>
                        <a:gd name="T87" fmla="*/ 12 h 932"/>
                        <a:gd name="T88" fmla="*/ 60 w 2140"/>
                        <a:gd name="T89" fmla="*/ 15 h 932"/>
                        <a:gd name="T90" fmla="*/ 63 w 2140"/>
                        <a:gd name="T91" fmla="*/ 17 h 932"/>
                        <a:gd name="T92" fmla="*/ 68 w 2140"/>
                        <a:gd name="T93" fmla="*/ 20 h 932"/>
                        <a:gd name="T94" fmla="*/ 72 w 2140"/>
                        <a:gd name="T95" fmla="*/ 22 h 932"/>
                        <a:gd name="T96" fmla="*/ 77 w 2140"/>
                        <a:gd name="T97" fmla="*/ 23 h 932"/>
                        <a:gd name="T98" fmla="*/ 81 w 2140"/>
                        <a:gd name="T99" fmla="*/ 24 h 932"/>
                        <a:gd name="T100" fmla="*/ 86 w 2140"/>
                        <a:gd name="T101" fmla="*/ 25 h 932"/>
                        <a:gd name="T102" fmla="*/ 92 w 2140"/>
                        <a:gd name="T103" fmla="*/ 25 h 93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40"/>
                        <a:gd name="T157" fmla="*/ 0 h 932"/>
                        <a:gd name="T158" fmla="*/ 2140 w 2140"/>
                        <a:gd name="T159" fmla="*/ 932 h 93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40" h="932">
                          <a:moveTo>
                            <a:pt x="1047" y="296"/>
                          </a:moveTo>
                          <a:lnTo>
                            <a:pt x="1068" y="295"/>
                          </a:lnTo>
                          <a:lnTo>
                            <a:pt x="1089" y="295"/>
                          </a:lnTo>
                          <a:lnTo>
                            <a:pt x="1109" y="293"/>
                          </a:lnTo>
                          <a:lnTo>
                            <a:pt x="1120" y="292"/>
                          </a:lnTo>
                          <a:lnTo>
                            <a:pt x="1131" y="291"/>
                          </a:lnTo>
                          <a:lnTo>
                            <a:pt x="1151" y="288"/>
                          </a:lnTo>
                          <a:lnTo>
                            <a:pt x="1171" y="285"/>
                          </a:lnTo>
                          <a:lnTo>
                            <a:pt x="1191" y="280"/>
                          </a:lnTo>
                          <a:lnTo>
                            <a:pt x="1211" y="276"/>
                          </a:lnTo>
                          <a:lnTo>
                            <a:pt x="1231" y="270"/>
                          </a:lnTo>
                          <a:lnTo>
                            <a:pt x="1250" y="264"/>
                          </a:lnTo>
                          <a:lnTo>
                            <a:pt x="1269" y="258"/>
                          </a:lnTo>
                          <a:lnTo>
                            <a:pt x="1288" y="250"/>
                          </a:lnTo>
                          <a:lnTo>
                            <a:pt x="1307" y="243"/>
                          </a:lnTo>
                          <a:lnTo>
                            <a:pt x="1325" y="234"/>
                          </a:lnTo>
                          <a:lnTo>
                            <a:pt x="1334" y="230"/>
                          </a:lnTo>
                          <a:lnTo>
                            <a:pt x="1342" y="225"/>
                          </a:lnTo>
                          <a:lnTo>
                            <a:pt x="1360" y="216"/>
                          </a:lnTo>
                          <a:lnTo>
                            <a:pt x="1377" y="205"/>
                          </a:lnTo>
                          <a:lnTo>
                            <a:pt x="1394" y="195"/>
                          </a:lnTo>
                          <a:lnTo>
                            <a:pt x="1410" y="184"/>
                          </a:lnTo>
                          <a:lnTo>
                            <a:pt x="1426" y="172"/>
                          </a:lnTo>
                          <a:lnTo>
                            <a:pt x="1442" y="160"/>
                          </a:lnTo>
                          <a:lnTo>
                            <a:pt x="1458" y="148"/>
                          </a:lnTo>
                          <a:lnTo>
                            <a:pt x="1473" y="135"/>
                          </a:lnTo>
                          <a:lnTo>
                            <a:pt x="1488" y="122"/>
                          </a:lnTo>
                          <a:lnTo>
                            <a:pt x="1502" y="108"/>
                          </a:lnTo>
                          <a:lnTo>
                            <a:pt x="1515" y="94"/>
                          </a:lnTo>
                          <a:lnTo>
                            <a:pt x="1529" y="79"/>
                          </a:lnTo>
                          <a:lnTo>
                            <a:pt x="1541" y="64"/>
                          </a:lnTo>
                          <a:lnTo>
                            <a:pt x="1554" y="48"/>
                          </a:lnTo>
                          <a:lnTo>
                            <a:pt x="1566" y="32"/>
                          </a:lnTo>
                          <a:lnTo>
                            <a:pt x="1577" y="16"/>
                          </a:lnTo>
                          <a:lnTo>
                            <a:pt x="1588" y="0"/>
                          </a:lnTo>
                          <a:lnTo>
                            <a:pt x="1730" y="322"/>
                          </a:lnTo>
                          <a:lnTo>
                            <a:pt x="2140" y="319"/>
                          </a:lnTo>
                          <a:lnTo>
                            <a:pt x="2119" y="353"/>
                          </a:lnTo>
                          <a:lnTo>
                            <a:pt x="2108" y="369"/>
                          </a:lnTo>
                          <a:lnTo>
                            <a:pt x="2096" y="387"/>
                          </a:lnTo>
                          <a:lnTo>
                            <a:pt x="2072" y="419"/>
                          </a:lnTo>
                          <a:lnTo>
                            <a:pt x="2047" y="451"/>
                          </a:lnTo>
                          <a:lnTo>
                            <a:pt x="2035" y="466"/>
                          </a:lnTo>
                          <a:lnTo>
                            <a:pt x="2022" y="482"/>
                          </a:lnTo>
                          <a:lnTo>
                            <a:pt x="2009" y="497"/>
                          </a:lnTo>
                          <a:lnTo>
                            <a:pt x="1995" y="512"/>
                          </a:lnTo>
                          <a:lnTo>
                            <a:pt x="1968" y="542"/>
                          </a:lnTo>
                          <a:lnTo>
                            <a:pt x="1940" y="570"/>
                          </a:lnTo>
                          <a:lnTo>
                            <a:pt x="1910" y="597"/>
                          </a:lnTo>
                          <a:lnTo>
                            <a:pt x="1895" y="611"/>
                          </a:lnTo>
                          <a:lnTo>
                            <a:pt x="1880" y="624"/>
                          </a:lnTo>
                          <a:lnTo>
                            <a:pt x="1864" y="637"/>
                          </a:lnTo>
                          <a:lnTo>
                            <a:pt x="1849" y="650"/>
                          </a:lnTo>
                          <a:lnTo>
                            <a:pt x="1817" y="674"/>
                          </a:lnTo>
                          <a:lnTo>
                            <a:pt x="1785" y="699"/>
                          </a:lnTo>
                          <a:lnTo>
                            <a:pt x="1751" y="721"/>
                          </a:lnTo>
                          <a:lnTo>
                            <a:pt x="1717" y="743"/>
                          </a:lnTo>
                          <a:lnTo>
                            <a:pt x="1683" y="763"/>
                          </a:lnTo>
                          <a:lnTo>
                            <a:pt x="1647" y="783"/>
                          </a:lnTo>
                          <a:lnTo>
                            <a:pt x="1629" y="792"/>
                          </a:lnTo>
                          <a:lnTo>
                            <a:pt x="1611" y="801"/>
                          </a:lnTo>
                          <a:lnTo>
                            <a:pt x="1592" y="810"/>
                          </a:lnTo>
                          <a:lnTo>
                            <a:pt x="1574" y="819"/>
                          </a:lnTo>
                          <a:lnTo>
                            <a:pt x="1555" y="827"/>
                          </a:lnTo>
                          <a:lnTo>
                            <a:pt x="1537" y="835"/>
                          </a:lnTo>
                          <a:lnTo>
                            <a:pt x="1518" y="842"/>
                          </a:lnTo>
                          <a:lnTo>
                            <a:pt x="1499" y="850"/>
                          </a:lnTo>
                          <a:lnTo>
                            <a:pt x="1480" y="858"/>
                          </a:lnTo>
                          <a:lnTo>
                            <a:pt x="1460" y="864"/>
                          </a:lnTo>
                          <a:lnTo>
                            <a:pt x="1440" y="871"/>
                          </a:lnTo>
                          <a:lnTo>
                            <a:pt x="1421" y="877"/>
                          </a:lnTo>
                          <a:lnTo>
                            <a:pt x="1401" y="883"/>
                          </a:lnTo>
                          <a:lnTo>
                            <a:pt x="1381" y="888"/>
                          </a:lnTo>
                          <a:lnTo>
                            <a:pt x="1361" y="893"/>
                          </a:lnTo>
                          <a:lnTo>
                            <a:pt x="1341" y="898"/>
                          </a:lnTo>
                          <a:lnTo>
                            <a:pt x="1321" y="903"/>
                          </a:lnTo>
                          <a:lnTo>
                            <a:pt x="1301" y="907"/>
                          </a:lnTo>
                          <a:lnTo>
                            <a:pt x="1279" y="911"/>
                          </a:lnTo>
                          <a:lnTo>
                            <a:pt x="1259" y="915"/>
                          </a:lnTo>
                          <a:lnTo>
                            <a:pt x="1217" y="921"/>
                          </a:lnTo>
                          <a:lnTo>
                            <a:pt x="1196" y="924"/>
                          </a:lnTo>
                          <a:lnTo>
                            <a:pt x="1175" y="926"/>
                          </a:lnTo>
                          <a:lnTo>
                            <a:pt x="1154" y="928"/>
                          </a:lnTo>
                          <a:lnTo>
                            <a:pt x="1133" y="929"/>
                          </a:lnTo>
                          <a:lnTo>
                            <a:pt x="1111" y="931"/>
                          </a:lnTo>
                          <a:lnTo>
                            <a:pt x="1090" y="931"/>
                          </a:lnTo>
                          <a:lnTo>
                            <a:pt x="1047" y="932"/>
                          </a:lnTo>
                          <a:lnTo>
                            <a:pt x="1007" y="932"/>
                          </a:lnTo>
                          <a:lnTo>
                            <a:pt x="967" y="930"/>
                          </a:lnTo>
                          <a:lnTo>
                            <a:pt x="946" y="928"/>
                          </a:lnTo>
                          <a:lnTo>
                            <a:pt x="926" y="927"/>
                          </a:lnTo>
                          <a:lnTo>
                            <a:pt x="887" y="922"/>
                          </a:lnTo>
                          <a:lnTo>
                            <a:pt x="867" y="920"/>
                          </a:lnTo>
                          <a:lnTo>
                            <a:pt x="848" y="917"/>
                          </a:lnTo>
                          <a:lnTo>
                            <a:pt x="810" y="910"/>
                          </a:lnTo>
                          <a:lnTo>
                            <a:pt x="771" y="903"/>
                          </a:lnTo>
                          <a:lnTo>
                            <a:pt x="733" y="894"/>
                          </a:lnTo>
                          <a:lnTo>
                            <a:pt x="714" y="889"/>
                          </a:lnTo>
                          <a:lnTo>
                            <a:pt x="696" y="884"/>
                          </a:lnTo>
                          <a:lnTo>
                            <a:pt x="659" y="873"/>
                          </a:lnTo>
                          <a:lnTo>
                            <a:pt x="640" y="867"/>
                          </a:lnTo>
                          <a:lnTo>
                            <a:pt x="622" y="861"/>
                          </a:lnTo>
                          <a:lnTo>
                            <a:pt x="586" y="847"/>
                          </a:lnTo>
                          <a:lnTo>
                            <a:pt x="551" y="833"/>
                          </a:lnTo>
                          <a:lnTo>
                            <a:pt x="516" y="818"/>
                          </a:lnTo>
                          <a:lnTo>
                            <a:pt x="481" y="801"/>
                          </a:lnTo>
                          <a:lnTo>
                            <a:pt x="448" y="784"/>
                          </a:lnTo>
                          <a:lnTo>
                            <a:pt x="415" y="766"/>
                          </a:lnTo>
                          <a:lnTo>
                            <a:pt x="382" y="747"/>
                          </a:lnTo>
                          <a:lnTo>
                            <a:pt x="351" y="727"/>
                          </a:lnTo>
                          <a:lnTo>
                            <a:pt x="318" y="706"/>
                          </a:lnTo>
                          <a:lnTo>
                            <a:pt x="303" y="696"/>
                          </a:lnTo>
                          <a:lnTo>
                            <a:pt x="288" y="684"/>
                          </a:lnTo>
                          <a:lnTo>
                            <a:pt x="258" y="661"/>
                          </a:lnTo>
                          <a:lnTo>
                            <a:pt x="229" y="638"/>
                          </a:lnTo>
                          <a:lnTo>
                            <a:pt x="201" y="613"/>
                          </a:lnTo>
                          <a:lnTo>
                            <a:pt x="173" y="588"/>
                          </a:lnTo>
                          <a:lnTo>
                            <a:pt x="145" y="562"/>
                          </a:lnTo>
                          <a:lnTo>
                            <a:pt x="119" y="536"/>
                          </a:lnTo>
                          <a:lnTo>
                            <a:pt x="94" y="507"/>
                          </a:lnTo>
                          <a:lnTo>
                            <a:pt x="69" y="479"/>
                          </a:lnTo>
                          <a:lnTo>
                            <a:pt x="46" y="450"/>
                          </a:lnTo>
                          <a:lnTo>
                            <a:pt x="23" y="421"/>
                          </a:lnTo>
                          <a:lnTo>
                            <a:pt x="0" y="390"/>
                          </a:lnTo>
                          <a:lnTo>
                            <a:pt x="177" y="51"/>
                          </a:lnTo>
                          <a:lnTo>
                            <a:pt x="365" y="62"/>
                          </a:lnTo>
                          <a:lnTo>
                            <a:pt x="495" y="69"/>
                          </a:lnTo>
                          <a:lnTo>
                            <a:pt x="537" y="72"/>
                          </a:lnTo>
                          <a:lnTo>
                            <a:pt x="554" y="73"/>
                          </a:lnTo>
                          <a:lnTo>
                            <a:pt x="578" y="97"/>
                          </a:lnTo>
                          <a:lnTo>
                            <a:pt x="603" y="120"/>
                          </a:lnTo>
                          <a:lnTo>
                            <a:pt x="627" y="142"/>
                          </a:lnTo>
                          <a:lnTo>
                            <a:pt x="640" y="152"/>
                          </a:lnTo>
                          <a:lnTo>
                            <a:pt x="654" y="162"/>
                          </a:lnTo>
                          <a:lnTo>
                            <a:pt x="666" y="172"/>
                          </a:lnTo>
                          <a:lnTo>
                            <a:pt x="679" y="182"/>
                          </a:lnTo>
                          <a:lnTo>
                            <a:pt x="693" y="191"/>
                          </a:lnTo>
                          <a:lnTo>
                            <a:pt x="706" y="200"/>
                          </a:lnTo>
                          <a:lnTo>
                            <a:pt x="734" y="217"/>
                          </a:lnTo>
                          <a:lnTo>
                            <a:pt x="748" y="225"/>
                          </a:lnTo>
                          <a:lnTo>
                            <a:pt x="762" y="233"/>
                          </a:lnTo>
                          <a:lnTo>
                            <a:pt x="777" y="240"/>
                          </a:lnTo>
                          <a:lnTo>
                            <a:pt x="792" y="246"/>
                          </a:lnTo>
                          <a:lnTo>
                            <a:pt x="809" y="253"/>
                          </a:lnTo>
                          <a:lnTo>
                            <a:pt x="824" y="259"/>
                          </a:lnTo>
                          <a:lnTo>
                            <a:pt x="840" y="264"/>
                          </a:lnTo>
                          <a:lnTo>
                            <a:pt x="857" y="269"/>
                          </a:lnTo>
                          <a:lnTo>
                            <a:pt x="874" y="274"/>
                          </a:lnTo>
                          <a:lnTo>
                            <a:pt x="891" y="278"/>
                          </a:lnTo>
                          <a:lnTo>
                            <a:pt x="909" y="282"/>
                          </a:lnTo>
                          <a:lnTo>
                            <a:pt x="927" y="285"/>
                          </a:lnTo>
                          <a:lnTo>
                            <a:pt x="945" y="288"/>
                          </a:lnTo>
                          <a:lnTo>
                            <a:pt x="964" y="291"/>
                          </a:lnTo>
                          <a:lnTo>
                            <a:pt x="985" y="293"/>
                          </a:lnTo>
                          <a:lnTo>
                            <a:pt x="1005" y="294"/>
                          </a:lnTo>
                          <a:lnTo>
                            <a:pt x="1026" y="295"/>
                          </a:lnTo>
                          <a:lnTo>
                            <a:pt x="1047" y="296"/>
                          </a:lnTo>
                          <a:close/>
                        </a:path>
                      </a:pathLst>
                    </a:custGeom>
                    <a:solidFill>
                      <a:srgbClr val="368F9A"/>
                    </a:solidFill>
                    <a:ln w="19050" cap="flat" cmpd="sng">
                      <a:solidFill>
                        <a:schemeClr val="bg1"/>
                      </a:solidFill>
                      <a:prstDash val="solid"/>
                      <a:round/>
                      <a:headEnd type="none" w="med" len="med"/>
                      <a:tailEnd type="none" w="med" len="med"/>
                    </a:ln>
                  </p:spPr>
                  <p:txBody>
                    <a:bodyPr/>
                    <a:lstStyle/>
                    <a:p>
                      <a:endParaRPr lang="de-DE"/>
                    </a:p>
                  </p:txBody>
                </p:sp>
                <p:sp>
                  <p:nvSpPr>
                    <p:cNvPr id="359492" name="Freeform 8"/>
                    <p:cNvSpPr>
                      <a:spLocks/>
                    </p:cNvSpPr>
                    <p:nvPr/>
                  </p:nvSpPr>
                  <p:spPr bwMode="gray">
                    <a:xfrm>
                      <a:off x="1345" y="955"/>
                      <a:ext cx="428" cy="572"/>
                    </a:xfrm>
                    <a:custGeom>
                      <a:avLst/>
                      <a:gdLst>
                        <a:gd name="T0" fmla="*/ 67 w 1431"/>
                        <a:gd name="T1" fmla="*/ 140 h 1961"/>
                        <a:gd name="T2" fmla="*/ 64 w 1431"/>
                        <a:gd name="T3" fmla="*/ 135 h 1961"/>
                        <a:gd name="T4" fmla="*/ 61 w 1431"/>
                        <a:gd name="T5" fmla="*/ 129 h 1961"/>
                        <a:gd name="T6" fmla="*/ 59 w 1431"/>
                        <a:gd name="T7" fmla="*/ 123 h 1961"/>
                        <a:gd name="T8" fmla="*/ 58 w 1431"/>
                        <a:gd name="T9" fmla="*/ 118 h 1961"/>
                        <a:gd name="T10" fmla="*/ 57 w 1431"/>
                        <a:gd name="T11" fmla="*/ 111 h 1961"/>
                        <a:gd name="T12" fmla="*/ 57 w 1431"/>
                        <a:gd name="T13" fmla="*/ 105 h 1961"/>
                        <a:gd name="T14" fmla="*/ 58 w 1431"/>
                        <a:gd name="T15" fmla="*/ 99 h 1961"/>
                        <a:gd name="T16" fmla="*/ 59 w 1431"/>
                        <a:gd name="T17" fmla="*/ 95 h 1961"/>
                        <a:gd name="T18" fmla="*/ 61 w 1431"/>
                        <a:gd name="T19" fmla="*/ 90 h 1961"/>
                        <a:gd name="T20" fmla="*/ 63 w 1431"/>
                        <a:gd name="T21" fmla="*/ 84 h 1961"/>
                        <a:gd name="T22" fmla="*/ 66 w 1431"/>
                        <a:gd name="T23" fmla="*/ 81 h 1961"/>
                        <a:gd name="T24" fmla="*/ 68 w 1431"/>
                        <a:gd name="T25" fmla="*/ 77 h 1961"/>
                        <a:gd name="T26" fmla="*/ 70 w 1431"/>
                        <a:gd name="T27" fmla="*/ 74 h 1961"/>
                        <a:gd name="T28" fmla="*/ 74 w 1431"/>
                        <a:gd name="T29" fmla="*/ 70 h 1961"/>
                        <a:gd name="T30" fmla="*/ 76 w 1431"/>
                        <a:gd name="T31" fmla="*/ 68 h 1961"/>
                        <a:gd name="T32" fmla="*/ 80 w 1431"/>
                        <a:gd name="T33" fmla="*/ 65 h 1961"/>
                        <a:gd name="T34" fmla="*/ 84 w 1431"/>
                        <a:gd name="T35" fmla="*/ 62 h 1961"/>
                        <a:gd name="T36" fmla="*/ 89 w 1431"/>
                        <a:gd name="T37" fmla="*/ 60 h 1961"/>
                        <a:gd name="T38" fmla="*/ 92 w 1431"/>
                        <a:gd name="T39" fmla="*/ 58 h 1961"/>
                        <a:gd name="T40" fmla="*/ 97 w 1431"/>
                        <a:gd name="T41" fmla="*/ 57 h 1961"/>
                        <a:gd name="T42" fmla="*/ 103 w 1431"/>
                        <a:gd name="T43" fmla="*/ 55 h 1961"/>
                        <a:gd name="T44" fmla="*/ 108 w 1431"/>
                        <a:gd name="T45" fmla="*/ 55 h 1961"/>
                        <a:gd name="T46" fmla="*/ 128 w 1431"/>
                        <a:gd name="T47" fmla="*/ 28 h 1961"/>
                        <a:gd name="T48" fmla="*/ 105 w 1431"/>
                        <a:gd name="T49" fmla="*/ 0 h 1961"/>
                        <a:gd name="T50" fmla="*/ 97 w 1431"/>
                        <a:gd name="T51" fmla="*/ 1 h 1961"/>
                        <a:gd name="T52" fmla="*/ 88 w 1431"/>
                        <a:gd name="T53" fmla="*/ 3 h 1961"/>
                        <a:gd name="T54" fmla="*/ 80 w 1431"/>
                        <a:gd name="T55" fmla="*/ 5 h 1961"/>
                        <a:gd name="T56" fmla="*/ 73 w 1431"/>
                        <a:gd name="T57" fmla="*/ 8 h 1961"/>
                        <a:gd name="T58" fmla="*/ 65 w 1431"/>
                        <a:gd name="T59" fmla="*/ 11 h 1961"/>
                        <a:gd name="T60" fmla="*/ 58 w 1431"/>
                        <a:gd name="T61" fmla="*/ 14 h 1961"/>
                        <a:gd name="T62" fmla="*/ 51 w 1431"/>
                        <a:gd name="T63" fmla="*/ 18 h 1961"/>
                        <a:gd name="T64" fmla="*/ 44 w 1431"/>
                        <a:gd name="T65" fmla="*/ 23 h 1961"/>
                        <a:gd name="T66" fmla="*/ 38 w 1431"/>
                        <a:gd name="T67" fmla="*/ 28 h 1961"/>
                        <a:gd name="T68" fmla="*/ 32 w 1431"/>
                        <a:gd name="T69" fmla="*/ 33 h 1961"/>
                        <a:gd name="T70" fmla="*/ 27 w 1431"/>
                        <a:gd name="T71" fmla="*/ 39 h 1961"/>
                        <a:gd name="T72" fmla="*/ 22 w 1431"/>
                        <a:gd name="T73" fmla="*/ 45 h 1961"/>
                        <a:gd name="T74" fmla="*/ 17 w 1431"/>
                        <a:gd name="T75" fmla="*/ 51 h 1961"/>
                        <a:gd name="T76" fmla="*/ 13 w 1431"/>
                        <a:gd name="T77" fmla="*/ 58 h 1961"/>
                        <a:gd name="T78" fmla="*/ 10 w 1431"/>
                        <a:gd name="T79" fmla="*/ 65 h 1961"/>
                        <a:gd name="T80" fmla="*/ 7 w 1431"/>
                        <a:gd name="T81" fmla="*/ 72 h 1961"/>
                        <a:gd name="T82" fmla="*/ 4 w 1431"/>
                        <a:gd name="T83" fmla="*/ 80 h 1961"/>
                        <a:gd name="T84" fmla="*/ 2 w 1431"/>
                        <a:gd name="T85" fmla="*/ 87 h 1961"/>
                        <a:gd name="T86" fmla="*/ 1 w 1431"/>
                        <a:gd name="T87" fmla="*/ 95 h 1961"/>
                        <a:gd name="T88" fmla="*/ 0 w 1431"/>
                        <a:gd name="T89" fmla="*/ 103 h 1961"/>
                        <a:gd name="T90" fmla="*/ 0 w 1431"/>
                        <a:gd name="T91" fmla="*/ 113 h 1961"/>
                        <a:gd name="T92" fmla="*/ 0 w 1431"/>
                        <a:gd name="T93" fmla="*/ 119 h 1961"/>
                        <a:gd name="T94" fmla="*/ 1 w 1431"/>
                        <a:gd name="T95" fmla="*/ 125 h 1961"/>
                        <a:gd name="T96" fmla="*/ 2 w 1431"/>
                        <a:gd name="T97" fmla="*/ 130 h 1961"/>
                        <a:gd name="T98" fmla="*/ 4 w 1431"/>
                        <a:gd name="T99" fmla="*/ 136 h 1961"/>
                        <a:gd name="T100" fmla="*/ 5 w 1431"/>
                        <a:gd name="T101" fmla="*/ 141 h 1961"/>
                        <a:gd name="T102" fmla="*/ 7 w 1431"/>
                        <a:gd name="T103" fmla="*/ 147 h 1961"/>
                        <a:gd name="T104" fmla="*/ 9 w 1431"/>
                        <a:gd name="T105" fmla="*/ 152 h 1961"/>
                        <a:gd name="T106" fmla="*/ 12 w 1431"/>
                        <a:gd name="T107" fmla="*/ 157 h 1961"/>
                        <a:gd name="T108" fmla="*/ 16 w 1431"/>
                        <a:gd name="T109" fmla="*/ 165 h 196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31"/>
                        <a:gd name="T166" fmla="*/ 0 h 1961"/>
                        <a:gd name="T167" fmla="*/ 1431 w 1431"/>
                        <a:gd name="T168" fmla="*/ 1961 h 196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31" h="1961">
                          <a:moveTo>
                            <a:pt x="196" y="1961"/>
                          </a:moveTo>
                          <a:lnTo>
                            <a:pt x="384" y="1617"/>
                          </a:lnTo>
                          <a:lnTo>
                            <a:pt x="750" y="1645"/>
                          </a:lnTo>
                          <a:lnTo>
                            <a:pt x="737" y="1625"/>
                          </a:lnTo>
                          <a:lnTo>
                            <a:pt x="725" y="1605"/>
                          </a:lnTo>
                          <a:lnTo>
                            <a:pt x="713" y="1584"/>
                          </a:lnTo>
                          <a:lnTo>
                            <a:pt x="702" y="1563"/>
                          </a:lnTo>
                          <a:lnTo>
                            <a:pt x="692" y="1542"/>
                          </a:lnTo>
                          <a:lnTo>
                            <a:pt x="683" y="1519"/>
                          </a:lnTo>
                          <a:lnTo>
                            <a:pt x="674" y="1497"/>
                          </a:lnTo>
                          <a:lnTo>
                            <a:pt x="666" y="1474"/>
                          </a:lnTo>
                          <a:lnTo>
                            <a:pt x="660" y="1451"/>
                          </a:lnTo>
                          <a:lnTo>
                            <a:pt x="654" y="1427"/>
                          </a:lnTo>
                          <a:lnTo>
                            <a:pt x="649" y="1404"/>
                          </a:lnTo>
                          <a:lnTo>
                            <a:pt x="644" y="1380"/>
                          </a:lnTo>
                          <a:lnTo>
                            <a:pt x="641" y="1354"/>
                          </a:lnTo>
                          <a:lnTo>
                            <a:pt x="639" y="1330"/>
                          </a:lnTo>
                          <a:lnTo>
                            <a:pt x="637" y="1305"/>
                          </a:lnTo>
                          <a:lnTo>
                            <a:pt x="637" y="1280"/>
                          </a:lnTo>
                          <a:lnTo>
                            <a:pt x="637" y="1248"/>
                          </a:lnTo>
                          <a:lnTo>
                            <a:pt x="638" y="1232"/>
                          </a:lnTo>
                          <a:lnTo>
                            <a:pt x="640" y="1217"/>
                          </a:lnTo>
                          <a:lnTo>
                            <a:pt x="644" y="1185"/>
                          </a:lnTo>
                          <a:lnTo>
                            <a:pt x="646" y="1170"/>
                          </a:lnTo>
                          <a:lnTo>
                            <a:pt x="649" y="1155"/>
                          </a:lnTo>
                          <a:lnTo>
                            <a:pt x="655" y="1125"/>
                          </a:lnTo>
                          <a:lnTo>
                            <a:pt x="659" y="1110"/>
                          </a:lnTo>
                          <a:lnTo>
                            <a:pt x="663" y="1095"/>
                          </a:lnTo>
                          <a:lnTo>
                            <a:pt x="673" y="1067"/>
                          </a:lnTo>
                          <a:lnTo>
                            <a:pt x="678" y="1053"/>
                          </a:lnTo>
                          <a:lnTo>
                            <a:pt x="683" y="1038"/>
                          </a:lnTo>
                          <a:lnTo>
                            <a:pt x="695" y="1010"/>
                          </a:lnTo>
                          <a:lnTo>
                            <a:pt x="708" y="983"/>
                          </a:lnTo>
                          <a:lnTo>
                            <a:pt x="715" y="970"/>
                          </a:lnTo>
                          <a:lnTo>
                            <a:pt x="723" y="957"/>
                          </a:lnTo>
                          <a:lnTo>
                            <a:pt x="731" y="945"/>
                          </a:lnTo>
                          <a:lnTo>
                            <a:pt x="739" y="932"/>
                          </a:lnTo>
                          <a:lnTo>
                            <a:pt x="747" y="920"/>
                          </a:lnTo>
                          <a:lnTo>
                            <a:pt x="756" y="908"/>
                          </a:lnTo>
                          <a:lnTo>
                            <a:pt x="764" y="896"/>
                          </a:lnTo>
                          <a:lnTo>
                            <a:pt x="773" y="884"/>
                          </a:lnTo>
                          <a:lnTo>
                            <a:pt x="782" y="871"/>
                          </a:lnTo>
                          <a:lnTo>
                            <a:pt x="792" y="860"/>
                          </a:lnTo>
                          <a:lnTo>
                            <a:pt x="812" y="838"/>
                          </a:lnTo>
                          <a:lnTo>
                            <a:pt x="822" y="827"/>
                          </a:lnTo>
                          <a:lnTo>
                            <a:pt x="832" y="817"/>
                          </a:lnTo>
                          <a:lnTo>
                            <a:pt x="843" y="807"/>
                          </a:lnTo>
                          <a:lnTo>
                            <a:pt x="854" y="797"/>
                          </a:lnTo>
                          <a:lnTo>
                            <a:pt x="865" y="787"/>
                          </a:lnTo>
                          <a:lnTo>
                            <a:pt x="877" y="778"/>
                          </a:lnTo>
                          <a:lnTo>
                            <a:pt x="889" y="769"/>
                          </a:lnTo>
                          <a:lnTo>
                            <a:pt x="901" y="760"/>
                          </a:lnTo>
                          <a:lnTo>
                            <a:pt x="925" y="743"/>
                          </a:lnTo>
                          <a:lnTo>
                            <a:pt x="938" y="735"/>
                          </a:lnTo>
                          <a:lnTo>
                            <a:pt x="950" y="727"/>
                          </a:lnTo>
                          <a:lnTo>
                            <a:pt x="976" y="712"/>
                          </a:lnTo>
                          <a:lnTo>
                            <a:pt x="989" y="705"/>
                          </a:lnTo>
                          <a:lnTo>
                            <a:pt x="1003" y="698"/>
                          </a:lnTo>
                          <a:lnTo>
                            <a:pt x="1016" y="692"/>
                          </a:lnTo>
                          <a:lnTo>
                            <a:pt x="1030" y="686"/>
                          </a:lnTo>
                          <a:lnTo>
                            <a:pt x="1045" y="680"/>
                          </a:lnTo>
                          <a:lnTo>
                            <a:pt x="1059" y="675"/>
                          </a:lnTo>
                          <a:lnTo>
                            <a:pt x="1087" y="665"/>
                          </a:lnTo>
                          <a:lnTo>
                            <a:pt x="1116" y="657"/>
                          </a:lnTo>
                          <a:lnTo>
                            <a:pt x="1131" y="653"/>
                          </a:lnTo>
                          <a:lnTo>
                            <a:pt x="1146" y="650"/>
                          </a:lnTo>
                          <a:lnTo>
                            <a:pt x="1176" y="644"/>
                          </a:lnTo>
                          <a:lnTo>
                            <a:pt x="1191" y="642"/>
                          </a:lnTo>
                          <a:lnTo>
                            <a:pt x="1208" y="640"/>
                          </a:lnTo>
                          <a:lnTo>
                            <a:pt x="1223" y="638"/>
                          </a:lnTo>
                          <a:lnTo>
                            <a:pt x="1239" y="637"/>
                          </a:lnTo>
                          <a:lnTo>
                            <a:pt x="1431" y="334"/>
                          </a:lnTo>
                          <a:lnTo>
                            <a:pt x="1238" y="0"/>
                          </a:lnTo>
                          <a:lnTo>
                            <a:pt x="1206" y="1"/>
                          </a:lnTo>
                          <a:lnTo>
                            <a:pt x="1174" y="3"/>
                          </a:lnTo>
                          <a:lnTo>
                            <a:pt x="1142" y="6"/>
                          </a:lnTo>
                          <a:lnTo>
                            <a:pt x="1111" y="10"/>
                          </a:lnTo>
                          <a:lnTo>
                            <a:pt x="1080" y="15"/>
                          </a:lnTo>
                          <a:lnTo>
                            <a:pt x="1049" y="20"/>
                          </a:lnTo>
                          <a:lnTo>
                            <a:pt x="1018" y="26"/>
                          </a:lnTo>
                          <a:lnTo>
                            <a:pt x="987" y="32"/>
                          </a:lnTo>
                          <a:lnTo>
                            <a:pt x="957" y="40"/>
                          </a:lnTo>
                          <a:lnTo>
                            <a:pt x="928" y="48"/>
                          </a:lnTo>
                          <a:lnTo>
                            <a:pt x="898" y="57"/>
                          </a:lnTo>
                          <a:lnTo>
                            <a:pt x="868" y="66"/>
                          </a:lnTo>
                          <a:lnTo>
                            <a:pt x="839" y="76"/>
                          </a:lnTo>
                          <a:lnTo>
                            <a:pt x="811" y="88"/>
                          </a:lnTo>
                          <a:lnTo>
                            <a:pt x="783" y="100"/>
                          </a:lnTo>
                          <a:lnTo>
                            <a:pt x="755" y="112"/>
                          </a:lnTo>
                          <a:lnTo>
                            <a:pt x="727" y="125"/>
                          </a:lnTo>
                          <a:lnTo>
                            <a:pt x="699" y="138"/>
                          </a:lnTo>
                          <a:lnTo>
                            <a:pt x="673" y="152"/>
                          </a:lnTo>
                          <a:lnTo>
                            <a:pt x="646" y="167"/>
                          </a:lnTo>
                          <a:lnTo>
                            <a:pt x="620" y="182"/>
                          </a:lnTo>
                          <a:lnTo>
                            <a:pt x="595" y="198"/>
                          </a:lnTo>
                          <a:lnTo>
                            <a:pt x="570" y="214"/>
                          </a:lnTo>
                          <a:lnTo>
                            <a:pt x="544" y="231"/>
                          </a:lnTo>
                          <a:lnTo>
                            <a:pt x="520" y="250"/>
                          </a:lnTo>
                          <a:lnTo>
                            <a:pt x="496" y="268"/>
                          </a:lnTo>
                          <a:lnTo>
                            <a:pt x="472" y="287"/>
                          </a:lnTo>
                          <a:lnTo>
                            <a:pt x="449" y="306"/>
                          </a:lnTo>
                          <a:lnTo>
                            <a:pt x="427" y="326"/>
                          </a:lnTo>
                          <a:lnTo>
                            <a:pt x="405" y="346"/>
                          </a:lnTo>
                          <a:lnTo>
                            <a:pt x="382" y="366"/>
                          </a:lnTo>
                          <a:lnTo>
                            <a:pt x="361" y="388"/>
                          </a:lnTo>
                          <a:lnTo>
                            <a:pt x="340" y="410"/>
                          </a:lnTo>
                          <a:lnTo>
                            <a:pt x="320" y="433"/>
                          </a:lnTo>
                          <a:lnTo>
                            <a:pt x="301" y="455"/>
                          </a:lnTo>
                          <a:lnTo>
                            <a:pt x="282" y="478"/>
                          </a:lnTo>
                          <a:lnTo>
                            <a:pt x="263" y="502"/>
                          </a:lnTo>
                          <a:lnTo>
                            <a:pt x="245" y="526"/>
                          </a:lnTo>
                          <a:lnTo>
                            <a:pt x="227" y="550"/>
                          </a:lnTo>
                          <a:lnTo>
                            <a:pt x="210" y="576"/>
                          </a:lnTo>
                          <a:lnTo>
                            <a:pt x="194" y="602"/>
                          </a:lnTo>
                          <a:lnTo>
                            <a:pt x="178" y="627"/>
                          </a:lnTo>
                          <a:lnTo>
                            <a:pt x="163" y="653"/>
                          </a:lnTo>
                          <a:lnTo>
                            <a:pt x="149" y="680"/>
                          </a:lnTo>
                          <a:lnTo>
                            <a:pt x="135" y="707"/>
                          </a:lnTo>
                          <a:lnTo>
                            <a:pt x="122" y="735"/>
                          </a:lnTo>
                          <a:lnTo>
                            <a:pt x="109" y="763"/>
                          </a:lnTo>
                          <a:lnTo>
                            <a:pt x="97" y="790"/>
                          </a:lnTo>
                          <a:lnTo>
                            <a:pt x="86" y="819"/>
                          </a:lnTo>
                          <a:lnTo>
                            <a:pt x="74" y="847"/>
                          </a:lnTo>
                          <a:lnTo>
                            <a:pt x="64" y="876"/>
                          </a:lnTo>
                          <a:lnTo>
                            <a:pt x="55" y="906"/>
                          </a:lnTo>
                          <a:lnTo>
                            <a:pt x="47" y="936"/>
                          </a:lnTo>
                          <a:lnTo>
                            <a:pt x="39" y="966"/>
                          </a:lnTo>
                          <a:lnTo>
                            <a:pt x="31" y="996"/>
                          </a:lnTo>
                          <a:lnTo>
                            <a:pt x="25" y="1026"/>
                          </a:lnTo>
                          <a:lnTo>
                            <a:pt x="19" y="1058"/>
                          </a:lnTo>
                          <a:lnTo>
                            <a:pt x="14" y="1089"/>
                          </a:lnTo>
                          <a:lnTo>
                            <a:pt x="10" y="1120"/>
                          </a:lnTo>
                          <a:lnTo>
                            <a:pt x="6" y="1151"/>
                          </a:lnTo>
                          <a:lnTo>
                            <a:pt x="4" y="1183"/>
                          </a:lnTo>
                          <a:lnTo>
                            <a:pt x="2" y="1215"/>
                          </a:lnTo>
                          <a:lnTo>
                            <a:pt x="1" y="1247"/>
                          </a:lnTo>
                          <a:lnTo>
                            <a:pt x="0" y="1280"/>
                          </a:lnTo>
                          <a:lnTo>
                            <a:pt x="1" y="1326"/>
                          </a:lnTo>
                          <a:lnTo>
                            <a:pt x="2" y="1349"/>
                          </a:lnTo>
                          <a:lnTo>
                            <a:pt x="3" y="1373"/>
                          </a:lnTo>
                          <a:lnTo>
                            <a:pt x="5" y="1396"/>
                          </a:lnTo>
                          <a:lnTo>
                            <a:pt x="8" y="1419"/>
                          </a:lnTo>
                          <a:lnTo>
                            <a:pt x="10" y="1441"/>
                          </a:lnTo>
                          <a:lnTo>
                            <a:pt x="13" y="1464"/>
                          </a:lnTo>
                          <a:lnTo>
                            <a:pt x="17" y="1486"/>
                          </a:lnTo>
                          <a:lnTo>
                            <a:pt x="20" y="1509"/>
                          </a:lnTo>
                          <a:lnTo>
                            <a:pt x="25" y="1532"/>
                          </a:lnTo>
                          <a:lnTo>
                            <a:pt x="29" y="1554"/>
                          </a:lnTo>
                          <a:lnTo>
                            <a:pt x="34" y="1575"/>
                          </a:lnTo>
                          <a:lnTo>
                            <a:pt x="39" y="1597"/>
                          </a:lnTo>
                          <a:lnTo>
                            <a:pt x="45" y="1619"/>
                          </a:lnTo>
                          <a:lnTo>
                            <a:pt x="51" y="1640"/>
                          </a:lnTo>
                          <a:lnTo>
                            <a:pt x="58" y="1661"/>
                          </a:lnTo>
                          <a:lnTo>
                            <a:pt x="64" y="1683"/>
                          </a:lnTo>
                          <a:lnTo>
                            <a:pt x="72" y="1704"/>
                          </a:lnTo>
                          <a:lnTo>
                            <a:pt x="79" y="1725"/>
                          </a:lnTo>
                          <a:lnTo>
                            <a:pt x="88" y="1745"/>
                          </a:lnTo>
                          <a:lnTo>
                            <a:pt x="96" y="1766"/>
                          </a:lnTo>
                          <a:lnTo>
                            <a:pt x="105" y="1786"/>
                          </a:lnTo>
                          <a:lnTo>
                            <a:pt x="114" y="1806"/>
                          </a:lnTo>
                          <a:lnTo>
                            <a:pt x="123" y="1826"/>
                          </a:lnTo>
                          <a:lnTo>
                            <a:pt x="132" y="1847"/>
                          </a:lnTo>
                          <a:lnTo>
                            <a:pt x="152" y="1885"/>
                          </a:lnTo>
                          <a:lnTo>
                            <a:pt x="174" y="1923"/>
                          </a:lnTo>
                          <a:lnTo>
                            <a:pt x="185" y="1942"/>
                          </a:lnTo>
                          <a:lnTo>
                            <a:pt x="196" y="1961"/>
                          </a:lnTo>
                          <a:close/>
                        </a:path>
                      </a:pathLst>
                    </a:custGeom>
                    <a:solidFill>
                      <a:srgbClr val="368F9A"/>
                    </a:solidFill>
                    <a:ln w="19050" cap="flat" cmpd="sng">
                      <a:solidFill>
                        <a:schemeClr val="bg1"/>
                      </a:solidFill>
                      <a:prstDash val="solid"/>
                      <a:round/>
                      <a:headEnd type="none" w="med" len="med"/>
                      <a:tailEnd type="none" w="med" len="med"/>
                    </a:ln>
                  </p:spPr>
                  <p:txBody>
                    <a:bodyPr/>
                    <a:lstStyle/>
                    <a:p>
                      <a:endParaRPr lang="de-DE"/>
                    </a:p>
                  </p:txBody>
                </p:sp>
                <p:sp>
                  <p:nvSpPr>
                    <p:cNvPr id="359493" name="Freeform 9"/>
                    <p:cNvSpPr>
                      <a:spLocks/>
                    </p:cNvSpPr>
                    <p:nvPr/>
                  </p:nvSpPr>
                  <p:spPr bwMode="gray">
                    <a:xfrm>
                      <a:off x="1734" y="955"/>
                      <a:ext cx="377" cy="553"/>
                    </a:xfrm>
                    <a:custGeom>
                      <a:avLst/>
                      <a:gdLst>
                        <a:gd name="T0" fmla="*/ 6 w 1261"/>
                        <a:gd name="T1" fmla="*/ 0 h 1899"/>
                        <a:gd name="T2" fmla="*/ 14 w 1261"/>
                        <a:gd name="T3" fmla="*/ 1 h 1899"/>
                        <a:gd name="T4" fmla="*/ 23 w 1261"/>
                        <a:gd name="T5" fmla="*/ 2 h 1899"/>
                        <a:gd name="T6" fmla="*/ 31 w 1261"/>
                        <a:gd name="T7" fmla="*/ 4 h 1899"/>
                        <a:gd name="T8" fmla="*/ 39 w 1261"/>
                        <a:gd name="T9" fmla="*/ 7 h 1899"/>
                        <a:gd name="T10" fmla="*/ 46 w 1261"/>
                        <a:gd name="T11" fmla="*/ 10 h 1899"/>
                        <a:gd name="T12" fmla="*/ 54 w 1261"/>
                        <a:gd name="T13" fmla="*/ 14 h 1899"/>
                        <a:gd name="T14" fmla="*/ 61 w 1261"/>
                        <a:gd name="T15" fmla="*/ 18 h 1899"/>
                        <a:gd name="T16" fmla="*/ 68 w 1261"/>
                        <a:gd name="T17" fmla="*/ 22 h 1899"/>
                        <a:gd name="T18" fmla="*/ 74 w 1261"/>
                        <a:gd name="T19" fmla="*/ 27 h 1899"/>
                        <a:gd name="T20" fmla="*/ 80 w 1261"/>
                        <a:gd name="T21" fmla="*/ 32 h 1899"/>
                        <a:gd name="T22" fmla="*/ 85 w 1261"/>
                        <a:gd name="T23" fmla="*/ 38 h 1899"/>
                        <a:gd name="T24" fmla="*/ 90 w 1261"/>
                        <a:gd name="T25" fmla="*/ 44 h 1899"/>
                        <a:gd name="T26" fmla="*/ 95 w 1261"/>
                        <a:gd name="T27" fmla="*/ 51 h 1899"/>
                        <a:gd name="T28" fmla="*/ 99 w 1261"/>
                        <a:gd name="T29" fmla="*/ 57 h 1899"/>
                        <a:gd name="T30" fmla="*/ 103 w 1261"/>
                        <a:gd name="T31" fmla="*/ 64 h 1899"/>
                        <a:gd name="T32" fmla="*/ 106 w 1261"/>
                        <a:gd name="T33" fmla="*/ 72 h 1899"/>
                        <a:gd name="T34" fmla="*/ 109 w 1261"/>
                        <a:gd name="T35" fmla="*/ 79 h 1899"/>
                        <a:gd name="T36" fmla="*/ 111 w 1261"/>
                        <a:gd name="T37" fmla="*/ 87 h 1899"/>
                        <a:gd name="T38" fmla="*/ 112 w 1261"/>
                        <a:gd name="T39" fmla="*/ 95 h 1899"/>
                        <a:gd name="T40" fmla="*/ 113 w 1261"/>
                        <a:gd name="T41" fmla="*/ 103 h 1899"/>
                        <a:gd name="T42" fmla="*/ 113 w 1261"/>
                        <a:gd name="T43" fmla="*/ 112 h 1899"/>
                        <a:gd name="T44" fmla="*/ 112 w 1261"/>
                        <a:gd name="T45" fmla="*/ 117 h 1899"/>
                        <a:gd name="T46" fmla="*/ 112 w 1261"/>
                        <a:gd name="T47" fmla="*/ 124 h 1899"/>
                        <a:gd name="T48" fmla="*/ 111 w 1261"/>
                        <a:gd name="T49" fmla="*/ 129 h 1899"/>
                        <a:gd name="T50" fmla="*/ 109 w 1261"/>
                        <a:gd name="T51" fmla="*/ 137 h 1899"/>
                        <a:gd name="T52" fmla="*/ 106 w 1261"/>
                        <a:gd name="T53" fmla="*/ 145 h 1899"/>
                        <a:gd name="T54" fmla="*/ 102 w 1261"/>
                        <a:gd name="T55" fmla="*/ 154 h 1899"/>
                        <a:gd name="T56" fmla="*/ 63 w 1261"/>
                        <a:gd name="T57" fmla="*/ 161 h 1899"/>
                        <a:gd name="T58" fmla="*/ 51 w 1261"/>
                        <a:gd name="T59" fmla="*/ 131 h 1899"/>
                        <a:gd name="T60" fmla="*/ 53 w 1261"/>
                        <a:gd name="T61" fmla="*/ 126 h 1899"/>
                        <a:gd name="T62" fmla="*/ 54 w 1261"/>
                        <a:gd name="T63" fmla="*/ 122 h 1899"/>
                        <a:gd name="T64" fmla="*/ 55 w 1261"/>
                        <a:gd name="T65" fmla="*/ 117 h 1899"/>
                        <a:gd name="T66" fmla="*/ 56 w 1261"/>
                        <a:gd name="T67" fmla="*/ 112 h 1899"/>
                        <a:gd name="T68" fmla="*/ 56 w 1261"/>
                        <a:gd name="T69" fmla="*/ 106 h 1899"/>
                        <a:gd name="T70" fmla="*/ 55 w 1261"/>
                        <a:gd name="T71" fmla="*/ 102 h 1899"/>
                        <a:gd name="T72" fmla="*/ 55 w 1261"/>
                        <a:gd name="T73" fmla="*/ 98 h 1899"/>
                        <a:gd name="T74" fmla="*/ 54 w 1261"/>
                        <a:gd name="T75" fmla="*/ 94 h 1899"/>
                        <a:gd name="T76" fmla="*/ 51 w 1261"/>
                        <a:gd name="T77" fmla="*/ 88 h 1899"/>
                        <a:gd name="T78" fmla="*/ 49 w 1261"/>
                        <a:gd name="T79" fmla="*/ 83 h 1899"/>
                        <a:gd name="T80" fmla="*/ 45 w 1261"/>
                        <a:gd name="T81" fmla="*/ 77 h 1899"/>
                        <a:gd name="T82" fmla="*/ 42 w 1261"/>
                        <a:gd name="T83" fmla="*/ 73 h 1899"/>
                        <a:gd name="T84" fmla="*/ 39 w 1261"/>
                        <a:gd name="T85" fmla="*/ 70 h 1899"/>
                        <a:gd name="T86" fmla="*/ 37 w 1261"/>
                        <a:gd name="T87" fmla="*/ 68 h 1899"/>
                        <a:gd name="T88" fmla="*/ 33 w 1261"/>
                        <a:gd name="T89" fmla="*/ 65 h 1899"/>
                        <a:gd name="T90" fmla="*/ 29 w 1261"/>
                        <a:gd name="T91" fmla="*/ 63 h 1899"/>
                        <a:gd name="T92" fmla="*/ 25 w 1261"/>
                        <a:gd name="T93" fmla="*/ 60 h 1899"/>
                        <a:gd name="T94" fmla="*/ 19 w 1261"/>
                        <a:gd name="T95" fmla="*/ 58 h 1899"/>
                        <a:gd name="T96" fmla="*/ 14 w 1261"/>
                        <a:gd name="T97" fmla="*/ 56 h 1899"/>
                        <a:gd name="T98" fmla="*/ 9 w 1261"/>
                        <a:gd name="T99" fmla="*/ 55 h 1899"/>
                        <a:gd name="T100" fmla="*/ 4 w 1261"/>
                        <a:gd name="T101" fmla="*/ 54 h 1899"/>
                        <a:gd name="T102" fmla="*/ 0 w 1261"/>
                        <a:gd name="T103" fmla="*/ 54 h 18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61"/>
                        <a:gd name="T157" fmla="*/ 0 h 1899"/>
                        <a:gd name="T158" fmla="*/ 1261 w 1261"/>
                        <a:gd name="T159" fmla="*/ 1899 h 189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61" h="1899">
                          <a:moveTo>
                            <a:pt x="0" y="0"/>
                          </a:moveTo>
                          <a:lnTo>
                            <a:pt x="33" y="1"/>
                          </a:lnTo>
                          <a:lnTo>
                            <a:pt x="66" y="3"/>
                          </a:lnTo>
                          <a:lnTo>
                            <a:pt x="98" y="5"/>
                          </a:lnTo>
                          <a:lnTo>
                            <a:pt x="130" y="8"/>
                          </a:lnTo>
                          <a:lnTo>
                            <a:pt x="161" y="13"/>
                          </a:lnTo>
                          <a:lnTo>
                            <a:pt x="193" y="17"/>
                          </a:lnTo>
                          <a:lnTo>
                            <a:pt x="225" y="23"/>
                          </a:lnTo>
                          <a:lnTo>
                            <a:pt x="255" y="29"/>
                          </a:lnTo>
                          <a:lnTo>
                            <a:pt x="286" y="36"/>
                          </a:lnTo>
                          <a:lnTo>
                            <a:pt x="316" y="44"/>
                          </a:lnTo>
                          <a:lnTo>
                            <a:pt x="346" y="53"/>
                          </a:lnTo>
                          <a:lnTo>
                            <a:pt x="376" y="62"/>
                          </a:lnTo>
                          <a:lnTo>
                            <a:pt x="406" y="72"/>
                          </a:lnTo>
                          <a:lnTo>
                            <a:pt x="435" y="83"/>
                          </a:lnTo>
                          <a:lnTo>
                            <a:pt x="463" y="94"/>
                          </a:lnTo>
                          <a:lnTo>
                            <a:pt x="492" y="106"/>
                          </a:lnTo>
                          <a:lnTo>
                            <a:pt x="520" y="119"/>
                          </a:lnTo>
                          <a:lnTo>
                            <a:pt x="548" y="132"/>
                          </a:lnTo>
                          <a:lnTo>
                            <a:pt x="576" y="146"/>
                          </a:lnTo>
                          <a:lnTo>
                            <a:pt x="602" y="161"/>
                          </a:lnTo>
                          <a:lnTo>
                            <a:pt x="629" y="176"/>
                          </a:lnTo>
                          <a:lnTo>
                            <a:pt x="655" y="191"/>
                          </a:lnTo>
                          <a:lnTo>
                            <a:pt x="680" y="208"/>
                          </a:lnTo>
                          <a:lnTo>
                            <a:pt x="707" y="225"/>
                          </a:lnTo>
                          <a:lnTo>
                            <a:pt x="731" y="243"/>
                          </a:lnTo>
                          <a:lnTo>
                            <a:pt x="756" y="261"/>
                          </a:lnTo>
                          <a:lnTo>
                            <a:pt x="780" y="280"/>
                          </a:lnTo>
                          <a:lnTo>
                            <a:pt x="803" y="299"/>
                          </a:lnTo>
                          <a:lnTo>
                            <a:pt x="826" y="319"/>
                          </a:lnTo>
                          <a:lnTo>
                            <a:pt x="848" y="339"/>
                          </a:lnTo>
                          <a:lnTo>
                            <a:pt x="871" y="360"/>
                          </a:lnTo>
                          <a:lnTo>
                            <a:pt x="893" y="381"/>
                          </a:lnTo>
                          <a:lnTo>
                            <a:pt x="914" y="404"/>
                          </a:lnTo>
                          <a:lnTo>
                            <a:pt x="934" y="426"/>
                          </a:lnTo>
                          <a:lnTo>
                            <a:pt x="954" y="449"/>
                          </a:lnTo>
                          <a:lnTo>
                            <a:pt x="974" y="472"/>
                          </a:lnTo>
                          <a:lnTo>
                            <a:pt x="993" y="496"/>
                          </a:lnTo>
                          <a:lnTo>
                            <a:pt x="1011" y="520"/>
                          </a:lnTo>
                          <a:lnTo>
                            <a:pt x="1030" y="545"/>
                          </a:lnTo>
                          <a:lnTo>
                            <a:pt x="1047" y="571"/>
                          </a:lnTo>
                          <a:lnTo>
                            <a:pt x="1063" y="596"/>
                          </a:lnTo>
                          <a:lnTo>
                            <a:pt x="1079" y="622"/>
                          </a:lnTo>
                          <a:lnTo>
                            <a:pt x="1095" y="648"/>
                          </a:lnTo>
                          <a:lnTo>
                            <a:pt x="1109" y="675"/>
                          </a:lnTo>
                          <a:lnTo>
                            <a:pt x="1124" y="702"/>
                          </a:lnTo>
                          <a:lnTo>
                            <a:pt x="1137" y="730"/>
                          </a:lnTo>
                          <a:lnTo>
                            <a:pt x="1150" y="758"/>
                          </a:lnTo>
                          <a:lnTo>
                            <a:pt x="1162" y="786"/>
                          </a:lnTo>
                          <a:lnTo>
                            <a:pt x="1174" y="815"/>
                          </a:lnTo>
                          <a:lnTo>
                            <a:pt x="1185" y="844"/>
                          </a:lnTo>
                          <a:lnTo>
                            <a:pt x="1196" y="873"/>
                          </a:lnTo>
                          <a:lnTo>
                            <a:pt x="1205" y="903"/>
                          </a:lnTo>
                          <a:lnTo>
                            <a:pt x="1214" y="933"/>
                          </a:lnTo>
                          <a:lnTo>
                            <a:pt x="1222" y="963"/>
                          </a:lnTo>
                          <a:lnTo>
                            <a:pt x="1229" y="994"/>
                          </a:lnTo>
                          <a:lnTo>
                            <a:pt x="1236" y="1024"/>
                          </a:lnTo>
                          <a:lnTo>
                            <a:pt x="1242" y="1056"/>
                          </a:lnTo>
                          <a:lnTo>
                            <a:pt x="1247" y="1088"/>
                          </a:lnTo>
                          <a:lnTo>
                            <a:pt x="1251" y="1119"/>
                          </a:lnTo>
                          <a:lnTo>
                            <a:pt x="1255" y="1151"/>
                          </a:lnTo>
                          <a:lnTo>
                            <a:pt x="1258" y="1183"/>
                          </a:lnTo>
                          <a:lnTo>
                            <a:pt x="1260" y="1216"/>
                          </a:lnTo>
                          <a:lnTo>
                            <a:pt x="1261" y="1248"/>
                          </a:lnTo>
                          <a:lnTo>
                            <a:pt x="1261" y="1281"/>
                          </a:lnTo>
                          <a:lnTo>
                            <a:pt x="1261" y="1321"/>
                          </a:lnTo>
                          <a:lnTo>
                            <a:pt x="1260" y="1342"/>
                          </a:lnTo>
                          <a:lnTo>
                            <a:pt x="1259" y="1363"/>
                          </a:lnTo>
                          <a:lnTo>
                            <a:pt x="1257" y="1383"/>
                          </a:lnTo>
                          <a:lnTo>
                            <a:pt x="1255" y="1403"/>
                          </a:lnTo>
                          <a:lnTo>
                            <a:pt x="1251" y="1443"/>
                          </a:lnTo>
                          <a:lnTo>
                            <a:pt x="1248" y="1463"/>
                          </a:lnTo>
                          <a:lnTo>
                            <a:pt x="1245" y="1483"/>
                          </a:lnTo>
                          <a:lnTo>
                            <a:pt x="1242" y="1502"/>
                          </a:lnTo>
                          <a:lnTo>
                            <a:pt x="1238" y="1523"/>
                          </a:lnTo>
                          <a:lnTo>
                            <a:pt x="1230" y="1562"/>
                          </a:lnTo>
                          <a:lnTo>
                            <a:pt x="1221" y="1600"/>
                          </a:lnTo>
                          <a:lnTo>
                            <a:pt x="1216" y="1619"/>
                          </a:lnTo>
                          <a:lnTo>
                            <a:pt x="1211" y="1638"/>
                          </a:lnTo>
                          <a:lnTo>
                            <a:pt x="1199" y="1675"/>
                          </a:lnTo>
                          <a:lnTo>
                            <a:pt x="1186" y="1713"/>
                          </a:lnTo>
                          <a:lnTo>
                            <a:pt x="1172" y="1749"/>
                          </a:lnTo>
                          <a:lnTo>
                            <a:pt x="1157" y="1785"/>
                          </a:lnTo>
                          <a:lnTo>
                            <a:pt x="1141" y="1820"/>
                          </a:lnTo>
                          <a:lnTo>
                            <a:pt x="1124" y="1856"/>
                          </a:lnTo>
                          <a:lnTo>
                            <a:pt x="1106" y="1890"/>
                          </a:lnTo>
                          <a:lnTo>
                            <a:pt x="709" y="1899"/>
                          </a:lnTo>
                          <a:lnTo>
                            <a:pt x="554" y="1574"/>
                          </a:lnTo>
                          <a:lnTo>
                            <a:pt x="562" y="1557"/>
                          </a:lnTo>
                          <a:lnTo>
                            <a:pt x="570" y="1541"/>
                          </a:lnTo>
                          <a:lnTo>
                            <a:pt x="577" y="1524"/>
                          </a:lnTo>
                          <a:lnTo>
                            <a:pt x="584" y="1505"/>
                          </a:lnTo>
                          <a:lnTo>
                            <a:pt x="590" y="1488"/>
                          </a:lnTo>
                          <a:lnTo>
                            <a:pt x="596" y="1470"/>
                          </a:lnTo>
                          <a:lnTo>
                            <a:pt x="601" y="1452"/>
                          </a:lnTo>
                          <a:lnTo>
                            <a:pt x="606" y="1434"/>
                          </a:lnTo>
                          <a:lnTo>
                            <a:pt x="610" y="1416"/>
                          </a:lnTo>
                          <a:lnTo>
                            <a:pt x="614" y="1397"/>
                          </a:lnTo>
                          <a:lnTo>
                            <a:pt x="617" y="1378"/>
                          </a:lnTo>
                          <a:lnTo>
                            <a:pt x="620" y="1358"/>
                          </a:lnTo>
                          <a:lnTo>
                            <a:pt x="622" y="1339"/>
                          </a:lnTo>
                          <a:lnTo>
                            <a:pt x="624" y="1320"/>
                          </a:lnTo>
                          <a:lnTo>
                            <a:pt x="624" y="1300"/>
                          </a:lnTo>
                          <a:lnTo>
                            <a:pt x="625" y="1281"/>
                          </a:lnTo>
                          <a:lnTo>
                            <a:pt x="624" y="1248"/>
                          </a:lnTo>
                          <a:lnTo>
                            <a:pt x="623" y="1232"/>
                          </a:lnTo>
                          <a:lnTo>
                            <a:pt x="622" y="1216"/>
                          </a:lnTo>
                          <a:lnTo>
                            <a:pt x="620" y="1200"/>
                          </a:lnTo>
                          <a:lnTo>
                            <a:pt x="618" y="1184"/>
                          </a:lnTo>
                          <a:lnTo>
                            <a:pt x="615" y="1169"/>
                          </a:lnTo>
                          <a:lnTo>
                            <a:pt x="612" y="1153"/>
                          </a:lnTo>
                          <a:lnTo>
                            <a:pt x="609" y="1138"/>
                          </a:lnTo>
                          <a:lnTo>
                            <a:pt x="605" y="1123"/>
                          </a:lnTo>
                          <a:lnTo>
                            <a:pt x="601" y="1108"/>
                          </a:lnTo>
                          <a:lnTo>
                            <a:pt x="597" y="1093"/>
                          </a:lnTo>
                          <a:lnTo>
                            <a:pt x="587" y="1064"/>
                          </a:lnTo>
                          <a:lnTo>
                            <a:pt x="576" y="1034"/>
                          </a:lnTo>
                          <a:lnTo>
                            <a:pt x="564" y="1006"/>
                          </a:lnTo>
                          <a:lnTo>
                            <a:pt x="557" y="993"/>
                          </a:lnTo>
                          <a:lnTo>
                            <a:pt x="550" y="979"/>
                          </a:lnTo>
                          <a:lnTo>
                            <a:pt x="534" y="953"/>
                          </a:lnTo>
                          <a:lnTo>
                            <a:pt x="518" y="927"/>
                          </a:lnTo>
                          <a:lnTo>
                            <a:pt x="510" y="915"/>
                          </a:lnTo>
                          <a:lnTo>
                            <a:pt x="501" y="902"/>
                          </a:lnTo>
                          <a:lnTo>
                            <a:pt x="483" y="877"/>
                          </a:lnTo>
                          <a:lnTo>
                            <a:pt x="473" y="866"/>
                          </a:lnTo>
                          <a:lnTo>
                            <a:pt x="463" y="854"/>
                          </a:lnTo>
                          <a:lnTo>
                            <a:pt x="453" y="843"/>
                          </a:lnTo>
                          <a:lnTo>
                            <a:pt x="443" y="832"/>
                          </a:lnTo>
                          <a:lnTo>
                            <a:pt x="432" y="822"/>
                          </a:lnTo>
                          <a:lnTo>
                            <a:pt x="421" y="811"/>
                          </a:lnTo>
                          <a:lnTo>
                            <a:pt x="410" y="801"/>
                          </a:lnTo>
                          <a:lnTo>
                            <a:pt x="399" y="791"/>
                          </a:lnTo>
                          <a:lnTo>
                            <a:pt x="375" y="772"/>
                          </a:lnTo>
                          <a:lnTo>
                            <a:pt x="363" y="763"/>
                          </a:lnTo>
                          <a:lnTo>
                            <a:pt x="350" y="754"/>
                          </a:lnTo>
                          <a:lnTo>
                            <a:pt x="338" y="746"/>
                          </a:lnTo>
                          <a:lnTo>
                            <a:pt x="325" y="737"/>
                          </a:lnTo>
                          <a:lnTo>
                            <a:pt x="312" y="729"/>
                          </a:lnTo>
                          <a:lnTo>
                            <a:pt x="299" y="722"/>
                          </a:lnTo>
                          <a:lnTo>
                            <a:pt x="273" y="706"/>
                          </a:lnTo>
                          <a:lnTo>
                            <a:pt x="245" y="693"/>
                          </a:lnTo>
                          <a:lnTo>
                            <a:pt x="231" y="687"/>
                          </a:lnTo>
                          <a:lnTo>
                            <a:pt x="216" y="681"/>
                          </a:lnTo>
                          <a:lnTo>
                            <a:pt x="202" y="676"/>
                          </a:lnTo>
                          <a:lnTo>
                            <a:pt x="187" y="671"/>
                          </a:lnTo>
                          <a:lnTo>
                            <a:pt x="158" y="662"/>
                          </a:lnTo>
                          <a:lnTo>
                            <a:pt x="143" y="657"/>
                          </a:lnTo>
                          <a:lnTo>
                            <a:pt x="128" y="654"/>
                          </a:lnTo>
                          <a:lnTo>
                            <a:pt x="97" y="647"/>
                          </a:lnTo>
                          <a:lnTo>
                            <a:pt x="82" y="645"/>
                          </a:lnTo>
                          <a:lnTo>
                            <a:pt x="66" y="642"/>
                          </a:lnTo>
                          <a:lnTo>
                            <a:pt x="49" y="641"/>
                          </a:lnTo>
                          <a:lnTo>
                            <a:pt x="34" y="639"/>
                          </a:lnTo>
                          <a:lnTo>
                            <a:pt x="18" y="638"/>
                          </a:lnTo>
                          <a:lnTo>
                            <a:pt x="2" y="637"/>
                          </a:lnTo>
                          <a:lnTo>
                            <a:pt x="199" y="348"/>
                          </a:lnTo>
                          <a:lnTo>
                            <a:pt x="0" y="0"/>
                          </a:lnTo>
                          <a:close/>
                        </a:path>
                      </a:pathLst>
                    </a:custGeom>
                    <a:solidFill>
                      <a:srgbClr val="368F9A"/>
                    </a:solidFill>
                    <a:ln w="19050" cap="flat" cmpd="sng">
                      <a:solidFill>
                        <a:schemeClr val="bg1"/>
                      </a:solidFill>
                      <a:prstDash val="solid"/>
                      <a:round/>
                      <a:headEnd type="none" w="med" len="med"/>
                      <a:tailEnd type="none" w="med" len="med"/>
                    </a:ln>
                  </p:spPr>
                  <p:txBody>
                    <a:bodyPr/>
                    <a:lstStyle/>
                    <a:p>
                      <a:endParaRPr lang="de-DE"/>
                    </a:p>
                  </p:txBody>
                </p:sp>
              </p:grpSp>
              <p:sp>
                <p:nvSpPr>
                  <p:cNvPr id="12" name="Oval 78"/>
                  <p:cNvSpPr>
                    <a:spLocks noChangeAspect="1" noChangeArrowheads="1"/>
                  </p:cNvSpPr>
                  <p:nvPr/>
                </p:nvSpPr>
                <p:spPr bwMode="auto">
                  <a:xfrm>
                    <a:off x="6428247" y="3709784"/>
                    <a:ext cx="561288" cy="546568"/>
                  </a:xfrm>
                  <a:prstGeom prst="ellipse">
                    <a:avLst/>
                  </a:prstGeom>
                  <a:solidFill>
                    <a:srgbClr val="427BAB"/>
                  </a:solidFill>
                  <a:ln w="38100" algn="ctr">
                    <a:solidFill>
                      <a:schemeClr val="bg1"/>
                    </a:solidFill>
                    <a:round/>
                    <a:headEnd/>
                    <a:tailEnd/>
                  </a:ln>
                  <a:effectLst/>
                  <a:extLst>
                    <a:ext uri="{AF507438-7753-43E0-B8FC-AC1667EBCBE1}"/>
                  </a:extLst>
                </p:spPr>
                <p:txBody>
                  <a:bodyPr lIns="0" tIns="0" rIns="0" bIns="0" anchor="ctr"/>
                  <a:lstStyle/>
                  <a:p>
                    <a:pPr algn="ctr" defTabSz="863600" eaLnBrk="0" hangingPunct="0">
                      <a:lnSpc>
                        <a:spcPct val="90000"/>
                      </a:lnSpc>
                      <a:spcBef>
                        <a:spcPct val="50000"/>
                      </a:spcBef>
                      <a:buClr>
                        <a:schemeClr val="tx2"/>
                      </a:buClr>
                      <a:buSzPct val="75000"/>
                      <a:defRPr/>
                    </a:pPr>
                    <a:r>
                      <a:rPr lang="en-US" sz="640">
                        <a:solidFill>
                          <a:schemeClr val="bg1"/>
                        </a:solidFill>
                        <a:latin typeface="Tele-GroteskFet" pitchFamily="2" charset="0"/>
                        <a:cs typeface="Times New Roman" pitchFamily="18" charset="0"/>
                      </a:rPr>
                      <a:t>Broadband Networking</a:t>
                    </a:r>
                  </a:p>
                </p:txBody>
              </p:sp>
              <p:sp>
                <p:nvSpPr>
                  <p:cNvPr id="13" name="Donut 12"/>
                  <p:cNvSpPr>
                    <a:spLocks noChangeAspect="1"/>
                  </p:cNvSpPr>
                  <p:nvPr/>
                </p:nvSpPr>
                <p:spPr>
                  <a:xfrm>
                    <a:off x="5997573" y="3271481"/>
                    <a:ext cx="1422636" cy="1423174"/>
                  </a:xfrm>
                  <a:prstGeom prst="donut">
                    <a:avLst>
                      <a:gd name="adj" fmla="val 12601"/>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grpSp>
                <p:nvGrpSpPr>
                  <p:cNvPr id="359475" name="Group 11"/>
                  <p:cNvGrpSpPr>
                    <a:grpSpLocks/>
                  </p:cNvGrpSpPr>
                  <p:nvPr/>
                </p:nvGrpSpPr>
                <p:grpSpPr bwMode="auto">
                  <a:xfrm>
                    <a:off x="5353305" y="2627041"/>
                    <a:ext cx="2712147" cy="2712148"/>
                    <a:chOff x="1830" y="988"/>
                    <a:chExt cx="2041" cy="2041"/>
                  </a:xfrm>
                </p:grpSpPr>
                <p:sp>
                  <p:nvSpPr>
                    <p:cNvPr id="359486" name="Freeform 12"/>
                    <p:cNvSpPr>
                      <a:spLocks/>
                    </p:cNvSpPr>
                    <p:nvPr/>
                  </p:nvSpPr>
                  <p:spPr bwMode="gray">
                    <a:xfrm>
                      <a:off x="3252" y="1660"/>
                      <a:ext cx="619" cy="1120"/>
                    </a:xfrm>
                    <a:custGeom>
                      <a:avLst/>
                      <a:gdLst>
                        <a:gd name="T0" fmla="*/ 279 w 1238"/>
                        <a:gd name="T1" fmla="*/ 0 h 2239"/>
                        <a:gd name="T2" fmla="*/ 289 w 1238"/>
                        <a:gd name="T3" fmla="*/ 28 h 2239"/>
                        <a:gd name="T4" fmla="*/ 296 w 1238"/>
                        <a:gd name="T5" fmla="*/ 56 h 2239"/>
                        <a:gd name="T6" fmla="*/ 302 w 1238"/>
                        <a:gd name="T7" fmla="*/ 85 h 2239"/>
                        <a:gd name="T8" fmla="*/ 307 w 1238"/>
                        <a:gd name="T9" fmla="*/ 114 h 2239"/>
                        <a:gd name="T10" fmla="*/ 309 w 1238"/>
                        <a:gd name="T11" fmla="*/ 144 h 2239"/>
                        <a:gd name="T12" fmla="*/ 310 w 1238"/>
                        <a:gd name="T13" fmla="*/ 175 h 2239"/>
                        <a:gd name="T14" fmla="*/ 309 w 1238"/>
                        <a:gd name="T15" fmla="*/ 205 h 2239"/>
                        <a:gd name="T16" fmla="*/ 306 w 1238"/>
                        <a:gd name="T17" fmla="*/ 235 h 2239"/>
                        <a:gd name="T18" fmla="*/ 302 w 1238"/>
                        <a:gd name="T19" fmla="*/ 265 h 2239"/>
                        <a:gd name="T20" fmla="*/ 296 w 1238"/>
                        <a:gd name="T21" fmla="*/ 294 h 2239"/>
                        <a:gd name="T22" fmla="*/ 288 w 1238"/>
                        <a:gd name="T23" fmla="*/ 322 h 2239"/>
                        <a:gd name="T24" fmla="*/ 279 w 1238"/>
                        <a:gd name="T25" fmla="*/ 350 h 2239"/>
                        <a:gd name="T26" fmla="*/ 268 w 1238"/>
                        <a:gd name="T27" fmla="*/ 377 h 2239"/>
                        <a:gd name="T28" fmla="*/ 255 w 1238"/>
                        <a:gd name="T29" fmla="*/ 403 h 2239"/>
                        <a:gd name="T30" fmla="*/ 242 w 1238"/>
                        <a:gd name="T31" fmla="*/ 428 h 2239"/>
                        <a:gd name="T32" fmla="*/ 227 w 1238"/>
                        <a:gd name="T33" fmla="*/ 453 h 2239"/>
                        <a:gd name="T34" fmla="*/ 211 w 1238"/>
                        <a:gd name="T35" fmla="*/ 476 h 2239"/>
                        <a:gd name="T36" fmla="*/ 193 w 1238"/>
                        <a:gd name="T37" fmla="*/ 499 h 2239"/>
                        <a:gd name="T38" fmla="*/ 174 w 1238"/>
                        <a:gd name="T39" fmla="*/ 520 h 2239"/>
                        <a:gd name="T40" fmla="*/ 155 w 1238"/>
                        <a:gd name="T41" fmla="*/ 541 h 2239"/>
                        <a:gd name="T42" fmla="*/ 134 w 1238"/>
                        <a:gd name="T43" fmla="*/ 560 h 2239"/>
                        <a:gd name="T44" fmla="*/ 10 w 1238"/>
                        <a:gd name="T45" fmla="*/ 510 h 2239"/>
                        <a:gd name="T46" fmla="*/ 0 w 1238"/>
                        <a:gd name="T47" fmla="*/ 374 h 2239"/>
                        <a:gd name="T48" fmla="*/ 14 w 1238"/>
                        <a:gd name="T49" fmla="*/ 358 h 2239"/>
                        <a:gd name="T50" fmla="*/ 28 w 1238"/>
                        <a:gd name="T51" fmla="*/ 341 h 2239"/>
                        <a:gd name="T52" fmla="*/ 40 w 1238"/>
                        <a:gd name="T53" fmla="*/ 323 h 2239"/>
                        <a:gd name="T54" fmla="*/ 50 w 1238"/>
                        <a:gd name="T55" fmla="*/ 304 h 2239"/>
                        <a:gd name="T56" fmla="*/ 60 w 1238"/>
                        <a:gd name="T57" fmla="*/ 284 h 2239"/>
                        <a:gd name="T58" fmla="*/ 69 w 1238"/>
                        <a:gd name="T59" fmla="*/ 263 h 2239"/>
                        <a:gd name="T60" fmla="*/ 75 w 1238"/>
                        <a:gd name="T61" fmla="*/ 242 h 2239"/>
                        <a:gd name="T62" fmla="*/ 78 w 1238"/>
                        <a:gd name="T63" fmla="*/ 220 h 2239"/>
                        <a:gd name="T64" fmla="*/ 81 w 1238"/>
                        <a:gd name="T65" fmla="*/ 198 h 2239"/>
                        <a:gd name="T66" fmla="*/ 82 w 1238"/>
                        <a:gd name="T67" fmla="*/ 174 h 2239"/>
                        <a:gd name="T68" fmla="*/ 81 w 1238"/>
                        <a:gd name="T69" fmla="*/ 153 h 2239"/>
                        <a:gd name="T70" fmla="*/ 79 w 1238"/>
                        <a:gd name="T71" fmla="*/ 131 h 2239"/>
                        <a:gd name="T72" fmla="*/ 76 w 1238"/>
                        <a:gd name="T73" fmla="*/ 111 h 2239"/>
                        <a:gd name="T74" fmla="*/ 70 w 1238"/>
                        <a:gd name="T75" fmla="*/ 91 h 2239"/>
                        <a:gd name="T76" fmla="*/ 63 w 1238"/>
                        <a:gd name="T77" fmla="*/ 71 h 2239"/>
                        <a:gd name="T78" fmla="*/ 192 w 1238"/>
                        <a:gd name="T79" fmla="*/ 104 h 2239"/>
                        <a:gd name="T80" fmla="*/ 279 w 1238"/>
                        <a:gd name="T81" fmla="*/ 0 h 223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38"/>
                        <a:gd name="T124" fmla="*/ 0 h 2239"/>
                        <a:gd name="T125" fmla="*/ 1238 w 1238"/>
                        <a:gd name="T126" fmla="*/ 2239 h 223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38" h="2239">
                          <a:moveTo>
                            <a:pt x="1115" y="0"/>
                          </a:moveTo>
                          <a:lnTo>
                            <a:pt x="1153" y="110"/>
                          </a:lnTo>
                          <a:lnTo>
                            <a:pt x="1182" y="222"/>
                          </a:lnTo>
                          <a:lnTo>
                            <a:pt x="1207" y="337"/>
                          </a:lnTo>
                          <a:lnTo>
                            <a:pt x="1225" y="455"/>
                          </a:lnTo>
                          <a:lnTo>
                            <a:pt x="1235" y="576"/>
                          </a:lnTo>
                          <a:lnTo>
                            <a:pt x="1238" y="697"/>
                          </a:lnTo>
                          <a:lnTo>
                            <a:pt x="1235" y="819"/>
                          </a:lnTo>
                          <a:lnTo>
                            <a:pt x="1223" y="939"/>
                          </a:lnTo>
                          <a:lnTo>
                            <a:pt x="1206" y="1059"/>
                          </a:lnTo>
                          <a:lnTo>
                            <a:pt x="1182" y="1174"/>
                          </a:lnTo>
                          <a:lnTo>
                            <a:pt x="1151" y="1287"/>
                          </a:lnTo>
                          <a:lnTo>
                            <a:pt x="1114" y="1397"/>
                          </a:lnTo>
                          <a:lnTo>
                            <a:pt x="1072" y="1505"/>
                          </a:lnTo>
                          <a:lnTo>
                            <a:pt x="1022" y="1611"/>
                          </a:lnTo>
                          <a:lnTo>
                            <a:pt x="968" y="1712"/>
                          </a:lnTo>
                          <a:lnTo>
                            <a:pt x="908" y="1810"/>
                          </a:lnTo>
                          <a:lnTo>
                            <a:pt x="844" y="1904"/>
                          </a:lnTo>
                          <a:lnTo>
                            <a:pt x="773" y="1993"/>
                          </a:lnTo>
                          <a:lnTo>
                            <a:pt x="698" y="2080"/>
                          </a:lnTo>
                          <a:lnTo>
                            <a:pt x="619" y="2162"/>
                          </a:lnTo>
                          <a:lnTo>
                            <a:pt x="535" y="2239"/>
                          </a:lnTo>
                          <a:lnTo>
                            <a:pt x="37" y="2038"/>
                          </a:lnTo>
                          <a:lnTo>
                            <a:pt x="0" y="1494"/>
                          </a:lnTo>
                          <a:lnTo>
                            <a:pt x="58" y="1431"/>
                          </a:lnTo>
                          <a:lnTo>
                            <a:pt x="113" y="1363"/>
                          </a:lnTo>
                          <a:lnTo>
                            <a:pt x="161" y="1291"/>
                          </a:lnTo>
                          <a:lnTo>
                            <a:pt x="203" y="1215"/>
                          </a:lnTo>
                          <a:lnTo>
                            <a:pt x="242" y="1136"/>
                          </a:lnTo>
                          <a:lnTo>
                            <a:pt x="273" y="1052"/>
                          </a:lnTo>
                          <a:lnTo>
                            <a:pt x="298" y="967"/>
                          </a:lnTo>
                          <a:lnTo>
                            <a:pt x="315" y="879"/>
                          </a:lnTo>
                          <a:lnTo>
                            <a:pt x="326" y="789"/>
                          </a:lnTo>
                          <a:lnTo>
                            <a:pt x="330" y="696"/>
                          </a:lnTo>
                          <a:lnTo>
                            <a:pt x="326" y="609"/>
                          </a:lnTo>
                          <a:lnTo>
                            <a:pt x="317" y="524"/>
                          </a:lnTo>
                          <a:lnTo>
                            <a:pt x="301" y="442"/>
                          </a:lnTo>
                          <a:lnTo>
                            <a:pt x="279" y="361"/>
                          </a:lnTo>
                          <a:lnTo>
                            <a:pt x="252" y="283"/>
                          </a:lnTo>
                          <a:lnTo>
                            <a:pt x="770" y="413"/>
                          </a:lnTo>
                          <a:lnTo>
                            <a:pt x="1115" y="0"/>
                          </a:lnTo>
                          <a:close/>
                        </a:path>
                      </a:pathLst>
                    </a:custGeom>
                    <a:solidFill>
                      <a:srgbClr val="E20074">
                        <a:alpha val="59999"/>
                      </a:srgbClr>
                    </a:solidFill>
                    <a:ln w="38100" cap="flat" cmpd="sng">
                      <a:solidFill>
                        <a:schemeClr val="bg1"/>
                      </a:solidFill>
                      <a:prstDash val="solid"/>
                      <a:round/>
                      <a:headEnd type="none" w="med" len="med"/>
                      <a:tailEnd type="none" w="med" len="med"/>
                    </a:ln>
                  </p:spPr>
                  <p:txBody>
                    <a:bodyPr lIns="72000" tIns="72000" rIns="72000" bIns="72000" anchor="ctr"/>
                    <a:lstStyle/>
                    <a:p>
                      <a:endParaRPr lang="de-DE"/>
                    </a:p>
                  </p:txBody>
                </p:sp>
                <p:sp>
                  <p:nvSpPr>
                    <p:cNvPr id="359487" name="Freeform 13"/>
                    <p:cNvSpPr>
                      <a:spLocks/>
                    </p:cNvSpPr>
                    <p:nvPr/>
                  </p:nvSpPr>
                  <p:spPr bwMode="gray">
                    <a:xfrm>
                      <a:off x="2320" y="2446"/>
                      <a:ext cx="1160" cy="583"/>
                    </a:xfrm>
                    <a:custGeom>
                      <a:avLst/>
                      <a:gdLst>
                        <a:gd name="T0" fmla="*/ 445 w 2318"/>
                        <a:gd name="T1" fmla="*/ 0 h 1165"/>
                        <a:gd name="T2" fmla="*/ 454 w 2318"/>
                        <a:gd name="T3" fmla="*/ 132 h 1165"/>
                        <a:gd name="T4" fmla="*/ 581 w 2318"/>
                        <a:gd name="T5" fmla="*/ 183 h 1165"/>
                        <a:gd name="T6" fmla="*/ 558 w 2318"/>
                        <a:gd name="T7" fmla="*/ 200 h 1165"/>
                        <a:gd name="T8" fmla="*/ 535 w 2318"/>
                        <a:gd name="T9" fmla="*/ 215 h 1165"/>
                        <a:gd name="T10" fmla="*/ 511 w 2318"/>
                        <a:gd name="T11" fmla="*/ 229 h 1165"/>
                        <a:gd name="T12" fmla="*/ 486 w 2318"/>
                        <a:gd name="T13" fmla="*/ 242 h 1165"/>
                        <a:gd name="T14" fmla="*/ 461 w 2318"/>
                        <a:gd name="T15" fmla="*/ 253 h 1165"/>
                        <a:gd name="T16" fmla="*/ 435 w 2318"/>
                        <a:gd name="T17" fmla="*/ 263 h 1165"/>
                        <a:gd name="T18" fmla="*/ 408 w 2318"/>
                        <a:gd name="T19" fmla="*/ 271 h 1165"/>
                        <a:gd name="T20" fmla="*/ 381 w 2318"/>
                        <a:gd name="T21" fmla="*/ 279 h 1165"/>
                        <a:gd name="T22" fmla="*/ 353 w 2318"/>
                        <a:gd name="T23" fmla="*/ 284 h 1165"/>
                        <a:gd name="T24" fmla="*/ 324 w 2318"/>
                        <a:gd name="T25" fmla="*/ 288 h 1165"/>
                        <a:gd name="T26" fmla="*/ 295 w 2318"/>
                        <a:gd name="T27" fmla="*/ 291 h 1165"/>
                        <a:gd name="T28" fmla="*/ 265 w 2318"/>
                        <a:gd name="T29" fmla="*/ 292 h 1165"/>
                        <a:gd name="T30" fmla="*/ 236 w 2318"/>
                        <a:gd name="T31" fmla="*/ 291 h 1165"/>
                        <a:gd name="T32" fmla="*/ 208 w 2318"/>
                        <a:gd name="T33" fmla="*/ 289 h 1165"/>
                        <a:gd name="T34" fmla="*/ 180 w 2318"/>
                        <a:gd name="T35" fmla="*/ 284 h 1165"/>
                        <a:gd name="T36" fmla="*/ 152 w 2318"/>
                        <a:gd name="T37" fmla="*/ 279 h 1165"/>
                        <a:gd name="T38" fmla="*/ 125 w 2318"/>
                        <a:gd name="T39" fmla="*/ 272 h 1165"/>
                        <a:gd name="T40" fmla="*/ 99 w 2318"/>
                        <a:gd name="T41" fmla="*/ 264 h 1165"/>
                        <a:gd name="T42" fmla="*/ 73 w 2318"/>
                        <a:gd name="T43" fmla="*/ 254 h 1165"/>
                        <a:gd name="T44" fmla="*/ 48 w 2318"/>
                        <a:gd name="T45" fmla="*/ 243 h 1165"/>
                        <a:gd name="T46" fmla="*/ 24 w 2318"/>
                        <a:gd name="T47" fmla="*/ 231 h 1165"/>
                        <a:gd name="T48" fmla="*/ 0 w 2318"/>
                        <a:gd name="T49" fmla="*/ 217 h 1165"/>
                        <a:gd name="T50" fmla="*/ 10 w 2318"/>
                        <a:gd name="T51" fmla="*/ 83 h 1165"/>
                        <a:gd name="T52" fmla="*/ 135 w 2318"/>
                        <a:gd name="T53" fmla="*/ 33 h 1165"/>
                        <a:gd name="T54" fmla="*/ 155 w 2318"/>
                        <a:gd name="T55" fmla="*/ 42 h 1165"/>
                        <a:gd name="T56" fmla="*/ 176 w 2318"/>
                        <a:gd name="T57" fmla="*/ 50 h 1165"/>
                        <a:gd name="T58" fmla="*/ 197 w 2318"/>
                        <a:gd name="T59" fmla="*/ 56 h 1165"/>
                        <a:gd name="T60" fmla="*/ 219 w 2318"/>
                        <a:gd name="T61" fmla="*/ 60 h 1165"/>
                        <a:gd name="T62" fmla="*/ 242 w 2318"/>
                        <a:gd name="T63" fmla="*/ 63 h 1165"/>
                        <a:gd name="T64" fmla="*/ 265 w 2318"/>
                        <a:gd name="T65" fmla="*/ 64 h 1165"/>
                        <a:gd name="T66" fmla="*/ 288 w 2318"/>
                        <a:gd name="T67" fmla="*/ 63 h 1165"/>
                        <a:gd name="T68" fmla="*/ 310 w 2318"/>
                        <a:gd name="T69" fmla="*/ 61 h 1165"/>
                        <a:gd name="T70" fmla="*/ 331 w 2318"/>
                        <a:gd name="T71" fmla="*/ 56 h 1165"/>
                        <a:gd name="T72" fmla="*/ 352 w 2318"/>
                        <a:gd name="T73" fmla="*/ 51 h 1165"/>
                        <a:gd name="T74" fmla="*/ 372 w 2318"/>
                        <a:gd name="T75" fmla="*/ 43 h 1165"/>
                        <a:gd name="T76" fmla="*/ 392 w 2318"/>
                        <a:gd name="T77" fmla="*/ 35 h 1165"/>
                        <a:gd name="T78" fmla="*/ 410 w 2318"/>
                        <a:gd name="T79" fmla="*/ 24 h 1165"/>
                        <a:gd name="T80" fmla="*/ 428 w 2318"/>
                        <a:gd name="T81" fmla="*/ 13 h 1165"/>
                        <a:gd name="T82" fmla="*/ 445 w 2318"/>
                        <a:gd name="T83" fmla="*/ 0 h 116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318"/>
                        <a:gd name="T127" fmla="*/ 0 h 1165"/>
                        <a:gd name="T128" fmla="*/ 2318 w 2318"/>
                        <a:gd name="T129" fmla="*/ 1165 h 116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318" h="1165">
                          <a:moveTo>
                            <a:pt x="1777" y="0"/>
                          </a:moveTo>
                          <a:lnTo>
                            <a:pt x="1812" y="528"/>
                          </a:lnTo>
                          <a:lnTo>
                            <a:pt x="2318" y="732"/>
                          </a:lnTo>
                          <a:lnTo>
                            <a:pt x="2230" y="798"/>
                          </a:lnTo>
                          <a:lnTo>
                            <a:pt x="2137" y="858"/>
                          </a:lnTo>
                          <a:lnTo>
                            <a:pt x="2041" y="914"/>
                          </a:lnTo>
                          <a:lnTo>
                            <a:pt x="1943" y="965"/>
                          </a:lnTo>
                          <a:lnTo>
                            <a:pt x="1842" y="1010"/>
                          </a:lnTo>
                          <a:lnTo>
                            <a:pt x="1737" y="1051"/>
                          </a:lnTo>
                          <a:lnTo>
                            <a:pt x="1629" y="1084"/>
                          </a:lnTo>
                          <a:lnTo>
                            <a:pt x="1520" y="1113"/>
                          </a:lnTo>
                          <a:lnTo>
                            <a:pt x="1408" y="1135"/>
                          </a:lnTo>
                          <a:lnTo>
                            <a:pt x="1294" y="1151"/>
                          </a:lnTo>
                          <a:lnTo>
                            <a:pt x="1177" y="1161"/>
                          </a:lnTo>
                          <a:lnTo>
                            <a:pt x="1060" y="1165"/>
                          </a:lnTo>
                          <a:lnTo>
                            <a:pt x="944" y="1161"/>
                          </a:lnTo>
                          <a:lnTo>
                            <a:pt x="830" y="1153"/>
                          </a:lnTo>
                          <a:lnTo>
                            <a:pt x="718" y="1136"/>
                          </a:lnTo>
                          <a:lnTo>
                            <a:pt x="608" y="1115"/>
                          </a:lnTo>
                          <a:lnTo>
                            <a:pt x="500" y="1088"/>
                          </a:lnTo>
                          <a:lnTo>
                            <a:pt x="394" y="1055"/>
                          </a:lnTo>
                          <a:lnTo>
                            <a:pt x="291" y="1016"/>
                          </a:lnTo>
                          <a:lnTo>
                            <a:pt x="191" y="971"/>
                          </a:lnTo>
                          <a:lnTo>
                            <a:pt x="94" y="923"/>
                          </a:lnTo>
                          <a:lnTo>
                            <a:pt x="0" y="868"/>
                          </a:lnTo>
                          <a:lnTo>
                            <a:pt x="37" y="330"/>
                          </a:lnTo>
                          <a:lnTo>
                            <a:pt x="539" y="129"/>
                          </a:lnTo>
                          <a:lnTo>
                            <a:pt x="619" y="166"/>
                          </a:lnTo>
                          <a:lnTo>
                            <a:pt x="701" y="197"/>
                          </a:lnTo>
                          <a:lnTo>
                            <a:pt x="786" y="222"/>
                          </a:lnTo>
                          <a:lnTo>
                            <a:pt x="876" y="240"/>
                          </a:lnTo>
                          <a:lnTo>
                            <a:pt x="966" y="251"/>
                          </a:lnTo>
                          <a:lnTo>
                            <a:pt x="1060" y="255"/>
                          </a:lnTo>
                          <a:lnTo>
                            <a:pt x="1149" y="251"/>
                          </a:lnTo>
                          <a:lnTo>
                            <a:pt x="1237" y="242"/>
                          </a:lnTo>
                          <a:lnTo>
                            <a:pt x="1323" y="224"/>
                          </a:lnTo>
                          <a:lnTo>
                            <a:pt x="1406" y="202"/>
                          </a:lnTo>
                          <a:lnTo>
                            <a:pt x="1487" y="172"/>
                          </a:lnTo>
                          <a:lnTo>
                            <a:pt x="1565" y="137"/>
                          </a:lnTo>
                          <a:lnTo>
                            <a:pt x="1639" y="96"/>
                          </a:lnTo>
                          <a:lnTo>
                            <a:pt x="1710" y="50"/>
                          </a:lnTo>
                          <a:lnTo>
                            <a:pt x="1777" y="0"/>
                          </a:lnTo>
                          <a:close/>
                        </a:path>
                      </a:pathLst>
                    </a:custGeom>
                    <a:solidFill>
                      <a:srgbClr val="E20074">
                        <a:alpha val="59999"/>
                      </a:srgbClr>
                    </a:solidFill>
                    <a:ln w="38100" cap="flat" cmpd="sng">
                      <a:solidFill>
                        <a:schemeClr val="bg1"/>
                      </a:solidFill>
                      <a:prstDash val="solid"/>
                      <a:round/>
                      <a:headEnd type="none" w="med" len="med"/>
                      <a:tailEnd type="none" w="med" len="med"/>
                    </a:ln>
                  </p:spPr>
                  <p:txBody>
                    <a:bodyPr lIns="72000" tIns="72000" rIns="72000" bIns="72000" anchor="ctr"/>
                    <a:lstStyle/>
                    <a:p>
                      <a:endParaRPr lang="de-DE"/>
                    </a:p>
                  </p:txBody>
                </p:sp>
                <p:sp>
                  <p:nvSpPr>
                    <p:cNvPr id="359488" name="Freeform 14"/>
                    <p:cNvSpPr>
                      <a:spLocks/>
                    </p:cNvSpPr>
                    <p:nvPr/>
                  </p:nvSpPr>
                  <p:spPr bwMode="gray">
                    <a:xfrm>
                      <a:off x="1830" y="1713"/>
                      <a:ext cx="710" cy="1139"/>
                    </a:xfrm>
                    <a:custGeom>
                      <a:avLst/>
                      <a:gdLst>
                        <a:gd name="T0" fmla="*/ 142 w 1420"/>
                        <a:gd name="T1" fmla="*/ 0 h 2279"/>
                        <a:gd name="T2" fmla="*/ 229 w 1420"/>
                        <a:gd name="T3" fmla="*/ 106 h 2279"/>
                        <a:gd name="T4" fmla="*/ 227 w 1420"/>
                        <a:gd name="T5" fmla="*/ 126 h 2279"/>
                        <a:gd name="T6" fmla="*/ 226 w 1420"/>
                        <a:gd name="T7" fmla="*/ 147 h 2279"/>
                        <a:gd name="T8" fmla="*/ 227 w 1420"/>
                        <a:gd name="T9" fmla="*/ 170 h 2279"/>
                        <a:gd name="T10" fmla="*/ 230 w 1420"/>
                        <a:gd name="T11" fmla="*/ 192 h 2279"/>
                        <a:gd name="T12" fmla="*/ 234 w 1420"/>
                        <a:gd name="T13" fmla="*/ 214 h 2279"/>
                        <a:gd name="T14" fmla="*/ 240 w 1420"/>
                        <a:gd name="T15" fmla="*/ 235 h 2279"/>
                        <a:gd name="T16" fmla="*/ 248 w 1420"/>
                        <a:gd name="T17" fmla="*/ 255 h 2279"/>
                        <a:gd name="T18" fmla="*/ 257 w 1420"/>
                        <a:gd name="T19" fmla="*/ 275 h 2279"/>
                        <a:gd name="T20" fmla="*/ 268 w 1420"/>
                        <a:gd name="T21" fmla="*/ 293 h 2279"/>
                        <a:gd name="T22" fmla="*/ 279 w 1420"/>
                        <a:gd name="T23" fmla="*/ 311 h 2279"/>
                        <a:gd name="T24" fmla="*/ 292 w 1420"/>
                        <a:gd name="T25" fmla="*/ 328 h 2279"/>
                        <a:gd name="T26" fmla="*/ 306 w 1420"/>
                        <a:gd name="T27" fmla="*/ 344 h 2279"/>
                        <a:gd name="T28" fmla="*/ 322 w 1420"/>
                        <a:gd name="T29" fmla="*/ 358 h 2279"/>
                        <a:gd name="T30" fmla="*/ 338 w 1420"/>
                        <a:gd name="T31" fmla="*/ 372 h 2279"/>
                        <a:gd name="T32" fmla="*/ 355 w 1420"/>
                        <a:gd name="T33" fmla="*/ 384 h 2279"/>
                        <a:gd name="T34" fmla="*/ 232 w 1420"/>
                        <a:gd name="T35" fmla="*/ 433 h 2279"/>
                        <a:gd name="T36" fmla="*/ 223 w 1420"/>
                        <a:gd name="T37" fmla="*/ 569 h 2279"/>
                        <a:gd name="T38" fmla="*/ 199 w 1420"/>
                        <a:gd name="T39" fmla="*/ 553 h 2279"/>
                        <a:gd name="T40" fmla="*/ 178 w 1420"/>
                        <a:gd name="T41" fmla="*/ 534 h 2279"/>
                        <a:gd name="T42" fmla="*/ 157 w 1420"/>
                        <a:gd name="T43" fmla="*/ 515 h 2279"/>
                        <a:gd name="T44" fmla="*/ 137 w 1420"/>
                        <a:gd name="T45" fmla="*/ 495 h 2279"/>
                        <a:gd name="T46" fmla="*/ 117 w 1420"/>
                        <a:gd name="T47" fmla="*/ 473 h 2279"/>
                        <a:gd name="T48" fmla="*/ 99 w 1420"/>
                        <a:gd name="T49" fmla="*/ 451 h 2279"/>
                        <a:gd name="T50" fmla="*/ 84 w 1420"/>
                        <a:gd name="T51" fmla="*/ 427 h 2279"/>
                        <a:gd name="T52" fmla="*/ 68 w 1420"/>
                        <a:gd name="T53" fmla="*/ 402 h 2279"/>
                        <a:gd name="T54" fmla="*/ 54 w 1420"/>
                        <a:gd name="T55" fmla="*/ 377 h 2279"/>
                        <a:gd name="T56" fmla="*/ 42 w 1420"/>
                        <a:gd name="T57" fmla="*/ 351 h 2279"/>
                        <a:gd name="T58" fmla="*/ 31 w 1420"/>
                        <a:gd name="T59" fmla="*/ 324 h 2279"/>
                        <a:gd name="T60" fmla="*/ 22 w 1420"/>
                        <a:gd name="T61" fmla="*/ 296 h 2279"/>
                        <a:gd name="T62" fmla="*/ 14 w 1420"/>
                        <a:gd name="T63" fmla="*/ 268 h 2279"/>
                        <a:gd name="T64" fmla="*/ 8 w 1420"/>
                        <a:gd name="T65" fmla="*/ 238 h 2279"/>
                        <a:gd name="T66" fmla="*/ 3 w 1420"/>
                        <a:gd name="T67" fmla="*/ 209 h 2279"/>
                        <a:gd name="T68" fmla="*/ 1 w 1420"/>
                        <a:gd name="T69" fmla="*/ 178 h 2279"/>
                        <a:gd name="T70" fmla="*/ 0 w 1420"/>
                        <a:gd name="T71" fmla="*/ 148 h 2279"/>
                        <a:gd name="T72" fmla="*/ 1 w 1420"/>
                        <a:gd name="T73" fmla="*/ 118 h 2279"/>
                        <a:gd name="T74" fmla="*/ 3 w 1420"/>
                        <a:gd name="T75" fmla="*/ 89 h 2279"/>
                        <a:gd name="T76" fmla="*/ 7 w 1420"/>
                        <a:gd name="T77" fmla="*/ 60 h 2279"/>
                        <a:gd name="T78" fmla="*/ 13 w 1420"/>
                        <a:gd name="T79" fmla="*/ 32 h 2279"/>
                        <a:gd name="T80" fmla="*/ 142 w 1420"/>
                        <a:gd name="T81" fmla="*/ 0 h 22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20"/>
                        <a:gd name="T124" fmla="*/ 0 h 2279"/>
                        <a:gd name="T125" fmla="*/ 1420 w 1420"/>
                        <a:gd name="T126" fmla="*/ 2279 h 22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20" h="2279">
                          <a:moveTo>
                            <a:pt x="566" y="0"/>
                          </a:moveTo>
                          <a:lnTo>
                            <a:pt x="918" y="424"/>
                          </a:lnTo>
                          <a:lnTo>
                            <a:pt x="909" y="507"/>
                          </a:lnTo>
                          <a:lnTo>
                            <a:pt x="906" y="591"/>
                          </a:lnTo>
                          <a:lnTo>
                            <a:pt x="910" y="682"/>
                          </a:lnTo>
                          <a:lnTo>
                            <a:pt x="920" y="770"/>
                          </a:lnTo>
                          <a:lnTo>
                            <a:pt x="937" y="857"/>
                          </a:lnTo>
                          <a:lnTo>
                            <a:pt x="962" y="940"/>
                          </a:lnTo>
                          <a:lnTo>
                            <a:pt x="992" y="1022"/>
                          </a:lnTo>
                          <a:lnTo>
                            <a:pt x="1026" y="1100"/>
                          </a:lnTo>
                          <a:lnTo>
                            <a:pt x="1069" y="1175"/>
                          </a:lnTo>
                          <a:lnTo>
                            <a:pt x="1116" y="1245"/>
                          </a:lnTo>
                          <a:lnTo>
                            <a:pt x="1167" y="1312"/>
                          </a:lnTo>
                          <a:lnTo>
                            <a:pt x="1224" y="1376"/>
                          </a:lnTo>
                          <a:lnTo>
                            <a:pt x="1285" y="1435"/>
                          </a:lnTo>
                          <a:lnTo>
                            <a:pt x="1350" y="1489"/>
                          </a:lnTo>
                          <a:lnTo>
                            <a:pt x="1420" y="1538"/>
                          </a:lnTo>
                          <a:lnTo>
                            <a:pt x="931" y="1734"/>
                          </a:lnTo>
                          <a:lnTo>
                            <a:pt x="892" y="2279"/>
                          </a:lnTo>
                          <a:lnTo>
                            <a:pt x="799" y="2212"/>
                          </a:lnTo>
                          <a:lnTo>
                            <a:pt x="710" y="2139"/>
                          </a:lnTo>
                          <a:lnTo>
                            <a:pt x="626" y="2062"/>
                          </a:lnTo>
                          <a:lnTo>
                            <a:pt x="545" y="1980"/>
                          </a:lnTo>
                          <a:lnTo>
                            <a:pt x="469" y="1894"/>
                          </a:lnTo>
                          <a:lnTo>
                            <a:pt x="398" y="1804"/>
                          </a:lnTo>
                          <a:lnTo>
                            <a:pt x="333" y="1710"/>
                          </a:lnTo>
                          <a:lnTo>
                            <a:pt x="272" y="1611"/>
                          </a:lnTo>
                          <a:lnTo>
                            <a:pt x="217" y="1510"/>
                          </a:lnTo>
                          <a:lnTo>
                            <a:pt x="168" y="1404"/>
                          </a:lnTo>
                          <a:lnTo>
                            <a:pt x="125" y="1296"/>
                          </a:lnTo>
                          <a:lnTo>
                            <a:pt x="88" y="1186"/>
                          </a:lnTo>
                          <a:lnTo>
                            <a:pt x="57" y="1072"/>
                          </a:lnTo>
                          <a:lnTo>
                            <a:pt x="32" y="955"/>
                          </a:lnTo>
                          <a:lnTo>
                            <a:pt x="15" y="836"/>
                          </a:lnTo>
                          <a:lnTo>
                            <a:pt x="4" y="715"/>
                          </a:lnTo>
                          <a:lnTo>
                            <a:pt x="0" y="592"/>
                          </a:lnTo>
                          <a:lnTo>
                            <a:pt x="4" y="473"/>
                          </a:lnTo>
                          <a:lnTo>
                            <a:pt x="14" y="357"/>
                          </a:lnTo>
                          <a:lnTo>
                            <a:pt x="30" y="241"/>
                          </a:lnTo>
                          <a:lnTo>
                            <a:pt x="53" y="128"/>
                          </a:lnTo>
                          <a:lnTo>
                            <a:pt x="566" y="0"/>
                          </a:lnTo>
                          <a:close/>
                        </a:path>
                      </a:pathLst>
                    </a:custGeom>
                    <a:solidFill>
                      <a:srgbClr val="E20074">
                        <a:alpha val="59999"/>
                      </a:srgbClr>
                    </a:solidFill>
                    <a:ln w="38100" cap="flat" cmpd="sng">
                      <a:solidFill>
                        <a:schemeClr val="bg1"/>
                      </a:solidFill>
                      <a:prstDash val="solid"/>
                      <a:round/>
                      <a:headEnd type="none" w="med" len="med"/>
                      <a:tailEnd type="none" w="med" len="med"/>
                    </a:ln>
                  </p:spPr>
                  <p:txBody>
                    <a:bodyPr lIns="72000" tIns="72000" rIns="72000" bIns="72000" anchor="ctr"/>
                    <a:lstStyle/>
                    <a:p>
                      <a:endParaRPr lang="de-DE"/>
                    </a:p>
                  </p:txBody>
                </p:sp>
                <p:sp>
                  <p:nvSpPr>
                    <p:cNvPr id="359489" name="Freeform 15"/>
                    <p:cNvSpPr>
                      <a:spLocks/>
                    </p:cNvSpPr>
                    <p:nvPr/>
                  </p:nvSpPr>
                  <p:spPr bwMode="gray">
                    <a:xfrm>
                      <a:off x="2807" y="988"/>
                      <a:ext cx="984" cy="827"/>
                    </a:xfrm>
                    <a:custGeom>
                      <a:avLst/>
                      <a:gdLst>
                        <a:gd name="T0" fmla="*/ 22 w 1967"/>
                        <a:gd name="T1" fmla="*/ 0 h 1654"/>
                        <a:gd name="T2" fmla="*/ 53 w 1967"/>
                        <a:gd name="T3" fmla="*/ 1 h 1654"/>
                        <a:gd name="T4" fmla="*/ 84 w 1967"/>
                        <a:gd name="T5" fmla="*/ 3 h 1654"/>
                        <a:gd name="T6" fmla="*/ 115 w 1967"/>
                        <a:gd name="T7" fmla="*/ 9 h 1654"/>
                        <a:gd name="T8" fmla="*/ 145 w 1967"/>
                        <a:gd name="T9" fmla="*/ 14 h 1654"/>
                        <a:gd name="T10" fmla="*/ 174 w 1967"/>
                        <a:gd name="T11" fmla="*/ 23 h 1654"/>
                        <a:gd name="T12" fmla="*/ 202 w 1967"/>
                        <a:gd name="T13" fmla="*/ 33 h 1654"/>
                        <a:gd name="T14" fmla="*/ 230 w 1967"/>
                        <a:gd name="T15" fmla="*/ 44 h 1654"/>
                        <a:gd name="T16" fmla="*/ 256 w 1967"/>
                        <a:gd name="T17" fmla="*/ 57 h 1654"/>
                        <a:gd name="T18" fmla="*/ 282 w 1967"/>
                        <a:gd name="T19" fmla="*/ 72 h 1654"/>
                        <a:gd name="T20" fmla="*/ 307 w 1967"/>
                        <a:gd name="T21" fmla="*/ 87 h 1654"/>
                        <a:gd name="T22" fmla="*/ 331 w 1967"/>
                        <a:gd name="T23" fmla="*/ 104 h 1654"/>
                        <a:gd name="T24" fmla="*/ 354 w 1967"/>
                        <a:gd name="T25" fmla="*/ 122 h 1654"/>
                        <a:gd name="T26" fmla="*/ 376 w 1967"/>
                        <a:gd name="T27" fmla="*/ 143 h 1654"/>
                        <a:gd name="T28" fmla="*/ 396 w 1967"/>
                        <a:gd name="T29" fmla="*/ 164 h 1654"/>
                        <a:gd name="T30" fmla="*/ 416 w 1967"/>
                        <a:gd name="T31" fmla="*/ 186 h 1654"/>
                        <a:gd name="T32" fmla="*/ 434 w 1967"/>
                        <a:gd name="T33" fmla="*/ 209 h 1654"/>
                        <a:gd name="T34" fmla="*/ 451 w 1967"/>
                        <a:gd name="T35" fmla="*/ 233 h 1654"/>
                        <a:gd name="T36" fmla="*/ 466 w 1967"/>
                        <a:gd name="T37" fmla="*/ 259 h 1654"/>
                        <a:gd name="T38" fmla="*/ 480 w 1967"/>
                        <a:gd name="T39" fmla="*/ 285 h 1654"/>
                        <a:gd name="T40" fmla="*/ 492 w 1967"/>
                        <a:gd name="T41" fmla="*/ 312 h 1654"/>
                        <a:gd name="T42" fmla="*/ 407 w 1967"/>
                        <a:gd name="T43" fmla="*/ 414 h 1654"/>
                        <a:gd name="T44" fmla="*/ 273 w 1967"/>
                        <a:gd name="T45" fmla="*/ 380 h 1654"/>
                        <a:gd name="T46" fmla="*/ 263 w 1967"/>
                        <a:gd name="T47" fmla="*/ 361 h 1654"/>
                        <a:gd name="T48" fmla="*/ 250 w 1967"/>
                        <a:gd name="T49" fmla="*/ 343 h 1654"/>
                        <a:gd name="T50" fmla="*/ 237 w 1967"/>
                        <a:gd name="T51" fmla="*/ 326 h 1654"/>
                        <a:gd name="T52" fmla="*/ 222 w 1967"/>
                        <a:gd name="T53" fmla="*/ 310 h 1654"/>
                        <a:gd name="T54" fmla="*/ 206 w 1967"/>
                        <a:gd name="T55" fmla="*/ 296 h 1654"/>
                        <a:gd name="T56" fmla="*/ 189 w 1967"/>
                        <a:gd name="T57" fmla="*/ 282 h 1654"/>
                        <a:gd name="T58" fmla="*/ 171 w 1967"/>
                        <a:gd name="T59" fmla="*/ 270 h 1654"/>
                        <a:gd name="T60" fmla="*/ 152 w 1967"/>
                        <a:gd name="T61" fmla="*/ 259 h 1654"/>
                        <a:gd name="T62" fmla="*/ 132 w 1967"/>
                        <a:gd name="T63" fmla="*/ 249 h 1654"/>
                        <a:gd name="T64" fmla="*/ 111 w 1967"/>
                        <a:gd name="T65" fmla="*/ 241 h 1654"/>
                        <a:gd name="T66" fmla="*/ 90 w 1967"/>
                        <a:gd name="T67" fmla="*/ 235 h 1654"/>
                        <a:gd name="T68" fmla="*/ 68 w 1967"/>
                        <a:gd name="T69" fmla="*/ 230 h 1654"/>
                        <a:gd name="T70" fmla="*/ 45 w 1967"/>
                        <a:gd name="T71" fmla="*/ 228 h 1654"/>
                        <a:gd name="T72" fmla="*/ 22 w 1967"/>
                        <a:gd name="T73" fmla="*/ 227 h 1654"/>
                        <a:gd name="T74" fmla="*/ 3 w 1967"/>
                        <a:gd name="T75" fmla="*/ 227 h 1654"/>
                        <a:gd name="T76" fmla="*/ 73 w 1967"/>
                        <a:gd name="T77" fmla="*/ 116 h 1654"/>
                        <a:gd name="T78" fmla="*/ 0 w 1967"/>
                        <a:gd name="T79" fmla="*/ 1 h 1654"/>
                        <a:gd name="T80" fmla="*/ 22 w 1967"/>
                        <a:gd name="T81" fmla="*/ 0 h 16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67"/>
                        <a:gd name="T124" fmla="*/ 0 h 1654"/>
                        <a:gd name="T125" fmla="*/ 1967 w 1967"/>
                        <a:gd name="T126" fmla="*/ 1654 h 165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67" h="1654">
                          <a:moveTo>
                            <a:pt x="86" y="0"/>
                          </a:moveTo>
                          <a:lnTo>
                            <a:pt x="212" y="3"/>
                          </a:lnTo>
                          <a:lnTo>
                            <a:pt x="335" y="15"/>
                          </a:lnTo>
                          <a:lnTo>
                            <a:pt x="457" y="33"/>
                          </a:lnTo>
                          <a:lnTo>
                            <a:pt x="577" y="59"/>
                          </a:lnTo>
                          <a:lnTo>
                            <a:pt x="693" y="92"/>
                          </a:lnTo>
                          <a:lnTo>
                            <a:pt x="807" y="131"/>
                          </a:lnTo>
                          <a:lnTo>
                            <a:pt x="917" y="176"/>
                          </a:lnTo>
                          <a:lnTo>
                            <a:pt x="1024" y="228"/>
                          </a:lnTo>
                          <a:lnTo>
                            <a:pt x="1128" y="285"/>
                          </a:lnTo>
                          <a:lnTo>
                            <a:pt x="1227" y="348"/>
                          </a:lnTo>
                          <a:lnTo>
                            <a:pt x="1323" y="418"/>
                          </a:lnTo>
                          <a:lnTo>
                            <a:pt x="1415" y="491"/>
                          </a:lnTo>
                          <a:lnTo>
                            <a:pt x="1502" y="571"/>
                          </a:lnTo>
                          <a:lnTo>
                            <a:pt x="1584" y="655"/>
                          </a:lnTo>
                          <a:lnTo>
                            <a:pt x="1662" y="743"/>
                          </a:lnTo>
                          <a:lnTo>
                            <a:pt x="1734" y="836"/>
                          </a:lnTo>
                          <a:lnTo>
                            <a:pt x="1801" y="933"/>
                          </a:lnTo>
                          <a:lnTo>
                            <a:pt x="1862" y="1034"/>
                          </a:lnTo>
                          <a:lnTo>
                            <a:pt x="1918" y="1139"/>
                          </a:lnTo>
                          <a:lnTo>
                            <a:pt x="1967" y="1247"/>
                          </a:lnTo>
                          <a:lnTo>
                            <a:pt x="1626" y="1654"/>
                          </a:lnTo>
                          <a:lnTo>
                            <a:pt x="1092" y="1520"/>
                          </a:lnTo>
                          <a:lnTo>
                            <a:pt x="1049" y="1444"/>
                          </a:lnTo>
                          <a:lnTo>
                            <a:pt x="1000" y="1371"/>
                          </a:lnTo>
                          <a:lnTo>
                            <a:pt x="946" y="1304"/>
                          </a:lnTo>
                          <a:lnTo>
                            <a:pt x="886" y="1240"/>
                          </a:lnTo>
                          <a:lnTo>
                            <a:pt x="823" y="1181"/>
                          </a:lnTo>
                          <a:lnTo>
                            <a:pt x="755" y="1127"/>
                          </a:lnTo>
                          <a:lnTo>
                            <a:pt x="683" y="1078"/>
                          </a:lnTo>
                          <a:lnTo>
                            <a:pt x="607" y="1035"/>
                          </a:lnTo>
                          <a:lnTo>
                            <a:pt x="526" y="998"/>
                          </a:lnTo>
                          <a:lnTo>
                            <a:pt x="444" y="965"/>
                          </a:lnTo>
                          <a:lnTo>
                            <a:pt x="357" y="940"/>
                          </a:lnTo>
                          <a:lnTo>
                            <a:pt x="269" y="923"/>
                          </a:lnTo>
                          <a:lnTo>
                            <a:pt x="179" y="912"/>
                          </a:lnTo>
                          <a:lnTo>
                            <a:pt x="86" y="908"/>
                          </a:lnTo>
                          <a:lnTo>
                            <a:pt x="12" y="911"/>
                          </a:lnTo>
                          <a:lnTo>
                            <a:pt x="290" y="466"/>
                          </a:lnTo>
                          <a:lnTo>
                            <a:pt x="0" y="2"/>
                          </a:lnTo>
                          <a:lnTo>
                            <a:pt x="86" y="0"/>
                          </a:lnTo>
                          <a:close/>
                        </a:path>
                      </a:pathLst>
                    </a:custGeom>
                    <a:solidFill>
                      <a:srgbClr val="E20074">
                        <a:alpha val="59999"/>
                      </a:srgbClr>
                    </a:solidFill>
                    <a:ln w="38100" cap="flat" cmpd="sng">
                      <a:solidFill>
                        <a:schemeClr val="bg1"/>
                      </a:solidFill>
                      <a:prstDash val="solid"/>
                      <a:round/>
                      <a:headEnd type="none" w="med" len="med"/>
                      <a:tailEnd type="none" w="med" len="med"/>
                    </a:ln>
                  </p:spPr>
                  <p:txBody>
                    <a:bodyPr lIns="72000" tIns="72000" rIns="72000" bIns="72000" anchor="ctr"/>
                    <a:lstStyle/>
                    <a:p>
                      <a:endParaRPr lang="de-DE"/>
                    </a:p>
                  </p:txBody>
                </p:sp>
                <p:sp>
                  <p:nvSpPr>
                    <p:cNvPr id="359490" name="Freeform 16"/>
                    <p:cNvSpPr>
                      <a:spLocks/>
                    </p:cNvSpPr>
                    <p:nvPr/>
                  </p:nvSpPr>
                  <p:spPr bwMode="gray">
                    <a:xfrm>
                      <a:off x="1870" y="992"/>
                      <a:ext cx="1029" cy="875"/>
                    </a:xfrm>
                    <a:custGeom>
                      <a:avLst/>
                      <a:gdLst>
                        <a:gd name="T0" fmla="*/ 443 w 2058"/>
                        <a:gd name="T1" fmla="*/ 0 h 1749"/>
                        <a:gd name="T2" fmla="*/ 515 w 2058"/>
                        <a:gd name="T3" fmla="*/ 115 h 1749"/>
                        <a:gd name="T4" fmla="*/ 443 w 2058"/>
                        <a:gd name="T5" fmla="*/ 229 h 1749"/>
                        <a:gd name="T6" fmla="*/ 421 w 2058"/>
                        <a:gd name="T7" fmla="*/ 234 h 1749"/>
                        <a:gd name="T8" fmla="*/ 399 w 2058"/>
                        <a:gd name="T9" fmla="*/ 240 h 1749"/>
                        <a:gd name="T10" fmla="*/ 379 w 2058"/>
                        <a:gd name="T11" fmla="*/ 248 h 1749"/>
                        <a:gd name="T12" fmla="*/ 359 w 2058"/>
                        <a:gd name="T13" fmla="*/ 257 h 1749"/>
                        <a:gd name="T14" fmla="*/ 340 w 2058"/>
                        <a:gd name="T15" fmla="*/ 268 h 1749"/>
                        <a:gd name="T16" fmla="*/ 323 w 2058"/>
                        <a:gd name="T17" fmla="*/ 280 h 1749"/>
                        <a:gd name="T18" fmla="*/ 306 w 2058"/>
                        <a:gd name="T19" fmla="*/ 293 h 1749"/>
                        <a:gd name="T20" fmla="*/ 290 w 2058"/>
                        <a:gd name="T21" fmla="*/ 308 h 1749"/>
                        <a:gd name="T22" fmla="*/ 275 w 2058"/>
                        <a:gd name="T23" fmla="*/ 323 h 1749"/>
                        <a:gd name="T24" fmla="*/ 262 w 2058"/>
                        <a:gd name="T25" fmla="*/ 340 h 1749"/>
                        <a:gd name="T26" fmla="*/ 250 w 2058"/>
                        <a:gd name="T27" fmla="*/ 358 h 1749"/>
                        <a:gd name="T28" fmla="*/ 239 w 2058"/>
                        <a:gd name="T29" fmla="*/ 377 h 1749"/>
                        <a:gd name="T30" fmla="*/ 230 w 2058"/>
                        <a:gd name="T31" fmla="*/ 396 h 1749"/>
                        <a:gd name="T32" fmla="*/ 222 w 2058"/>
                        <a:gd name="T33" fmla="*/ 417 h 1749"/>
                        <a:gd name="T34" fmla="*/ 215 w 2058"/>
                        <a:gd name="T35" fmla="*/ 438 h 1749"/>
                        <a:gd name="T36" fmla="*/ 130 w 2058"/>
                        <a:gd name="T37" fmla="*/ 335 h 1749"/>
                        <a:gd name="T38" fmla="*/ 0 w 2058"/>
                        <a:gd name="T39" fmla="*/ 368 h 1749"/>
                        <a:gd name="T40" fmla="*/ 9 w 2058"/>
                        <a:gd name="T41" fmla="*/ 340 h 1749"/>
                        <a:gd name="T42" fmla="*/ 19 w 2058"/>
                        <a:gd name="T43" fmla="*/ 312 h 1749"/>
                        <a:gd name="T44" fmla="*/ 31 w 2058"/>
                        <a:gd name="T45" fmla="*/ 286 h 1749"/>
                        <a:gd name="T46" fmla="*/ 44 w 2058"/>
                        <a:gd name="T47" fmla="*/ 260 h 1749"/>
                        <a:gd name="T48" fmla="*/ 59 w 2058"/>
                        <a:gd name="T49" fmla="*/ 235 h 1749"/>
                        <a:gd name="T50" fmla="*/ 75 w 2058"/>
                        <a:gd name="T51" fmla="*/ 211 h 1749"/>
                        <a:gd name="T52" fmla="*/ 93 w 2058"/>
                        <a:gd name="T53" fmla="*/ 189 h 1749"/>
                        <a:gd name="T54" fmla="*/ 111 w 2058"/>
                        <a:gd name="T55" fmla="*/ 166 h 1749"/>
                        <a:gd name="T56" fmla="*/ 131 w 2058"/>
                        <a:gd name="T57" fmla="*/ 146 h 1749"/>
                        <a:gd name="T58" fmla="*/ 152 w 2058"/>
                        <a:gd name="T59" fmla="*/ 126 h 1749"/>
                        <a:gd name="T60" fmla="*/ 174 w 2058"/>
                        <a:gd name="T61" fmla="*/ 108 h 1749"/>
                        <a:gd name="T62" fmla="*/ 197 w 2058"/>
                        <a:gd name="T63" fmla="*/ 91 h 1749"/>
                        <a:gd name="T64" fmla="*/ 221 w 2058"/>
                        <a:gd name="T65" fmla="*/ 75 h 1749"/>
                        <a:gd name="T66" fmla="*/ 246 w 2058"/>
                        <a:gd name="T67" fmla="*/ 60 h 1749"/>
                        <a:gd name="T68" fmla="*/ 272 w 2058"/>
                        <a:gd name="T69" fmla="*/ 47 h 1749"/>
                        <a:gd name="T70" fmla="*/ 299 w 2058"/>
                        <a:gd name="T71" fmla="*/ 35 h 1749"/>
                        <a:gd name="T72" fmla="*/ 326 w 2058"/>
                        <a:gd name="T73" fmla="*/ 25 h 1749"/>
                        <a:gd name="T74" fmla="*/ 354 w 2058"/>
                        <a:gd name="T75" fmla="*/ 17 h 1749"/>
                        <a:gd name="T76" fmla="*/ 383 w 2058"/>
                        <a:gd name="T77" fmla="*/ 9 h 1749"/>
                        <a:gd name="T78" fmla="*/ 413 w 2058"/>
                        <a:gd name="T79" fmla="*/ 4 h 1749"/>
                        <a:gd name="T80" fmla="*/ 443 w 2058"/>
                        <a:gd name="T81" fmla="*/ 0 h 174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8"/>
                        <a:gd name="T124" fmla="*/ 0 h 1749"/>
                        <a:gd name="T125" fmla="*/ 2058 w 2058"/>
                        <a:gd name="T126" fmla="*/ 1749 h 174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8" h="1749">
                          <a:moveTo>
                            <a:pt x="1773" y="0"/>
                          </a:moveTo>
                          <a:lnTo>
                            <a:pt x="2058" y="458"/>
                          </a:lnTo>
                          <a:lnTo>
                            <a:pt x="1772" y="916"/>
                          </a:lnTo>
                          <a:lnTo>
                            <a:pt x="1685" y="935"/>
                          </a:lnTo>
                          <a:lnTo>
                            <a:pt x="1599" y="960"/>
                          </a:lnTo>
                          <a:lnTo>
                            <a:pt x="1517" y="991"/>
                          </a:lnTo>
                          <a:lnTo>
                            <a:pt x="1439" y="1028"/>
                          </a:lnTo>
                          <a:lnTo>
                            <a:pt x="1363" y="1070"/>
                          </a:lnTo>
                          <a:lnTo>
                            <a:pt x="1293" y="1119"/>
                          </a:lnTo>
                          <a:lnTo>
                            <a:pt x="1224" y="1172"/>
                          </a:lnTo>
                          <a:lnTo>
                            <a:pt x="1162" y="1230"/>
                          </a:lnTo>
                          <a:lnTo>
                            <a:pt x="1103" y="1292"/>
                          </a:lnTo>
                          <a:lnTo>
                            <a:pt x="1049" y="1359"/>
                          </a:lnTo>
                          <a:lnTo>
                            <a:pt x="1001" y="1430"/>
                          </a:lnTo>
                          <a:lnTo>
                            <a:pt x="957" y="1505"/>
                          </a:lnTo>
                          <a:lnTo>
                            <a:pt x="920" y="1584"/>
                          </a:lnTo>
                          <a:lnTo>
                            <a:pt x="888" y="1665"/>
                          </a:lnTo>
                          <a:lnTo>
                            <a:pt x="863" y="1749"/>
                          </a:lnTo>
                          <a:lnTo>
                            <a:pt x="521" y="1340"/>
                          </a:lnTo>
                          <a:lnTo>
                            <a:pt x="0" y="1469"/>
                          </a:lnTo>
                          <a:lnTo>
                            <a:pt x="36" y="1357"/>
                          </a:lnTo>
                          <a:lnTo>
                            <a:pt x="77" y="1248"/>
                          </a:lnTo>
                          <a:lnTo>
                            <a:pt x="126" y="1141"/>
                          </a:lnTo>
                          <a:lnTo>
                            <a:pt x="179" y="1038"/>
                          </a:lnTo>
                          <a:lnTo>
                            <a:pt x="239" y="940"/>
                          </a:lnTo>
                          <a:lnTo>
                            <a:pt x="303" y="844"/>
                          </a:lnTo>
                          <a:lnTo>
                            <a:pt x="373" y="753"/>
                          </a:lnTo>
                          <a:lnTo>
                            <a:pt x="447" y="664"/>
                          </a:lnTo>
                          <a:lnTo>
                            <a:pt x="527" y="582"/>
                          </a:lnTo>
                          <a:lnTo>
                            <a:pt x="610" y="503"/>
                          </a:lnTo>
                          <a:lnTo>
                            <a:pt x="698" y="430"/>
                          </a:lnTo>
                          <a:lnTo>
                            <a:pt x="791" y="362"/>
                          </a:lnTo>
                          <a:lnTo>
                            <a:pt x="887" y="297"/>
                          </a:lnTo>
                          <a:lnTo>
                            <a:pt x="987" y="239"/>
                          </a:lnTo>
                          <a:lnTo>
                            <a:pt x="1090" y="187"/>
                          </a:lnTo>
                          <a:lnTo>
                            <a:pt x="1197" y="139"/>
                          </a:lnTo>
                          <a:lnTo>
                            <a:pt x="1307" y="100"/>
                          </a:lnTo>
                          <a:lnTo>
                            <a:pt x="1419" y="65"/>
                          </a:lnTo>
                          <a:lnTo>
                            <a:pt x="1535" y="36"/>
                          </a:lnTo>
                          <a:lnTo>
                            <a:pt x="1652" y="15"/>
                          </a:lnTo>
                          <a:lnTo>
                            <a:pt x="1773" y="0"/>
                          </a:lnTo>
                          <a:close/>
                        </a:path>
                      </a:pathLst>
                    </a:custGeom>
                    <a:solidFill>
                      <a:srgbClr val="E20074">
                        <a:alpha val="59999"/>
                      </a:srgbClr>
                    </a:solidFill>
                    <a:ln w="38100" cap="flat" cmpd="sng">
                      <a:solidFill>
                        <a:schemeClr val="bg1"/>
                      </a:solidFill>
                      <a:prstDash val="solid"/>
                      <a:round/>
                      <a:headEnd type="none" w="med" len="med"/>
                      <a:tailEnd type="none" w="med" len="med"/>
                    </a:ln>
                  </p:spPr>
                  <p:txBody>
                    <a:bodyPr lIns="72000" tIns="72000" rIns="72000" bIns="72000" anchor="ctr"/>
                    <a:lstStyle/>
                    <a:p>
                      <a:endParaRPr lang="de-DE"/>
                    </a:p>
                  </p:txBody>
                </p:sp>
              </p:grpSp>
              <p:sp>
                <p:nvSpPr>
                  <p:cNvPr id="26" name="Donut 25"/>
                  <p:cNvSpPr>
                    <a:spLocks noChangeAspect="1"/>
                  </p:cNvSpPr>
                  <p:nvPr/>
                </p:nvSpPr>
                <p:spPr>
                  <a:xfrm>
                    <a:off x="4922654" y="2197553"/>
                    <a:ext cx="3572475" cy="3571030"/>
                  </a:xfrm>
                  <a:prstGeom prst="donut">
                    <a:avLst>
                      <a:gd name="adj" fmla="val 9946"/>
                    </a:avLst>
                  </a:prstGeom>
                  <a:solidFill>
                    <a:schemeClr val="accent6">
                      <a:alpha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359477" name="TextBox 31"/>
                  <p:cNvSpPr txBox="1">
                    <a:spLocks noChangeArrowheads="1"/>
                  </p:cNvSpPr>
                  <p:nvPr/>
                </p:nvSpPr>
                <p:spPr bwMode="auto">
                  <a:xfrm rot="3492905">
                    <a:off x="6195490" y="4050344"/>
                    <a:ext cx="395999" cy="217519"/>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800">
                        <a:solidFill>
                          <a:schemeClr val="bg1"/>
                        </a:solidFill>
                      </a:rPr>
                      <a:t>M2M</a:t>
                    </a:r>
                  </a:p>
                </p:txBody>
              </p:sp>
              <p:sp>
                <p:nvSpPr>
                  <p:cNvPr id="359478" name="TextBox 32"/>
                  <p:cNvSpPr txBox="1">
                    <a:spLocks noChangeArrowheads="1"/>
                  </p:cNvSpPr>
                  <p:nvPr/>
                </p:nvSpPr>
                <p:spPr bwMode="auto">
                  <a:xfrm>
                    <a:off x="6511378" y="3482788"/>
                    <a:ext cx="396000" cy="215311"/>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800">
                        <a:solidFill>
                          <a:schemeClr val="bg1"/>
                        </a:solidFill>
                      </a:rPr>
                      <a:t>IPv6</a:t>
                    </a:r>
                  </a:p>
                </p:txBody>
              </p:sp>
              <p:sp>
                <p:nvSpPr>
                  <p:cNvPr id="34" name="TextBox 33"/>
                  <p:cNvSpPr txBox="1"/>
                  <p:nvPr/>
                </p:nvSpPr>
                <p:spPr>
                  <a:xfrm>
                    <a:off x="5997713" y="2452660"/>
                    <a:ext cx="1440000" cy="468361"/>
                  </a:xfrm>
                  <a:prstGeom prst="rect">
                    <a:avLst/>
                  </a:prstGeom>
                  <a:noFill/>
                </p:spPr>
                <p:txBody>
                  <a:bodyPr spcFirstLastPara="1" lIns="0" tIns="0" rIns="0" bIns="0" anchor="ctr">
                    <a:prstTxWarp prst="textArchUp">
                      <a:avLst/>
                    </a:prstTxWarp>
                    <a:spAutoFit/>
                  </a:bodyPr>
                  <a:lstStyle/>
                  <a:p>
                    <a:pPr algn="ctr">
                      <a:lnSpc>
                        <a:spcPts val="1800"/>
                      </a:lnSpc>
                      <a:spcBef>
                        <a:spcPts val="0"/>
                      </a:spcBef>
                      <a:spcAft>
                        <a:spcPts val="450"/>
                      </a:spcAft>
                      <a:buClr>
                        <a:schemeClr val="tx2"/>
                      </a:buClr>
                      <a:buSzPct val="75000"/>
                      <a:buFont typeface="Wingdings" pitchFamily="2" charset="2"/>
                      <a:buNone/>
                      <a:defRPr/>
                    </a:pPr>
                    <a:r>
                      <a:rPr lang="en-US" sz="1100">
                        <a:latin typeface="Tele-GroteskNor" pitchFamily="2" charset="0"/>
                      </a:rPr>
                      <a:t>further Innovation Fields</a:t>
                    </a:r>
                  </a:p>
                </p:txBody>
              </p:sp>
              <p:sp>
                <p:nvSpPr>
                  <p:cNvPr id="359480" name="TextBox 35"/>
                  <p:cNvSpPr txBox="1">
                    <a:spLocks noChangeArrowheads="1"/>
                  </p:cNvSpPr>
                  <p:nvPr/>
                </p:nvSpPr>
                <p:spPr bwMode="auto">
                  <a:xfrm rot="-2233669">
                    <a:off x="5828604" y="3021012"/>
                    <a:ext cx="612000" cy="226598"/>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1200">
                        <a:solidFill>
                          <a:schemeClr val="bg1"/>
                        </a:solidFill>
                        <a:latin typeface="Tele-GroteskNor"/>
                      </a:rPr>
                      <a:t>Traffic</a:t>
                    </a:r>
                  </a:p>
                </p:txBody>
              </p:sp>
              <p:sp>
                <p:nvSpPr>
                  <p:cNvPr id="359481" name="TextBox 36"/>
                  <p:cNvSpPr txBox="1">
                    <a:spLocks noChangeArrowheads="1"/>
                  </p:cNvSpPr>
                  <p:nvPr/>
                </p:nvSpPr>
                <p:spPr bwMode="auto">
                  <a:xfrm rot="2222172">
                    <a:off x="6809148" y="3064730"/>
                    <a:ext cx="1025892" cy="223565"/>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1100">
                        <a:solidFill>
                          <a:schemeClr val="bg1"/>
                        </a:solidFill>
                        <a:latin typeface="Tele-GroteskNor"/>
                      </a:rPr>
                      <a:t>Education</a:t>
                    </a:r>
                  </a:p>
                </p:txBody>
              </p:sp>
              <p:sp>
                <p:nvSpPr>
                  <p:cNvPr id="359482" name="TextBox 37"/>
                  <p:cNvSpPr txBox="1">
                    <a:spLocks noChangeArrowheads="1"/>
                  </p:cNvSpPr>
                  <p:nvPr/>
                </p:nvSpPr>
                <p:spPr bwMode="auto">
                  <a:xfrm rot="-4189093">
                    <a:off x="7000703" y="4250665"/>
                    <a:ext cx="1261023" cy="256575"/>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1100">
                        <a:solidFill>
                          <a:schemeClr val="bg1"/>
                        </a:solidFill>
                        <a:latin typeface="Tele-GroteskNor"/>
                      </a:rPr>
                      <a:t>Administration</a:t>
                    </a:r>
                  </a:p>
                </p:txBody>
              </p:sp>
              <p:sp>
                <p:nvSpPr>
                  <p:cNvPr id="359483" name="TextBox 39"/>
                  <p:cNvSpPr txBox="1">
                    <a:spLocks noChangeArrowheads="1"/>
                  </p:cNvSpPr>
                  <p:nvPr/>
                </p:nvSpPr>
                <p:spPr bwMode="auto">
                  <a:xfrm rot="4028288">
                    <a:off x="5259933" y="4117916"/>
                    <a:ext cx="843013" cy="256575"/>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1100">
                        <a:solidFill>
                          <a:schemeClr val="bg1"/>
                        </a:solidFill>
                        <a:latin typeface="Tele-GroteskNor"/>
                      </a:rPr>
                      <a:t>Health</a:t>
                    </a:r>
                  </a:p>
                </p:txBody>
              </p:sp>
              <p:sp>
                <p:nvSpPr>
                  <p:cNvPr id="359484" name="TextBox 40"/>
                  <p:cNvSpPr txBox="1">
                    <a:spLocks noChangeArrowheads="1"/>
                  </p:cNvSpPr>
                  <p:nvPr/>
                </p:nvSpPr>
                <p:spPr bwMode="auto">
                  <a:xfrm>
                    <a:off x="6241231" y="4881325"/>
                    <a:ext cx="843013" cy="253970"/>
                  </a:xfrm>
                  <a:prstGeom prst="rect">
                    <a:avLst/>
                  </a:prstGeom>
                  <a:noFill/>
                  <a:ln w="9525">
                    <a:noFill/>
                    <a:miter lim="800000"/>
                    <a:headEnd/>
                    <a:tailEnd/>
                  </a:ln>
                </p:spPr>
                <p:txBody>
                  <a:bodyPr lIns="0" tIns="0" rIns="0" bIns="0" anchor="ctr">
                    <a:spAutoFit/>
                  </a:bodyPr>
                  <a:lstStyle/>
                  <a:p>
                    <a:pPr algn="ctr">
                      <a:lnSpc>
                        <a:spcPts val="1800"/>
                      </a:lnSpc>
                      <a:spcAft>
                        <a:spcPts val="450"/>
                      </a:spcAft>
                      <a:buClr>
                        <a:schemeClr val="tx2"/>
                      </a:buClr>
                      <a:buSzPct val="75000"/>
                      <a:buFont typeface="Wingdings" pitchFamily="2" charset="2"/>
                      <a:buNone/>
                    </a:pPr>
                    <a:r>
                      <a:rPr lang="en-US" sz="1100">
                        <a:solidFill>
                          <a:schemeClr val="bg1"/>
                        </a:solidFill>
                        <a:latin typeface="Tele-GroteskNor"/>
                      </a:rPr>
                      <a:t>Energy</a:t>
                    </a:r>
                  </a:p>
                </p:txBody>
              </p:sp>
              <p:sp>
                <p:nvSpPr>
                  <p:cNvPr id="42" name="Oval 41"/>
                  <p:cNvSpPr>
                    <a:spLocks noChangeAspect="1"/>
                  </p:cNvSpPr>
                  <p:nvPr/>
                </p:nvSpPr>
                <p:spPr>
                  <a:xfrm>
                    <a:off x="4931479" y="2206284"/>
                    <a:ext cx="3572475" cy="3571031"/>
                  </a:xfrm>
                  <a:prstGeom prst="ellipse">
                    <a:avLst/>
                  </a:prstGeom>
                  <a:noFill/>
                  <a:ln w="28575">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grpSp>
            <p:sp>
              <p:nvSpPr>
                <p:cNvPr id="46" name="Oval 78"/>
                <p:cNvSpPr>
                  <a:spLocks noChangeAspect="1" noChangeArrowheads="1"/>
                </p:cNvSpPr>
                <p:nvPr/>
              </p:nvSpPr>
              <p:spPr bwMode="auto">
                <a:xfrm>
                  <a:off x="5905790" y="1717341"/>
                  <a:ext cx="561288" cy="544822"/>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Smart Home</a:t>
                  </a:r>
                </a:p>
              </p:txBody>
            </p:sp>
            <p:sp>
              <p:nvSpPr>
                <p:cNvPr id="69" name="Oval 78"/>
                <p:cNvSpPr>
                  <a:spLocks noChangeAspect="1" noChangeArrowheads="1"/>
                </p:cNvSpPr>
                <p:nvPr/>
              </p:nvSpPr>
              <p:spPr bwMode="auto">
                <a:xfrm>
                  <a:off x="6971885" y="1717341"/>
                  <a:ext cx="561288" cy="544822"/>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Smart Buildings</a:t>
                  </a:r>
                </a:p>
              </p:txBody>
            </p:sp>
            <p:sp>
              <p:nvSpPr>
                <p:cNvPr id="70" name="Oval 78"/>
                <p:cNvSpPr>
                  <a:spLocks noChangeAspect="1" noChangeArrowheads="1"/>
                </p:cNvSpPr>
                <p:nvPr/>
              </p:nvSpPr>
              <p:spPr bwMode="auto">
                <a:xfrm>
                  <a:off x="4502571" y="2990340"/>
                  <a:ext cx="561288" cy="546568"/>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Internet</a:t>
                  </a:r>
                  <a:br>
                    <a:rPr lang="en-US" sz="700">
                      <a:latin typeface="Tele-GroteskFet" pitchFamily="2" charset="0"/>
                      <a:cs typeface="Times New Roman" pitchFamily="18" charset="0"/>
                    </a:rPr>
                  </a:br>
                  <a:r>
                    <a:rPr lang="en-US" sz="700">
                      <a:latin typeface="Tele-GroteskFet" pitchFamily="2" charset="0"/>
                      <a:cs typeface="Times New Roman" pitchFamily="18" charset="0"/>
                    </a:rPr>
                    <a:t>of Things</a:t>
                  </a:r>
                </a:p>
              </p:txBody>
            </p:sp>
            <p:sp>
              <p:nvSpPr>
                <p:cNvPr id="71" name="Oval 78"/>
                <p:cNvSpPr>
                  <a:spLocks noChangeAspect="1" noChangeArrowheads="1"/>
                </p:cNvSpPr>
                <p:nvPr/>
              </p:nvSpPr>
              <p:spPr bwMode="auto">
                <a:xfrm>
                  <a:off x="8368045" y="2990340"/>
                  <a:ext cx="561288" cy="546568"/>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Smart Cities</a:t>
                  </a:r>
                </a:p>
              </p:txBody>
            </p:sp>
            <p:sp>
              <p:nvSpPr>
                <p:cNvPr id="72" name="Oval 78"/>
                <p:cNvSpPr>
                  <a:spLocks noChangeAspect="1" noChangeArrowheads="1"/>
                </p:cNvSpPr>
                <p:nvPr/>
              </p:nvSpPr>
              <p:spPr bwMode="auto">
                <a:xfrm>
                  <a:off x="5023262" y="5230746"/>
                  <a:ext cx="561288" cy="546569"/>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Industry 4.0</a:t>
                  </a:r>
                </a:p>
              </p:txBody>
            </p:sp>
            <p:sp>
              <p:nvSpPr>
                <p:cNvPr id="73" name="Oval 78"/>
                <p:cNvSpPr>
                  <a:spLocks noChangeAspect="1" noChangeArrowheads="1"/>
                </p:cNvSpPr>
                <p:nvPr/>
              </p:nvSpPr>
              <p:spPr bwMode="auto">
                <a:xfrm>
                  <a:off x="7838528" y="5230746"/>
                  <a:ext cx="561288" cy="546569"/>
                </a:xfrm>
                <a:prstGeom prst="ellipse">
                  <a:avLst/>
                </a:prstGeom>
                <a:solidFill>
                  <a:srgbClr val="A4A4A4">
                    <a:alpha val="74902"/>
                  </a:srgbClr>
                </a:solidFill>
                <a:ln w="28575" algn="ctr">
                  <a:solidFill>
                    <a:schemeClr val="bg1">
                      <a:lumMod val="50000"/>
                    </a:schemeClr>
                  </a:solidFill>
                  <a:round/>
                  <a:headEnd/>
                  <a:tailEnd/>
                </a:ln>
                <a:effectLst/>
              </p:spPr>
              <p:txBody>
                <a:bodyPr lIns="0" tIns="0" rIns="0" bIns="0" anchor="ctr"/>
                <a:lstStyle/>
                <a:p>
                  <a:pPr algn="ctr" defTabSz="863600" eaLnBrk="0" hangingPunct="0">
                    <a:lnSpc>
                      <a:spcPct val="90000"/>
                    </a:lnSpc>
                    <a:spcBef>
                      <a:spcPct val="50000"/>
                    </a:spcBef>
                    <a:buClr>
                      <a:schemeClr val="tx2"/>
                    </a:buClr>
                    <a:buSzPct val="75000"/>
                    <a:defRPr/>
                  </a:pPr>
                  <a:r>
                    <a:rPr lang="en-US" sz="700">
                      <a:latin typeface="Tele-GroteskFet" pitchFamily="2" charset="0"/>
                      <a:cs typeface="Times New Roman" pitchFamily="18" charset="0"/>
                    </a:rPr>
                    <a:t>Cyber Physical Systems</a:t>
                  </a:r>
                </a:p>
              </p:txBody>
            </p:sp>
            <p:sp>
              <p:nvSpPr>
                <p:cNvPr id="359462" name="Oval 78"/>
                <p:cNvSpPr>
                  <a:spLocks noChangeAspect="1" noChangeArrowheads="1"/>
                </p:cNvSpPr>
                <p:nvPr/>
              </p:nvSpPr>
              <p:spPr bwMode="auto">
                <a:xfrm>
                  <a:off x="6428755" y="5858520"/>
                  <a:ext cx="561134" cy="545689"/>
                </a:xfrm>
                <a:prstGeom prst="ellipse">
                  <a:avLst/>
                </a:prstGeom>
                <a:solidFill>
                  <a:srgbClr val="E20074">
                    <a:alpha val="59999"/>
                  </a:srgbClr>
                </a:solidFill>
                <a:ln w="9525" algn="ctr">
                  <a:solidFill>
                    <a:schemeClr val="tx2"/>
                  </a:solidFill>
                  <a:round/>
                  <a:headEnd/>
                  <a:tailEnd/>
                </a:ln>
              </p:spPr>
              <p:txBody>
                <a:bodyPr lIns="0" tIns="0" rIns="0" bIns="0" anchor="ctr"/>
                <a:lstStyle/>
                <a:p>
                  <a:pPr algn="ctr" defTabSz="863600" eaLnBrk="0" hangingPunct="0">
                    <a:lnSpc>
                      <a:spcPct val="90000"/>
                    </a:lnSpc>
                    <a:spcBef>
                      <a:spcPct val="50000"/>
                    </a:spcBef>
                    <a:buClr>
                      <a:schemeClr val="tx2"/>
                    </a:buClr>
                    <a:buSzPct val="75000"/>
                  </a:pPr>
                  <a:r>
                    <a:rPr lang="en-US" sz="700">
                      <a:solidFill>
                        <a:schemeClr val="bg1"/>
                      </a:solidFill>
                      <a:cs typeface="Times New Roman" pitchFamily="18" charset="0"/>
                    </a:rPr>
                    <a:t>Smart Grid</a:t>
                  </a:r>
                </a:p>
              </p:txBody>
            </p:sp>
            <p:cxnSp>
              <p:nvCxnSpPr>
                <p:cNvPr id="78" name="Straight Connector 77"/>
                <p:cNvCxnSpPr>
                  <a:stCxn id="359462" idx="0"/>
                  <a:endCxn id="359487" idx="14"/>
                </p:cNvCxnSpPr>
                <p:nvPr/>
              </p:nvCxnSpPr>
              <p:spPr>
                <a:xfrm flipV="1">
                  <a:off x="6708892" y="5339012"/>
                  <a:ext cx="0" cy="520375"/>
                </a:xfrm>
                <a:prstGeom prst="line">
                  <a:avLst/>
                </a:prstGeom>
                <a:ln w="9525">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9464" name="Oval 78"/>
                <p:cNvSpPr>
                  <a:spLocks noChangeAspect="1" noChangeArrowheads="1"/>
                </p:cNvSpPr>
                <p:nvPr/>
              </p:nvSpPr>
              <p:spPr bwMode="auto">
                <a:xfrm>
                  <a:off x="5081325" y="2235964"/>
                  <a:ext cx="445659" cy="433392"/>
                </a:xfrm>
                <a:prstGeom prst="ellipse">
                  <a:avLst/>
                </a:prstGeom>
                <a:solidFill>
                  <a:srgbClr val="E20074">
                    <a:alpha val="59999"/>
                  </a:srgbClr>
                </a:solidFill>
                <a:ln w="9525" algn="ctr">
                  <a:solidFill>
                    <a:schemeClr val="tx2"/>
                  </a:solidFill>
                  <a:round/>
                  <a:headEnd/>
                  <a:tailEnd/>
                </a:ln>
              </p:spPr>
              <p:txBody>
                <a:bodyPr lIns="0" tIns="0" rIns="0" bIns="0" anchor="ctr"/>
                <a:lstStyle/>
                <a:p>
                  <a:pPr algn="ctr" defTabSz="863600" eaLnBrk="0" hangingPunct="0">
                    <a:lnSpc>
                      <a:spcPct val="90000"/>
                    </a:lnSpc>
                    <a:spcBef>
                      <a:spcPct val="50000"/>
                    </a:spcBef>
                    <a:buClr>
                      <a:schemeClr val="tx2"/>
                    </a:buClr>
                    <a:buSzPct val="75000"/>
                  </a:pPr>
                  <a:r>
                    <a:rPr lang="en-US" sz="700">
                      <a:solidFill>
                        <a:schemeClr val="bg1"/>
                      </a:solidFill>
                      <a:cs typeface="Times New Roman" pitchFamily="18" charset="0"/>
                    </a:rPr>
                    <a:t>Smart Mobility</a:t>
                  </a:r>
                </a:p>
              </p:txBody>
            </p:sp>
            <p:cxnSp>
              <p:nvCxnSpPr>
                <p:cNvPr id="86" name="Straight Connector 85"/>
                <p:cNvCxnSpPr>
                  <a:stCxn id="359490" idx="29"/>
                  <a:endCxn id="359464" idx="5"/>
                </p:cNvCxnSpPr>
                <p:nvPr/>
              </p:nvCxnSpPr>
              <p:spPr>
                <a:xfrm flipH="1" flipV="1">
                  <a:off x="5460996" y="2606170"/>
                  <a:ext cx="351247" cy="359722"/>
                </a:xfrm>
                <a:prstGeom prst="line">
                  <a:avLst/>
                </a:prstGeom>
                <a:ln w="9525">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9466" name="Oval 78"/>
                <p:cNvSpPr>
                  <a:spLocks noChangeAspect="1" noChangeArrowheads="1"/>
                </p:cNvSpPr>
                <p:nvPr/>
              </p:nvSpPr>
              <p:spPr bwMode="auto">
                <a:xfrm>
                  <a:off x="4477860" y="4317932"/>
                  <a:ext cx="445659" cy="433392"/>
                </a:xfrm>
                <a:prstGeom prst="ellipse">
                  <a:avLst/>
                </a:prstGeom>
                <a:solidFill>
                  <a:srgbClr val="E20074">
                    <a:alpha val="59999"/>
                  </a:srgbClr>
                </a:solidFill>
                <a:ln w="9525" algn="ctr">
                  <a:solidFill>
                    <a:schemeClr val="tx2"/>
                  </a:solidFill>
                  <a:round/>
                  <a:headEnd/>
                  <a:tailEnd/>
                </a:ln>
              </p:spPr>
              <p:txBody>
                <a:bodyPr lIns="0" tIns="0" rIns="0" bIns="0" anchor="ctr"/>
                <a:lstStyle/>
                <a:p>
                  <a:pPr algn="ctr" defTabSz="863600" eaLnBrk="0" hangingPunct="0">
                    <a:lnSpc>
                      <a:spcPct val="90000"/>
                    </a:lnSpc>
                    <a:spcBef>
                      <a:spcPct val="50000"/>
                    </a:spcBef>
                    <a:buClr>
                      <a:schemeClr val="tx2"/>
                    </a:buClr>
                    <a:buSzPct val="75000"/>
                  </a:pPr>
                  <a:r>
                    <a:rPr lang="en-US" sz="700">
                      <a:solidFill>
                        <a:schemeClr val="bg1"/>
                      </a:solidFill>
                      <a:cs typeface="Times New Roman" pitchFamily="18" charset="0"/>
                    </a:rPr>
                    <a:t>eHealth</a:t>
                  </a:r>
                </a:p>
              </p:txBody>
            </p:sp>
            <p:cxnSp>
              <p:nvCxnSpPr>
                <p:cNvPr id="91" name="Straight Connector 90"/>
                <p:cNvCxnSpPr>
                  <a:stCxn id="359488" idx="30"/>
                  <a:endCxn id="359466" idx="6"/>
                </p:cNvCxnSpPr>
                <p:nvPr/>
              </p:nvCxnSpPr>
              <p:spPr>
                <a:xfrm flipH="1">
                  <a:off x="4922654" y="4378588"/>
                  <a:ext cx="488920" cy="155415"/>
                </a:xfrm>
                <a:prstGeom prst="line">
                  <a:avLst/>
                </a:prstGeom>
                <a:ln w="9525">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9468" name="Oval 78"/>
                <p:cNvSpPr>
                  <a:spLocks noChangeAspect="1" noChangeArrowheads="1"/>
                </p:cNvSpPr>
                <p:nvPr/>
              </p:nvSpPr>
              <p:spPr bwMode="auto">
                <a:xfrm>
                  <a:off x="7895694" y="2233476"/>
                  <a:ext cx="445659" cy="433392"/>
                </a:xfrm>
                <a:prstGeom prst="ellipse">
                  <a:avLst/>
                </a:prstGeom>
                <a:solidFill>
                  <a:srgbClr val="E20074">
                    <a:alpha val="59999"/>
                  </a:srgbClr>
                </a:solidFill>
                <a:ln w="9525" algn="ctr">
                  <a:solidFill>
                    <a:schemeClr val="tx2"/>
                  </a:solidFill>
                  <a:round/>
                  <a:headEnd/>
                  <a:tailEnd/>
                </a:ln>
              </p:spPr>
              <p:txBody>
                <a:bodyPr lIns="0" tIns="0" rIns="0" bIns="0" anchor="ctr"/>
                <a:lstStyle/>
                <a:p>
                  <a:pPr algn="ctr" defTabSz="863600" eaLnBrk="0" hangingPunct="0">
                    <a:lnSpc>
                      <a:spcPct val="90000"/>
                    </a:lnSpc>
                    <a:spcBef>
                      <a:spcPct val="50000"/>
                    </a:spcBef>
                    <a:buClr>
                      <a:schemeClr val="tx2"/>
                    </a:buClr>
                    <a:buSzPct val="75000"/>
                  </a:pPr>
                  <a:r>
                    <a:rPr lang="en-US" sz="700">
                      <a:solidFill>
                        <a:schemeClr val="bg1"/>
                      </a:solidFill>
                      <a:cs typeface="Times New Roman" pitchFamily="18" charset="0"/>
                    </a:rPr>
                    <a:t>eLearn-ing</a:t>
                  </a:r>
                </a:p>
              </p:txBody>
            </p:sp>
            <p:cxnSp>
              <p:nvCxnSpPr>
                <p:cNvPr id="96" name="Straight Connector 95"/>
                <p:cNvCxnSpPr>
                  <a:stCxn id="359489" idx="12"/>
                  <a:endCxn id="359468" idx="3"/>
                </p:cNvCxnSpPr>
                <p:nvPr/>
              </p:nvCxnSpPr>
              <p:spPr>
                <a:xfrm flipV="1">
                  <a:off x="7591420" y="2602678"/>
                  <a:ext cx="368896" cy="350991"/>
                </a:xfrm>
                <a:prstGeom prst="line">
                  <a:avLst/>
                </a:prstGeom>
                <a:ln w="9525">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59470" name="Oval 78"/>
                <p:cNvSpPr>
                  <a:spLocks noChangeAspect="1" noChangeArrowheads="1"/>
                </p:cNvSpPr>
                <p:nvPr/>
              </p:nvSpPr>
              <p:spPr bwMode="auto">
                <a:xfrm>
                  <a:off x="8445648" y="4443775"/>
                  <a:ext cx="445659" cy="433392"/>
                </a:xfrm>
                <a:prstGeom prst="ellipse">
                  <a:avLst/>
                </a:prstGeom>
                <a:solidFill>
                  <a:srgbClr val="E20074">
                    <a:alpha val="59999"/>
                  </a:srgbClr>
                </a:solidFill>
                <a:ln w="9525" algn="ctr">
                  <a:solidFill>
                    <a:schemeClr val="tx2"/>
                  </a:solidFill>
                  <a:round/>
                  <a:headEnd/>
                  <a:tailEnd/>
                </a:ln>
              </p:spPr>
              <p:txBody>
                <a:bodyPr lIns="0" tIns="0" rIns="0" bIns="0" anchor="ctr"/>
                <a:lstStyle/>
                <a:p>
                  <a:pPr algn="ctr" defTabSz="863600" eaLnBrk="0" hangingPunct="0">
                    <a:lnSpc>
                      <a:spcPct val="90000"/>
                    </a:lnSpc>
                    <a:spcBef>
                      <a:spcPct val="50000"/>
                    </a:spcBef>
                    <a:buClr>
                      <a:schemeClr val="tx2"/>
                    </a:buClr>
                    <a:buSzPct val="75000"/>
                  </a:pPr>
                  <a:r>
                    <a:rPr lang="en-US" sz="700">
                      <a:solidFill>
                        <a:schemeClr val="bg1"/>
                      </a:solidFill>
                      <a:cs typeface="Times New Roman" pitchFamily="18" charset="0"/>
                    </a:rPr>
                    <a:t>eGov</a:t>
                  </a:r>
                </a:p>
              </p:txBody>
            </p:sp>
            <p:cxnSp>
              <p:nvCxnSpPr>
                <p:cNvPr id="101" name="Straight Connector 100"/>
                <p:cNvCxnSpPr>
                  <a:stCxn id="359486" idx="13"/>
                  <a:endCxn id="359470" idx="2"/>
                </p:cNvCxnSpPr>
                <p:nvPr/>
              </p:nvCxnSpPr>
              <p:spPr>
                <a:xfrm>
                  <a:off x="7955022" y="4520033"/>
                  <a:ext cx="490686" cy="139698"/>
                </a:xfrm>
                <a:prstGeom prst="line">
                  <a:avLst/>
                </a:prstGeom>
                <a:ln w="9525">
                  <a:solidFill>
                    <a:schemeClr val="tx2"/>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114" name="TextBox 113"/>
              <p:cNvSpPr txBox="1"/>
              <p:nvPr/>
            </p:nvSpPr>
            <p:spPr>
              <a:xfrm rot="18277870">
                <a:off x="6207273" y="3257021"/>
                <a:ext cx="1025373" cy="1048353"/>
              </a:xfrm>
              <a:prstGeom prst="rect">
                <a:avLst/>
              </a:prstGeom>
              <a:noFill/>
            </p:spPr>
            <p:txBody>
              <a:bodyPr spcFirstLastPara="1" lIns="0" tIns="0" rIns="0" bIns="0" anchor="ctr">
                <a:prstTxWarp prst="textArchDown">
                  <a:avLst>
                    <a:gd name="adj" fmla="val 16418029"/>
                  </a:avLst>
                </a:prstTxWarp>
              </a:bodyPr>
              <a:lstStyle/>
              <a:p>
                <a:pPr algn="ctr">
                  <a:lnSpc>
                    <a:spcPts val="1800"/>
                  </a:lnSpc>
                  <a:spcBef>
                    <a:spcPts val="0"/>
                  </a:spcBef>
                  <a:spcAft>
                    <a:spcPts val="450"/>
                  </a:spcAft>
                  <a:buClr>
                    <a:schemeClr val="tx2"/>
                  </a:buClr>
                  <a:buSzPct val="75000"/>
                  <a:buFont typeface="Wingdings" pitchFamily="2" charset="2"/>
                  <a:buNone/>
                  <a:defRPr/>
                </a:pPr>
                <a:r>
                  <a:rPr lang="en-US" sz="800">
                    <a:solidFill>
                      <a:schemeClr val="bg1"/>
                    </a:solidFill>
                    <a:latin typeface="Tele-GroteskFet" pitchFamily="2" charset="0"/>
                  </a:rPr>
                  <a:t>Cloud Computing</a:t>
                </a:r>
              </a:p>
            </p:txBody>
          </p:sp>
        </p:grpSp>
        <p:sp>
          <p:nvSpPr>
            <p:cNvPr id="119" name="TextBox 118"/>
            <p:cNvSpPr txBox="1"/>
            <p:nvPr/>
          </p:nvSpPr>
          <p:spPr>
            <a:xfrm>
              <a:off x="6206948" y="3331402"/>
              <a:ext cx="1274288" cy="1812902"/>
            </a:xfrm>
            <a:prstGeom prst="rect">
              <a:avLst/>
            </a:prstGeom>
            <a:noFill/>
          </p:spPr>
          <p:txBody>
            <a:bodyPr spcFirstLastPara="1" lIns="0" tIns="0" rIns="0" bIns="0" anchor="ctr">
              <a:prstTxWarp prst="textArchUp">
                <a:avLst>
                  <a:gd name="adj" fmla="val 10073548"/>
                </a:avLst>
              </a:prstTxWarp>
              <a:spAutoFit/>
            </a:bodyPr>
            <a:lstStyle/>
            <a:p>
              <a:pPr algn="ctr">
                <a:lnSpc>
                  <a:spcPts val="1800"/>
                </a:lnSpc>
                <a:spcBef>
                  <a:spcPts val="0"/>
                </a:spcBef>
                <a:spcAft>
                  <a:spcPts val="450"/>
                </a:spcAft>
                <a:buClr>
                  <a:schemeClr val="tx2"/>
                </a:buClr>
                <a:buSzPct val="75000"/>
                <a:buFont typeface="Wingdings" pitchFamily="2" charset="2"/>
                <a:buNone/>
                <a:defRPr/>
              </a:pPr>
              <a:r>
                <a:rPr lang="en-US" sz="1100">
                  <a:solidFill>
                    <a:schemeClr val="bg1"/>
                  </a:solidFill>
                  <a:latin typeface="Tele-GroteskFet" pitchFamily="2" charset="0"/>
                </a:rPr>
                <a:t>Intelligent Networks</a:t>
              </a:r>
            </a:p>
          </p:txBody>
        </p:sp>
      </p:grpSp>
      <p:sp>
        <p:nvSpPr>
          <p:cNvPr id="359450" name="Rectangle 55"/>
          <p:cNvSpPr>
            <a:spLocks noChangeArrowheads="1"/>
          </p:cNvSpPr>
          <p:nvPr/>
        </p:nvSpPr>
        <p:spPr bwMode="gray">
          <a:xfrm rot="1389566">
            <a:off x="7845425" y="1014413"/>
            <a:ext cx="938213" cy="608012"/>
          </a:xfrm>
          <a:prstGeom prst="rect">
            <a:avLst/>
          </a:prstGeom>
          <a:solidFill>
            <a:schemeClr val="tx2"/>
          </a:solidFill>
          <a:ln w="38100" algn="ctr">
            <a:noFill/>
            <a:miter lim="800000"/>
            <a:headEnd/>
            <a:tailEnd/>
          </a:ln>
        </p:spPr>
        <p:txBody>
          <a:bodyPr lIns="72000" tIns="72000" rIns="72000" bIns="72000" anchor="ctr"/>
          <a:lstStyle/>
          <a:p>
            <a:pPr marL="1588" algn="ctr">
              <a:lnSpc>
                <a:spcPct val="90000"/>
              </a:lnSpc>
              <a:spcBef>
                <a:spcPct val="25000"/>
              </a:spcBef>
              <a:buClr>
                <a:schemeClr val="tx2"/>
              </a:buClr>
              <a:buFont typeface="Wingdings" pitchFamily="2" charset="2"/>
              <a:buNone/>
            </a:pPr>
            <a:r>
              <a:rPr lang="en-US" sz="1200">
                <a:solidFill>
                  <a:schemeClr val="bg1"/>
                </a:solidFill>
              </a:rPr>
              <a:t>Illustration as discussed in 2012</a:t>
            </a:r>
            <a:r>
              <a:rPr lang="en-US" sz="1200">
                <a:solidFill>
                  <a:schemeClr val="bg1"/>
                </a:solidFill>
                <a:latin typeface="Tele-GroteskNor"/>
              </a:rPr>
              <a:t> </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graphicFrame>
        <p:nvGraphicFramePr>
          <p:cNvPr id="368655" name="Object 15"/>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368655" name="think-cell Folie" r:id="rId5" imgW="360" imgH="360" progId="">
              <p:embed/>
            </p:oleObj>
          </a:graphicData>
        </a:graphic>
      </p:graphicFrame>
      <p:sp>
        <p:nvSpPr>
          <p:cNvPr id="368657" name="Rectangle 1037"/>
          <p:cNvSpPr>
            <a:spLocks noGrp="1"/>
          </p:cNvSpPr>
          <p:nvPr>
            <p:ph type="ctrTitle"/>
          </p:nvPr>
        </p:nvSpPr>
        <p:spPr>
          <a:xfrm>
            <a:off x="304800" y="1773238"/>
            <a:ext cx="8496300" cy="1828800"/>
          </a:xfrm>
        </p:spPr>
        <p:txBody>
          <a:bodyPr/>
          <a:lstStyle/>
          <a:p>
            <a:pPr eaLnBrk="1" hangingPunct="1"/>
            <a:r>
              <a:rPr lang="en-US" sz="4400">
                <a:latin typeface="TeleGrotesk Headline Ultra"/>
                <a:cs typeface="TeleGrotesk Headline Ultra"/>
              </a:rPr>
              <a:t>T-Labs’ Research and Telekom Innovation towards</a:t>
            </a:r>
            <a:br>
              <a:rPr lang="en-US" sz="4400">
                <a:latin typeface="TeleGrotesk Headline Ultra"/>
                <a:cs typeface="TeleGrotesk Headline Ultra"/>
              </a:rPr>
            </a:br>
            <a:r>
              <a:rPr lang="en-US" sz="4400">
                <a:latin typeface="TeleGrotesk Headline Ultra"/>
                <a:cs typeface="TeleGrotesk Headline Ultra"/>
              </a:rPr>
              <a:t>Smart Cities</a:t>
            </a:r>
            <a:endParaRPr lang="en-US" sz="4400">
              <a:latin typeface="TeleGrotesk Headline"/>
              <a:cs typeface="TeleGrotesk Headline Ultr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0" y="0"/>
            <a:ext cx="914400" cy="0"/>
          </a:xfrm>
          <a:prstGeom prst="line">
            <a:avLst/>
          </a:prstGeom>
          <a:ln w="0" cap="flat" cmpd="sng" algn="ctr">
            <a:solidFill>
              <a:srgbClr val="FBFFFF"/>
            </a:solidFill>
            <a:prstDash val="solid"/>
            <a:round/>
            <a:headEnd type="none" w="med" len="med"/>
            <a:tailEnd type="none" w="lg" len="lg"/>
          </a:ln>
          <a:effectLst/>
          <a:extLst>
            <a:ext uri="{AF507438-7753-43E0-B8FC-AC1667EBCBE1}"/>
          </a:extLst>
        </p:spPr>
        <p:style>
          <a:lnRef idx="2">
            <a:schemeClr val="accent1"/>
          </a:lnRef>
          <a:fillRef idx="0">
            <a:schemeClr val="accent1"/>
          </a:fillRef>
          <a:effectRef idx="1">
            <a:schemeClr val="accent1"/>
          </a:effectRef>
          <a:fontRef idx="minor">
            <a:schemeClr val="tx1"/>
          </a:fontRef>
        </p:style>
      </p:cxnSp>
      <p:sp>
        <p:nvSpPr>
          <p:cNvPr id="67" name="Rechteck 66"/>
          <p:cNvSpPr/>
          <p:nvPr/>
        </p:nvSpPr>
        <p:spPr>
          <a:xfrm>
            <a:off x="3121025" y="2024063"/>
            <a:ext cx="1147763" cy="3743325"/>
          </a:xfrm>
          <a:prstGeom prst="rect">
            <a:avLst/>
          </a:prstGeom>
          <a:solidFill>
            <a:srgbClr val="64B9E4">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68" name="Rechteck 67"/>
          <p:cNvSpPr/>
          <p:nvPr/>
        </p:nvSpPr>
        <p:spPr>
          <a:xfrm>
            <a:off x="4276725" y="2024063"/>
            <a:ext cx="1128713" cy="3744912"/>
          </a:xfrm>
          <a:prstGeom prst="rect">
            <a:avLst/>
          </a:prstGeom>
          <a:solidFill>
            <a:srgbClr val="BABD5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69" name="Rechteck 68"/>
          <p:cNvSpPr/>
          <p:nvPr/>
        </p:nvSpPr>
        <p:spPr>
          <a:xfrm>
            <a:off x="5405438" y="2022475"/>
            <a:ext cx="1136650" cy="2811463"/>
          </a:xfrm>
          <a:prstGeom prst="rect">
            <a:avLst/>
          </a:prstGeom>
          <a:solidFill>
            <a:srgbClr val="408F9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70" name="Rechteck 69"/>
          <p:cNvSpPr/>
          <p:nvPr/>
        </p:nvSpPr>
        <p:spPr>
          <a:xfrm>
            <a:off x="6542088" y="2020888"/>
            <a:ext cx="1139825" cy="2816225"/>
          </a:xfrm>
          <a:prstGeom prst="rect">
            <a:avLst/>
          </a:prstGeom>
          <a:solidFill>
            <a:srgbClr val="9F4C97">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71" name="Rechteck 70"/>
          <p:cNvSpPr/>
          <p:nvPr/>
        </p:nvSpPr>
        <p:spPr>
          <a:xfrm>
            <a:off x="7681913" y="2019300"/>
            <a:ext cx="1138237" cy="3743325"/>
          </a:xfrm>
          <a:prstGeom prst="rect">
            <a:avLst/>
          </a:prstGeom>
          <a:solidFill>
            <a:srgbClr val="427BAB">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72" name="Rechteck 71"/>
          <p:cNvSpPr/>
          <p:nvPr/>
        </p:nvSpPr>
        <p:spPr>
          <a:xfrm>
            <a:off x="6408738" y="4833938"/>
            <a:ext cx="1258887" cy="941387"/>
          </a:xfrm>
          <a:prstGeom prst="rect">
            <a:avLst/>
          </a:prstGeom>
          <a:solidFill>
            <a:srgbClr val="9F4C97">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73" name="Rechteck 72"/>
          <p:cNvSpPr/>
          <p:nvPr/>
        </p:nvSpPr>
        <p:spPr>
          <a:xfrm>
            <a:off x="5405438" y="4837113"/>
            <a:ext cx="1003300" cy="925512"/>
          </a:xfrm>
          <a:prstGeom prst="rect">
            <a:avLst/>
          </a:prstGeom>
          <a:solidFill>
            <a:srgbClr val="408F9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2" name="Rechteck 1"/>
          <p:cNvSpPr/>
          <p:nvPr/>
        </p:nvSpPr>
        <p:spPr>
          <a:xfrm>
            <a:off x="1998663" y="2025650"/>
            <a:ext cx="1133475" cy="3743325"/>
          </a:xfrm>
          <a:prstGeom prst="rect">
            <a:avLst/>
          </a:prstGeom>
          <a:solidFill>
            <a:srgbClr val="EDA95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lnSpc>
                <a:spcPts val="1800"/>
              </a:lnSpc>
              <a:spcBef>
                <a:spcPct val="50000"/>
              </a:spcBef>
              <a:buClr>
                <a:schemeClr val="tx2"/>
              </a:buClr>
              <a:buSzPct val="75000"/>
              <a:buFont typeface="Wingdings" pitchFamily="2" charset="2"/>
              <a:buNone/>
              <a:defRPr/>
            </a:pPr>
            <a:endParaRPr lang="en-US">
              <a:solidFill>
                <a:schemeClr val="tx1"/>
              </a:solidFill>
            </a:endParaRPr>
          </a:p>
        </p:txBody>
      </p:sp>
      <p:sp>
        <p:nvSpPr>
          <p:cNvPr id="467978" name="Titel 1"/>
          <p:cNvSpPr>
            <a:spLocks noGrp="1"/>
          </p:cNvSpPr>
          <p:nvPr>
            <p:ph type="title"/>
          </p:nvPr>
        </p:nvSpPr>
        <p:spPr>
          <a:xfrm>
            <a:off x="304800" y="333375"/>
            <a:ext cx="8496300" cy="415925"/>
          </a:xfrm>
        </p:spPr>
        <p:txBody>
          <a:bodyPr/>
          <a:lstStyle/>
          <a:p>
            <a:pPr eaLnBrk="1" hangingPunct="1"/>
            <a:r>
              <a:rPr lang="en-US" smtClean="0">
                <a:latin typeface="TeleGrotesk Headline Ultra"/>
                <a:cs typeface="TeleGrotesk Headline Ultra"/>
              </a:rPr>
              <a:t>T-LABS PROJECTS MAPPED TO SIX EU TOPICS</a:t>
            </a:r>
          </a:p>
        </p:txBody>
      </p:sp>
      <p:sp>
        <p:nvSpPr>
          <p:cNvPr id="4" name="Rechteck 3"/>
          <p:cNvSpPr/>
          <p:nvPr/>
        </p:nvSpPr>
        <p:spPr>
          <a:xfrm>
            <a:off x="1990725" y="1316038"/>
            <a:ext cx="1130300" cy="708025"/>
          </a:xfrm>
          <a:prstGeom prst="rect">
            <a:avLst/>
          </a:prstGeom>
          <a:solidFill>
            <a:srgbClr val="EDA95A"/>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a:t>
            </a:r>
            <a:br>
              <a:rPr lang="en-US" sz="1400">
                <a:solidFill>
                  <a:schemeClr val="bg1"/>
                </a:solidFill>
                <a:latin typeface="Tele-GroteskFet" pitchFamily="2" charset="0"/>
              </a:rPr>
            </a:br>
            <a:r>
              <a:rPr lang="en-US" sz="1400">
                <a:solidFill>
                  <a:schemeClr val="bg1"/>
                </a:solidFill>
                <a:latin typeface="Tele-GroteskFet" pitchFamily="2" charset="0"/>
              </a:rPr>
              <a:t>Economy</a:t>
            </a:r>
          </a:p>
        </p:txBody>
      </p:sp>
      <p:sp>
        <p:nvSpPr>
          <p:cNvPr id="143" name="Rechteck 142"/>
          <p:cNvSpPr/>
          <p:nvPr/>
        </p:nvSpPr>
        <p:spPr>
          <a:xfrm>
            <a:off x="3132138" y="1316038"/>
            <a:ext cx="1128712" cy="708025"/>
          </a:xfrm>
          <a:prstGeom prst="rect">
            <a:avLst/>
          </a:prstGeom>
          <a:solidFill>
            <a:srgbClr val="64B9E4"/>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 </a:t>
            </a:r>
            <a:br>
              <a:rPr lang="en-US" sz="1400">
                <a:solidFill>
                  <a:schemeClr val="bg1"/>
                </a:solidFill>
                <a:latin typeface="Tele-GroteskFet" pitchFamily="2" charset="0"/>
              </a:rPr>
            </a:br>
            <a:r>
              <a:rPr lang="en-US" sz="1400">
                <a:solidFill>
                  <a:schemeClr val="bg1"/>
                </a:solidFill>
                <a:latin typeface="Tele-GroteskFet" pitchFamily="2" charset="0"/>
              </a:rPr>
              <a:t>People</a:t>
            </a:r>
          </a:p>
        </p:txBody>
      </p:sp>
      <p:sp>
        <p:nvSpPr>
          <p:cNvPr id="144" name="Rechteck 143"/>
          <p:cNvSpPr/>
          <p:nvPr/>
        </p:nvSpPr>
        <p:spPr>
          <a:xfrm>
            <a:off x="4268788" y="1316038"/>
            <a:ext cx="1130300" cy="708025"/>
          </a:xfrm>
          <a:prstGeom prst="rect">
            <a:avLst/>
          </a:prstGeom>
          <a:solidFill>
            <a:srgbClr val="BABD5A"/>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 Governance</a:t>
            </a:r>
          </a:p>
        </p:txBody>
      </p:sp>
      <p:sp>
        <p:nvSpPr>
          <p:cNvPr id="145" name="Rechteck 144"/>
          <p:cNvSpPr/>
          <p:nvPr/>
        </p:nvSpPr>
        <p:spPr>
          <a:xfrm>
            <a:off x="5405438" y="1316038"/>
            <a:ext cx="1130300" cy="708025"/>
          </a:xfrm>
          <a:prstGeom prst="rect">
            <a:avLst/>
          </a:prstGeom>
          <a:solidFill>
            <a:srgbClr val="408F9A"/>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 </a:t>
            </a:r>
            <a:br>
              <a:rPr lang="en-US" sz="1400">
                <a:solidFill>
                  <a:schemeClr val="bg1"/>
                </a:solidFill>
                <a:latin typeface="Tele-GroteskFet" pitchFamily="2" charset="0"/>
              </a:rPr>
            </a:br>
            <a:r>
              <a:rPr lang="en-US" sz="1400">
                <a:solidFill>
                  <a:schemeClr val="bg1"/>
                </a:solidFill>
                <a:latin typeface="Tele-GroteskFet" pitchFamily="2" charset="0"/>
              </a:rPr>
              <a:t>Mobility</a:t>
            </a:r>
          </a:p>
        </p:txBody>
      </p:sp>
      <p:sp>
        <p:nvSpPr>
          <p:cNvPr id="146" name="Rechteck 145"/>
          <p:cNvSpPr/>
          <p:nvPr/>
        </p:nvSpPr>
        <p:spPr>
          <a:xfrm>
            <a:off x="6545263" y="1316038"/>
            <a:ext cx="1128712" cy="708025"/>
          </a:xfrm>
          <a:prstGeom prst="rect">
            <a:avLst/>
          </a:prstGeom>
          <a:solidFill>
            <a:srgbClr val="9F4C97"/>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 Environment </a:t>
            </a:r>
          </a:p>
        </p:txBody>
      </p:sp>
      <p:sp>
        <p:nvSpPr>
          <p:cNvPr id="147" name="Rechteck 146"/>
          <p:cNvSpPr/>
          <p:nvPr/>
        </p:nvSpPr>
        <p:spPr>
          <a:xfrm>
            <a:off x="7683500" y="1316038"/>
            <a:ext cx="1136650" cy="708025"/>
          </a:xfrm>
          <a:prstGeom prst="rect">
            <a:avLst/>
          </a:prstGeom>
          <a:solidFill>
            <a:srgbClr val="427BAB"/>
          </a:solidFill>
          <a:ln>
            <a:noFill/>
          </a:ln>
          <a:effectLst/>
        </p:spPr>
        <p:style>
          <a:lnRef idx="1">
            <a:schemeClr val="accent1"/>
          </a:lnRef>
          <a:fillRef idx="3">
            <a:schemeClr val="accent1"/>
          </a:fillRef>
          <a:effectRef idx="2">
            <a:schemeClr val="accent1"/>
          </a:effectRef>
          <a:fontRef idx="minor">
            <a:schemeClr val="lt1"/>
          </a:fontRef>
        </p:style>
        <p:txBody>
          <a:bodyPr lIns="0" rIns="0" anchor="ctr"/>
          <a:lstStyle/>
          <a:p>
            <a:pPr algn="ctr">
              <a:lnSpc>
                <a:spcPts val="1500"/>
              </a:lnSpc>
              <a:spcBef>
                <a:spcPct val="50000"/>
              </a:spcBef>
              <a:buClr>
                <a:schemeClr val="tx2"/>
              </a:buClr>
              <a:buSzPct val="75000"/>
              <a:buFont typeface="Wingdings" pitchFamily="2" charset="2"/>
              <a:buNone/>
              <a:defRPr/>
            </a:pPr>
            <a:r>
              <a:rPr lang="en-US" sz="1400">
                <a:solidFill>
                  <a:schemeClr val="bg1"/>
                </a:solidFill>
                <a:latin typeface="Tele-GroteskFet" pitchFamily="2" charset="0"/>
              </a:rPr>
              <a:t>Smart </a:t>
            </a:r>
            <a:br>
              <a:rPr lang="en-US" sz="1400">
                <a:solidFill>
                  <a:schemeClr val="bg1"/>
                </a:solidFill>
                <a:latin typeface="Tele-GroteskFet" pitchFamily="2" charset="0"/>
              </a:rPr>
            </a:br>
            <a:r>
              <a:rPr lang="en-US" sz="1400">
                <a:solidFill>
                  <a:schemeClr val="bg1"/>
                </a:solidFill>
                <a:latin typeface="Tele-GroteskFet" pitchFamily="2" charset="0"/>
              </a:rPr>
              <a:t>Living</a:t>
            </a:r>
          </a:p>
        </p:txBody>
      </p:sp>
      <p:sp>
        <p:nvSpPr>
          <p:cNvPr id="467985" name="Rectangle 118"/>
          <p:cNvSpPr>
            <a:spLocks noChangeArrowheads="1"/>
          </p:cNvSpPr>
          <p:nvPr>
            <p:custDataLst>
              <p:tags r:id="rId1"/>
            </p:custDataLst>
          </p:nvPr>
        </p:nvSpPr>
        <p:spPr bwMode="auto">
          <a:xfrm>
            <a:off x="311150" y="2024063"/>
            <a:ext cx="1679575" cy="936625"/>
          </a:xfrm>
          <a:prstGeom prst="rect">
            <a:avLst/>
          </a:prstGeom>
          <a:solidFill>
            <a:schemeClr val="tx2"/>
          </a:solidFill>
          <a:ln w="9525">
            <a:noFill/>
            <a:miter lim="800000"/>
            <a:headEnd/>
            <a:tailEnd/>
          </a:ln>
        </p:spPr>
        <p:txBody>
          <a:bodyPr lIns="144000" tIns="72000" rIns="0" bIns="72000" anchor="ctr"/>
          <a:lstStyle/>
          <a:p>
            <a:pPr>
              <a:lnSpc>
                <a:spcPct val="90000"/>
              </a:lnSpc>
              <a:spcBef>
                <a:spcPct val="30000"/>
              </a:spcBef>
              <a:buClr>
                <a:schemeClr val="tx2"/>
              </a:buClr>
              <a:buSzPct val="75000"/>
              <a:buFont typeface="Wingdings" pitchFamily="2" charset="2"/>
              <a:buNone/>
            </a:pPr>
            <a:r>
              <a:rPr lang="en-US" sz="1400">
                <a:solidFill>
                  <a:srgbClr val="FFFFFF"/>
                </a:solidFill>
              </a:rPr>
              <a:t>Internet &amp; Services + Interactive Media</a:t>
            </a:r>
          </a:p>
        </p:txBody>
      </p:sp>
      <p:sp>
        <p:nvSpPr>
          <p:cNvPr id="467986" name="Rectangle 118"/>
          <p:cNvSpPr>
            <a:spLocks noChangeArrowheads="1"/>
          </p:cNvSpPr>
          <p:nvPr>
            <p:custDataLst>
              <p:tags r:id="rId2"/>
            </p:custDataLst>
          </p:nvPr>
        </p:nvSpPr>
        <p:spPr bwMode="auto">
          <a:xfrm>
            <a:off x="311150" y="2960688"/>
            <a:ext cx="1679575" cy="936625"/>
          </a:xfrm>
          <a:prstGeom prst="rect">
            <a:avLst/>
          </a:prstGeom>
          <a:solidFill>
            <a:schemeClr val="tx2"/>
          </a:solidFill>
          <a:ln w="9525">
            <a:noFill/>
            <a:miter lim="800000"/>
            <a:headEnd/>
            <a:tailEnd/>
          </a:ln>
        </p:spPr>
        <p:txBody>
          <a:bodyPr lIns="144000" tIns="72000" rIns="0" bIns="72000" anchor="ctr"/>
          <a:lstStyle/>
          <a:p>
            <a:pPr>
              <a:lnSpc>
                <a:spcPct val="90000"/>
              </a:lnSpc>
              <a:spcBef>
                <a:spcPct val="30000"/>
              </a:spcBef>
              <a:buClr>
                <a:schemeClr val="tx2"/>
              </a:buClr>
              <a:buSzPct val="75000"/>
              <a:buFont typeface="Wingdings" pitchFamily="2" charset="2"/>
              <a:buNone/>
            </a:pPr>
            <a:r>
              <a:rPr lang="en-US" sz="1400">
                <a:solidFill>
                  <a:srgbClr val="FFFFFF"/>
                </a:solidFill>
              </a:rPr>
              <a:t>Cross Domain Middleware</a:t>
            </a:r>
          </a:p>
        </p:txBody>
      </p:sp>
      <p:sp>
        <p:nvSpPr>
          <p:cNvPr id="467987" name="Rectangle 118"/>
          <p:cNvSpPr>
            <a:spLocks noChangeArrowheads="1"/>
          </p:cNvSpPr>
          <p:nvPr>
            <p:custDataLst>
              <p:tags r:id="rId3"/>
            </p:custDataLst>
          </p:nvPr>
        </p:nvSpPr>
        <p:spPr bwMode="auto">
          <a:xfrm>
            <a:off x="311150" y="3897313"/>
            <a:ext cx="1679575" cy="936625"/>
          </a:xfrm>
          <a:prstGeom prst="rect">
            <a:avLst/>
          </a:prstGeom>
          <a:solidFill>
            <a:schemeClr val="tx2"/>
          </a:solidFill>
          <a:ln w="9525">
            <a:noFill/>
            <a:miter lim="800000"/>
            <a:headEnd/>
            <a:tailEnd/>
          </a:ln>
        </p:spPr>
        <p:txBody>
          <a:bodyPr lIns="144000" tIns="72000" rIns="0" bIns="72000" anchor="ctr"/>
          <a:lstStyle/>
          <a:p>
            <a:pPr>
              <a:lnSpc>
                <a:spcPct val="90000"/>
              </a:lnSpc>
              <a:spcBef>
                <a:spcPct val="30000"/>
              </a:spcBef>
              <a:buClr>
                <a:schemeClr val="tx2"/>
              </a:buClr>
              <a:buSzPct val="75000"/>
              <a:buFont typeface="Wingdings" pitchFamily="2" charset="2"/>
              <a:buNone/>
            </a:pPr>
            <a:r>
              <a:rPr lang="en-US" sz="1400">
                <a:solidFill>
                  <a:srgbClr val="FFFFFF"/>
                </a:solidFill>
              </a:rPr>
              <a:t>IT &amp; Cloud</a:t>
            </a:r>
          </a:p>
        </p:txBody>
      </p:sp>
      <p:sp>
        <p:nvSpPr>
          <p:cNvPr id="467988" name="Rectangle 118"/>
          <p:cNvSpPr>
            <a:spLocks noChangeArrowheads="1"/>
          </p:cNvSpPr>
          <p:nvPr>
            <p:custDataLst>
              <p:tags r:id="rId4"/>
            </p:custDataLst>
          </p:nvPr>
        </p:nvSpPr>
        <p:spPr bwMode="auto">
          <a:xfrm>
            <a:off x="311150" y="4833938"/>
            <a:ext cx="1679575" cy="935037"/>
          </a:xfrm>
          <a:prstGeom prst="rect">
            <a:avLst/>
          </a:prstGeom>
          <a:solidFill>
            <a:schemeClr val="tx2"/>
          </a:solidFill>
          <a:ln w="9525">
            <a:noFill/>
            <a:miter lim="800000"/>
            <a:headEnd/>
            <a:tailEnd/>
          </a:ln>
        </p:spPr>
        <p:txBody>
          <a:bodyPr lIns="144000" tIns="72000" rIns="0" bIns="72000" anchor="ctr"/>
          <a:lstStyle/>
          <a:p>
            <a:pPr>
              <a:lnSpc>
                <a:spcPct val="90000"/>
              </a:lnSpc>
              <a:spcBef>
                <a:spcPct val="30000"/>
              </a:spcBef>
              <a:buClr>
                <a:schemeClr val="tx2"/>
              </a:buClr>
              <a:buSzPct val="75000"/>
              <a:buFont typeface="Wingdings" pitchFamily="2" charset="2"/>
              <a:buNone/>
            </a:pPr>
            <a:r>
              <a:rPr lang="en-US" sz="1400">
                <a:solidFill>
                  <a:srgbClr val="FFFFFF"/>
                </a:solidFill>
              </a:rPr>
              <a:t>Connected</a:t>
            </a:r>
            <a:br>
              <a:rPr lang="en-US" sz="1400">
                <a:solidFill>
                  <a:srgbClr val="FFFFFF"/>
                </a:solidFill>
              </a:rPr>
            </a:br>
            <a:r>
              <a:rPr lang="en-US" sz="1400">
                <a:solidFill>
                  <a:srgbClr val="FFFFFF"/>
                </a:solidFill>
              </a:rPr>
              <a:t>Networks &amp; </a:t>
            </a:r>
            <a:br>
              <a:rPr lang="en-US" sz="1400">
                <a:solidFill>
                  <a:srgbClr val="FFFFFF"/>
                </a:solidFill>
              </a:rPr>
            </a:br>
            <a:r>
              <a:rPr lang="en-US" sz="1400">
                <a:solidFill>
                  <a:srgbClr val="FFFFFF"/>
                </a:solidFill>
              </a:rPr>
              <a:t>Infrastructure</a:t>
            </a:r>
          </a:p>
        </p:txBody>
      </p:sp>
      <p:sp>
        <p:nvSpPr>
          <p:cNvPr id="65" name="Rechteck 64"/>
          <p:cNvSpPr/>
          <p:nvPr/>
        </p:nvSpPr>
        <p:spPr>
          <a:xfrm>
            <a:off x="1998663" y="2024063"/>
            <a:ext cx="112236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Indoor analytics </a:t>
            </a:r>
            <a:br>
              <a:rPr lang="en-US" sz="1100">
                <a:solidFill>
                  <a:schemeClr val="tx1"/>
                </a:solidFill>
                <a:latin typeface="Tele-GroteskHal" pitchFamily="2" charset="0"/>
              </a:rPr>
            </a:br>
            <a:r>
              <a:rPr lang="en-US" sz="1100">
                <a:solidFill>
                  <a:schemeClr val="tx1"/>
                </a:solidFill>
                <a:latin typeface="Tele-GroteskHal" pitchFamily="2" charset="0"/>
              </a:rPr>
              <a:t>&amp; aviation, </a:t>
            </a:r>
            <a:br>
              <a:rPr lang="en-US" sz="1100">
                <a:solidFill>
                  <a:schemeClr val="tx1"/>
                </a:solidFill>
                <a:latin typeface="Tele-GroteskHal" pitchFamily="2" charset="0"/>
              </a:rPr>
            </a:br>
            <a:r>
              <a:rPr lang="en-US" sz="1100">
                <a:solidFill>
                  <a:schemeClr val="tx1"/>
                </a:solidFill>
                <a:latin typeface="Tele-GroteskHal" pitchFamily="2" charset="0"/>
              </a:rPr>
              <a:t>Customer analytics </a:t>
            </a:r>
            <a:br>
              <a:rPr lang="en-US" sz="1100">
                <a:solidFill>
                  <a:schemeClr val="tx1"/>
                </a:solidFill>
                <a:latin typeface="Tele-GroteskHal" pitchFamily="2" charset="0"/>
              </a:rPr>
            </a:br>
            <a:r>
              <a:rPr lang="en-US" sz="1100">
                <a:solidFill>
                  <a:schemeClr val="tx1"/>
                </a:solidFill>
                <a:latin typeface="Tele-GroteskHal" pitchFamily="2" charset="0"/>
              </a:rPr>
              <a:t>Ubi Markets</a:t>
            </a:r>
          </a:p>
        </p:txBody>
      </p:sp>
      <p:sp>
        <p:nvSpPr>
          <p:cNvPr id="27" name="Rechteck 26"/>
          <p:cNvSpPr/>
          <p:nvPr/>
        </p:nvSpPr>
        <p:spPr>
          <a:xfrm>
            <a:off x="3132138" y="2027238"/>
            <a:ext cx="1128712" cy="933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Geo marketing &amp; profiling, </a:t>
            </a:r>
            <a:br>
              <a:rPr lang="en-US" sz="1100">
                <a:solidFill>
                  <a:schemeClr val="tx1"/>
                </a:solidFill>
                <a:latin typeface="Tele-GroteskHal" pitchFamily="2" charset="0"/>
              </a:rPr>
            </a:br>
            <a:r>
              <a:rPr lang="en-US" sz="1100">
                <a:solidFill>
                  <a:schemeClr val="tx1"/>
                </a:solidFill>
                <a:latin typeface="Tele-GroteskHal" pitchFamily="2" charset="0"/>
              </a:rPr>
              <a:t>Location &amp; augmented reality based ad-hoc social networks</a:t>
            </a:r>
          </a:p>
        </p:txBody>
      </p:sp>
      <p:sp>
        <p:nvSpPr>
          <p:cNvPr id="28" name="Rechteck 27"/>
          <p:cNvSpPr/>
          <p:nvPr/>
        </p:nvSpPr>
        <p:spPr>
          <a:xfrm>
            <a:off x="4268788" y="2025650"/>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Ad-hoc collaboration &amp; </a:t>
            </a:r>
            <a:br>
              <a:rPr lang="en-US" sz="1100">
                <a:solidFill>
                  <a:schemeClr val="tx1"/>
                </a:solidFill>
                <a:latin typeface="Tele-GroteskHal" pitchFamily="2" charset="0"/>
              </a:rPr>
            </a:br>
            <a:r>
              <a:rPr lang="en-US" sz="1100">
                <a:solidFill>
                  <a:schemeClr val="tx1"/>
                </a:solidFill>
                <a:latin typeface="Tele-GroteskHal" pitchFamily="2" charset="0"/>
              </a:rPr>
              <a:t>E-Polling for urban planning*</a:t>
            </a:r>
          </a:p>
        </p:txBody>
      </p:sp>
      <p:sp>
        <p:nvSpPr>
          <p:cNvPr id="31" name="Rechteck 30"/>
          <p:cNvSpPr/>
          <p:nvPr/>
        </p:nvSpPr>
        <p:spPr>
          <a:xfrm>
            <a:off x="5405438" y="2025650"/>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i="1" dirty="0">
                <a:solidFill>
                  <a:schemeClr val="tx1"/>
                </a:solidFill>
                <a:latin typeface="Tele-GroteskHal" pitchFamily="2" charset="0"/>
              </a:rPr>
              <a:t>Soundtrack </a:t>
            </a:r>
          </a:p>
        </p:txBody>
      </p:sp>
      <p:sp>
        <p:nvSpPr>
          <p:cNvPr id="32" name="Rechteck 31"/>
          <p:cNvSpPr/>
          <p:nvPr/>
        </p:nvSpPr>
        <p:spPr>
          <a:xfrm>
            <a:off x="6545263" y="2027238"/>
            <a:ext cx="1122362" cy="9350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sp>
        <p:nvSpPr>
          <p:cNvPr id="33" name="Rechteck 32"/>
          <p:cNvSpPr/>
          <p:nvPr/>
        </p:nvSpPr>
        <p:spPr>
          <a:xfrm>
            <a:off x="7691438" y="2027238"/>
            <a:ext cx="112871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High quality video communication &amp; conferencing</a:t>
            </a:r>
            <a:br>
              <a:rPr lang="en-US" sz="1100">
                <a:solidFill>
                  <a:schemeClr val="tx1"/>
                </a:solidFill>
                <a:latin typeface="Tele-GroteskHal" pitchFamily="2" charset="0"/>
              </a:rPr>
            </a:br>
            <a:r>
              <a:rPr lang="en-US" sz="1100">
                <a:solidFill>
                  <a:schemeClr val="tx1"/>
                </a:solidFill>
                <a:latin typeface="Tele-GroteskHal" pitchFamily="2" charset="0"/>
              </a:rPr>
              <a:t>3D communi-</a:t>
            </a:r>
            <a:br>
              <a:rPr lang="en-US" sz="1100">
                <a:solidFill>
                  <a:schemeClr val="tx1"/>
                </a:solidFill>
                <a:latin typeface="Tele-GroteskHal" pitchFamily="2" charset="0"/>
              </a:rPr>
            </a:br>
            <a:r>
              <a:rPr lang="en-US" sz="1100">
                <a:solidFill>
                  <a:schemeClr val="tx1"/>
                </a:solidFill>
                <a:latin typeface="Tele-GroteskHal" pitchFamily="2" charset="0"/>
              </a:rPr>
              <a:t>cation</a:t>
            </a:r>
          </a:p>
        </p:txBody>
      </p:sp>
      <p:sp>
        <p:nvSpPr>
          <p:cNvPr id="34" name="Rechteck 33"/>
          <p:cNvSpPr/>
          <p:nvPr/>
        </p:nvSpPr>
        <p:spPr>
          <a:xfrm>
            <a:off x="1998663" y="2960688"/>
            <a:ext cx="112236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Smart microgrid, Smart Security - Cybersecurity</a:t>
            </a:r>
          </a:p>
        </p:txBody>
      </p:sp>
      <p:sp>
        <p:nvSpPr>
          <p:cNvPr id="35" name="Rechteck 34"/>
          <p:cNvSpPr/>
          <p:nvPr/>
        </p:nvSpPr>
        <p:spPr>
          <a:xfrm>
            <a:off x="3132138" y="2963863"/>
            <a:ext cx="1128712" cy="933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Wearables – </a:t>
            </a:r>
            <a:br>
              <a:rPr lang="en-US" sz="1100">
                <a:solidFill>
                  <a:schemeClr val="tx1"/>
                </a:solidFill>
                <a:latin typeface="Tele-GroteskHal" pitchFamily="2" charset="0"/>
              </a:rPr>
            </a:br>
            <a:r>
              <a:rPr lang="en-US" sz="1100">
                <a:solidFill>
                  <a:schemeClr val="tx1"/>
                </a:solidFill>
                <a:latin typeface="Tele-GroteskHal" pitchFamily="2" charset="0"/>
              </a:rPr>
              <a:t>urban navigation, </a:t>
            </a:r>
          </a:p>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Wearables &amp; augmented reality</a:t>
            </a:r>
          </a:p>
        </p:txBody>
      </p:sp>
      <p:sp>
        <p:nvSpPr>
          <p:cNvPr id="36" name="Rechteck 35"/>
          <p:cNvSpPr/>
          <p:nvPr/>
        </p:nvSpPr>
        <p:spPr>
          <a:xfrm>
            <a:off x="4268788" y="2962275"/>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sp>
        <p:nvSpPr>
          <p:cNvPr id="37" name="Rechteck 36"/>
          <p:cNvSpPr/>
          <p:nvPr/>
        </p:nvSpPr>
        <p:spPr>
          <a:xfrm>
            <a:off x="5405438" y="2962275"/>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dirty="0">
                <a:solidFill>
                  <a:schemeClr val="tx1"/>
                </a:solidFill>
                <a:latin typeface="Tele-GroteskHal" pitchFamily="2" charset="0"/>
              </a:rPr>
              <a:t>Business Web: Smart Port Logistics at Hamburger </a:t>
            </a:r>
            <a:r>
              <a:rPr lang="en-US" sz="1100" dirty="0" err="1">
                <a:solidFill>
                  <a:schemeClr val="tx1"/>
                </a:solidFill>
                <a:latin typeface="Tele-GroteskHal" pitchFamily="2" charset="0"/>
              </a:rPr>
              <a:t>Hafen</a:t>
            </a:r>
            <a:endParaRPr lang="en-US" sz="1100" dirty="0">
              <a:solidFill>
                <a:schemeClr val="tx1"/>
              </a:solidFill>
              <a:latin typeface="Tele-GroteskHal" pitchFamily="2" charset="0"/>
            </a:endParaRPr>
          </a:p>
          <a:p>
            <a:pPr>
              <a:lnSpc>
                <a:spcPts val="1100"/>
              </a:lnSpc>
              <a:spcBef>
                <a:spcPts val="0"/>
              </a:spcBef>
              <a:buClr>
                <a:schemeClr val="tx2"/>
              </a:buClr>
              <a:buSzPct val="75000"/>
              <a:buFont typeface="Wingdings" pitchFamily="2" charset="2"/>
              <a:buNone/>
              <a:defRPr/>
            </a:pPr>
            <a:r>
              <a:rPr lang="en-US" sz="1100" dirty="0">
                <a:solidFill>
                  <a:schemeClr val="tx1"/>
                </a:solidFill>
                <a:latin typeface="Tele-GroteskHal" pitchFamily="2" charset="0"/>
              </a:rPr>
              <a:t> </a:t>
            </a:r>
          </a:p>
        </p:txBody>
      </p:sp>
      <p:sp>
        <p:nvSpPr>
          <p:cNvPr id="38" name="Rechteck 37"/>
          <p:cNvSpPr/>
          <p:nvPr/>
        </p:nvSpPr>
        <p:spPr>
          <a:xfrm>
            <a:off x="6545263" y="2963863"/>
            <a:ext cx="1122362" cy="9350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Smart microgrid, Earthquake warning „Droidshake“</a:t>
            </a:r>
          </a:p>
        </p:txBody>
      </p:sp>
      <p:sp>
        <p:nvSpPr>
          <p:cNvPr id="40" name="Rechteck 39"/>
          <p:cNvSpPr/>
          <p:nvPr/>
        </p:nvSpPr>
        <p:spPr>
          <a:xfrm>
            <a:off x="1998663" y="3897313"/>
            <a:ext cx="112236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Data science support: Hadoop as infrastructure </a:t>
            </a:r>
          </a:p>
        </p:txBody>
      </p:sp>
      <p:sp>
        <p:nvSpPr>
          <p:cNvPr id="41" name="Rechteck 40"/>
          <p:cNvSpPr/>
          <p:nvPr/>
        </p:nvSpPr>
        <p:spPr>
          <a:xfrm>
            <a:off x="3132138" y="3900488"/>
            <a:ext cx="1128712" cy="933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Mobile wallet, Personal identity </a:t>
            </a:r>
          </a:p>
        </p:txBody>
      </p:sp>
      <p:sp>
        <p:nvSpPr>
          <p:cNvPr id="42" name="Rechteck 41"/>
          <p:cNvSpPr/>
          <p:nvPr/>
        </p:nvSpPr>
        <p:spPr>
          <a:xfrm>
            <a:off x="4268788" y="3898900"/>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Trust provider, Cyber security </a:t>
            </a:r>
          </a:p>
        </p:txBody>
      </p:sp>
      <p:sp>
        <p:nvSpPr>
          <p:cNvPr id="43" name="Rechteck 42"/>
          <p:cNvSpPr/>
          <p:nvPr/>
        </p:nvSpPr>
        <p:spPr>
          <a:xfrm>
            <a:off x="5405438" y="3898900"/>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sp>
        <p:nvSpPr>
          <p:cNvPr id="44" name="Rechteck 43"/>
          <p:cNvSpPr/>
          <p:nvPr/>
        </p:nvSpPr>
        <p:spPr>
          <a:xfrm>
            <a:off x="6545263" y="3900488"/>
            <a:ext cx="1122362" cy="9350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Smart object identity</a:t>
            </a:r>
          </a:p>
        </p:txBody>
      </p:sp>
      <p:sp>
        <p:nvSpPr>
          <p:cNvPr id="46" name="Rechteck 45"/>
          <p:cNvSpPr/>
          <p:nvPr/>
        </p:nvSpPr>
        <p:spPr>
          <a:xfrm>
            <a:off x="1998663" y="4833938"/>
            <a:ext cx="112236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M2M standardization, </a:t>
            </a:r>
            <a:br>
              <a:rPr lang="en-US" sz="1100">
                <a:solidFill>
                  <a:schemeClr val="tx1"/>
                </a:solidFill>
                <a:latin typeface="Tele-GroteskHal" pitchFamily="2" charset="0"/>
              </a:rPr>
            </a:br>
            <a:r>
              <a:rPr lang="en-US" sz="1100">
                <a:solidFill>
                  <a:schemeClr val="tx1"/>
                </a:solidFill>
                <a:latin typeface="Tele-GroteskHal" pitchFamily="2" charset="0"/>
              </a:rPr>
              <a:t>Smart devices &amp; sensors, </a:t>
            </a:r>
            <a:br>
              <a:rPr lang="en-US" sz="1100">
                <a:solidFill>
                  <a:schemeClr val="tx1"/>
                </a:solidFill>
                <a:latin typeface="Tele-GroteskHal" pitchFamily="2" charset="0"/>
              </a:rPr>
            </a:br>
            <a:r>
              <a:rPr lang="en-US" sz="1100">
                <a:solidFill>
                  <a:schemeClr val="tx1"/>
                </a:solidFill>
                <a:latin typeface="Tele-GroteskHal" pitchFamily="2" charset="0"/>
              </a:rPr>
              <a:t>Intelligent IP </a:t>
            </a:r>
            <a:br>
              <a:rPr lang="en-US" sz="1100">
                <a:solidFill>
                  <a:schemeClr val="tx1"/>
                </a:solidFill>
                <a:latin typeface="Tele-GroteskHal" pitchFamily="2" charset="0"/>
              </a:rPr>
            </a:br>
            <a:r>
              <a:rPr lang="en-US" sz="1100">
                <a:solidFill>
                  <a:schemeClr val="tx1"/>
                </a:solidFill>
                <a:latin typeface="Tele-GroteskHal" pitchFamily="2" charset="0"/>
              </a:rPr>
              <a:t>traffic mgmt</a:t>
            </a:r>
          </a:p>
        </p:txBody>
      </p:sp>
      <p:sp>
        <p:nvSpPr>
          <p:cNvPr id="47" name="Rechteck 46"/>
          <p:cNvSpPr/>
          <p:nvPr/>
        </p:nvSpPr>
        <p:spPr>
          <a:xfrm>
            <a:off x="3132138" y="4837113"/>
            <a:ext cx="1128712" cy="9334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Home network profiling  (Lola)</a:t>
            </a:r>
          </a:p>
        </p:txBody>
      </p:sp>
      <p:sp>
        <p:nvSpPr>
          <p:cNvPr id="48" name="Rechteck 47"/>
          <p:cNvSpPr/>
          <p:nvPr/>
        </p:nvSpPr>
        <p:spPr>
          <a:xfrm>
            <a:off x="4268788" y="4835525"/>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sp>
        <p:nvSpPr>
          <p:cNvPr id="49" name="Rechteck 48"/>
          <p:cNvSpPr/>
          <p:nvPr/>
        </p:nvSpPr>
        <p:spPr>
          <a:xfrm>
            <a:off x="5405438" y="4835525"/>
            <a:ext cx="1130300"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sp>
        <p:nvSpPr>
          <p:cNvPr id="50" name="Rechteck 49"/>
          <p:cNvSpPr/>
          <p:nvPr/>
        </p:nvSpPr>
        <p:spPr>
          <a:xfrm>
            <a:off x="6408738" y="4833938"/>
            <a:ext cx="1282700" cy="93503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dirty="0">
                <a:solidFill>
                  <a:schemeClr val="tx1"/>
                </a:solidFill>
                <a:latin typeface="Tele-GroteskHal" pitchFamily="2" charset="0"/>
              </a:rPr>
              <a:t>Communicate green + Green DSL + Smart Office- efficient networks as reference for smart grids, </a:t>
            </a:r>
            <a:r>
              <a:rPr lang="en-US" sz="1100" dirty="0" err="1">
                <a:solidFill>
                  <a:schemeClr val="tx1"/>
                </a:solidFill>
                <a:latin typeface="Tele-GroteskHal" pitchFamily="2" charset="0"/>
              </a:rPr>
              <a:t>Desi</a:t>
            </a:r>
            <a:r>
              <a:rPr lang="en-US" sz="1100" dirty="0">
                <a:solidFill>
                  <a:schemeClr val="tx1"/>
                </a:solidFill>
                <a:latin typeface="Tele-GroteskHal" pitchFamily="2" charset="0"/>
              </a:rPr>
              <a:t>, Green IT@T-Labs</a:t>
            </a:r>
          </a:p>
        </p:txBody>
      </p:sp>
      <p:sp>
        <p:nvSpPr>
          <p:cNvPr id="51" name="Rechteck 50"/>
          <p:cNvSpPr/>
          <p:nvPr/>
        </p:nvSpPr>
        <p:spPr>
          <a:xfrm>
            <a:off x="7691438" y="4837113"/>
            <a:ext cx="1128712" cy="93662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Universal broadband access</a:t>
            </a:r>
          </a:p>
        </p:txBody>
      </p:sp>
      <p:cxnSp>
        <p:nvCxnSpPr>
          <p:cNvPr id="103" name="Gerade Verbindung 102"/>
          <p:cNvCxnSpPr/>
          <p:nvPr/>
        </p:nvCxnSpPr>
        <p:spPr>
          <a:xfrm>
            <a:off x="3121025" y="1316038"/>
            <a:ext cx="11113" cy="445928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4" name="Gerade Verbindung 103"/>
          <p:cNvCxnSpPr/>
          <p:nvPr/>
        </p:nvCxnSpPr>
        <p:spPr>
          <a:xfrm>
            <a:off x="4276725" y="1316038"/>
            <a:ext cx="7938" cy="444658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5" name="Gerade Verbindung 104"/>
          <p:cNvCxnSpPr/>
          <p:nvPr/>
        </p:nvCxnSpPr>
        <p:spPr>
          <a:xfrm>
            <a:off x="5400675" y="1316038"/>
            <a:ext cx="0" cy="445928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6" name="Gerade Verbindung 105"/>
          <p:cNvCxnSpPr/>
          <p:nvPr/>
        </p:nvCxnSpPr>
        <p:spPr>
          <a:xfrm>
            <a:off x="6535738" y="1316038"/>
            <a:ext cx="9525" cy="3521075"/>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7" name="Gerade Verbindung 106"/>
          <p:cNvCxnSpPr/>
          <p:nvPr/>
        </p:nvCxnSpPr>
        <p:spPr>
          <a:xfrm>
            <a:off x="7667625" y="1316038"/>
            <a:ext cx="15875" cy="445928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8" name="Gerade Verbindung 107"/>
          <p:cNvCxnSpPr/>
          <p:nvPr/>
        </p:nvCxnSpPr>
        <p:spPr>
          <a:xfrm>
            <a:off x="6392863" y="4833938"/>
            <a:ext cx="0" cy="92868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30" name="Gerade Verbindung 29"/>
          <p:cNvCxnSpPr/>
          <p:nvPr/>
        </p:nvCxnSpPr>
        <p:spPr>
          <a:xfrm flipV="1">
            <a:off x="300038" y="2019300"/>
            <a:ext cx="8520112" cy="4763"/>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29" name="Gerade Verbindung 28"/>
          <p:cNvCxnSpPr/>
          <p:nvPr/>
        </p:nvCxnSpPr>
        <p:spPr>
          <a:xfrm>
            <a:off x="311150" y="2960688"/>
            <a:ext cx="8502650" cy="0"/>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59" name="Gerade Verbindung 58"/>
          <p:cNvCxnSpPr>
            <a:endCxn id="71" idx="1"/>
          </p:cNvCxnSpPr>
          <p:nvPr/>
        </p:nvCxnSpPr>
        <p:spPr>
          <a:xfrm flipV="1">
            <a:off x="311150" y="3890963"/>
            <a:ext cx="7370763" cy="6350"/>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61" name="Gerade Verbindung 60"/>
          <p:cNvCxnSpPr/>
          <p:nvPr/>
        </p:nvCxnSpPr>
        <p:spPr>
          <a:xfrm>
            <a:off x="311150" y="4833938"/>
            <a:ext cx="8502650" cy="0"/>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109" name="Gerade Verbindung 108"/>
          <p:cNvCxnSpPr/>
          <p:nvPr/>
        </p:nvCxnSpPr>
        <p:spPr>
          <a:xfrm>
            <a:off x="1987550" y="1316038"/>
            <a:ext cx="0" cy="4465637"/>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cxnSp>
        <p:nvCxnSpPr>
          <p:cNvPr id="63" name="Gerade Verbindung 62"/>
          <p:cNvCxnSpPr/>
          <p:nvPr/>
        </p:nvCxnSpPr>
        <p:spPr>
          <a:xfrm>
            <a:off x="319088" y="5773738"/>
            <a:ext cx="8501062" cy="0"/>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sp>
        <p:nvSpPr>
          <p:cNvPr id="468023" name="Datumsplatzhalter 3"/>
          <p:cNvSpPr>
            <a:spLocks noGrp="1"/>
          </p:cNvSpPr>
          <p:nvPr>
            <p:ph type="dt" sz="quarter" idx="10"/>
          </p:nvPr>
        </p:nvSpPr>
        <p:spPr>
          <a:xfrm>
            <a:off x="6804025" y="6430963"/>
            <a:ext cx="1800225" cy="139700"/>
          </a:xfrm>
          <a:noFill/>
        </p:spPr>
        <p:txBody>
          <a:bodyPr/>
          <a:lstStyle/>
          <a:p>
            <a:fld id="{FFD8D5E0-4B79-47F5-AEDF-E535C9671CE2}" type="datetime1">
              <a:rPr lang="en-US" smtClean="0">
                <a:latin typeface="Tele-GroteskNor"/>
              </a:rPr>
              <a:pPr/>
              <a:t>9/11/2013</a:t>
            </a:fld>
            <a:endParaRPr lang="en-US" smtClean="0">
              <a:latin typeface="Tele-GroteskNor"/>
            </a:endParaRPr>
          </a:p>
        </p:txBody>
      </p:sp>
      <p:sp>
        <p:nvSpPr>
          <p:cNvPr id="468024" name="Foliennummernplatzhalter 5"/>
          <p:cNvSpPr>
            <a:spLocks noGrp="1"/>
          </p:cNvSpPr>
          <p:nvPr>
            <p:ph type="sldNum" sz="quarter" idx="12"/>
          </p:nvPr>
        </p:nvSpPr>
        <p:spPr>
          <a:xfrm>
            <a:off x="8540750" y="6430963"/>
            <a:ext cx="288925" cy="139700"/>
          </a:xfrm>
          <a:noFill/>
        </p:spPr>
        <p:txBody>
          <a:bodyPr/>
          <a:lstStyle/>
          <a:p>
            <a:fld id="{AEA3AD51-9F56-4561-888C-720591BBF729}" type="slidenum">
              <a:rPr lang="en-US" smtClean="0">
                <a:latin typeface="Tele-GroteskNor"/>
              </a:rPr>
              <a:pPr/>
              <a:t>9</a:t>
            </a:fld>
            <a:endParaRPr lang="en-US" smtClean="0">
              <a:latin typeface="Tele-GroteskNor"/>
            </a:endParaRPr>
          </a:p>
        </p:txBody>
      </p:sp>
      <p:sp>
        <p:nvSpPr>
          <p:cNvPr id="78" name="Rechteck 77"/>
          <p:cNvSpPr/>
          <p:nvPr/>
        </p:nvSpPr>
        <p:spPr>
          <a:xfrm>
            <a:off x="7691438" y="2963863"/>
            <a:ext cx="1128712" cy="13874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r>
              <a:rPr lang="en-US" sz="1100">
                <a:solidFill>
                  <a:schemeClr val="tx1"/>
                </a:solidFill>
                <a:latin typeface="Tele-GroteskHal" pitchFamily="2" charset="0"/>
              </a:rPr>
              <a:t>Smart senior &amp; Ambient Assisted Living, Connected Living – Connected Home, Trust 2 core integration in smart metering und home gateway (Quivicon) </a:t>
            </a:r>
          </a:p>
        </p:txBody>
      </p:sp>
      <p:sp>
        <p:nvSpPr>
          <p:cNvPr id="79" name="Rechteck 78"/>
          <p:cNvSpPr/>
          <p:nvPr/>
        </p:nvSpPr>
        <p:spPr>
          <a:xfrm>
            <a:off x="7691438" y="4365625"/>
            <a:ext cx="1128712" cy="47148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4000" tIns="54000" rIns="54000" bIns="54000"/>
          <a:lstStyle/>
          <a:p>
            <a:pPr>
              <a:lnSpc>
                <a:spcPts val="1100"/>
              </a:lnSpc>
              <a:spcBef>
                <a:spcPts val="0"/>
              </a:spcBef>
              <a:buClr>
                <a:schemeClr val="tx2"/>
              </a:buClr>
              <a:buSzPct val="75000"/>
              <a:buFont typeface="Wingdings" pitchFamily="2" charset="2"/>
              <a:buNone/>
              <a:defRPr/>
            </a:pPr>
            <a:endParaRPr lang="en-US" sz="1100">
              <a:solidFill>
                <a:schemeClr val="tx1"/>
              </a:solidFill>
              <a:latin typeface="Tele-GroteskHal" pitchFamily="2" charset="0"/>
            </a:endParaRPr>
          </a:p>
        </p:txBody>
      </p:sp>
      <p:cxnSp>
        <p:nvCxnSpPr>
          <p:cNvPr id="80" name="Gerade Verbindung 79"/>
          <p:cNvCxnSpPr/>
          <p:nvPr/>
        </p:nvCxnSpPr>
        <p:spPr>
          <a:xfrm>
            <a:off x="7683500" y="4351338"/>
            <a:ext cx="1146175" cy="0"/>
          </a:xfrm>
          <a:prstGeom prst="line">
            <a:avLst/>
          </a:prstGeom>
          <a:ln w="25400">
            <a:solidFill>
              <a:schemeClr val="bg1"/>
            </a:solidFill>
            <a:tailEnd type="none" w="lg" len="lg"/>
          </a:ln>
          <a:effectLst/>
        </p:spPr>
        <p:style>
          <a:lnRef idx="2">
            <a:schemeClr val="accent1"/>
          </a:lnRef>
          <a:fillRef idx="0">
            <a:schemeClr val="accent1"/>
          </a:fillRef>
          <a:effectRef idx="1">
            <a:schemeClr val="accent1"/>
          </a:effectRef>
          <a:fontRef idx="minor">
            <a:schemeClr val="tx1"/>
          </a:fontRef>
        </p:style>
      </p:cxn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TCON_GUIDELINES" val="FALSE"/>
  <p:tag name="THINKCELLPRESENTATIONDONOTDELETE" val="&lt;?xml version=&quot;1.0&quot; encoding=&quot;UTF-16&quot; standalone=&quot;yes&quot;?&gt;&#10;&lt;root reqver=&quot;21047&quot;&gt;&lt;version val=&quot;22071&quot;/&gt;&lt;CPresentation id=&quot;1&quot;&gt;&lt;m_precDefaultNumber/&gt;&lt;m_precDefaultPercent/&gt;&lt;m_precDefaultDate/&gt;&lt;m_precDefaultYear&gt;&lt;m_strFormatTime&gt;%Y&lt;/m_strFormatTime&gt;&lt;/m_precDefaultYear&gt;&lt;m_precDefaultQuarter&gt;&lt;m_strFormatTime&gt;Q%5&lt;/m_strFormatTime&gt;&lt;/m_precDefaultQuarter&gt;&lt;m_precDefaultMonth/&gt;&lt;m_precDefaultWeek/&gt;&lt;m_precDefaultDay&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2x66lVvEk6BiL.0XmGCq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_lhsuHP7_UGMc7dQRBZTh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3JUOz8yekixwxp73VtJ7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bIVTN.hwU.pk_IfiG.3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FtmRvuaUuc5RujGSi4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qiOiX8V1EujpSZz_Eeu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XoSrDJxF0eVxOpjJLP3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XoSrDJxF0eVxOpjJLP3W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XoSrDJxF0eVxOpjJLP3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IXoSrDJxF0eVxOpjJLP3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VCT-RADIUS" val="7"/>
</p:tagLst>
</file>

<file path=ppt/tags/tag47.xml><?xml version="1.0" encoding="utf-8"?>
<p:tagLst xmlns:a="http://schemas.openxmlformats.org/drawingml/2006/main" xmlns:r="http://schemas.openxmlformats.org/officeDocument/2006/relationships" xmlns:p="http://schemas.openxmlformats.org/presentationml/2006/main">
  <p:tag name="VCT-RADIUS" val="7"/>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GfmiIKDOUq1.HtnhSYjb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UBtXl53PFUGl3PNq96Ex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iYnKs1z5UWYyz6OAXnZ_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_SNr4GpvkK4DwlPGlG7Hw"/>
</p:tagLst>
</file>

<file path=ppt/tags/tag52.xml><?xml version="1.0" encoding="utf-8"?>
<p:tagLst xmlns:a="http://schemas.openxmlformats.org/drawingml/2006/main" xmlns:r="http://schemas.openxmlformats.org/officeDocument/2006/relationships" xmlns:p="http://schemas.openxmlformats.org/presentationml/2006/main">
  <p:tag name="VCT-RADIUS" val="7"/>
  <p:tag name="THINKCELLSHAPEDONOTDELETE" val="pP5TybpQ5JkGiWVae2oO5CQ"/>
</p:tagLst>
</file>

<file path=ppt/tags/tag53.xml><?xml version="1.0" encoding="utf-8"?>
<p:tagLst xmlns:a="http://schemas.openxmlformats.org/drawingml/2006/main" xmlns:r="http://schemas.openxmlformats.org/officeDocument/2006/relationships" xmlns:p="http://schemas.openxmlformats.org/presentationml/2006/main">
  <p:tag name="VCT-RADIUS" val="7"/>
  <p:tag name="THINKCELLSHAPEDONOTDELETE" val="pxu3XawI0HEuGyVfwdFKM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yhC7217m0.aMVcUtD.xr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QWN22n_1km_LwtnOIBY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80UC0Hv1EmL.gPgsb6O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C8zElm9tEmmaCXOao4_a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O2RppTSvEOfOm_0mLfXPA"/>
</p:tagLst>
</file>

<file path=ppt/tags/tag59.xml><?xml version="1.0" encoding="utf-8"?>
<p:tagLst xmlns:a="http://schemas.openxmlformats.org/drawingml/2006/main" xmlns:r="http://schemas.openxmlformats.org/officeDocument/2006/relationships" xmlns:p="http://schemas.openxmlformats.org/presentationml/2006/main">
  <p:tag name="VCT-RADIUS" val="7"/>
  <p:tag name="THINKCELLSHAPEDONOTDELETE" val="pP5TybpQ5JkGiWVae2oO5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VCT-RADIUS" val="7"/>
  <p:tag name="THINKCELLSHAPEDONOTDELETE" val="pxu3XawI0HEuGyVfwdFKM5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CRaCyRmmkeNKmhtoRFY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aDfZyDtHEGMR3VtL774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50.G56R8UOBC05QqtF_d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tpoGlR4GUiFBQq4NjsYxg"/>
</p:tagLst>
</file>

<file path=ppt/tags/tag65.xml><?xml version="1.0" encoding="utf-8"?>
<p:tagLst xmlns:a="http://schemas.openxmlformats.org/drawingml/2006/main" xmlns:r="http://schemas.openxmlformats.org/officeDocument/2006/relationships" xmlns:p="http://schemas.openxmlformats.org/presentationml/2006/main">
  <p:tag name="VCT-RADIUS" val="7"/>
  <p:tag name="THINKCELLSHAPEDONOTDELETE" val="pP5TybpQ5JkGiWVae2oO5CQ"/>
</p:tagLst>
</file>

<file path=ppt/tags/tag66.xml><?xml version="1.0" encoding="utf-8"?>
<p:tagLst xmlns:a="http://schemas.openxmlformats.org/drawingml/2006/main" xmlns:r="http://schemas.openxmlformats.org/officeDocument/2006/relationships" xmlns:p="http://schemas.openxmlformats.org/presentationml/2006/main">
  <p:tag name="VCT-RADIUS" val="7"/>
  <p:tag name="THINKCELLSHAPEDONOTDELETE" val="pxu3XawI0HEuGyVfwdFKM5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bvFrwgrAUaqJhVHB836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5xAqeKXq0EiXQBQiV27b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ISQmn5SC0670Esdl5YCXg"/>
</p:tagLst>
</file>

<file path=ppt/tags/tag70.xml><?xml version="1.0" encoding="utf-8"?>
<p:tagLst xmlns:a="http://schemas.openxmlformats.org/drawingml/2006/main" xmlns:r="http://schemas.openxmlformats.org/officeDocument/2006/relationships" xmlns:p="http://schemas.openxmlformats.org/presentationml/2006/main">
  <p:tag name="COLORSETCLASSNAME" val="ColorSet1"/>
  <p:tag name="COLORS" val="-2;-2;-2;-2;-1;-2"/>
</p:tagLst>
</file>

<file path=ppt/tags/tag71.xml><?xml version="1.0" encoding="utf-8"?>
<p:tagLst xmlns:a="http://schemas.openxmlformats.org/drawingml/2006/main" xmlns:r="http://schemas.openxmlformats.org/officeDocument/2006/relationships" xmlns:p="http://schemas.openxmlformats.org/presentationml/2006/main">
  <p:tag name="VCT-RADIUS" val="5"/>
</p:tagLst>
</file>

<file path=ppt/tags/tag72.xml><?xml version="1.0" encoding="utf-8"?>
<p:tagLst xmlns:a="http://schemas.openxmlformats.org/drawingml/2006/main" xmlns:r="http://schemas.openxmlformats.org/officeDocument/2006/relationships" xmlns:p="http://schemas.openxmlformats.org/presentationml/2006/main">
  <p:tag name="VCT-RADIUS" val="5"/>
</p:tagLst>
</file>

<file path=ppt/tags/tag73.xml><?xml version="1.0" encoding="utf-8"?>
<p:tagLst xmlns:a="http://schemas.openxmlformats.org/drawingml/2006/main" xmlns:r="http://schemas.openxmlformats.org/officeDocument/2006/relationships" xmlns:p="http://schemas.openxmlformats.org/presentationml/2006/main">
  <p:tag name="VCT-RADIUS" val="5"/>
</p:tagLst>
</file>

<file path=ppt/tags/tag74.xml><?xml version="1.0" encoding="utf-8"?>
<p:tagLst xmlns:a="http://schemas.openxmlformats.org/drawingml/2006/main" xmlns:r="http://schemas.openxmlformats.org/officeDocument/2006/relationships" xmlns:p="http://schemas.openxmlformats.org/presentationml/2006/main">
  <p:tag name="VCT-RADIUS" val="5"/>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bGi0FGP5kSXFM1qo8UO5A"/>
</p:tagLst>
</file>

<file path=ppt/tags/tag77.xml><?xml version="1.0" encoding="utf-8"?>
<p:tagLst xmlns:a="http://schemas.openxmlformats.org/drawingml/2006/main" xmlns:r="http://schemas.openxmlformats.org/officeDocument/2006/relationships" xmlns:p="http://schemas.openxmlformats.org/presentationml/2006/main">
  <p:tag name="VCT-RADIUS" val="5"/>
</p:tagLst>
</file>

<file path=ppt/tags/tag78.xml><?xml version="1.0" encoding="utf-8"?>
<p:tagLst xmlns:a="http://schemas.openxmlformats.org/drawingml/2006/main" xmlns:r="http://schemas.openxmlformats.org/officeDocument/2006/relationships" xmlns:p="http://schemas.openxmlformats.org/presentationml/2006/main">
  <p:tag name="VCT-RADIUS" val="5"/>
</p:tagLst>
</file>

<file path=ppt/tags/tag79.xml><?xml version="1.0" encoding="utf-8"?>
<p:tagLst xmlns:a="http://schemas.openxmlformats.org/drawingml/2006/main" xmlns:r="http://schemas.openxmlformats.org/officeDocument/2006/relationships" xmlns:p="http://schemas.openxmlformats.org/presentationml/2006/main">
  <p:tag name="VCT-RADIUS" val="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Gl86bAKNkuIN9FReMdMgQ"/>
</p:tagLst>
</file>

<file path=ppt/tags/tag80.xml><?xml version="1.0" encoding="utf-8"?>
<p:tagLst xmlns:a="http://schemas.openxmlformats.org/drawingml/2006/main" xmlns:r="http://schemas.openxmlformats.org/officeDocument/2006/relationships" xmlns:p="http://schemas.openxmlformats.org/presentationml/2006/main">
  <p:tag name="VCT-RADIUS" val="5"/>
</p:tagLst>
</file>

<file path=ppt/tags/tag81.xml><?xml version="1.0" encoding="utf-8"?>
<p:tagLst xmlns:a="http://schemas.openxmlformats.org/drawingml/2006/main" xmlns:r="http://schemas.openxmlformats.org/officeDocument/2006/relationships" xmlns:p="http://schemas.openxmlformats.org/presentationml/2006/main">
  <p:tag name="VCT-RADIUS" val="5"/>
</p:tagLst>
</file>

<file path=ppt/tags/tag82.xml><?xml version="1.0" encoding="utf-8"?>
<p:tagLst xmlns:a="http://schemas.openxmlformats.org/drawingml/2006/main" xmlns:r="http://schemas.openxmlformats.org/officeDocument/2006/relationships" xmlns:p="http://schemas.openxmlformats.org/presentationml/2006/main">
  <p:tag name="VCT-RADIUS" val="5"/>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VCT-RADIUS" val="5"/>
</p:tagLst>
</file>

<file path=ppt/tags/tag87.xml><?xml version="1.0" encoding="utf-8"?>
<p:tagLst xmlns:a="http://schemas.openxmlformats.org/drawingml/2006/main" xmlns:r="http://schemas.openxmlformats.org/officeDocument/2006/relationships" xmlns:p="http://schemas.openxmlformats.org/presentationml/2006/main">
  <p:tag name="VCT-RADIUS" val="5"/>
</p:tagLst>
</file>

<file path=ppt/tags/tag88.xml><?xml version="1.0" encoding="utf-8"?>
<p:tagLst xmlns:a="http://schemas.openxmlformats.org/drawingml/2006/main" xmlns:r="http://schemas.openxmlformats.org/officeDocument/2006/relationships" xmlns:p="http://schemas.openxmlformats.org/presentationml/2006/main">
  <p:tag name="VCT-RADIUS" val="5"/>
</p:tagLst>
</file>

<file path=ppt/tags/tag89.xml><?xml version="1.0" encoding="utf-8"?>
<p:tagLst xmlns:a="http://schemas.openxmlformats.org/drawingml/2006/main" xmlns:r="http://schemas.openxmlformats.org/officeDocument/2006/relationships" xmlns:p="http://schemas.openxmlformats.org/presentationml/2006/main">
  <p:tag name="VCT-RADIUS" val="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ebioxegFUOek2_Nbl0n5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VCT-RADIUS" val="5"/>
</p:tagLst>
</file>

<file path=ppt/tags/tag92.xml><?xml version="1.0" encoding="utf-8"?>
<p:tagLst xmlns:a="http://schemas.openxmlformats.org/drawingml/2006/main" xmlns:r="http://schemas.openxmlformats.org/officeDocument/2006/relationships" xmlns:p="http://schemas.openxmlformats.org/presentationml/2006/main">
  <p:tag name="VCT-RADIUS" val="5"/>
</p:tagLst>
</file>

<file path=ppt/tags/tag93.xml><?xml version="1.0" encoding="utf-8"?>
<p:tagLst xmlns:a="http://schemas.openxmlformats.org/drawingml/2006/main" xmlns:r="http://schemas.openxmlformats.org/officeDocument/2006/relationships" xmlns:p="http://schemas.openxmlformats.org/presentationml/2006/main">
  <p:tag name="VCT-RADIUS" val="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BnI7rcjckqE2ZcKrjbe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BnI7rcjckqE2ZcKrjbe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jVNYUFDFcUipMd1LL8CUD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dKb8lE1KkuNCrsdW3G8R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YZdTUyXYkOXBBPLNxgWQw"/>
</p:tagLst>
</file>

<file path=ppt/theme/theme1.xml><?xml version="1.0" encoding="utf-8"?>
<a:theme xmlns:a="http://schemas.openxmlformats.org/drawingml/2006/main" name="TELEKOM_Master_DE_RC6 Kopie">
  <a:themeElements>
    <a:clrScheme name="Benutzerdefiniert 13">
      <a:dk1>
        <a:srgbClr val="000000"/>
      </a:dk1>
      <a:lt1>
        <a:srgbClr val="FFFFFF"/>
      </a:lt1>
      <a:dk2>
        <a:srgbClr val="E20074"/>
      </a:dk2>
      <a:lt2>
        <a:srgbClr val="A4A4A4"/>
      </a:lt2>
      <a:accent1>
        <a:srgbClr val="EDEDED"/>
      </a:accent1>
      <a:accent2>
        <a:srgbClr val="D0D0D0"/>
      </a:accent2>
      <a:accent3>
        <a:srgbClr val="7C7C7C"/>
      </a:accent3>
      <a:accent4>
        <a:srgbClr val="6C6C6C"/>
      </a:accent4>
      <a:accent5>
        <a:srgbClr val="4B4B4B"/>
      </a:accent5>
      <a:accent6>
        <a:srgbClr val="A4A4A4"/>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Design">
  <a:themeElements>
    <a:clrScheme name="">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DT Farben">
      <a:dk1>
        <a:srgbClr val="646464"/>
      </a:dk1>
      <a:lt1>
        <a:srgbClr val="FFFFFF"/>
      </a:lt1>
      <a:dk2>
        <a:srgbClr val="E20074"/>
      </a:dk2>
      <a:lt2>
        <a:srgbClr val="FFFFFF"/>
      </a:lt2>
      <a:accent1>
        <a:srgbClr val="427BAB"/>
      </a:accent1>
      <a:accent2>
        <a:srgbClr val="FDD167"/>
      </a:accent2>
      <a:accent3>
        <a:srgbClr val="646464"/>
      </a:accent3>
      <a:accent4>
        <a:srgbClr val="64B9E4"/>
      </a:accent4>
      <a:accent5>
        <a:srgbClr val="9D9D9D"/>
      </a:accent5>
      <a:accent6>
        <a:srgbClr val="DADADA"/>
      </a:accent6>
      <a:hlink>
        <a:srgbClr val="646464"/>
      </a:hlink>
      <a:folHlink>
        <a:srgbClr val="9D9D9D"/>
      </a:folHlink>
    </a:clrScheme>
    <a:fontScheme name="DT Fonts">
      <a:majorFont>
        <a:latin typeface="Tele-GroteskUlt"/>
        <a:ea typeface=""/>
        <a:cs typeface=""/>
      </a:majorFont>
      <a:minorFont>
        <a:latin typeface="Tele-GroteskNor"/>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665</Words>
  <Application>Microsoft Office PowerPoint</Application>
  <PresentationFormat>Bildschirmpräsentation (4:3)</PresentationFormat>
  <Paragraphs>347</Paragraphs>
  <Slides>26</Slides>
  <Notes>14</Notes>
  <HiddenSlides>0</HiddenSlides>
  <MMClips>0</MMClips>
  <ScaleCrop>false</ScaleCrop>
  <HeadingPairs>
    <vt:vector size="8" baseType="variant">
      <vt:variant>
        <vt:lpstr>Verwendete Schriftarten</vt:lpstr>
      </vt:variant>
      <vt:variant>
        <vt:i4>11</vt:i4>
      </vt:variant>
      <vt:variant>
        <vt:lpstr>Entwurfsvorlage</vt:lpstr>
      </vt:variant>
      <vt:variant>
        <vt:i4>17</vt:i4>
      </vt:variant>
      <vt:variant>
        <vt:lpstr>Eingebettete OLE-Server</vt:lpstr>
      </vt:variant>
      <vt:variant>
        <vt:i4>1</vt:i4>
      </vt:variant>
      <vt:variant>
        <vt:lpstr>Folientitel</vt:lpstr>
      </vt:variant>
      <vt:variant>
        <vt:i4>26</vt:i4>
      </vt:variant>
    </vt:vector>
  </HeadingPairs>
  <TitlesOfParts>
    <vt:vector size="55" baseType="lpstr">
      <vt:lpstr>Tele-GroteskFet</vt:lpstr>
      <vt:lpstr>Arial</vt:lpstr>
      <vt:lpstr>TeleGrotesk Headline Ultra</vt:lpstr>
      <vt:lpstr>Wingdings</vt:lpstr>
      <vt:lpstr>Tele-GroteskNor</vt:lpstr>
      <vt:lpstr>Tele-GroteskUlt</vt:lpstr>
      <vt:lpstr>TeleGrotesk Headline</vt:lpstr>
      <vt:lpstr>Times New Roman</vt:lpstr>
      <vt:lpstr>Tele-GroteskHal</vt:lpstr>
      <vt:lpstr>Arial Unicode MS</vt:lpstr>
      <vt:lpstr>ＭＳ Ｐゴシック</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ELEKOM_Master_DE_RC6 Kopie</vt:lpstr>
      <vt:lpstr>think-cell Folie</vt:lpstr>
      <vt:lpstr>Smart Cities – a Matter of Communication</vt:lpstr>
      <vt:lpstr>Telekom Innovation Laboratories</vt:lpstr>
      <vt:lpstr>LOCATE T-LABS SILICON ALLEE, SILICON WADI, SILICON VALLEY</vt:lpstr>
      <vt:lpstr>T-LABS – OPEN INNOVATION A LONG-TERM SUCCESS FOR DEUTSCHE TELEKOM</vt:lpstr>
      <vt:lpstr>THE EU Notion AND AN ICT View</vt:lpstr>
      <vt:lpstr>perspectives on a Smart Sustainable City Holistic motivation</vt:lpstr>
      <vt:lpstr>ICT provides the Intelligent Network Classification and overview</vt:lpstr>
      <vt:lpstr>T-Labs’ Research and Telekom Innovation towards Smart Cities</vt:lpstr>
      <vt:lpstr>T-LABS PROJECTS MAPPED TO SIX EU TOPICS</vt:lpstr>
      <vt:lpstr>Selected Running Activities in more Detail Organizations, Products and Initiatives</vt:lpstr>
      <vt:lpstr>Folie 11</vt:lpstr>
      <vt:lpstr>Folie 12</vt:lpstr>
      <vt:lpstr>SMART ENERGY  degrees of freedom in the Telco network</vt:lpstr>
      <vt:lpstr>The T-City Experience</vt:lpstr>
      <vt:lpstr>T-CITY OBJECTIVES Experience since 2007</vt:lpstr>
      <vt:lpstr>FIRST PHASE OF T-CITY 2007 – 2012  MORE THAN 40 PROJECTS WERE COMPLETED</vt:lpstr>
      <vt:lpstr>T-City turned into Telekom-City A successful experience Continued</vt:lpstr>
      <vt:lpstr>Conclusion</vt:lpstr>
      <vt:lpstr>Conclusion Smart Cities and Telecommunications Providers</vt:lpstr>
      <vt:lpstr>THANK YOU!</vt:lpstr>
      <vt:lpstr>Backup T-City Project Examples</vt:lpstr>
      <vt:lpstr>Project Examples</vt:lpstr>
      <vt:lpstr>Project Examples.</vt:lpstr>
      <vt:lpstr>Spotlight on Energy Projects Transition to Smart Grids in Practice</vt:lpstr>
      <vt:lpstr>Project Example – Smart Grid to the Home Integrating renewables into home and grid</vt:lpstr>
      <vt:lpstr>Connected Mobility  A showcase for „triple play“ – the future of mobility</vt:lpstr>
    </vt:vector>
  </TitlesOfParts>
  <Manager>Jörg Heuer</Manager>
  <Company>Telekom Innovation Laboratories</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uer.Jörg</dc:creator>
  <cp:lastModifiedBy>Trainer</cp:lastModifiedBy>
  <cp:revision>892</cp:revision>
  <cp:lastPrinted>2013-09-10T20:31:14Z</cp:lastPrinted>
  <dcterms:created xsi:type="dcterms:W3CDTF">2011-07-07T11:12:14Z</dcterms:created>
  <dcterms:modified xsi:type="dcterms:W3CDTF">2013-09-11T15:0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5026547</vt:lpwstr>
  </property>
  <property fmtid="{D5CDD505-2E9C-101B-9397-08002B2CF9AE}" pid="3" name="NXPowerLiteSettings">
    <vt:lpwstr>B98007B004F000</vt:lpwstr>
  </property>
  <property fmtid="{D5CDD505-2E9C-101B-9397-08002B2CF9AE}" pid="4" name="NXPowerLiteVersion">
    <vt:lpwstr>D5.0.6</vt:lpwstr>
  </property>
  <property fmtid="{D5CDD505-2E9C-101B-9397-08002B2CF9AE}" pid="5" name="NXTAG2">
    <vt:lpwstr>000800f2470000000000010250600207b98007b004f000</vt:lpwstr>
  </property>
</Properties>
</file>